
<file path=[Content_Types].xml><?xml version="1.0" encoding="utf-8"?>
<Types xmlns="http://schemas.openxmlformats.org/package/2006/content-types">
  <Default Extension="B50002E0" ContentType="image/png"/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9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0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11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3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4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5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16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7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18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19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20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21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0" r:id="rId4"/>
    <p:sldMasterId id="2147483956" r:id="rId5"/>
    <p:sldMasterId id="2147483959" r:id="rId6"/>
    <p:sldMasterId id="2147483968" r:id="rId7"/>
    <p:sldMasterId id="2147483888" r:id="rId8"/>
    <p:sldMasterId id="2147483970" r:id="rId9"/>
    <p:sldMasterId id="2147483994" r:id="rId10"/>
    <p:sldMasterId id="2147484006" r:id="rId11"/>
    <p:sldMasterId id="2147483900" r:id="rId12"/>
    <p:sldMasterId id="2147483660" r:id="rId13"/>
    <p:sldMasterId id="2147483708" r:id="rId14"/>
    <p:sldMasterId id="2147483756" r:id="rId15"/>
    <p:sldMasterId id="2147483804" r:id="rId16"/>
    <p:sldMasterId id="2147484050" r:id="rId17"/>
    <p:sldMasterId id="2147484066" r:id="rId18"/>
    <p:sldMasterId id="2147484078" r:id="rId19"/>
    <p:sldMasterId id="2147484086" r:id="rId20"/>
    <p:sldMasterId id="2147484092" r:id="rId21"/>
    <p:sldMasterId id="2147484100" r:id="rId22"/>
    <p:sldMasterId id="2147484118" r:id="rId23"/>
  </p:sldMasterIdLst>
  <p:notesMasterIdLst>
    <p:notesMasterId r:id="rId40"/>
  </p:notesMasterIdLst>
  <p:sldIdLst>
    <p:sldId id="2591" r:id="rId24"/>
    <p:sldId id="2590" r:id="rId25"/>
    <p:sldId id="2589" r:id="rId26"/>
    <p:sldId id="2593" r:id="rId27"/>
    <p:sldId id="2592" r:id="rId28"/>
    <p:sldId id="2596" r:id="rId29"/>
    <p:sldId id="2599" r:id="rId30"/>
    <p:sldId id="2597" r:id="rId31"/>
    <p:sldId id="2598" r:id="rId32"/>
    <p:sldId id="2600" r:id="rId33"/>
    <p:sldId id="2601" r:id="rId34"/>
    <p:sldId id="2602" r:id="rId35"/>
    <p:sldId id="2603" r:id="rId36"/>
    <p:sldId id="2604" r:id="rId37"/>
    <p:sldId id="2594" r:id="rId38"/>
    <p:sldId id="2595" r:id="rId39"/>
  </p:sldIdLst>
  <p:sldSz cx="12192000" cy="6858000"/>
  <p:notesSz cx="6858000" cy="9144000"/>
  <p:custDataLst>
    <p:tags r:id="rId41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uniga, Arelis" initials="ZA" lastIdx="1" clrIdx="0">
    <p:extLst>
      <p:ext uri="{19B8F6BF-5375-455C-9EA6-DF929625EA0E}">
        <p15:presenceInfo xmlns:p15="http://schemas.microsoft.com/office/powerpoint/2012/main" userId="S::Arelis.Zuniga@kcc.com::f4d49498-e413-4d27-8931-eb4b41ef96a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069F"/>
    <a:srgbClr val="EE3744"/>
    <a:srgbClr val="BED2F3"/>
    <a:srgbClr val="4FB587"/>
    <a:srgbClr val="F49D00"/>
    <a:srgbClr val="753BBD"/>
    <a:srgbClr val="33D196"/>
    <a:srgbClr val="654589"/>
    <a:srgbClr val="282D75"/>
    <a:srgbClr val="DC36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17F1D2D-0709-4416-9399-361390DAD1ED}" v="3" dt="2021-04-12T15:43:23.95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0" d="100"/>
          <a:sy n="50" d="100"/>
        </p:scale>
        <p:origin x="1188" y="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1.xml"/><Relationship Id="rId42" Type="http://schemas.openxmlformats.org/officeDocument/2006/relationships/commentAuthors" Target="commentAuthors.xml"/><Relationship Id="rId47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6.xml"/><Relationship Id="rId41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8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presProps" Target="presProps.xml"/><Relationship Id="rId48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drian" userId="8783fba9-92fd-47e0-812a-211c4b4ad098" providerId="ADAL" clId="{8FE03782-8C73-4885-B78C-0B57F1FDEB55}"/>
    <pc:docChg chg="undo custSel addSld delSld modSld sldOrd">
      <pc:chgData name="Adrian" userId="8783fba9-92fd-47e0-812a-211c4b4ad098" providerId="ADAL" clId="{8FE03782-8C73-4885-B78C-0B57F1FDEB55}" dt="2021-03-16T16:45:12.055" v="2491" actId="14100"/>
      <pc:docMkLst>
        <pc:docMk/>
      </pc:docMkLst>
      <pc:sldChg chg="add del">
        <pc:chgData name="Adrian" userId="8783fba9-92fd-47e0-812a-211c4b4ad098" providerId="ADAL" clId="{8FE03782-8C73-4885-B78C-0B57F1FDEB55}" dt="2021-03-16T16:44:47.561" v="2488"/>
        <pc:sldMkLst>
          <pc:docMk/>
          <pc:sldMk cId="3287457382" sldId="896"/>
        </pc:sldMkLst>
      </pc:sldChg>
      <pc:sldChg chg="del">
        <pc:chgData name="Adrian" userId="8783fba9-92fd-47e0-812a-211c4b4ad098" providerId="ADAL" clId="{8FE03782-8C73-4885-B78C-0B57F1FDEB55}" dt="2021-03-15T13:27:42.018" v="3" actId="47"/>
        <pc:sldMkLst>
          <pc:docMk/>
          <pc:sldMk cId="1933160015" sldId="2588"/>
        </pc:sldMkLst>
      </pc:sldChg>
      <pc:sldChg chg="addSp delSp modSp mod ord">
        <pc:chgData name="Adrian" userId="8783fba9-92fd-47e0-812a-211c4b4ad098" providerId="ADAL" clId="{8FE03782-8C73-4885-B78C-0B57F1FDEB55}" dt="2021-03-16T16:04:47.234" v="2485"/>
        <pc:sldMkLst>
          <pc:docMk/>
          <pc:sldMk cId="343155260" sldId="2589"/>
        </pc:sldMkLst>
        <pc:spChg chg="del">
          <ac:chgData name="Adrian" userId="8783fba9-92fd-47e0-812a-211c4b4ad098" providerId="ADAL" clId="{8FE03782-8C73-4885-B78C-0B57F1FDEB55}" dt="2021-03-15T13:28:33.634" v="93" actId="478"/>
          <ac:spMkLst>
            <pc:docMk/>
            <pc:sldMk cId="343155260" sldId="2589"/>
            <ac:spMk id="2" creationId="{5543BACD-15C2-45A3-8D73-FCE54CC7330A}"/>
          </ac:spMkLst>
        </pc:spChg>
        <pc:picChg chg="add mod modCrop">
          <ac:chgData name="Adrian" userId="8783fba9-92fd-47e0-812a-211c4b4ad098" providerId="ADAL" clId="{8FE03782-8C73-4885-B78C-0B57F1FDEB55}" dt="2021-03-15T13:28:59.624" v="97" actId="14100"/>
          <ac:picMkLst>
            <pc:docMk/>
            <pc:sldMk cId="343155260" sldId="2589"/>
            <ac:picMk id="3" creationId="{0F8F7D02-F987-41B4-8AFD-529D30781A70}"/>
          </ac:picMkLst>
        </pc:picChg>
      </pc:sldChg>
      <pc:sldChg chg="addSp modSp mod">
        <pc:chgData name="Adrian" userId="8783fba9-92fd-47e0-812a-211c4b4ad098" providerId="ADAL" clId="{8FE03782-8C73-4885-B78C-0B57F1FDEB55}" dt="2021-03-15T13:32:55.568" v="388" actId="1076"/>
        <pc:sldMkLst>
          <pc:docMk/>
          <pc:sldMk cId="3989775575" sldId="2590"/>
        </pc:sldMkLst>
        <pc:spChg chg="mod">
          <ac:chgData name="Adrian" userId="8783fba9-92fd-47e0-812a-211c4b4ad098" providerId="ADAL" clId="{8FE03782-8C73-4885-B78C-0B57F1FDEB55}" dt="2021-03-15T13:32:50.368" v="387"/>
          <ac:spMkLst>
            <pc:docMk/>
            <pc:sldMk cId="3989775575" sldId="2590"/>
            <ac:spMk id="2" creationId="{80A7ECF7-EF96-432D-BF64-60B3FEA841EA}"/>
          </ac:spMkLst>
        </pc:spChg>
        <pc:spChg chg="add mod">
          <ac:chgData name="Adrian" userId="8783fba9-92fd-47e0-812a-211c4b4ad098" providerId="ADAL" clId="{8FE03782-8C73-4885-B78C-0B57F1FDEB55}" dt="2021-03-15T13:32:55.568" v="388" actId="1076"/>
          <ac:spMkLst>
            <pc:docMk/>
            <pc:sldMk cId="3989775575" sldId="2590"/>
            <ac:spMk id="3" creationId="{9B23F502-46B5-4096-9C61-5D908A82862C}"/>
          </ac:spMkLst>
        </pc:spChg>
      </pc:sldChg>
      <pc:sldChg chg="addSp delSp modSp new mod ord">
        <pc:chgData name="Adrian" userId="8783fba9-92fd-47e0-812a-211c4b4ad098" providerId="ADAL" clId="{8FE03782-8C73-4885-B78C-0B57F1FDEB55}" dt="2021-03-16T16:45:12.055" v="2491" actId="14100"/>
        <pc:sldMkLst>
          <pc:docMk/>
          <pc:sldMk cId="980578601" sldId="2591"/>
        </pc:sldMkLst>
        <pc:spChg chg="del">
          <ac:chgData name="Adrian" userId="8783fba9-92fd-47e0-812a-211c4b4ad098" providerId="ADAL" clId="{8FE03782-8C73-4885-B78C-0B57F1FDEB55}" dt="2021-03-15T13:27:52.880" v="7"/>
          <ac:spMkLst>
            <pc:docMk/>
            <pc:sldMk cId="980578601" sldId="2591"/>
            <ac:spMk id="2" creationId="{BA3F8620-817F-431A-BBF1-E971DFCA4FB8}"/>
          </ac:spMkLst>
        </pc:spChg>
        <pc:spChg chg="add mod">
          <ac:chgData name="Adrian" userId="8783fba9-92fd-47e0-812a-211c4b4ad098" providerId="ADAL" clId="{8FE03782-8C73-4885-B78C-0B57F1FDEB55}" dt="2021-03-15T13:31:50.370" v="303" actId="20577"/>
          <ac:spMkLst>
            <pc:docMk/>
            <pc:sldMk cId="980578601" sldId="2591"/>
            <ac:spMk id="3" creationId="{B3AEB2F8-89FC-48C1-89E6-4C83EF13F0A8}"/>
          </ac:spMkLst>
        </pc:spChg>
        <pc:spChg chg="add mod">
          <ac:chgData name="Adrian" userId="8783fba9-92fd-47e0-812a-211c4b4ad098" providerId="ADAL" clId="{8FE03782-8C73-4885-B78C-0B57F1FDEB55}" dt="2021-03-15T13:32:04.493" v="334" actId="20577"/>
          <ac:spMkLst>
            <pc:docMk/>
            <pc:sldMk cId="980578601" sldId="2591"/>
            <ac:spMk id="4" creationId="{6962C936-A10F-4C13-A28D-25FA43EF00C9}"/>
          </ac:spMkLst>
        </pc:spChg>
        <pc:picChg chg="mod">
          <ac:chgData name="Adrian" userId="8783fba9-92fd-47e0-812a-211c4b4ad098" providerId="ADAL" clId="{8FE03782-8C73-4885-B78C-0B57F1FDEB55}" dt="2021-03-16T16:45:12.055" v="2491" actId="14100"/>
          <ac:picMkLst>
            <pc:docMk/>
            <pc:sldMk cId="980578601" sldId="2591"/>
            <ac:picMk id="2" creationId="{8E3E9976-3A12-43D8-885D-8FDAE4F270A8}"/>
          </ac:picMkLst>
        </pc:picChg>
      </pc:sldChg>
      <pc:sldChg chg="del">
        <pc:chgData name="Adrian" userId="8783fba9-92fd-47e0-812a-211c4b4ad098" providerId="ADAL" clId="{8FE03782-8C73-4885-B78C-0B57F1FDEB55}" dt="2021-03-15T13:27:39.685" v="0" actId="47"/>
        <pc:sldMkLst>
          <pc:docMk/>
          <pc:sldMk cId="4025336163" sldId="2591"/>
        </pc:sldMkLst>
      </pc:sldChg>
      <pc:sldChg chg="addSp delSp modSp new mod ord">
        <pc:chgData name="Adrian" userId="8783fba9-92fd-47e0-812a-211c4b4ad098" providerId="ADAL" clId="{8FE03782-8C73-4885-B78C-0B57F1FDEB55}" dt="2021-03-16T16:03:32.832" v="2484"/>
        <pc:sldMkLst>
          <pc:docMk/>
          <pc:sldMk cId="2725798271" sldId="2592"/>
        </pc:sldMkLst>
        <pc:spChg chg="mod">
          <ac:chgData name="Adrian" userId="8783fba9-92fd-47e0-812a-211c4b4ad098" providerId="ADAL" clId="{8FE03782-8C73-4885-B78C-0B57F1FDEB55}" dt="2021-03-15T13:38:25.566" v="519" actId="1076"/>
          <ac:spMkLst>
            <pc:docMk/>
            <pc:sldMk cId="2725798271" sldId="2592"/>
            <ac:spMk id="2" creationId="{F32F0E88-51B0-499D-8D91-953746DF11BE}"/>
          </ac:spMkLst>
        </pc:spChg>
        <pc:spChg chg="add del mod">
          <ac:chgData name="Adrian" userId="8783fba9-92fd-47e0-812a-211c4b4ad098" providerId="ADAL" clId="{8FE03782-8C73-4885-B78C-0B57F1FDEB55}" dt="2021-03-15T13:34:52.777" v="395" actId="478"/>
          <ac:spMkLst>
            <pc:docMk/>
            <pc:sldMk cId="2725798271" sldId="2592"/>
            <ac:spMk id="3" creationId="{11ABAF5D-4651-4926-AE70-9954B4F6D3F6}"/>
          </ac:spMkLst>
        </pc:spChg>
        <pc:spChg chg="add del mod topLvl">
          <ac:chgData name="Adrian" userId="8783fba9-92fd-47e0-812a-211c4b4ad098" providerId="ADAL" clId="{8FE03782-8C73-4885-B78C-0B57F1FDEB55}" dt="2021-03-15T14:38:10.793" v="2219" actId="165"/>
          <ac:spMkLst>
            <pc:docMk/>
            <pc:sldMk cId="2725798271" sldId="2592"/>
            <ac:spMk id="5" creationId="{9FB160A8-4F08-4EB7-8FAB-F5EF60D5EE1F}"/>
          </ac:spMkLst>
        </pc:spChg>
        <pc:spChg chg="mod">
          <ac:chgData name="Adrian" userId="8783fba9-92fd-47e0-812a-211c4b4ad098" providerId="ADAL" clId="{8FE03782-8C73-4885-B78C-0B57F1FDEB55}" dt="2021-03-15T14:38:10.793" v="2219" actId="165"/>
          <ac:spMkLst>
            <pc:docMk/>
            <pc:sldMk cId="2725798271" sldId="2592"/>
            <ac:spMk id="8" creationId="{1F2F6D5D-AF00-4F83-B1D9-043CBB2ECD0C}"/>
          </ac:spMkLst>
        </pc:spChg>
        <pc:spChg chg="add mod">
          <ac:chgData name="Adrian" userId="8783fba9-92fd-47e0-812a-211c4b4ad098" providerId="ADAL" clId="{8FE03782-8C73-4885-B78C-0B57F1FDEB55}" dt="2021-03-15T14:38:10.793" v="2219" actId="165"/>
          <ac:spMkLst>
            <pc:docMk/>
            <pc:sldMk cId="2725798271" sldId="2592"/>
            <ac:spMk id="10" creationId="{F08056AF-5CBB-4B77-9F09-2EC0F6D58AB8}"/>
          </ac:spMkLst>
        </pc:spChg>
        <pc:spChg chg="add mod">
          <ac:chgData name="Adrian" userId="8783fba9-92fd-47e0-812a-211c4b4ad098" providerId="ADAL" clId="{8FE03782-8C73-4885-B78C-0B57F1FDEB55}" dt="2021-03-15T14:38:10.793" v="2219" actId="165"/>
          <ac:spMkLst>
            <pc:docMk/>
            <pc:sldMk cId="2725798271" sldId="2592"/>
            <ac:spMk id="11" creationId="{6A3C6711-A2DC-4309-8319-1210B11075DC}"/>
          </ac:spMkLst>
        </pc:spChg>
        <pc:spChg chg="add mod">
          <ac:chgData name="Adrian" userId="8783fba9-92fd-47e0-812a-211c4b4ad098" providerId="ADAL" clId="{8FE03782-8C73-4885-B78C-0B57F1FDEB55}" dt="2021-03-15T14:38:10.793" v="2219" actId="165"/>
          <ac:spMkLst>
            <pc:docMk/>
            <pc:sldMk cId="2725798271" sldId="2592"/>
            <ac:spMk id="12" creationId="{339DDF8E-05B1-4106-92A3-C6B4FA741290}"/>
          </ac:spMkLst>
        </pc:spChg>
        <pc:spChg chg="add mod">
          <ac:chgData name="Adrian" userId="8783fba9-92fd-47e0-812a-211c4b4ad098" providerId="ADAL" clId="{8FE03782-8C73-4885-B78C-0B57F1FDEB55}" dt="2021-03-15T14:38:10.793" v="2219" actId="165"/>
          <ac:spMkLst>
            <pc:docMk/>
            <pc:sldMk cId="2725798271" sldId="2592"/>
            <ac:spMk id="13" creationId="{12651FAD-FFBB-48E4-8896-750D634E552F}"/>
          </ac:spMkLst>
        </pc:spChg>
        <pc:spChg chg="mod">
          <ac:chgData name="Adrian" userId="8783fba9-92fd-47e0-812a-211c4b4ad098" providerId="ADAL" clId="{8FE03782-8C73-4885-B78C-0B57F1FDEB55}" dt="2021-03-15T13:39:37.840" v="547" actId="1076"/>
          <ac:spMkLst>
            <pc:docMk/>
            <pc:sldMk cId="2725798271" sldId="2592"/>
            <ac:spMk id="15" creationId="{9B8079D5-6509-443C-B5A8-3CCE18D6A62C}"/>
          </ac:spMkLst>
        </pc:spChg>
        <pc:spChg chg="add mod">
          <ac:chgData name="Adrian" userId="8783fba9-92fd-47e0-812a-211c4b4ad098" providerId="ADAL" clId="{8FE03782-8C73-4885-B78C-0B57F1FDEB55}" dt="2021-03-15T14:38:10.793" v="2219" actId="165"/>
          <ac:spMkLst>
            <pc:docMk/>
            <pc:sldMk cId="2725798271" sldId="2592"/>
            <ac:spMk id="17" creationId="{AEE82F64-3E28-4F2C-A2DB-0FBCBF56D2DA}"/>
          </ac:spMkLst>
        </pc:spChg>
        <pc:spChg chg="add mod">
          <ac:chgData name="Adrian" userId="8783fba9-92fd-47e0-812a-211c4b4ad098" providerId="ADAL" clId="{8FE03782-8C73-4885-B78C-0B57F1FDEB55}" dt="2021-03-15T14:38:10.793" v="2219" actId="165"/>
          <ac:spMkLst>
            <pc:docMk/>
            <pc:sldMk cId="2725798271" sldId="2592"/>
            <ac:spMk id="20" creationId="{F833BBC9-869A-46E3-9A9F-DCF9AE8B65C9}"/>
          </ac:spMkLst>
        </pc:spChg>
        <pc:spChg chg="add mod topLvl">
          <ac:chgData name="Adrian" userId="8783fba9-92fd-47e0-812a-211c4b4ad098" providerId="ADAL" clId="{8FE03782-8C73-4885-B78C-0B57F1FDEB55}" dt="2021-03-15T14:38:10.793" v="2219" actId="165"/>
          <ac:spMkLst>
            <pc:docMk/>
            <pc:sldMk cId="2725798271" sldId="2592"/>
            <ac:spMk id="41" creationId="{1A4B2C7D-97FB-4BED-A5D8-729EABCAFFAD}"/>
          </ac:spMkLst>
        </pc:spChg>
        <pc:spChg chg="add mod topLvl">
          <ac:chgData name="Adrian" userId="8783fba9-92fd-47e0-812a-211c4b4ad098" providerId="ADAL" clId="{8FE03782-8C73-4885-B78C-0B57F1FDEB55}" dt="2021-03-15T14:38:10.793" v="2219" actId="165"/>
          <ac:spMkLst>
            <pc:docMk/>
            <pc:sldMk cId="2725798271" sldId="2592"/>
            <ac:spMk id="42" creationId="{158FF276-44AB-4C80-902D-68948C7D06A1}"/>
          </ac:spMkLst>
        </pc:spChg>
        <pc:spChg chg="add mod topLvl">
          <ac:chgData name="Adrian" userId="8783fba9-92fd-47e0-812a-211c4b4ad098" providerId="ADAL" clId="{8FE03782-8C73-4885-B78C-0B57F1FDEB55}" dt="2021-03-15T14:38:10.793" v="2219" actId="165"/>
          <ac:spMkLst>
            <pc:docMk/>
            <pc:sldMk cId="2725798271" sldId="2592"/>
            <ac:spMk id="44" creationId="{DEA91E27-DEED-444E-B953-C5B0E24EC323}"/>
          </ac:spMkLst>
        </pc:spChg>
        <pc:spChg chg="add mod topLvl">
          <ac:chgData name="Adrian" userId="8783fba9-92fd-47e0-812a-211c4b4ad098" providerId="ADAL" clId="{8FE03782-8C73-4885-B78C-0B57F1FDEB55}" dt="2021-03-15T14:38:10.793" v="2219" actId="165"/>
          <ac:spMkLst>
            <pc:docMk/>
            <pc:sldMk cId="2725798271" sldId="2592"/>
            <ac:spMk id="45" creationId="{12D705FF-ACCD-41B6-BAA7-8D0B611C4D6B}"/>
          </ac:spMkLst>
        </pc:spChg>
        <pc:spChg chg="add mod topLvl">
          <ac:chgData name="Adrian" userId="8783fba9-92fd-47e0-812a-211c4b4ad098" providerId="ADAL" clId="{8FE03782-8C73-4885-B78C-0B57F1FDEB55}" dt="2021-03-15T14:38:10.793" v="2219" actId="165"/>
          <ac:spMkLst>
            <pc:docMk/>
            <pc:sldMk cId="2725798271" sldId="2592"/>
            <ac:spMk id="46" creationId="{4D75DE0E-369C-438C-8493-B8A20762C0D3}"/>
          </ac:spMkLst>
        </pc:spChg>
        <pc:spChg chg="add mod">
          <ac:chgData name="Adrian" userId="8783fba9-92fd-47e0-812a-211c4b4ad098" providerId="ADAL" clId="{8FE03782-8C73-4885-B78C-0B57F1FDEB55}" dt="2021-03-15T13:56:24.858" v="1236" actId="404"/>
          <ac:spMkLst>
            <pc:docMk/>
            <pc:sldMk cId="2725798271" sldId="2592"/>
            <ac:spMk id="49" creationId="{F4BF6339-9218-4FD9-A696-8813D6F13EE7}"/>
          </ac:spMkLst>
        </pc:spChg>
        <pc:spChg chg="add mod">
          <ac:chgData name="Adrian" userId="8783fba9-92fd-47e0-812a-211c4b4ad098" providerId="ADAL" clId="{8FE03782-8C73-4885-B78C-0B57F1FDEB55}" dt="2021-03-15T14:38:45.078" v="2260" actId="313"/>
          <ac:spMkLst>
            <pc:docMk/>
            <pc:sldMk cId="2725798271" sldId="2592"/>
            <ac:spMk id="50" creationId="{8190E97E-CB85-4F78-A040-364359AE1D07}"/>
          </ac:spMkLst>
        </pc:spChg>
        <pc:grpChg chg="add del mod">
          <ac:chgData name="Adrian" userId="8783fba9-92fd-47e0-812a-211c4b4ad098" providerId="ADAL" clId="{8FE03782-8C73-4885-B78C-0B57F1FDEB55}" dt="2021-03-15T13:35:00.844" v="398" actId="165"/>
          <ac:grpSpMkLst>
            <pc:docMk/>
            <pc:sldMk cId="2725798271" sldId="2592"/>
            <ac:grpSpMk id="4" creationId="{0DF7C286-D02C-4F8C-A190-74251361A891}"/>
          </ac:grpSpMkLst>
        </pc:grpChg>
        <pc:grpChg chg="add del mod">
          <ac:chgData name="Adrian" userId="8783fba9-92fd-47e0-812a-211c4b4ad098" providerId="ADAL" clId="{8FE03782-8C73-4885-B78C-0B57F1FDEB55}" dt="2021-03-15T13:38:56.814" v="529" actId="478"/>
          <ac:grpSpMkLst>
            <pc:docMk/>
            <pc:sldMk cId="2725798271" sldId="2592"/>
            <ac:grpSpMk id="7" creationId="{F09A85CC-D361-4B75-9B66-C4B206503CD1}"/>
          </ac:grpSpMkLst>
        </pc:grpChg>
        <pc:grpChg chg="add del mod">
          <ac:chgData name="Adrian" userId="8783fba9-92fd-47e0-812a-211c4b4ad098" providerId="ADAL" clId="{8FE03782-8C73-4885-B78C-0B57F1FDEB55}" dt="2021-03-15T13:40:32.782" v="564" actId="478"/>
          <ac:grpSpMkLst>
            <pc:docMk/>
            <pc:sldMk cId="2725798271" sldId="2592"/>
            <ac:grpSpMk id="14" creationId="{1BDCE238-977E-4711-8495-D8FF83F83E1E}"/>
          </ac:grpSpMkLst>
        </pc:grpChg>
        <pc:grpChg chg="add mod">
          <ac:chgData name="Adrian" userId="8783fba9-92fd-47e0-812a-211c4b4ad098" providerId="ADAL" clId="{8FE03782-8C73-4885-B78C-0B57F1FDEB55}" dt="2021-03-15T14:38:10.793" v="2219" actId="165"/>
          <ac:grpSpMkLst>
            <pc:docMk/>
            <pc:sldMk cId="2725798271" sldId="2592"/>
            <ac:grpSpMk id="19" creationId="{5660984C-4694-49E8-AEE9-31307EF4EE97}"/>
          </ac:grpSpMkLst>
        </pc:grpChg>
        <pc:grpChg chg="add mod topLvl">
          <ac:chgData name="Adrian" userId="8783fba9-92fd-47e0-812a-211c4b4ad098" providerId="ADAL" clId="{8FE03782-8C73-4885-B78C-0B57F1FDEB55}" dt="2021-03-15T14:38:10.793" v="2219" actId="165"/>
          <ac:grpSpMkLst>
            <pc:docMk/>
            <pc:sldMk cId="2725798271" sldId="2592"/>
            <ac:grpSpMk id="43" creationId="{84649272-3C67-4D5E-B62D-08C6F6476BD2}"/>
          </ac:grpSpMkLst>
        </pc:grpChg>
        <pc:grpChg chg="add del mod">
          <ac:chgData name="Adrian" userId="8783fba9-92fd-47e0-812a-211c4b4ad098" providerId="ADAL" clId="{8FE03782-8C73-4885-B78C-0B57F1FDEB55}" dt="2021-03-15T14:38:10.793" v="2219" actId="165"/>
          <ac:grpSpMkLst>
            <pc:docMk/>
            <pc:sldMk cId="2725798271" sldId="2592"/>
            <ac:grpSpMk id="48" creationId="{3306D08B-72CC-4665-BD5F-6AF0EC351739}"/>
          </ac:grpSpMkLst>
        </pc:grpChg>
        <pc:picChg chg="add del mod topLvl">
          <ac:chgData name="Adrian" userId="8783fba9-92fd-47e0-812a-211c4b4ad098" providerId="ADAL" clId="{8FE03782-8C73-4885-B78C-0B57F1FDEB55}" dt="2021-03-15T13:35:05.089" v="401" actId="478"/>
          <ac:picMkLst>
            <pc:docMk/>
            <pc:sldMk cId="2725798271" sldId="2592"/>
            <ac:picMk id="6" creationId="{C0152CBE-C243-4213-9530-31BBB4E3F2A3}"/>
          </ac:picMkLst>
        </pc:picChg>
        <pc:picChg chg="del mod">
          <ac:chgData name="Adrian" userId="8783fba9-92fd-47e0-812a-211c4b4ad098" providerId="ADAL" clId="{8FE03782-8C73-4885-B78C-0B57F1FDEB55}" dt="2021-03-15T13:38:56.814" v="529" actId="478"/>
          <ac:picMkLst>
            <pc:docMk/>
            <pc:sldMk cId="2725798271" sldId="2592"/>
            <ac:picMk id="9" creationId="{3466948F-BA55-45B0-AAAD-8B55CA24250F}"/>
          </ac:picMkLst>
        </pc:picChg>
        <pc:picChg chg="mod">
          <ac:chgData name="Adrian" userId="8783fba9-92fd-47e0-812a-211c4b4ad098" providerId="ADAL" clId="{8FE03782-8C73-4885-B78C-0B57F1FDEB55}" dt="2021-03-15T13:39:37.840" v="547" actId="1076"/>
          <ac:picMkLst>
            <pc:docMk/>
            <pc:sldMk cId="2725798271" sldId="2592"/>
            <ac:picMk id="16" creationId="{B7D2828F-8CA1-4CD0-BBB8-1618D4277C2B}"/>
          </ac:picMkLst>
        </pc:picChg>
        <pc:picChg chg="add mod">
          <ac:chgData name="Adrian" userId="8783fba9-92fd-47e0-812a-211c4b4ad098" providerId="ADAL" clId="{8FE03782-8C73-4885-B78C-0B57F1FDEB55}" dt="2021-03-15T14:38:10.793" v="2219" actId="165"/>
          <ac:picMkLst>
            <pc:docMk/>
            <pc:sldMk cId="2725798271" sldId="2592"/>
            <ac:picMk id="18" creationId="{E9DE2E05-C84B-4DE5-A651-8584F565AC82}"/>
          </ac:picMkLst>
        </pc:picChg>
        <pc:cxnChg chg="add mod">
          <ac:chgData name="Adrian" userId="8783fba9-92fd-47e0-812a-211c4b4ad098" providerId="ADAL" clId="{8FE03782-8C73-4885-B78C-0B57F1FDEB55}" dt="2021-03-15T14:38:10.793" v="2219" actId="165"/>
          <ac:cxnSpMkLst>
            <pc:docMk/>
            <pc:sldMk cId="2725798271" sldId="2592"/>
            <ac:cxnSpMk id="22" creationId="{79370761-9DC1-4627-B007-2D9A0B899F4C}"/>
          </ac:cxnSpMkLst>
        </pc:cxnChg>
        <pc:cxnChg chg="add mod">
          <ac:chgData name="Adrian" userId="8783fba9-92fd-47e0-812a-211c4b4ad098" providerId="ADAL" clId="{8FE03782-8C73-4885-B78C-0B57F1FDEB55}" dt="2021-03-15T14:38:10.793" v="2219" actId="165"/>
          <ac:cxnSpMkLst>
            <pc:docMk/>
            <pc:sldMk cId="2725798271" sldId="2592"/>
            <ac:cxnSpMk id="23" creationId="{BAAB29F9-D4D8-4EE4-AFDF-F77510B55EB7}"/>
          </ac:cxnSpMkLst>
        </pc:cxnChg>
        <pc:cxnChg chg="add mod">
          <ac:chgData name="Adrian" userId="8783fba9-92fd-47e0-812a-211c4b4ad098" providerId="ADAL" clId="{8FE03782-8C73-4885-B78C-0B57F1FDEB55}" dt="2021-03-15T14:38:10.793" v="2219" actId="165"/>
          <ac:cxnSpMkLst>
            <pc:docMk/>
            <pc:sldMk cId="2725798271" sldId="2592"/>
            <ac:cxnSpMk id="26" creationId="{7AEFF015-4D42-441D-B844-F87E69D7C443}"/>
          </ac:cxnSpMkLst>
        </pc:cxnChg>
        <pc:cxnChg chg="add mod">
          <ac:chgData name="Adrian" userId="8783fba9-92fd-47e0-812a-211c4b4ad098" providerId="ADAL" clId="{8FE03782-8C73-4885-B78C-0B57F1FDEB55}" dt="2021-03-15T14:38:10.793" v="2219" actId="165"/>
          <ac:cxnSpMkLst>
            <pc:docMk/>
            <pc:sldMk cId="2725798271" sldId="2592"/>
            <ac:cxnSpMk id="29" creationId="{37BF6B48-F687-4DEE-A517-ED23897AC118}"/>
          </ac:cxnSpMkLst>
        </pc:cxnChg>
        <pc:cxnChg chg="add mod">
          <ac:chgData name="Adrian" userId="8783fba9-92fd-47e0-812a-211c4b4ad098" providerId="ADAL" clId="{8FE03782-8C73-4885-B78C-0B57F1FDEB55}" dt="2021-03-15T14:38:10.793" v="2219" actId="165"/>
          <ac:cxnSpMkLst>
            <pc:docMk/>
            <pc:sldMk cId="2725798271" sldId="2592"/>
            <ac:cxnSpMk id="32" creationId="{01B2B17A-0498-4A5D-9F99-0B3B81658B2F}"/>
          </ac:cxnSpMkLst>
        </pc:cxnChg>
        <pc:cxnChg chg="add mod">
          <ac:chgData name="Adrian" userId="8783fba9-92fd-47e0-812a-211c4b4ad098" providerId="ADAL" clId="{8FE03782-8C73-4885-B78C-0B57F1FDEB55}" dt="2021-03-15T14:38:10.793" v="2219" actId="165"/>
          <ac:cxnSpMkLst>
            <pc:docMk/>
            <pc:sldMk cId="2725798271" sldId="2592"/>
            <ac:cxnSpMk id="35" creationId="{82D04104-1AC1-4CEC-BDC7-9BD13C7560FE}"/>
          </ac:cxnSpMkLst>
        </pc:cxnChg>
        <pc:cxnChg chg="add mod">
          <ac:chgData name="Adrian" userId="8783fba9-92fd-47e0-812a-211c4b4ad098" providerId="ADAL" clId="{8FE03782-8C73-4885-B78C-0B57F1FDEB55}" dt="2021-03-15T14:38:10.793" v="2219" actId="165"/>
          <ac:cxnSpMkLst>
            <pc:docMk/>
            <pc:sldMk cId="2725798271" sldId="2592"/>
            <ac:cxnSpMk id="38" creationId="{9BD2A466-3EE4-4E6B-AD88-866E44516FEC}"/>
          </ac:cxnSpMkLst>
        </pc:cxnChg>
        <pc:cxnChg chg="add mod">
          <ac:chgData name="Adrian" userId="8783fba9-92fd-47e0-812a-211c4b4ad098" providerId="ADAL" clId="{8FE03782-8C73-4885-B78C-0B57F1FDEB55}" dt="2021-03-15T14:38:34.883" v="2249" actId="14100"/>
          <ac:cxnSpMkLst>
            <pc:docMk/>
            <pc:sldMk cId="2725798271" sldId="2592"/>
            <ac:cxnSpMk id="51" creationId="{EAB8AB01-FEDD-4AAE-BAE4-825281CDF97D}"/>
          </ac:cxnSpMkLst>
        </pc:cxnChg>
      </pc:sldChg>
      <pc:sldChg chg="del">
        <pc:chgData name="Adrian" userId="8783fba9-92fd-47e0-812a-211c4b4ad098" providerId="ADAL" clId="{8FE03782-8C73-4885-B78C-0B57F1FDEB55}" dt="2021-03-15T13:27:40.294" v="2" actId="47"/>
        <pc:sldMkLst>
          <pc:docMk/>
          <pc:sldMk cId="4170290293" sldId="2592"/>
        </pc:sldMkLst>
      </pc:sldChg>
      <pc:sldChg chg="addSp delSp modSp add mod ord">
        <pc:chgData name="Adrian" userId="8783fba9-92fd-47e0-812a-211c4b4ad098" providerId="ADAL" clId="{8FE03782-8C73-4885-B78C-0B57F1FDEB55}" dt="2021-03-16T16:07:08.414" v="2486"/>
        <pc:sldMkLst>
          <pc:docMk/>
          <pc:sldMk cId="731020652" sldId="2593"/>
        </pc:sldMkLst>
        <pc:spChg chg="mod">
          <ac:chgData name="Adrian" userId="8783fba9-92fd-47e0-812a-211c4b4ad098" providerId="ADAL" clId="{8FE03782-8C73-4885-B78C-0B57F1FDEB55}" dt="2021-03-15T14:03:32.441" v="1334"/>
          <ac:spMkLst>
            <pc:docMk/>
            <pc:sldMk cId="731020652" sldId="2593"/>
            <ac:spMk id="2" creationId="{80A7ECF7-EF96-432D-BF64-60B3FEA841EA}"/>
          </ac:spMkLst>
        </pc:spChg>
        <pc:spChg chg="del">
          <ac:chgData name="Adrian" userId="8783fba9-92fd-47e0-812a-211c4b4ad098" providerId="ADAL" clId="{8FE03782-8C73-4885-B78C-0B57F1FDEB55}" dt="2021-03-15T13:56:51.922" v="1276" actId="478"/>
          <ac:spMkLst>
            <pc:docMk/>
            <pc:sldMk cId="731020652" sldId="2593"/>
            <ac:spMk id="3" creationId="{9B23F502-46B5-4096-9C61-5D908A82862C}"/>
          </ac:spMkLst>
        </pc:spChg>
        <pc:spChg chg="add del mod">
          <ac:chgData name="Adrian" userId="8783fba9-92fd-47e0-812a-211c4b4ad098" providerId="ADAL" clId="{8FE03782-8C73-4885-B78C-0B57F1FDEB55}" dt="2021-03-15T14:03:46.563" v="1336" actId="478"/>
          <ac:spMkLst>
            <pc:docMk/>
            <pc:sldMk cId="731020652" sldId="2593"/>
            <ac:spMk id="5" creationId="{654A759C-2D68-49A9-A2BB-071D0CFA3CD6}"/>
          </ac:spMkLst>
        </pc:spChg>
        <pc:spChg chg="add mod">
          <ac:chgData name="Adrian" userId="8783fba9-92fd-47e0-812a-211c4b4ad098" providerId="ADAL" clId="{8FE03782-8C73-4885-B78C-0B57F1FDEB55}" dt="2021-03-15T14:27:41.211" v="2162" actId="14100"/>
          <ac:spMkLst>
            <pc:docMk/>
            <pc:sldMk cId="731020652" sldId="2593"/>
            <ac:spMk id="6" creationId="{B8B72F44-2559-4AE8-AE3E-184E1E7CE1DA}"/>
          </ac:spMkLst>
        </pc:spChg>
        <pc:picChg chg="add del mod">
          <ac:chgData name="Adrian" userId="8783fba9-92fd-47e0-812a-211c4b4ad098" providerId="ADAL" clId="{8FE03782-8C73-4885-B78C-0B57F1FDEB55}" dt="2021-03-15T14:27:31.080" v="2158" actId="478"/>
          <ac:picMkLst>
            <pc:docMk/>
            <pc:sldMk cId="731020652" sldId="2593"/>
            <ac:picMk id="4" creationId="{A61D9854-E9D5-48AC-A0AA-701F83E54C8B}"/>
          </ac:picMkLst>
        </pc:picChg>
        <pc:picChg chg="add mod">
          <ac:chgData name="Adrian" userId="8783fba9-92fd-47e0-812a-211c4b4ad098" providerId="ADAL" clId="{8FE03782-8C73-4885-B78C-0B57F1FDEB55}" dt="2021-03-15T14:27:37.525" v="2161" actId="1076"/>
          <ac:picMkLst>
            <pc:docMk/>
            <pc:sldMk cId="731020652" sldId="2593"/>
            <ac:picMk id="7" creationId="{368088F5-20B0-454E-9685-25C90C6ADAAF}"/>
          </ac:picMkLst>
        </pc:picChg>
      </pc:sldChg>
      <pc:sldChg chg="del">
        <pc:chgData name="Adrian" userId="8783fba9-92fd-47e0-812a-211c4b4ad098" providerId="ADAL" clId="{8FE03782-8C73-4885-B78C-0B57F1FDEB55}" dt="2021-03-15T13:27:39.949" v="1" actId="47"/>
        <pc:sldMkLst>
          <pc:docMk/>
          <pc:sldMk cId="3705934701" sldId="2593"/>
        </pc:sldMkLst>
      </pc:sldChg>
      <pc:sldChg chg="addSp modSp add mod">
        <pc:chgData name="Adrian" userId="8783fba9-92fd-47e0-812a-211c4b4ad098" providerId="ADAL" clId="{8FE03782-8C73-4885-B78C-0B57F1FDEB55}" dt="2021-03-15T15:45:02.108" v="2483" actId="1076"/>
        <pc:sldMkLst>
          <pc:docMk/>
          <pc:sldMk cId="3800471134" sldId="2594"/>
        </pc:sldMkLst>
        <pc:spChg chg="mod">
          <ac:chgData name="Adrian" userId="8783fba9-92fd-47e0-812a-211c4b4ad098" providerId="ADAL" clId="{8FE03782-8C73-4885-B78C-0B57F1FDEB55}" dt="2021-03-15T14:01:47.218" v="1295" actId="14100"/>
          <ac:spMkLst>
            <pc:docMk/>
            <pc:sldMk cId="3800471134" sldId="2594"/>
            <ac:spMk id="2" creationId="{80A7ECF7-EF96-432D-BF64-60B3FEA841EA}"/>
          </ac:spMkLst>
        </pc:spChg>
        <pc:spChg chg="add mod">
          <ac:chgData name="Adrian" userId="8783fba9-92fd-47e0-812a-211c4b4ad098" providerId="ADAL" clId="{8FE03782-8C73-4885-B78C-0B57F1FDEB55}" dt="2021-03-15T15:45:02.108" v="2483" actId="1076"/>
          <ac:spMkLst>
            <pc:docMk/>
            <pc:sldMk cId="3800471134" sldId="2594"/>
            <ac:spMk id="3" creationId="{1B0B8B0F-2BA5-4CFD-9FA6-7B7B7EE520D0}"/>
          </ac:spMkLst>
        </pc:spChg>
      </pc:sldChg>
      <pc:sldChg chg="modSp add mod">
        <pc:chgData name="Adrian" userId="8783fba9-92fd-47e0-812a-211c4b4ad098" providerId="ADAL" clId="{8FE03782-8C73-4885-B78C-0B57F1FDEB55}" dt="2021-03-15T14:02:24.220" v="1330" actId="20577"/>
        <pc:sldMkLst>
          <pc:docMk/>
          <pc:sldMk cId="1314384409" sldId="2595"/>
        </pc:sldMkLst>
        <pc:spChg chg="mod">
          <ac:chgData name="Adrian" userId="8783fba9-92fd-47e0-812a-211c4b4ad098" providerId="ADAL" clId="{8FE03782-8C73-4885-B78C-0B57F1FDEB55}" dt="2021-03-15T14:02:24.220" v="1330" actId="20577"/>
          <ac:spMkLst>
            <pc:docMk/>
            <pc:sldMk cId="1314384409" sldId="2595"/>
            <ac:spMk id="2" creationId="{80A7ECF7-EF96-432D-BF64-60B3FEA841EA}"/>
          </ac:spMkLst>
        </pc:spChg>
      </pc:sldChg>
      <pc:sldChg chg="addSp delSp modSp new mod modAnim">
        <pc:chgData name="Adrian" userId="8783fba9-92fd-47e0-812a-211c4b4ad098" providerId="ADAL" clId="{8FE03782-8C73-4885-B78C-0B57F1FDEB55}" dt="2021-03-15T14:41:26.632" v="2269"/>
        <pc:sldMkLst>
          <pc:docMk/>
          <pc:sldMk cId="495603427" sldId="2596"/>
        </pc:sldMkLst>
        <pc:spChg chg="mod">
          <ac:chgData name="Adrian" userId="8783fba9-92fd-47e0-812a-211c4b4ad098" providerId="ADAL" clId="{8FE03782-8C73-4885-B78C-0B57F1FDEB55}" dt="2021-03-15T14:37:30.392" v="2217" actId="403"/>
          <ac:spMkLst>
            <pc:docMk/>
            <pc:sldMk cId="495603427" sldId="2596"/>
            <ac:spMk id="2" creationId="{1B5C9179-3B63-49F7-8E84-FF0029EAEFD6}"/>
          </ac:spMkLst>
        </pc:spChg>
        <pc:spChg chg="del">
          <ac:chgData name="Adrian" userId="8783fba9-92fd-47e0-812a-211c4b4ad098" providerId="ADAL" clId="{8FE03782-8C73-4885-B78C-0B57F1FDEB55}" dt="2021-03-15T14:12:11.315" v="1930" actId="478"/>
          <ac:spMkLst>
            <pc:docMk/>
            <pc:sldMk cId="495603427" sldId="2596"/>
            <ac:spMk id="3" creationId="{9631CEE9-96D9-46C9-A267-BB4DAC1A0048}"/>
          </ac:spMkLst>
        </pc:spChg>
        <pc:spChg chg="del">
          <ac:chgData name="Adrian" userId="8783fba9-92fd-47e0-812a-211c4b4ad098" providerId="ADAL" clId="{8FE03782-8C73-4885-B78C-0B57F1FDEB55}" dt="2021-03-15T14:12:13.168" v="1931" actId="478"/>
          <ac:spMkLst>
            <pc:docMk/>
            <pc:sldMk cId="495603427" sldId="2596"/>
            <ac:spMk id="4" creationId="{3D41CEA0-49B8-4E70-A64C-490481B6A044}"/>
          </ac:spMkLst>
        </pc:spChg>
        <pc:picChg chg="add del mod modCrop">
          <ac:chgData name="Adrian" userId="8783fba9-92fd-47e0-812a-211c4b4ad098" providerId="ADAL" clId="{8FE03782-8C73-4885-B78C-0B57F1FDEB55}" dt="2021-03-15T14:34:49.862" v="2184" actId="478"/>
          <ac:picMkLst>
            <pc:docMk/>
            <pc:sldMk cId="495603427" sldId="2596"/>
            <ac:picMk id="5" creationId="{280A47E2-549E-48CC-9578-9B58390CD732}"/>
          </ac:picMkLst>
        </pc:picChg>
        <pc:picChg chg="add del mod">
          <ac:chgData name="Adrian" userId="8783fba9-92fd-47e0-812a-211c4b4ad098" providerId="ADAL" clId="{8FE03782-8C73-4885-B78C-0B57F1FDEB55}" dt="2021-03-15T14:32:03.440" v="2181" actId="21"/>
          <ac:picMkLst>
            <pc:docMk/>
            <pc:sldMk cId="495603427" sldId="2596"/>
            <ac:picMk id="6" creationId="{910BFE10-1732-4C9F-83C8-78199FB0EF5C}"/>
          </ac:picMkLst>
        </pc:picChg>
        <pc:picChg chg="add del mod modCrop">
          <ac:chgData name="Adrian" userId="8783fba9-92fd-47e0-812a-211c4b4ad098" providerId="ADAL" clId="{8FE03782-8C73-4885-B78C-0B57F1FDEB55}" dt="2021-03-15T14:35:04.146" v="2188" actId="21"/>
          <ac:picMkLst>
            <pc:docMk/>
            <pc:sldMk cId="495603427" sldId="2596"/>
            <ac:picMk id="7" creationId="{1E420B4C-CA89-4669-85A8-7DCDB4FC4C31}"/>
          </ac:picMkLst>
        </pc:picChg>
        <pc:picChg chg="add del mod">
          <ac:chgData name="Adrian" userId="8783fba9-92fd-47e0-812a-211c4b4ad098" providerId="ADAL" clId="{8FE03782-8C73-4885-B78C-0B57F1FDEB55}" dt="2021-03-15T14:35:13.162" v="2192" actId="21"/>
          <ac:picMkLst>
            <pc:docMk/>
            <pc:sldMk cId="495603427" sldId="2596"/>
            <ac:picMk id="8" creationId="{4542BA0D-FB68-4F70-8D24-DE9652808BB4}"/>
          </ac:picMkLst>
        </pc:picChg>
        <pc:picChg chg="add mod">
          <ac:chgData name="Adrian" userId="8783fba9-92fd-47e0-812a-211c4b4ad098" providerId="ADAL" clId="{8FE03782-8C73-4885-B78C-0B57F1FDEB55}" dt="2021-03-15T14:37:37.735" v="2218" actId="1076"/>
          <ac:picMkLst>
            <pc:docMk/>
            <pc:sldMk cId="495603427" sldId="2596"/>
            <ac:picMk id="9" creationId="{A5B3B9DA-9F69-4142-AC57-B332429A9E5F}"/>
          </ac:picMkLst>
        </pc:picChg>
        <pc:picChg chg="add mod modCrop">
          <ac:chgData name="Adrian" userId="8783fba9-92fd-47e0-812a-211c4b4ad098" providerId="ADAL" clId="{8FE03782-8C73-4885-B78C-0B57F1FDEB55}" dt="2021-03-15T14:37:37.735" v="2218" actId="1076"/>
          <ac:picMkLst>
            <pc:docMk/>
            <pc:sldMk cId="495603427" sldId="2596"/>
            <ac:picMk id="10" creationId="{2E352DCB-1EE7-4DAF-A274-C4E049844B9D}"/>
          </ac:picMkLst>
        </pc:picChg>
        <pc:picChg chg="add mod modCrop">
          <ac:chgData name="Adrian" userId="8783fba9-92fd-47e0-812a-211c4b4ad098" providerId="ADAL" clId="{8FE03782-8C73-4885-B78C-0B57F1FDEB55}" dt="2021-03-15T14:37:37.735" v="2218" actId="1076"/>
          <ac:picMkLst>
            <pc:docMk/>
            <pc:sldMk cId="495603427" sldId="2596"/>
            <ac:picMk id="11" creationId="{C9B0110F-6F43-4D4F-87AE-9E7DEF3B33C2}"/>
          </ac:picMkLst>
        </pc:picChg>
      </pc:sldChg>
      <pc:sldChg chg="addSp modSp add mod modAnim">
        <pc:chgData name="Adrian" userId="8783fba9-92fd-47e0-812a-211c4b4ad098" providerId="ADAL" clId="{8FE03782-8C73-4885-B78C-0B57F1FDEB55}" dt="2021-03-15T14:55:13.935" v="2308"/>
        <pc:sldMkLst>
          <pc:docMk/>
          <pc:sldMk cId="3998563271" sldId="2597"/>
        </pc:sldMkLst>
        <pc:spChg chg="mod">
          <ac:chgData name="Adrian" userId="8783fba9-92fd-47e0-812a-211c4b4ad098" providerId="ADAL" clId="{8FE03782-8C73-4885-B78C-0B57F1FDEB55}" dt="2021-03-15T14:15:39.366" v="2049" actId="20577"/>
          <ac:spMkLst>
            <pc:docMk/>
            <pc:sldMk cId="3998563271" sldId="2597"/>
            <ac:spMk id="2" creationId="{1B5C9179-3B63-49F7-8E84-FF0029EAEFD6}"/>
          </ac:spMkLst>
        </pc:spChg>
        <pc:spChg chg="add mod">
          <ac:chgData name="Adrian" userId="8783fba9-92fd-47e0-812a-211c4b4ad098" providerId="ADAL" clId="{8FE03782-8C73-4885-B78C-0B57F1FDEB55}" dt="2021-03-15T14:55:10.651" v="2307" actId="164"/>
          <ac:spMkLst>
            <pc:docMk/>
            <pc:sldMk cId="3998563271" sldId="2597"/>
            <ac:spMk id="5" creationId="{54DE6FE9-CE9F-491C-AF75-CD9123DA8437}"/>
          </ac:spMkLst>
        </pc:spChg>
        <pc:grpChg chg="add mod">
          <ac:chgData name="Adrian" userId="8783fba9-92fd-47e0-812a-211c4b4ad098" providerId="ADAL" clId="{8FE03782-8C73-4885-B78C-0B57F1FDEB55}" dt="2021-03-15T14:55:10.651" v="2307" actId="164"/>
          <ac:grpSpMkLst>
            <pc:docMk/>
            <pc:sldMk cId="3998563271" sldId="2597"/>
            <ac:grpSpMk id="6" creationId="{D600BDDE-3294-44A4-A0C5-9B6D3F3CAC49}"/>
          </ac:grpSpMkLst>
        </pc:grpChg>
        <pc:picChg chg="add mod modCrop">
          <ac:chgData name="Adrian" userId="8783fba9-92fd-47e0-812a-211c4b4ad098" providerId="ADAL" clId="{8FE03782-8C73-4885-B78C-0B57F1FDEB55}" dt="2021-03-15T14:39:58.401" v="2264" actId="1076"/>
          <ac:picMkLst>
            <pc:docMk/>
            <pc:sldMk cId="3998563271" sldId="2597"/>
            <ac:picMk id="3" creationId="{05D9502F-11C8-425E-8CD9-02AC757AD46B}"/>
          </ac:picMkLst>
        </pc:picChg>
        <pc:picChg chg="add mod">
          <ac:chgData name="Adrian" userId="8783fba9-92fd-47e0-812a-211c4b4ad098" providerId="ADAL" clId="{8FE03782-8C73-4885-B78C-0B57F1FDEB55}" dt="2021-03-15T14:55:10.651" v="2307" actId="164"/>
          <ac:picMkLst>
            <pc:docMk/>
            <pc:sldMk cId="3998563271" sldId="2597"/>
            <ac:picMk id="4" creationId="{DFCB8BDF-026E-4962-B90D-13CE3F3AE6FC}"/>
          </ac:picMkLst>
        </pc:picChg>
      </pc:sldChg>
      <pc:sldChg chg="addSp delSp modSp add mod modAnim">
        <pc:chgData name="Adrian" userId="8783fba9-92fd-47e0-812a-211c4b4ad098" providerId="ADAL" clId="{8FE03782-8C73-4885-B78C-0B57F1FDEB55}" dt="2021-03-15T14:54:20.051" v="2302"/>
        <pc:sldMkLst>
          <pc:docMk/>
          <pc:sldMk cId="1871266457" sldId="2598"/>
        </pc:sldMkLst>
        <pc:spChg chg="mod">
          <ac:chgData name="Adrian" userId="8783fba9-92fd-47e0-812a-211c4b4ad098" providerId="ADAL" clId="{8FE03782-8C73-4885-B78C-0B57F1FDEB55}" dt="2021-03-15T14:15:44.795" v="2052" actId="20577"/>
          <ac:spMkLst>
            <pc:docMk/>
            <pc:sldMk cId="1871266457" sldId="2598"/>
            <ac:spMk id="2" creationId="{1B5C9179-3B63-49F7-8E84-FF0029EAEFD6}"/>
          </ac:spMkLst>
        </pc:spChg>
        <pc:spChg chg="add mod">
          <ac:chgData name="Adrian" userId="8783fba9-92fd-47e0-812a-211c4b4ad098" providerId="ADAL" clId="{8FE03782-8C73-4885-B78C-0B57F1FDEB55}" dt="2021-03-15T14:54:12.133" v="2301" actId="164"/>
          <ac:spMkLst>
            <pc:docMk/>
            <pc:sldMk cId="1871266457" sldId="2598"/>
            <ac:spMk id="6" creationId="{20692DDD-7350-4BA6-A54B-50B72D83B06F}"/>
          </ac:spMkLst>
        </pc:spChg>
        <pc:grpChg chg="add mod">
          <ac:chgData name="Adrian" userId="8783fba9-92fd-47e0-812a-211c4b4ad098" providerId="ADAL" clId="{8FE03782-8C73-4885-B78C-0B57F1FDEB55}" dt="2021-03-15T14:54:12.133" v="2301" actId="164"/>
          <ac:grpSpMkLst>
            <pc:docMk/>
            <pc:sldMk cId="1871266457" sldId="2598"/>
            <ac:grpSpMk id="7" creationId="{D9916C66-CEF7-4E5D-B98A-DCB40E513509}"/>
          </ac:grpSpMkLst>
        </pc:grpChg>
        <pc:picChg chg="add del mod modCrop">
          <ac:chgData name="Adrian" userId="8783fba9-92fd-47e0-812a-211c4b4ad098" providerId="ADAL" clId="{8FE03782-8C73-4885-B78C-0B57F1FDEB55}" dt="2021-03-15T14:49:03.634" v="2281" actId="478"/>
          <ac:picMkLst>
            <pc:docMk/>
            <pc:sldMk cId="1871266457" sldId="2598"/>
            <ac:picMk id="3" creationId="{0A5622E8-5EE9-4773-AC31-EAD8CFD2156A}"/>
          </ac:picMkLst>
        </pc:picChg>
        <pc:picChg chg="add mod modCrop">
          <ac:chgData name="Adrian" userId="8783fba9-92fd-47e0-812a-211c4b4ad098" providerId="ADAL" clId="{8FE03782-8C73-4885-B78C-0B57F1FDEB55}" dt="2021-03-15T14:52:01.510" v="2287" actId="14100"/>
          <ac:picMkLst>
            <pc:docMk/>
            <pc:sldMk cId="1871266457" sldId="2598"/>
            <ac:picMk id="4" creationId="{41EA9BF6-A4E9-4826-AB21-C8CFB35488B7}"/>
          </ac:picMkLst>
        </pc:picChg>
        <pc:picChg chg="add mod">
          <ac:chgData name="Adrian" userId="8783fba9-92fd-47e0-812a-211c4b4ad098" providerId="ADAL" clId="{8FE03782-8C73-4885-B78C-0B57F1FDEB55}" dt="2021-03-15T14:54:12.133" v="2301" actId="164"/>
          <ac:picMkLst>
            <pc:docMk/>
            <pc:sldMk cId="1871266457" sldId="2598"/>
            <ac:picMk id="5" creationId="{906E79CB-5C6E-4422-B1C7-B0B6FB13C937}"/>
          </ac:picMkLst>
        </pc:picChg>
      </pc:sldChg>
      <pc:sldChg chg="addSp delSp modSp add mod ord modAnim">
        <pc:chgData name="Adrian" userId="8783fba9-92fd-47e0-812a-211c4b4ad098" providerId="ADAL" clId="{8FE03782-8C73-4885-B78C-0B57F1FDEB55}" dt="2021-03-15T14:55:37.440" v="2313"/>
        <pc:sldMkLst>
          <pc:docMk/>
          <pc:sldMk cId="4258758152" sldId="2599"/>
        </pc:sldMkLst>
        <pc:spChg chg="mod">
          <ac:chgData name="Adrian" userId="8783fba9-92fd-47e0-812a-211c4b4ad098" providerId="ADAL" clId="{8FE03782-8C73-4885-B78C-0B57F1FDEB55}" dt="2021-03-15T14:28:30.470" v="2168" actId="122"/>
          <ac:spMkLst>
            <pc:docMk/>
            <pc:sldMk cId="4258758152" sldId="2599"/>
            <ac:spMk id="2" creationId="{1B5C9179-3B63-49F7-8E84-FF0029EAEFD6}"/>
          </ac:spMkLst>
        </pc:spChg>
        <pc:spChg chg="add mod">
          <ac:chgData name="Adrian" userId="8783fba9-92fd-47e0-812a-211c4b4ad098" providerId="ADAL" clId="{8FE03782-8C73-4885-B78C-0B57F1FDEB55}" dt="2021-03-15T14:55:36.063" v="2312" actId="164"/>
          <ac:spMkLst>
            <pc:docMk/>
            <pc:sldMk cId="4258758152" sldId="2599"/>
            <ac:spMk id="9" creationId="{48975EAA-2597-4E9B-961F-E370609EF50B}"/>
          </ac:spMkLst>
        </pc:spChg>
        <pc:grpChg chg="add mod">
          <ac:chgData name="Adrian" userId="8783fba9-92fd-47e0-812a-211c4b4ad098" providerId="ADAL" clId="{8FE03782-8C73-4885-B78C-0B57F1FDEB55}" dt="2021-03-15T14:55:36.063" v="2312" actId="164"/>
          <ac:grpSpMkLst>
            <pc:docMk/>
            <pc:sldMk cId="4258758152" sldId="2599"/>
            <ac:grpSpMk id="10" creationId="{967D00A5-CC89-4BB1-90DD-6770F62DBD84}"/>
          </ac:grpSpMkLst>
        </pc:grpChg>
        <pc:picChg chg="add del mod">
          <ac:chgData name="Adrian" userId="8783fba9-92fd-47e0-812a-211c4b4ad098" providerId="ADAL" clId="{8FE03782-8C73-4885-B78C-0B57F1FDEB55}" dt="2021-03-15T14:22:26.675" v="2119" actId="478"/>
          <ac:picMkLst>
            <pc:docMk/>
            <pc:sldMk cId="4258758152" sldId="2599"/>
            <ac:picMk id="3" creationId="{45B351DD-73F0-4270-86D9-46BEE2DE786B}"/>
          </ac:picMkLst>
        </pc:picChg>
        <pc:picChg chg="add del mod modCrop">
          <ac:chgData name="Adrian" userId="8783fba9-92fd-47e0-812a-211c4b4ad098" providerId="ADAL" clId="{8FE03782-8C73-4885-B78C-0B57F1FDEB55}" dt="2021-03-15T14:23:01.073" v="2132" actId="478"/>
          <ac:picMkLst>
            <pc:docMk/>
            <pc:sldMk cId="4258758152" sldId="2599"/>
            <ac:picMk id="4" creationId="{8E49AA60-DD29-450F-8EFE-094B369E77D8}"/>
          </ac:picMkLst>
        </pc:picChg>
        <pc:picChg chg="add del mod modCrop">
          <ac:chgData name="Adrian" userId="8783fba9-92fd-47e0-812a-211c4b4ad098" providerId="ADAL" clId="{8FE03782-8C73-4885-B78C-0B57F1FDEB55}" dt="2021-03-15T14:31:49.535" v="2176" actId="21"/>
          <ac:picMkLst>
            <pc:docMk/>
            <pc:sldMk cId="4258758152" sldId="2599"/>
            <ac:picMk id="5" creationId="{22DCBDAE-99DB-48A0-B17B-07081825507A}"/>
          </ac:picMkLst>
        </pc:picChg>
        <pc:picChg chg="add mod">
          <ac:chgData name="Adrian" userId="8783fba9-92fd-47e0-812a-211c4b4ad098" providerId="ADAL" clId="{8FE03782-8C73-4885-B78C-0B57F1FDEB55}" dt="2021-03-15T14:32:07.076" v="2183" actId="1076"/>
          <ac:picMkLst>
            <pc:docMk/>
            <pc:sldMk cId="4258758152" sldId="2599"/>
            <ac:picMk id="6" creationId="{7A595CDD-7E36-4D4D-B019-B8D038CA3101}"/>
          </ac:picMkLst>
        </pc:picChg>
        <pc:picChg chg="add del mod">
          <ac:chgData name="Adrian" userId="8783fba9-92fd-47e0-812a-211c4b4ad098" providerId="ADAL" clId="{8FE03782-8C73-4885-B78C-0B57F1FDEB55}" dt="2021-03-15T14:35:23.489" v="2197" actId="21"/>
          <ac:picMkLst>
            <pc:docMk/>
            <pc:sldMk cId="4258758152" sldId="2599"/>
            <ac:picMk id="7" creationId="{85AA88E9-7AF6-43AE-891A-F14AE21F8610}"/>
          </ac:picMkLst>
        </pc:picChg>
        <pc:picChg chg="add mod">
          <ac:chgData name="Adrian" userId="8783fba9-92fd-47e0-812a-211c4b4ad098" providerId="ADAL" clId="{8FE03782-8C73-4885-B78C-0B57F1FDEB55}" dt="2021-03-15T14:55:36.063" v="2312" actId="164"/>
          <ac:picMkLst>
            <pc:docMk/>
            <pc:sldMk cId="4258758152" sldId="2599"/>
            <ac:picMk id="8" creationId="{A447DE1D-33AA-4BD6-81C5-174C6097DB75}"/>
          </ac:picMkLst>
        </pc:picChg>
      </pc:sldChg>
      <pc:sldChg chg="addSp modSp add mod modAnim">
        <pc:chgData name="Adrian" userId="8783fba9-92fd-47e0-812a-211c4b4ad098" providerId="ADAL" clId="{8FE03782-8C73-4885-B78C-0B57F1FDEB55}" dt="2021-03-15T15:02:48.843" v="2329"/>
        <pc:sldMkLst>
          <pc:docMk/>
          <pc:sldMk cId="2859467691" sldId="2600"/>
        </pc:sldMkLst>
        <pc:spChg chg="mod">
          <ac:chgData name="Adrian" userId="8783fba9-92fd-47e0-812a-211c4b4ad098" providerId="ADAL" clId="{8FE03782-8C73-4885-B78C-0B57F1FDEB55}" dt="2021-03-15T14:16:18.832" v="2081" actId="20577"/>
          <ac:spMkLst>
            <pc:docMk/>
            <pc:sldMk cId="2859467691" sldId="2600"/>
            <ac:spMk id="2" creationId="{1B5C9179-3B63-49F7-8E84-FF0029EAEFD6}"/>
          </ac:spMkLst>
        </pc:spChg>
        <pc:picChg chg="add mod">
          <ac:chgData name="Adrian" userId="8783fba9-92fd-47e0-812a-211c4b4ad098" providerId="ADAL" clId="{8FE03782-8C73-4885-B78C-0B57F1FDEB55}" dt="2021-03-15T14:59:56.747" v="2318" actId="1076"/>
          <ac:picMkLst>
            <pc:docMk/>
            <pc:sldMk cId="2859467691" sldId="2600"/>
            <ac:picMk id="3" creationId="{755F3FA3-8CF4-4BAD-A339-8F92AB92A5FE}"/>
          </ac:picMkLst>
        </pc:picChg>
        <pc:picChg chg="add mod">
          <ac:chgData name="Adrian" userId="8783fba9-92fd-47e0-812a-211c4b4ad098" providerId="ADAL" clId="{8FE03782-8C73-4885-B78C-0B57F1FDEB55}" dt="2021-03-15T15:01:09.921" v="2324" actId="1076"/>
          <ac:picMkLst>
            <pc:docMk/>
            <pc:sldMk cId="2859467691" sldId="2600"/>
            <ac:picMk id="4" creationId="{4B149D39-F7AA-409A-AFBA-04EACFD7635A}"/>
          </ac:picMkLst>
        </pc:picChg>
        <pc:picChg chg="add mod">
          <ac:chgData name="Adrian" userId="8783fba9-92fd-47e0-812a-211c4b4ad098" providerId="ADAL" clId="{8FE03782-8C73-4885-B78C-0B57F1FDEB55}" dt="2021-03-15T15:02:47.491" v="2328" actId="1076"/>
          <ac:picMkLst>
            <pc:docMk/>
            <pc:sldMk cId="2859467691" sldId="2600"/>
            <ac:picMk id="5" creationId="{8A2D8109-015E-4D1B-8576-CACDCDF01892}"/>
          </ac:picMkLst>
        </pc:picChg>
      </pc:sldChg>
      <pc:sldChg chg="addSp delSp modSp add mod modAnim">
        <pc:chgData name="Adrian" userId="8783fba9-92fd-47e0-812a-211c4b4ad098" providerId="ADAL" clId="{8FE03782-8C73-4885-B78C-0B57F1FDEB55}" dt="2021-03-15T15:06:15.986" v="2343"/>
        <pc:sldMkLst>
          <pc:docMk/>
          <pc:sldMk cId="203650118" sldId="2601"/>
        </pc:sldMkLst>
        <pc:spChg chg="mod">
          <ac:chgData name="Adrian" userId="8783fba9-92fd-47e0-812a-211c4b4ad098" providerId="ADAL" clId="{8FE03782-8C73-4885-B78C-0B57F1FDEB55}" dt="2021-03-15T14:16:30.167" v="2095" actId="20577"/>
          <ac:spMkLst>
            <pc:docMk/>
            <pc:sldMk cId="203650118" sldId="2601"/>
            <ac:spMk id="2" creationId="{1B5C9179-3B63-49F7-8E84-FF0029EAEFD6}"/>
          </ac:spMkLst>
        </pc:spChg>
        <pc:picChg chg="add mod">
          <ac:chgData name="Adrian" userId="8783fba9-92fd-47e0-812a-211c4b4ad098" providerId="ADAL" clId="{8FE03782-8C73-4885-B78C-0B57F1FDEB55}" dt="2021-03-15T15:03:48.061" v="2332" actId="1076"/>
          <ac:picMkLst>
            <pc:docMk/>
            <pc:sldMk cId="203650118" sldId="2601"/>
            <ac:picMk id="3" creationId="{92EF6DC0-AE9A-4997-A514-31B71169509D}"/>
          </ac:picMkLst>
        </pc:picChg>
        <pc:picChg chg="add mod">
          <ac:chgData name="Adrian" userId="8783fba9-92fd-47e0-812a-211c4b4ad098" providerId="ADAL" clId="{8FE03782-8C73-4885-B78C-0B57F1FDEB55}" dt="2021-03-15T15:05:17.253" v="2339" actId="14100"/>
          <ac:picMkLst>
            <pc:docMk/>
            <pc:sldMk cId="203650118" sldId="2601"/>
            <ac:picMk id="4" creationId="{AADF6EE8-E63E-4448-93DE-AD08C71950C8}"/>
          </ac:picMkLst>
        </pc:picChg>
        <pc:picChg chg="add del">
          <ac:chgData name="Adrian" userId="8783fba9-92fd-47e0-812a-211c4b4ad098" providerId="ADAL" clId="{8FE03782-8C73-4885-B78C-0B57F1FDEB55}" dt="2021-03-15T15:06:01.598" v="2342" actId="478"/>
          <ac:picMkLst>
            <pc:docMk/>
            <pc:sldMk cId="203650118" sldId="2601"/>
            <ac:picMk id="5" creationId="{CC5510EE-DB83-495C-9D3D-399A53E4BE97}"/>
          </ac:picMkLst>
        </pc:picChg>
      </pc:sldChg>
      <pc:sldChg chg="addSp modSp add mod modAnim">
        <pc:chgData name="Adrian" userId="8783fba9-92fd-47e0-812a-211c4b4ad098" providerId="ADAL" clId="{8FE03782-8C73-4885-B78C-0B57F1FDEB55}" dt="2021-03-15T15:16:40.822" v="2352"/>
        <pc:sldMkLst>
          <pc:docMk/>
          <pc:sldMk cId="1869477488" sldId="2602"/>
        </pc:sldMkLst>
        <pc:spChg chg="mod">
          <ac:chgData name="Adrian" userId="8783fba9-92fd-47e0-812a-211c4b4ad098" providerId="ADAL" clId="{8FE03782-8C73-4885-B78C-0B57F1FDEB55}" dt="2021-03-15T14:16:42.795" v="2113" actId="20577"/>
          <ac:spMkLst>
            <pc:docMk/>
            <pc:sldMk cId="1869477488" sldId="2602"/>
            <ac:spMk id="2" creationId="{1B5C9179-3B63-49F7-8E84-FF0029EAEFD6}"/>
          </ac:spMkLst>
        </pc:spChg>
        <pc:picChg chg="add mod">
          <ac:chgData name="Adrian" userId="8783fba9-92fd-47e0-812a-211c4b4ad098" providerId="ADAL" clId="{8FE03782-8C73-4885-B78C-0B57F1FDEB55}" dt="2021-03-15T15:14:16.588" v="2348" actId="1076"/>
          <ac:picMkLst>
            <pc:docMk/>
            <pc:sldMk cId="1869477488" sldId="2602"/>
            <ac:picMk id="3" creationId="{AB68910F-404C-413C-BEAC-FAF15F56A217}"/>
          </ac:picMkLst>
        </pc:picChg>
        <pc:picChg chg="add mod">
          <ac:chgData name="Adrian" userId="8783fba9-92fd-47e0-812a-211c4b4ad098" providerId="ADAL" clId="{8FE03782-8C73-4885-B78C-0B57F1FDEB55}" dt="2021-03-15T15:16:39.683" v="2351" actId="1076"/>
          <ac:picMkLst>
            <pc:docMk/>
            <pc:sldMk cId="1869477488" sldId="2602"/>
            <ac:picMk id="4" creationId="{06414B24-224A-428F-A245-E8C17E2E49D4}"/>
          </ac:picMkLst>
        </pc:picChg>
      </pc:sldChg>
      <pc:sldChg chg="addSp delSp modSp new mod modAnim">
        <pc:chgData name="Adrian" userId="8783fba9-92fd-47e0-812a-211c4b4ad098" providerId="ADAL" clId="{8FE03782-8C73-4885-B78C-0B57F1FDEB55}" dt="2021-03-15T15:33:41.770" v="2451"/>
        <pc:sldMkLst>
          <pc:docMk/>
          <pc:sldMk cId="4276309298" sldId="2603"/>
        </pc:sldMkLst>
        <pc:spChg chg="mod">
          <ac:chgData name="Adrian" userId="8783fba9-92fd-47e0-812a-211c4b4ad098" providerId="ADAL" clId="{8FE03782-8C73-4885-B78C-0B57F1FDEB55}" dt="2021-03-15T15:28:08.940" v="2402" actId="20577"/>
          <ac:spMkLst>
            <pc:docMk/>
            <pc:sldMk cId="4276309298" sldId="2603"/>
            <ac:spMk id="2" creationId="{E52530D6-ADA4-4B1E-9F3C-EB96BE5DAC21}"/>
          </ac:spMkLst>
        </pc:spChg>
        <pc:spChg chg="del">
          <ac:chgData name="Adrian" userId="8783fba9-92fd-47e0-812a-211c4b4ad098" providerId="ADAL" clId="{8FE03782-8C73-4885-B78C-0B57F1FDEB55}" dt="2021-03-15T15:24:07.407" v="2377" actId="478"/>
          <ac:spMkLst>
            <pc:docMk/>
            <pc:sldMk cId="4276309298" sldId="2603"/>
            <ac:spMk id="3" creationId="{1F41A81F-3827-49B8-B221-383D1783DBC0}"/>
          </ac:spMkLst>
        </pc:spChg>
        <pc:spChg chg="del">
          <ac:chgData name="Adrian" userId="8783fba9-92fd-47e0-812a-211c4b4ad098" providerId="ADAL" clId="{8FE03782-8C73-4885-B78C-0B57F1FDEB55}" dt="2021-03-15T15:24:08.792" v="2378" actId="478"/>
          <ac:spMkLst>
            <pc:docMk/>
            <pc:sldMk cId="4276309298" sldId="2603"/>
            <ac:spMk id="4" creationId="{7260EA78-CF68-41AD-9027-203961B755B3}"/>
          </ac:spMkLst>
        </pc:spChg>
        <pc:picChg chg="add del mod">
          <ac:chgData name="Adrian" userId="8783fba9-92fd-47e0-812a-211c4b4ad098" providerId="ADAL" clId="{8FE03782-8C73-4885-B78C-0B57F1FDEB55}" dt="2021-03-15T15:31:47.480" v="2433" actId="21"/>
          <ac:picMkLst>
            <pc:docMk/>
            <pc:sldMk cId="4276309298" sldId="2603"/>
            <ac:picMk id="5" creationId="{DB5A4681-40BE-4891-933A-2D5AA141B1E8}"/>
          </ac:picMkLst>
        </pc:picChg>
        <pc:picChg chg="add mod">
          <ac:chgData name="Adrian" userId="8783fba9-92fd-47e0-812a-211c4b4ad098" providerId="ADAL" clId="{8FE03782-8C73-4885-B78C-0B57F1FDEB55}" dt="2021-03-15T15:31:41.170" v="2431" actId="1076"/>
          <ac:picMkLst>
            <pc:docMk/>
            <pc:sldMk cId="4276309298" sldId="2603"/>
            <ac:picMk id="6" creationId="{ADFFB490-EC63-4695-8A09-83DDE28EC7AA}"/>
          </ac:picMkLst>
        </pc:picChg>
        <pc:picChg chg="add mod">
          <ac:chgData name="Adrian" userId="8783fba9-92fd-47e0-812a-211c4b4ad098" providerId="ADAL" clId="{8FE03782-8C73-4885-B78C-0B57F1FDEB55}" dt="2021-03-15T15:32:10.918" v="2437" actId="1076"/>
          <ac:picMkLst>
            <pc:docMk/>
            <pc:sldMk cId="4276309298" sldId="2603"/>
            <ac:picMk id="7" creationId="{3BA0676F-5230-4ADC-83B1-EF551CE66BEA}"/>
          </ac:picMkLst>
        </pc:picChg>
        <pc:picChg chg="add mod">
          <ac:chgData name="Adrian" userId="8783fba9-92fd-47e0-812a-211c4b4ad098" providerId="ADAL" clId="{8FE03782-8C73-4885-B78C-0B57F1FDEB55}" dt="2021-03-15T15:32:50.670" v="2442" actId="1076"/>
          <ac:picMkLst>
            <pc:docMk/>
            <pc:sldMk cId="4276309298" sldId="2603"/>
            <ac:picMk id="8" creationId="{91E38247-8DB4-4D7B-B22E-C35747A3BB3D}"/>
          </ac:picMkLst>
        </pc:picChg>
        <pc:picChg chg="add mod">
          <ac:chgData name="Adrian" userId="8783fba9-92fd-47e0-812a-211c4b4ad098" providerId="ADAL" clId="{8FE03782-8C73-4885-B78C-0B57F1FDEB55}" dt="2021-03-15T15:33:40.355" v="2450" actId="1076"/>
          <ac:picMkLst>
            <pc:docMk/>
            <pc:sldMk cId="4276309298" sldId="2603"/>
            <ac:picMk id="9" creationId="{8203F6A3-C258-40D4-990E-0D5781EB1031}"/>
          </ac:picMkLst>
        </pc:picChg>
      </pc:sldChg>
      <pc:sldChg chg="addSp delSp modSp new mod modAnim">
        <pc:chgData name="Adrian" userId="8783fba9-92fd-47e0-812a-211c4b4ad098" providerId="ADAL" clId="{8FE03782-8C73-4885-B78C-0B57F1FDEB55}" dt="2021-03-15T15:40:15.331" v="2482" actId="1076"/>
        <pc:sldMkLst>
          <pc:docMk/>
          <pc:sldMk cId="2333972866" sldId="2604"/>
        </pc:sldMkLst>
        <pc:spChg chg="mod">
          <ac:chgData name="Adrian" userId="8783fba9-92fd-47e0-812a-211c4b4ad098" providerId="ADAL" clId="{8FE03782-8C73-4885-B78C-0B57F1FDEB55}" dt="2021-03-15T15:28:13.903" v="2421" actId="20577"/>
          <ac:spMkLst>
            <pc:docMk/>
            <pc:sldMk cId="2333972866" sldId="2604"/>
            <ac:spMk id="2" creationId="{9C93F7D0-7A05-4EC3-A3CB-7E8EF4F227B4}"/>
          </ac:spMkLst>
        </pc:spChg>
        <pc:spChg chg="del">
          <ac:chgData name="Adrian" userId="8783fba9-92fd-47e0-812a-211c4b4ad098" providerId="ADAL" clId="{8FE03782-8C73-4885-B78C-0B57F1FDEB55}" dt="2021-03-15T15:24:11.607" v="2379" actId="478"/>
          <ac:spMkLst>
            <pc:docMk/>
            <pc:sldMk cId="2333972866" sldId="2604"/>
            <ac:spMk id="3" creationId="{976B8679-1A3B-47C4-82B0-F5D985F05F2D}"/>
          </ac:spMkLst>
        </pc:spChg>
        <pc:spChg chg="del">
          <ac:chgData name="Adrian" userId="8783fba9-92fd-47e0-812a-211c4b4ad098" providerId="ADAL" clId="{8FE03782-8C73-4885-B78C-0B57F1FDEB55}" dt="2021-03-15T15:24:12.756" v="2380" actId="478"/>
          <ac:spMkLst>
            <pc:docMk/>
            <pc:sldMk cId="2333972866" sldId="2604"/>
            <ac:spMk id="4" creationId="{AEE87E4C-E486-412E-BAF9-3DBCD65D5392}"/>
          </ac:spMkLst>
        </pc:spChg>
        <pc:picChg chg="add del mod">
          <ac:chgData name="Adrian" userId="8783fba9-92fd-47e0-812a-211c4b4ad098" providerId="ADAL" clId="{8FE03782-8C73-4885-B78C-0B57F1FDEB55}" dt="2021-03-15T15:35:02.197" v="2455" actId="478"/>
          <ac:picMkLst>
            <pc:docMk/>
            <pc:sldMk cId="2333972866" sldId="2604"/>
            <ac:picMk id="5" creationId="{E51AF580-09A2-4892-AECA-2449B6536FB6}"/>
          </ac:picMkLst>
        </pc:picChg>
        <pc:picChg chg="add mod">
          <ac:chgData name="Adrian" userId="8783fba9-92fd-47e0-812a-211c4b4ad098" providerId="ADAL" clId="{8FE03782-8C73-4885-B78C-0B57F1FDEB55}" dt="2021-03-15T15:40:15.331" v="2482" actId="1076"/>
          <ac:picMkLst>
            <pc:docMk/>
            <pc:sldMk cId="2333972866" sldId="2604"/>
            <ac:picMk id="6" creationId="{C19B9F96-1CF6-476A-9157-B26BE12B7222}"/>
          </ac:picMkLst>
        </pc:picChg>
        <pc:picChg chg="add mod">
          <ac:chgData name="Adrian" userId="8783fba9-92fd-47e0-812a-211c4b4ad098" providerId="ADAL" clId="{8FE03782-8C73-4885-B78C-0B57F1FDEB55}" dt="2021-03-15T15:40:15.331" v="2482" actId="1076"/>
          <ac:picMkLst>
            <pc:docMk/>
            <pc:sldMk cId="2333972866" sldId="2604"/>
            <ac:picMk id="7" creationId="{A53D9A48-34D6-499E-A23D-57CF50CA90F0}"/>
          </ac:picMkLst>
        </pc:picChg>
        <pc:picChg chg="add mod">
          <ac:chgData name="Adrian" userId="8783fba9-92fd-47e0-812a-211c4b4ad098" providerId="ADAL" clId="{8FE03782-8C73-4885-B78C-0B57F1FDEB55}" dt="2021-03-15T15:40:15.331" v="2482" actId="1076"/>
          <ac:picMkLst>
            <pc:docMk/>
            <pc:sldMk cId="2333972866" sldId="2604"/>
            <ac:picMk id="8" creationId="{3A7DF063-B5FC-478A-9F3B-1087D341D416}"/>
          </ac:picMkLst>
        </pc:picChg>
        <pc:picChg chg="add mod">
          <ac:chgData name="Adrian" userId="8783fba9-92fd-47e0-812a-211c4b4ad098" providerId="ADAL" clId="{8FE03782-8C73-4885-B78C-0B57F1FDEB55}" dt="2021-03-15T15:40:15.331" v="2482" actId="1076"/>
          <ac:picMkLst>
            <pc:docMk/>
            <pc:sldMk cId="2333972866" sldId="2604"/>
            <ac:picMk id="9" creationId="{7FB930A7-3A73-45B1-B270-8A8AEB41F43E}"/>
          </ac:picMkLst>
        </pc:picChg>
      </pc:sldChg>
    </pc:docChg>
  </pc:docChgLst>
  <pc:docChgLst>
    <pc:chgData name="Clark, Connie" userId="73351e60-ad32-4085-a232-1d9f9b189479" providerId="ADAL" clId="{917F1D2D-0709-4416-9399-361390DAD1ED}"/>
    <pc:docChg chg="modSld">
      <pc:chgData name="Clark, Connie" userId="73351e60-ad32-4085-a232-1d9f9b189479" providerId="ADAL" clId="{917F1D2D-0709-4416-9399-361390DAD1ED}" dt="2021-04-12T15:43:15.937" v="1" actId="478"/>
      <pc:docMkLst>
        <pc:docMk/>
      </pc:docMkLst>
      <pc:sldChg chg="delSp modSp">
        <pc:chgData name="Clark, Connie" userId="73351e60-ad32-4085-a232-1d9f9b189479" providerId="ADAL" clId="{917F1D2D-0709-4416-9399-361390DAD1ED}" dt="2021-04-12T15:43:15.937" v="1" actId="478"/>
        <pc:sldMkLst>
          <pc:docMk/>
          <pc:sldMk cId="2725798271" sldId="2592"/>
        </pc:sldMkLst>
        <pc:spChg chg="del mod">
          <ac:chgData name="Clark, Connie" userId="73351e60-ad32-4085-a232-1d9f9b189479" providerId="ADAL" clId="{917F1D2D-0709-4416-9399-361390DAD1ED}" dt="2021-04-12T15:43:15.937" v="1" actId="478"/>
          <ac:spMkLst>
            <pc:docMk/>
            <pc:sldMk cId="2725798271" sldId="2592"/>
            <ac:spMk id="3" creationId="{5F96B8A1-FD0F-4312-8651-18181268F674}"/>
          </ac:spMkLst>
        </pc:spChg>
      </pc:sldChg>
    </pc:docChg>
  </pc:docChgLst>
  <pc:docChgLst>
    <pc:chgData name="Clark, Connie" userId="73351e60-ad32-4085-a232-1d9f9b189479" providerId="ADAL" clId="{D8B7AF39-8CC6-4864-BEE5-F767F4F9C739}"/>
    <pc:docChg chg="modSld">
      <pc:chgData name="Clark, Connie" userId="73351e60-ad32-4085-a232-1d9f9b189479" providerId="ADAL" clId="{D8B7AF39-8CC6-4864-BEE5-F767F4F9C739}" dt="2021-03-22T17:50:55.591" v="90" actId="20577"/>
      <pc:docMkLst>
        <pc:docMk/>
      </pc:docMkLst>
      <pc:sldChg chg="addSp modSp mod">
        <pc:chgData name="Clark, Connie" userId="73351e60-ad32-4085-a232-1d9f9b189479" providerId="ADAL" clId="{D8B7AF39-8CC6-4864-BEE5-F767F4F9C739}" dt="2021-03-22T17:44:43.449" v="7" actId="20577"/>
        <pc:sldMkLst>
          <pc:docMk/>
          <pc:sldMk cId="3989775575" sldId="2590"/>
        </pc:sldMkLst>
        <pc:spChg chg="mod">
          <ac:chgData name="Clark, Connie" userId="73351e60-ad32-4085-a232-1d9f9b189479" providerId="ADAL" clId="{D8B7AF39-8CC6-4864-BEE5-F767F4F9C739}" dt="2021-03-22T17:44:43.449" v="7" actId="20577"/>
          <ac:spMkLst>
            <pc:docMk/>
            <pc:sldMk cId="3989775575" sldId="2590"/>
            <ac:spMk id="3" creationId="{9B23F502-46B5-4096-9C61-5D908A82862C}"/>
          </ac:spMkLst>
        </pc:spChg>
        <pc:spChg chg="add mod">
          <ac:chgData name="Clark, Connie" userId="73351e60-ad32-4085-a232-1d9f9b189479" providerId="ADAL" clId="{D8B7AF39-8CC6-4864-BEE5-F767F4F9C739}" dt="2021-03-22T17:44:11.398" v="0"/>
          <ac:spMkLst>
            <pc:docMk/>
            <pc:sldMk cId="3989775575" sldId="2590"/>
            <ac:spMk id="4" creationId="{F4ECC8FF-07C7-43C9-9879-2ACEB579A1D6}"/>
          </ac:spMkLst>
        </pc:spChg>
        <pc:spChg chg="add mod">
          <ac:chgData name="Clark, Connie" userId="73351e60-ad32-4085-a232-1d9f9b189479" providerId="ADAL" clId="{D8B7AF39-8CC6-4864-BEE5-F767F4F9C739}" dt="2021-03-22T17:44:11.398" v="0"/>
          <ac:spMkLst>
            <pc:docMk/>
            <pc:sldMk cId="3989775575" sldId="2590"/>
            <ac:spMk id="5" creationId="{F4B67D1E-A674-43D4-A59A-6149A11208F2}"/>
          </ac:spMkLst>
        </pc:spChg>
      </pc:sldChg>
      <pc:sldChg chg="addSp modSp mod">
        <pc:chgData name="Clark, Connie" userId="73351e60-ad32-4085-a232-1d9f9b189479" providerId="ADAL" clId="{D8B7AF39-8CC6-4864-BEE5-F767F4F9C739}" dt="2021-03-22T17:50:55.591" v="90" actId="20577"/>
        <pc:sldMkLst>
          <pc:docMk/>
          <pc:sldMk cId="2725798271" sldId="2592"/>
        </pc:sldMkLst>
        <pc:spChg chg="mod">
          <ac:chgData name="Clark, Connie" userId="73351e60-ad32-4085-a232-1d9f9b189479" providerId="ADAL" clId="{D8B7AF39-8CC6-4864-BEE5-F767F4F9C739}" dt="2021-03-22T17:45:30.957" v="10"/>
          <ac:spMkLst>
            <pc:docMk/>
            <pc:sldMk cId="2725798271" sldId="2592"/>
            <ac:spMk id="2" creationId="{F32F0E88-51B0-499D-8D91-953746DF11BE}"/>
          </ac:spMkLst>
        </pc:spChg>
        <pc:spChg chg="add mod">
          <ac:chgData name="Clark, Connie" userId="73351e60-ad32-4085-a232-1d9f9b189479" providerId="ADAL" clId="{D8B7AF39-8CC6-4864-BEE5-F767F4F9C739}" dt="2021-03-22T17:49:46.884" v="58"/>
          <ac:spMkLst>
            <pc:docMk/>
            <pc:sldMk cId="2725798271" sldId="2592"/>
            <ac:spMk id="3" creationId="{5F96B8A1-FD0F-4312-8651-18181268F674}"/>
          </ac:spMkLst>
        </pc:spChg>
        <pc:spChg chg="add mod">
          <ac:chgData name="Clark, Connie" userId="73351e60-ad32-4085-a232-1d9f9b189479" providerId="ADAL" clId="{D8B7AF39-8CC6-4864-BEE5-F767F4F9C739}" dt="2021-03-22T17:49:46.884" v="58"/>
          <ac:spMkLst>
            <pc:docMk/>
            <pc:sldMk cId="2725798271" sldId="2592"/>
            <ac:spMk id="4" creationId="{BB978CD3-E74E-4477-B3AF-230AE258AA02}"/>
          </ac:spMkLst>
        </pc:spChg>
        <pc:spChg chg="mod">
          <ac:chgData name="Clark, Connie" userId="73351e60-ad32-4085-a232-1d9f9b189479" providerId="ADAL" clId="{D8B7AF39-8CC6-4864-BEE5-F767F4F9C739}" dt="2021-03-22T17:47:23.404" v="33" actId="20577"/>
          <ac:spMkLst>
            <pc:docMk/>
            <pc:sldMk cId="2725798271" sldId="2592"/>
            <ac:spMk id="41" creationId="{1A4B2C7D-97FB-4BED-A5D8-729EABCAFFAD}"/>
          </ac:spMkLst>
        </pc:spChg>
        <pc:spChg chg="mod">
          <ac:chgData name="Clark, Connie" userId="73351e60-ad32-4085-a232-1d9f9b189479" providerId="ADAL" clId="{D8B7AF39-8CC6-4864-BEE5-F767F4F9C739}" dt="2021-03-22T17:48:00.886" v="46" actId="20577"/>
          <ac:spMkLst>
            <pc:docMk/>
            <pc:sldMk cId="2725798271" sldId="2592"/>
            <ac:spMk id="42" creationId="{158FF276-44AB-4C80-902D-68948C7D06A1}"/>
          </ac:spMkLst>
        </pc:spChg>
        <pc:spChg chg="mod">
          <ac:chgData name="Clark, Connie" userId="73351e60-ad32-4085-a232-1d9f9b189479" providerId="ADAL" clId="{D8B7AF39-8CC6-4864-BEE5-F767F4F9C739}" dt="2021-03-22T17:49:23.832" v="57" actId="20577"/>
          <ac:spMkLst>
            <pc:docMk/>
            <pc:sldMk cId="2725798271" sldId="2592"/>
            <ac:spMk id="44" creationId="{DEA91E27-DEED-444E-B953-C5B0E24EC323}"/>
          </ac:spMkLst>
        </pc:spChg>
        <pc:spChg chg="mod">
          <ac:chgData name="Clark, Connie" userId="73351e60-ad32-4085-a232-1d9f9b189479" providerId="ADAL" clId="{D8B7AF39-8CC6-4864-BEE5-F767F4F9C739}" dt="2021-03-22T17:50:36.935" v="74" actId="1076"/>
          <ac:spMkLst>
            <pc:docMk/>
            <pc:sldMk cId="2725798271" sldId="2592"/>
            <ac:spMk id="45" creationId="{12D705FF-ACCD-41B6-BAA7-8D0B611C4D6B}"/>
          </ac:spMkLst>
        </pc:spChg>
        <pc:spChg chg="mod">
          <ac:chgData name="Clark, Connie" userId="73351e60-ad32-4085-a232-1d9f9b189479" providerId="ADAL" clId="{D8B7AF39-8CC6-4864-BEE5-F767F4F9C739}" dt="2021-03-22T17:50:55.591" v="90" actId="20577"/>
          <ac:spMkLst>
            <pc:docMk/>
            <pc:sldMk cId="2725798271" sldId="2592"/>
            <ac:spMk id="46" creationId="{4D75DE0E-369C-438C-8493-B8A20762C0D3}"/>
          </ac:spMkLst>
        </pc:spChg>
        <pc:spChg chg="mod">
          <ac:chgData name="Clark, Connie" userId="73351e60-ad32-4085-a232-1d9f9b189479" providerId="ADAL" clId="{D8B7AF39-8CC6-4864-BEE5-F767F4F9C739}" dt="2021-03-22T17:46:07.406" v="18"/>
          <ac:spMkLst>
            <pc:docMk/>
            <pc:sldMk cId="2725798271" sldId="2592"/>
            <ac:spMk id="49" creationId="{F4BF6339-9218-4FD9-A696-8813D6F13EE7}"/>
          </ac:spMkLst>
        </pc:spChg>
      </pc:sldChg>
      <pc:sldChg chg="modSp">
        <pc:chgData name="Clark, Connie" userId="73351e60-ad32-4085-a232-1d9f9b189479" providerId="ADAL" clId="{D8B7AF39-8CC6-4864-BEE5-F767F4F9C739}" dt="2021-03-22T17:45:16.166" v="9"/>
        <pc:sldMkLst>
          <pc:docMk/>
          <pc:sldMk cId="731020652" sldId="2593"/>
        </pc:sldMkLst>
        <pc:spChg chg="mod">
          <ac:chgData name="Clark, Connie" userId="73351e60-ad32-4085-a232-1d9f9b189479" providerId="ADAL" clId="{D8B7AF39-8CC6-4864-BEE5-F767F4F9C739}" dt="2021-03-22T17:45:16.166" v="9"/>
          <ac:spMkLst>
            <pc:docMk/>
            <pc:sldMk cId="731020652" sldId="2593"/>
            <ac:spMk id="2" creationId="{80A7ECF7-EF96-432D-BF64-60B3FEA841EA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3624E9B5-0AA4-BA4B-9B5E-12FD16809ACB}" type="datetimeFigureOut">
              <a:rPr lang="pt-BR" smtClean="0"/>
              <a:pPr/>
              <a:t>12/04/2021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20880FD3-CD2A-8C4E-B84F-94E080745D45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162902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80FD3-CD2A-8C4E-B84F-94E080745D45}" type="slidenum">
              <a:rPr lang="pt-BR" smtClean="0"/>
              <a:pPr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744955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13.png"/></Relationships>
</file>

<file path=ppt/slideLayouts/_rels/slideLayout16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13.png"/></Relationships>
</file>

<file path=ppt/slideLayouts/_rels/slideLayout16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13.png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13.png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13.png"/></Relationships>
</file>

<file path=ppt/slideLayouts/_rels/slideLayout16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13.png"/></Relationships>
</file>

<file path=ppt/slideLayouts/_rels/slideLayout16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13.pn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+mj-lt"/>
              </a:defRPr>
            </a:lvl1pPr>
          </a:lstStyle>
          <a:p>
            <a:r>
              <a:rPr lang="pt-BR"/>
              <a:t>Clique editar estilo do </a:t>
            </a:r>
            <a:r>
              <a:rPr lang="pt-BR" err="1"/>
              <a:t>títuparalo</a:t>
            </a:r>
            <a:r>
              <a:rPr lang="pt-BR"/>
              <a:t>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AC413-F642-7B43-A968-2D751862D47C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91C19-2013-9A4F-B879-86BE714CC76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100255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AC413-F642-7B43-A968-2D751862D47C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91C19-2013-9A4F-B879-86BE714CC76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4674754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19830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59F806-7B2B-402D-BF57-0795A5560A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59F806-7B2B-402D-BF57-0795A5560A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EDBD6F-66CB-4B71-9200-9138DAA9E5C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3" y="808490"/>
            <a:ext cx="11833435" cy="430887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en-US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600" y="1600203"/>
            <a:ext cx="10972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838718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705" y="1713"/>
            <a:ext cx="12195050" cy="68562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58369" y="2336800"/>
            <a:ext cx="5788152" cy="2091087"/>
          </a:xfrm>
        </p:spPr>
        <p:txBody>
          <a:bodyPr anchor="ctr">
            <a:normAutofit/>
          </a:bodyPr>
          <a:lstStyle>
            <a:lvl1pPr algn="l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58369" y="4427887"/>
            <a:ext cx="5789202" cy="128551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1292" y="6366637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3E7FBFD-78E1-42FB-85FC-D9CE5E3DEFA5}" type="slidenum">
              <a:rPr lang="en-US" smtClean="0">
                <a:solidFill>
                  <a:srgbClr val="10069F"/>
                </a:solidFill>
              </a:rPr>
              <a:pPr/>
              <a:t>‹Nº›</a:t>
            </a:fld>
            <a:endParaRPr lang="en-US">
              <a:solidFill>
                <a:srgbClr val="10069F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270622" y="276225"/>
            <a:ext cx="2165537" cy="271230"/>
            <a:chOff x="158750" y="276225"/>
            <a:chExt cx="6388100" cy="800100"/>
          </a:xfrm>
          <a:solidFill>
            <a:schemeClr val="accent1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11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3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5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53074" y="553073"/>
            <a:ext cx="3571665" cy="3168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0" u="none">
                <a:solidFill>
                  <a:schemeClr val="accent1"/>
                </a:solidFill>
              </a:defRPr>
            </a:lvl1pPr>
            <a:lvl2pPr marL="457200" indent="0">
              <a:buNone/>
              <a:defRPr b="0" u="none"/>
            </a:lvl2pPr>
            <a:lvl3pPr marL="914400" indent="0">
              <a:buNone/>
              <a:defRPr b="0" u="none"/>
            </a:lvl3pPr>
            <a:lvl4pPr marL="1371600" indent="0">
              <a:buNone/>
              <a:defRPr b="0" u="none"/>
            </a:lvl4pPr>
            <a:lvl5pPr marL="1828800" indent="0">
              <a:buNone/>
              <a:defRPr b="0" u="none"/>
            </a:lvl5pPr>
          </a:lstStyle>
          <a:p>
            <a:pPr lvl="0"/>
            <a:r>
              <a:rPr lang="en-US"/>
              <a:t>BU/Function/Region</a:t>
            </a:r>
          </a:p>
        </p:txBody>
      </p:sp>
    </p:spTree>
    <p:extLst>
      <p:ext uri="{BB962C8B-B14F-4D97-AF65-F5344CB8AC3E}">
        <p14:creationId xmlns:p14="http://schemas.microsoft.com/office/powerpoint/2010/main" val="1333447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2D7798-8550-4E42-83AF-A41883ED2591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A463D-D2B9-534F-8AF7-13A264943A2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4217824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883524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686DCD-966A-4CD8-B214-73988935E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7887F4-7302-4A0B-AA8E-C10DCC64FD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95401"/>
            <a:ext cx="10972800" cy="483076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5993282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4661A9-7204-445B-936C-7D2DD539C7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4661A9-7204-445B-936C-7D2DD539C7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535E5E0-A063-4CF4-9ED9-43E2E5CCC8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3" y="808490"/>
            <a:ext cx="11833435" cy="430887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en-US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4156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AC413-F642-7B43-A968-2D751862D47C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91C19-2013-9A4F-B879-86BE714CC76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0490595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59F806-7B2B-402D-BF57-0795A5560A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59F806-7B2B-402D-BF57-0795A5560A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EDBD6F-66CB-4B71-9200-9138DAA9E5C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3" y="808490"/>
            <a:ext cx="11833435" cy="430887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en-US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116273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5490729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1312360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2507212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2795558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260561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099721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3200" b="1" i="0" baseline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80975" y="127001"/>
            <a:ext cx="11839576" cy="10541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619456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3814299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850223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AC413-F642-7B43-A968-2D751862D47C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91C19-2013-9A4F-B879-86BE714CC76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540097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2230175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599916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8252195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59F806-7B2B-402D-BF57-0795A5560A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59F806-7B2B-402D-BF57-0795A5560A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EDBD6F-66CB-4B71-9200-9138DAA9E5C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3" y="808490"/>
            <a:ext cx="11833435" cy="430887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en-US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600" y="1600203"/>
            <a:ext cx="10972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456458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4C19AC2-94A0-46E3-BDDE-FB1B5E35CE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54DE4E6-20D3-4295-81E0-8EB0295AAF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D06D592-A0A4-42A3-A1FC-4C3D2E057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8E7FE2F-51F5-427B-A63C-EE232B78AC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65A9700-4BCB-4624-A7DD-5340E8467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2145863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7B7CE68-09DA-4698-93FA-36B98981A9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43AD844-4E14-4D58-8B77-DF6AE0ECB2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17DE40B-BF37-4EF0-8AC4-9D2C0743F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228C21E-3F6F-4B83-8F2B-2ADA1FE890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91F976D-E004-44EA-A02A-39D0ABBA48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588465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1131A98-39B0-4A70-8E34-54F615A581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1C419B8-0450-485D-B747-31FD5EE3A0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7B0039E-3177-4AEA-8556-C6B5A0F7E4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4E3EBC1-933D-4B0F-8BD7-A78267B03B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7E50517-3C99-45F5-A58C-5081457F9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4281532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6DD583-A87A-4C11-A465-FB470AA7B8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EBFB355-0CC9-4669-86F8-446EE0A44D5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5A4C5696-EE2B-466F-AD1E-20BF4DDE53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082DEAB-753E-4B96-857B-A5F52822EA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97540C8-2765-4E2B-A2FC-FA4238BCA5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BDA55DA-2D5E-49DD-BE9E-83616672D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1357469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14CE06F-722D-4DE3-BF23-A16E218FA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4ABD602-7887-49E2-B420-88E4F2298D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C5BC9D9-19D2-45BE-BF59-4A1B37D64A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8E0EA0A7-5751-42C4-99BA-F3C025A7FD9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B008C95-8CE6-4472-997E-8DFF9B842A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F252E926-4B7A-40D2-B760-06C074AF18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B07A2F7-BA06-4221-9350-AF735F331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505DD545-1630-4D47-A47D-546735CAE3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7324601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F33D10-5C45-47F5-AAFF-ACA2A102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31758764-E2BB-4082-9A9F-C6A6AF200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0DACB40-79B6-4D18-92E9-2F80630D6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67E9EF8A-373C-4B77-8AA9-D0C868380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61754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AC413-F642-7B43-A968-2D751862D47C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91C19-2013-9A4F-B879-86BE714CC76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2885095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18A98F7F-DE9D-4022-A2BB-2146A0A3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5A2D3D89-C828-4EF5-B7D2-B7670B0CF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677264F7-6FAC-4EC6-B131-026BF2E8E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090034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8C22E03-2F48-4C91-B919-848F1003B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348228C-7D1C-4B68-A1A4-4E9531317B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C19DA7-5239-4461-B253-6749C3D42D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8A06EF9-368B-4EF4-9A12-8147E4E1BE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1485D1F-932E-4163-90E9-421A7C29DB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B18BF014-CC75-4DEE-AA9F-706CC1DB9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4259087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1936C34-DCE4-446D-A105-EF182B7955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030FB3AD-83F2-494E-87EF-47F3877930B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98D57D9-D114-442A-A83F-B517DD1780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AFD0395-EDF2-4FE7-BA68-1F699E7C6C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CCB6F54-39C9-447E-9D5F-F077AAE36E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4D455A4-3B10-4877-AFA3-503E064803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2264742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B4FEB1D-AF7B-4738-9FAE-E6E15453EF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82FFB72-4BF0-4424-8677-3CCAE1B5CC6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5AABC09-20F9-4E4A-B6A7-49A5E5EE1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48EB4EB-80CB-4773-AF7C-D771B53E9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80C98CC-44AD-4861-8161-D9752A7DA0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7262849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08623B0A-240B-42D1-BE58-2EFC3F09D6D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06B46B1-3B1A-4089-A405-CB0129410B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F9E2932-7017-4895-A2AB-FAC2061970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21E60E-BB72-4308-930E-69D146B84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5AC209D-56CB-47EE-9D0E-066E8BECCF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8023432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splash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" name="Group 110"/>
          <p:cNvGrpSpPr/>
          <p:nvPr userDrawn="1"/>
        </p:nvGrpSpPr>
        <p:grpSpPr>
          <a:xfrm>
            <a:off x="3388559" y="1687629"/>
            <a:ext cx="8814356" cy="4310435"/>
            <a:chOff x="2541419" y="1687628"/>
            <a:chExt cx="6610767" cy="4310435"/>
          </a:xfrm>
          <a:solidFill>
            <a:schemeClr val="accent1"/>
          </a:solidFill>
        </p:grpSpPr>
        <p:sp>
          <p:nvSpPr>
            <p:cNvPr id="145" name="Freeform 7"/>
            <p:cNvSpPr>
              <a:spLocks/>
            </p:cNvSpPr>
            <p:nvPr userDrawn="1"/>
          </p:nvSpPr>
          <p:spPr bwMode="auto">
            <a:xfrm>
              <a:off x="3782953" y="1707783"/>
              <a:ext cx="34935" cy="79275"/>
            </a:xfrm>
            <a:custGeom>
              <a:avLst/>
              <a:gdLst>
                <a:gd name="T0" fmla="*/ 11 w 11"/>
                <a:gd name="T1" fmla="*/ 13 h 25"/>
                <a:gd name="T2" fmla="*/ 11 w 11"/>
                <a:gd name="T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25">
                  <a:moveTo>
                    <a:pt x="11" y="13"/>
                  </a:moveTo>
                  <a:cubicBezTo>
                    <a:pt x="0" y="0"/>
                    <a:pt x="4" y="25"/>
                    <a:pt x="1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6" name="Freeform 8"/>
            <p:cNvSpPr>
              <a:spLocks/>
            </p:cNvSpPr>
            <p:nvPr userDrawn="1"/>
          </p:nvSpPr>
          <p:spPr bwMode="auto">
            <a:xfrm>
              <a:off x="4782630" y="1722563"/>
              <a:ext cx="30904" cy="67183"/>
            </a:xfrm>
            <a:custGeom>
              <a:avLst/>
              <a:gdLst>
                <a:gd name="T0" fmla="*/ 10 w 10"/>
                <a:gd name="T1" fmla="*/ 11 h 21"/>
                <a:gd name="T2" fmla="*/ 0 w 10"/>
                <a:gd name="T3" fmla="*/ 11 h 21"/>
                <a:gd name="T4" fmla="*/ 10 w 10"/>
                <a:gd name="T5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1">
                  <a:moveTo>
                    <a:pt x="10" y="11"/>
                  </a:moveTo>
                  <a:cubicBezTo>
                    <a:pt x="5" y="15"/>
                    <a:pt x="1" y="0"/>
                    <a:pt x="0" y="11"/>
                  </a:cubicBezTo>
                  <a:cubicBezTo>
                    <a:pt x="1" y="13"/>
                    <a:pt x="10" y="21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7" name="Freeform 9"/>
            <p:cNvSpPr>
              <a:spLocks/>
            </p:cNvSpPr>
            <p:nvPr userDrawn="1"/>
          </p:nvSpPr>
          <p:spPr bwMode="auto">
            <a:xfrm>
              <a:off x="8294936" y="1770934"/>
              <a:ext cx="34935" cy="51059"/>
            </a:xfrm>
            <a:custGeom>
              <a:avLst/>
              <a:gdLst>
                <a:gd name="T0" fmla="*/ 3 w 11"/>
                <a:gd name="T1" fmla="*/ 0 h 16"/>
                <a:gd name="T2" fmla="*/ 0 w 11"/>
                <a:gd name="T3" fmla="*/ 15 h 16"/>
                <a:gd name="T4" fmla="*/ 3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3" y="0"/>
                  </a:moveTo>
                  <a:cubicBezTo>
                    <a:pt x="4" y="7"/>
                    <a:pt x="0" y="8"/>
                    <a:pt x="0" y="15"/>
                  </a:cubicBezTo>
                  <a:cubicBezTo>
                    <a:pt x="8" y="16"/>
                    <a:pt x="11" y="1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8" name="Freeform 10"/>
            <p:cNvSpPr>
              <a:spLocks/>
            </p:cNvSpPr>
            <p:nvPr userDrawn="1"/>
          </p:nvSpPr>
          <p:spPr bwMode="auto">
            <a:xfrm>
              <a:off x="8345995" y="1783027"/>
              <a:ext cx="18811" cy="57777"/>
            </a:xfrm>
            <a:custGeom>
              <a:avLst/>
              <a:gdLst>
                <a:gd name="T0" fmla="*/ 6 w 6"/>
                <a:gd name="T1" fmla="*/ 18 h 18"/>
                <a:gd name="T2" fmla="*/ 1 w 6"/>
                <a:gd name="T3" fmla="*/ 0 h 18"/>
                <a:gd name="T4" fmla="*/ 6 w 6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8">
                  <a:moveTo>
                    <a:pt x="6" y="18"/>
                  </a:moveTo>
                  <a:cubicBezTo>
                    <a:pt x="6" y="9"/>
                    <a:pt x="5" y="3"/>
                    <a:pt x="1" y="0"/>
                  </a:cubicBezTo>
                  <a:cubicBezTo>
                    <a:pt x="0" y="9"/>
                    <a:pt x="0" y="18"/>
                    <a:pt x="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9" name="Freeform 11"/>
            <p:cNvSpPr>
              <a:spLocks/>
            </p:cNvSpPr>
            <p:nvPr userDrawn="1"/>
          </p:nvSpPr>
          <p:spPr bwMode="auto">
            <a:xfrm>
              <a:off x="8921078" y="1783027"/>
              <a:ext cx="79275" cy="123616"/>
            </a:xfrm>
            <a:custGeom>
              <a:avLst/>
              <a:gdLst>
                <a:gd name="T0" fmla="*/ 5 w 25"/>
                <a:gd name="T1" fmla="*/ 33 h 39"/>
                <a:gd name="T2" fmla="*/ 10 w 25"/>
                <a:gd name="T3" fmla="*/ 37 h 39"/>
                <a:gd name="T4" fmla="*/ 13 w 25"/>
                <a:gd name="T5" fmla="*/ 33 h 39"/>
                <a:gd name="T6" fmla="*/ 19 w 25"/>
                <a:gd name="T7" fmla="*/ 26 h 39"/>
                <a:gd name="T8" fmla="*/ 24 w 25"/>
                <a:gd name="T9" fmla="*/ 18 h 39"/>
                <a:gd name="T10" fmla="*/ 16 w 25"/>
                <a:gd name="T11" fmla="*/ 0 h 39"/>
                <a:gd name="T12" fmla="*/ 2 w 25"/>
                <a:gd name="T13" fmla="*/ 15 h 39"/>
                <a:gd name="T14" fmla="*/ 13 w 25"/>
                <a:gd name="T15" fmla="*/ 11 h 39"/>
                <a:gd name="T16" fmla="*/ 10 w 25"/>
                <a:gd name="T17" fmla="*/ 30 h 39"/>
                <a:gd name="T18" fmla="*/ 0 w 25"/>
                <a:gd name="T19" fmla="*/ 26 h 39"/>
                <a:gd name="T20" fmla="*/ 2 w 25"/>
                <a:gd name="T21" fmla="*/ 37 h 39"/>
                <a:gd name="T22" fmla="*/ 5 w 25"/>
                <a:gd name="T23" fmla="*/ 3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39">
                  <a:moveTo>
                    <a:pt x="5" y="33"/>
                  </a:moveTo>
                  <a:cubicBezTo>
                    <a:pt x="8" y="32"/>
                    <a:pt x="9" y="38"/>
                    <a:pt x="10" y="37"/>
                  </a:cubicBezTo>
                  <a:cubicBezTo>
                    <a:pt x="12" y="36"/>
                    <a:pt x="10" y="33"/>
                    <a:pt x="13" y="33"/>
                  </a:cubicBezTo>
                  <a:cubicBezTo>
                    <a:pt x="17" y="33"/>
                    <a:pt x="16" y="26"/>
                    <a:pt x="19" y="26"/>
                  </a:cubicBezTo>
                  <a:cubicBezTo>
                    <a:pt x="22" y="25"/>
                    <a:pt x="21" y="20"/>
                    <a:pt x="24" y="18"/>
                  </a:cubicBezTo>
                  <a:cubicBezTo>
                    <a:pt x="25" y="8"/>
                    <a:pt x="19" y="6"/>
                    <a:pt x="16" y="0"/>
                  </a:cubicBezTo>
                  <a:cubicBezTo>
                    <a:pt x="10" y="3"/>
                    <a:pt x="0" y="0"/>
                    <a:pt x="2" y="15"/>
                  </a:cubicBezTo>
                  <a:cubicBezTo>
                    <a:pt x="9" y="20"/>
                    <a:pt x="11" y="0"/>
                    <a:pt x="13" y="11"/>
                  </a:cubicBezTo>
                  <a:cubicBezTo>
                    <a:pt x="14" y="21"/>
                    <a:pt x="3" y="20"/>
                    <a:pt x="10" y="30"/>
                  </a:cubicBezTo>
                  <a:cubicBezTo>
                    <a:pt x="5" y="23"/>
                    <a:pt x="5" y="32"/>
                    <a:pt x="0" y="26"/>
                  </a:cubicBezTo>
                  <a:cubicBezTo>
                    <a:pt x="0" y="30"/>
                    <a:pt x="0" y="35"/>
                    <a:pt x="2" y="37"/>
                  </a:cubicBezTo>
                  <a:cubicBezTo>
                    <a:pt x="5" y="39"/>
                    <a:pt x="5" y="33"/>
                    <a:pt x="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0" name="Freeform 12"/>
            <p:cNvSpPr>
              <a:spLocks/>
            </p:cNvSpPr>
            <p:nvPr userDrawn="1"/>
          </p:nvSpPr>
          <p:spPr bwMode="auto">
            <a:xfrm>
              <a:off x="8399741" y="1817962"/>
              <a:ext cx="16124" cy="22842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3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1" name="Freeform 13"/>
            <p:cNvSpPr>
              <a:spLocks/>
            </p:cNvSpPr>
            <p:nvPr userDrawn="1"/>
          </p:nvSpPr>
          <p:spPr bwMode="auto">
            <a:xfrm>
              <a:off x="7350349" y="1840804"/>
              <a:ext cx="14780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2" name="Freeform 14"/>
            <p:cNvSpPr>
              <a:spLocks/>
            </p:cNvSpPr>
            <p:nvPr userDrawn="1"/>
          </p:nvSpPr>
          <p:spPr bwMode="auto">
            <a:xfrm>
              <a:off x="8534106" y="1840804"/>
              <a:ext cx="28217" cy="72557"/>
            </a:xfrm>
            <a:custGeom>
              <a:avLst/>
              <a:gdLst>
                <a:gd name="T0" fmla="*/ 9 w 9"/>
                <a:gd name="T1" fmla="*/ 23 h 23"/>
                <a:gd name="T2" fmla="*/ 3 w 9"/>
                <a:gd name="T3" fmla="*/ 0 h 23"/>
                <a:gd name="T4" fmla="*/ 9 w 9"/>
                <a:gd name="T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3">
                  <a:moveTo>
                    <a:pt x="9" y="23"/>
                  </a:moveTo>
                  <a:cubicBezTo>
                    <a:pt x="6" y="16"/>
                    <a:pt x="8" y="4"/>
                    <a:pt x="3" y="0"/>
                  </a:cubicBezTo>
                  <a:cubicBezTo>
                    <a:pt x="0" y="5"/>
                    <a:pt x="1" y="23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3" name="Freeform 15"/>
            <p:cNvSpPr>
              <a:spLocks/>
            </p:cNvSpPr>
            <p:nvPr userDrawn="1"/>
          </p:nvSpPr>
          <p:spPr bwMode="auto">
            <a:xfrm>
              <a:off x="8986917" y="1831399"/>
              <a:ext cx="38966" cy="104805"/>
            </a:xfrm>
            <a:custGeom>
              <a:avLst/>
              <a:gdLst>
                <a:gd name="T0" fmla="*/ 3 w 12"/>
                <a:gd name="T1" fmla="*/ 33 h 33"/>
                <a:gd name="T2" fmla="*/ 8 w 12"/>
                <a:gd name="T3" fmla="*/ 33 h 33"/>
                <a:gd name="T4" fmla="*/ 11 w 12"/>
                <a:gd name="T5" fmla="*/ 29 h 33"/>
                <a:gd name="T6" fmla="*/ 6 w 12"/>
                <a:gd name="T7" fmla="*/ 18 h 33"/>
                <a:gd name="T8" fmla="*/ 3 w 12"/>
                <a:gd name="T9" fmla="*/ 3 h 33"/>
                <a:gd name="T10" fmla="*/ 3 w 12"/>
                <a:gd name="T1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33">
                  <a:moveTo>
                    <a:pt x="3" y="33"/>
                  </a:moveTo>
                  <a:cubicBezTo>
                    <a:pt x="5" y="33"/>
                    <a:pt x="7" y="33"/>
                    <a:pt x="8" y="33"/>
                  </a:cubicBezTo>
                  <a:cubicBezTo>
                    <a:pt x="9" y="31"/>
                    <a:pt x="9" y="29"/>
                    <a:pt x="11" y="29"/>
                  </a:cubicBezTo>
                  <a:cubicBezTo>
                    <a:pt x="12" y="22"/>
                    <a:pt x="7" y="22"/>
                    <a:pt x="6" y="18"/>
                  </a:cubicBezTo>
                  <a:cubicBezTo>
                    <a:pt x="8" y="15"/>
                    <a:pt x="12" y="0"/>
                    <a:pt x="3" y="3"/>
                  </a:cubicBezTo>
                  <a:cubicBezTo>
                    <a:pt x="0" y="17"/>
                    <a:pt x="1" y="24"/>
                    <a:pt x="3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4" name="Freeform 16"/>
            <p:cNvSpPr>
              <a:spLocks/>
            </p:cNvSpPr>
            <p:nvPr userDrawn="1"/>
          </p:nvSpPr>
          <p:spPr bwMode="auto">
            <a:xfrm>
              <a:off x="8476329" y="1887832"/>
              <a:ext cx="60464" cy="83306"/>
            </a:xfrm>
            <a:custGeom>
              <a:avLst/>
              <a:gdLst>
                <a:gd name="T0" fmla="*/ 11 w 19"/>
                <a:gd name="T1" fmla="*/ 26 h 26"/>
                <a:gd name="T2" fmla="*/ 19 w 19"/>
                <a:gd name="T3" fmla="*/ 15 h 26"/>
                <a:gd name="T4" fmla="*/ 19 w 19"/>
                <a:gd name="T5" fmla="*/ 0 h 26"/>
                <a:gd name="T6" fmla="*/ 11 w 19"/>
                <a:gd name="T7" fmla="*/ 0 h 26"/>
                <a:gd name="T8" fmla="*/ 11 w 19"/>
                <a:gd name="T9" fmla="*/ 15 h 26"/>
                <a:gd name="T10" fmla="*/ 11 w 19"/>
                <a:gd name="T1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6">
                  <a:moveTo>
                    <a:pt x="11" y="26"/>
                  </a:moveTo>
                  <a:cubicBezTo>
                    <a:pt x="14" y="23"/>
                    <a:pt x="11" y="12"/>
                    <a:pt x="19" y="15"/>
                  </a:cubicBezTo>
                  <a:cubicBezTo>
                    <a:pt x="19" y="10"/>
                    <a:pt x="19" y="5"/>
                    <a:pt x="19" y="0"/>
                  </a:cubicBezTo>
                  <a:cubicBezTo>
                    <a:pt x="16" y="0"/>
                    <a:pt x="13" y="0"/>
                    <a:pt x="11" y="0"/>
                  </a:cubicBezTo>
                  <a:cubicBezTo>
                    <a:pt x="7" y="10"/>
                    <a:pt x="11" y="11"/>
                    <a:pt x="11" y="15"/>
                  </a:cubicBezTo>
                  <a:cubicBezTo>
                    <a:pt x="10" y="17"/>
                    <a:pt x="0" y="23"/>
                    <a:pt x="11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5" name="Freeform 17"/>
            <p:cNvSpPr>
              <a:spLocks/>
            </p:cNvSpPr>
            <p:nvPr userDrawn="1"/>
          </p:nvSpPr>
          <p:spPr bwMode="auto">
            <a:xfrm>
              <a:off x="8771933" y="1885145"/>
              <a:ext cx="37622" cy="81963"/>
            </a:xfrm>
            <a:custGeom>
              <a:avLst/>
              <a:gdLst>
                <a:gd name="T0" fmla="*/ 12 w 12"/>
                <a:gd name="T1" fmla="*/ 23 h 26"/>
                <a:gd name="T2" fmla="*/ 1 w 12"/>
                <a:gd name="T3" fmla="*/ 1 h 26"/>
                <a:gd name="T4" fmla="*/ 6 w 12"/>
                <a:gd name="T5" fmla="*/ 16 h 26"/>
                <a:gd name="T6" fmla="*/ 12 w 12"/>
                <a:gd name="T7" fmla="*/ 2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12" y="23"/>
                  </a:moveTo>
                  <a:cubicBezTo>
                    <a:pt x="9" y="15"/>
                    <a:pt x="11" y="0"/>
                    <a:pt x="1" y="1"/>
                  </a:cubicBezTo>
                  <a:cubicBezTo>
                    <a:pt x="0" y="7"/>
                    <a:pt x="5" y="12"/>
                    <a:pt x="6" y="16"/>
                  </a:cubicBezTo>
                  <a:cubicBezTo>
                    <a:pt x="8" y="19"/>
                    <a:pt x="6" y="26"/>
                    <a:pt x="1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6" name="Freeform 18"/>
            <p:cNvSpPr>
              <a:spLocks/>
            </p:cNvSpPr>
            <p:nvPr userDrawn="1"/>
          </p:nvSpPr>
          <p:spPr bwMode="auto">
            <a:xfrm>
              <a:off x="4985522" y="1901268"/>
              <a:ext cx="18811" cy="21498"/>
            </a:xfrm>
            <a:custGeom>
              <a:avLst/>
              <a:gdLst>
                <a:gd name="T0" fmla="*/ 0 w 6"/>
                <a:gd name="T1" fmla="*/ 7 h 7"/>
                <a:gd name="T2" fmla="*/ 6 w 6"/>
                <a:gd name="T3" fmla="*/ 7 h 7"/>
                <a:gd name="T4" fmla="*/ 6 w 6"/>
                <a:gd name="T5" fmla="*/ 0 h 7"/>
                <a:gd name="T6" fmla="*/ 0 w 6"/>
                <a:gd name="T7" fmla="*/ 0 h 7"/>
                <a:gd name="T8" fmla="*/ 0 w 6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7"/>
                  </a:moveTo>
                  <a:cubicBezTo>
                    <a:pt x="2" y="7"/>
                    <a:pt x="4" y="7"/>
                    <a:pt x="6" y="7"/>
                  </a:cubicBezTo>
                  <a:cubicBezTo>
                    <a:pt x="6" y="5"/>
                    <a:pt x="6" y="2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7" name="Freeform 19"/>
            <p:cNvSpPr>
              <a:spLocks/>
            </p:cNvSpPr>
            <p:nvPr userDrawn="1"/>
          </p:nvSpPr>
          <p:spPr bwMode="auto">
            <a:xfrm>
              <a:off x="7707760" y="1901268"/>
              <a:ext cx="16124" cy="21498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4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8" name="Freeform 20"/>
            <p:cNvSpPr>
              <a:spLocks/>
            </p:cNvSpPr>
            <p:nvPr userDrawn="1"/>
          </p:nvSpPr>
          <p:spPr bwMode="auto">
            <a:xfrm>
              <a:off x="5395336" y="1910674"/>
              <a:ext cx="44341" cy="44341"/>
            </a:xfrm>
            <a:custGeom>
              <a:avLst/>
              <a:gdLst>
                <a:gd name="T0" fmla="*/ 0 w 14"/>
                <a:gd name="T1" fmla="*/ 8 h 14"/>
                <a:gd name="T2" fmla="*/ 14 w 14"/>
                <a:gd name="T3" fmla="*/ 4 h 14"/>
                <a:gd name="T4" fmla="*/ 0 w 14"/>
                <a:gd name="T5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0" y="8"/>
                  </a:moveTo>
                  <a:cubicBezTo>
                    <a:pt x="4" y="14"/>
                    <a:pt x="11" y="11"/>
                    <a:pt x="14" y="4"/>
                  </a:cubicBezTo>
                  <a:cubicBezTo>
                    <a:pt x="10" y="6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9" name="Freeform 21"/>
            <p:cNvSpPr>
              <a:spLocks/>
            </p:cNvSpPr>
            <p:nvPr userDrawn="1"/>
          </p:nvSpPr>
          <p:spPr bwMode="auto">
            <a:xfrm>
              <a:off x="7086993" y="1910674"/>
              <a:ext cx="37622" cy="85994"/>
            </a:xfrm>
            <a:custGeom>
              <a:avLst/>
              <a:gdLst>
                <a:gd name="T0" fmla="*/ 2 w 12"/>
                <a:gd name="T1" fmla="*/ 4 h 27"/>
                <a:gd name="T2" fmla="*/ 0 w 12"/>
                <a:gd name="T3" fmla="*/ 19 h 27"/>
                <a:gd name="T4" fmla="*/ 2 w 12"/>
                <a:gd name="T5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7">
                  <a:moveTo>
                    <a:pt x="2" y="4"/>
                  </a:moveTo>
                  <a:cubicBezTo>
                    <a:pt x="2" y="11"/>
                    <a:pt x="2" y="16"/>
                    <a:pt x="0" y="19"/>
                  </a:cubicBezTo>
                  <a:cubicBezTo>
                    <a:pt x="10" y="27"/>
                    <a:pt x="12" y="0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0" name="Freeform 22"/>
            <p:cNvSpPr>
              <a:spLocks/>
            </p:cNvSpPr>
            <p:nvPr userDrawn="1"/>
          </p:nvSpPr>
          <p:spPr bwMode="auto">
            <a:xfrm>
              <a:off x="8844490" y="1906643"/>
              <a:ext cx="22842" cy="69870"/>
            </a:xfrm>
            <a:custGeom>
              <a:avLst/>
              <a:gdLst>
                <a:gd name="T0" fmla="*/ 0 w 7"/>
                <a:gd name="T1" fmla="*/ 5 h 22"/>
                <a:gd name="T2" fmla="*/ 0 w 7"/>
                <a:gd name="T3" fmla="*/ 16 h 22"/>
                <a:gd name="T4" fmla="*/ 0 w 7"/>
                <a:gd name="T5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2">
                  <a:moveTo>
                    <a:pt x="0" y="5"/>
                  </a:moveTo>
                  <a:cubicBezTo>
                    <a:pt x="0" y="9"/>
                    <a:pt x="0" y="13"/>
                    <a:pt x="0" y="16"/>
                  </a:cubicBezTo>
                  <a:cubicBezTo>
                    <a:pt x="7" y="22"/>
                    <a:pt x="7" y="0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1" name="Freeform 23"/>
            <p:cNvSpPr>
              <a:spLocks/>
            </p:cNvSpPr>
            <p:nvPr userDrawn="1"/>
          </p:nvSpPr>
          <p:spPr bwMode="auto">
            <a:xfrm>
              <a:off x="5778276" y="1906643"/>
              <a:ext cx="34935" cy="79275"/>
            </a:xfrm>
            <a:custGeom>
              <a:avLst/>
              <a:gdLst>
                <a:gd name="T0" fmla="*/ 11 w 11"/>
                <a:gd name="T1" fmla="*/ 13 h 25"/>
                <a:gd name="T2" fmla="*/ 11 w 11"/>
                <a:gd name="T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25">
                  <a:moveTo>
                    <a:pt x="11" y="13"/>
                  </a:moveTo>
                  <a:cubicBezTo>
                    <a:pt x="0" y="0"/>
                    <a:pt x="5" y="25"/>
                    <a:pt x="1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2" name="Freeform 24"/>
            <p:cNvSpPr>
              <a:spLocks/>
            </p:cNvSpPr>
            <p:nvPr userDrawn="1"/>
          </p:nvSpPr>
          <p:spPr bwMode="auto">
            <a:xfrm>
              <a:off x="5870988" y="1926798"/>
              <a:ext cx="47028" cy="30904"/>
            </a:xfrm>
            <a:custGeom>
              <a:avLst/>
              <a:gdLst>
                <a:gd name="T0" fmla="*/ 9 w 15"/>
                <a:gd name="T1" fmla="*/ 10 h 10"/>
                <a:gd name="T2" fmla="*/ 14 w 15"/>
                <a:gd name="T3" fmla="*/ 3 h 10"/>
                <a:gd name="T4" fmla="*/ 9 w 15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9" y="10"/>
                  </a:moveTo>
                  <a:cubicBezTo>
                    <a:pt x="8" y="7"/>
                    <a:pt x="15" y="5"/>
                    <a:pt x="14" y="3"/>
                  </a:cubicBezTo>
                  <a:cubicBezTo>
                    <a:pt x="12" y="0"/>
                    <a:pt x="0" y="4"/>
                    <a:pt x="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3" name="Freeform 25"/>
            <p:cNvSpPr>
              <a:spLocks/>
            </p:cNvSpPr>
            <p:nvPr userDrawn="1"/>
          </p:nvSpPr>
          <p:spPr bwMode="auto">
            <a:xfrm>
              <a:off x="6940535" y="1932172"/>
              <a:ext cx="25529" cy="38966"/>
            </a:xfrm>
            <a:custGeom>
              <a:avLst/>
              <a:gdLst>
                <a:gd name="T0" fmla="*/ 8 w 8"/>
                <a:gd name="T1" fmla="*/ 5 h 12"/>
                <a:gd name="T2" fmla="*/ 0 w 8"/>
                <a:gd name="T3" fmla="*/ 1 h 12"/>
                <a:gd name="T4" fmla="*/ 0 w 8"/>
                <a:gd name="T5" fmla="*/ 12 h 12"/>
                <a:gd name="T6" fmla="*/ 5 w 8"/>
                <a:gd name="T7" fmla="*/ 12 h 12"/>
                <a:gd name="T8" fmla="*/ 8 w 8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8" y="5"/>
                  </a:moveTo>
                  <a:cubicBezTo>
                    <a:pt x="5" y="4"/>
                    <a:pt x="4" y="0"/>
                    <a:pt x="0" y="1"/>
                  </a:cubicBezTo>
                  <a:cubicBezTo>
                    <a:pt x="0" y="5"/>
                    <a:pt x="0" y="8"/>
                    <a:pt x="0" y="12"/>
                  </a:cubicBezTo>
                  <a:cubicBezTo>
                    <a:pt x="2" y="12"/>
                    <a:pt x="3" y="12"/>
                    <a:pt x="5" y="12"/>
                  </a:cubicBezTo>
                  <a:cubicBezTo>
                    <a:pt x="5" y="8"/>
                    <a:pt x="7" y="8"/>
                    <a:pt x="8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4" name="Freeform 26"/>
            <p:cNvSpPr>
              <a:spLocks/>
            </p:cNvSpPr>
            <p:nvPr userDrawn="1"/>
          </p:nvSpPr>
          <p:spPr bwMode="auto">
            <a:xfrm>
              <a:off x="5959669" y="1938891"/>
              <a:ext cx="37622" cy="44341"/>
            </a:xfrm>
            <a:custGeom>
              <a:avLst/>
              <a:gdLst>
                <a:gd name="T0" fmla="*/ 10 w 12"/>
                <a:gd name="T1" fmla="*/ 3 h 14"/>
                <a:gd name="T2" fmla="*/ 2 w 12"/>
                <a:gd name="T3" fmla="*/ 6 h 14"/>
                <a:gd name="T4" fmla="*/ 10 w 12"/>
                <a:gd name="T5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4">
                  <a:moveTo>
                    <a:pt x="10" y="3"/>
                  </a:moveTo>
                  <a:cubicBezTo>
                    <a:pt x="8" y="0"/>
                    <a:pt x="3" y="5"/>
                    <a:pt x="2" y="6"/>
                  </a:cubicBezTo>
                  <a:cubicBezTo>
                    <a:pt x="0" y="14"/>
                    <a:pt x="12" y="5"/>
                    <a:pt x="1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5" name="Freeform 27"/>
            <p:cNvSpPr>
              <a:spLocks/>
            </p:cNvSpPr>
            <p:nvPr userDrawn="1"/>
          </p:nvSpPr>
          <p:spPr bwMode="auto">
            <a:xfrm>
              <a:off x="6343954" y="1948296"/>
              <a:ext cx="16124" cy="22842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6" name="Freeform 28"/>
            <p:cNvSpPr>
              <a:spLocks/>
            </p:cNvSpPr>
            <p:nvPr userDrawn="1"/>
          </p:nvSpPr>
          <p:spPr bwMode="auto">
            <a:xfrm>
              <a:off x="8902267" y="1948296"/>
              <a:ext cx="18811" cy="22842"/>
            </a:xfrm>
            <a:custGeom>
              <a:avLst/>
              <a:gdLst>
                <a:gd name="T0" fmla="*/ 6 w 6"/>
                <a:gd name="T1" fmla="*/ 0 h 7"/>
                <a:gd name="T2" fmla="*/ 0 w 6"/>
                <a:gd name="T3" fmla="*/ 0 h 7"/>
                <a:gd name="T4" fmla="*/ 0 w 6"/>
                <a:gd name="T5" fmla="*/ 7 h 7"/>
                <a:gd name="T6" fmla="*/ 6 w 6"/>
                <a:gd name="T7" fmla="*/ 7 h 7"/>
                <a:gd name="T8" fmla="*/ 6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4" y="7"/>
                    <a:pt x="6" y="7"/>
                  </a:cubicBezTo>
                  <a:cubicBezTo>
                    <a:pt x="6" y="5"/>
                    <a:pt x="6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7" name="Freeform 29"/>
            <p:cNvSpPr>
              <a:spLocks/>
            </p:cNvSpPr>
            <p:nvPr userDrawn="1"/>
          </p:nvSpPr>
          <p:spPr bwMode="auto">
            <a:xfrm>
              <a:off x="8986917" y="1948296"/>
              <a:ext cx="29560" cy="37622"/>
            </a:xfrm>
            <a:custGeom>
              <a:avLst/>
              <a:gdLst>
                <a:gd name="T0" fmla="*/ 8 w 9"/>
                <a:gd name="T1" fmla="*/ 11 h 12"/>
                <a:gd name="T2" fmla="*/ 3 w 9"/>
                <a:gd name="T3" fmla="*/ 0 h 12"/>
                <a:gd name="T4" fmla="*/ 0 w 9"/>
                <a:gd name="T5" fmla="*/ 7 h 12"/>
                <a:gd name="T6" fmla="*/ 8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11"/>
                  </a:moveTo>
                  <a:cubicBezTo>
                    <a:pt x="9" y="4"/>
                    <a:pt x="6" y="1"/>
                    <a:pt x="3" y="0"/>
                  </a:cubicBezTo>
                  <a:cubicBezTo>
                    <a:pt x="3" y="3"/>
                    <a:pt x="1" y="4"/>
                    <a:pt x="0" y="7"/>
                  </a:cubicBezTo>
                  <a:cubicBezTo>
                    <a:pt x="4" y="7"/>
                    <a:pt x="4" y="12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8" name="Freeform 30"/>
            <p:cNvSpPr>
              <a:spLocks/>
            </p:cNvSpPr>
            <p:nvPr userDrawn="1"/>
          </p:nvSpPr>
          <p:spPr bwMode="auto">
            <a:xfrm>
              <a:off x="9037976" y="1938891"/>
              <a:ext cx="32248" cy="44341"/>
            </a:xfrm>
            <a:custGeom>
              <a:avLst/>
              <a:gdLst>
                <a:gd name="T0" fmla="*/ 0 w 10"/>
                <a:gd name="T1" fmla="*/ 10 h 14"/>
                <a:gd name="T2" fmla="*/ 8 w 10"/>
                <a:gd name="T3" fmla="*/ 14 h 14"/>
                <a:gd name="T4" fmla="*/ 0 w 10"/>
                <a:gd name="T5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4">
                  <a:moveTo>
                    <a:pt x="0" y="10"/>
                  </a:moveTo>
                  <a:cubicBezTo>
                    <a:pt x="4" y="10"/>
                    <a:pt x="6" y="12"/>
                    <a:pt x="8" y="14"/>
                  </a:cubicBezTo>
                  <a:cubicBezTo>
                    <a:pt x="10" y="2"/>
                    <a:pt x="1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9" name="Freeform 31"/>
            <p:cNvSpPr>
              <a:spLocks/>
            </p:cNvSpPr>
            <p:nvPr userDrawn="1"/>
          </p:nvSpPr>
          <p:spPr bwMode="auto">
            <a:xfrm>
              <a:off x="6521316" y="1983231"/>
              <a:ext cx="48371" cy="51059"/>
            </a:xfrm>
            <a:custGeom>
              <a:avLst/>
              <a:gdLst>
                <a:gd name="T0" fmla="*/ 6 w 15"/>
                <a:gd name="T1" fmla="*/ 11 h 16"/>
                <a:gd name="T2" fmla="*/ 3 w 15"/>
                <a:gd name="T3" fmla="*/ 15 h 16"/>
                <a:gd name="T4" fmla="*/ 14 w 15"/>
                <a:gd name="T5" fmla="*/ 0 h 16"/>
                <a:gd name="T6" fmla="*/ 0 w 15"/>
                <a:gd name="T7" fmla="*/ 7 h 16"/>
                <a:gd name="T8" fmla="*/ 6 w 15"/>
                <a:gd name="T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6" y="11"/>
                  </a:moveTo>
                  <a:cubicBezTo>
                    <a:pt x="4" y="11"/>
                    <a:pt x="2" y="11"/>
                    <a:pt x="3" y="15"/>
                  </a:cubicBezTo>
                  <a:cubicBezTo>
                    <a:pt x="11" y="16"/>
                    <a:pt x="15" y="11"/>
                    <a:pt x="14" y="0"/>
                  </a:cubicBezTo>
                  <a:cubicBezTo>
                    <a:pt x="9" y="2"/>
                    <a:pt x="2" y="2"/>
                    <a:pt x="0" y="7"/>
                  </a:cubicBezTo>
                  <a:cubicBezTo>
                    <a:pt x="2" y="8"/>
                    <a:pt x="5" y="7"/>
                    <a:pt x="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0" name="Freeform 32"/>
            <p:cNvSpPr>
              <a:spLocks/>
            </p:cNvSpPr>
            <p:nvPr userDrawn="1"/>
          </p:nvSpPr>
          <p:spPr bwMode="auto">
            <a:xfrm>
              <a:off x="7397377" y="1973826"/>
              <a:ext cx="51059" cy="37622"/>
            </a:xfrm>
            <a:custGeom>
              <a:avLst/>
              <a:gdLst>
                <a:gd name="T0" fmla="*/ 12 w 16"/>
                <a:gd name="T1" fmla="*/ 10 h 12"/>
                <a:gd name="T2" fmla="*/ 1 w 16"/>
                <a:gd name="T3" fmla="*/ 6 h 12"/>
                <a:gd name="T4" fmla="*/ 12 w 16"/>
                <a:gd name="T5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2" y="10"/>
                  </a:moveTo>
                  <a:cubicBezTo>
                    <a:pt x="16" y="0"/>
                    <a:pt x="0" y="0"/>
                    <a:pt x="1" y="6"/>
                  </a:cubicBezTo>
                  <a:cubicBezTo>
                    <a:pt x="5" y="8"/>
                    <a:pt x="6" y="12"/>
                    <a:pt x="1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1" name="Freeform 33"/>
            <p:cNvSpPr>
              <a:spLocks/>
            </p:cNvSpPr>
            <p:nvPr userDrawn="1"/>
          </p:nvSpPr>
          <p:spPr bwMode="auto">
            <a:xfrm>
              <a:off x="7508900" y="1983231"/>
              <a:ext cx="40310" cy="37622"/>
            </a:xfrm>
            <a:custGeom>
              <a:avLst/>
              <a:gdLst>
                <a:gd name="T0" fmla="*/ 12 w 13"/>
                <a:gd name="T1" fmla="*/ 11 h 12"/>
                <a:gd name="T2" fmla="*/ 1 w 13"/>
                <a:gd name="T3" fmla="*/ 0 h 12"/>
                <a:gd name="T4" fmla="*/ 12 w 13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2" y="11"/>
                  </a:moveTo>
                  <a:cubicBezTo>
                    <a:pt x="13" y="1"/>
                    <a:pt x="6" y="1"/>
                    <a:pt x="1" y="0"/>
                  </a:cubicBezTo>
                  <a:cubicBezTo>
                    <a:pt x="0" y="9"/>
                    <a:pt x="5" y="12"/>
                    <a:pt x="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2" name="Freeform 34"/>
            <p:cNvSpPr>
              <a:spLocks/>
            </p:cNvSpPr>
            <p:nvPr userDrawn="1"/>
          </p:nvSpPr>
          <p:spPr bwMode="auto">
            <a:xfrm>
              <a:off x="6061787" y="1989949"/>
              <a:ext cx="24186" cy="28217"/>
            </a:xfrm>
            <a:custGeom>
              <a:avLst/>
              <a:gdLst>
                <a:gd name="T0" fmla="*/ 0 w 8"/>
                <a:gd name="T1" fmla="*/ 1 h 9"/>
                <a:gd name="T2" fmla="*/ 0 w 8"/>
                <a:gd name="T3" fmla="*/ 9 h 9"/>
                <a:gd name="T4" fmla="*/ 8 w 8"/>
                <a:gd name="T5" fmla="*/ 9 h 9"/>
                <a:gd name="T6" fmla="*/ 0 w 8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3" y="9"/>
                    <a:pt x="5" y="9"/>
                    <a:pt x="8" y="9"/>
                  </a:cubicBezTo>
                  <a:cubicBezTo>
                    <a:pt x="8" y="2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3" name="Freeform 35"/>
            <p:cNvSpPr>
              <a:spLocks/>
            </p:cNvSpPr>
            <p:nvPr userDrawn="1"/>
          </p:nvSpPr>
          <p:spPr bwMode="auto">
            <a:xfrm>
              <a:off x="6290208" y="1976513"/>
              <a:ext cx="60464" cy="69870"/>
            </a:xfrm>
            <a:custGeom>
              <a:avLst/>
              <a:gdLst>
                <a:gd name="T0" fmla="*/ 19 w 19"/>
                <a:gd name="T1" fmla="*/ 13 h 22"/>
                <a:gd name="T2" fmla="*/ 0 w 19"/>
                <a:gd name="T3" fmla="*/ 13 h 22"/>
                <a:gd name="T4" fmla="*/ 19 w 19"/>
                <a:gd name="T5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22">
                  <a:moveTo>
                    <a:pt x="19" y="13"/>
                  </a:moveTo>
                  <a:cubicBezTo>
                    <a:pt x="13" y="11"/>
                    <a:pt x="2" y="0"/>
                    <a:pt x="0" y="13"/>
                  </a:cubicBezTo>
                  <a:cubicBezTo>
                    <a:pt x="9" y="8"/>
                    <a:pt x="17" y="22"/>
                    <a:pt x="19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4" name="Freeform 36"/>
            <p:cNvSpPr>
              <a:spLocks/>
            </p:cNvSpPr>
            <p:nvPr userDrawn="1"/>
          </p:nvSpPr>
          <p:spPr bwMode="auto">
            <a:xfrm>
              <a:off x="6632839" y="1980544"/>
              <a:ext cx="72557" cy="72557"/>
            </a:xfrm>
            <a:custGeom>
              <a:avLst/>
              <a:gdLst>
                <a:gd name="T0" fmla="*/ 14 w 23"/>
                <a:gd name="T1" fmla="*/ 23 h 23"/>
                <a:gd name="T2" fmla="*/ 14 w 23"/>
                <a:gd name="T3" fmla="*/ 4 h 23"/>
                <a:gd name="T4" fmla="*/ 3 w 23"/>
                <a:gd name="T5" fmla="*/ 4 h 23"/>
                <a:gd name="T6" fmla="*/ 0 w 23"/>
                <a:gd name="T7" fmla="*/ 16 h 23"/>
                <a:gd name="T8" fmla="*/ 14 w 23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4" y="23"/>
                  </a:moveTo>
                  <a:cubicBezTo>
                    <a:pt x="15" y="16"/>
                    <a:pt x="23" y="7"/>
                    <a:pt x="14" y="4"/>
                  </a:cubicBezTo>
                  <a:cubicBezTo>
                    <a:pt x="13" y="22"/>
                    <a:pt x="10" y="0"/>
                    <a:pt x="3" y="4"/>
                  </a:cubicBezTo>
                  <a:cubicBezTo>
                    <a:pt x="3" y="10"/>
                    <a:pt x="1" y="13"/>
                    <a:pt x="0" y="16"/>
                  </a:cubicBezTo>
                  <a:cubicBezTo>
                    <a:pt x="9" y="12"/>
                    <a:pt x="8" y="21"/>
                    <a:pt x="14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5" name="Freeform 37"/>
            <p:cNvSpPr>
              <a:spLocks/>
            </p:cNvSpPr>
            <p:nvPr userDrawn="1"/>
          </p:nvSpPr>
          <p:spPr bwMode="auto">
            <a:xfrm>
              <a:off x="8397054" y="1989949"/>
              <a:ext cx="32248" cy="51059"/>
            </a:xfrm>
            <a:custGeom>
              <a:avLst/>
              <a:gdLst>
                <a:gd name="T0" fmla="*/ 1 w 10"/>
                <a:gd name="T1" fmla="*/ 1 h 16"/>
                <a:gd name="T2" fmla="*/ 9 w 10"/>
                <a:gd name="T3" fmla="*/ 16 h 16"/>
                <a:gd name="T4" fmla="*/ 1 w 10"/>
                <a:gd name="T5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6">
                  <a:moveTo>
                    <a:pt x="1" y="1"/>
                  </a:moveTo>
                  <a:cubicBezTo>
                    <a:pt x="0" y="11"/>
                    <a:pt x="5" y="13"/>
                    <a:pt x="9" y="16"/>
                  </a:cubicBezTo>
                  <a:cubicBezTo>
                    <a:pt x="10" y="7"/>
                    <a:pt x="8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6" name="Freeform 38"/>
            <p:cNvSpPr>
              <a:spLocks/>
            </p:cNvSpPr>
            <p:nvPr userDrawn="1"/>
          </p:nvSpPr>
          <p:spPr bwMode="auto">
            <a:xfrm>
              <a:off x="7178362" y="2002042"/>
              <a:ext cx="76588" cy="83306"/>
            </a:xfrm>
            <a:custGeom>
              <a:avLst/>
              <a:gdLst>
                <a:gd name="T0" fmla="*/ 14 w 24"/>
                <a:gd name="T1" fmla="*/ 16 h 26"/>
                <a:gd name="T2" fmla="*/ 24 w 24"/>
                <a:gd name="T3" fmla="*/ 16 h 26"/>
                <a:gd name="T4" fmla="*/ 16 w 24"/>
                <a:gd name="T5" fmla="*/ 16 h 26"/>
                <a:gd name="T6" fmla="*/ 11 w 24"/>
                <a:gd name="T7" fmla="*/ 5 h 26"/>
                <a:gd name="T8" fmla="*/ 6 w 24"/>
                <a:gd name="T9" fmla="*/ 5 h 26"/>
                <a:gd name="T10" fmla="*/ 0 w 24"/>
                <a:gd name="T11" fmla="*/ 20 h 26"/>
                <a:gd name="T12" fmla="*/ 14 w 24"/>
                <a:gd name="T13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6">
                  <a:moveTo>
                    <a:pt x="14" y="16"/>
                  </a:moveTo>
                  <a:cubicBezTo>
                    <a:pt x="16" y="22"/>
                    <a:pt x="24" y="26"/>
                    <a:pt x="24" y="16"/>
                  </a:cubicBezTo>
                  <a:cubicBezTo>
                    <a:pt x="22" y="16"/>
                    <a:pt x="19" y="16"/>
                    <a:pt x="16" y="16"/>
                  </a:cubicBezTo>
                  <a:cubicBezTo>
                    <a:pt x="17" y="9"/>
                    <a:pt x="13" y="9"/>
                    <a:pt x="11" y="5"/>
                  </a:cubicBezTo>
                  <a:cubicBezTo>
                    <a:pt x="11" y="1"/>
                    <a:pt x="6" y="0"/>
                    <a:pt x="6" y="5"/>
                  </a:cubicBezTo>
                  <a:cubicBezTo>
                    <a:pt x="14" y="10"/>
                    <a:pt x="1" y="15"/>
                    <a:pt x="0" y="20"/>
                  </a:cubicBezTo>
                  <a:cubicBezTo>
                    <a:pt x="6" y="21"/>
                    <a:pt x="11" y="19"/>
                    <a:pt x="1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7" name="Freeform 39"/>
            <p:cNvSpPr>
              <a:spLocks/>
            </p:cNvSpPr>
            <p:nvPr userDrawn="1"/>
          </p:nvSpPr>
          <p:spPr bwMode="auto">
            <a:xfrm>
              <a:off x="6733613" y="2018166"/>
              <a:ext cx="25529" cy="22842"/>
            </a:xfrm>
            <a:custGeom>
              <a:avLst/>
              <a:gdLst>
                <a:gd name="T0" fmla="*/ 8 w 8"/>
                <a:gd name="T1" fmla="*/ 0 h 7"/>
                <a:gd name="T2" fmla="*/ 0 w 8"/>
                <a:gd name="T3" fmla="*/ 7 h 7"/>
                <a:gd name="T4" fmla="*/ 8 w 8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7">
                  <a:moveTo>
                    <a:pt x="8" y="0"/>
                  </a:moveTo>
                  <a:cubicBezTo>
                    <a:pt x="4" y="0"/>
                    <a:pt x="2" y="3"/>
                    <a:pt x="0" y="7"/>
                  </a:cubicBezTo>
                  <a:cubicBezTo>
                    <a:pt x="5" y="7"/>
                    <a:pt x="7" y="4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8" name="Freeform 40"/>
            <p:cNvSpPr>
              <a:spLocks/>
            </p:cNvSpPr>
            <p:nvPr userDrawn="1"/>
          </p:nvSpPr>
          <p:spPr bwMode="auto">
            <a:xfrm>
              <a:off x="8993635" y="2015479"/>
              <a:ext cx="28217" cy="44341"/>
            </a:xfrm>
            <a:custGeom>
              <a:avLst/>
              <a:gdLst>
                <a:gd name="T0" fmla="*/ 9 w 9"/>
                <a:gd name="T1" fmla="*/ 1 h 14"/>
                <a:gd name="T2" fmla="*/ 1 w 9"/>
                <a:gd name="T3" fmla="*/ 12 h 14"/>
                <a:gd name="T4" fmla="*/ 9 w 9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9" y="1"/>
                  </a:moveTo>
                  <a:cubicBezTo>
                    <a:pt x="3" y="0"/>
                    <a:pt x="0" y="4"/>
                    <a:pt x="1" y="12"/>
                  </a:cubicBezTo>
                  <a:cubicBezTo>
                    <a:pt x="8" y="14"/>
                    <a:pt x="6" y="4"/>
                    <a:pt x="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9" name="Freeform 41"/>
            <p:cNvSpPr>
              <a:spLocks/>
            </p:cNvSpPr>
            <p:nvPr userDrawn="1"/>
          </p:nvSpPr>
          <p:spPr bwMode="auto">
            <a:xfrm>
              <a:off x="6949941" y="2027572"/>
              <a:ext cx="56433" cy="95399"/>
            </a:xfrm>
            <a:custGeom>
              <a:avLst/>
              <a:gdLst>
                <a:gd name="T0" fmla="*/ 13 w 18"/>
                <a:gd name="T1" fmla="*/ 26 h 30"/>
                <a:gd name="T2" fmla="*/ 8 w 18"/>
                <a:gd name="T3" fmla="*/ 19 h 30"/>
                <a:gd name="T4" fmla="*/ 16 w 18"/>
                <a:gd name="T5" fmla="*/ 1 h 30"/>
                <a:gd name="T6" fmla="*/ 0 w 18"/>
                <a:gd name="T7" fmla="*/ 15 h 30"/>
                <a:gd name="T8" fmla="*/ 13 w 18"/>
                <a:gd name="T9" fmla="*/ 2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30">
                  <a:moveTo>
                    <a:pt x="13" y="26"/>
                  </a:moveTo>
                  <a:cubicBezTo>
                    <a:pt x="14" y="9"/>
                    <a:pt x="11" y="13"/>
                    <a:pt x="8" y="19"/>
                  </a:cubicBezTo>
                  <a:cubicBezTo>
                    <a:pt x="5" y="5"/>
                    <a:pt x="18" y="13"/>
                    <a:pt x="16" y="1"/>
                  </a:cubicBezTo>
                  <a:cubicBezTo>
                    <a:pt x="7" y="0"/>
                    <a:pt x="5" y="10"/>
                    <a:pt x="0" y="15"/>
                  </a:cubicBezTo>
                  <a:cubicBezTo>
                    <a:pt x="9" y="13"/>
                    <a:pt x="3" y="30"/>
                    <a:pt x="13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0" name="Freeform 42"/>
            <p:cNvSpPr>
              <a:spLocks/>
            </p:cNvSpPr>
            <p:nvPr userDrawn="1"/>
          </p:nvSpPr>
          <p:spPr bwMode="auto">
            <a:xfrm>
              <a:off x="7061464" y="2020853"/>
              <a:ext cx="40310" cy="60464"/>
            </a:xfrm>
            <a:custGeom>
              <a:avLst/>
              <a:gdLst>
                <a:gd name="T0" fmla="*/ 13 w 13"/>
                <a:gd name="T1" fmla="*/ 6 h 19"/>
                <a:gd name="T2" fmla="*/ 0 w 13"/>
                <a:gd name="T3" fmla="*/ 10 h 19"/>
                <a:gd name="T4" fmla="*/ 13 w 13"/>
                <a:gd name="T5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9">
                  <a:moveTo>
                    <a:pt x="13" y="6"/>
                  </a:moveTo>
                  <a:cubicBezTo>
                    <a:pt x="7" y="4"/>
                    <a:pt x="3" y="0"/>
                    <a:pt x="0" y="10"/>
                  </a:cubicBezTo>
                  <a:cubicBezTo>
                    <a:pt x="8" y="8"/>
                    <a:pt x="11" y="19"/>
                    <a:pt x="1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1" name="Freeform 43"/>
            <p:cNvSpPr>
              <a:spLocks/>
            </p:cNvSpPr>
            <p:nvPr userDrawn="1"/>
          </p:nvSpPr>
          <p:spPr bwMode="auto">
            <a:xfrm>
              <a:off x="7250919" y="2041008"/>
              <a:ext cx="67183" cy="49715"/>
            </a:xfrm>
            <a:custGeom>
              <a:avLst/>
              <a:gdLst>
                <a:gd name="T0" fmla="*/ 9 w 21"/>
                <a:gd name="T1" fmla="*/ 0 h 16"/>
                <a:gd name="T2" fmla="*/ 4 w 21"/>
                <a:gd name="T3" fmla="*/ 0 h 16"/>
                <a:gd name="T4" fmla="*/ 9 w 2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6">
                  <a:moveTo>
                    <a:pt x="9" y="0"/>
                  </a:moveTo>
                  <a:cubicBezTo>
                    <a:pt x="9" y="5"/>
                    <a:pt x="6" y="2"/>
                    <a:pt x="4" y="0"/>
                  </a:cubicBezTo>
                  <a:cubicBezTo>
                    <a:pt x="0" y="16"/>
                    <a:pt x="21" y="4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2" name="Freeform 44"/>
            <p:cNvSpPr>
              <a:spLocks/>
            </p:cNvSpPr>
            <p:nvPr userDrawn="1"/>
          </p:nvSpPr>
          <p:spPr bwMode="auto">
            <a:xfrm>
              <a:off x="7324820" y="2034290"/>
              <a:ext cx="44341" cy="88681"/>
            </a:xfrm>
            <a:custGeom>
              <a:avLst/>
              <a:gdLst>
                <a:gd name="T0" fmla="*/ 8 w 14"/>
                <a:gd name="T1" fmla="*/ 28 h 28"/>
                <a:gd name="T2" fmla="*/ 13 w 14"/>
                <a:gd name="T3" fmla="*/ 21 h 28"/>
                <a:gd name="T4" fmla="*/ 5 w 14"/>
                <a:gd name="T5" fmla="*/ 2 h 28"/>
                <a:gd name="T6" fmla="*/ 8 w 14"/>
                <a:gd name="T7" fmla="*/ 17 h 28"/>
                <a:gd name="T8" fmla="*/ 8 w 14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8">
                  <a:moveTo>
                    <a:pt x="8" y="28"/>
                  </a:moveTo>
                  <a:cubicBezTo>
                    <a:pt x="8" y="23"/>
                    <a:pt x="13" y="25"/>
                    <a:pt x="13" y="21"/>
                  </a:cubicBezTo>
                  <a:cubicBezTo>
                    <a:pt x="7" y="19"/>
                    <a:pt x="14" y="0"/>
                    <a:pt x="5" y="2"/>
                  </a:cubicBezTo>
                  <a:cubicBezTo>
                    <a:pt x="0" y="10"/>
                    <a:pt x="6" y="9"/>
                    <a:pt x="8" y="17"/>
                  </a:cubicBezTo>
                  <a:cubicBezTo>
                    <a:pt x="4" y="17"/>
                    <a:pt x="5" y="27"/>
                    <a:pt x="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3" name="Freeform 45"/>
            <p:cNvSpPr>
              <a:spLocks/>
            </p:cNvSpPr>
            <p:nvPr userDrawn="1"/>
          </p:nvSpPr>
          <p:spPr bwMode="auto">
            <a:xfrm>
              <a:off x="7504869" y="2041008"/>
              <a:ext cx="51059" cy="116898"/>
            </a:xfrm>
            <a:custGeom>
              <a:avLst/>
              <a:gdLst>
                <a:gd name="T0" fmla="*/ 7 w 16"/>
                <a:gd name="T1" fmla="*/ 0 h 37"/>
                <a:gd name="T2" fmla="*/ 5 w 16"/>
                <a:gd name="T3" fmla="*/ 15 h 37"/>
                <a:gd name="T4" fmla="*/ 10 w 16"/>
                <a:gd name="T5" fmla="*/ 22 h 37"/>
                <a:gd name="T6" fmla="*/ 5 w 16"/>
                <a:gd name="T7" fmla="*/ 37 h 37"/>
                <a:gd name="T8" fmla="*/ 16 w 16"/>
                <a:gd name="T9" fmla="*/ 30 h 37"/>
                <a:gd name="T10" fmla="*/ 13 w 16"/>
                <a:gd name="T11" fmla="*/ 22 h 37"/>
                <a:gd name="T12" fmla="*/ 7 w 16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37">
                  <a:moveTo>
                    <a:pt x="7" y="0"/>
                  </a:moveTo>
                  <a:cubicBezTo>
                    <a:pt x="2" y="10"/>
                    <a:pt x="8" y="10"/>
                    <a:pt x="5" y="15"/>
                  </a:cubicBezTo>
                  <a:cubicBezTo>
                    <a:pt x="3" y="17"/>
                    <a:pt x="10" y="21"/>
                    <a:pt x="10" y="22"/>
                  </a:cubicBezTo>
                  <a:cubicBezTo>
                    <a:pt x="10" y="25"/>
                    <a:pt x="0" y="30"/>
                    <a:pt x="5" y="37"/>
                  </a:cubicBezTo>
                  <a:cubicBezTo>
                    <a:pt x="10" y="37"/>
                    <a:pt x="14" y="35"/>
                    <a:pt x="16" y="30"/>
                  </a:cubicBezTo>
                  <a:cubicBezTo>
                    <a:pt x="9" y="30"/>
                    <a:pt x="12" y="28"/>
                    <a:pt x="13" y="22"/>
                  </a:cubicBezTo>
                  <a:cubicBezTo>
                    <a:pt x="14" y="14"/>
                    <a:pt x="9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4" name="Freeform 46"/>
            <p:cNvSpPr>
              <a:spLocks/>
            </p:cNvSpPr>
            <p:nvPr userDrawn="1"/>
          </p:nvSpPr>
          <p:spPr bwMode="auto">
            <a:xfrm>
              <a:off x="6753768" y="2046383"/>
              <a:ext cx="37622" cy="57777"/>
            </a:xfrm>
            <a:custGeom>
              <a:avLst/>
              <a:gdLst>
                <a:gd name="T0" fmla="*/ 2 w 12"/>
                <a:gd name="T1" fmla="*/ 6 h 18"/>
                <a:gd name="T2" fmla="*/ 0 w 12"/>
                <a:gd name="T3" fmla="*/ 13 h 18"/>
                <a:gd name="T4" fmla="*/ 2 w 12"/>
                <a:gd name="T5" fmla="*/ 2 h 18"/>
                <a:gd name="T6" fmla="*/ 2 w 12"/>
                <a:gd name="T7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8">
                  <a:moveTo>
                    <a:pt x="2" y="6"/>
                  </a:moveTo>
                  <a:cubicBezTo>
                    <a:pt x="2" y="6"/>
                    <a:pt x="0" y="13"/>
                    <a:pt x="0" y="13"/>
                  </a:cubicBezTo>
                  <a:cubicBezTo>
                    <a:pt x="3" y="18"/>
                    <a:pt x="12" y="0"/>
                    <a:pt x="2" y="2"/>
                  </a:cubicBezTo>
                  <a:cubicBezTo>
                    <a:pt x="2" y="2"/>
                    <a:pt x="3" y="5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5" name="Freeform 47"/>
            <p:cNvSpPr>
              <a:spLocks/>
            </p:cNvSpPr>
            <p:nvPr userDrawn="1"/>
          </p:nvSpPr>
          <p:spPr bwMode="auto">
            <a:xfrm>
              <a:off x="6171966" y="2071912"/>
              <a:ext cx="48371" cy="29560"/>
            </a:xfrm>
            <a:custGeom>
              <a:avLst/>
              <a:gdLst>
                <a:gd name="T0" fmla="*/ 8 w 15"/>
                <a:gd name="T1" fmla="*/ 1 h 9"/>
                <a:gd name="T2" fmla="*/ 0 w 15"/>
                <a:gd name="T3" fmla="*/ 5 h 9"/>
                <a:gd name="T4" fmla="*/ 8 w 15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8" y="1"/>
                  </a:moveTo>
                  <a:cubicBezTo>
                    <a:pt x="6" y="0"/>
                    <a:pt x="0" y="2"/>
                    <a:pt x="0" y="5"/>
                  </a:cubicBezTo>
                  <a:cubicBezTo>
                    <a:pt x="0" y="9"/>
                    <a:pt x="15" y="7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6" name="Freeform 48"/>
            <p:cNvSpPr>
              <a:spLocks/>
            </p:cNvSpPr>
            <p:nvPr userDrawn="1"/>
          </p:nvSpPr>
          <p:spPr bwMode="auto">
            <a:xfrm>
              <a:off x="7054746" y="2075943"/>
              <a:ext cx="34935" cy="34935"/>
            </a:xfrm>
            <a:custGeom>
              <a:avLst/>
              <a:gdLst>
                <a:gd name="T0" fmla="*/ 10 w 11"/>
                <a:gd name="T1" fmla="*/ 11 h 11"/>
                <a:gd name="T2" fmla="*/ 2 w 11"/>
                <a:gd name="T3" fmla="*/ 0 h 11"/>
                <a:gd name="T4" fmla="*/ 10 w 11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1">
                  <a:moveTo>
                    <a:pt x="10" y="11"/>
                  </a:moveTo>
                  <a:cubicBezTo>
                    <a:pt x="11" y="1"/>
                    <a:pt x="4" y="4"/>
                    <a:pt x="2" y="0"/>
                  </a:cubicBezTo>
                  <a:cubicBezTo>
                    <a:pt x="0" y="10"/>
                    <a:pt x="7" y="8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7" name="Freeform 49"/>
            <p:cNvSpPr>
              <a:spLocks/>
            </p:cNvSpPr>
            <p:nvPr userDrawn="1"/>
          </p:nvSpPr>
          <p:spPr bwMode="auto">
            <a:xfrm>
              <a:off x="7111179" y="2075943"/>
              <a:ext cx="48371" cy="72557"/>
            </a:xfrm>
            <a:custGeom>
              <a:avLst/>
              <a:gdLst>
                <a:gd name="T0" fmla="*/ 2 w 15"/>
                <a:gd name="T1" fmla="*/ 0 h 23"/>
                <a:gd name="T2" fmla="*/ 2 w 15"/>
                <a:gd name="T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3">
                  <a:moveTo>
                    <a:pt x="2" y="0"/>
                  </a:moveTo>
                  <a:cubicBezTo>
                    <a:pt x="0" y="23"/>
                    <a:pt x="15" y="3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8" name="Freeform 50"/>
            <p:cNvSpPr>
              <a:spLocks/>
            </p:cNvSpPr>
            <p:nvPr userDrawn="1"/>
          </p:nvSpPr>
          <p:spPr bwMode="auto">
            <a:xfrm>
              <a:off x="7143427" y="2088036"/>
              <a:ext cx="28217" cy="37622"/>
            </a:xfrm>
            <a:custGeom>
              <a:avLst/>
              <a:gdLst>
                <a:gd name="T0" fmla="*/ 8 w 9"/>
                <a:gd name="T1" fmla="*/ 11 h 12"/>
                <a:gd name="T2" fmla="*/ 3 w 9"/>
                <a:gd name="T3" fmla="*/ 0 h 12"/>
                <a:gd name="T4" fmla="*/ 0 w 9"/>
                <a:gd name="T5" fmla="*/ 7 h 12"/>
                <a:gd name="T6" fmla="*/ 8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11"/>
                  </a:moveTo>
                  <a:cubicBezTo>
                    <a:pt x="9" y="5"/>
                    <a:pt x="6" y="2"/>
                    <a:pt x="3" y="0"/>
                  </a:cubicBezTo>
                  <a:cubicBezTo>
                    <a:pt x="3" y="4"/>
                    <a:pt x="1" y="4"/>
                    <a:pt x="0" y="7"/>
                  </a:cubicBezTo>
                  <a:cubicBezTo>
                    <a:pt x="4" y="8"/>
                    <a:pt x="4" y="12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9" name="Freeform 51"/>
            <p:cNvSpPr>
              <a:spLocks/>
            </p:cNvSpPr>
            <p:nvPr userDrawn="1"/>
          </p:nvSpPr>
          <p:spPr bwMode="auto">
            <a:xfrm>
              <a:off x="6765860" y="2097442"/>
              <a:ext cx="41653" cy="38966"/>
            </a:xfrm>
            <a:custGeom>
              <a:avLst/>
              <a:gdLst>
                <a:gd name="T0" fmla="*/ 12 w 13"/>
                <a:gd name="T1" fmla="*/ 4 h 12"/>
                <a:gd name="T2" fmla="*/ 4 w 13"/>
                <a:gd name="T3" fmla="*/ 1 h 12"/>
                <a:gd name="T4" fmla="*/ 12 w 13"/>
                <a:gd name="T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2" y="4"/>
                  </a:moveTo>
                  <a:cubicBezTo>
                    <a:pt x="8" y="4"/>
                    <a:pt x="8" y="0"/>
                    <a:pt x="4" y="1"/>
                  </a:cubicBezTo>
                  <a:cubicBezTo>
                    <a:pt x="0" y="10"/>
                    <a:pt x="13" y="12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0" name="Freeform 52"/>
            <p:cNvSpPr>
              <a:spLocks/>
            </p:cNvSpPr>
            <p:nvPr userDrawn="1"/>
          </p:nvSpPr>
          <p:spPr bwMode="auto">
            <a:xfrm>
              <a:off x="7400064" y="2148500"/>
              <a:ext cx="32248" cy="34935"/>
            </a:xfrm>
            <a:custGeom>
              <a:avLst/>
              <a:gdLst>
                <a:gd name="T0" fmla="*/ 8 w 10"/>
                <a:gd name="T1" fmla="*/ 11 h 11"/>
                <a:gd name="T2" fmla="*/ 0 w 10"/>
                <a:gd name="T3" fmla="*/ 0 h 11"/>
                <a:gd name="T4" fmla="*/ 8 w 10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8" y="11"/>
                  </a:moveTo>
                  <a:cubicBezTo>
                    <a:pt x="10" y="1"/>
                    <a:pt x="3" y="3"/>
                    <a:pt x="0" y="0"/>
                  </a:cubicBezTo>
                  <a:cubicBezTo>
                    <a:pt x="0" y="8"/>
                    <a:pt x="2" y="11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1" name="Freeform 53"/>
            <p:cNvSpPr>
              <a:spLocks/>
            </p:cNvSpPr>
            <p:nvPr userDrawn="1"/>
          </p:nvSpPr>
          <p:spPr bwMode="auto">
            <a:xfrm>
              <a:off x="7674169" y="2155219"/>
              <a:ext cx="37622" cy="37622"/>
            </a:xfrm>
            <a:custGeom>
              <a:avLst/>
              <a:gdLst>
                <a:gd name="T0" fmla="*/ 6 w 12"/>
                <a:gd name="T1" fmla="*/ 12 h 12"/>
                <a:gd name="T2" fmla="*/ 11 w 12"/>
                <a:gd name="T3" fmla="*/ 1 h 12"/>
                <a:gd name="T4" fmla="*/ 0 w 12"/>
                <a:gd name="T5" fmla="*/ 5 h 12"/>
                <a:gd name="T6" fmla="*/ 6 w 12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6" y="7"/>
                    <a:pt x="12" y="9"/>
                    <a:pt x="11" y="1"/>
                  </a:cubicBezTo>
                  <a:cubicBezTo>
                    <a:pt x="7" y="2"/>
                    <a:pt x="1" y="0"/>
                    <a:pt x="0" y="5"/>
                  </a:cubicBezTo>
                  <a:cubicBezTo>
                    <a:pt x="4" y="5"/>
                    <a:pt x="3" y="11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2" name="Freeform 54"/>
            <p:cNvSpPr>
              <a:spLocks/>
            </p:cNvSpPr>
            <p:nvPr userDrawn="1"/>
          </p:nvSpPr>
          <p:spPr bwMode="auto">
            <a:xfrm>
              <a:off x="7991271" y="2157906"/>
              <a:ext cx="56433" cy="47028"/>
            </a:xfrm>
            <a:custGeom>
              <a:avLst/>
              <a:gdLst>
                <a:gd name="T0" fmla="*/ 13 w 18"/>
                <a:gd name="T1" fmla="*/ 15 h 15"/>
                <a:gd name="T2" fmla="*/ 18 w 18"/>
                <a:gd name="T3" fmla="*/ 4 h 15"/>
                <a:gd name="T4" fmla="*/ 0 w 18"/>
                <a:gd name="T5" fmla="*/ 11 h 15"/>
                <a:gd name="T6" fmla="*/ 13 w 18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13" y="15"/>
                  </a:moveTo>
                  <a:cubicBezTo>
                    <a:pt x="12" y="8"/>
                    <a:pt x="17" y="8"/>
                    <a:pt x="18" y="4"/>
                  </a:cubicBezTo>
                  <a:cubicBezTo>
                    <a:pt x="15" y="0"/>
                    <a:pt x="1" y="2"/>
                    <a:pt x="0" y="11"/>
                  </a:cubicBezTo>
                  <a:cubicBezTo>
                    <a:pt x="11" y="9"/>
                    <a:pt x="9" y="8"/>
                    <a:pt x="13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3" name="Freeform 55"/>
            <p:cNvSpPr>
              <a:spLocks/>
            </p:cNvSpPr>
            <p:nvPr userDrawn="1"/>
          </p:nvSpPr>
          <p:spPr bwMode="auto">
            <a:xfrm>
              <a:off x="7359755" y="2190154"/>
              <a:ext cx="14780" cy="37622"/>
            </a:xfrm>
            <a:custGeom>
              <a:avLst/>
              <a:gdLst>
                <a:gd name="T0" fmla="*/ 0 w 5"/>
                <a:gd name="T1" fmla="*/ 1 h 12"/>
                <a:gd name="T2" fmla="*/ 0 w 5"/>
                <a:gd name="T3" fmla="*/ 9 h 12"/>
                <a:gd name="T4" fmla="*/ 5 w 5"/>
                <a:gd name="T5" fmla="*/ 12 h 12"/>
                <a:gd name="T6" fmla="*/ 0 w 5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2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3" y="12"/>
                    <a:pt x="5" y="12"/>
                  </a:cubicBezTo>
                  <a:cubicBezTo>
                    <a:pt x="5" y="7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4" name="Freeform 56"/>
            <p:cNvSpPr>
              <a:spLocks/>
            </p:cNvSpPr>
            <p:nvPr userDrawn="1"/>
          </p:nvSpPr>
          <p:spPr bwMode="auto">
            <a:xfrm>
              <a:off x="7742695" y="2202246"/>
              <a:ext cx="25529" cy="51059"/>
            </a:xfrm>
            <a:custGeom>
              <a:avLst/>
              <a:gdLst>
                <a:gd name="T0" fmla="*/ 0 w 8"/>
                <a:gd name="T1" fmla="*/ 1 h 16"/>
                <a:gd name="T2" fmla="*/ 5 w 8"/>
                <a:gd name="T3" fmla="*/ 16 h 16"/>
                <a:gd name="T4" fmla="*/ 8 w 8"/>
                <a:gd name="T5" fmla="*/ 5 h 16"/>
                <a:gd name="T6" fmla="*/ 0 w 8"/>
                <a:gd name="T7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6">
                  <a:moveTo>
                    <a:pt x="0" y="1"/>
                  </a:moveTo>
                  <a:cubicBezTo>
                    <a:pt x="0" y="8"/>
                    <a:pt x="1" y="13"/>
                    <a:pt x="5" y="16"/>
                  </a:cubicBezTo>
                  <a:cubicBezTo>
                    <a:pt x="5" y="11"/>
                    <a:pt x="6" y="8"/>
                    <a:pt x="8" y="5"/>
                  </a:cubicBezTo>
                  <a:cubicBezTo>
                    <a:pt x="4" y="5"/>
                    <a:pt x="4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5" name="Freeform 57"/>
            <p:cNvSpPr>
              <a:spLocks/>
            </p:cNvSpPr>
            <p:nvPr userDrawn="1"/>
          </p:nvSpPr>
          <p:spPr bwMode="auto">
            <a:xfrm>
              <a:off x="7698355" y="2225089"/>
              <a:ext cx="34935" cy="63152"/>
            </a:xfrm>
            <a:custGeom>
              <a:avLst/>
              <a:gdLst>
                <a:gd name="T0" fmla="*/ 0 w 11"/>
                <a:gd name="T1" fmla="*/ 9 h 20"/>
                <a:gd name="T2" fmla="*/ 11 w 11"/>
                <a:gd name="T3" fmla="*/ 9 h 20"/>
                <a:gd name="T4" fmla="*/ 0 w 11"/>
                <a:gd name="T5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0">
                  <a:moveTo>
                    <a:pt x="0" y="9"/>
                  </a:moveTo>
                  <a:cubicBezTo>
                    <a:pt x="5" y="5"/>
                    <a:pt x="9" y="20"/>
                    <a:pt x="11" y="9"/>
                  </a:cubicBezTo>
                  <a:cubicBezTo>
                    <a:pt x="9" y="8"/>
                    <a:pt x="1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6" name="Freeform 58"/>
            <p:cNvSpPr>
              <a:spLocks/>
            </p:cNvSpPr>
            <p:nvPr userDrawn="1"/>
          </p:nvSpPr>
          <p:spPr bwMode="auto">
            <a:xfrm>
              <a:off x="7749414" y="2329893"/>
              <a:ext cx="18811" cy="40310"/>
            </a:xfrm>
            <a:custGeom>
              <a:avLst/>
              <a:gdLst>
                <a:gd name="T0" fmla="*/ 0 w 6"/>
                <a:gd name="T1" fmla="*/ 2 h 13"/>
                <a:gd name="T2" fmla="*/ 0 w 6"/>
                <a:gd name="T3" fmla="*/ 9 h 13"/>
                <a:gd name="T4" fmla="*/ 6 w 6"/>
                <a:gd name="T5" fmla="*/ 13 h 13"/>
                <a:gd name="T6" fmla="*/ 0 w 6"/>
                <a:gd name="T7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3">
                  <a:moveTo>
                    <a:pt x="0" y="2"/>
                  </a:moveTo>
                  <a:cubicBezTo>
                    <a:pt x="0" y="4"/>
                    <a:pt x="0" y="7"/>
                    <a:pt x="0" y="9"/>
                  </a:cubicBezTo>
                  <a:cubicBezTo>
                    <a:pt x="3" y="9"/>
                    <a:pt x="4" y="12"/>
                    <a:pt x="6" y="13"/>
                  </a:cubicBezTo>
                  <a:cubicBezTo>
                    <a:pt x="5" y="7"/>
                    <a:pt x="6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7" name="Freeform 59"/>
            <p:cNvSpPr>
              <a:spLocks/>
            </p:cNvSpPr>
            <p:nvPr userDrawn="1"/>
          </p:nvSpPr>
          <p:spPr bwMode="auto">
            <a:xfrm>
              <a:off x="6892164" y="2354079"/>
              <a:ext cx="67183" cy="38966"/>
            </a:xfrm>
            <a:custGeom>
              <a:avLst/>
              <a:gdLst>
                <a:gd name="T0" fmla="*/ 20 w 21"/>
                <a:gd name="T1" fmla="*/ 1 h 12"/>
                <a:gd name="T2" fmla="*/ 15 w 21"/>
                <a:gd name="T3" fmla="*/ 1 h 12"/>
                <a:gd name="T4" fmla="*/ 20 w 21"/>
                <a:gd name="T5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2">
                  <a:moveTo>
                    <a:pt x="20" y="1"/>
                  </a:moveTo>
                  <a:cubicBezTo>
                    <a:pt x="18" y="1"/>
                    <a:pt x="17" y="1"/>
                    <a:pt x="15" y="1"/>
                  </a:cubicBezTo>
                  <a:cubicBezTo>
                    <a:pt x="0" y="0"/>
                    <a:pt x="21" y="12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8" name="Freeform 60"/>
            <p:cNvSpPr>
              <a:spLocks/>
            </p:cNvSpPr>
            <p:nvPr userDrawn="1"/>
          </p:nvSpPr>
          <p:spPr bwMode="auto">
            <a:xfrm>
              <a:off x="2995573" y="2386327"/>
              <a:ext cx="18811" cy="67183"/>
            </a:xfrm>
            <a:custGeom>
              <a:avLst/>
              <a:gdLst>
                <a:gd name="T0" fmla="*/ 3 w 6"/>
                <a:gd name="T1" fmla="*/ 21 h 21"/>
                <a:gd name="T2" fmla="*/ 1 w 6"/>
                <a:gd name="T3" fmla="*/ 13 h 21"/>
                <a:gd name="T4" fmla="*/ 3 w 6"/>
                <a:gd name="T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1">
                  <a:moveTo>
                    <a:pt x="3" y="21"/>
                  </a:moveTo>
                  <a:cubicBezTo>
                    <a:pt x="6" y="20"/>
                    <a:pt x="5" y="0"/>
                    <a:pt x="1" y="13"/>
                  </a:cubicBezTo>
                  <a:cubicBezTo>
                    <a:pt x="0" y="16"/>
                    <a:pt x="2" y="21"/>
                    <a:pt x="3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9" name="Freeform 61"/>
            <p:cNvSpPr>
              <a:spLocks/>
            </p:cNvSpPr>
            <p:nvPr userDrawn="1"/>
          </p:nvSpPr>
          <p:spPr bwMode="auto">
            <a:xfrm>
              <a:off x="2970044" y="2423949"/>
              <a:ext cx="18811" cy="38966"/>
            </a:xfrm>
            <a:custGeom>
              <a:avLst/>
              <a:gdLst>
                <a:gd name="T0" fmla="*/ 3 w 6"/>
                <a:gd name="T1" fmla="*/ 12 h 12"/>
                <a:gd name="T2" fmla="*/ 6 w 6"/>
                <a:gd name="T3" fmla="*/ 9 h 12"/>
                <a:gd name="T4" fmla="*/ 0 w 6"/>
                <a:gd name="T5" fmla="*/ 1 h 12"/>
                <a:gd name="T6" fmla="*/ 3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3" y="12"/>
                  </a:moveTo>
                  <a:cubicBezTo>
                    <a:pt x="3" y="10"/>
                    <a:pt x="4" y="8"/>
                    <a:pt x="6" y="9"/>
                  </a:cubicBezTo>
                  <a:cubicBezTo>
                    <a:pt x="6" y="4"/>
                    <a:pt x="5" y="0"/>
                    <a:pt x="0" y="1"/>
                  </a:cubicBezTo>
                  <a:cubicBezTo>
                    <a:pt x="1" y="6"/>
                    <a:pt x="0" y="12"/>
                    <a:pt x="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0" name="Freeform 62"/>
            <p:cNvSpPr>
              <a:spLocks/>
            </p:cNvSpPr>
            <p:nvPr userDrawn="1"/>
          </p:nvSpPr>
          <p:spPr bwMode="auto">
            <a:xfrm>
              <a:off x="3023790" y="2440073"/>
              <a:ext cx="41653" cy="38966"/>
            </a:xfrm>
            <a:custGeom>
              <a:avLst/>
              <a:gdLst>
                <a:gd name="T0" fmla="*/ 13 w 13"/>
                <a:gd name="T1" fmla="*/ 4 h 12"/>
                <a:gd name="T2" fmla="*/ 2 w 13"/>
                <a:gd name="T3" fmla="*/ 11 h 12"/>
                <a:gd name="T4" fmla="*/ 13 w 13"/>
                <a:gd name="T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4"/>
                  </a:moveTo>
                  <a:cubicBezTo>
                    <a:pt x="8" y="5"/>
                    <a:pt x="0" y="0"/>
                    <a:pt x="2" y="11"/>
                  </a:cubicBezTo>
                  <a:cubicBezTo>
                    <a:pt x="9" y="12"/>
                    <a:pt x="13" y="10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1" name="Freeform 63"/>
            <p:cNvSpPr>
              <a:spLocks/>
            </p:cNvSpPr>
            <p:nvPr userDrawn="1"/>
          </p:nvSpPr>
          <p:spPr bwMode="auto">
            <a:xfrm>
              <a:off x="3792359" y="3484090"/>
              <a:ext cx="28217" cy="64495"/>
            </a:xfrm>
            <a:custGeom>
              <a:avLst/>
              <a:gdLst>
                <a:gd name="T0" fmla="*/ 8 w 9"/>
                <a:gd name="T1" fmla="*/ 19 h 20"/>
                <a:gd name="T2" fmla="*/ 0 w 9"/>
                <a:gd name="T3" fmla="*/ 0 h 20"/>
                <a:gd name="T4" fmla="*/ 8 w 9"/>
                <a:gd name="T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0">
                  <a:moveTo>
                    <a:pt x="8" y="19"/>
                  </a:moveTo>
                  <a:cubicBezTo>
                    <a:pt x="9" y="7"/>
                    <a:pt x="4" y="4"/>
                    <a:pt x="0" y="0"/>
                  </a:cubicBezTo>
                  <a:cubicBezTo>
                    <a:pt x="2" y="7"/>
                    <a:pt x="0" y="20"/>
                    <a:pt x="8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2" name="Freeform 64"/>
            <p:cNvSpPr>
              <a:spLocks/>
            </p:cNvSpPr>
            <p:nvPr userDrawn="1"/>
          </p:nvSpPr>
          <p:spPr bwMode="auto">
            <a:xfrm>
              <a:off x="3338205" y="3532462"/>
              <a:ext cx="47028" cy="75245"/>
            </a:xfrm>
            <a:custGeom>
              <a:avLst/>
              <a:gdLst>
                <a:gd name="T0" fmla="*/ 6 w 15"/>
                <a:gd name="T1" fmla="*/ 0 h 24"/>
                <a:gd name="T2" fmla="*/ 6 w 15"/>
                <a:gd name="T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4">
                  <a:moveTo>
                    <a:pt x="6" y="0"/>
                  </a:moveTo>
                  <a:cubicBezTo>
                    <a:pt x="0" y="24"/>
                    <a:pt x="15" y="1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3" name="Freeform 65"/>
            <p:cNvSpPr>
              <a:spLocks/>
            </p:cNvSpPr>
            <p:nvPr userDrawn="1"/>
          </p:nvSpPr>
          <p:spPr bwMode="auto">
            <a:xfrm>
              <a:off x="3748018" y="3523056"/>
              <a:ext cx="37622" cy="81963"/>
            </a:xfrm>
            <a:custGeom>
              <a:avLst/>
              <a:gdLst>
                <a:gd name="T0" fmla="*/ 3 w 12"/>
                <a:gd name="T1" fmla="*/ 3 h 26"/>
                <a:gd name="T2" fmla="*/ 0 w 12"/>
                <a:gd name="T3" fmla="*/ 25 h 26"/>
                <a:gd name="T4" fmla="*/ 6 w 12"/>
                <a:gd name="T5" fmla="*/ 14 h 26"/>
                <a:gd name="T6" fmla="*/ 3 w 12"/>
                <a:gd name="T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3" y="3"/>
                  </a:moveTo>
                  <a:cubicBezTo>
                    <a:pt x="5" y="14"/>
                    <a:pt x="0" y="16"/>
                    <a:pt x="0" y="25"/>
                  </a:cubicBezTo>
                  <a:cubicBezTo>
                    <a:pt x="7" y="26"/>
                    <a:pt x="4" y="21"/>
                    <a:pt x="6" y="14"/>
                  </a:cubicBezTo>
                  <a:cubicBezTo>
                    <a:pt x="7" y="9"/>
                    <a:pt x="12" y="0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4" name="Freeform 66"/>
            <p:cNvSpPr>
              <a:spLocks/>
            </p:cNvSpPr>
            <p:nvPr userDrawn="1"/>
          </p:nvSpPr>
          <p:spPr bwMode="auto">
            <a:xfrm>
              <a:off x="2998261" y="3574115"/>
              <a:ext cx="32248" cy="63152"/>
            </a:xfrm>
            <a:custGeom>
              <a:avLst/>
              <a:gdLst>
                <a:gd name="T0" fmla="*/ 0 w 10"/>
                <a:gd name="T1" fmla="*/ 9 h 20"/>
                <a:gd name="T2" fmla="*/ 10 w 10"/>
                <a:gd name="T3" fmla="*/ 9 h 20"/>
                <a:gd name="T4" fmla="*/ 0 w 10"/>
                <a:gd name="T5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9"/>
                  </a:moveTo>
                  <a:cubicBezTo>
                    <a:pt x="5" y="6"/>
                    <a:pt x="9" y="20"/>
                    <a:pt x="10" y="9"/>
                  </a:cubicBezTo>
                  <a:cubicBezTo>
                    <a:pt x="9" y="8"/>
                    <a:pt x="0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" name="Freeform 67"/>
            <p:cNvSpPr>
              <a:spLocks/>
            </p:cNvSpPr>
            <p:nvPr userDrawn="1"/>
          </p:nvSpPr>
          <p:spPr bwMode="auto">
            <a:xfrm>
              <a:off x="3151437" y="3672202"/>
              <a:ext cx="44341" cy="69870"/>
            </a:xfrm>
            <a:custGeom>
              <a:avLst/>
              <a:gdLst>
                <a:gd name="T0" fmla="*/ 3 w 14"/>
                <a:gd name="T1" fmla="*/ 0 h 22"/>
                <a:gd name="T2" fmla="*/ 3 w 14"/>
                <a:gd name="T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22">
                  <a:moveTo>
                    <a:pt x="3" y="0"/>
                  </a:moveTo>
                  <a:cubicBezTo>
                    <a:pt x="0" y="22"/>
                    <a:pt x="14" y="2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" name="Freeform 68"/>
            <p:cNvSpPr>
              <a:spLocks/>
            </p:cNvSpPr>
            <p:nvPr userDrawn="1"/>
          </p:nvSpPr>
          <p:spPr bwMode="auto">
            <a:xfrm>
              <a:off x="3140688" y="3872406"/>
              <a:ext cx="20155" cy="24186"/>
            </a:xfrm>
            <a:custGeom>
              <a:avLst/>
              <a:gdLst>
                <a:gd name="T0" fmla="*/ 6 w 6"/>
                <a:gd name="T1" fmla="*/ 0 h 8"/>
                <a:gd name="T2" fmla="*/ 0 w 6"/>
                <a:gd name="T3" fmla="*/ 0 h 8"/>
                <a:gd name="T4" fmla="*/ 0 w 6"/>
                <a:gd name="T5" fmla="*/ 8 h 8"/>
                <a:gd name="T6" fmla="*/ 6 w 6"/>
                <a:gd name="T7" fmla="*/ 8 h 8"/>
                <a:gd name="T8" fmla="*/ 6 w 6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6" y="8"/>
                  </a:cubicBezTo>
                  <a:cubicBezTo>
                    <a:pt x="6" y="5"/>
                    <a:pt x="6" y="3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" name="Freeform 69"/>
            <p:cNvSpPr>
              <a:spLocks/>
            </p:cNvSpPr>
            <p:nvPr userDrawn="1"/>
          </p:nvSpPr>
          <p:spPr bwMode="auto">
            <a:xfrm>
              <a:off x="3081567" y="3919434"/>
              <a:ext cx="72557" cy="116898"/>
            </a:xfrm>
            <a:custGeom>
              <a:avLst/>
              <a:gdLst>
                <a:gd name="T0" fmla="*/ 11 w 23"/>
                <a:gd name="T1" fmla="*/ 4 h 37"/>
                <a:gd name="T2" fmla="*/ 3 w 23"/>
                <a:gd name="T3" fmla="*/ 0 h 37"/>
                <a:gd name="T4" fmla="*/ 3 w 23"/>
                <a:gd name="T5" fmla="*/ 33 h 37"/>
                <a:gd name="T6" fmla="*/ 22 w 23"/>
                <a:gd name="T7" fmla="*/ 26 h 37"/>
                <a:gd name="T8" fmla="*/ 17 w 23"/>
                <a:gd name="T9" fmla="*/ 15 h 37"/>
                <a:gd name="T10" fmla="*/ 14 w 23"/>
                <a:gd name="T11" fmla="*/ 4 h 37"/>
                <a:gd name="T12" fmla="*/ 6 w 23"/>
                <a:gd name="T13" fmla="*/ 11 h 37"/>
                <a:gd name="T14" fmla="*/ 11 w 23"/>
                <a:gd name="T15" fmla="*/ 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7">
                  <a:moveTo>
                    <a:pt x="11" y="4"/>
                  </a:moveTo>
                  <a:cubicBezTo>
                    <a:pt x="8" y="4"/>
                    <a:pt x="5" y="2"/>
                    <a:pt x="3" y="0"/>
                  </a:cubicBezTo>
                  <a:cubicBezTo>
                    <a:pt x="2" y="17"/>
                    <a:pt x="0" y="18"/>
                    <a:pt x="3" y="33"/>
                  </a:cubicBezTo>
                  <a:cubicBezTo>
                    <a:pt x="14" y="37"/>
                    <a:pt x="10" y="20"/>
                    <a:pt x="22" y="26"/>
                  </a:cubicBezTo>
                  <a:cubicBezTo>
                    <a:pt x="23" y="18"/>
                    <a:pt x="18" y="19"/>
                    <a:pt x="17" y="15"/>
                  </a:cubicBezTo>
                  <a:cubicBezTo>
                    <a:pt x="16" y="13"/>
                    <a:pt x="22" y="4"/>
                    <a:pt x="14" y="4"/>
                  </a:cubicBezTo>
                  <a:cubicBezTo>
                    <a:pt x="16" y="11"/>
                    <a:pt x="7" y="20"/>
                    <a:pt x="6" y="11"/>
                  </a:cubicBezTo>
                  <a:cubicBezTo>
                    <a:pt x="9" y="11"/>
                    <a:pt x="12" y="10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8" name="Freeform 70"/>
            <p:cNvSpPr>
              <a:spLocks/>
            </p:cNvSpPr>
            <p:nvPr userDrawn="1"/>
          </p:nvSpPr>
          <p:spPr bwMode="auto">
            <a:xfrm>
              <a:off x="3058725" y="3912715"/>
              <a:ext cx="32248" cy="60464"/>
            </a:xfrm>
            <a:custGeom>
              <a:avLst/>
              <a:gdLst>
                <a:gd name="T0" fmla="*/ 0 w 10"/>
                <a:gd name="T1" fmla="*/ 9 h 19"/>
                <a:gd name="T2" fmla="*/ 7 w 10"/>
                <a:gd name="T3" fmla="*/ 17 h 19"/>
                <a:gd name="T4" fmla="*/ 0 w 10"/>
                <a:gd name="T5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9">
                  <a:moveTo>
                    <a:pt x="0" y="9"/>
                  </a:moveTo>
                  <a:cubicBezTo>
                    <a:pt x="4" y="10"/>
                    <a:pt x="2" y="19"/>
                    <a:pt x="7" y="17"/>
                  </a:cubicBezTo>
                  <a:cubicBezTo>
                    <a:pt x="10" y="9"/>
                    <a:pt x="1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9" name="Freeform 71"/>
            <p:cNvSpPr>
              <a:spLocks/>
            </p:cNvSpPr>
            <p:nvPr userDrawn="1"/>
          </p:nvSpPr>
          <p:spPr bwMode="auto">
            <a:xfrm>
              <a:off x="3125908" y="4049768"/>
              <a:ext cx="75245" cy="126303"/>
            </a:xfrm>
            <a:custGeom>
              <a:avLst/>
              <a:gdLst>
                <a:gd name="T0" fmla="*/ 0 w 24"/>
                <a:gd name="T1" fmla="*/ 29 h 40"/>
                <a:gd name="T2" fmla="*/ 19 w 24"/>
                <a:gd name="T3" fmla="*/ 22 h 40"/>
                <a:gd name="T4" fmla="*/ 21 w 24"/>
                <a:gd name="T5" fmla="*/ 40 h 40"/>
                <a:gd name="T6" fmla="*/ 24 w 24"/>
                <a:gd name="T7" fmla="*/ 18 h 40"/>
                <a:gd name="T8" fmla="*/ 16 w 24"/>
                <a:gd name="T9" fmla="*/ 0 h 40"/>
                <a:gd name="T10" fmla="*/ 13 w 24"/>
                <a:gd name="T11" fmla="*/ 18 h 40"/>
                <a:gd name="T12" fmla="*/ 0 w 24"/>
                <a:gd name="T13" fmla="*/ 2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0">
                  <a:moveTo>
                    <a:pt x="0" y="29"/>
                  </a:moveTo>
                  <a:cubicBezTo>
                    <a:pt x="8" y="30"/>
                    <a:pt x="8" y="18"/>
                    <a:pt x="19" y="22"/>
                  </a:cubicBezTo>
                  <a:cubicBezTo>
                    <a:pt x="15" y="27"/>
                    <a:pt x="17" y="37"/>
                    <a:pt x="21" y="40"/>
                  </a:cubicBezTo>
                  <a:cubicBezTo>
                    <a:pt x="21" y="31"/>
                    <a:pt x="21" y="23"/>
                    <a:pt x="24" y="18"/>
                  </a:cubicBezTo>
                  <a:cubicBezTo>
                    <a:pt x="16" y="20"/>
                    <a:pt x="22" y="1"/>
                    <a:pt x="16" y="0"/>
                  </a:cubicBezTo>
                  <a:cubicBezTo>
                    <a:pt x="12" y="8"/>
                    <a:pt x="10" y="7"/>
                    <a:pt x="13" y="18"/>
                  </a:cubicBezTo>
                  <a:cubicBezTo>
                    <a:pt x="5" y="16"/>
                    <a:pt x="2" y="23"/>
                    <a:pt x="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0" name="Freeform 72"/>
            <p:cNvSpPr>
              <a:spLocks/>
            </p:cNvSpPr>
            <p:nvPr userDrawn="1"/>
          </p:nvSpPr>
          <p:spPr bwMode="auto">
            <a:xfrm>
              <a:off x="2792682" y="4059173"/>
              <a:ext cx="14780" cy="47028"/>
            </a:xfrm>
            <a:custGeom>
              <a:avLst/>
              <a:gdLst>
                <a:gd name="T0" fmla="*/ 5 w 5"/>
                <a:gd name="T1" fmla="*/ 15 h 15"/>
                <a:gd name="T2" fmla="*/ 5 w 5"/>
                <a:gd name="T3" fmla="*/ 0 h 15"/>
                <a:gd name="T4" fmla="*/ 0 w 5"/>
                <a:gd name="T5" fmla="*/ 0 h 15"/>
                <a:gd name="T6" fmla="*/ 0 w 5"/>
                <a:gd name="T7" fmla="*/ 15 h 15"/>
                <a:gd name="T8" fmla="*/ 5 w 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5">
                  <a:moveTo>
                    <a:pt x="5" y="15"/>
                  </a:moveTo>
                  <a:cubicBezTo>
                    <a:pt x="5" y="10"/>
                    <a:pt x="5" y="5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5"/>
                    <a:pt x="0" y="10"/>
                    <a:pt x="0" y="15"/>
                  </a:cubicBezTo>
                  <a:cubicBezTo>
                    <a:pt x="2" y="15"/>
                    <a:pt x="4" y="15"/>
                    <a:pt x="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1" name="Freeform 73"/>
            <p:cNvSpPr>
              <a:spLocks/>
            </p:cNvSpPr>
            <p:nvPr userDrawn="1"/>
          </p:nvSpPr>
          <p:spPr bwMode="auto">
            <a:xfrm>
              <a:off x="2823586" y="4059173"/>
              <a:ext cx="44341" cy="72557"/>
            </a:xfrm>
            <a:custGeom>
              <a:avLst/>
              <a:gdLst>
                <a:gd name="T0" fmla="*/ 9 w 14"/>
                <a:gd name="T1" fmla="*/ 23 h 23"/>
                <a:gd name="T2" fmla="*/ 14 w 14"/>
                <a:gd name="T3" fmla="*/ 8 h 23"/>
                <a:gd name="T4" fmla="*/ 4 w 14"/>
                <a:gd name="T5" fmla="*/ 0 h 23"/>
                <a:gd name="T6" fmla="*/ 9 w 14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3">
                  <a:moveTo>
                    <a:pt x="9" y="23"/>
                  </a:moveTo>
                  <a:cubicBezTo>
                    <a:pt x="10" y="17"/>
                    <a:pt x="13" y="13"/>
                    <a:pt x="14" y="8"/>
                  </a:cubicBezTo>
                  <a:cubicBezTo>
                    <a:pt x="10" y="6"/>
                    <a:pt x="7" y="2"/>
                    <a:pt x="4" y="0"/>
                  </a:cubicBezTo>
                  <a:cubicBezTo>
                    <a:pt x="9" y="11"/>
                    <a:pt x="0" y="19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2" name="Freeform 74"/>
            <p:cNvSpPr>
              <a:spLocks/>
            </p:cNvSpPr>
            <p:nvPr userDrawn="1"/>
          </p:nvSpPr>
          <p:spPr bwMode="auto">
            <a:xfrm>
              <a:off x="2867927" y="4084703"/>
              <a:ext cx="51059" cy="60464"/>
            </a:xfrm>
            <a:custGeom>
              <a:avLst/>
              <a:gdLst>
                <a:gd name="T0" fmla="*/ 16 w 16"/>
                <a:gd name="T1" fmla="*/ 18 h 19"/>
                <a:gd name="T2" fmla="*/ 3 w 16"/>
                <a:gd name="T3" fmla="*/ 0 h 19"/>
                <a:gd name="T4" fmla="*/ 0 w 16"/>
                <a:gd name="T5" fmla="*/ 15 h 19"/>
                <a:gd name="T6" fmla="*/ 16 w 16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9">
                  <a:moveTo>
                    <a:pt x="16" y="18"/>
                  </a:moveTo>
                  <a:cubicBezTo>
                    <a:pt x="15" y="8"/>
                    <a:pt x="11" y="1"/>
                    <a:pt x="3" y="0"/>
                  </a:cubicBezTo>
                  <a:cubicBezTo>
                    <a:pt x="5" y="12"/>
                    <a:pt x="5" y="7"/>
                    <a:pt x="0" y="15"/>
                  </a:cubicBezTo>
                  <a:cubicBezTo>
                    <a:pt x="3" y="19"/>
                    <a:pt x="10" y="19"/>
                    <a:pt x="1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3" name="Freeform 75"/>
            <p:cNvSpPr>
              <a:spLocks/>
            </p:cNvSpPr>
            <p:nvPr userDrawn="1"/>
          </p:nvSpPr>
          <p:spPr bwMode="auto">
            <a:xfrm>
              <a:off x="3090973" y="4084703"/>
              <a:ext cx="65839" cy="56433"/>
            </a:xfrm>
            <a:custGeom>
              <a:avLst/>
              <a:gdLst>
                <a:gd name="T0" fmla="*/ 8 w 21"/>
                <a:gd name="T1" fmla="*/ 0 h 18"/>
                <a:gd name="T2" fmla="*/ 0 w 21"/>
                <a:gd name="T3" fmla="*/ 7 h 18"/>
                <a:gd name="T4" fmla="*/ 6 w 21"/>
                <a:gd name="T5" fmla="*/ 18 h 18"/>
                <a:gd name="T6" fmla="*/ 8 w 21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8">
                  <a:moveTo>
                    <a:pt x="8" y="0"/>
                  </a:moveTo>
                  <a:cubicBezTo>
                    <a:pt x="8" y="5"/>
                    <a:pt x="2" y="4"/>
                    <a:pt x="0" y="7"/>
                  </a:cubicBezTo>
                  <a:cubicBezTo>
                    <a:pt x="0" y="14"/>
                    <a:pt x="2" y="17"/>
                    <a:pt x="6" y="18"/>
                  </a:cubicBezTo>
                  <a:cubicBezTo>
                    <a:pt x="5" y="7"/>
                    <a:pt x="21" y="6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4" name="Freeform 76"/>
            <p:cNvSpPr>
              <a:spLocks/>
            </p:cNvSpPr>
            <p:nvPr userDrawn="1"/>
          </p:nvSpPr>
          <p:spPr bwMode="auto">
            <a:xfrm>
              <a:off x="2937796" y="4112919"/>
              <a:ext cx="73901" cy="102118"/>
            </a:xfrm>
            <a:custGeom>
              <a:avLst/>
              <a:gdLst>
                <a:gd name="T0" fmla="*/ 0 w 23"/>
                <a:gd name="T1" fmla="*/ 2 h 32"/>
                <a:gd name="T2" fmla="*/ 0 w 23"/>
                <a:gd name="T3" fmla="*/ 17 h 32"/>
                <a:gd name="T4" fmla="*/ 16 w 23"/>
                <a:gd name="T5" fmla="*/ 13 h 32"/>
                <a:gd name="T6" fmla="*/ 10 w 23"/>
                <a:gd name="T7" fmla="*/ 31 h 32"/>
                <a:gd name="T8" fmla="*/ 19 w 23"/>
                <a:gd name="T9" fmla="*/ 6 h 32"/>
                <a:gd name="T10" fmla="*/ 0 w 23"/>
                <a:gd name="T11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32">
                  <a:moveTo>
                    <a:pt x="0" y="2"/>
                  </a:moveTo>
                  <a:cubicBezTo>
                    <a:pt x="0" y="7"/>
                    <a:pt x="0" y="12"/>
                    <a:pt x="0" y="17"/>
                  </a:cubicBezTo>
                  <a:cubicBezTo>
                    <a:pt x="8" y="21"/>
                    <a:pt x="14" y="4"/>
                    <a:pt x="16" y="13"/>
                  </a:cubicBezTo>
                  <a:cubicBezTo>
                    <a:pt x="9" y="20"/>
                    <a:pt x="13" y="19"/>
                    <a:pt x="10" y="31"/>
                  </a:cubicBezTo>
                  <a:cubicBezTo>
                    <a:pt x="20" y="32"/>
                    <a:pt x="23" y="12"/>
                    <a:pt x="19" y="6"/>
                  </a:cubicBezTo>
                  <a:cubicBezTo>
                    <a:pt x="9" y="9"/>
                    <a:pt x="8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5" name="Freeform 77"/>
            <p:cNvSpPr>
              <a:spLocks/>
            </p:cNvSpPr>
            <p:nvPr userDrawn="1"/>
          </p:nvSpPr>
          <p:spPr bwMode="auto">
            <a:xfrm>
              <a:off x="2814181" y="4115607"/>
              <a:ext cx="79275" cy="51059"/>
            </a:xfrm>
            <a:custGeom>
              <a:avLst/>
              <a:gdLst>
                <a:gd name="T0" fmla="*/ 12 w 25"/>
                <a:gd name="T1" fmla="*/ 16 h 16"/>
                <a:gd name="T2" fmla="*/ 20 w 25"/>
                <a:gd name="T3" fmla="*/ 16 h 16"/>
                <a:gd name="T4" fmla="*/ 12 w 25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16">
                  <a:moveTo>
                    <a:pt x="12" y="16"/>
                  </a:moveTo>
                  <a:cubicBezTo>
                    <a:pt x="13" y="10"/>
                    <a:pt x="18" y="13"/>
                    <a:pt x="20" y="16"/>
                  </a:cubicBezTo>
                  <a:cubicBezTo>
                    <a:pt x="25" y="0"/>
                    <a:pt x="0" y="10"/>
                    <a:pt x="1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6" name="Freeform 78"/>
            <p:cNvSpPr>
              <a:spLocks/>
            </p:cNvSpPr>
            <p:nvPr userDrawn="1"/>
          </p:nvSpPr>
          <p:spPr bwMode="auto">
            <a:xfrm>
              <a:off x="3033196" y="4138449"/>
              <a:ext cx="32248" cy="67183"/>
            </a:xfrm>
            <a:custGeom>
              <a:avLst/>
              <a:gdLst>
                <a:gd name="T0" fmla="*/ 5 w 10"/>
                <a:gd name="T1" fmla="*/ 20 h 21"/>
                <a:gd name="T2" fmla="*/ 10 w 10"/>
                <a:gd name="T3" fmla="*/ 1 h 21"/>
                <a:gd name="T4" fmla="*/ 5 w 10"/>
                <a:gd name="T5" fmla="*/ 1 h 21"/>
                <a:gd name="T6" fmla="*/ 5 w 10"/>
                <a:gd name="T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1">
                  <a:moveTo>
                    <a:pt x="5" y="20"/>
                  </a:moveTo>
                  <a:cubicBezTo>
                    <a:pt x="8" y="15"/>
                    <a:pt x="7" y="6"/>
                    <a:pt x="10" y="1"/>
                  </a:cubicBezTo>
                  <a:cubicBezTo>
                    <a:pt x="8" y="1"/>
                    <a:pt x="7" y="1"/>
                    <a:pt x="5" y="1"/>
                  </a:cubicBezTo>
                  <a:cubicBezTo>
                    <a:pt x="0" y="0"/>
                    <a:pt x="0" y="21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7" name="Freeform 79"/>
            <p:cNvSpPr>
              <a:spLocks/>
            </p:cNvSpPr>
            <p:nvPr userDrawn="1"/>
          </p:nvSpPr>
          <p:spPr bwMode="auto">
            <a:xfrm>
              <a:off x="3004979" y="4176071"/>
              <a:ext cx="28217" cy="34935"/>
            </a:xfrm>
            <a:custGeom>
              <a:avLst/>
              <a:gdLst>
                <a:gd name="T0" fmla="*/ 8 w 9"/>
                <a:gd name="T1" fmla="*/ 8 h 11"/>
                <a:gd name="T2" fmla="*/ 3 w 9"/>
                <a:gd name="T3" fmla="*/ 0 h 11"/>
                <a:gd name="T4" fmla="*/ 0 w 9"/>
                <a:gd name="T5" fmla="*/ 11 h 11"/>
                <a:gd name="T6" fmla="*/ 6 w 9"/>
                <a:gd name="T7" fmla="*/ 11 h 11"/>
                <a:gd name="T8" fmla="*/ 8 w 9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8" y="8"/>
                  </a:moveTo>
                  <a:cubicBezTo>
                    <a:pt x="5" y="8"/>
                    <a:pt x="6" y="1"/>
                    <a:pt x="3" y="0"/>
                  </a:cubicBezTo>
                  <a:cubicBezTo>
                    <a:pt x="3" y="5"/>
                    <a:pt x="0" y="6"/>
                    <a:pt x="0" y="11"/>
                  </a:cubicBezTo>
                  <a:cubicBezTo>
                    <a:pt x="2" y="11"/>
                    <a:pt x="4" y="11"/>
                    <a:pt x="6" y="11"/>
                  </a:cubicBezTo>
                  <a:cubicBezTo>
                    <a:pt x="7" y="11"/>
                    <a:pt x="9" y="11"/>
                    <a:pt x="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8" name="Freeform 80"/>
            <p:cNvSpPr>
              <a:spLocks/>
            </p:cNvSpPr>
            <p:nvPr userDrawn="1"/>
          </p:nvSpPr>
          <p:spPr bwMode="auto">
            <a:xfrm>
              <a:off x="3624403" y="4215037"/>
              <a:ext cx="40310" cy="40310"/>
            </a:xfrm>
            <a:custGeom>
              <a:avLst/>
              <a:gdLst>
                <a:gd name="T0" fmla="*/ 2 w 13"/>
                <a:gd name="T1" fmla="*/ 11 h 13"/>
                <a:gd name="T2" fmla="*/ 12 w 13"/>
                <a:gd name="T3" fmla="*/ 7 h 13"/>
                <a:gd name="T4" fmla="*/ 2 w 13"/>
                <a:gd name="T5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2" y="11"/>
                  </a:moveTo>
                  <a:cubicBezTo>
                    <a:pt x="3" y="13"/>
                    <a:pt x="13" y="10"/>
                    <a:pt x="12" y="7"/>
                  </a:cubicBezTo>
                  <a:cubicBezTo>
                    <a:pt x="9" y="0"/>
                    <a:pt x="0" y="9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9" name="Freeform 81"/>
            <p:cNvSpPr>
              <a:spLocks/>
            </p:cNvSpPr>
            <p:nvPr userDrawn="1"/>
          </p:nvSpPr>
          <p:spPr bwMode="auto">
            <a:xfrm>
              <a:off x="2792682" y="4205631"/>
              <a:ext cx="34935" cy="79275"/>
            </a:xfrm>
            <a:custGeom>
              <a:avLst/>
              <a:gdLst>
                <a:gd name="T0" fmla="*/ 8 w 11"/>
                <a:gd name="T1" fmla="*/ 25 h 25"/>
                <a:gd name="T2" fmla="*/ 11 w 11"/>
                <a:gd name="T3" fmla="*/ 17 h 25"/>
                <a:gd name="T4" fmla="*/ 0 w 11"/>
                <a:gd name="T5" fmla="*/ 14 h 25"/>
                <a:gd name="T6" fmla="*/ 3 w 11"/>
                <a:gd name="T7" fmla="*/ 25 h 25"/>
                <a:gd name="T8" fmla="*/ 8 w 11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5">
                  <a:moveTo>
                    <a:pt x="8" y="25"/>
                  </a:moveTo>
                  <a:cubicBezTo>
                    <a:pt x="8" y="21"/>
                    <a:pt x="10" y="20"/>
                    <a:pt x="11" y="17"/>
                  </a:cubicBezTo>
                  <a:cubicBezTo>
                    <a:pt x="4" y="22"/>
                    <a:pt x="4" y="0"/>
                    <a:pt x="0" y="14"/>
                  </a:cubicBezTo>
                  <a:cubicBezTo>
                    <a:pt x="3" y="14"/>
                    <a:pt x="3" y="19"/>
                    <a:pt x="3" y="25"/>
                  </a:cubicBezTo>
                  <a:cubicBezTo>
                    <a:pt x="5" y="25"/>
                    <a:pt x="6" y="25"/>
                    <a:pt x="8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0" name="Freeform 82"/>
            <p:cNvSpPr>
              <a:spLocks/>
            </p:cNvSpPr>
            <p:nvPr userDrawn="1"/>
          </p:nvSpPr>
          <p:spPr bwMode="auto">
            <a:xfrm>
              <a:off x="2960639" y="4236535"/>
              <a:ext cx="30904" cy="48371"/>
            </a:xfrm>
            <a:custGeom>
              <a:avLst/>
              <a:gdLst>
                <a:gd name="T0" fmla="*/ 1 w 10"/>
                <a:gd name="T1" fmla="*/ 4 h 15"/>
                <a:gd name="T2" fmla="*/ 6 w 10"/>
                <a:gd name="T3" fmla="*/ 15 h 15"/>
                <a:gd name="T4" fmla="*/ 9 w 10"/>
                <a:gd name="T5" fmla="*/ 0 h 15"/>
                <a:gd name="T6" fmla="*/ 3 w 10"/>
                <a:gd name="T7" fmla="*/ 0 h 15"/>
                <a:gd name="T8" fmla="*/ 1 w 10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1" y="4"/>
                  </a:moveTo>
                  <a:cubicBezTo>
                    <a:pt x="5" y="4"/>
                    <a:pt x="2" y="14"/>
                    <a:pt x="6" y="15"/>
                  </a:cubicBezTo>
                  <a:cubicBezTo>
                    <a:pt x="7" y="10"/>
                    <a:pt x="10" y="8"/>
                    <a:pt x="9" y="0"/>
                  </a:cubicBezTo>
                  <a:cubicBezTo>
                    <a:pt x="7" y="0"/>
                    <a:pt x="5" y="0"/>
                    <a:pt x="3" y="0"/>
                  </a:cubicBezTo>
                  <a:cubicBezTo>
                    <a:pt x="2" y="0"/>
                    <a:pt x="0" y="0"/>
                    <a:pt x="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1" name="Freeform 83"/>
            <p:cNvSpPr>
              <a:spLocks/>
            </p:cNvSpPr>
            <p:nvPr userDrawn="1"/>
          </p:nvSpPr>
          <p:spPr bwMode="auto">
            <a:xfrm>
              <a:off x="2998261" y="4227130"/>
              <a:ext cx="41653" cy="67183"/>
            </a:xfrm>
            <a:custGeom>
              <a:avLst/>
              <a:gdLst>
                <a:gd name="T0" fmla="*/ 0 w 13"/>
                <a:gd name="T1" fmla="*/ 10 h 21"/>
                <a:gd name="T2" fmla="*/ 13 w 13"/>
                <a:gd name="T3" fmla="*/ 10 h 21"/>
                <a:gd name="T4" fmla="*/ 0 w 13"/>
                <a:gd name="T5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1">
                  <a:moveTo>
                    <a:pt x="0" y="10"/>
                  </a:moveTo>
                  <a:cubicBezTo>
                    <a:pt x="6" y="5"/>
                    <a:pt x="11" y="21"/>
                    <a:pt x="13" y="10"/>
                  </a:cubicBezTo>
                  <a:cubicBezTo>
                    <a:pt x="8" y="5"/>
                    <a:pt x="4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2" name="Freeform 84"/>
            <p:cNvSpPr>
              <a:spLocks/>
            </p:cNvSpPr>
            <p:nvPr userDrawn="1"/>
          </p:nvSpPr>
          <p:spPr bwMode="auto">
            <a:xfrm>
              <a:off x="2802088" y="4249972"/>
              <a:ext cx="85994" cy="114210"/>
            </a:xfrm>
            <a:custGeom>
              <a:avLst/>
              <a:gdLst>
                <a:gd name="T0" fmla="*/ 11 w 27"/>
                <a:gd name="T1" fmla="*/ 33 h 36"/>
                <a:gd name="T2" fmla="*/ 21 w 27"/>
                <a:gd name="T3" fmla="*/ 33 h 36"/>
                <a:gd name="T4" fmla="*/ 21 w 27"/>
                <a:gd name="T5" fmla="*/ 0 h 36"/>
                <a:gd name="T6" fmla="*/ 13 w 27"/>
                <a:gd name="T7" fmla="*/ 0 h 36"/>
                <a:gd name="T8" fmla="*/ 11 w 27"/>
                <a:gd name="T9" fmla="*/ 11 h 36"/>
                <a:gd name="T10" fmla="*/ 11 w 27"/>
                <a:gd name="T11" fmla="*/ 3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36">
                  <a:moveTo>
                    <a:pt x="11" y="33"/>
                  </a:moveTo>
                  <a:cubicBezTo>
                    <a:pt x="12" y="22"/>
                    <a:pt x="16" y="36"/>
                    <a:pt x="21" y="33"/>
                  </a:cubicBezTo>
                  <a:cubicBezTo>
                    <a:pt x="17" y="21"/>
                    <a:pt x="20" y="13"/>
                    <a:pt x="21" y="0"/>
                  </a:cubicBezTo>
                  <a:cubicBezTo>
                    <a:pt x="19" y="0"/>
                    <a:pt x="16" y="0"/>
                    <a:pt x="13" y="0"/>
                  </a:cubicBezTo>
                  <a:cubicBezTo>
                    <a:pt x="13" y="5"/>
                    <a:pt x="12" y="8"/>
                    <a:pt x="11" y="11"/>
                  </a:cubicBezTo>
                  <a:cubicBezTo>
                    <a:pt x="27" y="13"/>
                    <a:pt x="0" y="27"/>
                    <a:pt x="11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3" name="Freeform 85"/>
            <p:cNvSpPr>
              <a:spLocks/>
            </p:cNvSpPr>
            <p:nvPr userDrawn="1"/>
          </p:nvSpPr>
          <p:spPr bwMode="auto">
            <a:xfrm>
              <a:off x="2867927" y="4255347"/>
              <a:ext cx="55090" cy="64495"/>
            </a:xfrm>
            <a:custGeom>
              <a:avLst/>
              <a:gdLst>
                <a:gd name="T0" fmla="*/ 8 w 17"/>
                <a:gd name="T1" fmla="*/ 9 h 20"/>
                <a:gd name="T2" fmla="*/ 6 w 17"/>
                <a:gd name="T3" fmla="*/ 9 h 20"/>
                <a:gd name="T4" fmla="*/ 3 w 17"/>
                <a:gd name="T5" fmla="*/ 1 h 20"/>
                <a:gd name="T6" fmla="*/ 0 w 17"/>
                <a:gd name="T7" fmla="*/ 16 h 20"/>
                <a:gd name="T8" fmla="*/ 16 w 17"/>
                <a:gd name="T9" fmla="*/ 20 h 20"/>
                <a:gd name="T10" fmla="*/ 8 w 17"/>
                <a:gd name="T11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20">
                  <a:moveTo>
                    <a:pt x="8" y="9"/>
                  </a:moveTo>
                  <a:cubicBezTo>
                    <a:pt x="6" y="10"/>
                    <a:pt x="9" y="13"/>
                    <a:pt x="6" y="9"/>
                  </a:cubicBezTo>
                  <a:cubicBezTo>
                    <a:pt x="4" y="7"/>
                    <a:pt x="6" y="0"/>
                    <a:pt x="3" y="1"/>
                  </a:cubicBezTo>
                  <a:cubicBezTo>
                    <a:pt x="3" y="8"/>
                    <a:pt x="2" y="13"/>
                    <a:pt x="0" y="16"/>
                  </a:cubicBezTo>
                  <a:cubicBezTo>
                    <a:pt x="9" y="13"/>
                    <a:pt x="10" y="20"/>
                    <a:pt x="16" y="20"/>
                  </a:cubicBezTo>
                  <a:cubicBezTo>
                    <a:pt x="17" y="10"/>
                    <a:pt x="12" y="7"/>
                    <a:pt x="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4" name="Freeform 86"/>
            <p:cNvSpPr>
              <a:spLocks/>
            </p:cNvSpPr>
            <p:nvPr userDrawn="1"/>
          </p:nvSpPr>
          <p:spPr bwMode="auto">
            <a:xfrm>
              <a:off x="3081567" y="4243254"/>
              <a:ext cx="25529" cy="69870"/>
            </a:xfrm>
            <a:custGeom>
              <a:avLst/>
              <a:gdLst>
                <a:gd name="T0" fmla="*/ 0 w 8"/>
                <a:gd name="T1" fmla="*/ 13 h 22"/>
                <a:gd name="T2" fmla="*/ 6 w 8"/>
                <a:gd name="T3" fmla="*/ 20 h 22"/>
                <a:gd name="T4" fmla="*/ 0 w 8"/>
                <a:gd name="T5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2">
                  <a:moveTo>
                    <a:pt x="0" y="13"/>
                  </a:moveTo>
                  <a:cubicBezTo>
                    <a:pt x="3" y="11"/>
                    <a:pt x="5" y="22"/>
                    <a:pt x="6" y="20"/>
                  </a:cubicBezTo>
                  <a:cubicBezTo>
                    <a:pt x="8" y="17"/>
                    <a:pt x="5" y="0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5" name="Freeform 87"/>
            <p:cNvSpPr>
              <a:spLocks/>
            </p:cNvSpPr>
            <p:nvPr userDrawn="1"/>
          </p:nvSpPr>
          <p:spPr bwMode="auto">
            <a:xfrm>
              <a:off x="2928391" y="4284907"/>
              <a:ext cx="69870" cy="116898"/>
            </a:xfrm>
            <a:custGeom>
              <a:avLst/>
              <a:gdLst>
                <a:gd name="T0" fmla="*/ 6 w 22"/>
                <a:gd name="T1" fmla="*/ 26 h 37"/>
                <a:gd name="T2" fmla="*/ 13 w 22"/>
                <a:gd name="T3" fmla="*/ 37 h 37"/>
                <a:gd name="T4" fmla="*/ 22 w 22"/>
                <a:gd name="T5" fmla="*/ 29 h 37"/>
                <a:gd name="T6" fmla="*/ 6 w 22"/>
                <a:gd name="T7" fmla="*/ 11 h 37"/>
                <a:gd name="T8" fmla="*/ 16 w 22"/>
                <a:gd name="T9" fmla="*/ 18 h 37"/>
                <a:gd name="T10" fmla="*/ 19 w 22"/>
                <a:gd name="T11" fmla="*/ 7 h 37"/>
                <a:gd name="T12" fmla="*/ 8 w 22"/>
                <a:gd name="T13" fmla="*/ 0 h 37"/>
                <a:gd name="T14" fmla="*/ 0 w 22"/>
                <a:gd name="T15" fmla="*/ 11 h 37"/>
                <a:gd name="T16" fmla="*/ 6 w 22"/>
                <a:gd name="T17" fmla="*/ 2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37">
                  <a:moveTo>
                    <a:pt x="6" y="26"/>
                  </a:moveTo>
                  <a:cubicBezTo>
                    <a:pt x="8" y="30"/>
                    <a:pt x="12" y="34"/>
                    <a:pt x="13" y="37"/>
                  </a:cubicBezTo>
                  <a:cubicBezTo>
                    <a:pt x="14" y="31"/>
                    <a:pt x="21" y="35"/>
                    <a:pt x="22" y="29"/>
                  </a:cubicBezTo>
                  <a:cubicBezTo>
                    <a:pt x="17" y="23"/>
                    <a:pt x="5" y="25"/>
                    <a:pt x="6" y="11"/>
                  </a:cubicBezTo>
                  <a:cubicBezTo>
                    <a:pt x="11" y="11"/>
                    <a:pt x="9" y="21"/>
                    <a:pt x="16" y="18"/>
                  </a:cubicBezTo>
                  <a:cubicBezTo>
                    <a:pt x="16" y="13"/>
                    <a:pt x="18" y="10"/>
                    <a:pt x="19" y="7"/>
                  </a:cubicBezTo>
                  <a:cubicBezTo>
                    <a:pt x="12" y="10"/>
                    <a:pt x="13" y="0"/>
                    <a:pt x="8" y="0"/>
                  </a:cubicBezTo>
                  <a:cubicBezTo>
                    <a:pt x="7" y="5"/>
                    <a:pt x="4" y="9"/>
                    <a:pt x="0" y="11"/>
                  </a:cubicBezTo>
                  <a:cubicBezTo>
                    <a:pt x="0" y="17"/>
                    <a:pt x="3" y="22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6" name="Freeform 88"/>
            <p:cNvSpPr>
              <a:spLocks/>
            </p:cNvSpPr>
            <p:nvPr userDrawn="1"/>
          </p:nvSpPr>
          <p:spPr bwMode="auto">
            <a:xfrm>
              <a:off x="3061412" y="4319842"/>
              <a:ext cx="29560" cy="44341"/>
            </a:xfrm>
            <a:custGeom>
              <a:avLst/>
              <a:gdLst>
                <a:gd name="T0" fmla="*/ 9 w 9"/>
                <a:gd name="T1" fmla="*/ 11 h 14"/>
                <a:gd name="T2" fmla="*/ 4 w 9"/>
                <a:gd name="T3" fmla="*/ 0 h 14"/>
                <a:gd name="T4" fmla="*/ 9 w 9"/>
                <a:gd name="T5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9" y="11"/>
                  </a:moveTo>
                  <a:cubicBezTo>
                    <a:pt x="9" y="4"/>
                    <a:pt x="7" y="1"/>
                    <a:pt x="4" y="0"/>
                  </a:cubicBezTo>
                  <a:cubicBezTo>
                    <a:pt x="0" y="5"/>
                    <a:pt x="0" y="14"/>
                    <a:pt x="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7" name="Freeform 89"/>
            <p:cNvSpPr>
              <a:spLocks/>
            </p:cNvSpPr>
            <p:nvPr userDrawn="1"/>
          </p:nvSpPr>
          <p:spPr bwMode="auto">
            <a:xfrm>
              <a:off x="2988855" y="4329247"/>
              <a:ext cx="16124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8" name="Freeform 90"/>
            <p:cNvSpPr>
              <a:spLocks/>
            </p:cNvSpPr>
            <p:nvPr userDrawn="1"/>
          </p:nvSpPr>
          <p:spPr bwMode="auto">
            <a:xfrm>
              <a:off x="3072162" y="4389712"/>
              <a:ext cx="30904" cy="56433"/>
            </a:xfrm>
            <a:custGeom>
              <a:avLst/>
              <a:gdLst>
                <a:gd name="T0" fmla="*/ 3 w 10"/>
                <a:gd name="T1" fmla="*/ 18 h 18"/>
                <a:gd name="T2" fmla="*/ 1 w 10"/>
                <a:gd name="T3" fmla="*/ 4 h 18"/>
                <a:gd name="T4" fmla="*/ 3 w 10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3" y="18"/>
                  </a:moveTo>
                  <a:cubicBezTo>
                    <a:pt x="5" y="16"/>
                    <a:pt x="10" y="0"/>
                    <a:pt x="1" y="4"/>
                  </a:cubicBezTo>
                  <a:cubicBezTo>
                    <a:pt x="1" y="9"/>
                    <a:pt x="0" y="17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9" name="Freeform 91"/>
            <p:cNvSpPr>
              <a:spLocks/>
            </p:cNvSpPr>
            <p:nvPr userDrawn="1"/>
          </p:nvSpPr>
          <p:spPr bwMode="auto">
            <a:xfrm>
              <a:off x="3131282" y="4401805"/>
              <a:ext cx="22842" cy="44341"/>
            </a:xfrm>
            <a:custGeom>
              <a:avLst/>
              <a:gdLst>
                <a:gd name="T0" fmla="*/ 6 w 7"/>
                <a:gd name="T1" fmla="*/ 14 h 14"/>
                <a:gd name="T2" fmla="*/ 1 w 7"/>
                <a:gd name="T3" fmla="*/ 0 h 14"/>
                <a:gd name="T4" fmla="*/ 6 w 7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6" y="14"/>
                  </a:moveTo>
                  <a:cubicBezTo>
                    <a:pt x="7" y="6"/>
                    <a:pt x="5" y="1"/>
                    <a:pt x="1" y="0"/>
                  </a:cubicBezTo>
                  <a:cubicBezTo>
                    <a:pt x="0" y="8"/>
                    <a:pt x="1" y="14"/>
                    <a:pt x="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0" name="Freeform 92"/>
            <p:cNvSpPr>
              <a:spLocks/>
            </p:cNvSpPr>
            <p:nvPr userDrawn="1"/>
          </p:nvSpPr>
          <p:spPr bwMode="auto">
            <a:xfrm>
              <a:off x="2807462" y="4378963"/>
              <a:ext cx="45684" cy="115554"/>
            </a:xfrm>
            <a:custGeom>
              <a:avLst/>
              <a:gdLst>
                <a:gd name="T0" fmla="*/ 14 w 14"/>
                <a:gd name="T1" fmla="*/ 18 h 36"/>
                <a:gd name="T2" fmla="*/ 11 w 14"/>
                <a:gd name="T3" fmla="*/ 14 h 36"/>
                <a:gd name="T4" fmla="*/ 14 w 14"/>
                <a:gd name="T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36">
                  <a:moveTo>
                    <a:pt x="14" y="18"/>
                  </a:moveTo>
                  <a:cubicBezTo>
                    <a:pt x="11" y="19"/>
                    <a:pt x="12" y="15"/>
                    <a:pt x="11" y="14"/>
                  </a:cubicBezTo>
                  <a:cubicBezTo>
                    <a:pt x="0" y="0"/>
                    <a:pt x="4" y="36"/>
                    <a:pt x="1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1" name="Freeform 93"/>
            <p:cNvSpPr>
              <a:spLocks/>
            </p:cNvSpPr>
            <p:nvPr userDrawn="1"/>
          </p:nvSpPr>
          <p:spPr bwMode="auto">
            <a:xfrm>
              <a:off x="2923016" y="4439427"/>
              <a:ext cx="81963" cy="83306"/>
            </a:xfrm>
            <a:custGeom>
              <a:avLst/>
              <a:gdLst>
                <a:gd name="T0" fmla="*/ 18 w 26"/>
                <a:gd name="T1" fmla="*/ 21 h 26"/>
                <a:gd name="T2" fmla="*/ 24 w 26"/>
                <a:gd name="T3" fmla="*/ 2 h 26"/>
                <a:gd name="T4" fmla="*/ 8 w 26"/>
                <a:gd name="T5" fmla="*/ 17 h 26"/>
                <a:gd name="T6" fmla="*/ 18 w 26"/>
                <a:gd name="T7" fmla="*/ 2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6">
                  <a:moveTo>
                    <a:pt x="18" y="21"/>
                  </a:moveTo>
                  <a:cubicBezTo>
                    <a:pt x="14" y="7"/>
                    <a:pt x="26" y="14"/>
                    <a:pt x="24" y="2"/>
                  </a:cubicBezTo>
                  <a:cubicBezTo>
                    <a:pt x="15" y="0"/>
                    <a:pt x="0" y="9"/>
                    <a:pt x="8" y="17"/>
                  </a:cubicBezTo>
                  <a:cubicBezTo>
                    <a:pt x="10" y="6"/>
                    <a:pt x="12" y="26"/>
                    <a:pt x="18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2" name="Freeform 94"/>
            <p:cNvSpPr>
              <a:spLocks/>
            </p:cNvSpPr>
            <p:nvPr userDrawn="1"/>
          </p:nvSpPr>
          <p:spPr bwMode="auto">
            <a:xfrm>
              <a:off x="3252211" y="4446145"/>
              <a:ext cx="34935" cy="85994"/>
            </a:xfrm>
            <a:custGeom>
              <a:avLst/>
              <a:gdLst>
                <a:gd name="T0" fmla="*/ 11 w 11"/>
                <a:gd name="T1" fmla="*/ 23 h 27"/>
                <a:gd name="T2" fmla="*/ 3 w 11"/>
                <a:gd name="T3" fmla="*/ 0 h 27"/>
                <a:gd name="T4" fmla="*/ 11 w 11"/>
                <a:gd name="T5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7">
                  <a:moveTo>
                    <a:pt x="11" y="23"/>
                  </a:moveTo>
                  <a:cubicBezTo>
                    <a:pt x="10" y="13"/>
                    <a:pt x="7" y="6"/>
                    <a:pt x="3" y="0"/>
                  </a:cubicBezTo>
                  <a:cubicBezTo>
                    <a:pt x="1" y="4"/>
                    <a:pt x="0" y="27"/>
                    <a:pt x="1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3" name="Freeform 95"/>
            <p:cNvSpPr>
              <a:spLocks/>
            </p:cNvSpPr>
            <p:nvPr userDrawn="1"/>
          </p:nvSpPr>
          <p:spPr bwMode="auto">
            <a:xfrm>
              <a:off x="2827617" y="4483767"/>
              <a:ext cx="28217" cy="22842"/>
            </a:xfrm>
            <a:custGeom>
              <a:avLst/>
              <a:gdLst>
                <a:gd name="T0" fmla="*/ 3 w 9"/>
                <a:gd name="T1" fmla="*/ 0 h 7"/>
                <a:gd name="T2" fmla="*/ 0 w 9"/>
                <a:gd name="T3" fmla="*/ 7 h 7"/>
                <a:gd name="T4" fmla="*/ 8 w 9"/>
                <a:gd name="T5" fmla="*/ 0 h 7"/>
                <a:gd name="T6" fmla="*/ 3 w 9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3" y="0"/>
                  </a:moveTo>
                  <a:cubicBezTo>
                    <a:pt x="3" y="3"/>
                    <a:pt x="0" y="4"/>
                    <a:pt x="0" y="7"/>
                  </a:cubicBezTo>
                  <a:cubicBezTo>
                    <a:pt x="4" y="7"/>
                    <a:pt x="9" y="7"/>
                    <a:pt x="8" y="0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4" name="Freeform 96"/>
            <p:cNvSpPr>
              <a:spLocks/>
            </p:cNvSpPr>
            <p:nvPr userDrawn="1"/>
          </p:nvSpPr>
          <p:spPr bwMode="auto">
            <a:xfrm>
              <a:off x="3109784" y="4483767"/>
              <a:ext cx="47028" cy="69870"/>
            </a:xfrm>
            <a:custGeom>
              <a:avLst/>
              <a:gdLst>
                <a:gd name="T0" fmla="*/ 8 w 15"/>
                <a:gd name="T1" fmla="*/ 22 h 22"/>
                <a:gd name="T2" fmla="*/ 13 w 15"/>
                <a:gd name="T3" fmla="*/ 22 h 22"/>
                <a:gd name="T4" fmla="*/ 8 w 15"/>
                <a:gd name="T5" fmla="*/ 7 h 22"/>
                <a:gd name="T6" fmla="*/ 8 w 15"/>
                <a:gd name="T7" fmla="*/ 0 h 22"/>
                <a:gd name="T8" fmla="*/ 8 w 15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2">
                  <a:moveTo>
                    <a:pt x="8" y="22"/>
                  </a:moveTo>
                  <a:cubicBezTo>
                    <a:pt x="8" y="17"/>
                    <a:pt x="11" y="19"/>
                    <a:pt x="13" y="22"/>
                  </a:cubicBezTo>
                  <a:cubicBezTo>
                    <a:pt x="15" y="12"/>
                    <a:pt x="8" y="14"/>
                    <a:pt x="8" y="7"/>
                  </a:cubicBezTo>
                  <a:cubicBezTo>
                    <a:pt x="10" y="7"/>
                    <a:pt x="11" y="0"/>
                    <a:pt x="8" y="0"/>
                  </a:cubicBezTo>
                  <a:cubicBezTo>
                    <a:pt x="4" y="8"/>
                    <a:pt x="0" y="16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5" name="Freeform 97"/>
            <p:cNvSpPr>
              <a:spLocks/>
            </p:cNvSpPr>
            <p:nvPr userDrawn="1"/>
          </p:nvSpPr>
          <p:spPr bwMode="auto">
            <a:xfrm>
              <a:off x="3151437" y="4481080"/>
              <a:ext cx="24186" cy="44341"/>
            </a:xfrm>
            <a:custGeom>
              <a:avLst/>
              <a:gdLst>
                <a:gd name="T0" fmla="*/ 8 w 8"/>
                <a:gd name="T1" fmla="*/ 1 h 14"/>
                <a:gd name="T2" fmla="*/ 0 w 8"/>
                <a:gd name="T3" fmla="*/ 12 h 14"/>
                <a:gd name="T4" fmla="*/ 8 w 8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4">
                  <a:moveTo>
                    <a:pt x="8" y="1"/>
                  </a:moveTo>
                  <a:cubicBezTo>
                    <a:pt x="2" y="0"/>
                    <a:pt x="0" y="4"/>
                    <a:pt x="0" y="12"/>
                  </a:cubicBezTo>
                  <a:cubicBezTo>
                    <a:pt x="7" y="14"/>
                    <a:pt x="5" y="4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6" name="Freeform 98"/>
            <p:cNvSpPr>
              <a:spLocks/>
            </p:cNvSpPr>
            <p:nvPr userDrawn="1"/>
          </p:nvSpPr>
          <p:spPr bwMode="auto">
            <a:xfrm>
              <a:off x="3217276" y="4513328"/>
              <a:ext cx="25529" cy="69870"/>
            </a:xfrm>
            <a:custGeom>
              <a:avLst/>
              <a:gdLst>
                <a:gd name="T0" fmla="*/ 3 w 8"/>
                <a:gd name="T1" fmla="*/ 2 h 22"/>
                <a:gd name="T2" fmla="*/ 1 w 8"/>
                <a:gd name="T3" fmla="*/ 16 h 22"/>
                <a:gd name="T4" fmla="*/ 3 w 8"/>
                <a:gd name="T5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2">
                  <a:moveTo>
                    <a:pt x="3" y="2"/>
                  </a:moveTo>
                  <a:cubicBezTo>
                    <a:pt x="4" y="9"/>
                    <a:pt x="0" y="10"/>
                    <a:pt x="1" y="16"/>
                  </a:cubicBezTo>
                  <a:cubicBezTo>
                    <a:pt x="8" y="22"/>
                    <a:pt x="8" y="0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7" name="Freeform 99"/>
            <p:cNvSpPr>
              <a:spLocks/>
            </p:cNvSpPr>
            <p:nvPr userDrawn="1"/>
          </p:nvSpPr>
          <p:spPr bwMode="auto">
            <a:xfrm>
              <a:off x="3252211" y="4499891"/>
              <a:ext cx="16124" cy="67183"/>
            </a:xfrm>
            <a:custGeom>
              <a:avLst/>
              <a:gdLst>
                <a:gd name="T0" fmla="*/ 3 w 5"/>
                <a:gd name="T1" fmla="*/ 20 h 21"/>
                <a:gd name="T2" fmla="*/ 0 w 5"/>
                <a:gd name="T3" fmla="*/ 13 h 21"/>
                <a:gd name="T4" fmla="*/ 3 w 5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1">
                  <a:moveTo>
                    <a:pt x="3" y="20"/>
                  </a:moveTo>
                  <a:cubicBezTo>
                    <a:pt x="5" y="20"/>
                    <a:pt x="4" y="0"/>
                    <a:pt x="0" y="13"/>
                  </a:cubicBezTo>
                  <a:cubicBezTo>
                    <a:pt x="0" y="15"/>
                    <a:pt x="1" y="21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8" name="Freeform 100"/>
            <p:cNvSpPr>
              <a:spLocks/>
            </p:cNvSpPr>
            <p:nvPr userDrawn="1"/>
          </p:nvSpPr>
          <p:spPr bwMode="auto">
            <a:xfrm>
              <a:off x="2704001" y="4563043"/>
              <a:ext cx="40310" cy="102118"/>
            </a:xfrm>
            <a:custGeom>
              <a:avLst/>
              <a:gdLst>
                <a:gd name="T0" fmla="*/ 4 w 13"/>
                <a:gd name="T1" fmla="*/ 0 h 32"/>
                <a:gd name="T2" fmla="*/ 1 w 13"/>
                <a:gd name="T3" fmla="*/ 8 h 32"/>
                <a:gd name="T4" fmla="*/ 4 w 13"/>
                <a:gd name="T5" fmla="*/ 19 h 32"/>
                <a:gd name="T6" fmla="*/ 4 w 13"/>
                <a:gd name="T7" fmla="*/ 26 h 32"/>
                <a:gd name="T8" fmla="*/ 9 w 13"/>
                <a:gd name="T9" fmla="*/ 26 h 32"/>
                <a:gd name="T10" fmla="*/ 4 w 13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32">
                  <a:moveTo>
                    <a:pt x="4" y="0"/>
                  </a:moveTo>
                  <a:cubicBezTo>
                    <a:pt x="3" y="3"/>
                    <a:pt x="4" y="8"/>
                    <a:pt x="1" y="8"/>
                  </a:cubicBezTo>
                  <a:cubicBezTo>
                    <a:pt x="0" y="13"/>
                    <a:pt x="4" y="16"/>
                    <a:pt x="4" y="19"/>
                  </a:cubicBezTo>
                  <a:cubicBezTo>
                    <a:pt x="5" y="25"/>
                    <a:pt x="1" y="22"/>
                    <a:pt x="4" y="26"/>
                  </a:cubicBezTo>
                  <a:cubicBezTo>
                    <a:pt x="5" y="28"/>
                    <a:pt x="8" y="32"/>
                    <a:pt x="9" y="26"/>
                  </a:cubicBezTo>
                  <a:cubicBezTo>
                    <a:pt x="3" y="19"/>
                    <a:pt x="13" y="7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9" name="Freeform 101"/>
            <p:cNvSpPr>
              <a:spLocks/>
            </p:cNvSpPr>
            <p:nvPr userDrawn="1"/>
          </p:nvSpPr>
          <p:spPr bwMode="auto">
            <a:xfrm>
              <a:off x="3074849" y="4563043"/>
              <a:ext cx="16124" cy="25529"/>
            </a:xfrm>
            <a:custGeom>
              <a:avLst/>
              <a:gdLst>
                <a:gd name="T0" fmla="*/ 0 w 5"/>
                <a:gd name="T1" fmla="*/ 8 h 8"/>
                <a:gd name="T2" fmla="*/ 5 w 5"/>
                <a:gd name="T3" fmla="*/ 8 h 8"/>
                <a:gd name="T4" fmla="*/ 5 w 5"/>
                <a:gd name="T5" fmla="*/ 0 h 8"/>
                <a:gd name="T6" fmla="*/ 0 w 5"/>
                <a:gd name="T7" fmla="*/ 0 h 8"/>
                <a:gd name="T8" fmla="*/ 0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0" y="8"/>
                  </a:moveTo>
                  <a:cubicBezTo>
                    <a:pt x="2" y="8"/>
                    <a:pt x="3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0" name="Freeform 102"/>
            <p:cNvSpPr>
              <a:spLocks/>
            </p:cNvSpPr>
            <p:nvPr userDrawn="1"/>
          </p:nvSpPr>
          <p:spPr bwMode="auto">
            <a:xfrm>
              <a:off x="3335517" y="4563043"/>
              <a:ext cx="59121" cy="64495"/>
            </a:xfrm>
            <a:custGeom>
              <a:avLst/>
              <a:gdLst>
                <a:gd name="T0" fmla="*/ 12 w 19"/>
                <a:gd name="T1" fmla="*/ 0 h 20"/>
                <a:gd name="T2" fmla="*/ 4 w 19"/>
                <a:gd name="T3" fmla="*/ 15 h 20"/>
                <a:gd name="T4" fmla="*/ 12 w 19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20">
                  <a:moveTo>
                    <a:pt x="12" y="0"/>
                  </a:moveTo>
                  <a:cubicBezTo>
                    <a:pt x="11" y="8"/>
                    <a:pt x="0" y="1"/>
                    <a:pt x="4" y="15"/>
                  </a:cubicBezTo>
                  <a:cubicBezTo>
                    <a:pt x="12" y="20"/>
                    <a:pt x="19" y="5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1" name="Freeform 103"/>
            <p:cNvSpPr>
              <a:spLocks/>
            </p:cNvSpPr>
            <p:nvPr userDrawn="1"/>
          </p:nvSpPr>
          <p:spPr bwMode="auto">
            <a:xfrm>
              <a:off x="3240118" y="4588572"/>
              <a:ext cx="30904" cy="64495"/>
            </a:xfrm>
            <a:custGeom>
              <a:avLst/>
              <a:gdLst>
                <a:gd name="T0" fmla="*/ 4 w 10"/>
                <a:gd name="T1" fmla="*/ 0 h 20"/>
                <a:gd name="T2" fmla="*/ 10 w 10"/>
                <a:gd name="T3" fmla="*/ 11 h 20"/>
                <a:gd name="T4" fmla="*/ 4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4" y="0"/>
                  </a:moveTo>
                  <a:cubicBezTo>
                    <a:pt x="0" y="8"/>
                    <a:pt x="5" y="20"/>
                    <a:pt x="10" y="11"/>
                  </a:cubicBezTo>
                  <a:cubicBezTo>
                    <a:pt x="5" y="11"/>
                    <a:pt x="8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2" name="Freeform 104"/>
            <p:cNvSpPr>
              <a:spLocks/>
            </p:cNvSpPr>
            <p:nvPr userDrawn="1"/>
          </p:nvSpPr>
          <p:spPr bwMode="auto">
            <a:xfrm>
              <a:off x="2998261" y="4585885"/>
              <a:ext cx="60464" cy="47028"/>
            </a:xfrm>
            <a:custGeom>
              <a:avLst/>
              <a:gdLst>
                <a:gd name="T0" fmla="*/ 19 w 19"/>
                <a:gd name="T1" fmla="*/ 5 h 15"/>
                <a:gd name="T2" fmla="*/ 0 w 19"/>
                <a:gd name="T3" fmla="*/ 8 h 15"/>
                <a:gd name="T4" fmla="*/ 10 w 19"/>
                <a:gd name="T5" fmla="*/ 8 h 15"/>
                <a:gd name="T6" fmla="*/ 16 w 19"/>
                <a:gd name="T7" fmla="*/ 12 h 15"/>
                <a:gd name="T8" fmla="*/ 19 w 19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19" y="5"/>
                  </a:moveTo>
                  <a:cubicBezTo>
                    <a:pt x="13" y="7"/>
                    <a:pt x="1" y="0"/>
                    <a:pt x="0" y="8"/>
                  </a:cubicBezTo>
                  <a:cubicBezTo>
                    <a:pt x="3" y="15"/>
                    <a:pt x="7" y="9"/>
                    <a:pt x="10" y="8"/>
                  </a:cubicBezTo>
                  <a:cubicBezTo>
                    <a:pt x="11" y="8"/>
                    <a:pt x="12" y="14"/>
                    <a:pt x="16" y="12"/>
                  </a:cubicBezTo>
                  <a:cubicBezTo>
                    <a:pt x="17" y="11"/>
                    <a:pt x="17" y="5"/>
                    <a:pt x="19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3" name="Freeform 105"/>
            <p:cNvSpPr>
              <a:spLocks/>
            </p:cNvSpPr>
            <p:nvPr userDrawn="1"/>
          </p:nvSpPr>
          <p:spPr bwMode="auto">
            <a:xfrm>
              <a:off x="3284459" y="4604696"/>
              <a:ext cx="25529" cy="76588"/>
            </a:xfrm>
            <a:custGeom>
              <a:avLst/>
              <a:gdLst>
                <a:gd name="T0" fmla="*/ 1 w 8"/>
                <a:gd name="T1" fmla="*/ 6 h 24"/>
                <a:gd name="T2" fmla="*/ 1 w 8"/>
                <a:gd name="T3" fmla="*/ 21 h 24"/>
                <a:gd name="T4" fmla="*/ 4 w 8"/>
                <a:gd name="T5" fmla="*/ 6 h 24"/>
                <a:gd name="T6" fmla="*/ 6 w 8"/>
                <a:gd name="T7" fmla="*/ 2 h 24"/>
                <a:gd name="T8" fmla="*/ 1 w 8"/>
                <a:gd name="T9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4">
                  <a:moveTo>
                    <a:pt x="1" y="6"/>
                  </a:moveTo>
                  <a:cubicBezTo>
                    <a:pt x="1" y="8"/>
                    <a:pt x="0" y="19"/>
                    <a:pt x="1" y="21"/>
                  </a:cubicBezTo>
                  <a:cubicBezTo>
                    <a:pt x="3" y="24"/>
                    <a:pt x="4" y="9"/>
                    <a:pt x="4" y="6"/>
                  </a:cubicBezTo>
                  <a:cubicBezTo>
                    <a:pt x="4" y="6"/>
                    <a:pt x="8" y="5"/>
                    <a:pt x="6" y="2"/>
                  </a:cubicBezTo>
                  <a:cubicBezTo>
                    <a:pt x="5" y="0"/>
                    <a:pt x="1" y="5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4" name="Freeform 106"/>
            <p:cNvSpPr>
              <a:spLocks/>
            </p:cNvSpPr>
            <p:nvPr userDrawn="1"/>
          </p:nvSpPr>
          <p:spPr bwMode="auto">
            <a:xfrm>
              <a:off x="3131282" y="4623507"/>
              <a:ext cx="41653" cy="34935"/>
            </a:xfrm>
            <a:custGeom>
              <a:avLst/>
              <a:gdLst>
                <a:gd name="T0" fmla="*/ 3 w 13"/>
                <a:gd name="T1" fmla="*/ 11 h 11"/>
                <a:gd name="T2" fmla="*/ 9 w 13"/>
                <a:gd name="T3" fmla="*/ 11 h 11"/>
                <a:gd name="T4" fmla="*/ 1 w 13"/>
                <a:gd name="T5" fmla="*/ 7 h 11"/>
                <a:gd name="T6" fmla="*/ 3 w 13"/>
                <a:gd name="T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3" y="11"/>
                  </a:moveTo>
                  <a:cubicBezTo>
                    <a:pt x="5" y="11"/>
                    <a:pt x="7" y="11"/>
                    <a:pt x="9" y="11"/>
                  </a:cubicBezTo>
                  <a:cubicBezTo>
                    <a:pt x="13" y="2"/>
                    <a:pt x="0" y="0"/>
                    <a:pt x="1" y="7"/>
                  </a:cubicBezTo>
                  <a:cubicBezTo>
                    <a:pt x="2" y="8"/>
                    <a:pt x="4" y="8"/>
                    <a:pt x="3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5" name="Freeform 107"/>
            <p:cNvSpPr>
              <a:spLocks/>
            </p:cNvSpPr>
            <p:nvPr userDrawn="1"/>
          </p:nvSpPr>
          <p:spPr bwMode="auto">
            <a:xfrm>
              <a:off x="3433604" y="4636944"/>
              <a:ext cx="16124" cy="21498"/>
            </a:xfrm>
            <a:custGeom>
              <a:avLst/>
              <a:gdLst>
                <a:gd name="T0" fmla="*/ 0 w 5"/>
                <a:gd name="T1" fmla="*/ 7 h 7"/>
                <a:gd name="T2" fmla="*/ 5 w 5"/>
                <a:gd name="T3" fmla="*/ 7 h 7"/>
                <a:gd name="T4" fmla="*/ 5 w 5"/>
                <a:gd name="T5" fmla="*/ 0 h 7"/>
                <a:gd name="T6" fmla="*/ 0 w 5"/>
                <a:gd name="T7" fmla="*/ 0 h 7"/>
                <a:gd name="T8" fmla="*/ 0 w 5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0" y="7"/>
                  </a:moveTo>
                  <a:cubicBezTo>
                    <a:pt x="2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6" name="Freeform 108"/>
            <p:cNvSpPr>
              <a:spLocks/>
            </p:cNvSpPr>
            <p:nvPr userDrawn="1"/>
          </p:nvSpPr>
          <p:spPr bwMode="auto">
            <a:xfrm>
              <a:off x="2923016" y="4646349"/>
              <a:ext cx="49715" cy="95399"/>
            </a:xfrm>
            <a:custGeom>
              <a:avLst/>
              <a:gdLst>
                <a:gd name="T0" fmla="*/ 5 w 16"/>
                <a:gd name="T1" fmla="*/ 0 h 30"/>
                <a:gd name="T2" fmla="*/ 13 w 16"/>
                <a:gd name="T3" fmla="*/ 30 h 30"/>
                <a:gd name="T4" fmla="*/ 8 w 16"/>
                <a:gd name="T5" fmla="*/ 4 h 30"/>
                <a:gd name="T6" fmla="*/ 5 w 16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0">
                  <a:moveTo>
                    <a:pt x="5" y="0"/>
                  </a:moveTo>
                  <a:cubicBezTo>
                    <a:pt x="0" y="17"/>
                    <a:pt x="7" y="19"/>
                    <a:pt x="13" y="30"/>
                  </a:cubicBezTo>
                  <a:cubicBezTo>
                    <a:pt x="16" y="15"/>
                    <a:pt x="7" y="15"/>
                    <a:pt x="8" y="4"/>
                  </a:cubicBezTo>
                  <a:cubicBezTo>
                    <a:pt x="7" y="2"/>
                    <a:pt x="7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7" name="Freeform 109"/>
            <p:cNvSpPr>
              <a:spLocks/>
            </p:cNvSpPr>
            <p:nvPr userDrawn="1"/>
          </p:nvSpPr>
          <p:spPr bwMode="auto">
            <a:xfrm>
              <a:off x="3100378" y="4646349"/>
              <a:ext cx="16124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8" name="Freeform 110"/>
            <p:cNvSpPr>
              <a:spLocks/>
            </p:cNvSpPr>
            <p:nvPr userDrawn="1"/>
          </p:nvSpPr>
          <p:spPr bwMode="auto">
            <a:xfrm>
              <a:off x="3201152" y="4627538"/>
              <a:ext cx="34935" cy="65839"/>
            </a:xfrm>
            <a:custGeom>
              <a:avLst/>
              <a:gdLst>
                <a:gd name="T0" fmla="*/ 0 w 11"/>
                <a:gd name="T1" fmla="*/ 10 h 21"/>
                <a:gd name="T2" fmla="*/ 8 w 11"/>
                <a:gd name="T3" fmla="*/ 21 h 21"/>
                <a:gd name="T4" fmla="*/ 0 w 11"/>
                <a:gd name="T5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1">
                  <a:moveTo>
                    <a:pt x="0" y="10"/>
                  </a:moveTo>
                  <a:cubicBezTo>
                    <a:pt x="6" y="9"/>
                    <a:pt x="3" y="21"/>
                    <a:pt x="8" y="21"/>
                  </a:cubicBezTo>
                  <a:cubicBezTo>
                    <a:pt x="11" y="12"/>
                    <a:pt x="3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9" name="Freeform 111"/>
            <p:cNvSpPr>
              <a:spLocks/>
            </p:cNvSpPr>
            <p:nvPr userDrawn="1"/>
          </p:nvSpPr>
          <p:spPr bwMode="auto">
            <a:xfrm>
              <a:off x="2893456" y="4671879"/>
              <a:ext cx="18811" cy="44341"/>
            </a:xfrm>
            <a:custGeom>
              <a:avLst/>
              <a:gdLst>
                <a:gd name="T0" fmla="*/ 0 w 6"/>
                <a:gd name="T1" fmla="*/ 14 h 14"/>
                <a:gd name="T2" fmla="*/ 6 w 6"/>
                <a:gd name="T3" fmla="*/ 14 h 14"/>
                <a:gd name="T4" fmla="*/ 6 w 6"/>
                <a:gd name="T5" fmla="*/ 0 h 14"/>
                <a:gd name="T6" fmla="*/ 0 w 6"/>
                <a:gd name="T7" fmla="*/ 0 h 14"/>
                <a:gd name="T8" fmla="*/ 0 w 6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2" y="14"/>
                    <a:pt x="4" y="14"/>
                    <a:pt x="6" y="14"/>
                  </a:cubicBezTo>
                  <a:cubicBezTo>
                    <a:pt x="6" y="10"/>
                    <a:pt x="6" y="5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0" name="Freeform 112"/>
            <p:cNvSpPr>
              <a:spLocks/>
            </p:cNvSpPr>
            <p:nvPr userDrawn="1"/>
          </p:nvSpPr>
          <p:spPr bwMode="auto">
            <a:xfrm>
              <a:off x="3370452" y="4671879"/>
              <a:ext cx="21498" cy="44341"/>
            </a:xfrm>
            <a:custGeom>
              <a:avLst/>
              <a:gdLst>
                <a:gd name="T0" fmla="*/ 1 w 7"/>
                <a:gd name="T1" fmla="*/ 0 h 14"/>
                <a:gd name="T2" fmla="*/ 4 w 7"/>
                <a:gd name="T3" fmla="*/ 14 h 14"/>
                <a:gd name="T4" fmla="*/ 1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1" y="0"/>
                  </a:moveTo>
                  <a:cubicBezTo>
                    <a:pt x="1" y="5"/>
                    <a:pt x="0" y="13"/>
                    <a:pt x="4" y="14"/>
                  </a:cubicBezTo>
                  <a:cubicBezTo>
                    <a:pt x="7" y="10"/>
                    <a:pt x="7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1" name="Freeform 113"/>
            <p:cNvSpPr>
              <a:spLocks/>
            </p:cNvSpPr>
            <p:nvPr userDrawn="1"/>
          </p:nvSpPr>
          <p:spPr bwMode="auto">
            <a:xfrm>
              <a:off x="3280428" y="4681284"/>
              <a:ext cx="32248" cy="34935"/>
            </a:xfrm>
            <a:custGeom>
              <a:avLst/>
              <a:gdLst>
                <a:gd name="T0" fmla="*/ 5 w 10"/>
                <a:gd name="T1" fmla="*/ 0 h 11"/>
                <a:gd name="T2" fmla="*/ 5 w 10"/>
                <a:gd name="T3" fmla="*/ 11 h 11"/>
                <a:gd name="T4" fmla="*/ 5 w 10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5" y="0"/>
                  </a:moveTo>
                  <a:cubicBezTo>
                    <a:pt x="4" y="5"/>
                    <a:pt x="0" y="9"/>
                    <a:pt x="5" y="11"/>
                  </a:cubicBezTo>
                  <a:cubicBezTo>
                    <a:pt x="5" y="7"/>
                    <a:pt x="10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2" name="Freeform 114"/>
            <p:cNvSpPr>
              <a:spLocks/>
            </p:cNvSpPr>
            <p:nvPr userDrawn="1"/>
          </p:nvSpPr>
          <p:spPr bwMode="auto">
            <a:xfrm>
              <a:off x="3410762" y="4690690"/>
              <a:ext cx="29560" cy="79275"/>
            </a:xfrm>
            <a:custGeom>
              <a:avLst/>
              <a:gdLst>
                <a:gd name="T0" fmla="*/ 1 w 9"/>
                <a:gd name="T1" fmla="*/ 20 h 25"/>
                <a:gd name="T2" fmla="*/ 4 w 9"/>
                <a:gd name="T3" fmla="*/ 1 h 25"/>
                <a:gd name="T4" fmla="*/ 1 w 9"/>
                <a:gd name="T5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5">
                  <a:moveTo>
                    <a:pt x="1" y="20"/>
                  </a:moveTo>
                  <a:cubicBezTo>
                    <a:pt x="9" y="25"/>
                    <a:pt x="8" y="0"/>
                    <a:pt x="4" y="1"/>
                  </a:cubicBezTo>
                  <a:cubicBezTo>
                    <a:pt x="6" y="12"/>
                    <a:pt x="0" y="11"/>
                    <a:pt x="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3" name="Freeform 115"/>
            <p:cNvSpPr>
              <a:spLocks/>
            </p:cNvSpPr>
            <p:nvPr userDrawn="1"/>
          </p:nvSpPr>
          <p:spPr bwMode="auto">
            <a:xfrm>
              <a:off x="3468539" y="4712188"/>
              <a:ext cx="25529" cy="29560"/>
            </a:xfrm>
            <a:custGeom>
              <a:avLst/>
              <a:gdLst>
                <a:gd name="T0" fmla="*/ 0 w 8"/>
                <a:gd name="T1" fmla="*/ 1 h 9"/>
                <a:gd name="T2" fmla="*/ 0 w 8"/>
                <a:gd name="T3" fmla="*/ 9 h 9"/>
                <a:gd name="T4" fmla="*/ 8 w 8"/>
                <a:gd name="T5" fmla="*/ 9 h 9"/>
                <a:gd name="T6" fmla="*/ 0 w 8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5" y="9"/>
                    <a:pt x="8" y="9"/>
                  </a:cubicBezTo>
                  <a:cubicBezTo>
                    <a:pt x="8" y="2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4" name="Freeform 116"/>
            <p:cNvSpPr>
              <a:spLocks/>
            </p:cNvSpPr>
            <p:nvPr userDrawn="1"/>
          </p:nvSpPr>
          <p:spPr bwMode="auto">
            <a:xfrm>
              <a:off x="3135313" y="4737718"/>
              <a:ext cx="51059" cy="57777"/>
            </a:xfrm>
            <a:custGeom>
              <a:avLst/>
              <a:gdLst>
                <a:gd name="T0" fmla="*/ 0 w 16"/>
                <a:gd name="T1" fmla="*/ 8 h 18"/>
                <a:gd name="T2" fmla="*/ 13 w 16"/>
                <a:gd name="T3" fmla="*/ 16 h 18"/>
                <a:gd name="T4" fmla="*/ 16 w 16"/>
                <a:gd name="T5" fmla="*/ 5 h 18"/>
                <a:gd name="T6" fmla="*/ 0 w 16"/>
                <a:gd name="T7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8">
                  <a:moveTo>
                    <a:pt x="0" y="8"/>
                  </a:moveTo>
                  <a:cubicBezTo>
                    <a:pt x="8" y="6"/>
                    <a:pt x="5" y="18"/>
                    <a:pt x="13" y="16"/>
                  </a:cubicBezTo>
                  <a:cubicBezTo>
                    <a:pt x="13" y="11"/>
                    <a:pt x="14" y="8"/>
                    <a:pt x="16" y="5"/>
                  </a:cubicBezTo>
                  <a:cubicBezTo>
                    <a:pt x="11" y="7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5" name="Freeform 117"/>
            <p:cNvSpPr>
              <a:spLocks/>
            </p:cNvSpPr>
            <p:nvPr userDrawn="1"/>
          </p:nvSpPr>
          <p:spPr bwMode="auto">
            <a:xfrm>
              <a:off x="3379858" y="4776684"/>
              <a:ext cx="47028" cy="65839"/>
            </a:xfrm>
            <a:custGeom>
              <a:avLst/>
              <a:gdLst>
                <a:gd name="T0" fmla="*/ 3 w 15"/>
                <a:gd name="T1" fmla="*/ 0 h 21"/>
                <a:gd name="T2" fmla="*/ 3 w 15"/>
                <a:gd name="T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1">
                  <a:moveTo>
                    <a:pt x="3" y="0"/>
                  </a:moveTo>
                  <a:cubicBezTo>
                    <a:pt x="0" y="21"/>
                    <a:pt x="15" y="2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6" name="Freeform 118"/>
            <p:cNvSpPr>
              <a:spLocks/>
            </p:cNvSpPr>
            <p:nvPr userDrawn="1"/>
          </p:nvSpPr>
          <p:spPr bwMode="auto">
            <a:xfrm>
              <a:off x="3452415" y="4798182"/>
              <a:ext cx="32248" cy="79275"/>
            </a:xfrm>
            <a:custGeom>
              <a:avLst/>
              <a:gdLst>
                <a:gd name="T0" fmla="*/ 5 w 10"/>
                <a:gd name="T1" fmla="*/ 0 h 25"/>
                <a:gd name="T2" fmla="*/ 2 w 10"/>
                <a:gd name="T3" fmla="*/ 19 h 25"/>
                <a:gd name="T4" fmla="*/ 5 w 10"/>
                <a:gd name="T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5">
                  <a:moveTo>
                    <a:pt x="5" y="0"/>
                  </a:moveTo>
                  <a:cubicBezTo>
                    <a:pt x="6" y="9"/>
                    <a:pt x="0" y="8"/>
                    <a:pt x="2" y="19"/>
                  </a:cubicBezTo>
                  <a:cubicBezTo>
                    <a:pt x="10" y="25"/>
                    <a:pt x="9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7" name="Freeform 119"/>
            <p:cNvSpPr>
              <a:spLocks/>
            </p:cNvSpPr>
            <p:nvPr userDrawn="1"/>
          </p:nvSpPr>
          <p:spPr bwMode="auto">
            <a:xfrm>
              <a:off x="3357016" y="4807588"/>
              <a:ext cx="104805" cy="69870"/>
            </a:xfrm>
            <a:custGeom>
              <a:avLst/>
              <a:gdLst>
                <a:gd name="T0" fmla="*/ 2 w 33"/>
                <a:gd name="T1" fmla="*/ 5 h 22"/>
                <a:gd name="T2" fmla="*/ 16 w 33"/>
                <a:gd name="T3" fmla="*/ 12 h 22"/>
                <a:gd name="T4" fmla="*/ 24 w 33"/>
                <a:gd name="T5" fmla="*/ 20 h 22"/>
                <a:gd name="T6" fmla="*/ 2 w 33"/>
                <a:gd name="T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22">
                  <a:moveTo>
                    <a:pt x="2" y="5"/>
                  </a:moveTo>
                  <a:cubicBezTo>
                    <a:pt x="0" y="17"/>
                    <a:pt x="11" y="10"/>
                    <a:pt x="16" y="12"/>
                  </a:cubicBezTo>
                  <a:cubicBezTo>
                    <a:pt x="18" y="13"/>
                    <a:pt x="18" y="22"/>
                    <a:pt x="24" y="20"/>
                  </a:cubicBezTo>
                  <a:cubicBezTo>
                    <a:pt x="33" y="6"/>
                    <a:pt x="7" y="0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8" name="Freeform 120"/>
            <p:cNvSpPr>
              <a:spLocks/>
            </p:cNvSpPr>
            <p:nvPr userDrawn="1"/>
          </p:nvSpPr>
          <p:spPr bwMode="auto">
            <a:xfrm>
              <a:off x="3484663" y="4802213"/>
              <a:ext cx="84650" cy="107492"/>
            </a:xfrm>
            <a:custGeom>
              <a:avLst/>
              <a:gdLst>
                <a:gd name="T0" fmla="*/ 16 w 27"/>
                <a:gd name="T1" fmla="*/ 14 h 34"/>
                <a:gd name="T2" fmla="*/ 21 w 27"/>
                <a:gd name="T3" fmla="*/ 3 h 34"/>
                <a:gd name="T4" fmla="*/ 11 w 27"/>
                <a:gd name="T5" fmla="*/ 18 h 34"/>
                <a:gd name="T6" fmla="*/ 5 w 27"/>
                <a:gd name="T7" fmla="*/ 22 h 34"/>
                <a:gd name="T8" fmla="*/ 21 w 27"/>
                <a:gd name="T9" fmla="*/ 22 h 34"/>
                <a:gd name="T10" fmla="*/ 27 w 27"/>
                <a:gd name="T11" fmla="*/ 33 h 34"/>
                <a:gd name="T12" fmla="*/ 27 w 27"/>
                <a:gd name="T13" fmla="*/ 18 h 34"/>
                <a:gd name="T14" fmla="*/ 16 w 27"/>
                <a:gd name="T15" fmla="*/ 1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34">
                  <a:moveTo>
                    <a:pt x="16" y="14"/>
                  </a:moveTo>
                  <a:cubicBezTo>
                    <a:pt x="21" y="15"/>
                    <a:pt x="22" y="10"/>
                    <a:pt x="21" y="3"/>
                  </a:cubicBezTo>
                  <a:cubicBezTo>
                    <a:pt x="12" y="0"/>
                    <a:pt x="17" y="17"/>
                    <a:pt x="11" y="18"/>
                  </a:cubicBezTo>
                  <a:cubicBezTo>
                    <a:pt x="7" y="18"/>
                    <a:pt x="0" y="19"/>
                    <a:pt x="5" y="22"/>
                  </a:cubicBezTo>
                  <a:cubicBezTo>
                    <a:pt x="14" y="20"/>
                    <a:pt x="16" y="30"/>
                    <a:pt x="21" y="22"/>
                  </a:cubicBezTo>
                  <a:cubicBezTo>
                    <a:pt x="22" y="27"/>
                    <a:pt x="21" y="34"/>
                    <a:pt x="27" y="33"/>
                  </a:cubicBezTo>
                  <a:cubicBezTo>
                    <a:pt x="27" y="28"/>
                    <a:pt x="27" y="23"/>
                    <a:pt x="27" y="18"/>
                  </a:cubicBezTo>
                  <a:cubicBezTo>
                    <a:pt x="23" y="9"/>
                    <a:pt x="19" y="25"/>
                    <a:pt x="1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9" name="Freeform 121"/>
            <p:cNvSpPr>
              <a:spLocks/>
            </p:cNvSpPr>
            <p:nvPr userDrawn="1"/>
          </p:nvSpPr>
          <p:spPr bwMode="auto">
            <a:xfrm>
              <a:off x="3585437" y="4823711"/>
              <a:ext cx="34935" cy="53746"/>
            </a:xfrm>
            <a:custGeom>
              <a:avLst/>
              <a:gdLst>
                <a:gd name="T0" fmla="*/ 0 w 11"/>
                <a:gd name="T1" fmla="*/ 0 h 17"/>
                <a:gd name="T2" fmla="*/ 3 w 11"/>
                <a:gd name="T3" fmla="*/ 7 h 17"/>
                <a:gd name="T4" fmla="*/ 11 w 11"/>
                <a:gd name="T5" fmla="*/ 15 h 17"/>
                <a:gd name="T6" fmla="*/ 0 w 11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7">
                  <a:moveTo>
                    <a:pt x="0" y="0"/>
                  </a:moveTo>
                  <a:cubicBezTo>
                    <a:pt x="1" y="3"/>
                    <a:pt x="0" y="7"/>
                    <a:pt x="3" y="7"/>
                  </a:cubicBezTo>
                  <a:cubicBezTo>
                    <a:pt x="7" y="7"/>
                    <a:pt x="5" y="17"/>
                    <a:pt x="11" y="15"/>
                  </a:cubicBezTo>
                  <a:cubicBezTo>
                    <a:pt x="11" y="5"/>
                    <a:pt x="7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0" name="Freeform 122"/>
            <p:cNvSpPr>
              <a:spLocks/>
            </p:cNvSpPr>
            <p:nvPr userDrawn="1"/>
          </p:nvSpPr>
          <p:spPr bwMode="auto">
            <a:xfrm>
              <a:off x="3569313" y="4849241"/>
              <a:ext cx="41653" cy="57777"/>
            </a:xfrm>
            <a:custGeom>
              <a:avLst/>
              <a:gdLst>
                <a:gd name="T0" fmla="*/ 2 w 13"/>
                <a:gd name="T1" fmla="*/ 3 h 18"/>
                <a:gd name="T2" fmla="*/ 13 w 13"/>
                <a:gd name="T3" fmla="*/ 10 h 18"/>
                <a:gd name="T4" fmla="*/ 2 w 13"/>
                <a:gd name="T5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2" y="3"/>
                  </a:moveTo>
                  <a:cubicBezTo>
                    <a:pt x="0" y="11"/>
                    <a:pt x="12" y="18"/>
                    <a:pt x="13" y="10"/>
                  </a:cubicBezTo>
                  <a:cubicBezTo>
                    <a:pt x="8" y="10"/>
                    <a:pt x="10" y="0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1" name="Freeform 123"/>
            <p:cNvSpPr>
              <a:spLocks/>
            </p:cNvSpPr>
            <p:nvPr userDrawn="1"/>
          </p:nvSpPr>
          <p:spPr bwMode="auto">
            <a:xfrm>
              <a:off x="3692929" y="4881488"/>
              <a:ext cx="22842" cy="47028"/>
            </a:xfrm>
            <a:custGeom>
              <a:avLst/>
              <a:gdLst>
                <a:gd name="T0" fmla="*/ 1 w 7"/>
                <a:gd name="T1" fmla="*/ 0 h 15"/>
                <a:gd name="T2" fmla="*/ 4 w 7"/>
                <a:gd name="T3" fmla="*/ 15 h 15"/>
                <a:gd name="T4" fmla="*/ 1 w 7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5">
                  <a:moveTo>
                    <a:pt x="1" y="0"/>
                  </a:moveTo>
                  <a:cubicBezTo>
                    <a:pt x="2" y="6"/>
                    <a:pt x="0" y="14"/>
                    <a:pt x="4" y="15"/>
                  </a:cubicBezTo>
                  <a:cubicBezTo>
                    <a:pt x="7" y="10"/>
                    <a:pt x="7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2" name="Freeform 124"/>
            <p:cNvSpPr>
              <a:spLocks/>
            </p:cNvSpPr>
            <p:nvPr userDrawn="1"/>
          </p:nvSpPr>
          <p:spPr bwMode="auto">
            <a:xfrm>
              <a:off x="6318424" y="5769642"/>
              <a:ext cx="16124" cy="37622"/>
            </a:xfrm>
            <a:custGeom>
              <a:avLst/>
              <a:gdLst>
                <a:gd name="T0" fmla="*/ 0 w 5"/>
                <a:gd name="T1" fmla="*/ 1 h 12"/>
                <a:gd name="T2" fmla="*/ 0 w 5"/>
                <a:gd name="T3" fmla="*/ 9 h 12"/>
                <a:gd name="T4" fmla="*/ 5 w 5"/>
                <a:gd name="T5" fmla="*/ 12 h 12"/>
                <a:gd name="T6" fmla="*/ 0 w 5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2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3" y="12"/>
                    <a:pt x="5" y="12"/>
                  </a:cubicBezTo>
                  <a:cubicBezTo>
                    <a:pt x="5" y="7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3" name="Freeform 125"/>
            <p:cNvSpPr>
              <a:spLocks/>
            </p:cNvSpPr>
            <p:nvPr userDrawn="1"/>
          </p:nvSpPr>
          <p:spPr bwMode="auto">
            <a:xfrm>
              <a:off x="6753768" y="5832794"/>
              <a:ext cx="47028" cy="69870"/>
            </a:xfrm>
            <a:custGeom>
              <a:avLst/>
              <a:gdLst>
                <a:gd name="T0" fmla="*/ 2 w 15"/>
                <a:gd name="T1" fmla="*/ 0 h 22"/>
                <a:gd name="T2" fmla="*/ 2 w 15"/>
                <a:gd name="T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2">
                  <a:moveTo>
                    <a:pt x="2" y="0"/>
                  </a:moveTo>
                  <a:cubicBezTo>
                    <a:pt x="0" y="22"/>
                    <a:pt x="15" y="2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4" name="Freeform 126"/>
            <p:cNvSpPr>
              <a:spLocks/>
            </p:cNvSpPr>
            <p:nvPr userDrawn="1"/>
          </p:nvSpPr>
          <p:spPr bwMode="auto">
            <a:xfrm>
              <a:off x="7911995" y="5820701"/>
              <a:ext cx="47028" cy="126303"/>
            </a:xfrm>
            <a:custGeom>
              <a:avLst/>
              <a:gdLst>
                <a:gd name="T0" fmla="*/ 0 w 15"/>
                <a:gd name="T1" fmla="*/ 30 h 40"/>
                <a:gd name="T2" fmla="*/ 11 w 15"/>
                <a:gd name="T3" fmla="*/ 37 h 40"/>
                <a:gd name="T4" fmla="*/ 6 w 15"/>
                <a:gd name="T5" fmla="*/ 26 h 40"/>
                <a:gd name="T6" fmla="*/ 8 w 15"/>
                <a:gd name="T7" fmla="*/ 15 h 40"/>
                <a:gd name="T8" fmla="*/ 14 w 15"/>
                <a:gd name="T9" fmla="*/ 11 h 40"/>
                <a:gd name="T10" fmla="*/ 0 w 15"/>
                <a:gd name="T11" fmla="*/ 3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40">
                  <a:moveTo>
                    <a:pt x="0" y="30"/>
                  </a:moveTo>
                  <a:cubicBezTo>
                    <a:pt x="6" y="30"/>
                    <a:pt x="4" y="40"/>
                    <a:pt x="11" y="37"/>
                  </a:cubicBezTo>
                  <a:cubicBezTo>
                    <a:pt x="12" y="30"/>
                    <a:pt x="8" y="30"/>
                    <a:pt x="6" y="26"/>
                  </a:cubicBezTo>
                  <a:cubicBezTo>
                    <a:pt x="10" y="27"/>
                    <a:pt x="7" y="18"/>
                    <a:pt x="8" y="15"/>
                  </a:cubicBezTo>
                  <a:cubicBezTo>
                    <a:pt x="10" y="13"/>
                    <a:pt x="15" y="16"/>
                    <a:pt x="14" y="11"/>
                  </a:cubicBezTo>
                  <a:cubicBezTo>
                    <a:pt x="5" y="0"/>
                    <a:pt x="2" y="19"/>
                    <a:pt x="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5" name="Freeform 127"/>
            <p:cNvSpPr>
              <a:spLocks/>
            </p:cNvSpPr>
            <p:nvPr userDrawn="1"/>
          </p:nvSpPr>
          <p:spPr bwMode="auto">
            <a:xfrm>
              <a:off x="6912318" y="5846230"/>
              <a:ext cx="40310" cy="34935"/>
            </a:xfrm>
            <a:custGeom>
              <a:avLst/>
              <a:gdLst>
                <a:gd name="T0" fmla="*/ 1 w 13"/>
                <a:gd name="T1" fmla="*/ 7 h 11"/>
                <a:gd name="T2" fmla="*/ 3 w 13"/>
                <a:gd name="T3" fmla="*/ 11 h 11"/>
                <a:gd name="T4" fmla="*/ 9 w 13"/>
                <a:gd name="T5" fmla="*/ 11 h 11"/>
                <a:gd name="T6" fmla="*/ 1 w 13"/>
                <a:gd name="T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1" y="7"/>
                  </a:moveTo>
                  <a:cubicBezTo>
                    <a:pt x="2" y="7"/>
                    <a:pt x="4" y="7"/>
                    <a:pt x="3" y="11"/>
                  </a:cubicBezTo>
                  <a:cubicBezTo>
                    <a:pt x="5" y="11"/>
                    <a:pt x="7" y="11"/>
                    <a:pt x="9" y="11"/>
                  </a:cubicBezTo>
                  <a:cubicBezTo>
                    <a:pt x="13" y="2"/>
                    <a:pt x="0" y="0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6" name="Freeform 128"/>
            <p:cNvSpPr>
              <a:spLocks/>
            </p:cNvSpPr>
            <p:nvPr userDrawn="1"/>
          </p:nvSpPr>
          <p:spPr bwMode="auto">
            <a:xfrm>
              <a:off x="7280479" y="5839512"/>
              <a:ext cx="56433" cy="67183"/>
            </a:xfrm>
            <a:custGeom>
              <a:avLst/>
              <a:gdLst>
                <a:gd name="T0" fmla="*/ 0 w 18"/>
                <a:gd name="T1" fmla="*/ 13 h 21"/>
                <a:gd name="T2" fmla="*/ 14 w 18"/>
                <a:gd name="T3" fmla="*/ 20 h 21"/>
                <a:gd name="T4" fmla="*/ 0 w 18"/>
                <a:gd name="T5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cubicBezTo>
                    <a:pt x="6" y="14"/>
                    <a:pt x="7" y="21"/>
                    <a:pt x="14" y="20"/>
                  </a:cubicBezTo>
                  <a:cubicBezTo>
                    <a:pt x="18" y="4"/>
                    <a:pt x="2" y="0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7" name="Freeform 129"/>
            <p:cNvSpPr>
              <a:spLocks/>
            </p:cNvSpPr>
            <p:nvPr userDrawn="1"/>
          </p:nvSpPr>
          <p:spPr bwMode="auto">
            <a:xfrm>
              <a:off x="7365129" y="5855636"/>
              <a:ext cx="41653" cy="34935"/>
            </a:xfrm>
            <a:custGeom>
              <a:avLst/>
              <a:gdLst>
                <a:gd name="T0" fmla="*/ 0 w 13"/>
                <a:gd name="T1" fmla="*/ 8 h 11"/>
                <a:gd name="T2" fmla="*/ 6 w 13"/>
                <a:gd name="T3" fmla="*/ 11 h 11"/>
                <a:gd name="T4" fmla="*/ 0 w 13"/>
                <a:gd name="T5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8"/>
                  </a:moveTo>
                  <a:cubicBezTo>
                    <a:pt x="3" y="8"/>
                    <a:pt x="4" y="11"/>
                    <a:pt x="6" y="11"/>
                  </a:cubicBezTo>
                  <a:cubicBezTo>
                    <a:pt x="13" y="4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8" name="Freeform 130"/>
            <p:cNvSpPr>
              <a:spLocks/>
            </p:cNvSpPr>
            <p:nvPr userDrawn="1"/>
          </p:nvSpPr>
          <p:spPr bwMode="auto">
            <a:xfrm>
              <a:off x="8921078" y="1980544"/>
              <a:ext cx="72557" cy="142427"/>
            </a:xfrm>
            <a:custGeom>
              <a:avLst/>
              <a:gdLst>
                <a:gd name="T0" fmla="*/ 21 w 23"/>
                <a:gd name="T1" fmla="*/ 30 h 45"/>
                <a:gd name="T2" fmla="*/ 16 w 23"/>
                <a:gd name="T3" fmla="*/ 8 h 45"/>
                <a:gd name="T4" fmla="*/ 2 w 23"/>
                <a:gd name="T5" fmla="*/ 4 h 45"/>
                <a:gd name="T6" fmla="*/ 13 w 23"/>
                <a:gd name="T7" fmla="*/ 19 h 45"/>
                <a:gd name="T8" fmla="*/ 13 w 23"/>
                <a:gd name="T9" fmla="*/ 30 h 45"/>
                <a:gd name="T10" fmla="*/ 5 w 23"/>
                <a:gd name="T11" fmla="*/ 23 h 45"/>
                <a:gd name="T12" fmla="*/ 16 w 23"/>
                <a:gd name="T13" fmla="*/ 45 h 45"/>
                <a:gd name="T14" fmla="*/ 21 w 23"/>
                <a:gd name="T15" fmla="*/ 3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45">
                  <a:moveTo>
                    <a:pt x="21" y="30"/>
                  </a:moveTo>
                  <a:cubicBezTo>
                    <a:pt x="23" y="21"/>
                    <a:pt x="18" y="10"/>
                    <a:pt x="16" y="8"/>
                  </a:cubicBezTo>
                  <a:cubicBezTo>
                    <a:pt x="12" y="20"/>
                    <a:pt x="9" y="0"/>
                    <a:pt x="2" y="4"/>
                  </a:cubicBezTo>
                  <a:cubicBezTo>
                    <a:pt x="0" y="17"/>
                    <a:pt x="12" y="11"/>
                    <a:pt x="13" y="19"/>
                  </a:cubicBezTo>
                  <a:cubicBezTo>
                    <a:pt x="14" y="24"/>
                    <a:pt x="18" y="28"/>
                    <a:pt x="13" y="30"/>
                  </a:cubicBezTo>
                  <a:cubicBezTo>
                    <a:pt x="9" y="30"/>
                    <a:pt x="11" y="21"/>
                    <a:pt x="5" y="23"/>
                  </a:cubicBezTo>
                  <a:cubicBezTo>
                    <a:pt x="6" y="35"/>
                    <a:pt x="7" y="45"/>
                    <a:pt x="16" y="45"/>
                  </a:cubicBezTo>
                  <a:cubicBezTo>
                    <a:pt x="11" y="36"/>
                    <a:pt x="22" y="26"/>
                    <a:pt x="2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9" name="Freeform 131"/>
            <p:cNvSpPr>
              <a:spLocks/>
            </p:cNvSpPr>
            <p:nvPr userDrawn="1"/>
          </p:nvSpPr>
          <p:spPr bwMode="auto">
            <a:xfrm>
              <a:off x="2601884" y="2917069"/>
              <a:ext cx="72557" cy="154520"/>
            </a:xfrm>
            <a:custGeom>
              <a:avLst/>
              <a:gdLst>
                <a:gd name="T0" fmla="*/ 17 w 23"/>
                <a:gd name="T1" fmla="*/ 31 h 49"/>
                <a:gd name="T2" fmla="*/ 12 w 23"/>
                <a:gd name="T3" fmla="*/ 46 h 49"/>
                <a:gd name="T4" fmla="*/ 17 w 23"/>
                <a:gd name="T5" fmla="*/ 35 h 49"/>
                <a:gd name="T6" fmla="*/ 22 w 23"/>
                <a:gd name="T7" fmla="*/ 28 h 49"/>
                <a:gd name="T8" fmla="*/ 17 w 23"/>
                <a:gd name="T9" fmla="*/ 16 h 49"/>
                <a:gd name="T10" fmla="*/ 12 w 23"/>
                <a:gd name="T11" fmla="*/ 2 h 49"/>
                <a:gd name="T12" fmla="*/ 4 w 23"/>
                <a:gd name="T13" fmla="*/ 9 h 49"/>
                <a:gd name="T14" fmla="*/ 1 w 23"/>
                <a:gd name="T15" fmla="*/ 13 h 49"/>
                <a:gd name="T16" fmla="*/ 9 w 23"/>
                <a:gd name="T17" fmla="*/ 20 h 49"/>
                <a:gd name="T18" fmla="*/ 1 w 23"/>
                <a:gd name="T19" fmla="*/ 20 h 49"/>
                <a:gd name="T20" fmla="*/ 6 w 23"/>
                <a:gd name="T21" fmla="*/ 28 h 49"/>
                <a:gd name="T22" fmla="*/ 17 w 23"/>
                <a:gd name="T23" fmla="*/ 3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9">
                  <a:moveTo>
                    <a:pt x="17" y="31"/>
                  </a:moveTo>
                  <a:cubicBezTo>
                    <a:pt x="13" y="34"/>
                    <a:pt x="12" y="39"/>
                    <a:pt x="12" y="46"/>
                  </a:cubicBezTo>
                  <a:cubicBezTo>
                    <a:pt x="19" y="49"/>
                    <a:pt x="15" y="40"/>
                    <a:pt x="17" y="35"/>
                  </a:cubicBezTo>
                  <a:cubicBezTo>
                    <a:pt x="18" y="32"/>
                    <a:pt x="23" y="32"/>
                    <a:pt x="22" y="28"/>
                  </a:cubicBezTo>
                  <a:cubicBezTo>
                    <a:pt x="15" y="29"/>
                    <a:pt x="19" y="22"/>
                    <a:pt x="17" y="16"/>
                  </a:cubicBezTo>
                  <a:cubicBezTo>
                    <a:pt x="16" y="13"/>
                    <a:pt x="7" y="9"/>
                    <a:pt x="12" y="2"/>
                  </a:cubicBezTo>
                  <a:cubicBezTo>
                    <a:pt x="6" y="0"/>
                    <a:pt x="6" y="7"/>
                    <a:pt x="4" y="9"/>
                  </a:cubicBezTo>
                  <a:cubicBezTo>
                    <a:pt x="2" y="9"/>
                    <a:pt x="0" y="10"/>
                    <a:pt x="1" y="13"/>
                  </a:cubicBezTo>
                  <a:cubicBezTo>
                    <a:pt x="5" y="13"/>
                    <a:pt x="10" y="12"/>
                    <a:pt x="9" y="20"/>
                  </a:cubicBezTo>
                  <a:cubicBezTo>
                    <a:pt x="6" y="20"/>
                    <a:pt x="3" y="14"/>
                    <a:pt x="1" y="20"/>
                  </a:cubicBezTo>
                  <a:cubicBezTo>
                    <a:pt x="4" y="21"/>
                    <a:pt x="5" y="24"/>
                    <a:pt x="6" y="28"/>
                  </a:cubicBezTo>
                  <a:cubicBezTo>
                    <a:pt x="13" y="27"/>
                    <a:pt x="15" y="21"/>
                    <a:pt x="1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0" name="Freeform 132"/>
            <p:cNvSpPr>
              <a:spLocks/>
            </p:cNvSpPr>
            <p:nvPr userDrawn="1"/>
          </p:nvSpPr>
          <p:spPr bwMode="auto">
            <a:xfrm>
              <a:off x="4563615" y="1735999"/>
              <a:ext cx="37622" cy="47028"/>
            </a:xfrm>
            <a:custGeom>
              <a:avLst/>
              <a:gdLst>
                <a:gd name="T0" fmla="*/ 12 w 12"/>
                <a:gd name="T1" fmla="*/ 0 h 15"/>
                <a:gd name="T2" fmla="*/ 1 w 12"/>
                <a:gd name="T3" fmla="*/ 4 h 15"/>
                <a:gd name="T4" fmla="*/ 12 w 1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12" y="0"/>
                  </a:moveTo>
                  <a:cubicBezTo>
                    <a:pt x="7" y="3"/>
                    <a:pt x="0" y="1"/>
                    <a:pt x="1" y="4"/>
                  </a:cubicBezTo>
                  <a:cubicBezTo>
                    <a:pt x="3" y="6"/>
                    <a:pt x="12" y="15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1" name="Freeform 133"/>
            <p:cNvSpPr>
              <a:spLocks/>
            </p:cNvSpPr>
            <p:nvPr userDrawn="1"/>
          </p:nvSpPr>
          <p:spPr bwMode="auto">
            <a:xfrm>
              <a:off x="7891841" y="1729281"/>
              <a:ext cx="99430" cy="76588"/>
            </a:xfrm>
            <a:custGeom>
              <a:avLst/>
              <a:gdLst>
                <a:gd name="T0" fmla="*/ 28 w 31"/>
                <a:gd name="T1" fmla="*/ 17 h 24"/>
                <a:gd name="T2" fmla="*/ 28 w 31"/>
                <a:gd name="T3" fmla="*/ 2 h 24"/>
                <a:gd name="T4" fmla="*/ 20 w 31"/>
                <a:gd name="T5" fmla="*/ 13 h 24"/>
                <a:gd name="T6" fmla="*/ 12 w 31"/>
                <a:gd name="T7" fmla="*/ 2 h 24"/>
                <a:gd name="T8" fmla="*/ 1 w 31"/>
                <a:gd name="T9" fmla="*/ 6 h 24"/>
                <a:gd name="T10" fmla="*/ 4 w 31"/>
                <a:gd name="T11" fmla="*/ 21 h 24"/>
                <a:gd name="T12" fmla="*/ 28 w 31"/>
                <a:gd name="T13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4">
                  <a:moveTo>
                    <a:pt x="28" y="17"/>
                  </a:moveTo>
                  <a:cubicBezTo>
                    <a:pt x="28" y="12"/>
                    <a:pt x="28" y="7"/>
                    <a:pt x="28" y="2"/>
                  </a:cubicBezTo>
                  <a:cubicBezTo>
                    <a:pt x="17" y="0"/>
                    <a:pt x="31" y="12"/>
                    <a:pt x="20" y="13"/>
                  </a:cubicBezTo>
                  <a:cubicBezTo>
                    <a:pt x="17" y="10"/>
                    <a:pt x="19" y="0"/>
                    <a:pt x="12" y="2"/>
                  </a:cubicBezTo>
                  <a:cubicBezTo>
                    <a:pt x="12" y="24"/>
                    <a:pt x="11" y="1"/>
                    <a:pt x="1" y="6"/>
                  </a:cubicBezTo>
                  <a:cubicBezTo>
                    <a:pt x="0" y="13"/>
                    <a:pt x="4" y="14"/>
                    <a:pt x="4" y="21"/>
                  </a:cubicBezTo>
                  <a:cubicBezTo>
                    <a:pt x="16" y="17"/>
                    <a:pt x="20" y="11"/>
                    <a:pt x="2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2" name="Freeform 134"/>
            <p:cNvSpPr>
              <a:spLocks/>
            </p:cNvSpPr>
            <p:nvPr userDrawn="1"/>
          </p:nvSpPr>
          <p:spPr bwMode="auto">
            <a:xfrm>
              <a:off x="8168633" y="1726594"/>
              <a:ext cx="104805" cy="110179"/>
            </a:xfrm>
            <a:custGeom>
              <a:avLst/>
              <a:gdLst>
                <a:gd name="T0" fmla="*/ 5 w 33"/>
                <a:gd name="T1" fmla="*/ 18 h 35"/>
                <a:gd name="T2" fmla="*/ 32 w 33"/>
                <a:gd name="T3" fmla="*/ 10 h 35"/>
                <a:gd name="T4" fmla="*/ 24 w 33"/>
                <a:gd name="T5" fmla="*/ 18 h 35"/>
                <a:gd name="T6" fmla="*/ 0 w 33"/>
                <a:gd name="T7" fmla="*/ 7 h 35"/>
                <a:gd name="T8" fmla="*/ 5 w 33"/>
                <a:gd name="T9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5">
                  <a:moveTo>
                    <a:pt x="5" y="18"/>
                  </a:moveTo>
                  <a:cubicBezTo>
                    <a:pt x="10" y="7"/>
                    <a:pt x="33" y="35"/>
                    <a:pt x="32" y="10"/>
                  </a:cubicBezTo>
                  <a:cubicBezTo>
                    <a:pt x="27" y="9"/>
                    <a:pt x="27" y="15"/>
                    <a:pt x="24" y="18"/>
                  </a:cubicBezTo>
                  <a:cubicBezTo>
                    <a:pt x="17" y="9"/>
                    <a:pt x="4" y="0"/>
                    <a:pt x="0" y="7"/>
                  </a:cubicBezTo>
                  <a:cubicBezTo>
                    <a:pt x="5" y="7"/>
                    <a:pt x="2" y="17"/>
                    <a:pt x="5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3" name="Freeform 135"/>
            <p:cNvSpPr>
              <a:spLocks/>
            </p:cNvSpPr>
            <p:nvPr userDrawn="1"/>
          </p:nvSpPr>
          <p:spPr bwMode="auto">
            <a:xfrm>
              <a:off x="4878030" y="1748092"/>
              <a:ext cx="79275" cy="48371"/>
            </a:xfrm>
            <a:custGeom>
              <a:avLst/>
              <a:gdLst>
                <a:gd name="T0" fmla="*/ 18 w 25"/>
                <a:gd name="T1" fmla="*/ 3 h 15"/>
                <a:gd name="T2" fmla="*/ 5 w 25"/>
                <a:gd name="T3" fmla="*/ 0 h 15"/>
                <a:gd name="T4" fmla="*/ 13 w 25"/>
                <a:gd name="T5" fmla="*/ 11 h 15"/>
                <a:gd name="T6" fmla="*/ 18 w 25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5">
                  <a:moveTo>
                    <a:pt x="18" y="3"/>
                  </a:moveTo>
                  <a:cubicBezTo>
                    <a:pt x="16" y="14"/>
                    <a:pt x="9" y="0"/>
                    <a:pt x="5" y="0"/>
                  </a:cubicBezTo>
                  <a:cubicBezTo>
                    <a:pt x="0" y="13"/>
                    <a:pt x="14" y="2"/>
                    <a:pt x="13" y="11"/>
                  </a:cubicBezTo>
                  <a:cubicBezTo>
                    <a:pt x="18" y="15"/>
                    <a:pt x="25" y="5"/>
                    <a:pt x="1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4" name="Freeform 136"/>
            <p:cNvSpPr>
              <a:spLocks/>
            </p:cNvSpPr>
            <p:nvPr userDrawn="1"/>
          </p:nvSpPr>
          <p:spPr bwMode="auto">
            <a:xfrm>
              <a:off x="4804129" y="1773622"/>
              <a:ext cx="146458" cy="73901"/>
            </a:xfrm>
            <a:custGeom>
              <a:avLst/>
              <a:gdLst>
                <a:gd name="T0" fmla="*/ 3 w 46"/>
                <a:gd name="T1" fmla="*/ 18 h 23"/>
                <a:gd name="T2" fmla="*/ 14 w 46"/>
                <a:gd name="T3" fmla="*/ 18 h 23"/>
                <a:gd name="T4" fmla="*/ 33 w 46"/>
                <a:gd name="T5" fmla="*/ 15 h 23"/>
                <a:gd name="T6" fmla="*/ 33 w 46"/>
                <a:gd name="T7" fmla="*/ 14 h 23"/>
                <a:gd name="T8" fmla="*/ 33 w 46"/>
                <a:gd name="T9" fmla="*/ 15 h 23"/>
                <a:gd name="T10" fmla="*/ 44 w 46"/>
                <a:gd name="T11" fmla="*/ 14 h 23"/>
                <a:gd name="T12" fmla="*/ 36 w 46"/>
                <a:gd name="T13" fmla="*/ 3 h 23"/>
                <a:gd name="T14" fmla="*/ 3 w 46"/>
                <a:gd name="T15" fmla="*/ 7 h 23"/>
                <a:gd name="T16" fmla="*/ 3 w 46"/>
                <a:gd name="T17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23">
                  <a:moveTo>
                    <a:pt x="3" y="18"/>
                  </a:moveTo>
                  <a:cubicBezTo>
                    <a:pt x="11" y="16"/>
                    <a:pt x="11" y="13"/>
                    <a:pt x="14" y="18"/>
                  </a:cubicBezTo>
                  <a:cubicBezTo>
                    <a:pt x="17" y="23"/>
                    <a:pt x="30" y="17"/>
                    <a:pt x="33" y="15"/>
                  </a:cubicBezTo>
                  <a:cubicBezTo>
                    <a:pt x="32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5"/>
                  </a:cubicBezTo>
                  <a:cubicBezTo>
                    <a:pt x="34" y="17"/>
                    <a:pt x="46" y="22"/>
                    <a:pt x="44" y="14"/>
                  </a:cubicBezTo>
                  <a:cubicBezTo>
                    <a:pt x="41" y="10"/>
                    <a:pt x="34" y="13"/>
                    <a:pt x="36" y="3"/>
                  </a:cubicBezTo>
                  <a:cubicBezTo>
                    <a:pt x="29" y="14"/>
                    <a:pt x="7" y="0"/>
                    <a:pt x="3" y="7"/>
                  </a:cubicBezTo>
                  <a:cubicBezTo>
                    <a:pt x="16" y="8"/>
                    <a:pt x="0" y="8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5" name="Freeform 137"/>
            <p:cNvSpPr>
              <a:spLocks/>
            </p:cNvSpPr>
            <p:nvPr userDrawn="1"/>
          </p:nvSpPr>
          <p:spPr bwMode="auto">
            <a:xfrm>
              <a:off x="4953274" y="1726594"/>
              <a:ext cx="486402" cy="151833"/>
            </a:xfrm>
            <a:custGeom>
              <a:avLst/>
              <a:gdLst>
                <a:gd name="T0" fmla="*/ 7 w 153"/>
                <a:gd name="T1" fmla="*/ 25 h 48"/>
                <a:gd name="T2" fmla="*/ 13 w 153"/>
                <a:gd name="T3" fmla="*/ 22 h 48"/>
                <a:gd name="T4" fmla="*/ 32 w 153"/>
                <a:gd name="T5" fmla="*/ 29 h 48"/>
                <a:gd name="T6" fmla="*/ 37 w 153"/>
                <a:gd name="T7" fmla="*/ 33 h 48"/>
                <a:gd name="T8" fmla="*/ 37 w 153"/>
                <a:gd name="T9" fmla="*/ 36 h 48"/>
                <a:gd name="T10" fmla="*/ 69 w 153"/>
                <a:gd name="T11" fmla="*/ 40 h 48"/>
                <a:gd name="T12" fmla="*/ 94 w 153"/>
                <a:gd name="T13" fmla="*/ 40 h 48"/>
                <a:gd name="T14" fmla="*/ 104 w 153"/>
                <a:gd name="T15" fmla="*/ 36 h 48"/>
                <a:gd name="T16" fmla="*/ 115 w 153"/>
                <a:gd name="T17" fmla="*/ 36 h 48"/>
                <a:gd name="T18" fmla="*/ 115 w 153"/>
                <a:gd name="T19" fmla="*/ 33 h 48"/>
                <a:gd name="T20" fmla="*/ 123 w 153"/>
                <a:gd name="T21" fmla="*/ 36 h 48"/>
                <a:gd name="T22" fmla="*/ 115 w 153"/>
                <a:gd name="T23" fmla="*/ 40 h 48"/>
                <a:gd name="T24" fmla="*/ 131 w 153"/>
                <a:gd name="T25" fmla="*/ 36 h 48"/>
                <a:gd name="T26" fmla="*/ 139 w 153"/>
                <a:gd name="T27" fmla="*/ 40 h 48"/>
                <a:gd name="T28" fmla="*/ 150 w 153"/>
                <a:gd name="T29" fmla="*/ 40 h 48"/>
                <a:gd name="T30" fmla="*/ 153 w 153"/>
                <a:gd name="T31" fmla="*/ 33 h 48"/>
                <a:gd name="T32" fmla="*/ 142 w 153"/>
                <a:gd name="T33" fmla="*/ 33 h 48"/>
                <a:gd name="T34" fmla="*/ 145 w 153"/>
                <a:gd name="T35" fmla="*/ 22 h 48"/>
                <a:gd name="T36" fmla="*/ 126 w 153"/>
                <a:gd name="T37" fmla="*/ 33 h 48"/>
                <a:gd name="T38" fmla="*/ 131 w 153"/>
                <a:gd name="T39" fmla="*/ 18 h 48"/>
                <a:gd name="T40" fmla="*/ 118 w 153"/>
                <a:gd name="T41" fmla="*/ 22 h 48"/>
                <a:gd name="T42" fmla="*/ 118 w 153"/>
                <a:gd name="T43" fmla="*/ 25 h 48"/>
                <a:gd name="T44" fmla="*/ 112 w 153"/>
                <a:gd name="T45" fmla="*/ 18 h 48"/>
                <a:gd name="T46" fmla="*/ 107 w 153"/>
                <a:gd name="T47" fmla="*/ 25 h 48"/>
                <a:gd name="T48" fmla="*/ 104 w 153"/>
                <a:gd name="T49" fmla="*/ 18 h 48"/>
                <a:gd name="T50" fmla="*/ 102 w 153"/>
                <a:gd name="T51" fmla="*/ 25 h 48"/>
                <a:gd name="T52" fmla="*/ 102 w 153"/>
                <a:gd name="T53" fmla="*/ 18 h 48"/>
                <a:gd name="T54" fmla="*/ 88 w 153"/>
                <a:gd name="T55" fmla="*/ 29 h 48"/>
                <a:gd name="T56" fmla="*/ 91 w 153"/>
                <a:gd name="T57" fmla="*/ 10 h 48"/>
                <a:gd name="T58" fmla="*/ 72 w 153"/>
                <a:gd name="T59" fmla="*/ 18 h 48"/>
                <a:gd name="T60" fmla="*/ 75 w 153"/>
                <a:gd name="T61" fmla="*/ 18 h 48"/>
                <a:gd name="T62" fmla="*/ 83 w 153"/>
                <a:gd name="T63" fmla="*/ 14 h 48"/>
                <a:gd name="T64" fmla="*/ 85 w 153"/>
                <a:gd name="T65" fmla="*/ 25 h 48"/>
                <a:gd name="T66" fmla="*/ 32 w 153"/>
                <a:gd name="T67" fmla="*/ 25 h 48"/>
                <a:gd name="T68" fmla="*/ 24 w 153"/>
                <a:gd name="T69" fmla="*/ 18 h 48"/>
                <a:gd name="T70" fmla="*/ 21 w 153"/>
                <a:gd name="T71" fmla="*/ 10 h 48"/>
                <a:gd name="T72" fmla="*/ 13 w 153"/>
                <a:gd name="T73" fmla="*/ 18 h 48"/>
                <a:gd name="T74" fmla="*/ 7 w 153"/>
                <a:gd name="T75" fmla="*/ 2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3" h="48">
                  <a:moveTo>
                    <a:pt x="7" y="25"/>
                  </a:moveTo>
                  <a:cubicBezTo>
                    <a:pt x="8" y="22"/>
                    <a:pt x="10" y="21"/>
                    <a:pt x="13" y="22"/>
                  </a:cubicBezTo>
                  <a:cubicBezTo>
                    <a:pt x="12" y="34"/>
                    <a:pt x="27" y="35"/>
                    <a:pt x="32" y="29"/>
                  </a:cubicBezTo>
                  <a:cubicBezTo>
                    <a:pt x="29" y="39"/>
                    <a:pt x="37" y="33"/>
                    <a:pt x="37" y="33"/>
                  </a:cubicBezTo>
                  <a:cubicBezTo>
                    <a:pt x="37" y="33"/>
                    <a:pt x="37" y="36"/>
                    <a:pt x="37" y="36"/>
                  </a:cubicBezTo>
                  <a:cubicBezTo>
                    <a:pt x="46" y="38"/>
                    <a:pt x="64" y="39"/>
                    <a:pt x="69" y="40"/>
                  </a:cubicBezTo>
                  <a:cubicBezTo>
                    <a:pt x="84" y="43"/>
                    <a:pt x="84" y="41"/>
                    <a:pt x="94" y="40"/>
                  </a:cubicBezTo>
                  <a:cubicBezTo>
                    <a:pt x="99" y="39"/>
                    <a:pt x="101" y="40"/>
                    <a:pt x="104" y="36"/>
                  </a:cubicBezTo>
                  <a:cubicBezTo>
                    <a:pt x="106" y="35"/>
                    <a:pt x="113" y="37"/>
                    <a:pt x="115" y="36"/>
                  </a:cubicBezTo>
                  <a:cubicBezTo>
                    <a:pt x="115" y="36"/>
                    <a:pt x="115" y="33"/>
                    <a:pt x="115" y="33"/>
                  </a:cubicBezTo>
                  <a:cubicBezTo>
                    <a:pt x="116" y="31"/>
                    <a:pt x="124" y="34"/>
                    <a:pt x="123" y="36"/>
                  </a:cubicBezTo>
                  <a:cubicBezTo>
                    <a:pt x="120" y="37"/>
                    <a:pt x="115" y="36"/>
                    <a:pt x="115" y="40"/>
                  </a:cubicBezTo>
                  <a:cubicBezTo>
                    <a:pt x="121" y="48"/>
                    <a:pt x="126" y="39"/>
                    <a:pt x="131" y="36"/>
                  </a:cubicBezTo>
                  <a:cubicBezTo>
                    <a:pt x="136" y="43"/>
                    <a:pt x="136" y="36"/>
                    <a:pt x="139" y="40"/>
                  </a:cubicBezTo>
                  <a:cubicBezTo>
                    <a:pt x="141" y="43"/>
                    <a:pt x="148" y="38"/>
                    <a:pt x="150" y="40"/>
                  </a:cubicBezTo>
                  <a:cubicBezTo>
                    <a:pt x="151" y="37"/>
                    <a:pt x="150" y="33"/>
                    <a:pt x="153" y="33"/>
                  </a:cubicBezTo>
                  <a:cubicBezTo>
                    <a:pt x="148" y="26"/>
                    <a:pt x="149" y="33"/>
                    <a:pt x="142" y="33"/>
                  </a:cubicBezTo>
                  <a:cubicBezTo>
                    <a:pt x="137" y="24"/>
                    <a:pt x="143" y="29"/>
                    <a:pt x="145" y="22"/>
                  </a:cubicBezTo>
                  <a:cubicBezTo>
                    <a:pt x="135" y="18"/>
                    <a:pt x="130" y="40"/>
                    <a:pt x="126" y="33"/>
                  </a:cubicBezTo>
                  <a:cubicBezTo>
                    <a:pt x="122" y="21"/>
                    <a:pt x="134" y="30"/>
                    <a:pt x="131" y="18"/>
                  </a:cubicBezTo>
                  <a:cubicBezTo>
                    <a:pt x="123" y="19"/>
                    <a:pt x="121" y="15"/>
                    <a:pt x="118" y="22"/>
                  </a:cubicBezTo>
                  <a:cubicBezTo>
                    <a:pt x="118" y="22"/>
                    <a:pt x="122" y="24"/>
                    <a:pt x="118" y="25"/>
                  </a:cubicBezTo>
                  <a:cubicBezTo>
                    <a:pt x="118" y="25"/>
                    <a:pt x="114" y="17"/>
                    <a:pt x="112" y="18"/>
                  </a:cubicBezTo>
                  <a:cubicBezTo>
                    <a:pt x="111" y="18"/>
                    <a:pt x="112" y="30"/>
                    <a:pt x="107" y="25"/>
                  </a:cubicBezTo>
                  <a:cubicBezTo>
                    <a:pt x="106" y="22"/>
                    <a:pt x="107" y="18"/>
                    <a:pt x="104" y="18"/>
                  </a:cubicBezTo>
                  <a:cubicBezTo>
                    <a:pt x="104" y="20"/>
                    <a:pt x="104" y="26"/>
                    <a:pt x="102" y="25"/>
                  </a:cubicBezTo>
                  <a:cubicBezTo>
                    <a:pt x="101" y="25"/>
                    <a:pt x="102" y="18"/>
                    <a:pt x="102" y="18"/>
                  </a:cubicBezTo>
                  <a:cubicBezTo>
                    <a:pt x="96" y="14"/>
                    <a:pt x="96" y="25"/>
                    <a:pt x="88" y="29"/>
                  </a:cubicBezTo>
                  <a:cubicBezTo>
                    <a:pt x="89" y="25"/>
                    <a:pt x="99" y="15"/>
                    <a:pt x="91" y="10"/>
                  </a:cubicBezTo>
                  <a:cubicBezTo>
                    <a:pt x="87" y="22"/>
                    <a:pt x="73" y="0"/>
                    <a:pt x="72" y="18"/>
                  </a:cubicBezTo>
                  <a:cubicBezTo>
                    <a:pt x="75" y="19"/>
                    <a:pt x="78" y="22"/>
                    <a:pt x="75" y="18"/>
                  </a:cubicBezTo>
                  <a:cubicBezTo>
                    <a:pt x="75" y="14"/>
                    <a:pt x="79" y="14"/>
                    <a:pt x="83" y="14"/>
                  </a:cubicBezTo>
                  <a:cubicBezTo>
                    <a:pt x="83" y="19"/>
                    <a:pt x="84" y="22"/>
                    <a:pt x="85" y="25"/>
                  </a:cubicBezTo>
                  <a:cubicBezTo>
                    <a:pt x="61" y="26"/>
                    <a:pt x="50" y="22"/>
                    <a:pt x="32" y="25"/>
                  </a:cubicBezTo>
                  <a:cubicBezTo>
                    <a:pt x="28" y="24"/>
                    <a:pt x="27" y="19"/>
                    <a:pt x="24" y="18"/>
                  </a:cubicBezTo>
                  <a:cubicBezTo>
                    <a:pt x="23" y="24"/>
                    <a:pt x="20" y="18"/>
                    <a:pt x="21" y="10"/>
                  </a:cubicBezTo>
                  <a:cubicBezTo>
                    <a:pt x="16" y="9"/>
                    <a:pt x="16" y="15"/>
                    <a:pt x="13" y="18"/>
                  </a:cubicBezTo>
                  <a:cubicBezTo>
                    <a:pt x="14" y="8"/>
                    <a:pt x="0" y="26"/>
                    <a:pt x="7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6" name="Freeform 138"/>
            <p:cNvSpPr>
              <a:spLocks/>
            </p:cNvSpPr>
            <p:nvPr userDrawn="1"/>
          </p:nvSpPr>
          <p:spPr bwMode="auto">
            <a:xfrm>
              <a:off x="5439676" y="1792433"/>
              <a:ext cx="116898" cy="67183"/>
            </a:xfrm>
            <a:custGeom>
              <a:avLst/>
              <a:gdLst>
                <a:gd name="T0" fmla="*/ 24 w 37"/>
                <a:gd name="T1" fmla="*/ 15 h 21"/>
                <a:gd name="T2" fmla="*/ 35 w 37"/>
                <a:gd name="T3" fmla="*/ 19 h 21"/>
                <a:gd name="T4" fmla="*/ 37 w 37"/>
                <a:gd name="T5" fmla="*/ 4 h 21"/>
                <a:gd name="T6" fmla="*/ 16 w 37"/>
                <a:gd name="T7" fmla="*/ 12 h 21"/>
                <a:gd name="T8" fmla="*/ 10 w 37"/>
                <a:gd name="T9" fmla="*/ 8 h 21"/>
                <a:gd name="T10" fmla="*/ 8 w 37"/>
                <a:gd name="T11" fmla="*/ 12 h 21"/>
                <a:gd name="T12" fmla="*/ 0 w 37"/>
                <a:gd name="T13" fmla="*/ 12 h 21"/>
                <a:gd name="T14" fmla="*/ 0 w 37"/>
                <a:gd name="T15" fmla="*/ 19 h 21"/>
                <a:gd name="T16" fmla="*/ 24 w 37"/>
                <a:gd name="T1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21">
                  <a:moveTo>
                    <a:pt x="24" y="15"/>
                  </a:moveTo>
                  <a:cubicBezTo>
                    <a:pt x="28" y="16"/>
                    <a:pt x="29" y="21"/>
                    <a:pt x="35" y="19"/>
                  </a:cubicBezTo>
                  <a:cubicBezTo>
                    <a:pt x="34" y="13"/>
                    <a:pt x="35" y="8"/>
                    <a:pt x="37" y="4"/>
                  </a:cubicBezTo>
                  <a:cubicBezTo>
                    <a:pt x="27" y="0"/>
                    <a:pt x="22" y="10"/>
                    <a:pt x="16" y="12"/>
                  </a:cubicBezTo>
                  <a:cubicBezTo>
                    <a:pt x="13" y="12"/>
                    <a:pt x="13" y="8"/>
                    <a:pt x="10" y="8"/>
                  </a:cubicBezTo>
                  <a:cubicBezTo>
                    <a:pt x="11" y="8"/>
                    <a:pt x="9" y="11"/>
                    <a:pt x="8" y="12"/>
                  </a:cubicBezTo>
                  <a:cubicBezTo>
                    <a:pt x="7" y="12"/>
                    <a:pt x="0" y="12"/>
                    <a:pt x="0" y="12"/>
                  </a:cubicBezTo>
                  <a:cubicBezTo>
                    <a:pt x="0" y="12"/>
                    <a:pt x="0" y="19"/>
                    <a:pt x="0" y="19"/>
                  </a:cubicBezTo>
                  <a:cubicBezTo>
                    <a:pt x="7" y="19"/>
                    <a:pt x="15" y="14"/>
                    <a:pt x="2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7" name="Freeform 139"/>
            <p:cNvSpPr>
              <a:spLocks/>
            </p:cNvSpPr>
            <p:nvPr userDrawn="1"/>
          </p:nvSpPr>
          <p:spPr bwMode="auto">
            <a:xfrm>
              <a:off x="9003041" y="1796464"/>
              <a:ext cx="149145" cy="139740"/>
            </a:xfrm>
            <a:custGeom>
              <a:avLst/>
              <a:gdLst>
                <a:gd name="T0" fmla="*/ 36 w 47"/>
                <a:gd name="T1" fmla="*/ 11 h 44"/>
                <a:gd name="T2" fmla="*/ 36 w 47"/>
                <a:gd name="T3" fmla="*/ 3 h 44"/>
                <a:gd name="T4" fmla="*/ 25 w 47"/>
                <a:gd name="T5" fmla="*/ 0 h 44"/>
                <a:gd name="T6" fmla="*/ 22 w 47"/>
                <a:gd name="T7" fmla="*/ 18 h 44"/>
                <a:gd name="T8" fmla="*/ 9 w 47"/>
                <a:gd name="T9" fmla="*/ 18 h 44"/>
                <a:gd name="T10" fmla="*/ 6 w 47"/>
                <a:gd name="T11" fmla="*/ 18 h 44"/>
                <a:gd name="T12" fmla="*/ 14 w 47"/>
                <a:gd name="T13" fmla="*/ 44 h 44"/>
                <a:gd name="T14" fmla="*/ 19 w 47"/>
                <a:gd name="T15" fmla="*/ 26 h 44"/>
                <a:gd name="T16" fmla="*/ 30 w 47"/>
                <a:gd name="T17" fmla="*/ 29 h 44"/>
                <a:gd name="T18" fmla="*/ 46 w 47"/>
                <a:gd name="T19" fmla="*/ 18 h 44"/>
                <a:gd name="T20" fmla="*/ 36 w 47"/>
                <a:gd name="T21" fmla="*/ 1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44">
                  <a:moveTo>
                    <a:pt x="36" y="11"/>
                  </a:moveTo>
                  <a:cubicBezTo>
                    <a:pt x="35" y="9"/>
                    <a:pt x="36" y="4"/>
                    <a:pt x="36" y="3"/>
                  </a:cubicBezTo>
                  <a:cubicBezTo>
                    <a:pt x="33" y="0"/>
                    <a:pt x="26" y="5"/>
                    <a:pt x="25" y="0"/>
                  </a:cubicBezTo>
                  <a:cubicBezTo>
                    <a:pt x="17" y="6"/>
                    <a:pt x="28" y="18"/>
                    <a:pt x="22" y="18"/>
                  </a:cubicBezTo>
                  <a:cubicBezTo>
                    <a:pt x="22" y="10"/>
                    <a:pt x="15" y="23"/>
                    <a:pt x="9" y="18"/>
                  </a:cubicBezTo>
                  <a:cubicBezTo>
                    <a:pt x="9" y="16"/>
                    <a:pt x="7" y="14"/>
                    <a:pt x="6" y="18"/>
                  </a:cubicBezTo>
                  <a:cubicBezTo>
                    <a:pt x="18" y="21"/>
                    <a:pt x="0" y="42"/>
                    <a:pt x="14" y="44"/>
                  </a:cubicBezTo>
                  <a:cubicBezTo>
                    <a:pt x="19" y="44"/>
                    <a:pt x="9" y="25"/>
                    <a:pt x="19" y="26"/>
                  </a:cubicBezTo>
                  <a:cubicBezTo>
                    <a:pt x="20" y="31"/>
                    <a:pt x="26" y="29"/>
                    <a:pt x="30" y="29"/>
                  </a:cubicBezTo>
                  <a:cubicBezTo>
                    <a:pt x="26" y="14"/>
                    <a:pt x="47" y="29"/>
                    <a:pt x="46" y="18"/>
                  </a:cubicBezTo>
                  <a:cubicBezTo>
                    <a:pt x="44" y="16"/>
                    <a:pt x="36" y="15"/>
                    <a:pt x="3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8" name="Freeform 140"/>
            <p:cNvSpPr>
              <a:spLocks/>
            </p:cNvSpPr>
            <p:nvPr userDrawn="1"/>
          </p:nvSpPr>
          <p:spPr bwMode="auto">
            <a:xfrm>
              <a:off x="5772902" y="1805869"/>
              <a:ext cx="40310" cy="41653"/>
            </a:xfrm>
            <a:custGeom>
              <a:avLst/>
              <a:gdLst>
                <a:gd name="T0" fmla="*/ 13 w 13"/>
                <a:gd name="T1" fmla="*/ 4 h 13"/>
                <a:gd name="T2" fmla="*/ 0 w 13"/>
                <a:gd name="T3" fmla="*/ 4 h 13"/>
                <a:gd name="T4" fmla="*/ 13 w 13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13" y="4"/>
                  </a:moveTo>
                  <a:cubicBezTo>
                    <a:pt x="8" y="2"/>
                    <a:pt x="0" y="0"/>
                    <a:pt x="0" y="4"/>
                  </a:cubicBezTo>
                  <a:cubicBezTo>
                    <a:pt x="1" y="6"/>
                    <a:pt x="12" y="13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9" name="Freeform 141"/>
            <p:cNvSpPr>
              <a:spLocks/>
            </p:cNvSpPr>
            <p:nvPr userDrawn="1"/>
          </p:nvSpPr>
          <p:spPr bwMode="auto">
            <a:xfrm>
              <a:off x="8429301" y="1770934"/>
              <a:ext cx="30904" cy="104805"/>
            </a:xfrm>
            <a:custGeom>
              <a:avLst/>
              <a:gdLst>
                <a:gd name="T0" fmla="*/ 10 w 10"/>
                <a:gd name="T1" fmla="*/ 30 h 33"/>
                <a:gd name="T2" fmla="*/ 4 w 10"/>
                <a:gd name="T3" fmla="*/ 19 h 33"/>
                <a:gd name="T4" fmla="*/ 10 w 10"/>
                <a:gd name="T5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33">
                  <a:moveTo>
                    <a:pt x="10" y="30"/>
                  </a:moveTo>
                  <a:cubicBezTo>
                    <a:pt x="10" y="22"/>
                    <a:pt x="6" y="22"/>
                    <a:pt x="4" y="19"/>
                  </a:cubicBezTo>
                  <a:cubicBezTo>
                    <a:pt x="0" y="0"/>
                    <a:pt x="1" y="33"/>
                    <a:pt x="1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0" name="Freeform 142"/>
            <p:cNvSpPr>
              <a:spLocks/>
            </p:cNvSpPr>
            <p:nvPr userDrawn="1"/>
          </p:nvSpPr>
          <p:spPr bwMode="auto">
            <a:xfrm>
              <a:off x="8485735" y="1817962"/>
              <a:ext cx="25529" cy="67183"/>
            </a:xfrm>
            <a:custGeom>
              <a:avLst/>
              <a:gdLst>
                <a:gd name="T0" fmla="*/ 5 w 8"/>
                <a:gd name="T1" fmla="*/ 7 h 21"/>
                <a:gd name="T2" fmla="*/ 8 w 8"/>
                <a:gd name="T3" fmla="*/ 0 h 21"/>
                <a:gd name="T4" fmla="*/ 2 w 8"/>
                <a:gd name="T5" fmla="*/ 7 h 21"/>
                <a:gd name="T6" fmla="*/ 5 w 8"/>
                <a:gd name="T7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1">
                  <a:moveTo>
                    <a:pt x="5" y="7"/>
                  </a:moveTo>
                  <a:cubicBezTo>
                    <a:pt x="7" y="7"/>
                    <a:pt x="8" y="4"/>
                    <a:pt x="8" y="0"/>
                  </a:cubicBezTo>
                  <a:cubicBezTo>
                    <a:pt x="4" y="0"/>
                    <a:pt x="5" y="6"/>
                    <a:pt x="2" y="7"/>
                  </a:cubicBezTo>
                  <a:cubicBezTo>
                    <a:pt x="0" y="21"/>
                    <a:pt x="7" y="21"/>
                    <a:pt x="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1" name="Freeform 143"/>
            <p:cNvSpPr>
              <a:spLocks/>
            </p:cNvSpPr>
            <p:nvPr userDrawn="1"/>
          </p:nvSpPr>
          <p:spPr bwMode="auto">
            <a:xfrm>
              <a:off x="8651004" y="1817962"/>
              <a:ext cx="142427" cy="139740"/>
            </a:xfrm>
            <a:custGeom>
              <a:avLst/>
              <a:gdLst>
                <a:gd name="T0" fmla="*/ 9 w 45"/>
                <a:gd name="T1" fmla="*/ 37 h 44"/>
                <a:gd name="T2" fmla="*/ 20 w 45"/>
                <a:gd name="T3" fmla="*/ 33 h 44"/>
                <a:gd name="T4" fmla="*/ 17 w 45"/>
                <a:gd name="T5" fmla="*/ 30 h 44"/>
                <a:gd name="T6" fmla="*/ 31 w 45"/>
                <a:gd name="T7" fmla="*/ 30 h 44"/>
                <a:gd name="T8" fmla="*/ 36 w 45"/>
                <a:gd name="T9" fmla="*/ 44 h 44"/>
                <a:gd name="T10" fmla="*/ 36 w 45"/>
                <a:gd name="T11" fmla="*/ 0 h 44"/>
                <a:gd name="T12" fmla="*/ 17 w 45"/>
                <a:gd name="T13" fmla="*/ 22 h 44"/>
                <a:gd name="T14" fmla="*/ 1 w 45"/>
                <a:gd name="T15" fmla="*/ 19 h 44"/>
                <a:gd name="T16" fmla="*/ 9 w 45"/>
                <a:gd name="T17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44">
                  <a:moveTo>
                    <a:pt x="9" y="37"/>
                  </a:moveTo>
                  <a:cubicBezTo>
                    <a:pt x="10" y="24"/>
                    <a:pt x="21" y="44"/>
                    <a:pt x="20" y="33"/>
                  </a:cubicBezTo>
                  <a:cubicBezTo>
                    <a:pt x="19" y="33"/>
                    <a:pt x="17" y="33"/>
                    <a:pt x="17" y="30"/>
                  </a:cubicBezTo>
                  <a:cubicBezTo>
                    <a:pt x="20" y="19"/>
                    <a:pt x="26" y="32"/>
                    <a:pt x="31" y="30"/>
                  </a:cubicBezTo>
                  <a:cubicBezTo>
                    <a:pt x="30" y="38"/>
                    <a:pt x="32" y="43"/>
                    <a:pt x="36" y="44"/>
                  </a:cubicBezTo>
                  <a:cubicBezTo>
                    <a:pt x="29" y="30"/>
                    <a:pt x="45" y="15"/>
                    <a:pt x="36" y="0"/>
                  </a:cubicBezTo>
                  <a:cubicBezTo>
                    <a:pt x="26" y="1"/>
                    <a:pt x="24" y="15"/>
                    <a:pt x="17" y="22"/>
                  </a:cubicBezTo>
                  <a:cubicBezTo>
                    <a:pt x="8" y="21"/>
                    <a:pt x="11" y="12"/>
                    <a:pt x="1" y="19"/>
                  </a:cubicBezTo>
                  <a:cubicBezTo>
                    <a:pt x="0" y="30"/>
                    <a:pt x="5" y="34"/>
                    <a:pt x="9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2" name="Freeform 144"/>
            <p:cNvSpPr>
              <a:spLocks/>
            </p:cNvSpPr>
            <p:nvPr userDrawn="1"/>
          </p:nvSpPr>
          <p:spPr bwMode="auto">
            <a:xfrm>
              <a:off x="5568667" y="1917392"/>
              <a:ext cx="48371" cy="30904"/>
            </a:xfrm>
            <a:custGeom>
              <a:avLst/>
              <a:gdLst>
                <a:gd name="T0" fmla="*/ 10 w 15"/>
                <a:gd name="T1" fmla="*/ 6 h 10"/>
                <a:gd name="T2" fmla="*/ 15 w 15"/>
                <a:gd name="T3" fmla="*/ 10 h 10"/>
                <a:gd name="T4" fmla="*/ 10 w 15"/>
                <a:gd name="T5" fmla="*/ 2 h 10"/>
                <a:gd name="T6" fmla="*/ 10 w 15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0">
                  <a:moveTo>
                    <a:pt x="10" y="6"/>
                  </a:moveTo>
                  <a:cubicBezTo>
                    <a:pt x="10" y="9"/>
                    <a:pt x="12" y="10"/>
                    <a:pt x="15" y="10"/>
                  </a:cubicBezTo>
                  <a:cubicBezTo>
                    <a:pt x="15" y="5"/>
                    <a:pt x="10" y="6"/>
                    <a:pt x="10" y="2"/>
                  </a:cubicBezTo>
                  <a:cubicBezTo>
                    <a:pt x="0" y="0"/>
                    <a:pt x="0" y="9"/>
                    <a:pt x="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3" name="Freeform 145"/>
            <p:cNvSpPr>
              <a:spLocks/>
            </p:cNvSpPr>
            <p:nvPr userDrawn="1"/>
          </p:nvSpPr>
          <p:spPr bwMode="auto">
            <a:xfrm>
              <a:off x="6854541" y="1948296"/>
              <a:ext cx="92712" cy="158551"/>
            </a:xfrm>
            <a:custGeom>
              <a:avLst/>
              <a:gdLst>
                <a:gd name="T0" fmla="*/ 14 w 29"/>
                <a:gd name="T1" fmla="*/ 40 h 50"/>
                <a:gd name="T2" fmla="*/ 5 w 29"/>
                <a:gd name="T3" fmla="*/ 33 h 50"/>
                <a:gd name="T4" fmla="*/ 27 w 29"/>
                <a:gd name="T5" fmla="*/ 37 h 50"/>
                <a:gd name="T6" fmla="*/ 19 w 29"/>
                <a:gd name="T7" fmla="*/ 22 h 50"/>
                <a:gd name="T8" fmla="*/ 19 w 29"/>
                <a:gd name="T9" fmla="*/ 7 h 50"/>
                <a:gd name="T10" fmla="*/ 5 w 29"/>
                <a:gd name="T11" fmla="*/ 0 h 50"/>
                <a:gd name="T12" fmla="*/ 3 w 29"/>
                <a:gd name="T13" fmla="*/ 14 h 50"/>
                <a:gd name="T14" fmla="*/ 11 w 29"/>
                <a:gd name="T15" fmla="*/ 26 h 50"/>
                <a:gd name="T16" fmla="*/ 3 w 29"/>
                <a:gd name="T17" fmla="*/ 18 h 50"/>
                <a:gd name="T18" fmla="*/ 14 w 29"/>
                <a:gd name="T19" fmla="*/ 4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50">
                  <a:moveTo>
                    <a:pt x="14" y="40"/>
                  </a:moveTo>
                  <a:cubicBezTo>
                    <a:pt x="10" y="39"/>
                    <a:pt x="7" y="36"/>
                    <a:pt x="5" y="33"/>
                  </a:cubicBezTo>
                  <a:cubicBezTo>
                    <a:pt x="13" y="30"/>
                    <a:pt x="19" y="29"/>
                    <a:pt x="27" y="37"/>
                  </a:cubicBezTo>
                  <a:cubicBezTo>
                    <a:pt x="29" y="25"/>
                    <a:pt x="20" y="29"/>
                    <a:pt x="19" y="22"/>
                  </a:cubicBezTo>
                  <a:cubicBezTo>
                    <a:pt x="19" y="17"/>
                    <a:pt x="19" y="12"/>
                    <a:pt x="19" y="7"/>
                  </a:cubicBezTo>
                  <a:cubicBezTo>
                    <a:pt x="10" y="10"/>
                    <a:pt x="11" y="1"/>
                    <a:pt x="5" y="0"/>
                  </a:cubicBezTo>
                  <a:cubicBezTo>
                    <a:pt x="6" y="6"/>
                    <a:pt x="5" y="11"/>
                    <a:pt x="3" y="14"/>
                  </a:cubicBezTo>
                  <a:cubicBezTo>
                    <a:pt x="10" y="12"/>
                    <a:pt x="12" y="16"/>
                    <a:pt x="11" y="26"/>
                  </a:cubicBezTo>
                  <a:cubicBezTo>
                    <a:pt x="7" y="25"/>
                    <a:pt x="6" y="19"/>
                    <a:pt x="3" y="18"/>
                  </a:cubicBezTo>
                  <a:cubicBezTo>
                    <a:pt x="0" y="32"/>
                    <a:pt x="8" y="50"/>
                    <a:pt x="14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4" name="Freeform 146"/>
            <p:cNvSpPr>
              <a:spLocks/>
            </p:cNvSpPr>
            <p:nvPr userDrawn="1"/>
          </p:nvSpPr>
          <p:spPr bwMode="auto">
            <a:xfrm>
              <a:off x="6385607" y="1989949"/>
              <a:ext cx="56433" cy="47028"/>
            </a:xfrm>
            <a:custGeom>
              <a:avLst/>
              <a:gdLst>
                <a:gd name="T0" fmla="*/ 6 w 18"/>
                <a:gd name="T1" fmla="*/ 13 h 15"/>
                <a:gd name="T2" fmla="*/ 14 w 18"/>
                <a:gd name="T3" fmla="*/ 1 h 15"/>
                <a:gd name="T4" fmla="*/ 6 w 18"/>
                <a:gd name="T5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6" y="13"/>
                  </a:moveTo>
                  <a:cubicBezTo>
                    <a:pt x="4" y="4"/>
                    <a:pt x="18" y="15"/>
                    <a:pt x="14" y="1"/>
                  </a:cubicBezTo>
                  <a:cubicBezTo>
                    <a:pt x="8" y="0"/>
                    <a:pt x="0" y="11"/>
                    <a:pt x="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5" name="Freeform 147"/>
            <p:cNvSpPr>
              <a:spLocks/>
            </p:cNvSpPr>
            <p:nvPr userDrawn="1"/>
          </p:nvSpPr>
          <p:spPr bwMode="auto">
            <a:xfrm>
              <a:off x="7387971" y="2204934"/>
              <a:ext cx="47028" cy="48371"/>
            </a:xfrm>
            <a:custGeom>
              <a:avLst/>
              <a:gdLst>
                <a:gd name="T0" fmla="*/ 15 w 15"/>
                <a:gd name="T1" fmla="*/ 0 h 15"/>
                <a:gd name="T2" fmla="*/ 1 w 15"/>
                <a:gd name="T3" fmla="*/ 0 h 15"/>
                <a:gd name="T4" fmla="*/ 15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5" y="0"/>
                  </a:moveTo>
                  <a:cubicBezTo>
                    <a:pt x="8" y="0"/>
                    <a:pt x="7" y="7"/>
                    <a:pt x="1" y="0"/>
                  </a:cubicBezTo>
                  <a:cubicBezTo>
                    <a:pt x="0" y="15"/>
                    <a:pt x="14" y="5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6" name="Freeform 148"/>
            <p:cNvSpPr>
              <a:spLocks/>
            </p:cNvSpPr>
            <p:nvPr userDrawn="1"/>
          </p:nvSpPr>
          <p:spPr bwMode="auto">
            <a:xfrm>
              <a:off x="3808483" y="3544555"/>
              <a:ext cx="44341" cy="57777"/>
            </a:xfrm>
            <a:custGeom>
              <a:avLst/>
              <a:gdLst>
                <a:gd name="T0" fmla="*/ 11 w 14"/>
                <a:gd name="T1" fmla="*/ 3 h 18"/>
                <a:gd name="T2" fmla="*/ 13 w 14"/>
                <a:gd name="T3" fmla="*/ 0 h 18"/>
                <a:gd name="T4" fmla="*/ 0 w 14"/>
                <a:gd name="T5" fmla="*/ 14 h 18"/>
                <a:gd name="T6" fmla="*/ 11 w 14"/>
                <a:gd name="T7" fmla="*/ 18 h 18"/>
                <a:gd name="T8" fmla="*/ 11 w 14"/>
                <a:gd name="T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8">
                  <a:moveTo>
                    <a:pt x="11" y="3"/>
                  </a:moveTo>
                  <a:cubicBezTo>
                    <a:pt x="11" y="7"/>
                    <a:pt x="14" y="6"/>
                    <a:pt x="13" y="0"/>
                  </a:cubicBezTo>
                  <a:cubicBezTo>
                    <a:pt x="7" y="2"/>
                    <a:pt x="0" y="3"/>
                    <a:pt x="0" y="14"/>
                  </a:cubicBezTo>
                  <a:cubicBezTo>
                    <a:pt x="5" y="14"/>
                    <a:pt x="8" y="15"/>
                    <a:pt x="11" y="18"/>
                  </a:cubicBezTo>
                  <a:cubicBezTo>
                    <a:pt x="13" y="11"/>
                    <a:pt x="3" y="6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7" name="Freeform 149"/>
            <p:cNvSpPr>
              <a:spLocks/>
            </p:cNvSpPr>
            <p:nvPr userDrawn="1"/>
          </p:nvSpPr>
          <p:spPr bwMode="auto">
            <a:xfrm>
              <a:off x="2630100" y="3649360"/>
              <a:ext cx="79275" cy="48371"/>
            </a:xfrm>
            <a:custGeom>
              <a:avLst/>
              <a:gdLst>
                <a:gd name="T0" fmla="*/ 5 w 25"/>
                <a:gd name="T1" fmla="*/ 11 h 15"/>
                <a:gd name="T2" fmla="*/ 0 w 25"/>
                <a:gd name="T3" fmla="*/ 7 h 15"/>
                <a:gd name="T4" fmla="*/ 5 w 25"/>
                <a:gd name="T5" fmla="*/ 15 h 15"/>
                <a:gd name="T6" fmla="*/ 5 w 25"/>
                <a:gd name="T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5">
                  <a:moveTo>
                    <a:pt x="5" y="11"/>
                  </a:moveTo>
                  <a:cubicBezTo>
                    <a:pt x="4" y="10"/>
                    <a:pt x="2" y="0"/>
                    <a:pt x="0" y="7"/>
                  </a:cubicBezTo>
                  <a:cubicBezTo>
                    <a:pt x="3" y="8"/>
                    <a:pt x="4" y="11"/>
                    <a:pt x="5" y="15"/>
                  </a:cubicBezTo>
                  <a:cubicBezTo>
                    <a:pt x="25" y="12"/>
                    <a:pt x="12" y="15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8" name="Freeform 150"/>
            <p:cNvSpPr>
              <a:spLocks/>
            </p:cNvSpPr>
            <p:nvPr userDrawn="1"/>
          </p:nvSpPr>
          <p:spPr bwMode="auto">
            <a:xfrm>
              <a:off x="3074849" y="4150542"/>
              <a:ext cx="44341" cy="108836"/>
            </a:xfrm>
            <a:custGeom>
              <a:avLst/>
              <a:gdLst>
                <a:gd name="T0" fmla="*/ 5 w 14"/>
                <a:gd name="T1" fmla="*/ 27 h 34"/>
                <a:gd name="T2" fmla="*/ 2 w 14"/>
                <a:gd name="T3" fmla="*/ 19 h 34"/>
                <a:gd name="T4" fmla="*/ 11 w 14"/>
                <a:gd name="T5" fmla="*/ 19 h 34"/>
                <a:gd name="T6" fmla="*/ 8 w 14"/>
                <a:gd name="T7" fmla="*/ 1 h 34"/>
                <a:gd name="T8" fmla="*/ 2 w 14"/>
                <a:gd name="T9" fmla="*/ 5 h 34"/>
                <a:gd name="T10" fmla="*/ 0 w 14"/>
                <a:gd name="T11" fmla="*/ 23 h 34"/>
                <a:gd name="T12" fmla="*/ 5 w 14"/>
                <a:gd name="T1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34">
                  <a:moveTo>
                    <a:pt x="5" y="27"/>
                  </a:moveTo>
                  <a:cubicBezTo>
                    <a:pt x="5" y="23"/>
                    <a:pt x="3" y="22"/>
                    <a:pt x="2" y="19"/>
                  </a:cubicBezTo>
                  <a:cubicBezTo>
                    <a:pt x="5" y="19"/>
                    <a:pt x="8" y="19"/>
                    <a:pt x="11" y="19"/>
                  </a:cubicBezTo>
                  <a:cubicBezTo>
                    <a:pt x="9" y="14"/>
                    <a:pt x="14" y="0"/>
                    <a:pt x="8" y="1"/>
                  </a:cubicBezTo>
                  <a:cubicBezTo>
                    <a:pt x="7" y="4"/>
                    <a:pt x="6" y="5"/>
                    <a:pt x="2" y="5"/>
                  </a:cubicBezTo>
                  <a:cubicBezTo>
                    <a:pt x="3" y="13"/>
                    <a:pt x="2" y="19"/>
                    <a:pt x="0" y="23"/>
                  </a:cubicBezTo>
                  <a:cubicBezTo>
                    <a:pt x="4" y="23"/>
                    <a:pt x="3" y="34"/>
                    <a:pt x="5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9" name="Freeform 151"/>
            <p:cNvSpPr>
              <a:spLocks/>
            </p:cNvSpPr>
            <p:nvPr userDrawn="1"/>
          </p:nvSpPr>
          <p:spPr bwMode="auto">
            <a:xfrm>
              <a:off x="3096347" y="4173384"/>
              <a:ext cx="67183" cy="85994"/>
            </a:xfrm>
            <a:custGeom>
              <a:avLst/>
              <a:gdLst>
                <a:gd name="T0" fmla="*/ 12 w 21"/>
                <a:gd name="T1" fmla="*/ 1 h 27"/>
                <a:gd name="T2" fmla="*/ 6 w 21"/>
                <a:gd name="T3" fmla="*/ 9 h 27"/>
                <a:gd name="T4" fmla="*/ 6 w 21"/>
                <a:gd name="T5" fmla="*/ 16 h 27"/>
                <a:gd name="T6" fmla="*/ 1 w 21"/>
                <a:gd name="T7" fmla="*/ 20 h 27"/>
                <a:gd name="T8" fmla="*/ 9 w 21"/>
                <a:gd name="T9" fmla="*/ 16 h 27"/>
                <a:gd name="T10" fmla="*/ 20 w 21"/>
                <a:gd name="T11" fmla="*/ 16 h 27"/>
                <a:gd name="T12" fmla="*/ 12 w 21"/>
                <a:gd name="T13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7">
                  <a:moveTo>
                    <a:pt x="12" y="1"/>
                  </a:moveTo>
                  <a:cubicBezTo>
                    <a:pt x="14" y="9"/>
                    <a:pt x="8" y="6"/>
                    <a:pt x="6" y="9"/>
                  </a:cubicBezTo>
                  <a:cubicBezTo>
                    <a:pt x="5" y="10"/>
                    <a:pt x="7" y="15"/>
                    <a:pt x="6" y="16"/>
                  </a:cubicBezTo>
                  <a:cubicBezTo>
                    <a:pt x="5" y="18"/>
                    <a:pt x="0" y="15"/>
                    <a:pt x="1" y="20"/>
                  </a:cubicBezTo>
                  <a:cubicBezTo>
                    <a:pt x="7" y="27"/>
                    <a:pt x="4" y="19"/>
                    <a:pt x="9" y="16"/>
                  </a:cubicBezTo>
                  <a:cubicBezTo>
                    <a:pt x="13" y="16"/>
                    <a:pt x="16" y="16"/>
                    <a:pt x="20" y="16"/>
                  </a:cubicBezTo>
                  <a:cubicBezTo>
                    <a:pt x="21" y="7"/>
                    <a:pt x="19" y="0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0" name="Freeform 152"/>
            <p:cNvSpPr>
              <a:spLocks/>
            </p:cNvSpPr>
            <p:nvPr userDrawn="1"/>
          </p:nvSpPr>
          <p:spPr bwMode="auto">
            <a:xfrm>
              <a:off x="2874645" y="4319842"/>
              <a:ext cx="44341" cy="100774"/>
            </a:xfrm>
            <a:custGeom>
              <a:avLst/>
              <a:gdLst>
                <a:gd name="T0" fmla="*/ 12 w 14"/>
                <a:gd name="T1" fmla="*/ 3 h 32"/>
                <a:gd name="T2" fmla="*/ 6 w 14"/>
                <a:gd name="T3" fmla="*/ 18 h 32"/>
                <a:gd name="T4" fmla="*/ 9 w 14"/>
                <a:gd name="T5" fmla="*/ 15 h 32"/>
                <a:gd name="T6" fmla="*/ 12 w 14"/>
                <a:gd name="T7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2">
                  <a:moveTo>
                    <a:pt x="12" y="3"/>
                  </a:moveTo>
                  <a:cubicBezTo>
                    <a:pt x="5" y="0"/>
                    <a:pt x="0" y="16"/>
                    <a:pt x="6" y="18"/>
                  </a:cubicBezTo>
                  <a:cubicBezTo>
                    <a:pt x="7" y="16"/>
                    <a:pt x="7" y="14"/>
                    <a:pt x="9" y="15"/>
                  </a:cubicBezTo>
                  <a:cubicBezTo>
                    <a:pt x="14" y="32"/>
                    <a:pt x="7" y="7"/>
                    <a:pt x="1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1" name="Freeform 153"/>
            <p:cNvSpPr>
              <a:spLocks/>
            </p:cNvSpPr>
            <p:nvPr userDrawn="1"/>
          </p:nvSpPr>
          <p:spPr bwMode="auto">
            <a:xfrm>
              <a:off x="2767153" y="4376275"/>
              <a:ext cx="60464" cy="48371"/>
            </a:xfrm>
            <a:custGeom>
              <a:avLst/>
              <a:gdLst>
                <a:gd name="T0" fmla="*/ 5 w 19"/>
                <a:gd name="T1" fmla="*/ 11 h 15"/>
                <a:gd name="T2" fmla="*/ 0 w 19"/>
                <a:gd name="T3" fmla="*/ 15 h 15"/>
                <a:gd name="T4" fmla="*/ 11 w 19"/>
                <a:gd name="T5" fmla="*/ 15 h 15"/>
                <a:gd name="T6" fmla="*/ 16 w 19"/>
                <a:gd name="T7" fmla="*/ 0 h 15"/>
                <a:gd name="T8" fmla="*/ 5 w 19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5" y="11"/>
                  </a:moveTo>
                  <a:cubicBezTo>
                    <a:pt x="7" y="10"/>
                    <a:pt x="0" y="7"/>
                    <a:pt x="0" y="15"/>
                  </a:cubicBezTo>
                  <a:cubicBezTo>
                    <a:pt x="4" y="15"/>
                    <a:pt x="7" y="15"/>
                    <a:pt x="11" y="15"/>
                  </a:cubicBezTo>
                  <a:cubicBezTo>
                    <a:pt x="8" y="3"/>
                    <a:pt x="19" y="12"/>
                    <a:pt x="16" y="0"/>
                  </a:cubicBezTo>
                  <a:cubicBezTo>
                    <a:pt x="9" y="2"/>
                    <a:pt x="10" y="7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2" name="Freeform 154"/>
            <p:cNvSpPr>
              <a:spLocks/>
            </p:cNvSpPr>
            <p:nvPr userDrawn="1"/>
          </p:nvSpPr>
          <p:spPr bwMode="auto">
            <a:xfrm>
              <a:off x="2842397" y="4360151"/>
              <a:ext cx="92712" cy="155864"/>
            </a:xfrm>
            <a:custGeom>
              <a:avLst/>
              <a:gdLst>
                <a:gd name="T0" fmla="*/ 16 w 29"/>
                <a:gd name="T1" fmla="*/ 27 h 49"/>
                <a:gd name="T2" fmla="*/ 11 w 29"/>
                <a:gd name="T3" fmla="*/ 13 h 49"/>
                <a:gd name="T4" fmla="*/ 0 w 29"/>
                <a:gd name="T5" fmla="*/ 13 h 49"/>
                <a:gd name="T6" fmla="*/ 8 w 29"/>
                <a:gd name="T7" fmla="*/ 31 h 49"/>
                <a:gd name="T8" fmla="*/ 6 w 29"/>
                <a:gd name="T9" fmla="*/ 46 h 49"/>
                <a:gd name="T10" fmla="*/ 14 w 29"/>
                <a:gd name="T11" fmla="*/ 31 h 49"/>
                <a:gd name="T12" fmla="*/ 24 w 29"/>
                <a:gd name="T13" fmla="*/ 27 h 49"/>
                <a:gd name="T14" fmla="*/ 27 w 29"/>
                <a:gd name="T15" fmla="*/ 31 h 49"/>
                <a:gd name="T16" fmla="*/ 16 w 29"/>
                <a:gd name="T17" fmla="*/ 2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49">
                  <a:moveTo>
                    <a:pt x="16" y="27"/>
                  </a:moveTo>
                  <a:cubicBezTo>
                    <a:pt x="11" y="21"/>
                    <a:pt x="14" y="16"/>
                    <a:pt x="11" y="13"/>
                  </a:cubicBezTo>
                  <a:cubicBezTo>
                    <a:pt x="9" y="27"/>
                    <a:pt x="1" y="0"/>
                    <a:pt x="0" y="13"/>
                  </a:cubicBezTo>
                  <a:cubicBezTo>
                    <a:pt x="4" y="17"/>
                    <a:pt x="4" y="27"/>
                    <a:pt x="8" y="31"/>
                  </a:cubicBezTo>
                  <a:cubicBezTo>
                    <a:pt x="9" y="38"/>
                    <a:pt x="8" y="43"/>
                    <a:pt x="6" y="46"/>
                  </a:cubicBezTo>
                  <a:cubicBezTo>
                    <a:pt x="18" y="49"/>
                    <a:pt x="9" y="32"/>
                    <a:pt x="14" y="31"/>
                  </a:cubicBezTo>
                  <a:cubicBezTo>
                    <a:pt x="19" y="39"/>
                    <a:pt x="21" y="32"/>
                    <a:pt x="24" y="27"/>
                  </a:cubicBezTo>
                  <a:cubicBezTo>
                    <a:pt x="25" y="30"/>
                    <a:pt x="25" y="32"/>
                    <a:pt x="27" y="31"/>
                  </a:cubicBezTo>
                  <a:cubicBezTo>
                    <a:pt x="29" y="18"/>
                    <a:pt x="18" y="25"/>
                    <a:pt x="1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3" name="Freeform 155"/>
            <p:cNvSpPr>
              <a:spLocks/>
            </p:cNvSpPr>
            <p:nvPr userDrawn="1"/>
          </p:nvSpPr>
          <p:spPr bwMode="auto">
            <a:xfrm>
              <a:off x="3156812" y="4385681"/>
              <a:ext cx="57777" cy="216328"/>
            </a:xfrm>
            <a:custGeom>
              <a:avLst/>
              <a:gdLst>
                <a:gd name="T0" fmla="*/ 11 w 18"/>
                <a:gd name="T1" fmla="*/ 12 h 68"/>
                <a:gd name="T2" fmla="*/ 1 w 18"/>
                <a:gd name="T3" fmla="*/ 12 h 68"/>
                <a:gd name="T4" fmla="*/ 3 w 18"/>
                <a:gd name="T5" fmla="*/ 16 h 68"/>
                <a:gd name="T6" fmla="*/ 1 w 18"/>
                <a:gd name="T7" fmla="*/ 27 h 68"/>
                <a:gd name="T8" fmla="*/ 9 w 18"/>
                <a:gd name="T9" fmla="*/ 19 h 68"/>
                <a:gd name="T10" fmla="*/ 11 w 18"/>
                <a:gd name="T11" fmla="*/ 38 h 68"/>
                <a:gd name="T12" fmla="*/ 6 w 18"/>
                <a:gd name="T13" fmla="*/ 60 h 68"/>
                <a:gd name="T14" fmla="*/ 6 w 18"/>
                <a:gd name="T15" fmla="*/ 68 h 68"/>
                <a:gd name="T16" fmla="*/ 14 w 18"/>
                <a:gd name="T17" fmla="*/ 56 h 68"/>
                <a:gd name="T18" fmla="*/ 14 w 18"/>
                <a:gd name="T19" fmla="*/ 34 h 68"/>
                <a:gd name="T20" fmla="*/ 11 w 18"/>
                <a:gd name="T21" fmla="*/ 1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68">
                  <a:moveTo>
                    <a:pt x="11" y="12"/>
                  </a:moveTo>
                  <a:cubicBezTo>
                    <a:pt x="9" y="26"/>
                    <a:pt x="2" y="0"/>
                    <a:pt x="1" y="12"/>
                  </a:cubicBezTo>
                  <a:cubicBezTo>
                    <a:pt x="2" y="12"/>
                    <a:pt x="4" y="13"/>
                    <a:pt x="3" y="16"/>
                  </a:cubicBezTo>
                  <a:cubicBezTo>
                    <a:pt x="3" y="20"/>
                    <a:pt x="0" y="21"/>
                    <a:pt x="1" y="27"/>
                  </a:cubicBezTo>
                  <a:cubicBezTo>
                    <a:pt x="6" y="28"/>
                    <a:pt x="6" y="22"/>
                    <a:pt x="9" y="19"/>
                  </a:cubicBezTo>
                  <a:cubicBezTo>
                    <a:pt x="8" y="28"/>
                    <a:pt x="9" y="34"/>
                    <a:pt x="11" y="38"/>
                  </a:cubicBezTo>
                  <a:cubicBezTo>
                    <a:pt x="5" y="38"/>
                    <a:pt x="6" y="50"/>
                    <a:pt x="6" y="60"/>
                  </a:cubicBezTo>
                  <a:cubicBezTo>
                    <a:pt x="6" y="64"/>
                    <a:pt x="2" y="66"/>
                    <a:pt x="6" y="68"/>
                  </a:cubicBezTo>
                  <a:cubicBezTo>
                    <a:pt x="9" y="64"/>
                    <a:pt x="11" y="60"/>
                    <a:pt x="14" y="56"/>
                  </a:cubicBezTo>
                  <a:cubicBezTo>
                    <a:pt x="12" y="46"/>
                    <a:pt x="12" y="45"/>
                    <a:pt x="14" y="34"/>
                  </a:cubicBezTo>
                  <a:cubicBezTo>
                    <a:pt x="9" y="25"/>
                    <a:pt x="18" y="19"/>
                    <a:pt x="1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4" name="Freeform 156"/>
            <p:cNvSpPr>
              <a:spLocks/>
            </p:cNvSpPr>
            <p:nvPr userDrawn="1"/>
          </p:nvSpPr>
          <p:spPr bwMode="auto">
            <a:xfrm>
              <a:off x="2709376" y="4439427"/>
              <a:ext cx="57777" cy="118241"/>
            </a:xfrm>
            <a:custGeom>
              <a:avLst/>
              <a:gdLst>
                <a:gd name="T0" fmla="*/ 7 w 18"/>
                <a:gd name="T1" fmla="*/ 2 h 37"/>
                <a:gd name="T2" fmla="*/ 2 w 18"/>
                <a:gd name="T3" fmla="*/ 17 h 37"/>
                <a:gd name="T4" fmla="*/ 10 w 18"/>
                <a:gd name="T5" fmla="*/ 32 h 37"/>
                <a:gd name="T6" fmla="*/ 13 w 18"/>
                <a:gd name="T7" fmla="*/ 36 h 37"/>
                <a:gd name="T8" fmla="*/ 15 w 18"/>
                <a:gd name="T9" fmla="*/ 17 h 37"/>
                <a:gd name="T10" fmla="*/ 15 w 18"/>
                <a:gd name="T11" fmla="*/ 10 h 37"/>
                <a:gd name="T12" fmla="*/ 18 w 18"/>
                <a:gd name="T13" fmla="*/ 10 h 37"/>
                <a:gd name="T14" fmla="*/ 7 w 18"/>
                <a:gd name="T15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37">
                  <a:moveTo>
                    <a:pt x="7" y="2"/>
                  </a:moveTo>
                  <a:cubicBezTo>
                    <a:pt x="11" y="12"/>
                    <a:pt x="11" y="28"/>
                    <a:pt x="2" y="17"/>
                  </a:cubicBezTo>
                  <a:cubicBezTo>
                    <a:pt x="0" y="29"/>
                    <a:pt x="11" y="22"/>
                    <a:pt x="10" y="32"/>
                  </a:cubicBezTo>
                  <a:cubicBezTo>
                    <a:pt x="7" y="32"/>
                    <a:pt x="8" y="37"/>
                    <a:pt x="13" y="36"/>
                  </a:cubicBezTo>
                  <a:cubicBezTo>
                    <a:pt x="12" y="27"/>
                    <a:pt x="13" y="21"/>
                    <a:pt x="15" y="17"/>
                  </a:cubicBezTo>
                  <a:cubicBezTo>
                    <a:pt x="13" y="17"/>
                    <a:pt x="12" y="11"/>
                    <a:pt x="15" y="10"/>
                  </a:cubicBezTo>
                  <a:cubicBezTo>
                    <a:pt x="15" y="12"/>
                    <a:pt x="18" y="14"/>
                    <a:pt x="18" y="10"/>
                  </a:cubicBezTo>
                  <a:cubicBezTo>
                    <a:pt x="13" y="10"/>
                    <a:pt x="15" y="0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5" name="Freeform 157"/>
            <p:cNvSpPr>
              <a:spLocks/>
            </p:cNvSpPr>
            <p:nvPr userDrawn="1"/>
          </p:nvSpPr>
          <p:spPr bwMode="auto">
            <a:xfrm>
              <a:off x="3214589" y="4446145"/>
              <a:ext cx="30904" cy="60464"/>
            </a:xfrm>
            <a:custGeom>
              <a:avLst/>
              <a:gdLst>
                <a:gd name="T0" fmla="*/ 10 w 10"/>
                <a:gd name="T1" fmla="*/ 15 h 19"/>
                <a:gd name="T2" fmla="*/ 2 w 10"/>
                <a:gd name="T3" fmla="*/ 0 h 19"/>
                <a:gd name="T4" fmla="*/ 2 w 10"/>
                <a:gd name="T5" fmla="*/ 19 h 19"/>
                <a:gd name="T6" fmla="*/ 7 w 10"/>
                <a:gd name="T7" fmla="*/ 19 h 19"/>
                <a:gd name="T8" fmla="*/ 10 w 10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9">
                  <a:moveTo>
                    <a:pt x="10" y="15"/>
                  </a:moveTo>
                  <a:cubicBezTo>
                    <a:pt x="2" y="17"/>
                    <a:pt x="7" y="1"/>
                    <a:pt x="2" y="0"/>
                  </a:cubicBezTo>
                  <a:cubicBezTo>
                    <a:pt x="0" y="12"/>
                    <a:pt x="7" y="12"/>
                    <a:pt x="2" y="19"/>
                  </a:cubicBezTo>
                  <a:cubicBezTo>
                    <a:pt x="3" y="19"/>
                    <a:pt x="5" y="19"/>
                    <a:pt x="7" y="19"/>
                  </a:cubicBezTo>
                  <a:cubicBezTo>
                    <a:pt x="9" y="19"/>
                    <a:pt x="10" y="18"/>
                    <a:pt x="1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6" name="Freeform 158"/>
            <p:cNvSpPr>
              <a:spLocks/>
            </p:cNvSpPr>
            <p:nvPr userDrawn="1"/>
          </p:nvSpPr>
          <p:spPr bwMode="auto">
            <a:xfrm>
              <a:off x="2998261" y="4427334"/>
              <a:ext cx="92712" cy="100774"/>
            </a:xfrm>
            <a:custGeom>
              <a:avLst/>
              <a:gdLst>
                <a:gd name="T0" fmla="*/ 21 w 29"/>
                <a:gd name="T1" fmla="*/ 25 h 32"/>
                <a:gd name="T2" fmla="*/ 2 w 29"/>
                <a:gd name="T3" fmla="*/ 14 h 32"/>
                <a:gd name="T4" fmla="*/ 5 w 29"/>
                <a:gd name="T5" fmla="*/ 21 h 32"/>
                <a:gd name="T6" fmla="*/ 0 w 29"/>
                <a:gd name="T7" fmla="*/ 25 h 32"/>
                <a:gd name="T8" fmla="*/ 13 w 29"/>
                <a:gd name="T9" fmla="*/ 18 h 32"/>
                <a:gd name="T10" fmla="*/ 16 w 29"/>
                <a:gd name="T11" fmla="*/ 32 h 32"/>
                <a:gd name="T12" fmla="*/ 29 w 29"/>
                <a:gd name="T13" fmla="*/ 32 h 32"/>
                <a:gd name="T14" fmla="*/ 29 w 29"/>
                <a:gd name="T15" fmla="*/ 14 h 32"/>
                <a:gd name="T16" fmla="*/ 19 w 29"/>
                <a:gd name="T17" fmla="*/ 10 h 32"/>
                <a:gd name="T18" fmla="*/ 21 w 29"/>
                <a:gd name="T19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2">
                  <a:moveTo>
                    <a:pt x="21" y="25"/>
                  </a:moveTo>
                  <a:cubicBezTo>
                    <a:pt x="15" y="24"/>
                    <a:pt x="11" y="0"/>
                    <a:pt x="2" y="14"/>
                  </a:cubicBezTo>
                  <a:cubicBezTo>
                    <a:pt x="4" y="15"/>
                    <a:pt x="5" y="17"/>
                    <a:pt x="5" y="21"/>
                  </a:cubicBezTo>
                  <a:cubicBezTo>
                    <a:pt x="3" y="22"/>
                    <a:pt x="0" y="21"/>
                    <a:pt x="0" y="25"/>
                  </a:cubicBezTo>
                  <a:cubicBezTo>
                    <a:pt x="9" y="21"/>
                    <a:pt x="8" y="26"/>
                    <a:pt x="13" y="18"/>
                  </a:cubicBezTo>
                  <a:cubicBezTo>
                    <a:pt x="13" y="24"/>
                    <a:pt x="14" y="29"/>
                    <a:pt x="16" y="32"/>
                  </a:cubicBezTo>
                  <a:cubicBezTo>
                    <a:pt x="22" y="32"/>
                    <a:pt x="24" y="25"/>
                    <a:pt x="29" y="32"/>
                  </a:cubicBezTo>
                  <a:cubicBezTo>
                    <a:pt x="29" y="26"/>
                    <a:pt x="29" y="20"/>
                    <a:pt x="29" y="14"/>
                  </a:cubicBezTo>
                  <a:cubicBezTo>
                    <a:pt x="25" y="14"/>
                    <a:pt x="21" y="13"/>
                    <a:pt x="19" y="10"/>
                  </a:cubicBezTo>
                  <a:cubicBezTo>
                    <a:pt x="15" y="19"/>
                    <a:pt x="29" y="22"/>
                    <a:pt x="21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7" name="Freeform 159"/>
            <p:cNvSpPr>
              <a:spLocks/>
            </p:cNvSpPr>
            <p:nvPr userDrawn="1"/>
          </p:nvSpPr>
          <p:spPr bwMode="auto">
            <a:xfrm>
              <a:off x="2970044" y="4494517"/>
              <a:ext cx="53746" cy="84650"/>
            </a:xfrm>
            <a:custGeom>
              <a:avLst/>
              <a:gdLst>
                <a:gd name="T0" fmla="*/ 9 w 17"/>
                <a:gd name="T1" fmla="*/ 19 h 27"/>
                <a:gd name="T2" fmla="*/ 17 w 17"/>
                <a:gd name="T3" fmla="*/ 19 h 27"/>
                <a:gd name="T4" fmla="*/ 9 w 17"/>
                <a:gd name="T5" fmla="*/ 15 h 27"/>
                <a:gd name="T6" fmla="*/ 0 w 17"/>
                <a:gd name="T7" fmla="*/ 19 h 27"/>
                <a:gd name="T8" fmla="*/ 9 w 17"/>
                <a:gd name="T9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7">
                  <a:moveTo>
                    <a:pt x="9" y="19"/>
                  </a:moveTo>
                  <a:cubicBezTo>
                    <a:pt x="9" y="27"/>
                    <a:pt x="16" y="27"/>
                    <a:pt x="17" y="19"/>
                  </a:cubicBezTo>
                  <a:cubicBezTo>
                    <a:pt x="12" y="16"/>
                    <a:pt x="3" y="0"/>
                    <a:pt x="9" y="15"/>
                  </a:cubicBezTo>
                  <a:cubicBezTo>
                    <a:pt x="5" y="16"/>
                    <a:pt x="1" y="14"/>
                    <a:pt x="0" y="19"/>
                  </a:cubicBezTo>
                  <a:cubicBezTo>
                    <a:pt x="4" y="20"/>
                    <a:pt x="5" y="23"/>
                    <a:pt x="9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8" name="Freeform 160"/>
            <p:cNvSpPr>
              <a:spLocks/>
            </p:cNvSpPr>
            <p:nvPr userDrawn="1"/>
          </p:nvSpPr>
          <p:spPr bwMode="auto">
            <a:xfrm>
              <a:off x="2979450" y="4636944"/>
              <a:ext cx="57777" cy="126303"/>
            </a:xfrm>
            <a:custGeom>
              <a:avLst/>
              <a:gdLst>
                <a:gd name="T0" fmla="*/ 8 w 18"/>
                <a:gd name="T1" fmla="*/ 25 h 40"/>
                <a:gd name="T2" fmla="*/ 6 w 18"/>
                <a:gd name="T3" fmla="*/ 0 h 40"/>
                <a:gd name="T4" fmla="*/ 0 w 18"/>
                <a:gd name="T5" fmla="*/ 18 h 40"/>
                <a:gd name="T6" fmla="*/ 6 w 18"/>
                <a:gd name="T7" fmla="*/ 40 h 40"/>
                <a:gd name="T8" fmla="*/ 14 w 18"/>
                <a:gd name="T9" fmla="*/ 40 h 40"/>
                <a:gd name="T10" fmla="*/ 8 w 18"/>
                <a:gd name="T11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0">
                  <a:moveTo>
                    <a:pt x="8" y="25"/>
                  </a:moveTo>
                  <a:cubicBezTo>
                    <a:pt x="7" y="19"/>
                    <a:pt x="14" y="6"/>
                    <a:pt x="6" y="0"/>
                  </a:cubicBezTo>
                  <a:cubicBezTo>
                    <a:pt x="3" y="12"/>
                    <a:pt x="14" y="21"/>
                    <a:pt x="0" y="18"/>
                  </a:cubicBezTo>
                  <a:cubicBezTo>
                    <a:pt x="1" y="31"/>
                    <a:pt x="12" y="25"/>
                    <a:pt x="6" y="40"/>
                  </a:cubicBezTo>
                  <a:cubicBezTo>
                    <a:pt x="8" y="40"/>
                    <a:pt x="11" y="40"/>
                    <a:pt x="14" y="40"/>
                  </a:cubicBezTo>
                  <a:cubicBezTo>
                    <a:pt x="18" y="31"/>
                    <a:pt x="9" y="32"/>
                    <a:pt x="8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9" name="Freeform 161"/>
            <p:cNvSpPr>
              <a:spLocks/>
            </p:cNvSpPr>
            <p:nvPr userDrawn="1"/>
          </p:nvSpPr>
          <p:spPr bwMode="auto">
            <a:xfrm>
              <a:off x="3046632" y="4667848"/>
              <a:ext cx="91368" cy="118241"/>
            </a:xfrm>
            <a:custGeom>
              <a:avLst/>
              <a:gdLst>
                <a:gd name="T0" fmla="*/ 25 w 29"/>
                <a:gd name="T1" fmla="*/ 19 h 37"/>
                <a:gd name="T2" fmla="*/ 9 w 29"/>
                <a:gd name="T3" fmla="*/ 15 h 37"/>
                <a:gd name="T4" fmla="*/ 1 w 29"/>
                <a:gd name="T5" fmla="*/ 23 h 37"/>
                <a:gd name="T6" fmla="*/ 11 w 29"/>
                <a:gd name="T7" fmla="*/ 34 h 37"/>
                <a:gd name="T8" fmla="*/ 17 w 29"/>
                <a:gd name="T9" fmla="*/ 27 h 37"/>
                <a:gd name="T10" fmla="*/ 25 w 29"/>
                <a:gd name="T11" fmla="*/ 30 h 37"/>
                <a:gd name="T12" fmla="*/ 25 w 29"/>
                <a:gd name="T13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37">
                  <a:moveTo>
                    <a:pt x="25" y="19"/>
                  </a:moveTo>
                  <a:cubicBezTo>
                    <a:pt x="19" y="36"/>
                    <a:pt x="14" y="0"/>
                    <a:pt x="9" y="15"/>
                  </a:cubicBezTo>
                  <a:cubicBezTo>
                    <a:pt x="17" y="23"/>
                    <a:pt x="0" y="9"/>
                    <a:pt x="1" y="23"/>
                  </a:cubicBezTo>
                  <a:cubicBezTo>
                    <a:pt x="8" y="22"/>
                    <a:pt x="3" y="37"/>
                    <a:pt x="11" y="34"/>
                  </a:cubicBezTo>
                  <a:cubicBezTo>
                    <a:pt x="15" y="34"/>
                    <a:pt x="14" y="28"/>
                    <a:pt x="17" y="27"/>
                  </a:cubicBezTo>
                  <a:cubicBezTo>
                    <a:pt x="17" y="31"/>
                    <a:pt x="21" y="31"/>
                    <a:pt x="25" y="30"/>
                  </a:cubicBezTo>
                  <a:cubicBezTo>
                    <a:pt x="24" y="24"/>
                    <a:pt x="29" y="21"/>
                    <a:pt x="2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0" name="Freeform 162"/>
            <p:cNvSpPr>
              <a:spLocks/>
            </p:cNvSpPr>
            <p:nvPr userDrawn="1"/>
          </p:nvSpPr>
          <p:spPr bwMode="auto">
            <a:xfrm>
              <a:off x="3191747" y="4753841"/>
              <a:ext cx="79275" cy="67183"/>
            </a:xfrm>
            <a:custGeom>
              <a:avLst/>
              <a:gdLst>
                <a:gd name="T0" fmla="*/ 0 w 25"/>
                <a:gd name="T1" fmla="*/ 11 h 21"/>
                <a:gd name="T2" fmla="*/ 14 w 25"/>
                <a:gd name="T3" fmla="*/ 18 h 21"/>
                <a:gd name="T4" fmla="*/ 25 w 25"/>
                <a:gd name="T5" fmla="*/ 7 h 21"/>
                <a:gd name="T6" fmla="*/ 14 w 25"/>
                <a:gd name="T7" fmla="*/ 11 h 21"/>
                <a:gd name="T8" fmla="*/ 0 w 25"/>
                <a:gd name="T9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1">
                  <a:moveTo>
                    <a:pt x="0" y="11"/>
                  </a:moveTo>
                  <a:cubicBezTo>
                    <a:pt x="9" y="8"/>
                    <a:pt x="6" y="21"/>
                    <a:pt x="14" y="18"/>
                  </a:cubicBezTo>
                  <a:cubicBezTo>
                    <a:pt x="18" y="14"/>
                    <a:pt x="22" y="12"/>
                    <a:pt x="25" y="7"/>
                  </a:cubicBezTo>
                  <a:cubicBezTo>
                    <a:pt x="20" y="7"/>
                    <a:pt x="19" y="11"/>
                    <a:pt x="14" y="11"/>
                  </a:cubicBezTo>
                  <a:cubicBezTo>
                    <a:pt x="11" y="11"/>
                    <a:pt x="2" y="0"/>
                    <a:pt x="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1" name="Freeform 163"/>
            <p:cNvSpPr>
              <a:spLocks/>
            </p:cNvSpPr>
            <p:nvPr userDrawn="1"/>
          </p:nvSpPr>
          <p:spPr bwMode="auto">
            <a:xfrm>
              <a:off x="3030508" y="3239546"/>
              <a:ext cx="69870" cy="64495"/>
            </a:xfrm>
            <a:custGeom>
              <a:avLst/>
              <a:gdLst>
                <a:gd name="T0" fmla="*/ 19 w 22"/>
                <a:gd name="T1" fmla="*/ 0 h 20"/>
                <a:gd name="T2" fmla="*/ 3 w 22"/>
                <a:gd name="T3" fmla="*/ 0 h 20"/>
                <a:gd name="T4" fmla="*/ 0 w 22"/>
                <a:gd name="T5" fmla="*/ 11 h 20"/>
                <a:gd name="T6" fmla="*/ 22 w 22"/>
                <a:gd name="T7" fmla="*/ 18 h 20"/>
                <a:gd name="T8" fmla="*/ 19 w 22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0">
                  <a:moveTo>
                    <a:pt x="19" y="0"/>
                  </a:moveTo>
                  <a:cubicBezTo>
                    <a:pt x="14" y="0"/>
                    <a:pt x="9" y="0"/>
                    <a:pt x="3" y="0"/>
                  </a:cubicBezTo>
                  <a:cubicBezTo>
                    <a:pt x="3" y="5"/>
                    <a:pt x="2" y="8"/>
                    <a:pt x="0" y="11"/>
                  </a:cubicBezTo>
                  <a:cubicBezTo>
                    <a:pt x="6" y="15"/>
                    <a:pt x="11" y="20"/>
                    <a:pt x="22" y="18"/>
                  </a:cubicBezTo>
                  <a:cubicBezTo>
                    <a:pt x="21" y="5"/>
                    <a:pt x="15" y="13"/>
                    <a:pt x="1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2" name="Freeform 164"/>
            <p:cNvSpPr>
              <a:spLocks/>
            </p:cNvSpPr>
            <p:nvPr userDrawn="1"/>
          </p:nvSpPr>
          <p:spPr bwMode="auto">
            <a:xfrm>
              <a:off x="3116502" y="4325216"/>
              <a:ext cx="44341" cy="64495"/>
            </a:xfrm>
            <a:custGeom>
              <a:avLst/>
              <a:gdLst>
                <a:gd name="T0" fmla="*/ 6 w 14"/>
                <a:gd name="T1" fmla="*/ 1 h 20"/>
                <a:gd name="T2" fmla="*/ 3 w 14"/>
                <a:gd name="T3" fmla="*/ 20 h 20"/>
                <a:gd name="T4" fmla="*/ 14 w 14"/>
                <a:gd name="T5" fmla="*/ 20 h 20"/>
                <a:gd name="T6" fmla="*/ 6 w 14"/>
                <a:gd name="T7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0">
                  <a:moveTo>
                    <a:pt x="6" y="1"/>
                  </a:moveTo>
                  <a:cubicBezTo>
                    <a:pt x="0" y="9"/>
                    <a:pt x="8" y="13"/>
                    <a:pt x="3" y="20"/>
                  </a:cubicBezTo>
                  <a:cubicBezTo>
                    <a:pt x="7" y="20"/>
                    <a:pt x="10" y="20"/>
                    <a:pt x="14" y="20"/>
                  </a:cubicBezTo>
                  <a:cubicBezTo>
                    <a:pt x="14" y="9"/>
                    <a:pt x="14" y="0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3" name="Freeform 165"/>
            <p:cNvSpPr>
              <a:spLocks/>
            </p:cNvSpPr>
            <p:nvPr userDrawn="1"/>
          </p:nvSpPr>
          <p:spPr bwMode="auto">
            <a:xfrm>
              <a:off x="7714479" y="2323175"/>
              <a:ext cx="4031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4" name="Freeform 166"/>
            <p:cNvSpPr>
              <a:spLocks/>
            </p:cNvSpPr>
            <p:nvPr userDrawn="1"/>
          </p:nvSpPr>
          <p:spPr bwMode="auto">
            <a:xfrm>
              <a:off x="2783277" y="4115607"/>
              <a:ext cx="56433" cy="51059"/>
            </a:xfrm>
            <a:custGeom>
              <a:avLst/>
              <a:gdLst>
                <a:gd name="T0" fmla="*/ 11 w 18"/>
                <a:gd name="T1" fmla="*/ 8 h 16"/>
                <a:gd name="T2" fmla="*/ 14 w 18"/>
                <a:gd name="T3" fmla="*/ 16 h 16"/>
                <a:gd name="T4" fmla="*/ 6 w 18"/>
                <a:gd name="T5" fmla="*/ 5 h 16"/>
                <a:gd name="T6" fmla="*/ 6 w 18"/>
                <a:gd name="T7" fmla="*/ 1 h 16"/>
                <a:gd name="T8" fmla="*/ 0 w 18"/>
                <a:gd name="T9" fmla="*/ 1 h 16"/>
                <a:gd name="T10" fmla="*/ 11 w 1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6">
                  <a:moveTo>
                    <a:pt x="11" y="8"/>
                  </a:moveTo>
                  <a:cubicBezTo>
                    <a:pt x="12" y="11"/>
                    <a:pt x="11" y="16"/>
                    <a:pt x="14" y="16"/>
                  </a:cubicBezTo>
                  <a:cubicBezTo>
                    <a:pt x="18" y="2"/>
                    <a:pt x="9" y="7"/>
                    <a:pt x="6" y="5"/>
                  </a:cubicBezTo>
                  <a:cubicBezTo>
                    <a:pt x="5" y="4"/>
                    <a:pt x="6" y="1"/>
                    <a:pt x="6" y="1"/>
                  </a:cubicBezTo>
                  <a:cubicBezTo>
                    <a:pt x="5" y="0"/>
                    <a:pt x="1" y="2"/>
                    <a:pt x="0" y="1"/>
                  </a:cubicBezTo>
                  <a:cubicBezTo>
                    <a:pt x="2" y="6"/>
                    <a:pt x="6" y="8"/>
                    <a:pt x="1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5" name="Freeform 167"/>
            <p:cNvSpPr>
              <a:spLocks/>
            </p:cNvSpPr>
            <p:nvPr userDrawn="1"/>
          </p:nvSpPr>
          <p:spPr bwMode="auto">
            <a:xfrm>
              <a:off x="3414793" y="2509943"/>
              <a:ext cx="2687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6" name="Freeform 168"/>
            <p:cNvSpPr>
              <a:spLocks noEditPoints="1"/>
            </p:cNvSpPr>
            <p:nvPr userDrawn="1"/>
          </p:nvSpPr>
          <p:spPr bwMode="auto">
            <a:xfrm>
              <a:off x="2541419" y="1687628"/>
              <a:ext cx="6608080" cy="4310435"/>
            </a:xfrm>
            <a:custGeom>
              <a:avLst/>
              <a:gdLst>
                <a:gd name="T0" fmla="*/ 1924 w 2082"/>
                <a:gd name="T1" fmla="*/ 100 h 1358"/>
                <a:gd name="T2" fmla="*/ 1692 w 2082"/>
                <a:gd name="T3" fmla="*/ 41 h 1358"/>
                <a:gd name="T4" fmla="*/ 1606 w 2082"/>
                <a:gd name="T5" fmla="*/ 174 h 1358"/>
                <a:gd name="T6" fmla="*/ 1364 w 2082"/>
                <a:gd name="T7" fmla="*/ 145 h 1358"/>
                <a:gd name="T8" fmla="*/ 1063 w 2082"/>
                <a:gd name="T9" fmla="*/ 100 h 1358"/>
                <a:gd name="T10" fmla="*/ 738 w 2082"/>
                <a:gd name="T11" fmla="*/ 78 h 1358"/>
                <a:gd name="T12" fmla="*/ 356 w 2082"/>
                <a:gd name="T13" fmla="*/ 22 h 1358"/>
                <a:gd name="T14" fmla="*/ 17 w 2082"/>
                <a:gd name="T15" fmla="*/ 333 h 1358"/>
                <a:gd name="T16" fmla="*/ 36 w 2082"/>
                <a:gd name="T17" fmla="*/ 751 h 1358"/>
                <a:gd name="T18" fmla="*/ 176 w 2082"/>
                <a:gd name="T19" fmla="*/ 662 h 1358"/>
                <a:gd name="T20" fmla="*/ 243 w 2082"/>
                <a:gd name="T21" fmla="*/ 884 h 1358"/>
                <a:gd name="T22" fmla="*/ 698 w 2082"/>
                <a:gd name="T23" fmla="*/ 1210 h 1358"/>
                <a:gd name="T24" fmla="*/ 1101 w 2082"/>
                <a:gd name="T25" fmla="*/ 1287 h 1358"/>
                <a:gd name="T26" fmla="*/ 1480 w 2082"/>
                <a:gd name="T27" fmla="*/ 1317 h 1358"/>
                <a:gd name="T28" fmla="*/ 1881 w 2082"/>
                <a:gd name="T29" fmla="*/ 1350 h 1358"/>
                <a:gd name="T30" fmla="*/ 189 w 2082"/>
                <a:gd name="T31" fmla="*/ 644 h 1358"/>
                <a:gd name="T32" fmla="*/ 146 w 2082"/>
                <a:gd name="T33" fmla="*/ 403 h 1358"/>
                <a:gd name="T34" fmla="*/ 111 w 2082"/>
                <a:gd name="T35" fmla="*/ 599 h 1358"/>
                <a:gd name="T36" fmla="*/ 135 w 2082"/>
                <a:gd name="T37" fmla="*/ 485 h 1358"/>
                <a:gd name="T38" fmla="*/ 165 w 2082"/>
                <a:gd name="T39" fmla="*/ 267 h 1358"/>
                <a:gd name="T40" fmla="*/ 74 w 2082"/>
                <a:gd name="T41" fmla="*/ 218 h 1358"/>
                <a:gd name="T42" fmla="*/ 130 w 2082"/>
                <a:gd name="T43" fmla="*/ 659 h 1358"/>
                <a:gd name="T44" fmla="*/ 157 w 2082"/>
                <a:gd name="T45" fmla="*/ 448 h 1358"/>
                <a:gd name="T46" fmla="*/ 447 w 2082"/>
                <a:gd name="T47" fmla="*/ 648 h 1358"/>
                <a:gd name="T48" fmla="*/ 353 w 2082"/>
                <a:gd name="T49" fmla="*/ 755 h 1358"/>
                <a:gd name="T50" fmla="*/ 267 w 2082"/>
                <a:gd name="T51" fmla="*/ 537 h 1358"/>
                <a:gd name="T52" fmla="*/ 246 w 2082"/>
                <a:gd name="T53" fmla="*/ 448 h 1358"/>
                <a:gd name="T54" fmla="*/ 386 w 2082"/>
                <a:gd name="T55" fmla="*/ 307 h 1358"/>
                <a:gd name="T56" fmla="*/ 375 w 2082"/>
                <a:gd name="T57" fmla="*/ 311 h 1358"/>
                <a:gd name="T58" fmla="*/ 321 w 2082"/>
                <a:gd name="T59" fmla="*/ 570 h 1358"/>
                <a:gd name="T60" fmla="*/ 316 w 2082"/>
                <a:gd name="T61" fmla="*/ 385 h 1358"/>
                <a:gd name="T62" fmla="*/ 294 w 2082"/>
                <a:gd name="T63" fmla="*/ 699 h 1358"/>
                <a:gd name="T64" fmla="*/ 351 w 2082"/>
                <a:gd name="T65" fmla="*/ 651 h 1358"/>
                <a:gd name="T66" fmla="*/ 412 w 2082"/>
                <a:gd name="T67" fmla="*/ 614 h 1358"/>
                <a:gd name="T68" fmla="*/ 353 w 2082"/>
                <a:gd name="T69" fmla="*/ 307 h 1358"/>
                <a:gd name="T70" fmla="*/ 275 w 2082"/>
                <a:gd name="T71" fmla="*/ 178 h 1358"/>
                <a:gd name="T72" fmla="*/ 230 w 2082"/>
                <a:gd name="T73" fmla="*/ 163 h 1358"/>
                <a:gd name="T74" fmla="*/ 254 w 2082"/>
                <a:gd name="T75" fmla="*/ 670 h 1358"/>
                <a:gd name="T76" fmla="*/ 308 w 2082"/>
                <a:gd name="T77" fmla="*/ 762 h 1358"/>
                <a:gd name="T78" fmla="*/ 496 w 2082"/>
                <a:gd name="T79" fmla="*/ 807 h 1358"/>
                <a:gd name="T80" fmla="*/ 918 w 2082"/>
                <a:gd name="T81" fmla="*/ 1235 h 1358"/>
                <a:gd name="T82" fmla="*/ 1176 w 2082"/>
                <a:gd name="T83" fmla="*/ 1217 h 1358"/>
                <a:gd name="T84" fmla="*/ 1260 w 2082"/>
                <a:gd name="T85" fmla="*/ 237 h 1358"/>
                <a:gd name="T86" fmla="*/ 1319 w 2082"/>
                <a:gd name="T87" fmla="*/ 196 h 1358"/>
                <a:gd name="T88" fmla="*/ 1566 w 2082"/>
                <a:gd name="T89" fmla="*/ 263 h 1358"/>
                <a:gd name="T90" fmla="*/ 1448 w 2082"/>
                <a:gd name="T91" fmla="*/ 167 h 1358"/>
                <a:gd name="T92" fmla="*/ 1367 w 2082"/>
                <a:gd name="T93" fmla="*/ 599 h 1358"/>
                <a:gd name="T94" fmla="*/ 1415 w 2082"/>
                <a:gd name="T95" fmla="*/ 1306 h 1358"/>
                <a:gd name="T96" fmla="*/ 1467 w 2082"/>
                <a:gd name="T97" fmla="*/ 640 h 1358"/>
                <a:gd name="T98" fmla="*/ 1553 w 2082"/>
                <a:gd name="T99" fmla="*/ 1291 h 1358"/>
                <a:gd name="T100" fmla="*/ 2055 w 2082"/>
                <a:gd name="T101" fmla="*/ 562 h 1358"/>
                <a:gd name="T102" fmla="*/ 1996 w 2082"/>
                <a:gd name="T103" fmla="*/ 537 h 1358"/>
                <a:gd name="T104" fmla="*/ 1948 w 2082"/>
                <a:gd name="T105" fmla="*/ 178 h 1358"/>
                <a:gd name="T106" fmla="*/ 1918 w 2082"/>
                <a:gd name="T107" fmla="*/ 71 h 1358"/>
                <a:gd name="T108" fmla="*/ 1840 w 2082"/>
                <a:gd name="T109" fmla="*/ 170 h 1358"/>
                <a:gd name="T110" fmla="*/ 1738 w 2082"/>
                <a:gd name="T111" fmla="*/ 1265 h 1358"/>
                <a:gd name="T112" fmla="*/ 1730 w 2082"/>
                <a:gd name="T113" fmla="*/ 603 h 1358"/>
                <a:gd name="T114" fmla="*/ 1666 w 2082"/>
                <a:gd name="T115" fmla="*/ 215 h 1358"/>
                <a:gd name="T116" fmla="*/ 1746 w 2082"/>
                <a:gd name="T117" fmla="*/ 1295 h 1358"/>
                <a:gd name="T118" fmla="*/ 1811 w 2082"/>
                <a:gd name="T119" fmla="*/ 1254 h 1358"/>
                <a:gd name="T120" fmla="*/ 1848 w 2082"/>
                <a:gd name="T121" fmla="*/ 215 h 1358"/>
                <a:gd name="T122" fmla="*/ 1899 w 2082"/>
                <a:gd name="T123" fmla="*/ 1199 h 1358"/>
                <a:gd name="T124" fmla="*/ 2039 w 2082"/>
                <a:gd name="T125" fmla="*/ 1306 h 1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82" h="1358">
                  <a:moveTo>
                    <a:pt x="2050" y="100"/>
                  </a:moveTo>
                  <a:cubicBezTo>
                    <a:pt x="2048" y="103"/>
                    <a:pt x="2053" y="115"/>
                    <a:pt x="2045" y="119"/>
                  </a:cubicBezTo>
                  <a:cubicBezTo>
                    <a:pt x="2041" y="120"/>
                    <a:pt x="2037" y="118"/>
                    <a:pt x="2034" y="119"/>
                  </a:cubicBezTo>
                  <a:cubicBezTo>
                    <a:pt x="2032" y="131"/>
                    <a:pt x="2045" y="123"/>
                    <a:pt x="2042" y="137"/>
                  </a:cubicBezTo>
                  <a:cubicBezTo>
                    <a:pt x="2047" y="138"/>
                    <a:pt x="2047" y="132"/>
                    <a:pt x="2050" y="130"/>
                  </a:cubicBezTo>
                  <a:cubicBezTo>
                    <a:pt x="2050" y="133"/>
                    <a:pt x="2050" y="137"/>
                    <a:pt x="2050" y="141"/>
                  </a:cubicBezTo>
                  <a:cubicBezTo>
                    <a:pt x="2057" y="143"/>
                    <a:pt x="2071" y="136"/>
                    <a:pt x="2074" y="145"/>
                  </a:cubicBezTo>
                  <a:cubicBezTo>
                    <a:pt x="2074" y="147"/>
                    <a:pt x="2074" y="152"/>
                    <a:pt x="2072" y="152"/>
                  </a:cubicBezTo>
                  <a:cubicBezTo>
                    <a:pt x="2067" y="151"/>
                    <a:pt x="2062" y="141"/>
                    <a:pt x="2058" y="145"/>
                  </a:cubicBezTo>
                  <a:cubicBezTo>
                    <a:pt x="2057" y="146"/>
                    <a:pt x="2059" y="153"/>
                    <a:pt x="2055" y="152"/>
                  </a:cubicBezTo>
                  <a:cubicBezTo>
                    <a:pt x="2053" y="144"/>
                    <a:pt x="2049" y="139"/>
                    <a:pt x="2039" y="141"/>
                  </a:cubicBezTo>
                  <a:cubicBezTo>
                    <a:pt x="2041" y="153"/>
                    <a:pt x="2037" y="158"/>
                    <a:pt x="2037" y="167"/>
                  </a:cubicBezTo>
                  <a:cubicBezTo>
                    <a:pt x="2048" y="170"/>
                    <a:pt x="2047" y="157"/>
                    <a:pt x="2053" y="152"/>
                  </a:cubicBezTo>
                  <a:cubicBezTo>
                    <a:pt x="2050" y="162"/>
                    <a:pt x="2057" y="162"/>
                    <a:pt x="2055" y="170"/>
                  </a:cubicBezTo>
                  <a:cubicBezTo>
                    <a:pt x="2059" y="171"/>
                    <a:pt x="2062" y="171"/>
                    <a:pt x="2061" y="178"/>
                  </a:cubicBezTo>
                  <a:cubicBezTo>
                    <a:pt x="2057" y="172"/>
                    <a:pt x="2050" y="170"/>
                    <a:pt x="2045" y="167"/>
                  </a:cubicBezTo>
                  <a:cubicBezTo>
                    <a:pt x="2042" y="172"/>
                    <a:pt x="2043" y="181"/>
                    <a:pt x="2034" y="178"/>
                  </a:cubicBezTo>
                  <a:cubicBezTo>
                    <a:pt x="2038" y="165"/>
                    <a:pt x="2033" y="151"/>
                    <a:pt x="2037" y="137"/>
                  </a:cubicBezTo>
                  <a:cubicBezTo>
                    <a:pt x="2032" y="137"/>
                    <a:pt x="2034" y="128"/>
                    <a:pt x="2029" y="130"/>
                  </a:cubicBezTo>
                  <a:cubicBezTo>
                    <a:pt x="2028" y="137"/>
                    <a:pt x="2032" y="137"/>
                    <a:pt x="2034" y="141"/>
                  </a:cubicBezTo>
                  <a:cubicBezTo>
                    <a:pt x="2028" y="144"/>
                    <a:pt x="2032" y="154"/>
                    <a:pt x="2031" y="159"/>
                  </a:cubicBezTo>
                  <a:cubicBezTo>
                    <a:pt x="2031" y="160"/>
                    <a:pt x="2029" y="160"/>
                    <a:pt x="2029" y="163"/>
                  </a:cubicBezTo>
                  <a:cubicBezTo>
                    <a:pt x="2028" y="168"/>
                    <a:pt x="2028" y="171"/>
                    <a:pt x="2026" y="174"/>
                  </a:cubicBezTo>
                  <a:cubicBezTo>
                    <a:pt x="2023" y="180"/>
                    <a:pt x="2024" y="190"/>
                    <a:pt x="2020" y="193"/>
                  </a:cubicBezTo>
                  <a:cubicBezTo>
                    <a:pt x="2013" y="185"/>
                    <a:pt x="2023" y="171"/>
                    <a:pt x="2026" y="167"/>
                  </a:cubicBezTo>
                  <a:cubicBezTo>
                    <a:pt x="2027" y="155"/>
                    <a:pt x="2019" y="157"/>
                    <a:pt x="2018" y="148"/>
                  </a:cubicBezTo>
                  <a:cubicBezTo>
                    <a:pt x="2021" y="148"/>
                    <a:pt x="2022" y="153"/>
                    <a:pt x="2026" y="152"/>
                  </a:cubicBezTo>
                  <a:cubicBezTo>
                    <a:pt x="2029" y="152"/>
                    <a:pt x="2029" y="142"/>
                    <a:pt x="2026" y="141"/>
                  </a:cubicBezTo>
                  <a:cubicBezTo>
                    <a:pt x="2026" y="156"/>
                    <a:pt x="2022" y="141"/>
                    <a:pt x="2020" y="137"/>
                  </a:cubicBezTo>
                  <a:cubicBezTo>
                    <a:pt x="2012" y="140"/>
                    <a:pt x="2015" y="140"/>
                    <a:pt x="2007" y="137"/>
                  </a:cubicBezTo>
                  <a:cubicBezTo>
                    <a:pt x="2000" y="144"/>
                    <a:pt x="2009" y="172"/>
                    <a:pt x="2002" y="178"/>
                  </a:cubicBezTo>
                  <a:cubicBezTo>
                    <a:pt x="1999" y="168"/>
                    <a:pt x="1995" y="172"/>
                    <a:pt x="1999" y="167"/>
                  </a:cubicBezTo>
                  <a:cubicBezTo>
                    <a:pt x="2001" y="164"/>
                    <a:pt x="1990" y="162"/>
                    <a:pt x="1991" y="159"/>
                  </a:cubicBezTo>
                  <a:cubicBezTo>
                    <a:pt x="1990" y="153"/>
                    <a:pt x="1995" y="150"/>
                    <a:pt x="1991" y="148"/>
                  </a:cubicBezTo>
                  <a:cubicBezTo>
                    <a:pt x="1991" y="150"/>
                    <a:pt x="1989" y="152"/>
                    <a:pt x="1988" y="148"/>
                  </a:cubicBezTo>
                  <a:cubicBezTo>
                    <a:pt x="1994" y="147"/>
                    <a:pt x="1995" y="141"/>
                    <a:pt x="1999" y="137"/>
                  </a:cubicBezTo>
                  <a:cubicBezTo>
                    <a:pt x="2000" y="143"/>
                    <a:pt x="2002" y="136"/>
                    <a:pt x="2007" y="137"/>
                  </a:cubicBezTo>
                  <a:cubicBezTo>
                    <a:pt x="2009" y="134"/>
                    <a:pt x="2008" y="129"/>
                    <a:pt x="2010" y="126"/>
                  </a:cubicBezTo>
                  <a:cubicBezTo>
                    <a:pt x="2010" y="126"/>
                    <a:pt x="2012" y="126"/>
                    <a:pt x="2012" y="126"/>
                  </a:cubicBezTo>
                  <a:cubicBezTo>
                    <a:pt x="2013" y="121"/>
                    <a:pt x="2010" y="118"/>
                    <a:pt x="2010" y="115"/>
                  </a:cubicBezTo>
                  <a:cubicBezTo>
                    <a:pt x="2010" y="115"/>
                    <a:pt x="2013" y="114"/>
                    <a:pt x="2012" y="111"/>
                  </a:cubicBezTo>
                  <a:cubicBezTo>
                    <a:pt x="2012" y="111"/>
                    <a:pt x="2007" y="109"/>
                    <a:pt x="2007" y="108"/>
                  </a:cubicBezTo>
                  <a:cubicBezTo>
                    <a:pt x="2007" y="113"/>
                    <a:pt x="2007" y="120"/>
                    <a:pt x="2002" y="119"/>
                  </a:cubicBezTo>
                  <a:cubicBezTo>
                    <a:pt x="2001" y="112"/>
                    <a:pt x="2005" y="111"/>
                    <a:pt x="2004" y="104"/>
                  </a:cubicBezTo>
                  <a:cubicBezTo>
                    <a:pt x="2001" y="104"/>
                    <a:pt x="1998" y="106"/>
                    <a:pt x="1996" y="108"/>
                  </a:cubicBezTo>
                  <a:cubicBezTo>
                    <a:pt x="2003" y="102"/>
                    <a:pt x="1993" y="95"/>
                    <a:pt x="1988" y="96"/>
                  </a:cubicBezTo>
                  <a:cubicBezTo>
                    <a:pt x="1985" y="98"/>
                    <a:pt x="1986" y="102"/>
                    <a:pt x="1983" y="104"/>
                  </a:cubicBezTo>
                  <a:cubicBezTo>
                    <a:pt x="1983" y="99"/>
                    <a:pt x="1984" y="96"/>
                    <a:pt x="1986" y="93"/>
                  </a:cubicBezTo>
                  <a:cubicBezTo>
                    <a:pt x="1982" y="93"/>
                    <a:pt x="1978" y="93"/>
                    <a:pt x="1975" y="93"/>
                  </a:cubicBezTo>
                  <a:cubicBezTo>
                    <a:pt x="1974" y="97"/>
                    <a:pt x="1975" y="103"/>
                    <a:pt x="1972" y="104"/>
                  </a:cubicBezTo>
                  <a:cubicBezTo>
                    <a:pt x="1969" y="104"/>
                    <a:pt x="1970" y="97"/>
                    <a:pt x="1967" y="96"/>
                  </a:cubicBezTo>
                  <a:cubicBezTo>
                    <a:pt x="1967" y="97"/>
                    <a:pt x="1960" y="104"/>
                    <a:pt x="1956" y="100"/>
                  </a:cubicBezTo>
                  <a:cubicBezTo>
                    <a:pt x="1955" y="90"/>
                    <a:pt x="1948" y="87"/>
                    <a:pt x="1940" y="85"/>
                  </a:cubicBezTo>
                  <a:cubicBezTo>
                    <a:pt x="1939" y="93"/>
                    <a:pt x="1943" y="93"/>
                    <a:pt x="1945" y="96"/>
                  </a:cubicBezTo>
                  <a:cubicBezTo>
                    <a:pt x="1936" y="90"/>
                    <a:pt x="1937" y="97"/>
                    <a:pt x="1932" y="104"/>
                  </a:cubicBezTo>
                  <a:cubicBezTo>
                    <a:pt x="1930" y="93"/>
                    <a:pt x="1936" y="93"/>
                    <a:pt x="1934" y="82"/>
                  </a:cubicBezTo>
                  <a:cubicBezTo>
                    <a:pt x="1924" y="83"/>
                    <a:pt x="1936" y="98"/>
                    <a:pt x="1924" y="100"/>
                  </a:cubicBezTo>
                  <a:cubicBezTo>
                    <a:pt x="1928" y="88"/>
                    <a:pt x="1922" y="81"/>
                    <a:pt x="1924" y="63"/>
                  </a:cubicBezTo>
                  <a:cubicBezTo>
                    <a:pt x="1920" y="64"/>
                    <a:pt x="1915" y="60"/>
                    <a:pt x="1916" y="56"/>
                  </a:cubicBezTo>
                  <a:cubicBezTo>
                    <a:pt x="1916" y="56"/>
                    <a:pt x="1920" y="54"/>
                    <a:pt x="1918" y="52"/>
                  </a:cubicBezTo>
                  <a:cubicBezTo>
                    <a:pt x="1914" y="48"/>
                    <a:pt x="1902" y="50"/>
                    <a:pt x="1905" y="52"/>
                  </a:cubicBezTo>
                  <a:cubicBezTo>
                    <a:pt x="1908" y="54"/>
                    <a:pt x="1910" y="57"/>
                    <a:pt x="1910" y="63"/>
                  </a:cubicBezTo>
                  <a:cubicBezTo>
                    <a:pt x="1905" y="59"/>
                    <a:pt x="1897" y="69"/>
                    <a:pt x="1905" y="71"/>
                  </a:cubicBezTo>
                  <a:cubicBezTo>
                    <a:pt x="1905" y="67"/>
                    <a:pt x="1910" y="66"/>
                    <a:pt x="1910" y="71"/>
                  </a:cubicBezTo>
                  <a:cubicBezTo>
                    <a:pt x="1909" y="76"/>
                    <a:pt x="1906" y="80"/>
                    <a:pt x="1902" y="82"/>
                  </a:cubicBezTo>
                  <a:cubicBezTo>
                    <a:pt x="1896" y="73"/>
                    <a:pt x="1893" y="76"/>
                    <a:pt x="1886" y="82"/>
                  </a:cubicBezTo>
                  <a:cubicBezTo>
                    <a:pt x="1884" y="95"/>
                    <a:pt x="1889" y="100"/>
                    <a:pt x="1891" y="108"/>
                  </a:cubicBezTo>
                  <a:cubicBezTo>
                    <a:pt x="1888" y="112"/>
                    <a:pt x="1881" y="109"/>
                    <a:pt x="1878" y="104"/>
                  </a:cubicBezTo>
                  <a:cubicBezTo>
                    <a:pt x="1881" y="102"/>
                    <a:pt x="1884" y="99"/>
                    <a:pt x="1883" y="93"/>
                  </a:cubicBezTo>
                  <a:cubicBezTo>
                    <a:pt x="1877" y="93"/>
                    <a:pt x="1875" y="100"/>
                    <a:pt x="1873" y="89"/>
                  </a:cubicBezTo>
                  <a:cubicBezTo>
                    <a:pt x="1871" y="83"/>
                    <a:pt x="1876" y="67"/>
                    <a:pt x="1870" y="67"/>
                  </a:cubicBezTo>
                  <a:cubicBezTo>
                    <a:pt x="1870" y="84"/>
                    <a:pt x="1861" y="97"/>
                    <a:pt x="1862" y="111"/>
                  </a:cubicBezTo>
                  <a:cubicBezTo>
                    <a:pt x="1862" y="119"/>
                    <a:pt x="1874" y="123"/>
                    <a:pt x="1865" y="130"/>
                  </a:cubicBezTo>
                  <a:cubicBezTo>
                    <a:pt x="1854" y="127"/>
                    <a:pt x="1867" y="117"/>
                    <a:pt x="1856" y="115"/>
                  </a:cubicBezTo>
                  <a:cubicBezTo>
                    <a:pt x="1852" y="121"/>
                    <a:pt x="1857" y="147"/>
                    <a:pt x="1848" y="156"/>
                  </a:cubicBezTo>
                  <a:cubicBezTo>
                    <a:pt x="1850" y="144"/>
                    <a:pt x="1844" y="145"/>
                    <a:pt x="1846" y="133"/>
                  </a:cubicBezTo>
                  <a:cubicBezTo>
                    <a:pt x="1855" y="137"/>
                    <a:pt x="1850" y="122"/>
                    <a:pt x="1851" y="115"/>
                  </a:cubicBezTo>
                  <a:cubicBezTo>
                    <a:pt x="1842" y="117"/>
                    <a:pt x="1840" y="91"/>
                    <a:pt x="1846" y="85"/>
                  </a:cubicBezTo>
                  <a:cubicBezTo>
                    <a:pt x="1849" y="86"/>
                    <a:pt x="1852" y="105"/>
                    <a:pt x="1856" y="93"/>
                  </a:cubicBezTo>
                  <a:cubicBezTo>
                    <a:pt x="1850" y="85"/>
                    <a:pt x="1863" y="96"/>
                    <a:pt x="1865" y="89"/>
                  </a:cubicBezTo>
                  <a:cubicBezTo>
                    <a:pt x="1865" y="79"/>
                    <a:pt x="1863" y="68"/>
                    <a:pt x="1867" y="63"/>
                  </a:cubicBezTo>
                  <a:cubicBezTo>
                    <a:pt x="1862" y="62"/>
                    <a:pt x="1861" y="67"/>
                    <a:pt x="1856" y="67"/>
                  </a:cubicBezTo>
                  <a:cubicBezTo>
                    <a:pt x="1853" y="67"/>
                    <a:pt x="1852" y="59"/>
                    <a:pt x="1848" y="60"/>
                  </a:cubicBezTo>
                  <a:cubicBezTo>
                    <a:pt x="1847" y="60"/>
                    <a:pt x="1847" y="65"/>
                    <a:pt x="1843" y="63"/>
                  </a:cubicBezTo>
                  <a:cubicBezTo>
                    <a:pt x="1843" y="63"/>
                    <a:pt x="1843" y="57"/>
                    <a:pt x="1843" y="56"/>
                  </a:cubicBezTo>
                  <a:cubicBezTo>
                    <a:pt x="1837" y="57"/>
                    <a:pt x="1832" y="60"/>
                    <a:pt x="1827" y="63"/>
                  </a:cubicBezTo>
                  <a:cubicBezTo>
                    <a:pt x="1827" y="57"/>
                    <a:pt x="1827" y="50"/>
                    <a:pt x="1822" y="52"/>
                  </a:cubicBezTo>
                  <a:cubicBezTo>
                    <a:pt x="1821" y="56"/>
                    <a:pt x="1822" y="63"/>
                    <a:pt x="1819" y="63"/>
                  </a:cubicBezTo>
                  <a:cubicBezTo>
                    <a:pt x="1817" y="57"/>
                    <a:pt x="1816" y="65"/>
                    <a:pt x="1813" y="67"/>
                  </a:cubicBezTo>
                  <a:cubicBezTo>
                    <a:pt x="1810" y="55"/>
                    <a:pt x="1818" y="58"/>
                    <a:pt x="1819" y="52"/>
                  </a:cubicBezTo>
                  <a:cubicBezTo>
                    <a:pt x="1810" y="55"/>
                    <a:pt x="1813" y="55"/>
                    <a:pt x="1808" y="48"/>
                  </a:cubicBezTo>
                  <a:cubicBezTo>
                    <a:pt x="1809" y="54"/>
                    <a:pt x="1798" y="61"/>
                    <a:pt x="1797" y="52"/>
                  </a:cubicBezTo>
                  <a:cubicBezTo>
                    <a:pt x="1796" y="44"/>
                    <a:pt x="1808" y="57"/>
                    <a:pt x="1800" y="48"/>
                  </a:cubicBezTo>
                  <a:cubicBezTo>
                    <a:pt x="1798" y="36"/>
                    <a:pt x="1792" y="64"/>
                    <a:pt x="1792" y="48"/>
                  </a:cubicBezTo>
                  <a:cubicBezTo>
                    <a:pt x="1792" y="43"/>
                    <a:pt x="1783" y="41"/>
                    <a:pt x="1778" y="41"/>
                  </a:cubicBezTo>
                  <a:cubicBezTo>
                    <a:pt x="1778" y="45"/>
                    <a:pt x="1779" y="51"/>
                    <a:pt x="1776" y="52"/>
                  </a:cubicBezTo>
                  <a:cubicBezTo>
                    <a:pt x="1778" y="34"/>
                    <a:pt x="1767" y="40"/>
                    <a:pt x="1765" y="41"/>
                  </a:cubicBezTo>
                  <a:cubicBezTo>
                    <a:pt x="1756" y="44"/>
                    <a:pt x="1758" y="34"/>
                    <a:pt x="1752" y="37"/>
                  </a:cubicBezTo>
                  <a:cubicBezTo>
                    <a:pt x="1750" y="38"/>
                    <a:pt x="1752" y="46"/>
                    <a:pt x="1749" y="45"/>
                  </a:cubicBezTo>
                  <a:cubicBezTo>
                    <a:pt x="1748" y="40"/>
                    <a:pt x="1749" y="34"/>
                    <a:pt x="1746" y="34"/>
                  </a:cubicBezTo>
                  <a:cubicBezTo>
                    <a:pt x="1744" y="42"/>
                    <a:pt x="1729" y="44"/>
                    <a:pt x="1727" y="30"/>
                  </a:cubicBezTo>
                  <a:cubicBezTo>
                    <a:pt x="1728" y="24"/>
                    <a:pt x="1734" y="27"/>
                    <a:pt x="1735" y="22"/>
                  </a:cubicBezTo>
                  <a:cubicBezTo>
                    <a:pt x="1735" y="23"/>
                    <a:pt x="1731" y="19"/>
                    <a:pt x="1735" y="19"/>
                  </a:cubicBezTo>
                  <a:cubicBezTo>
                    <a:pt x="1741" y="16"/>
                    <a:pt x="1741" y="27"/>
                    <a:pt x="1744" y="26"/>
                  </a:cubicBezTo>
                  <a:cubicBezTo>
                    <a:pt x="1744" y="26"/>
                    <a:pt x="1749" y="14"/>
                    <a:pt x="1749" y="22"/>
                  </a:cubicBezTo>
                  <a:cubicBezTo>
                    <a:pt x="1749" y="28"/>
                    <a:pt x="1755" y="27"/>
                    <a:pt x="1757" y="30"/>
                  </a:cubicBezTo>
                  <a:cubicBezTo>
                    <a:pt x="1757" y="26"/>
                    <a:pt x="1757" y="19"/>
                    <a:pt x="1760" y="19"/>
                  </a:cubicBezTo>
                  <a:cubicBezTo>
                    <a:pt x="1759" y="25"/>
                    <a:pt x="1763" y="29"/>
                    <a:pt x="1765" y="22"/>
                  </a:cubicBezTo>
                  <a:cubicBezTo>
                    <a:pt x="1751" y="5"/>
                    <a:pt x="1742" y="19"/>
                    <a:pt x="1725" y="11"/>
                  </a:cubicBezTo>
                  <a:cubicBezTo>
                    <a:pt x="1719" y="18"/>
                    <a:pt x="1724" y="25"/>
                    <a:pt x="1725" y="34"/>
                  </a:cubicBezTo>
                  <a:cubicBezTo>
                    <a:pt x="1716" y="39"/>
                    <a:pt x="1713" y="35"/>
                    <a:pt x="1703" y="34"/>
                  </a:cubicBezTo>
                  <a:cubicBezTo>
                    <a:pt x="1703" y="37"/>
                    <a:pt x="1703" y="40"/>
                    <a:pt x="1700" y="41"/>
                  </a:cubicBezTo>
                  <a:cubicBezTo>
                    <a:pt x="1698" y="42"/>
                    <a:pt x="1698" y="38"/>
                    <a:pt x="1698" y="37"/>
                  </a:cubicBezTo>
                  <a:cubicBezTo>
                    <a:pt x="1695" y="36"/>
                    <a:pt x="1694" y="41"/>
                    <a:pt x="1692" y="41"/>
                  </a:cubicBezTo>
                  <a:cubicBezTo>
                    <a:pt x="1693" y="41"/>
                    <a:pt x="1691" y="38"/>
                    <a:pt x="1690" y="37"/>
                  </a:cubicBezTo>
                  <a:cubicBezTo>
                    <a:pt x="1687" y="36"/>
                    <a:pt x="1684" y="38"/>
                    <a:pt x="1682" y="37"/>
                  </a:cubicBezTo>
                  <a:cubicBezTo>
                    <a:pt x="1681" y="40"/>
                    <a:pt x="1682" y="45"/>
                    <a:pt x="1679" y="45"/>
                  </a:cubicBezTo>
                  <a:cubicBezTo>
                    <a:pt x="1676" y="36"/>
                    <a:pt x="1666" y="51"/>
                    <a:pt x="1666" y="34"/>
                  </a:cubicBezTo>
                  <a:cubicBezTo>
                    <a:pt x="1670" y="34"/>
                    <a:pt x="1675" y="34"/>
                    <a:pt x="1679" y="34"/>
                  </a:cubicBezTo>
                  <a:cubicBezTo>
                    <a:pt x="1680" y="18"/>
                    <a:pt x="1672" y="29"/>
                    <a:pt x="1671" y="22"/>
                  </a:cubicBezTo>
                  <a:cubicBezTo>
                    <a:pt x="1673" y="22"/>
                    <a:pt x="1674" y="22"/>
                    <a:pt x="1674" y="19"/>
                  </a:cubicBezTo>
                  <a:cubicBezTo>
                    <a:pt x="1665" y="23"/>
                    <a:pt x="1657" y="20"/>
                    <a:pt x="1652" y="22"/>
                  </a:cubicBezTo>
                  <a:cubicBezTo>
                    <a:pt x="1651" y="23"/>
                    <a:pt x="1648" y="29"/>
                    <a:pt x="1647" y="30"/>
                  </a:cubicBezTo>
                  <a:cubicBezTo>
                    <a:pt x="1644" y="32"/>
                    <a:pt x="1641" y="30"/>
                    <a:pt x="1639" y="34"/>
                  </a:cubicBezTo>
                  <a:cubicBezTo>
                    <a:pt x="1636" y="38"/>
                    <a:pt x="1638" y="46"/>
                    <a:pt x="1636" y="52"/>
                  </a:cubicBezTo>
                  <a:cubicBezTo>
                    <a:pt x="1635" y="55"/>
                    <a:pt x="1629" y="55"/>
                    <a:pt x="1628" y="60"/>
                  </a:cubicBezTo>
                  <a:cubicBezTo>
                    <a:pt x="1640" y="53"/>
                    <a:pt x="1641" y="69"/>
                    <a:pt x="1644" y="71"/>
                  </a:cubicBezTo>
                  <a:cubicBezTo>
                    <a:pt x="1649" y="73"/>
                    <a:pt x="1655" y="66"/>
                    <a:pt x="1660" y="74"/>
                  </a:cubicBezTo>
                  <a:cubicBezTo>
                    <a:pt x="1647" y="75"/>
                    <a:pt x="1648" y="95"/>
                    <a:pt x="1633" y="93"/>
                  </a:cubicBezTo>
                  <a:cubicBezTo>
                    <a:pt x="1633" y="98"/>
                    <a:pt x="1633" y="103"/>
                    <a:pt x="1633" y="108"/>
                  </a:cubicBezTo>
                  <a:cubicBezTo>
                    <a:pt x="1637" y="108"/>
                    <a:pt x="1643" y="106"/>
                    <a:pt x="1644" y="111"/>
                  </a:cubicBezTo>
                  <a:cubicBezTo>
                    <a:pt x="1644" y="115"/>
                    <a:pt x="1646" y="116"/>
                    <a:pt x="1647" y="119"/>
                  </a:cubicBezTo>
                  <a:cubicBezTo>
                    <a:pt x="1642" y="122"/>
                    <a:pt x="1637" y="125"/>
                    <a:pt x="1631" y="126"/>
                  </a:cubicBezTo>
                  <a:cubicBezTo>
                    <a:pt x="1629" y="139"/>
                    <a:pt x="1641" y="132"/>
                    <a:pt x="1641" y="141"/>
                  </a:cubicBezTo>
                  <a:cubicBezTo>
                    <a:pt x="1649" y="136"/>
                    <a:pt x="1647" y="141"/>
                    <a:pt x="1652" y="141"/>
                  </a:cubicBezTo>
                  <a:cubicBezTo>
                    <a:pt x="1652" y="141"/>
                    <a:pt x="1653" y="138"/>
                    <a:pt x="1655" y="137"/>
                  </a:cubicBezTo>
                  <a:cubicBezTo>
                    <a:pt x="1657" y="137"/>
                    <a:pt x="1660" y="138"/>
                    <a:pt x="1660" y="141"/>
                  </a:cubicBezTo>
                  <a:cubicBezTo>
                    <a:pt x="1654" y="143"/>
                    <a:pt x="1646" y="144"/>
                    <a:pt x="1647" y="156"/>
                  </a:cubicBezTo>
                  <a:cubicBezTo>
                    <a:pt x="1654" y="158"/>
                    <a:pt x="1664" y="145"/>
                    <a:pt x="1668" y="156"/>
                  </a:cubicBezTo>
                  <a:cubicBezTo>
                    <a:pt x="1657" y="155"/>
                    <a:pt x="1652" y="162"/>
                    <a:pt x="1652" y="178"/>
                  </a:cubicBezTo>
                  <a:cubicBezTo>
                    <a:pt x="1663" y="184"/>
                    <a:pt x="1653" y="162"/>
                    <a:pt x="1660" y="163"/>
                  </a:cubicBezTo>
                  <a:cubicBezTo>
                    <a:pt x="1666" y="165"/>
                    <a:pt x="1678" y="158"/>
                    <a:pt x="1679" y="167"/>
                  </a:cubicBezTo>
                  <a:cubicBezTo>
                    <a:pt x="1678" y="179"/>
                    <a:pt x="1663" y="178"/>
                    <a:pt x="1663" y="185"/>
                  </a:cubicBezTo>
                  <a:cubicBezTo>
                    <a:pt x="1662" y="195"/>
                    <a:pt x="1655" y="189"/>
                    <a:pt x="1655" y="196"/>
                  </a:cubicBezTo>
                  <a:cubicBezTo>
                    <a:pt x="1661" y="199"/>
                    <a:pt x="1656" y="217"/>
                    <a:pt x="1657" y="226"/>
                  </a:cubicBezTo>
                  <a:cubicBezTo>
                    <a:pt x="1644" y="218"/>
                    <a:pt x="1654" y="243"/>
                    <a:pt x="1647" y="244"/>
                  </a:cubicBezTo>
                  <a:cubicBezTo>
                    <a:pt x="1648" y="231"/>
                    <a:pt x="1642" y="234"/>
                    <a:pt x="1641" y="230"/>
                  </a:cubicBezTo>
                  <a:cubicBezTo>
                    <a:pt x="1641" y="229"/>
                    <a:pt x="1646" y="230"/>
                    <a:pt x="1647" y="230"/>
                  </a:cubicBezTo>
                  <a:cubicBezTo>
                    <a:pt x="1648" y="228"/>
                    <a:pt x="1643" y="223"/>
                    <a:pt x="1644" y="222"/>
                  </a:cubicBezTo>
                  <a:cubicBezTo>
                    <a:pt x="1643" y="209"/>
                    <a:pt x="1637" y="235"/>
                    <a:pt x="1636" y="222"/>
                  </a:cubicBezTo>
                  <a:cubicBezTo>
                    <a:pt x="1636" y="208"/>
                    <a:pt x="1640" y="201"/>
                    <a:pt x="1644" y="193"/>
                  </a:cubicBezTo>
                  <a:cubicBezTo>
                    <a:pt x="1642" y="193"/>
                    <a:pt x="1640" y="192"/>
                    <a:pt x="1639" y="193"/>
                  </a:cubicBezTo>
                  <a:cubicBezTo>
                    <a:pt x="1635" y="194"/>
                    <a:pt x="1637" y="196"/>
                    <a:pt x="1636" y="200"/>
                  </a:cubicBezTo>
                  <a:cubicBezTo>
                    <a:pt x="1636" y="200"/>
                    <a:pt x="1633" y="200"/>
                    <a:pt x="1633" y="200"/>
                  </a:cubicBezTo>
                  <a:cubicBezTo>
                    <a:pt x="1632" y="203"/>
                    <a:pt x="1634" y="211"/>
                    <a:pt x="1633" y="215"/>
                  </a:cubicBezTo>
                  <a:cubicBezTo>
                    <a:pt x="1633" y="219"/>
                    <a:pt x="1630" y="220"/>
                    <a:pt x="1631" y="226"/>
                  </a:cubicBezTo>
                  <a:cubicBezTo>
                    <a:pt x="1631" y="231"/>
                    <a:pt x="1635" y="233"/>
                    <a:pt x="1633" y="241"/>
                  </a:cubicBezTo>
                  <a:cubicBezTo>
                    <a:pt x="1628" y="234"/>
                    <a:pt x="1627" y="240"/>
                    <a:pt x="1620" y="241"/>
                  </a:cubicBezTo>
                  <a:cubicBezTo>
                    <a:pt x="1620" y="231"/>
                    <a:pt x="1608" y="237"/>
                    <a:pt x="1612" y="222"/>
                  </a:cubicBezTo>
                  <a:cubicBezTo>
                    <a:pt x="1615" y="223"/>
                    <a:pt x="1617" y="227"/>
                    <a:pt x="1623" y="226"/>
                  </a:cubicBezTo>
                  <a:cubicBezTo>
                    <a:pt x="1622" y="215"/>
                    <a:pt x="1623" y="213"/>
                    <a:pt x="1628" y="218"/>
                  </a:cubicBezTo>
                  <a:cubicBezTo>
                    <a:pt x="1625" y="212"/>
                    <a:pt x="1629" y="201"/>
                    <a:pt x="1630" y="200"/>
                  </a:cubicBezTo>
                  <a:cubicBezTo>
                    <a:pt x="1629" y="199"/>
                    <a:pt x="1624" y="199"/>
                    <a:pt x="1625" y="196"/>
                  </a:cubicBezTo>
                  <a:cubicBezTo>
                    <a:pt x="1627" y="193"/>
                    <a:pt x="1637" y="199"/>
                    <a:pt x="1633" y="189"/>
                  </a:cubicBezTo>
                  <a:cubicBezTo>
                    <a:pt x="1629" y="189"/>
                    <a:pt x="1624" y="189"/>
                    <a:pt x="1620" y="189"/>
                  </a:cubicBezTo>
                  <a:cubicBezTo>
                    <a:pt x="1620" y="202"/>
                    <a:pt x="1621" y="215"/>
                    <a:pt x="1614" y="218"/>
                  </a:cubicBezTo>
                  <a:cubicBezTo>
                    <a:pt x="1614" y="211"/>
                    <a:pt x="1607" y="224"/>
                    <a:pt x="1606" y="211"/>
                  </a:cubicBezTo>
                  <a:cubicBezTo>
                    <a:pt x="1612" y="210"/>
                    <a:pt x="1618" y="210"/>
                    <a:pt x="1617" y="200"/>
                  </a:cubicBezTo>
                  <a:cubicBezTo>
                    <a:pt x="1612" y="198"/>
                    <a:pt x="1601" y="205"/>
                    <a:pt x="1601" y="196"/>
                  </a:cubicBezTo>
                  <a:cubicBezTo>
                    <a:pt x="1602" y="191"/>
                    <a:pt x="1605" y="189"/>
                    <a:pt x="1604" y="182"/>
                  </a:cubicBezTo>
                  <a:cubicBezTo>
                    <a:pt x="1590" y="179"/>
                    <a:pt x="1607" y="180"/>
                    <a:pt x="1606" y="174"/>
                  </a:cubicBezTo>
                  <a:cubicBezTo>
                    <a:pt x="1603" y="174"/>
                    <a:pt x="1599" y="175"/>
                    <a:pt x="1598" y="170"/>
                  </a:cubicBezTo>
                  <a:cubicBezTo>
                    <a:pt x="1610" y="173"/>
                    <a:pt x="1596" y="163"/>
                    <a:pt x="1604" y="163"/>
                  </a:cubicBezTo>
                  <a:cubicBezTo>
                    <a:pt x="1606" y="176"/>
                    <a:pt x="1618" y="182"/>
                    <a:pt x="1612" y="196"/>
                  </a:cubicBezTo>
                  <a:cubicBezTo>
                    <a:pt x="1622" y="199"/>
                    <a:pt x="1615" y="179"/>
                    <a:pt x="1617" y="170"/>
                  </a:cubicBezTo>
                  <a:cubicBezTo>
                    <a:pt x="1618" y="169"/>
                    <a:pt x="1624" y="171"/>
                    <a:pt x="1623" y="167"/>
                  </a:cubicBezTo>
                  <a:cubicBezTo>
                    <a:pt x="1621" y="167"/>
                    <a:pt x="1619" y="166"/>
                    <a:pt x="1620" y="163"/>
                  </a:cubicBezTo>
                  <a:cubicBezTo>
                    <a:pt x="1617" y="163"/>
                    <a:pt x="1617" y="160"/>
                    <a:pt x="1614" y="159"/>
                  </a:cubicBezTo>
                  <a:cubicBezTo>
                    <a:pt x="1613" y="164"/>
                    <a:pt x="1612" y="168"/>
                    <a:pt x="1609" y="170"/>
                  </a:cubicBezTo>
                  <a:cubicBezTo>
                    <a:pt x="1614" y="153"/>
                    <a:pt x="1602" y="159"/>
                    <a:pt x="1598" y="152"/>
                  </a:cubicBezTo>
                  <a:cubicBezTo>
                    <a:pt x="1598" y="147"/>
                    <a:pt x="1614" y="147"/>
                    <a:pt x="1604" y="141"/>
                  </a:cubicBezTo>
                  <a:cubicBezTo>
                    <a:pt x="1602" y="152"/>
                    <a:pt x="1600" y="135"/>
                    <a:pt x="1596" y="137"/>
                  </a:cubicBezTo>
                  <a:cubicBezTo>
                    <a:pt x="1596" y="143"/>
                    <a:pt x="1588" y="139"/>
                    <a:pt x="1588" y="145"/>
                  </a:cubicBezTo>
                  <a:cubicBezTo>
                    <a:pt x="1590" y="148"/>
                    <a:pt x="1597" y="146"/>
                    <a:pt x="1596" y="156"/>
                  </a:cubicBezTo>
                  <a:cubicBezTo>
                    <a:pt x="1579" y="151"/>
                    <a:pt x="1596" y="170"/>
                    <a:pt x="1588" y="174"/>
                  </a:cubicBezTo>
                  <a:cubicBezTo>
                    <a:pt x="1584" y="174"/>
                    <a:pt x="1582" y="168"/>
                    <a:pt x="1580" y="174"/>
                  </a:cubicBezTo>
                  <a:cubicBezTo>
                    <a:pt x="1591" y="170"/>
                    <a:pt x="1585" y="192"/>
                    <a:pt x="1585" y="193"/>
                  </a:cubicBezTo>
                  <a:cubicBezTo>
                    <a:pt x="1585" y="194"/>
                    <a:pt x="1592" y="192"/>
                    <a:pt x="1590" y="196"/>
                  </a:cubicBezTo>
                  <a:cubicBezTo>
                    <a:pt x="1583" y="199"/>
                    <a:pt x="1588" y="217"/>
                    <a:pt x="1580" y="218"/>
                  </a:cubicBezTo>
                  <a:cubicBezTo>
                    <a:pt x="1574" y="217"/>
                    <a:pt x="1574" y="208"/>
                    <a:pt x="1569" y="207"/>
                  </a:cubicBezTo>
                  <a:cubicBezTo>
                    <a:pt x="1568" y="210"/>
                    <a:pt x="1569" y="215"/>
                    <a:pt x="1566" y="215"/>
                  </a:cubicBezTo>
                  <a:cubicBezTo>
                    <a:pt x="1564" y="204"/>
                    <a:pt x="1570" y="205"/>
                    <a:pt x="1569" y="196"/>
                  </a:cubicBezTo>
                  <a:cubicBezTo>
                    <a:pt x="1564" y="198"/>
                    <a:pt x="1560" y="183"/>
                    <a:pt x="1566" y="182"/>
                  </a:cubicBezTo>
                  <a:cubicBezTo>
                    <a:pt x="1566" y="188"/>
                    <a:pt x="1569" y="190"/>
                    <a:pt x="1574" y="189"/>
                  </a:cubicBezTo>
                  <a:cubicBezTo>
                    <a:pt x="1573" y="199"/>
                    <a:pt x="1575" y="205"/>
                    <a:pt x="1582" y="204"/>
                  </a:cubicBezTo>
                  <a:cubicBezTo>
                    <a:pt x="1581" y="191"/>
                    <a:pt x="1575" y="199"/>
                    <a:pt x="1580" y="185"/>
                  </a:cubicBezTo>
                  <a:cubicBezTo>
                    <a:pt x="1568" y="190"/>
                    <a:pt x="1575" y="170"/>
                    <a:pt x="1569" y="167"/>
                  </a:cubicBezTo>
                  <a:cubicBezTo>
                    <a:pt x="1565" y="181"/>
                    <a:pt x="1568" y="156"/>
                    <a:pt x="1563" y="159"/>
                  </a:cubicBezTo>
                  <a:cubicBezTo>
                    <a:pt x="1558" y="172"/>
                    <a:pt x="1554" y="153"/>
                    <a:pt x="1547" y="156"/>
                  </a:cubicBezTo>
                  <a:cubicBezTo>
                    <a:pt x="1550" y="161"/>
                    <a:pt x="1548" y="171"/>
                    <a:pt x="1550" y="174"/>
                  </a:cubicBezTo>
                  <a:cubicBezTo>
                    <a:pt x="1552" y="177"/>
                    <a:pt x="1557" y="177"/>
                    <a:pt x="1558" y="182"/>
                  </a:cubicBezTo>
                  <a:cubicBezTo>
                    <a:pt x="1554" y="182"/>
                    <a:pt x="1553" y="188"/>
                    <a:pt x="1550" y="189"/>
                  </a:cubicBezTo>
                  <a:cubicBezTo>
                    <a:pt x="1547" y="176"/>
                    <a:pt x="1530" y="182"/>
                    <a:pt x="1523" y="174"/>
                  </a:cubicBezTo>
                  <a:cubicBezTo>
                    <a:pt x="1522" y="177"/>
                    <a:pt x="1521" y="178"/>
                    <a:pt x="1518" y="178"/>
                  </a:cubicBezTo>
                  <a:cubicBezTo>
                    <a:pt x="1518" y="166"/>
                    <a:pt x="1510" y="187"/>
                    <a:pt x="1510" y="174"/>
                  </a:cubicBezTo>
                  <a:cubicBezTo>
                    <a:pt x="1510" y="169"/>
                    <a:pt x="1514" y="168"/>
                    <a:pt x="1515" y="163"/>
                  </a:cubicBezTo>
                  <a:cubicBezTo>
                    <a:pt x="1504" y="168"/>
                    <a:pt x="1506" y="156"/>
                    <a:pt x="1502" y="152"/>
                  </a:cubicBezTo>
                  <a:cubicBezTo>
                    <a:pt x="1501" y="156"/>
                    <a:pt x="1501" y="161"/>
                    <a:pt x="1496" y="159"/>
                  </a:cubicBezTo>
                  <a:cubicBezTo>
                    <a:pt x="1498" y="156"/>
                    <a:pt x="1502" y="146"/>
                    <a:pt x="1493" y="148"/>
                  </a:cubicBezTo>
                  <a:cubicBezTo>
                    <a:pt x="1485" y="147"/>
                    <a:pt x="1500" y="159"/>
                    <a:pt x="1491" y="159"/>
                  </a:cubicBezTo>
                  <a:cubicBezTo>
                    <a:pt x="1489" y="154"/>
                    <a:pt x="1487" y="150"/>
                    <a:pt x="1483" y="148"/>
                  </a:cubicBezTo>
                  <a:cubicBezTo>
                    <a:pt x="1483" y="164"/>
                    <a:pt x="1458" y="151"/>
                    <a:pt x="1450" y="156"/>
                  </a:cubicBezTo>
                  <a:cubicBezTo>
                    <a:pt x="1450" y="152"/>
                    <a:pt x="1450" y="148"/>
                    <a:pt x="1450" y="145"/>
                  </a:cubicBezTo>
                  <a:cubicBezTo>
                    <a:pt x="1445" y="143"/>
                    <a:pt x="1445" y="151"/>
                    <a:pt x="1442" y="152"/>
                  </a:cubicBezTo>
                  <a:cubicBezTo>
                    <a:pt x="1438" y="154"/>
                    <a:pt x="1433" y="151"/>
                    <a:pt x="1429" y="152"/>
                  </a:cubicBezTo>
                  <a:cubicBezTo>
                    <a:pt x="1428" y="150"/>
                    <a:pt x="1430" y="142"/>
                    <a:pt x="1429" y="141"/>
                  </a:cubicBezTo>
                  <a:cubicBezTo>
                    <a:pt x="1425" y="137"/>
                    <a:pt x="1406" y="140"/>
                    <a:pt x="1391" y="137"/>
                  </a:cubicBezTo>
                  <a:cubicBezTo>
                    <a:pt x="1388" y="137"/>
                    <a:pt x="1388" y="134"/>
                    <a:pt x="1383" y="133"/>
                  </a:cubicBezTo>
                  <a:cubicBezTo>
                    <a:pt x="1375" y="133"/>
                    <a:pt x="1377" y="140"/>
                    <a:pt x="1373" y="133"/>
                  </a:cubicBezTo>
                  <a:cubicBezTo>
                    <a:pt x="1370" y="130"/>
                    <a:pt x="1351" y="133"/>
                    <a:pt x="1354" y="137"/>
                  </a:cubicBezTo>
                  <a:cubicBezTo>
                    <a:pt x="1355" y="144"/>
                    <a:pt x="1366" y="137"/>
                    <a:pt x="1367" y="145"/>
                  </a:cubicBezTo>
                  <a:cubicBezTo>
                    <a:pt x="1362" y="152"/>
                    <a:pt x="1368" y="161"/>
                    <a:pt x="1367" y="163"/>
                  </a:cubicBezTo>
                  <a:cubicBezTo>
                    <a:pt x="1367" y="164"/>
                    <a:pt x="1362" y="162"/>
                    <a:pt x="1362" y="163"/>
                  </a:cubicBezTo>
                  <a:cubicBezTo>
                    <a:pt x="1361" y="164"/>
                    <a:pt x="1362" y="170"/>
                    <a:pt x="1362" y="170"/>
                  </a:cubicBezTo>
                  <a:cubicBezTo>
                    <a:pt x="1359" y="172"/>
                    <a:pt x="1354" y="170"/>
                    <a:pt x="1354" y="167"/>
                  </a:cubicBezTo>
                  <a:cubicBezTo>
                    <a:pt x="1357" y="166"/>
                    <a:pt x="1360" y="166"/>
                    <a:pt x="1359" y="159"/>
                  </a:cubicBezTo>
                  <a:cubicBezTo>
                    <a:pt x="1352" y="162"/>
                    <a:pt x="1349" y="158"/>
                    <a:pt x="1351" y="148"/>
                  </a:cubicBezTo>
                  <a:cubicBezTo>
                    <a:pt x="1354" y="153"/>
                    <a:pt x="1364" y="154"/>
                    <a:pt x="1364" y="145"/>
                  </a:cubicBezTo>
                  <a:cubicBezTo>
                    <a:pt x="1352" y="148"/>
                    <a:pt x="1351" y="136"/>
                    <a:pt x="1346" y="130"/>
                  </a:cubicBezTo>
                  <a:cubicBezTo>
                    <a:pt x="1345" y="135"/>
                    <a:pt x="1347" y="138"/>
                    <a:pt x="1348" y="141"/>
                  </a:cubicBezTo>
                  <a:cubicBezTo>
                    <a:pt x="1345" y="141"/>
                    <a:pt x="1342" y="143"/>
                    <a:pt x="1340" y="145"/>
                  </a:cubicBezTo>
                  <a:cubicBezTo>
                    <a:pt x="1339" y="140"/>
                    <a:pt x="1332" y="144"/>
                    <a:pt x="1329" y="141"/>
                  </a:cubicBezTo>
                  <a:cubicBezTo>
                    <a:pt x="1328" y="139"/>
                    <a:pt x="1330" y="132"/>
                    <a:pt x="1327" y="133"/>
                  </a:cubicBezTo>
                  <a:cubicBezTo>
                    <a:pt x="1322" y="151"/>
                    <a:pt x="1306" y="131"/>
                    <a:pt x="1297" y="141"/>
                  </a:cubicBezTo>
                  <a:cubicBezTo>
                    <a:pt x="1297" y="136"/>
                    <a:pt x="1298" y="133"/>
                    <a:pt x="1300" y="130"/>
                  </a:cubicBezTo>
                  <a:cubicBezTo>
                    <a:pt x="1291" y="132"/>
                    <a:pt x="1293" y="117"/>
                    <a:pt x="1286" y="126"/>
                  </a:cubicBezTo>
                  <a:cubicBezTo>
                    <a:pt x="1287" y="121"/>
                    <a:pt x="1285" y="118"/>
                    <a:pt x="1284" y="115"/>
                  </a:cubicBezTo>
                  <a:cubicBezTo>
                    <a:pt x="1283" y="112"/>
                    <a:pt x="1284" y="108"/>
                    <a:pt x="1281" y="108"/>
                  </a:cubicBezTo>
                  <a:cubicBezTo>
                    <a:pt x="1281" y="117"/>
                    <a:pt x="1280" y="123"/>
                    <a:pt x="1276" y="126"/>
                  </a:cubicBezTo>
                  <a:cubicBezTo>
                    <a:pt x="1268" y="131"/>
                    <a:pt x="1262" y="116"/>
                    <a:pt x="1260" y="126"/>
                  </a:cubicBezTo>
                  <a:cubicBezTo>
                    <a:pt x="1262" y="127"/>
                    <a:pt x="1263" y="129"/>
                    <a:pt x="1262" y="133"/>
                  </a:cubicBezTo>
                  <a:cubicBezTo>
                    <a:pt x="1255" y="133"/>
                    <a:pt x="1248" y="133"/>
                    <a:pt x="1241" y="133"/>
                  </a:cubicBezTo>
                  <a:cubicBezTo>
                    <a:pt x="1248" y="120"/>
                    <a:pt x="1234" y="134"/>
                    <a:pt x="1225" y="130"/>
                  </a:cubicBezTo>
                  <a:cubicBezTo>
                    <a:pt x="1225" y="109"/>
                    <a:pt x="1222" y="127"/>
                    <a:pt x="1219" y="126"/>
                  </a:cubicBezTo>
                  <a:cubicBezTo>
                    <a:pt x="1217" y="125"/>
                    <a:pt x="1220" y="119"/>
                    <a:pt x="1217" y="119"/>
                  </a:cubicBezTo>
                  <a:cubicBezTo>
                    <a:pt x="1216" y="119"/>
                    <a:pt x="1216" y="126"/>
                    <a:pt x="1214" y="126"/>
                  </a:cubicBezTo>
                  <a:cubicBezTo>
                    <a:pt x="1213" y="126"/>
                    <a:pt x="1211" y="117"/>
                    <a:pt x="1208" y="119"/>
                  </a:cubicBezTo>
                  <a:cubicBezTo>
                    <a:pt x="1208" y="122"/>
                    <a:pt x="1208" y="126"/>
                    <a:pt x="1206" y="126"/>
                  </a:cubicBezTo>
                  <a:cubicBezTo>
                    <a:pt x="1205" y="122"/>
                    <a:pt x="1206" y="116"/>
                    <a:pt x="1203" y="115"/>
                  </a:cubicBezTo>
                  <a:cubicBezTo>
                    <a:pt x="1197" y="120"/>
                    <a:pt x="1207" y="124"/>
                    <a:pt x="1200" y="126"/>
                  </a:cubicBezTo>
                  <a:cubicBezTo>
                    <a:pt x="1197" y="125"/>
                    <a:pt x="1197" y="120"/>
                    <a:pt x="1198" y="115"/>
                  </a:cubicBezTo>
                  <a:cubicBezTo>
                    <a:pt x="1190" y="116"/>
                    <a:pt x="1179" y="112"/>
                    <a:pt x="1179" y="122"/>
                  </a:cubicBezTo>
                  <a:cubicBezTo>
                    <a:pt x="1182" y="123"/>
                    <a:pt x="1187" y="122"/>
                    <a:pt x="1187" y="126"/>
                  </a:cubicBezTo>
                  <a:cubicBezTo>
                    <a:pt x="1182" y="126"/>
                    <a:pt x="1178" y="126"/>
                    <a:pt x="1173" y="126"/>
                  </a:cubicBezTo>
                  <a:cubicBezTo>
                    <a:pt x="1170" y="121"/>
                    <a:pt x="1172" y="105"/>
                    <a:pt x="1165" y="115"/>
                  </a:cubicBezTo>
                  <a:cubicBezTo>
                    <a:pt x="1169" y="103"/>
                    <a:pt x="1161" y="106"/>
                    <a:pt x="1160" y="100"/>
                  </a:cubicBezTo>
                  <a:cubicBezTo>
                    <a:pt x="1164" y="100"/>
                    <a:pt x="1170" y="101"/>
                    <a:pt x="1171" y="96"/>
                  </a:cubicBezTo>
                  <a:cubicBezTo>
                    <a:pt x="1163" y="97"/>
                    <a:pt x="1168" y="78"/>
                    <a:pt x="1160" y="78"/>
                  </a:cubicBezTo>
                  <a:cubicBezTo>
                    <a:pt x="1157" y="87"/>
                    <a:pt x="1168" y="93"/>
                    <a:pt x="1160" y="96"/>
                  </a:cubicBezTo>
                  <a:cubicBezTo>
                    <a:pt x="1158" y="94"/>
                    <a:pt x="1145" y="88"/>
                    <a:pt x="1144" y="96"/>
                  </a:cubicBezTo>
                  <a:cubicBezTo>
                    <a:pt x="1147" y="100"/>
                    <a:pt x="1151" y="101"/>
                    <a:pt x="1157" y="100"/>
                  </a:cubicBezTo>
                  <a:cubicBezTo>
                    <a:pt x="1161" y="105"/>
                    <a:pt x="1161" y="118"/>
                    <a:pt x="1155" y="119"/>
                  </a:cubicBezTo>
                  <a:cubicBezTo>
                    <a:pt x="1154" y="112"/>
                    <a:pt x="1145" y="98"/>
                    <a:pt x="1141" y="108"/>
                  </a:cubicBezTo>
                  <a:cubicBezTo>
                    <a:pt x="1144" y="109"/>
                    <a:pt x="1145" y="112"/>
                    <a:pt x="1147" y="115"/>
                  </a:cubicBezTo>
                  <a:cubicBezTo>
                    <a:pt x="1149" y="118"/>
                    <a:pt x="1152" y="119"/>
                    <a:pt x="1155" y="122"/>
                  </a:cubicBezTo>
                  <a:cubicBezTo>
                    <a:pt x="1156" y="123"/>
                    <a:pt x="1154" y="128"/>
                    <a:pt x="1155" y="130"/>
                  </a:cubicBezTo>
                  <a:cubicBezTo>
                    <a:pt x="1156" y="132"/>
                    <a:pt x="1161" y="129"/>
                    <a:pt x="1160" y="133"/>
                  </a:cubicBezTo>
                  <a:cubicBezTo>
                    <a:pt x="1155" y="134"/>
                    <a:pt x="1162" y="140"/>
                    <a:pt x="1157" y="141"/>
                  </a:cubicBezTo>
                  <a:cubicBezTo>
                    <a:pt x="1151" y="135"/>
                    <a:pt x="1147" y="142"/>
                    <a:pt x="1144" y="137"/>
                  </a:cubicBezTo>
                  <a:cubicBezTo>
                    <a:pt x="1140" y="131"/>
                    <a:pt x="1131" y="142"/>
                    <a:pt x="1131" y="141"/>
                  </a:cubicBezTo>
                  <a:cubicBezTo>
                    <a:pt x="1134" y="132"/>
                    <a:pt x="1120" y="129"/>
                    <a:pt x="1128" y="126"/>
                  </a:cubicBezTo>
                  <a:cubicBezTo>
                    <a:pt x="1134" y="127"/>
                    <a:pt x="1139" y="134"/>
                    <a:pt x="1141" y="122"/>
                  </a:cubicBezTo>
                  <a:cubicBezTo>
                    <a:pt x="1134" y="123"/>
                    <a:pt x="1132" y="117"/>
                    <a:pt x="1133" y="108"/>
                  </a:cubicBezTo>
                  <a:cubicBezTo>
                    <a:pt x="1124" y="111"/>
                    <a:pt x="1113" y="109"/>
                    <a:pt x="1098" y="104"/>
                  </a:cubicBezTo>
                  <a:cubicBezTo>
                    <a:pt x="1092" y="109"/>
                    <a:pt x="1102" y="113"/>
                    <a:pt x="1096" y="115"/>
                  </a:cubicBezTo>
                  <a:cubicBezTo>
                    <a:pt x="1091" y="115"/>
                    <a:pt x="1086" y="114"/>
                    <a:pt x="1087" y="122"/>
                  </a:cubicBezTo>
                  <a:cubicBezTo>
                    <a:pt x="1097" y="123"/>
                    <a:pt x="1095" y="117"/>
                    <a:pt x="1098" y="122"/>
                  </a:cubicBezTo>
                  <a:cubicBezTo>
                    <a:pt x="1099" y="123"/>
                    <a:pt x="1103" y="122"/>
                    <a:pt x="1104" y="122"/>
                  </a:cubicBezTo>
                  <a:cubicBezTo>
                    <a:pt x="1109" y="123"/>
                    <a:pt x="1123" y="119"/>
                    <a:pt x="1122" y="130"/>
                  </a:cubicBezTo>
                  <a:cubicBezTo>
                    <a:pt x="1119" y="130"/>
                    <a:pt x="1120" y="136"/>
                    <a:pt x="1117" y="137"/>
                  </a:cubicBezTo>
                  <a:cubicBezTo>
                    <a:pt x="1117" y="135"/>
                    <a:pt x="1117" y="132"/>
                    <a:pt x="1117" y="130"/>
                  </a:cubicBezTo>
                  <a:cubicBezTo>
                    <a:pt x="1104" y="125"/>
                    <a:pt x="1081" y="135"/>
                    <a:pt x="1085" y="108"/>
                  </a:cubicBezTo>
                  <a:cubicBezTo>
                    <a:pt x="1079" y="105"/>
                    <a:pt x="1073" y="95"/>
                    <a:pt x="1071" y="108"/>
                  </a:cubicBezTo>
                  <a:cubicBezTo>
                    <a:pt x="1076" y="105"/>
                    <a:pt x="1083" y="115"/>
                    <a:pt x="1077" y="115"/>
                  </a:cubicBezTo>
                  <a:cubicBezTo>
                    <a:pt x="1069" y="112"/>
                    <a:pt x="1070" y="101"/>
                    <a:pt x="1063" y="100"/>
                  </a:cubicBezTo>
                  <a:cubicBezTo>
                    <a:pt x="1063" y="100"/>
                    <a:pt x="1063" y="106"/>
                    <a:pt x="1061" y="104"/>
                  </a:cubicBezTo>
                  <a:cubicBezTo>
                    <a:pt x="1059" y="103"/>
                    <a:pt x="1060" y="94"/>
                    <a:pt x="1058" y="93"/>
                  </a:cubicBezTo>
                  <a:cubicBezTo>
                    <a:pt x="1055" y="91"/>
                    <a:pt x="1050" y="94"/>
                    <a:pt x="1047" y="93"/>
                  </a:cubicBezTo>
                  <a:cubicBezTo>
                    <a:pt x="1048" y="102"/>
                    <a:pt x="1043" y="104"/>
                    <a:pt x="1039" y="108"/>
                  </a:cubicBezTo>
                  <a:cubicBezTo>
                    <a:pt x="1041" y="93"/>
                    <a:pt x="1031" y="110"/>
                    <a:pt x="1028" y="111"/>
                  </a:cubicBezTo>
                  <a:cubicBezTo>
                    <a:pt x="1028" y="111"/>
                    <a:pt x="1029" y="104"/>
                    <a:pt x="1028" y="104"/>
                  </a:cubicBezTo>
                  <a:cubicBezTo>
                    <a:pt x="1025" y="99"/>
                    <a:pt x="1017" y="111"/>
                    <a:pt x="1020" y="115"/>
                  </a:cubicBezTo>
                  <a:cubicBezTo>
                    <a:pt x="1031" y="116"/>
                    <a:pt x="1046" y="111"/>
                    <a:pt x="1050" y="122"/>
                  </a:cubicBezTo>
                  <a:cubicBezTo>
                    <a:pt x="1039" y="118"/>
                    <a:pt x="1033" y="124"/>
                    <a:pt x="1018" y="122"/>
                  </a:cubicBezTo>
                  <a:cubicBezTo>
                    <a:pt x="1015" y="105"/>
                    <a:pt x="1020" y="94"/>
                    <a:pt x="1012" y="89"/>
                  </a:cubicBezTo>
                  <a:cubicBezTo>
                    <a:pt x="1008" y="103"/>
                    <a:pt x="1014" y="113"/>
                    <a:pt x="1009" y="119"/>
                  </a:cubicBezTo>
                  <a:cubicBezTo>
                    <a:pt x="1007" y="114"/>
                    <a:pt x="1008" y="111"/>
                    <a:pt x="1007" y="104"/>
                  </a:cubicBezTo>
                  <a:cubicBezTo>
                    <a:pt x="1006" y="101"/>
                    <a:pt x="1004" y="101"/>
                    <a:pt x="1004" y="100"/>
                  </a:cubicBezTo>
                  <a:cubicBezTo>
                    <a:pt x="1003" y="97"/>
                    <a:pt x="1007" y="95"/>
                    <a:pt x="1007" y="93"/>
                  </a:cubicBezTo>
                  <a:cubicBezTo>
                    <a:pt x="1006" y="90"/>
                    <a:pt x="999" y="89"/>
                    <a:pt x="1001" y="82"/>
                  </a:cubicBezTo>
                  <a:cubicBezTo>
                    <a:pt x="1005" y="81"/>
                    <a:pt x="1009" y="82"/>
                    <a:pt x="1009" y="78"/>
                  </a:cubicBezTo>
                  <a:cubicBezTo>
                    <a:pt x="1006" y="78"/>
                    <a:pt x="1002" y="78"/>
                    <a:pt x="999" y="78"/>
                  </a:cubicBezTo>
                  <a:cubicBezTo>
                    <a:pt x="999" y="84"/>
                    <a:pt x="998" y="89"/>
                    <a:pt x="996" y="93"/>
                  </a:cubicBezTo>
                  <a:cubicBezTo>
                    <a:pt x="998" y="94"/>
                    <a:pt x="1008" y="103"/>
                    <a:pt x="1001" y="104"/>
                  </a:cubicBezTo>
                  <a:cubicBezTo>
                    <a:pt x="993" y="107"/>
                    <a:pt x="998" y="92"/>
                    <a:pt x="991" y="93"/>
                  </a:cubicBezTo>
                  <a:cubicBezTo>
                    <a:pt x="982" y="104"/>
                    <a:pt x="968" y="88"/>
                    <a:pt x="966" y="96"/>
                  </a:cubicBezTo>
                  <a:cubicBezTo>
                    <a:pt x="970" y="98"/>
                    <a:pt x="972" y="100"/>
                    <a:pt x="975" y="104"/>
                  </a:cubicBezTo>
                  <a:cubicBezTo>
                    <a:pt x="972" y="107"/>
                    <a:pt x="974" y="111"/>
                    <a:pt x="972" y="122"/>
                  </a:cubicBezTo>
                  <a:cubicBezTo>
                    <a:pt x="970" y="124"/>
                    <a:pt x="959" y="131"/>
                    <a:pt x="958" y="122"/>
                  </a:cubicBezTo>
                  <a:cubicBezTo>
                    <a:pt x="958" y="115"/>
                    <a:pt x="962" y="115"/>
                    <a:pt x="964" y="111"/>
                  </a:cubicBezTo>
                  <a:cubicBezTo>
                    <a:pt x="959" y="110"/>
                    <a:pt x="965" y="105"/>
                    <a:pt x="961" y="104"/>
                  </a:cubicBezTo>
                  <a:cubicBezTo>
                    <a:pt x="959" y="113"/>
                    <a:pt x="952" y="91"/>
                    <a:pt x="950" y="108"/>
                  </a:cubicBezTo>
                  <a:cubicBezTo>
                    <a:pt x="952" y="108"/>
                    <a:pt x="956" y="108"/>
                    <a:pt x="956" y="111"/>
                  </a:cubicBezTo>
                  <a:cubicBezTo>
                    <a:pt x="951" y="111"/>
                    <a:pt x="947" y="109"/>
                    <a:pt x="945" y="104"/>
                  </a:cubicBezTo>
                  <a:cubicBezTo>
                    <a:pt x="947" y="95"/>
                    <a:pt x="949" y="87"/>
                    <a:pt x="940" y="85"/>
                  </a:cubicBezTo>
                  <a:cubicBezTo>
                    <a:pt x="937" y="99"/>
                    <a:pt x="947" y="108"/>
                    <a:pt x="937" y="111"/>
                  </a:cubicBezTo>
                  <a:cubicBezTo>
                    <a:pt x="935" y="94"/>
                    <a:pt x="924" y="96"/>
                    <a:pt x="918" y="108"/>
                  </a:cubicBezTo>
                  <a:cubicBezTo>
                    <a:pt x="917" y="99"/>
                    <a:pt x="919" y="93"/>
                    <a:pt x="921" y="89"/>
                  </a:cubicBezTo>
                  <a:cubicBezTo>
                    <a:pt x="912" y="83"/>
                    <a:pt x="904" y="87"/>
                    <a:pt x="894" y="89"/>
                  </a:cubicBezTo>
                  <a:cubicBezTo>
                    <a:pt x="890" y="84"/>
                    <a:pt x="890" y="75"/>
                    <a:pt x="894" y="71"/>
                  </a:cubicBezTo>
                  <a:cubicBezTo>
                    <a:pt x="890" y="71"/>
                    <a:pt x="887" y="71"/>
                    <a:pt x="883" y="71"/>
                  </a:cubicBezTo>
                  <a:cubicBezTo>
                    <a:pt x="881" y="82"/>
                    <a:pt x="892" y="75"/>
                    <a:pt x="889" y="89"/>
                  </a:cubicBezTo>
                  <a:cubicBezTo>
                    <a:pt x="875" y="87"/>
                    <a:pt x="875" y="90"/>
                    <a:pt x="867" y="82"/>
                  </a:cubicBezTo>
                  <a:cubicBezTo>
                    <a:pt x="865" y="94"/>
                    <a:pt x="858" y="80"/>
                    <a:pt x="856" y="82"/>
                  </a:cubicBezTo>
                  <a:cubicBezTo>
                    <a:pt x="854" y="83"/>
                    <a:pt x="856" y="95"/>
                    <a:pt x="851" y="93"/>
                  </a:cubicBezTo>
                  <a:cubicBezTo>
                    <a:pt x="853" y="81"/>
                    <a:pt x="847" y="81"/>
                    <a:pt x="843" y="78"/>
                  </a:cubicBezTo>
                  <a:cubicBezTo>
                    <a:pt x="841" y="96"/>
                    <a:pt x="839" y="103"/>
                    <a:pt x="843" y="115"/>
                  </a:cubicBezTo>
                  <a:cubicBezTo>
                    <a:pt x="838" y="115"/>
                    <a:pt x="834" y="115"/>
                    <a:pt x="829" y="115"/>
                  </a:cubicBezTo>
                  <a:cubicBezTo>
                    <a:pt x="829" y="109"/>
                    <a:pt x="829" y="103"/>
                    <a:pt x="827" y="100"/>
                  </a:cubicBezTo>
                  <a:cubicBezTo>
                    <a:pt x="829" y="94"/>
                    <a:pt x="840" y="101"/>
                    <a:pt x="837" y="89"/>
                  </a:cubicBezTo>
                  <a:cubicBezTo>
                    <a:pt x="830" y="90"/>
                    <a:pt x="826" y="88"/>
                    <a:pt x="827" y="78"/>
                  </a:cubicBezTo>
                  <a:cubicBezTo>
                    <a:pt x="818" y="75"/>
                    <a:pt x="823" y="91"/>
                    <a:pt x="813" y="85"/>
                  </a:cubicBezTo>
                  <a:cubicBezTo>
                    <a:pt x="817" y="72"/>
                    <a:pt x="806" y="62"/>
                    <a:pt x="802" y="71"/>
                  </a:cubicBezTo>
                  <a:cubicBezTo>
                    <a:pt x="808" y="70"/>
                    <a:pt x="811" y="74"/>
                    <a:pt x="810" y="82"/>
                  </a:cubicBezTo>
                  <a:cubicBezTo>
                    <a:pt x="807" y="85"/>
                    <a:pt x="801" y="85"/>
                    <a:pt x="797" y="89"/>
                  </a:cubicBezTo>
                  <a:cubicBezTo>
                    <a:pt x="797" y="82"/>
                    <a:pt x="797" y="74"/>
                    <a:pt x="797" y="67"/>
                  </a:cubicBezTo>
                  <a:cubicBezTo>
                    <a:pt x="784" y="67"/>
                    <a:pt x="795" y="82"/>
                    <a:pt x="789" y="85"/>
                  </a:cubicBezTo>
                  <a:cubicBezTo>
                    <a:pt x="776" y="81"/>
                    <a:pt x="771" y="88"/>
                    <a:pt x="765" y="78"/>
                  </a:cubicBezTo>
                  <a:cubicBezTo>
                    <a:pt x="758" y="79"/>
                    <a:pt x="755" y="84"/>
                    <a:pt x="746" y="82"/>
                  </a:cubicBezTo>
                  <a:cubicBezTo>
                    <a:pt x="746" y="78"/>
                    <a:pt x="744" y="77"/>
                    <a:pt x="743" y="74"/>
                  </a:cubicBezTo>
                  <a:cubicBezTo>
                    <a:pt x="744" y="70"/>
                    <a:pt x="747" y="67"/>
                    <a:pt x="741" y="67"/>
                  </a:cubicBezTo>
                  <a:cubicBezTo>
                    <a:pt x="732" y="66"/>
                    <a:pt x="747" y="78"/>
                    <a:pt x="738" y="78"/>
                  </a:cubicBezTo>
                  <a:cubicBezTo>
                    <a:pt x="733" y="78"/>
                    <a:pt x="736" y="66"/>
                    <a:pt x="730" y="67"/>
                  </a:cubicBezTo>
                  <a:cubicBezTo>
                    <a:pt x="729" y="71"/>
                    <a:pt x="727" y="73"/>
                    <a:pt x="724" y="74"/>
                  </a:cubicBezTo>
                  <a:cubicBezTo>
                    <a:pt x="718" y="57"/>
                    <a:pt x="687" y="71"/>
                    <a:pt x="681" y="52"/>
                  </a:cubicBezTo>
                  <a:cubicBezTo>
                    <a:pt x="691" y="55"/>
                    <a:pt x="692" y="44"/>
                    <a:pt x="700" y="45"/>
                  </a:cubicBezTo>
                  <a:cubicBezTo>
                    <a:pt x="700" y="48"/>
                    <a:pt x="700" y="52"/>
                    <a:pt x="700" y="56"/>
                  </a:cubicBezTo>
                  <a:cubicBezTo>
                    <a:pt x="707" y="55"/>
                    <a:pt x="710" y="49"/>
                    <a:pt x="714" y="45"/>
                  </a:cubicBezTo>
                  <a:cubicBezTo>
                    <a:pt x="710" y="41"/>
                    <a:pt x="707" y="34"/>
                    <a:pt x="703" y="30"/>
                  </a:cubicBezTo>
                  <a:cubicBezTo>
                    <a:pt x="702" y="34"/>
                    <a:pt x="700" y="38"/>
                    <a:pt x="698" y="41"/>
                  </a:cubicBezTo>
                  <a:cubicBezTo>
                    <a:pt x="697" y="31"/>
                    <a:pt x="693" y="46"/>
                    <a:pt x="687" y="41"/>
                  </a:cubicBezTo>
                  <a:cubicBezTo>
                    <a:pt x="687" y="35"/>
                    <a:pt x="680" y="38"/>
                    <a:pt x="681" y="30"/>
                  </a:cubicBezTo>
                  <a:cubicBezTo>
                    <a:pt x="673" y="25"/>
                    <a:pt x="679" y="42"/>
                    <a:pt x="671" y="37"/>
                  </a:cubicBezTo>
                  <a:cubicBezTo>
                    <a:pt x="667" y="38"/>
                    <a:pt x="668" y="30"/>
                    <a:pt x="665" y="30"/>
                  </a:cubicBezTo>
                  <a:cubicBezTo>
                    <a:pt x="664" y="30"/>
                    <a:pt x="664" y="36"/>
                    <a:pt x="660" y="34"/>
                  </a:cubicBezTo>
                  <a:cubicBezTo>
                    <a:pt x="659" y="33"/>
                    <a:pt x="660" y="27"/>
                    <a:pt x="660" y="26"/>
                  </a:cubicBezTo>
                  <a:cubicBezTo>
                    <a:pt x="646" y="29"/>
                    <a:pt x="636" y="25"/>
                    <a:pt x="630" y="15"/>
                  </a:cubicBezTo>
                  <a:cubicBezTo>
                    <a:pt x="631" y="22"/>
                    <a:pt x="627" y="22"/>
                    <a:pt x="625" y="26"/>
                  </a:cubicBezTo>
                  <a:cubicBezTo>
                    <a:pt x="626" y="26"/>
                    <a:pt x="628" y="29"/>
                    <a:pt x="625" y="30"/>
                  </a:cubicBezTo>
                  <a:cubicBezTo>
                    <a:pt x="625" y="26"/>
                    <a:pt x="621" y="24"/>
                    <a:pt x="625" y="22"/>
                  </a:cubicBezTo>
                  <a:cubicBezTo>
                    <a:pt x="626" y="18"/>
                    <a:pt x="629" y="15"/>
                    <a:pt x="622" y="15"/>
                  </a:cubicBezTo>
                  <a:cubicBezTo>
                    <a:pt x="618" y="15"/>
                    <a:pt x="621" y="25"/>
                    <a:pt x="617" y="26"/>
                  </a:cubicBezTo>
                  <a:cubicBezTo>
                    <a:pt x="608" y="12"/>
                    <a:pt x="600" y="36"/>
                    <a:pt x="593" y="34"/>
                  </a:cubicBezTo>
                  <a:cubicBezTo>
                    <a:pt x="591" y="33"/>
                    <a:pt x="590" y="22"/>
                    <a:pt x="587" y="22"/>
                  </a:cubicBezTo>
                  <a:cubicBezTo>
                    <a:pt x="587" y="28"/>
                    <a:pt x="588" y="36"/>
                    <a:pt x="585" y="37"/>
                  </a:cubicBezTo>
                  <a:cubicBezTo>
                    <a:pt x="584" y="33"/>
                    <a:pt x="580" y="33"/>
                    <a:pt x="577" y="34"/>
                  </a:cubicBezTo>
                  <a:cubicBezTo>
                    <a:pt x="578" y="24"/>
                    <a:pt x="571" y="26"/>
                    <a:pt x="568" y="22"/>
                  </a:cubicBezTo>
                  <a:cubicBezTo>
                    <a:pt x="568" y="26"/>
                    <a:pt x="566" y="27"/>
                    <a:pt x="566" y="30"/>
                  </a:cubicBezTo>
                  <a:cubicBezTo>
                    <a:pt x="566" y="34"/>
                    <a:pt x="570" y="36"/>
                    <a:pt x="566" y="37"/>
                  </a:cubicBezTo>
                  <a:cubicBezTo>
                    <a:pt x="565" y="32"/>
                    <a:pt x="562" y="30"/>
                    <a:pt x="563" y="22"/>
                  </a:cubicBezTo>
                  <a:cubicBezTo>
                    <a:pt x="557" y="30"/>
                    <a:pt x="548" y="16"/>
                    <a:pt x="542" y="26"/>
                  </a:cubicBezTo>
                  <a:cubicBezTo>
                    <a:pt x="544" y="30"/>
                    <a:pt x="547" y="34"/>
                    <a:pt x="550" y="37"/>
                  </a:cubicBezTo>
                  <a:cubicBezTo>
                    <a:pt x="541" y="38"/>
                    <a:pt x="542" y="26"/>
                    <a:pt x="531" y="30"/>
                  </a:cubicBezTo>
                  <a:cubicBezTo>
                    <a:pt x="528" y="24"/>
                    <a:pt x="527" y="18"/>
                    <a:pt x="520" y="19"/>
                  </a:cubicBezTo>
                  <a:cubicBezTo>
                    <a:pt x="519" y="16"/>
                    <a:pt x="520" y="12"/>
                    <a:pt x="517" y="11"/>
                  </a:cubicBezTo>
                  <a:cubicBezTo>
                    <a:pt x="519" y="29"/>
                    <a:pt x="509" y="18"/>
                    <a:pt x="515" y="26"/>
                  </a:cubicBezTo>
                  <a:cubicBezTo>
                    <a:pt x="516" y="28"/>
                    <a:pt x="517" y="34"/>
                    <a:pt x="515" y="34"/>
                  </a:cubicBezTo>
                  <a:cubicBezTo>
                    <a:pt x="510" y="32"/>
                    <a:pt x="513" y="19"/>
                    <a:pt x="504" y="22"/>
                  </a:cubicBezTo>
                  <a:cubicBezTo>
                    <a:pt x="501" y="29"/>
                    <a:pt x="512" y="35"/>
                    <a:pt x="504" y="37"/>
                  </a:cubicBezTo>
                  <a:cubicBezTo>
                    <a:pt x="500" y="33"/>
                    <a:pt x="503" y="19"/>
                    <a:pt x="496" y="19"/>
                  </a:cubicBezTo>
                  <a:cubicBezTo>
                    <a:pt x="497" y="29"/>
                    <a:pt x="486" y="10"/>
                    <a:pt x="485" y="22"/>
                  </a:cubicBezTo>
                  <a:cubicBezTo>
                    <a:pt x="489" y="25"/>
                    <a:pt x="492" y="28"/>
                    <a:pt x="493" y="34"/>
                  </a:cubicBezTo>
                  <a:cubicBezTo>
                    <a:pt x="487" y="29"/>
                    <a:pt x="483" y="43"/>
                    <a:pt x="482" y="34"/>
                  </a:cubicBezTo>
                  <a:cubicBezTo>
                    <a:pt x="482" y="29"/>
                    <a:pt x="487" y="30"/>
                    <a:pt x="488" y="26"/>
                  </a:cubicBezTo>
                  <a:cubicBezTo>
                    <a:pt x="488" y="26"/>
                    <a:pt x="482" y="22"/>
                    <a:pt x="482" y="19"/>
                  </a:cubicBezTo>
                  <a:cubicBezTo>
                    <a:pt x="483" y="17"/>
                    <a:pt x="489" y="15"/>
                    <a:pt x="488" y="11"/>
                  </a:cubicBezTo>
                  <a:cubicBezTo>
                    <a:pt x="479" y="8"/>
                    <a:pt x="484" y="24"/>
                    <a:pt x="477" y="22"/>
                  </a:cubicBezTo>
                  <a:cubicBezTo>
                    <a:pt x="467" y="27"/>
                    <a:pt x="462" y="15"/>
                    <a:pt x="458" y="22"/>
                  </a:cubicBezTo>
                  <a:cubicBezTo>
                    <a:pt x="459" y="22"/>
                    <a:pt x="462" y="26"/>
                    <a:pt x="458" y="26"/>
                  </a:cubicBezTo>
                  <a:cubicBezTo>
                    <a:pt x="459" y="16"/>
                    <a:pt x="441" y="31"/>
                    <a:pt x="445" y="15"/>
                  </a:cubicBezTo>
                  <a:cubicBezTo>
                    <a:pt x="440" y="14"/>
                    <a:pt x="439" y="20"/>
                    <a:pt x="437" y="22"/>
                  </a:cubicBezTo>
                  <a:cubicBezTo>
                    <a:pt x="435" y="18"/>
                    <a:pt x="434" y="14"/>
                    <a:pt x="431" y="11"/>
                  </a:cubicBezTo>
                  <a:cubicBezTo>
                    <a:pt x="425" y="29"/>
                    <a:pt x="405" y="19"/>
                    <a:pt x="399" y="30"/>
                  </a:cubicBezTo>
                  <a:cubicBezTo>
                    <a:pt x="397" y="25"/>
                    <a:pt x="393" y="23"/>
                    <a:pt x="388" y="22"/>
                  </a:cubicBezTo>
                  <a:cubicBezTo>
                    <a:pt x="388" y="18"/>
                    <a:pt x="388" y="14"/>
                    <a:pt x="383" y="15"/>
                  </a:cubicBezTo>
                  <a:cubicBezTo>
                    <a:pt x="378" y="18"/>
                    <a:pt x="379" y="29"/>
                    <a:pt x="372" y="30"/>
                  </a:cubicBezTo>
                  <a:cubicBezTo>
                    <a:pt x="372" y="26"/>
                    <a:pt x="370" y="26"/>
                    <a:pt x="367" y="26"/>
                  </a:cubicBezTo>
                  <a:cubicBezTo>
                    <a:pt x="364" y="26"/>
                    <a:pt x="365" y="23"/>
                    <a:pt x="364" y="22"/>
                  </a:cubicBezTo>
                  <a:cubicBezTo>
                    <a:pt x="362" y="21"/>
                    <a:pt x="359" y="23"/>
                    <a:pt x="356" y="22"/>
                  </a:cubicBezTo>
                  <a:cubicBezTo>
                    <a:pt x="354" y="22"/>
                    <a:pt x="352" y="19"/>
                    <a:pt x="351" y="19"/>
                  </a:cubicBezTo>
                  <a:cubicBezTo>
                    <a:pt x="349" y="19"/>
                    <a:pt x="348" y="30"/>
                    <a:pt x="343" y="26"/>
                  </a:cubicBezTo>
                  <a:cubicBezTo>
                    <a:pt x="342" y="21"/>
                    <a:pt x="344" y="13"/>
                    <a:pt x="340" y="11"/>
                  </a:cubicBezTo>
                  <a:cubicBezTo>
                    <a:pt x="339" y="14"/>
                    <a:pt x="340" y="19"/>
                    <a:pt x="337" y="19"/>
                  </a:cubicBezTo>
                  <a:cubicBezTo>
                    <a:pt x="333" y="23"/>
                    <a:pt x="333" y="20"/>
                    <a:pt x="329" y="19"/>
                  </a:cubicBezTo>
                  <a:cubicBezTo>
                    <a:pt x="324" y="17"/>
                    <a:pt x="321" y="23"/>
                    <a:pt x="318" y="22"/>
                  </a:cubicBezTo>
                  <a:cubicBezTo>
                    <a:pt x="317" y="22"/>
                    <a:pt x="317" y="18"/>
                    <a:pt x="313" y="19"/>
                  </a:cubicBezTo>
                  <a:cubicBezTo>
                    <a:pt x="311" y="19"/>
                    <a:pt x="312" y="23"/>
                    <a:pt x="308" y="22"/>
                  </a:cubicBezTo>
                  <a:cubicBezTo>
                    <a:pt x="307" y="22"/>
                    <a:pt x="303" y="15"/>
                    <a:pt x="302" y="15"/>
                  </a:cubicBezTo>
                  <a:cubicBezTo>
                    <a:pt x="288" y="21"/>
                    <a:pt x="275" y="26"/>
                    <a:pt x="265" y="15"/>
                  </a:cubicBezTo>
                  <a:cubicBezTo>
                    <a:pt x="265" y="21"/>
                    <a:pt x="253" y="23"/>
                    <a:pt x="251" y="22"/>
                  </a:cubicBezTo>
                  <a:cubicBezTo>
                    <a:pt x="249" y="22"/>
                    <a:pt x="249" y="19"/>
                    <a:pt x="249" y="19"/>
                  </a:cubicBezTo>
                  <a:cubicBezTo>
                    <a:pt x="243" y="18"/>
                    <a:pt x="234" y="31"/>
                    <a:pt x="235" y="15"/>
                  </a:cubicBezTo>
                  <a:cubicBezTo>
                    <a:pt x="225" y="18"/>
                    <a:pt x="215" y="19"/>
                    <a:pt x="205" y="22"/>
                  </a:cubicBezTo>
                  <a:cubicBezTo>
                    <a:pt x="202" y="22"/>
                    <a:pt x="201" y="18"/>
                    <a:pt x="200" y="15"/>
                  </a:cubicBezTo>
                  <a:cubicBezTo>
                    <a:pt x="195" y="12"/>
                    <a:pt x="195" y="21"/>
                    <a:pt x="189" y="22"/>
                  </a:cubicBezTo>
                  <a:cubicBezTo>
                    <a:pt x="189" y="22"/>
                    <a:pt x="187" y="18"/>
                    <a:pt x="184" y="19"/>
                  </a:cubicBezTo>
                  <a:cubicBezTo>
                    <a:pt x="184" y="19"/>
                    <a:pt x="184" y="22"/>
                    <a:pt x="184" y="22"/>
                  </a:cubicBezTo>
                  <a:cubicBezTo>
                    <a:pt x="182" y="25"/>
                    <a:pt x="166" y="23"/>
                    <a:pt x="165" y="22"/>
                  </a:cubicBezTo>
                  <a:cubicBezTo>
                    <a:pt x="161" y="21"/>
                    <a:pt x="162" y="19"/>
                    <a:pt x="160" y="22"/>
                  </a:cubicBezTo>
                  <a:cubicBezTo>
                    <a:pt x="158" y="26"/>
                    <a:pt x="145" y="22"/>
                    <a:pt x="144" y="22"/>
                  </a:cubicBezTo>
                  <a:cubicBezTo>
                    <a:pt x="140" y="24"/>
                    <a:pt x="140" y="26"/>
                    <a:pt x="138" y="22"/>
                  </a:cubicBezTo>
                  <a:cubicBezTo>
                    <a:pt x="138" y="22"/>
                    <a:pt x="134" y="23"/>
                    <a:pt x="133" y="22"/>
                  </a:cubicBezTo>
                  <a:cubicBezTo>
                    <a:pt x="123" y="21"/>
                    <a:pt x="120" y="19"/>
                    <a:pt x="114" y="19"/>
                  </a:cubicBezTo>
                  <a:cubicBezTo>
                    <a:pt x="110" y="18"/>
                    <a:pt x="111" y="23"/>
                    <a:pt x="109" y="19"/>
                  </a:cubicBezTo>
                  <a:cubicBezTo>
                    <a:pt x="108" y="18"/>
                    <a:pt x="104" y="19"/>
                    <a:pt x="103" y="19"/>
                  </a:cubicBezTo>
                  <a:cubicBezTo>
                    <a:pt x="99" y="17"/>
                    <a:pt x="97" y="16"/>
                    <a:pt x="95" y="19"/>
                  </a:cubicBezTo>
                  <a:cubicBezTo>
                    <a:pt x="95" y="19"/>
                    <a:pt x="91" y="19"/>
                    <a:pt x="90" y="19"/>
                  </a:cubicBezTo>
                  <a:cubicBezTo>
                    <a:pt x="80" y="19"/>
                    <a:pt x="79" y="14"/>
                    <a:pt x="76" y="19"/>
                  </a:cubicBezTo>
                  <a:cubicBezTo>
                    <a:pt x="74" y="23"/>
                    <a:pt x="64" y="15"/>
                    <a:pt x="63" y="15"/>
                  </a:cubicBezTo>
                  <a:cubicBezTo>
                    <a:pt x="55" y="13"/>
                    <a:pt x="48" y="12"/>
                    <a:pt x="39" y="11"/>
                  </a:cubicBezTo>
                  <a:cubicBezTo>
                    <a:pt x="39" y="7"/>
                    <a:pt x="42" y="6"/>
                    <a:pt x="41" y="0"/>
                  </a:cubicBezTo>
                  <a:cubicBezTo>
                    <a:pt x="28" y="7"/>
                    <a:pt x="16" y="24"/>
                    <a:pt x="12" y="37"/>
                  </a:cubicBezTo>
                  <a:cubicBezTo>
                    <a:pt x="11" y="39"/>
                    <a:pt x="9" y="43"/>
                    <a:pt x="9" y="45"/>
                  </a:cubicBezTo>
                  <a:cubicBezTo>
                    <a:pt x="9" y="48"/>
                    <a:pt x="7" y="47"/>
                    <a:pt x="7" y="48"/>
                  </a:cubicBezTo>
                  <a:cubicBezTo>
                    <a:pt x="4" y="56"/>
                    <a:pt x="5" y="69"/>
                    <a:pt x="4" y="78"/>
                  </a:cubicBezTo>
                  <a:cubicBezTo>
                    <a:pt x="4" y="78"/>
                    <a:pt x="2" y="79"/>
                    <a:pt x="1" y="82"/>
                  </a:cubicBezTo>
                  <a:cubicBezTo>
                    <a:pt x="0" y="85"/>
                    <a:pt x="2" y="89"/>
                    <a:pt x="1" y="93"/>
                  </a:cubicBezTo>
                  <a:cubicBezTo>
                    <a:pt x="18" y="99"/>
                    <a:pt x="3" y="124"/>
                    <a:pt x="4" y="141"/>
                  </a:cubicBezTo>
                  <a:cubicBezTo>
                    <a:pt x="9" y="138"/>
                    <a:pt x="8" y="146"/>
                    <a:pt x="9" y="148"/>
                  </a:cubicBezTo>
                  <a:cubicBezTo>
                    <a:pt x="12" y="151"/>
                    <a:pt x="18" y="149"/>
                    <a:pt x="17" y="156"/>
                  </a:cubicBezTo>
                  <a:cubicBezTo>
                    <a:pt x="15" y="156"/>
                    <a:pt x="14" y="156"/>
                    <a:pt x="12" y="156"/>
                  </a:cubicBezTo>
                  <a:cubicBezTo>
                    <a:pt x="15" y="172"/>
                    <a:pt x="3" y="168"/>
                    <a:pt x="4" y="182"/>
                  </a:cubicBezTo>
                  <a:cubicBezTo>
                    <a:pt x="7" y="182"/>
                    <a:pt x="11" y="181"/>
                    <a:pt x="12" y="185"/>
                  </a:cubicBezTo>
                  <a:cubicBezTo>
                    <a:pt x="13" y="199"/>
                    <a:pt x="19" y="203"/>
                    <a:pt x="15" y="215"/>
                  </a:cubicBezTo>
                  <a:cubicBezTo>
                    <a:pt x="20" y="212"/>
                    <a:pt x="18" y="220"/>
                    <a:pt x="20" y="222"/>
                  </a:cubicBezTo>
                  <a:cubicBezTo>
                    <a:pt x="21" y="224"/>
                    <a:pt x="26" y="222"/>
                    <a:pt x="25" y="226"/>
                  </a:cubicBezTo>
                  <a:cubicBezTo>
                    <a:pt x="25" y="232"/>
                    <a:pt x="26" y="237"/>
                    <a:pt x="28" y="241"/>
                  </a:cubicBezTo>
                  <a:cubicBezTo>
                    <a:pt x="25" y="241"/>
                    <a:pt x="23" y="241"/>
                    <a:pt x="20" y="241"/>
                  </a:cubicBezTo>
                  <a:cubicBezTo>
                    <a:pt x="23" y="252"/>
                    <a:pt x="22" y="255"/>
                    <a:pt x="17" y="263"/>
                  </a:cubicBezTo>
                  <a:cubicBezTo>
                    <a:pt x="22" y="264"/>
                    <a:pt x="24" y="257"/>
                    <a:pt x="25" y="263"/>
                  </a:cubicBezTo>
                  <a:cubicBezTo>
                    <a:pt x="24" y="268"/>
                    <a:pt x="20" y="270"/>
                    <a:pt x="15" y="270"/>
                  </a:cubicBezTo>
                  <a:cubicBezTo>
                    <a:pt x="12" y="282"/>
                    <a:pt x="22" y="278"/>
                    <a:pt x="23" y="285"/>
                  </a:cubicBezTo>
                  <a:cubicBezTo>
                    <a:pt x="14" y="288"/>
                    <a:pt x="18" y="297"/>
                    <a:pt x="15" y="300"/>
                  </a:cubicBezTo>
                  <a:cubicBezTo>
                    <a:pt x="7" y="310"/>
                    <a:pt x="12" y="294"/>
                    <a:pt x="7" y="292"/>
                  </a:cubicBezTo>
                  <a:cubicBezTo>
                    <a:pt x="1" y="306"/>
                    <a:pt x="12" y="313"/>
                    <a:pt x="15" y="322"/>
                  </a:cubicBezTo>
                  <a:cubicBezTo>
                    <a:pt x="16" y="325"/>
                    <a:pt x="9" y="334"/>
                    <a:pt x="17" y="333"/>
                  </a:cubicBezTo>
                  <a:cubicBezTo>
                    <a:pt x="18" y="329"/>
                    <a:pt x="17" y="323"/>
                    <a:pt x="20" y="322"/>
                  </a:cubicBezTo>
                  <a:cubicBezTo>
                    <a:pt x="19" y="334"/>
                    <a:pt x="25" y="335"/>
                    <a:pt x="23" y="348"/>
                  </a:cubicBezTo>
                  <a:cubicBezTo>
                    <a:pt x="22" y="352"/>
                    <a:pt x="6" y="352"/>
                    <a:pt x="15" y="355"/>
                  </a:cubicBezTo>
                  <a:cubicBezTo>
                    <a:pt x="23" y="357"/>
                    <a:pt x="26" y="347"/>
                    <a:pt x="28" y="359"/>
                  </a:cubicBezTo>
                  <a:cubicBezTo>
                    <a:pt x="25" y="358"/>
                    <a:pt x="23" y="353"/>
                    <a:pt x="23" y="363"/>
                  </a:cubicBezTo>
                  <a:cubicBezTo>
                    <a:pt x="31" y="367"/>
                    <a:pt x="29" y="357"/>
                    <a:pt x="33" y="355"/>
                  </a:cubicBezTo>
                  <a:cubicBezTo>
                    <a:pt x="34" y="363"/>
                    <a:pt x="43" y="359"/>
                    <a:pt x="44" y="366"/>
                  </a:cubicBezTo>
                  <a:cubicBezTo>
                    <a:pt x="39" y="374"/>
                    <a:pt x="45" y="374"/>
                    <a:pt x="47" y="381"/>
                  </a:cubicBezTo>
                  <a:cubicBezTo>
                    <a:pt x="43" y="380"/>
                    <a:pt x="42" y="377"/>
                    <a:pt x="39" y="381"/>
                  </a:cubicBezTo>
                  <a:cubicBezTo>
                    <a:pt x="41" y="369"/>
                    <a:pt x="33" y="376"/>
                    <a:pt x="33" y="381"/>
                  </a:cubicBezTo>
                  <a:cubicBezTo>
                    <a:pt x="40" y="382"/>
                    <a:pt x="43" y="388"/>
                    <a:pt x="47" y="392"/>
                  </a:cubicBezTo>
                  <a:cubicBezTo>
                    <a:pt x="42" y="392"/>
                    <a:pt x="38" y="392"/>
                    <a:pt x="33" y="392"/>
                  </a:cubicBezTo>
                  <a:cubicBezTo>
                    <a:pt x="31" y="404"/>
                    <a:pt x="41" y="399"/>
                    <a:pt x="39" y="411"/>
                  </a:cubicBezTo>
                  <a:cubicBezTo>
                    <a:pt x="45" y="416"/>
                    <a:pt x="50" y="400"/>
                    <a:pt x="52" y="411"/>
                  </a:cubicBezTo>
                  <a:cubicBezTo>
                    <a:pt x="49" y="411"/>
                    <a:pt x="46" y="412"/>
                    <a:pt x="47" y="418"/>
                  </a:cubicBezTo>
                  <a:cubicBezTo>
                    <a:pt x="47" y="423"/>
                    <a:pt x="51" y="422"/>
                    <a:pt x="52" y="426"/>
                  </a:cubicBezTo>
                  <a:cubicBezTo>
                    <a:pt x="46" y="425"/>
                    <a:pt x="42" y="427"/>
                    <a:pt x="41" y="433"/>
                  </a:cubicBezTo>
                  <a:cubicBezTo>
                    <a:pt x="45" y="434"/>
                    <a:pt x="44" y="439"/>
                    <a:pt x="44" y="444"/>
                  </a:cubicBezTo>
                  <a:cubicBezTo>
                    <a:pt x="52" y="450"/>
                    <a:pt x="56" y="439"/>
                    <a:pt x="58" y="455"/>
                  </a:cubicBezTo>
                  <a:cubicBezTo>
                    <a:pt x="48" y="458"/>
                    <a:pt x="46" y="451"/>
                    <a:pt x="41" y="448"/>
                  </a:cubicBezTo>
                  <a:cubicBezTo>
                    <a:pt x="45" y="457"/>
                    <a:pt x="31" y="459"/>
                    <a:pt x="39" y="463"/>
                  </a:cubicBezTo>
                  <a:cubicBezTo>
                    <a:pt x="39" y="458"/>
                    <a:pt x="46" y="458"/>
                    <a:pt x="47" y="463"/>
                  </a:cubicBezTo>
                  <a:cubicBezTo>
                    <a:pt x="36" y="459"/>
                    <a:pt x="51" y="487"/>
                    <a:pt x="36" y="485"/>
                  </a:cubicBezTo>
                  <a:cubicBezTo>
                    <a:pt x="38" y="499"/>
                    <a:pt x="44" y="506"/>
                    <a:pt x="47" y="518"/>
                  </a:cubicBezTo>
                  <a:cubicBezTo>
                    <a:pt x="39" y="526"/>
                    <a:pt x="47" y="532"/>
                    <a:pt x="39" y="537"/>
                  </a:cubicBezTo>
                  <a:cubicBezTo>
                    <a:pt x="40" y="534"/>
                    <a:pt x="36" y="533"/>
                    <a:pt x="36" y="533"/>
                  </a:cubicBezTo>
                  <a:cubicBezTo>
                    <a:pt x="36" y="530"/>
                    <a:pt x="39" y="528"/>
                    <a:pt x="39" y="529"/>
                  </a:cubicBezTo>
                  <a:cubicBezTo>
                    <a:pt x="38" y="525"/>
                    <a:pt x="36" y="520"/>
                    <a:pt x="36" y="518"/>
                  </a:cubicBezTo>
                  <a:cubicBezTo>
                    <a:pt x="36" y="518"/>
                    <a:pt x="41" y="517"/>
                    <a:pt x="41" y="514"/>
                  </a:cubicBezTo>
                  <a:cubicBezTo>
                    <a:pt x="42" y="511"/>
                    <a:pt x="37" y="508"/>
                    <a:pt x="36" y="507"/>
                  </a:cubicBezTo>
                  <a:cubicBezTo>
                    <a:pt x="31" y="519"/>
                    <a:pt x="41" y="530"/>
                    <a:pt x="28" y="533"/>
                  </a:cubicBezTo>
                  <a:cubicBezTo>
                    <a:pt x="28" y="539"/>
                    <a:pt x="28" y="545"/>
                    <a:pt x="28" y="551"/>
                  </a:cubicBezTo>
                  <a:cubicBezTo>
                    <a:pt x="38" y="557"/>
                    <a:pt x="29" y="535"/>
                    <a:pt x="39" y="540"/>
                  </a:cubicBezTo>
                  <a:cubicBezTo>
                    <a:pt x="34" y="547"/>
                    <a:pt x="38" y="550"/>
                    <a:pt x="39" y="559"/>
                  </a:cubicBezTo>
                  <a:cubicBezTo>
                    <a:pt x="37" y="560"/>
                    <a:pt x="34" y="559"/>
                    <a:pt x="33" y="562"/>
                  </a:cubicBezTo>
                  <a:cubicBezTo>
                    <a:pt x="37" y="572"/>
                    <a:pt x="41" y="556"/>
                    <a:pt x="44" y="566"/>
                  </a:cubicBezTo>
                  <a:cubicBezTo>
                    <a:pt x="39" y="564"/>
                    <a:pt x="36" y="583"/>
                    <a:pt x="41" y="585"/>
                  </a:cubicBezTo>
                  <a:cubicBezTo>
                    <a:pt x="45" y="579"/>
                    <a:pt x="46" y="569"/>
                    <a:pt x="52" y="566"/>
                  </a:cubicBezTo>
                  <a:cubicBezTo>
                    <a:pt x="57" y="573"/>
                    <a:pt x="50" y="579"/>
                    <a:pt x="47" y="585"/>
                  </a:cubicBezTo>
                  <a:cubicBezTo>
                    <a:pt x="44" y="585"/>
                    <a:pt x="44" y="588"/>
                    <a:pt x="41" y="588"/>
                  </a:cubicBezTo>
                  <a:cubicBezTo>
                    <a:pt x="35" y="593"/>
                    <a:pt x="31" y="579"/>
                    <a:pt x="31" y="588"/>
                  </a:cubicBezTo>
                  <a:cubicBezTo>
                    <a:pt x="34" y="598"/>
                    <a:pt x="52" y="589"/>
                    <a:pt x="49" y="607"/>
                  </a:cubicBezTo>
                  <a:cubicBezTo>
                    <a:pt x="46" y="602"/>
                    <a:pt x="38" y="604"/>
                    <a:pt x="39" y="614"/>
                  </a:cubicBezTo>
                  <a:cubicBezTo>
                    <a:pt x="49" y="609"/>
                    <a:pt x="45" y="622"/>
                    <a:pt x="47" y="625"/>
                  </a:cubicBezTo>
                  <a:cubicBezTo>
                    <a:pt x="48" y="627"/>
                    <a:pt x="53" y="625"/>
                    <a:pt x="52" y="629"/>
                  </a:cubicBezTo>
                  <a:cubicBezTo>
                    <a:pt x="50" y="649"/>
                    <a:pt x="39" y="636"/>
                    <a:pt x="33" y="648"/>
                  </a:cubicBezTo>
                  <a:cubicBezTo>
                    <a:pt x="42" y="647"/>
                    <a:pt x="35" y="663"/>
                    <a:pt x="36" y="670"/>
                  </a:cubicBezTo>
                  <a:cubicBezTo>
                    <a:pt x="36" y="670"/>
                    <a:pt x="41" y="671"/>
                    <a:pt x="41" y="673"/>
                  </a:cubicBezTo>
                  <a:cubicBezTo>
                    <a:pt x="42" y="678"/>
                    <a:pt x="37" y="679"/>
                    <a:pt x="39" y="684"/>
                  </a:cubicBezTo>
                  <a:cubicBezTo>
                    <a:pt x="41" y="685"/>
                    <a:pt x="42" y="688"/>
                    <a:pt x="41" y="692"/>
                  </a:cubicBezTo>
                  <a:cubicBezTo>
                    <a:pt x="46" y="692"/>
                    <a:pt x="51" y="691"/>
                    <a:pt x="49" y="699"/>
                  </a:cubicBezTo>
                  <a:cubicBezTo>
                    <a:pt x="46" y="699"/>
                    <a:pt x="46" y="695"/>
                    <a:pt x="41" y="696"/>
                  </a:cubicBezTo>
                  <a:cubicBezTo>
                    <a:pt x="45" y="707"/>
                    <a:pt x="37" y="705"/>
                    <a:pt x="36" y="710"/>
                  </a:cubicBezTo>
                  <a:cubicBezTo>
                    <a:pt x="40" y="712"/>
                    <a:pt x="43" y="716"/>
                    <a:pt x="44" y="721"/>
                  </a:cubicBezTo>
                  <a:cubicBezTo>
                    <a:pt x="39" y="722"/>
                    <a:pt x="36" y="721"/>
                    <a:pt x="33" y="718"/>
                  </a:cubicBezTo>
                  <a:cubicBezTo>
                    <a:pt x="31" y="730"/>
                    <a:pt x="36" y="732"/>
                    <a:pt x="39" y="736"/>
                  </a:cubicBezTo>
                  <a:cubicBezTo>
                    <a:pt x="31" y="730"/>
                    <a:pt x="31" y="752"/>
                    <a:pt x="36" y="751"/>
                  </a:cubicBezTo>
                  <a:cubicBezTo>
                    <a:pt x="38" y="733"/>
                    <a:pt x="37" y="755"/>
                    <a:pt x="41" y="755"/>
                  </a:cubicBezTo>
                  <a:cubicBezTo>
                    <a:pt x="40" y="748"/>
                    <a:pt x="49" y="736"/>
                    <a:pt x="49" y="744"/>
                  </a:cubicBezTo>
                  <a:cubicBezTo>
                    <a:pt x="49" y="751"/>
                    <a:pt x="42" y="748"/>
                    <a:pt x="44" y="759"/>
                  </a:cubicBezTo>
                  <a:cubicBezTo>
                    <a:pt x="47" y="757"/>
                    <a:pt x="53" y="769"/>
                    <a:pt x="47" y="770"/>
                  </a:cubicBezTo>
                  <a:cubicBezTo>
                    <a:pt x="50" y="760"/>
                    <a:pt x="38" y="753"/>
                    <a:pt x="36" y="762"/>
                  </a:cubicBezTo>
                  <a:cubicBezTo>
                    <a:pt x="42" y="763"/>
                    <a:pt x="42" y="772"/>
                    <a:pt x="39" y="777"/>
                  </a:cubicBezTo>
                  <a:cubicBezTo>
                    <a:pt x="44" y="781"/>
                    <a:pt x="48" y="766"/>
                    <a:pt x="49" y="777"/>
                  </a:cubicBezTo>
                  <a:cubicBezTo>
                    <a:pt x="51" y="791"/>
                    <a:pt x="38" y="783"/>
                    <a:pt x="36" y="792"/>
                  </a:cubicBezTo>
                  <a:cubicBezTo>
                    <a:pt x="39" y="792"/>
                    <a:pt x="39" y="798"/>
                    <a:pt x="39" y="803"/>
                  </a:cubicBezTo>
                  <a:cubicBezTo>
                    <a:pt x="44" y="807"/>
                    <a:pt x="50" y="809"/>
                    <a:pt x="52" y="818"/>
                  </a:cubicBezTo>
                  <a:cubicBezTo>
                    <a:pt x="48" y="814"/>
                    <a:pt x="46" y="814"/>
                    <a:pt x="44" y="821"/>
                  </a:cubicBezTo>
                  <a:cubicBezTo>
                    <a:pt x="46" y="828"/>
                    <a:pt x="57" y="821"/>
                    <a:pt x="58" y="829"/>
                  </a:cubicBezTo>
                  <a:cubicBezTo>
                    <a:pt x="58" y="837"/>
                    <a:pt x="57" y="843"/>
                    <a:pt x="52" y="844"/>
                  </a:cubicBezTo>
                  <a:cubicBezTo>
                    <a:pt x="52" y="839"/>
                    <a:pt x="56" y="838"/>
                    <a:pt x="55" y="832"/>
                  </a:cubicBezTo>
                  <a:cubicBezTo>
                    <a:pt x="47" y="831"/>
                    <a:pt x="49" y="839"/>
                    <a:pt x="44" y="840"/>
                  </a:cubicBezTo>
                  <a:cubicBezTo>
                    <a:pt x="45" y="840"/>
                    <a:pt x="42" y="833"/>
                    <a:pt x="41" y="832"/>
                  </a:cubicBezTo>
                  <a:cubicBezTo>
                    <a:pt x="39" y="831"/>
                    <a:pt x="37" y="838"/>
                    <a:pt x="36" y="840"/>
                  </a:cubicBezTo>
                  <a:cubicBezTo>
                    <a:pt x="39" y="841"/>
                    <a:pt x="42" y="845"/>
                    <a:pt x="41" y="851"/>
                  </a:cubicBezTo>
                  <a:cubicBezTo>
                    <a:pt x="45" y="852"/>
                    <a:pt x="49" y="845"/>
                    <a:pt x="49" y="851"/>
                  </a:cubicBezTo>
                  <a:cubicBezTo>
                    <a:pt x="49" y="852"/>
                    <a:pt x="47" y="858"/>
                    <a:pt x="47" y="858"/>
                  </a:cubicBezTo>
                  <a:cubicBezTo>
                    <a:pt x="55" y="864"/>
                    <a:pt x="56" y="859"/>
                    <a:pt x="63" y="858"/>
                  </a:cubicBezTo>
                  <a:cubicBezTo>
                    <a:pt x="62" y="864"/>
                    <a:pt x="67" y="868"/>
                    <a:pt x="68" y="862"/>
                  </a:cubicBezTo>
                  <a:cubicBezTo>
                    <a:pt x="64" y="862"/>
                    <a:pt x="73" y="838"/>
                    <a:pt x="66" y="832"/>
                  </a:cubicBezTo>
                  <a:cubicBezTo>
                    <a:pt x="76" y="835"/>
                    <a:pt x="67" y="801"/>
                    <a:pt x="79" y="818"/>
                  </a:cubicBezTo>
                  <a:cubicBezTo>
                    <a:pt x="81" y="807"/>
                    <a:pt x="75" y="808"/>
                    <a:pt x="76" y="799"/>
                  </a:cubicBezTo>
                  <a:cubicBezTo>
                    <a:pt x="70" y="800"/>
                    <a:pt x="66" y="798"/>
                    <a:pt x="66" y="792"/>
                  </a:cubicBezTo>
                  <a:cubicBezTo>
                    <a:pt x="71" y="792"/>
                    <a:pt x="65" y="787"/>
                    <a:pt x="66" y="784"/>
                  </a:cubicBezTo>
                  <a:cubicBezTo>
                    <a:pt x="66" y="783"/>
                    <a:pt x="71" y="785"/>
                    <a:pt x="71" y="784"/>
                  </a:cubicBezTo>
                  <a:cubicBezTo>
                    <a:pt x="73" y="780"/>
                    <a:pt x="69" y="763"/>
                    <a:pt x="76" y="766"/>
                  </a:cubicBezTo>
                  <a:cubicBezTo>
                    <a:pt x="70" y="760"/>
                    <a:pt x="77" y="755"/>
                    <a:pt x="76" y="751"/>
                  </a:cubicBezTo>
                  <a:cubicBezTo>
                    <a:pt x="76" y="749"/>
                    <a:pt x="64" y="739"/>
                    <a:pt x="74" y="736"/>
                  </a:cubicBezTo>
                  <a:cubicBezTo>
                    <a:pt x="77" y="741"/>
                    <a:pt x="86" y="739"/>
                    <a:pt x="90" y="744"/>
                  </a:cubicBezTo>
                  <a:cubicBezTo>
                    <a:pt x="88" y="735"/>
                    <a:pt x="86" y="726"/>
                    <a:pt x="95" y="725"/>
                  </a:cubicBezTo>
                  <a:cubicBezTo>
                    <a:pt x="92" y="739"/>
                    <a:pt x="100" y="756"/>
                    <a:pt x="106" y="744"/>
                  </a:cubicBezTo>
                  <a:cubicBezTo>
                    <a:pt x="102" y="741"/>
                    <a:pt x="101" y="739"/>
                    <a:pt x="103" y="736"/>
                  </a:cubicBezTo>
                  <a:cubicBezTo>
                    <a:pt x="104" y="736"/>
                    <a:pt x="96" y="719"/>
                    <a:pt x="103" y="721"/>
                  </a:cubicBezTo>
                  <a:cubicBezTo>
                    <a:pt x="107" y="735"/>
                    <a:pt x="113" y="734"/>
                    <a:pt x="109" y="751"/>
                  </a:cubicBezTo>
                  <a:cubicBezTo>
                    <a:pt x="113" y="751"/>
                    <a:pt x="117" y="752"/>
                    <a:pt x="119" y="755"/>
                  </a:cubicBezTo>
                  <a:cubicBezTo>
                    <a:pt x="119" y="746"/>
                    <a:pt x="114" y="739"/>
                    <a:pt x="122" y="736"/>
                  </a:cubicBezTo>
                  <a:cubicBezTo>
                    <a:pt x="122" y="752"/>
                    <a:pt x="124" y="745"/>
                    <a:pt x="128" y="740"/>
                  </a:cubicBezTo>
                  <a:cubicBezTo>
                    <a:pt x="125" y="764"/>
                    <a:pt x="138" y="764"/>
                    <a:pt x="149" y="770"/>
                  </a:cubicBezTo>
                  <a:cubicBezTo>
                    <a:pt x="149" y="765"/>
                    <a:pt x="150" y="761"/>
                    <a:pt x="154" y="762"/>
                  </a:cubicBezTo>
                  <a:cubicBezTo>
                    <a:pt x="155" y="758"/>
                    <a:pt x="155" y="753"/>
                    <a:pt x="160" y="755"/>
                  </a:cubicBezTo>
                  <a:cubicBezTo>
                    <a:pt x="163" y="767"/>
                    <a:pt x="151" y="758"/>
                    <a:pt x="154" y="770"/>
                  </a:cubicBezTo>
                  <a:cubicBezTo>
                    <a:pt x="158" y="769"/>
                    <a:pt x="164" y="771"/>
                    <a:pt x="165" y="766"/>
                  </a:cubicBezTo>
                  <a:cubicBezTo>
                    <a:pt x="161" y="766"/>
                    <a:pt x="165" y="762"/>
                    <a:pt x="165" y="762"/>
                  </a:cubicBezTo>
                  <a:cubicBezTo>
                    <a:pt x="165" y="760"/>
                    <a:pt x="162" y="756"/>
                    <a:pt x="163" y="755"/>
                  </a:cubicBezTo>
                  <a:cubicBezTo>
                    <a:pt x="163" y="751"/>
                    <a:pt x="168" y="752"/>
                    <a:pt x="168" y="744"/>
                  </a:cubicBezTo>
                  <a:cubicBezTo>
                    <a:pt x="168" y="744"/>
                    <a:pt x="165" y="744"/>
                    <a:pt x="165" y="744"/>
                  </a:cubicBezTo>
                  <a:cubicBezTo>
                    <a:pt x="163" y="741"/>
                    <a:pt x="161" y="721"/>
                    <a:pt x="168" y="729"/>
                  </a:cubicBezTo>
                  <a:cubicBezTo>
                    <a:pt x="169" y="715"/>
                    <a:pt x="157" y="719"/>
                    <a:pt x="160" y="703"/>
                  </a:cubicBezTo>
                  <a:cubicBezTo>
                    <a:pt x="166" y="702"/>
                    <a:pt x="171" y="699"/>
                    <a:pt x="176" y="696"/>
                  </a:cubicBezTo>
                  <a:cubicBezTo>
                    <a:pt x="176" y="691"/>
                    <a:pt x="176" y="686"/>
                    <a:pt x="176" y="681"/>
                  </a:cubicBezTo>
                  <a:cubicBezTo>
                    <a:pt x="165" y="683"/>
                    <a:pt x="174" y="672"/>
                    <a:pt x="173" y="670"/>
                  </a:cubicBezTo>
                  <a:cubicBezTo>
                    <a:pt x="173" y="667"/>
                    <a:pt x="168" y="666"/>
                    <a:pt x="168" y="662"/>
                  </a:cubicBezTo>
                  <a:cubicBezTo>
                    <a:pt x="167" y="658"/>
                    <a:pt x="168" y="652"/>
                    <a:pt x="170" y="651"/>
                  </a:cubicBezTo>
                  <a:cubicBezTo>
                    <a:pt x="174" y="653"/>
                    <a:pt x="173" y="659"/>
                    <a:pt x="176" y="662"/>
                  </a:cubicBezTo>
                  <a:cubicBezTo>
                    <a:pt x="175" y="661"/>
                    <a:pt x="177" y="658"/>
                    <a:pt x="178" y="658"/>
                  </a:cubicBezTo>
                  <a:cubicBezTo>
                    <a:pt x="177" y="659"/>
                    <a:pt x="188" y="675"/>
                    <a:pt x="187" y="662"/>
                  </a:cubicBezTo>
                  <a:cubicBezTo>
                    <a:pt x="184" y="661"/>
                    <a:pt x="183" y="655"/>
                    <a:pt x="181" y="651"/>
                  </a:cubicBezTo>
                  <a:cubicBezTo>
                    <a:pt x="177" y="641"/>
                    <a:pt x="184" y="646"/>
                    <a:pt x="181" y="636"/>
                  </a:cubicBezTo>
                  <a:cubicBezTo>
                    <a:pt x="181" y="634"/>
                    <a:pt x="176" y="634"/>
                    <a:pt x="176" y="629"/>
                  </a:cubicBezTo>
                  <a:cubicBezTo>
                    <a:pt x="176" y="629"/>
                    <a:pt x="181" y="626"/>
                    <a:pt x="181" y="625"/>
                  </a:cubicBezTo>
                  <a:cubicBezTo>
                    <a:pt x="184" y="619"/>
                    <a:pt x="180" y="610"/>
                    <a:pt x="184" y="607"/>
                  </a:cubicBezTo>
                  <a:cubicBezTo>
                    <a:pt x="177" y="609"/>
                    <a:pt x="174" y="605"/>
                    <a:pt x="176" y="596"/>
                  </a:cubicBezTo>
                  <a:cubicBezTo>
                    <a:pt x="181" y="595"/>
                    <a:pt x="182" y="600"/>
                    <a:pt x="187" y="599"/>
                  </a:cubicBezTo>
                  <a:cubicBezTo>
                    <a:pt x="187" y="597"/>
                    <a:pt x="187" y="592"/>
                    <a:pt x="189" y="592"/>
                  </a:cubicBezTo>
                  <a:cubicBezTo>
                    <a:pt x="189" y="597"/>
                    <a:pt x="190" y="606"/>
                    <a:pt x="192" y="599"/>
                  </a:cubicBezTo>
                  <a:cubicBezTo>
                    <a:pt x="191" y="591"/>
                    <a:pt x="193" y="586"/>
                    <a:pt x="197" y="585"/>
                  </a:cubicBezTo>
                  <a:cubicBezTo>
                    <a:pt x="195" y="598"/>
                    <a:pt x="197" y="594"/>
                    <a:pt x="195" y="607"/>
                  </a:cubicBezTo>
                  <a:cubicBezTo>
                    <a:pt x="202" y="604"/>
                    <a:pt x="193" y="624"/>
                    <a:pt x="200" y="622"/>
                  </a:cubicBezTo>
                  <a:cubicBezTo>
                    <a:pt x="206" y="611"/>
                    <a:pt x="195" y="608"/>
                    <a:pt x="200" y="603"/>
                  </a:cubicBezTo>
                  <a:cubicBezTo>
                    <a:pt x="208" y="613"/>
                    <a:pt x="210" y="635"/>
                    <a:pt x="200" y="644"/>
                  </a:cubicBezTo>
                  <a:cubicBezTo>
                    <a:pt x="197" y="640"/>
                    <a:pt x="191" y="640"/>
                    <a:pt x="184" y="640"/>
                  </a:cubicBezTo>
                  <a:cubicBezTo>
                    <a:pt x="185" y="650"/>
                    <a:pt x="187" y="658"/>
                    <a:pt x="192" y="662"/>
                  </a:cubicBezTo>
                  <a:cubicBezTo>
                    <a:pt x="187" y="664"/>
                    <a:pt x="193" y="667"/>
                    <a:pt x="192" y="673"/>
                  </a:cubicBezTo>
                  <a:cubicBezTo>
                    <a:pt x="185" y="673"/>
                    <a:pt x="184" y="666"/>
                    <a:pt x="181" y="677"/>
                  </a:cubicBezTo>
                  <a:cubicBezTo>
                    <a:pt x="188" y="675"/>
                    <a:pt x="175" y="694"/>
                    <a:pt x="184" y="696"/>
                  </a:cubicBezTo>
                  <a:cubicBezTo>
                    <a:pt x="188" y="691"/>
                    <a:pt x="184" y="676"/>
                    <a:pt x="195" y="681"/>
                  </a:cubicBezTo>
                  <a:cubicBezTo>
                    <a:pt x="194" y="668"/>
                    <a:pt x="199" y="665"/>
                    <a:pt x="203" y="659"/>
                  </a:cubicBezTo>
                  <a:cubicBezTo>
                    <a:pt x="207" y="661"/>
                    <a:pt x="202" y="677"/>
                    <a:pt x="211" y="673"/>
                  </a:cubicBezTo>
                  <a:cubicBezTo>
                    <a:pt x="212" y="667"/>
                    <a:pt x="207" y="664"/>
                    <a:pt x="211" y="662"/>
                  </a:cubicBezTo>
                  <a:cubicBezTo>
                    <a:pt x="213" y="663"/>
                    <a:pt x="216" y="662"/>
                    <a:pt x="216" y="666"/>
                  </a:cubicBezTo>
                  <a:cubicBezTo>
                    <a:pt x="212" y="668"/>
                    <a:pt x="216" y="680"/>
                    <a:pt x="211" y="681"/>
                  </a:cubicBezTo>
                  <a:cubicBezTo>
                    <a:pt x="205" y="679"/>
                    <a:pt x="206" y="670"/>
                    <a:pt x="200" y="677"/>
                  </a:cubicBezTo>
                  <a:cubicBezTo>
                    <a:pt x="199" y="691"/>
                    <a:pt x="201" y="701"/>
                    <a:pt x="205" y="707"/>
                  </a:cubicBezTo>
                  <a:cubicBezTo>
                    <a:pt x="199" y="706"/>
                    <a:pt x="197" y="700"/>
                    <a:pt x="195" y="710"/>
                  </a:cubicBezTo>
                  <a:cubicBezTo>
                    <a:pt x="202" y="714"/>
                    <a:pt x="191" y="722"/>
                    <a:pt x="195" y="733"/>
                  </a:cubicBezTo>
                  <a:cubicBezTo>
                    <a:pt x="200" y="736"/>
                    <a:pt x="204" y="722"/>
                    <a:pt x="205" y="733"/>
                  </a:cubicBezTo>
                  <a:cubicBezTo>
                    <a:pt x="200" y="731"/>
                    <a:pt x="200" y="738"/>
                    <a:pt x="197" y="740"/>
                  </a:cubicBezTo>
                  <a:cubicBezTo>
                    <a:pt x="196" y="740"/>
                    <a:pt x="194" y="741"/>
                    <a:pt x="195" y="744"/>
                  </a:cubicBezTo>
                  <a:cubicBezTo>
                    <a:pt x="203" y="747"/>
                    <a:pt x="208" y="728"/>
                    <a:pt x="211" y="736"/>
                  </a:cubicBezTo>
                  <a:cubicBezTo>
                    <a:pt x="204" y="742"/>
                    <a:pt x="210" y="762"/>
                    <a:pt x="211" y="770"/>
                  </a:cubicBezTo>
                  <a:cubicBezTo>
                    <a:pt x="211" y="779"/>
                    <a:pt x="211" y="789"/>
                    <a:pt x="211" y="799"/>
                  </a:cubicBezTo>
                  <a:cubicBezTo>
                    <a:pt x="201" y="797"/>
                    <a:pt x="199" y="806"/>
                    <a:pt x="189" y="803"/>
                  </a:cubicBezTo>
                  <a:cubicBezTo>
                    <a:pt x="188" y="817"/>
                    <a:pt x="206" y="804"/>
                    <a:pt x="200" y="825"/>
                  </a:cubicBezTo>
                  <a:cubicBezTo>
                    <a:pt x="209" y="826"/>
                    <a:pt x="206" y="811"/>
                    <a:pt x="214" y="810"/>
                  </a:cubicBezTo>
                  <a:cubicBezTo>
                    <a:pt x="218" y="823"/>
                    <a:pt x="214" y="823"/>
                    <a:pt x="214" y="840"/>
                  </a:cubicBezTo>
                  <a:cubicBezTo>
                    <a:pt x="208" y="837"/>
                    <a:pt x="203" y="852"/>
                    <a:pt x="208" y="851"/>
                  </a:cubicBezTo>
                  <a:cubicBezTo>
                    <a:pt x="209" y="847"/>
                    <a:pt x="212" y="847"/>
                    <a:pt x="216" y="847"/>
                  </a:cubicBezTo>
                  <a:cubicBezTo>
                    <a:pt x="210" y="855"/>
                    <a:pt x="219" y="859"/>
                    <a:pt x="214" y="866"/>
                  </a:cubicBezTo>
                  <a:cubicBezTo>
                    <a:pt x="223" y="869"/>
                    <a:pt x="216" y="849"/>
                    <a:pt x="224" y="851"/>
                  </a:cubicBezTo>
                  <a:cubicBezTo>
                    <a:pt x="227" y="854"/>
                    <a:pt x="225" y="865"/>
                    <a:pt x="232" y="862"/>
                  </a:cubicBezTo>
                  <a:cubicBezTo>
                    <a:pt x="229" y="850"/>
                    <a:pt x="241" y="859"/>
                    <a:pt x="238" y="847"/>
                  </a:cubicBezTo>
                  <a:cubicBezTo>
                    <a:pt x="229" y="843"/>
                    <a:pt x="236" y="859"/>
                    <a:pt x="227" y="855"/>
                  </a:cubicBezTo>
                  <a:cubicBezTo>
                    <a:pt x="231" y="840"/>
                    <a:pt x="220" y="847"/>
                    <a:pt x="219" y="840"/>
                  </a:cubicBezTo>
                  <a:cubicBezTo>
                    <a:pt x="222" y="837"/>
                    <a:pt x="226" y="835"/>
                    <a:pt x="232" y="836"/>
                  </a:cubicBezTo>
                  <a:cubicBezTo>
                    <a:pt x="233" y="831"/>
                    <a:pt x="231" y="822"/>
                    <a:pt x="235" y="821"/>
                  </a:cubicBezTo>
                  <a:cubicBezTo>
                    <a:pt x="239" y="830"/>
                    <a:pt x="243" y="815"/>
                    <a:pt x="246" y="825"/>
                  </a:cubicBezTo>
                  <a:cubicBezTo>
                    <a:pt x="242" y="834"/>
                    <a:pt x="247" y="832"/>
                    <a:pt x="243" y="836"/>
                  </a:cubicBezTo>
                  <a:cubicBezTo>
                    <a:pt x="242" y="837"/>
                    <a:pt x="243" y="842"/>
                    <a:pt x="243" y="844"/>
                  </a:cubicBezTo>
                  <a:cubicBezTo>
                    <a:pt x="240" y="853"/>
                    <a:pt x="245" y="849"/>
                    <a:pt x="243" y="858"/>
                  </a:cubicBezTo>
                  <a:cubicBezTo>
                    <a:pt x="243" y="861"/>
                    <a:pt x="235" y="862"/>
                    <a:pt x="238" y="869"/>
                  </a:cubicBezTo>
                  <a:cubicBezTo>
                    <a:pt x="241" y="872"/>
                    <a:pt x="243" y="877"/>
                    <a:pt x="243" y="884"/>
                  </a:cubicBezTo>
                  <a:cubicBezTo>
                    <a:pt x="240" y="885"/>
                    <a:pt x="239" y="879"/>
                    <a:pt x="238" y="884"/>
                  </a:cubicBezTo>
                  <a:cubicBezTo>
                    <a:pt x="241" y="885"/>
                    <a:pt x="241" y="890"/>
                    <a:pt x="240" y="895"/>
                  </a:cubicBezTo>
                  <a:cubicBezTo>
                    <a:pt x="237" y="896"/>
                    <a:pt x="233" y="895"/>
                    <a:pt x="232" y="899"/>
                  </a:cubicBezTo>
                  <a:cubicBezTo>
                    <a:pt x="238" y="898"/>
                    <a:pt x="234" y="912"/>
                    <a:pt x="235" y="918"/>
                  </a:cubicBezTo>
                  <a:cubicBezTo>
                    <a:pt x="245" y="916"/>
                    <a:pt x="249" y="907"/>
                    <a:pt x="251" y="895"/>
                  </a:cubicBezTo>
                  <a:cubicBezTo>
                    <a:pt x="249" y="894"/>
                    <a:pt x="246" y="895"/>
                    <a:pt x="246" y="892"/>
                  </a:cubicBezTo>
                  <a:cubicBezTo>
                    <a:pt x="254" y="879"/>
                    <a:pt x="238" y="856"/>
                    <a:pt x="254" y="855"/>
                  </a:cubicBezTo>
                  <a:cubicBezTo>
                    <a:pt x="255" y="866"/>
                    <a:pt x="249" y="868"/>
                    <a:pt x="251" y="881"/>
                  </a:cubicBezTo>
                  <a:cubicBezTo>
                    <a:pt x="256" y="879"/>
                    <a:pt x="257" y="886"/>
                    <a:pt x="259" y="888"/>
                  </a:cubicBezTo>
                  <a:cubicBezTo>
                    <a:pt x="265" y="875"/>
                    <a:pt x="267" y="899"/>
                    <a:pt x="273" y="899"/>
                  </a:cubicBezTo>
                  <a:cubicBezTo>
                    <a:pt x="273" y="895"/>
                    <a:pt x="277" y="894"/>
                    <a:pt x="278" y="899"/>
                  </a:cubicBezTo>
                  <a:cubicBezTo>
                    <a:pt x="283" y="911"/>
                    <a:pt x="268" y="914"/>
                    <a:pt x="275" y="918"/>
                  </a:cubicBezTo>
                  <a:cubicBezTo>
                    <a:pt x="276" y="909"/>
                    <a:pt x="287" y="916"/>
                    <a:pt x="292" y="914"/>
                  </a:cubicBezTo>
                  <a:cubicBezTo>
                    <a:pt x="291" y="919"/>
                    <a:pt x="293" y="922"/>
                    <a:pt x="294" y="925"/>
                  </a:cubicBezTo>
                  <a:cubicBezTo>
                    <a:pt x="304" y="925"/>
                    <a:pt x="310" y="931"/>
                    <a:pt x="313" y="940"/>
                  </a:cubicBezTo>
                  <a:cubicBezTo>
                    <a:pt x="312" y="940"/>
                    <a:pt x="310" y="943"/>
                    <a:pt x="313" y="943"/>
                  </a:cubicBezTo>
                  <a:cubicBezTo>
                    <a:pt x="314" y="937"/>
                    <a:pt x="319" y="941"/>
                    <a:pt x="321" y="943"/>
                  </a:cubicBezTo>
                  <a:cubicBezTo>
                    <a:pt x="323" y="945"/>
                    <a:pt x="325" y="946"/>
                    <a:pt x="326" y="947"/>
                  </a:cubicBezTo>
                  <a:cubicBezTo>
                    <a:pt x="329" y="949"/>
                    <a:pt x="332" y="954"/>
                    <a:pt x="335" y="954"/>
                  </a:cubicBezTo>
                  <a:cubicBezTo>
                    <a:pt x="334" y="954"/>
                    <a:pt x="335" y="948"/>
                    <a:pt x="337" y="951"/>
                  </a:cubicBezTo>
                  <a:cubicBezTo>
                    <a:pt x="339" y="953"/>
                    <a:pt x="336" y="958"/>
                    <a:pt x="340" y="958"/>
                  </a:cubicBezTo>
                  <a:cubicBezTo>
                    <a:pt x="344" y="959"/>
                    <a:pt x="345" y="969"/>
                    <a:pt x="345" y="973"/>
                  </a:cubicBezTo>
                  <a:cubicBezTo>
                    <a:pt x="364" y="976"/>
                    <a:pt x="367" y="1002"/>
                    <a:pt x="388" y="1003"/>
                  </a:cubicBezTo>
                  <a:cubicBezTo>
                    <a:pt x="391" y="1008"/>
                    <a:pt x="394" y="1015"/>
                    <a:pt x="396" y="1017"/>
                  </a:cubicBezTo>
                  <a:cubicBezTo>
                    <a:pt x="400" y="1021"/>
                    <a:pt x="406" y="1018"/>
                    <a:pt x="410" y="1021"/>
                  </a:cubicBezTo>
                  <a:cubicBezTo>
                    <a:pt x="411" y="1022"/>
                    <a:pt x="411" y="1028"/>
                    <a:pt x="412" y="1028"/>
                  </a:cubicBezTo>
                  <a:cubicBezTo>
                    <a:pt x="415" y="1030"/>
                    <a:pt x="418" y="1028"/>
                    <a:pt x="421" y="1028"/>
                  </a:cubicBezTo>
                  <a:cubicBezTo>
                    <a:pt x="421" y="1029"/>
                    <a:pt x="420" y="1032"/>
                    <a:pt x="421" y="1032"/>
                  </a:cubicBezTo>
                  <a:cubicBezTo>
                    <a:pt x="421" y="1033"/>
                    <a:pt x="428" y="1035"/>
                    <a:pt x="429" y="1036"/>
                  </a:cubicBezTo>
                  <a:cubicBezTo>
                    <a:pt x="433" y="1040"/>
                    <a:pt x="436" y="1038"/>
                    <a:pt x="442" y="1040"/>
                  </a:cubicBezTo>
                  <a:cubicBezTo>
                    <a:pt x="442" y="1040"/>
                    <a:pt x="443" y="1043"/>
                    <a:pt x="445" y="1043"/>
                  </a:cubicBezTo>
                  <a:cubicBezTo>
                    <a:pt x="448" y="1044"/>
                    <a:pt x="450" y="1046"/>
                    <a:pt x="453" y="1047"/>
                  </a:cubicBezTo>
                  <a:cubicBezTo>
                    <a:pt x="460" y="1049"/>
                    <a:pt x="461" y="1051"/>
                    <a:pt x="464" y="1058"/>
                  </a:cubicBezTo>
                  <a:cubicBezTo>
                    <a:pt x="469" y="1058"/>
                    <a:pt x="474" y="1058"/>
                    <a:pt x="480" y="1058"/>
                  </a:cubicBezTo>
                  <a:cubicBezTo>
                    <a:pt x="480" y="1065"/>
                    <a:pt x="481" y="1064"/>
                    <a:pt x="485" y="1065"/>
                  </a:cubicBezTo>
                  <a:cubicBezTo>
                    <a:pt x="486" y="1066"/>
                    <a:pt x="489" y="1069"/>
                    <a:pt x="488" y="1069"/>
                  </a:cubicBezTo>
                  <a:cubicBezTo>
                    <a:pt x="491" y="1069"/>
                    <a:pt x="495" y="1065"/>
                    <a:pt x="496" y="1065"/>
                  </a:cubicBezTo>
                  <a:cubicBezTo>
                    <a:pt x="496" y="1066"/>
                    <a:pt x="495" y="1072"/>
                    <a:pt x="496" y="1073"/>
                  </a:cubicBezTo>
                  <a:cubicBezTo>
                    <a:pt x="497" y="1074"/>
                    <a:pt x="500" y="1072"/>
                    <a:pt x="501" y="1073"/>
                  </a:cubicBezTo>
                  <a:cubicBezTo>
                    <a:pt x="502" y="1073"/>
                    <a:pt x="505" y="1077"/>
                    <a:pt x="504" y="1077"/>
                  </a:cubicBezTo>
                  <a:cubicBezTo>
                    <a:pt x="507" y="1077"/>
                    <a:pt x="511" y="1072"/>
                    <a:pt x="512" y="1073"/>
                  </a:cubicBezTo>
                  <a:cubicBezTo>
                    <a:pt x="514" y="1074"/>
                    <a:pt x="515" y="1082"/>
                    <a:pt x="517" y="1084"/>
                  </a:cubicBezTo>
                  <a:cubicBezTo>
                    <a:pt x="526" y="1087"/>
                    <a:pt x="523" y="1074"/>
                    <a:pt x="531" y="1077"/>
                  </a:cubicBezTo>
                  <a:cubicBezTo>
                    <a:pt x="532" y="1087"/>
                    <a:pt x="545" y="1082"/>
                    <a:pt x="542" y="1099"/>
                  </a:cubicBezTo>
                  <a:cubicBezTo>
                    <a:pt x="550" y="1098"/>
                    <a:pt x="553" y="1105"/>
                    <a:pt x="563" y="1102"/>
                  </a:cubicBezTo>
                  <a:cubicBezTo>
                    <a:pt x="565" y="1112"/>
                    <a:pt x="571" y="1117"/>
                    <a:pt x="574" y="1125"/>
                  </a:cubicBezTo>
                  <a:cubicBezTo>
                    <a:pt x="576" y="1129"/>
                    <a:pt x="574" y="1129"/>
                    <a:pt x="577" y="1132"/>
                  </a:cubicBezTo>
                  <a:cubicBezTo>
                    <a:pt x="577" y="1133"/>
                    <a:pt x="576" y="1138"/>
                    <a:pt x="577" y="1139"/>
                  </a:cubicBezTo>
                  <a:cubicBezTo>
                    <a:pt x="577" y="1140"/>
                    <a:pt x="579" y="1139"/>
                    <a:pt x="579" y="1139"/>
                  </a:cubicBezTo>
                  <a:cubicBezTo>
                    <a:pt x="580" y="1140"/>
                    <a:pt x="579" y="1145"/>
                    <a:pt x="579" y="1147"/>
                  </a:cubicBezTo>
                  <a:cubicBezTo>
                    <a:pt x="580" y="1148"/>
                    <a:pt x="584" y="1149"/>
                    <a:pt x="585" y="1151"/>
                  </a:cubicBezTo>
                  <a:cubicBezTo>
                    <a:pt x="586" y="1154"/>
                    <a:pt x="585" y="1159"/>
                    <a:pt x="587" y="1162"/>
                  </a:cubicBezTo>
                  <a:cubicBezTo>
                    <a:pt x="589" y="1165"/>
                    <a:pt x="593" y="1163"/>
                    <a:pt x="595" y="1165"/>
                  </a:cubicBezTo>
                  <a:cubicBezTo>
                    <a:pt x="599" y="1169"/>
                    <a:pt x="603" y="1175"/>
                    <a:pt x="606" y="1180"/>
                  </a:cubicBezTo>
                  <a:cubicBezTo>
                    <a:pt x="611" y="1186"/>
                    <a:pt x="614" y="1193"/>
                    <a:pt x="617" y="1199"/>
                  </a:cubicBezTo>
                  <a:cubicBezTo>
                    <a:pt x="634" y="1201"/>
                    <a:pt x="644" y="1194"/>
                    <a:pt x="660" y="1195"/>
                  </a:cubicBezTo>
                  <a:cubicBezTo>
                    <a:pt x="670" y="1210"/>
                    <a:pt x="684" y="1205"/>
                    <a:pt x="698" y="1210"/>
                  </a:cubicBezTo>
                  <a:cubicBezTo>
                    <a:pt x="699" y="1210"/>
                    <a:pt x="702" y="1216"/>
                    <a:pt x="703" y="1217"/>
                  </a:cubicBezTo>
                  <a:cubicBezTo>
                    <a:pt x="706" y="1218"/>
                    <a:pt x="710" y="1216"/>
                    <a:pt x="714" y="1217"/>
                  </a:cubicBezTo>
                  <a:cubicBezTo>
                    <a:pt x="714" y="1217"/>
                    <a:pt x="714" y="1220"/>
                    <a:pt x="716" y="1221"/>
                  </a:cubicBezTo>
                  <a:cubicBezTo>
                    <a:pt x="720" y="1222"/>
                    <a:pt x="722" y="1222"/>
                    <a:pt x="724" y="1225"/>
                  </a:cubicBezTo>
                  <a:cubicBezTo>
                    <a:pt x="730" y="1230"/>
                    <a:pt x="736" y="1226"/>
                    <a:pt x="743" y="1228"/>
                  </a:cubicBezTo>
                  <a:cubicBezTo>
                    <a:pt x="744" y="1228"/>
                    <a:pt x="747" y="1235"/>
                    <a:pt x="749" y="1235"/>
                  </a:cubicBezTo>
                  <a:cubicBezTo>
                    <a:pt x="752" y="1237"/>
                    <a:pt x="755" y="1232"/>
                    <a:pt x="757" y="1232"/>
                  </a:cubicBezTo>
                  <a:cubicBezTo>
                    <a:pt x="756" y="1232"/>
                    <a:pt x="758" y="1235"/>
                    <a:pt x="759" y="1235"/>
                  </a:cubicBezTo>
                  <a:cubicBezTo>
                    <a:pt x="763" y="1237"/>
                    <a:pt x="765" y="1238"/>
                    <a:pt x="767" y="1239"/>
                  </a:cubicBezTo>
                  <a:cubicBezTo>
                    <a:pt x="775" y="1242"/>
                    <a:pt x="773" y="1245"/>
                    <a:pt x="778" y="1247"/>
                  </a:cubicBezTo>
                  <a:cubicBezTo>
                    <a:pt x="777" y="1246"/>
                    <a:pt x="780" y="1243"/>
                    <a:pt x="781" y="1243"/>
                  </a:cubicBezTo>
                  <a:cubicBezTo>
                    <a:pt x="784" y="1242"/>
                    <a:pt x="788" y="1245"/>
                    <a:pt x="789" y="1247"/>
                  </a:cubicBezTo>
                  <a:cubicBezTo>
                    <a:pt x="795" y="1255"/>
                    <a:pt x="799" y="1246"/>
                    <a:pt x="805" y="1247"/>
                  </a:cubicBezTo>
                  <a:cubicBezTo>
                    <a:pt x="805" y="1247"/>
                    <a:pt x="806" y="1250"/>
                    <a:pt x="808" y="1250"/>
                  </a:cubicBezTo>
                  <a:cubicBezTo>
                    <a:pt x="809" y="1251"/>
                    <a:pt x="812" y="1250"/>
                    <a:pt x="813" y="1250"/>
                  </a:cubicBezTo>
                  <a:cubicBezTo>
                    <a:pt x="813" y="1251"/>
                    <a:pt x="813" y="1254"/>
                    <a:pt x="813" y="1254"/>
                  </a:cubicBezTo>
                  <a:cubicBezTo>
                    <a:pt x="817" y="1256"/>
                    <a:pt x="823" y="1255"/>
                    <a:pt x="827" y="1258"/>
                  </a:cubicBezTo>
                  <a:cubicBezTo>
                    <a:pt x="827" y="1255"/>
                    <a:pt x="827" y="1250"/>
                    <a:pt x="829" y="1250"/>
                  </a:cubicBezTo>
                  <a:cubicBezTo>
                    <a:pt x="835" y="1258"/>
                    <a:pt x="835" y="1249"/>
                    <a:pt x="840" y="1247"/>
                  </a:cubicBezTo>
                  <a:cubicBezTo>
                    <a:pt x="840" y="1252"/>
                    <a:pt x="840" y="1257"/>
                    <a:pt x="840" y="1261"/>
                  </a:cubicBezTo>
                  <a:cubicBezTo>
                    <a:pt x="845" y="1263"/>
                    <a:pt x="845" y="1256"/>
                    <a:pt x="848" y="1254"/>
                  </a:cubicBezTo>
                  <a:cubicBezTo>
                    <a:pt x="849" y="1258"/>
                    <a:pt x="851" y="1260"/>
                    <a:pt x="854" y="1261"/>
                  </a:cubicBezTo>
                  <a:cubicBezTo>
                    <a:pt x="854" y="1257"/>
                    <a:pt x="853" y="1251"/>
                    <a:pt x="856" y="1250"/>
                  </a:cubicBezTo>
                  <a:cubicBezTo>
                    <a:pt x="864" y="1260"/>
                    <a:pt x="866" y="1254"/>
                    <a:pt x="878" y="1258"/>
                  </a:cubicBezTo>
                  <a:cubicBezTo>
                    <a:pt x="878" y="1262"/>
                    <a:pt x="878" y="1266"/>
                    <a:pt x="883" y="1265"/>
                  </a:cubicBezTo>
                  <a:cubicBezTo>
                    <a:pt x="884" y="1253"/>
                    <a:pt x="888" y="1263"/>
                    <a:pt x="897" y="1258"/>
                  </a:cubicBezTo>
                  <a:cubicBezTo>
                    <a:pt x="896" y="1264"/>
                    <a:pt x="899" y="1267"/>
                    <a:pt x="902" y="1269"/>
                  </a:cubicBezTo>
                  <a:cubicBezTo>
                    <a:pt x="904" y="1263"/>
                    <a:pt x="905" y="1269"/>
                    <a:pt x="907" y="1265"/>
                  </a:cubicBezTo>
                  <a:cubicBezTo>
                    <a:pt x="911" y="1260"/>
                    <a:pt x="921" y="1269"/>
                    <a:pt x="921" y="1269"/>
                  </a:cubicBezTo>
                  <a:cubicBezTo>
                    <a:pt x="923" y="1268"/>
                    <a:pt x="926" y="1255"/>
                    <a:pt x="931" y="1261"/>
                  </a:cubicBezTo>
                  <a:cubicBezTo>
                    <a:pt x="930" y="1276"/>
                    <a:pt x="940" y="1266"/>
                    <a:pt x="945" y="1265"/>
                  </a:cubicBezTo>
                  <a:cubicBezTo>
                    <a:pt x="948" y="1265"/>
                    <a:pt x="949" y="1269"/>
                    <a:pt x="953" y="1269"/>
                  </a:cubicBezTo>
                  <a:cubicBezTo>
                    <a:pt x="952" y="1269"/>
                    <a:pt x="955" y="1265"/>
                    <a:pt x="956" y="1265"/>
                  </a:cubicBezTo>
                  <a:cubicBezTo>
                    <a:pt x="968" y="1258"/>
                    <a:pt x="952" y="1267"/>
                    <a:pt x="953" y="1258"/>
                  </a:cubicBezTo>
                  <a:cubicBezTo>
                    <a:pt x="957" y="1258"/>
                    <a:pt x="959" y="1256"/>
                    <a:pt x="961" y="1254"/>
                  </a:cubicBezTo>
                  <a:cubicBezTo>
                    <a:pt x="966" y="1259"/>
                    <a:pt x="961" y="1276"/>
                    <a:pt x="969" y="1276"/>
                  </a:cubicBezTo>
                  <a:cubicBezTo>
                    <a:pt x="968" y="1266"/>
                    <a:pt x="984" y="1279"/>
                    <a:pt x="983" y="1269"/>
                  </a:cubicBezTo>
                  <a:cubicBezTo>
                    <a:pt x="980" y="1268"/>
                    <a:pt x="978" y="1265"/>
                    <a:pt x="977" y="1261"/>
                  </a:cubicBezTo>
                  <a:cubicBezTo>
                    <a:pt x="990" y="1261"/>
                    <a:pt x="987" y="1259"/>
                    <a:pt x="999" y="1254"/>
                  </a:cubicBezTo>
                  <a:cubicBezTo>
                    <a:pt x="999" y="1260"/>
                    <a:pt x="998" y="1268"/>
                    <a:pt x="1001" y="1269"/>
                  </a:cubicBezTo>
                  <a:cubicBezTo>
                    <a:pt x="1002" y="1264"/>
                    <a:pt x="1002" y="1260"/>
                    <a:pt x="1007" y="1261"/>
                  </a:cubicBezTo>
                  <a:cubicBezTo>
                    <a:pt x="1007" y="1269"/>
                    <a:pt x="999" y="1266"/>
                    <a:pt x="1001" y="1276"/>
                  </a:cubicBezTo>
                  <a:cubicBezTo>
                    <a:pt x="1010" y="1279"/>
                    <a:pt x="1007" y="1267"/>
                    <a:pt x="1012" y="1265"/>
                  </a:cubicBezTo>
                  <a:cubicBezTo>
                    <a:pt x="1016" y="1264"/>
                    <a:pt x="1016" y="1272"/>
                    <a:pt x="1018" y="1273"/>
                  </a:cubicBezTo>
                  <a:cubicBezTo>
                    <a:pt x="1023" y="1275"/>
                    <a:pt x="1027" y="1266"/>
                    <a:pt x="1031" y="1269"/>
                  </a:cubicBezTo>
                  <a:cubicBezTo>
                    <a:pt x="1037" y="1273"/>
                    <a:pt x="1028" y="1282"/>
                    <a:pt x="1034" y="1280"/>
                  </a:cubicBezTo>
                  <a:cubicBezTo>
                    <a:pt x="1036" y="1279"/>
                    <a:pt x="1040" y="1267"/>
                    <a:pt x="1042" y="1265"/>
                  </a:cubicBezTo>
                  <a:cubicBezTo>
                    <a:pt x="1037" y="1264"/>
                    <a:pt x="1035" y="1271"/>
                    <a:pt x="1034" y="1265"/>
                  </a:cubicBezTo>
                  <a:cubicBezTo>
                    <a:pt x="1037" y="1255"/>
                    <a:pt x="1046" y="1268"/>
                    <a:pt x="1050" y="1269"/>
                  </a:cubicBezTo>
                  <a:cubicBezTo>
                    <a:pt x="1050" y="1254"/>
                    <a:pt x="1054" y="1269"/>
                    <a:pt x="1058" y="1269"/>
                  </a:cubicBezTo>
                  <a:cubicBezTo>
                    <a:pt x="1059" y="1269"/>
                    <a:pt x="1059" y="1263"/>
                    <a:pt x="1063" y="1265"/>
                  </a:cubicBezTo>
                  <a:cubicBezTo>
                    <a:pt x="1063" y="1265"/>
                    <a:pt x="1066" y="1269"/>
                    <a:pt x="1066" y="1269"/>
                  </a:cubicBezTo>
                  <a:cubicBezTo>
                    <a:pt x="1072" y="1275"/>
                    <a:pt x="1069" y="1268"/>
                    <a:pt x="1077" y="1269"/>
                  </a:cubicBezTo>
                  <a:cubicBezTo>
                    <a:pt x="1071" y="1277"/>
                    <a:pt x="1078" y="1277"/>
                    <a:pt x="1082" y="1273"/>
                  </a:cubicBezTo>
                  <a:cubicBezTo>
                    <a:pt x="1080" y="1284"/>
                    <a:pt x="1086" y="1284"/>
                    <a:pt x="1090" y="1287"/>
                  </a:cubicBezTo>
                  <a:cubicBezTo>
                    <a:pt x="1090" y="1281"/>
                    <a:pt x="1092" y="1278"/>
                    <a:pt x="1096" y="1276"/>
                  </a:cubicBezTo>
                  <a:cubicBezTo>
                    <a:pt x="1096" y="1282"/>
                    <a:pt x="1095" y="1289"/>
                    <a:pt x="1101" y="1287"/>
                  </a:cubicBezTo>
                  <a:cubicBezTo>
                    <a:pt x="1101" y="1281"/>
                    <a:pt x="1100" y="1276"/>
                    <a:pt x="1098" y="1273"/>
                  </a:cubicBezTo>
                  <a:cubicBezTo>
                    <a:pt x="1102" y="1273"/>
                    <a:pt x="1104" y="1271"/>
                    <a:pt x="1106" y="1269"/>
                  </a:cubicBezTo>
                  <a:cubicBezTo>
                    <a:pt x="1109" y="1274"/>
                    <a:pt x="1110" y="1284"/>
                    <a:pt x="1114" y="1287"/>
                  </a:cubicBezTo>
                  <a:cubicBezTo>
                    <a:pt x="1119" y="1280"/>
                    <a:pt x="1115" y="1278"/>
                    <a:pt x="1114" y="1269"/>
                  </a:cubicBezTo>
                  <a:cubicBezTo>
                    <a:pt x="1117" y="1275"/>
                    <a:pt x="1124" y="1269"/>
                    <a:pt x="1128" y="1273"/>
                  </a:cubicBezTo>
                  <a:cubicBezTo>
                    <a:pt x="1130" y="1274"/>
                    <a:pt x="1128" y="1285"/>
                    <a:pt x="1133" y="1284"/>
                  </a:cubicBezTo>
                  <a:cubicBezTo>
                    <a:pt x="1134" y="1279"/>
                    <a:pt x="1133" y="1273"/>
                    <a:pt x="1136" y="1273"/>
                  </a:cubicBezTo>
                  <a:cubicBezTo>
                    <a:pt x="1136" y="1277"/>
                    <a:pt x="1140" y="1277"/>
                    <a:pt x="1144" y="1276"/>
                  </a:cubicBezTo>
                  <a:cubicBezTo>
                    <a:pt x="1143" y="1284"/>
                    <a:pt x="1148" y="1284"/>
                    <a:pt x="1149" y="1287"/>
                  </a:cubicBezTo>
                  <a:cubicBezTo>
                    <a:pt x="1147" y="1288"/>
                    <a:pt x="1146" y="1290"/>
                    <a:pt x="1147" y="1295"/>
                  </a:cubicBezTo>
                  <a:cubicBezTo>
                    <a:pt x="1157" y="1295"/>
                    <a:pt x="1158" y="1280"/>
                    <a:pt x="1163" y="1273"/>
                  </a:cubicBezTo>
                  <a:cubicBezTo>
                    <a:pt x="1166" y="1273"/>
                    <a:pt x="1170" y="1273"/>
                    <a:pt x="1173" y="1273"/>
                  </a:cubicBezTo>
                  <a:cubicBezTo>
                    <a:pt x="1173" y="1282"/>
                    <a:pt x="1174" y="1288"/>
                    <a:pt x="1181" y="1287"/>
                  </a:cubicBezTo>
                  <a:cubicBezTo>
                    <a:pt x="1182" y="1282"/>
                    <a:pt x="1181" y="1274"/>
                    <a:pt x="1184" y="1273"/>
                  </a:cubicBezTo>
                  <a:cubicBezTo>
                    <a:pt x="1184" y="1277"/>
                    <a:pt x="1188" y="1274"/>
                    <a:pt x="1190" y="1276"/>
                  </a:cubicBezTo>
                  <a:cubicBezTo>
                    <a:pt x="1190" y="1277"/>
                    <a:pt x="1189" y="1283"/>
                    <a:pt x="1190" y="1284"/>
                  </a:cubicBezTo>
                  <a:cubicBezTo>
                    <a:pt x="1195" y="1287"/>
                    <a:pt x="1202" y="1281"/>
                    <a:pt x="1208" y="1280"/>
                  </a:cubicBezTo>
                  <a:cubicBezTo>
                    <a:pt x="1218" y="1287"/>
                    <a:pt x="1208" y="1278"/>
                    <a:pt x="1214" y="1276"/>
                  </a:cubicBezTo>
                  <a:cubicBezTo>
                    <a:pt x="1221" y="1282"/>
                    <a:pt x="1207" y="1306"/>
                    <a:pt x="1222" y="1306"/>
                  </a:cubicBezTo>
                  <a:cubicBezTo>
                    <a:pt x="1223" y="1300"/>
                    <a:pt x="1219" y="1287"/>
                    <a:pt x="1225" y="1287"/>
                  </a:cubicBezTo>
                  <a:cubicBezTo>
                    <a:pt x="1229" y="1301"/>
                    <a:pt x="1233" y="1282"/>
                    <a:pt x="1235" y="1280"/>
                  </a:cubicBezTo>
                  <a:cubicBezTo>
                    <a:pt x="1236" y="1281"/>
                    <a:pt x="1234" y="1290"/>
                    <a:pt x="1235" y="1291"/>
                  </a:cubicBezTo>
                  <a:cubicBezTo>
                    <a:pt x="1244" y="1297"/>
                    <a:pt x="1256" y="1287"/>
                    <a:pt x="1249" y="1306"/>
                  </a:cubicBezTo>
                  <a:cubicBezTo>
                    <a:pt x="1262" y="1313"/>
                    <a:pt x="1253" y="1289"/>
                    <a:pt x="1260" y="1287"/>
                  </a:cubicBezTo>
                  <a:cubicBezTo>
                    <a:pt x="1260" y="1291"/>
                    <a:pt x="1260" y="1295"/>
                    <a:pt x="1260" y="1298"/>
                  </a:cubicBezTo>
                  <a:cubicBezTo>
                    <a:pt x="1268" y="1302"/>
                    <a:pt x="1263" y="1286"/>
                    <a:pt x="1270" y="1287"/>
                  </a:cubicBezTo>
                  <a:cubicBezTo>
                    <a:pt x="1275" y="1289"/>
                    <a:pt x="1277" y="1282"/>
                    <a:pt x="1278" y="1287"/>
                  </a:cubicBezTo>
                  <a:cubicBezTo>
                    <a:pt x="1276" y="1292"/>
                    <a:pt x="1275" y="1297"/>
                    <a:pt x="1276" y="1306"/>
                  </a:cubicBezTo>
                  <a:cubicBezTo>
                    <a:pt x="1285" y="1306"/>
                    <a:pt x="1280" y="1287"/>
                    <a:pt x="1289" y="1287"/>
                  </a:cubicBezTo>
                  <a:cubicBezTo>
                    <a:pt x="1289" y="1294"/>
                    <a:pt x="1291" y="1300"/>
                    <a:pt x="1294" y="1302"/>
                  </a:cubicBezTo>
                  <a:cubicBezTo>
                    <a:pt x="1296" y="1295"/>
                    <a:pt x="1295" y="1286"/>
                    <a:pt x="1303" y="1287"/>
                  </a:cubicBezTo>
                  <a:cubicBezTo>
                    <a:pt x="1304" y="1295"/>
                    <a:pt x="1299" y="1312"/>
                    <a:pt x="1305" y="1313"/>
                  </a:cubicBezTo>
                  <a:cubicBezTo>
                    <a:pt x="1309" y="1311"/>
                    <a:pt x="1306" y="1299"/>
                    <a:pt x="1311" y="1298"/>
                  </a:cubicBezTo>
                  <a:cubicBezTo>
                    <a:pt x="1316" y="1300"/>
                    <a:pt x="1316" y="1293"/>
                    <a:pt x="1319" y="1291"/>
                  </a:cubicBezTo>
                  <a:cubicBezTo>
                    <a:pt x="1322" y="1291"/>
                    <a:pt x="1325" y="1289"/>
                    <a:pt x="1327" y="1287"/>
                  </a:cubicBezTo>
                  <a:cubicBezTo>
                    <a:pt x="1328" y="1296"/>
                    <a:pt x="1319" y="1291"/>
                    <a:pt x="1319" y="1298"/>
                  </a:cubicBezTo>
                  <a:cubicBezTo>
                    <a:pt x="1326" y="1309"/>
                    <a:pt x="1327" y="1291"/>
                    <a:pt x="1338" y="1295"/>
                  </a:cubicBezTo>
                  <a:cubicBezTo>
                    <a:pt x="1342" y="1297"/>
                    <a:pt x="1337" y="1312"/>
                    <a:pt x="1343" y="1313"/>
                  </a:cubicBezTo>
                  <a:cubicBezTo>
                    <a:pt x="1353" y="1295"/>
                    <a:pt x="1338" y="1295"/>
                    <a:pt x="1338" y="1284"/>
                  </a:cubicBezTo>
                  <a:cubicBezTo>
                    <a:pt x="1345" y="1284"/>
                    <a:pt x="1350" y="1288"/>
                    <a:pt x="1348" y="1302"/>
                  </a:cubicBezTo>
                  <a:cubicBezTo>
                    <a:pt x="1352" y="1302"/>
                    <a:pt x="1355" y="1302"/>
                    <a:pt x="1359" y="1302"/>
                  </a:cubicBezTo>
                  <a:cubicBezTo>
                    <a:pt x="1359" y="1290"/>
                    <a:pt x="1353" y="1284"/>
                    <a:pt x="1364" y="1284"/>
                  </a:cubicBezTo>
                  <a:cubicBezTo>
                    <a:pt x="1363" y="1297"/>
                    <a:pt x="1367" y="1305"/>
                    <a:pt x="1375" y="1306"/>
                  </a:cubicBezTo>
                  <a:cubicBezTo>
                    <a:pt x="1376" y="1300"/>
                    <a:pt x="1374" y="1292"/>
                    <a:pt x="1378" y="1291"/>
                  </a:cubicBezTo>
                  <a:cubicBezTo>
                    <a:pt x="1383" y="1292"/>
                    <a:pt x="1380" y="1300"/>
                    <a:pt x="1383" y="1295"/>
                  </a:cubicBezTo>
                  <a:cubicBezTo>
                    <a:pt x="1385" y="1292"/>
                    <a:pt x="1388" y="1292"/>
                    <a:pt x="1391" y="1291"/>
                  </a:cubicBezTo>
                  <a:cubicBezTo>
                    <a:pt x="1387" y="1304"/>
                    <a:pt x="1400" y="1293"/>
                    <a:pt x="1399" y="1302"/>
                  </a:cubicBezTo>
                  <a:cubicBezTo>
                    <a:pt x="1398" y="1309"/>
                    <a:pt x="1389" y="1305"/>
                    <a:pt x="1391" y="1317"/>
                  </a:cubicBezTo>
                  <a:cubicBezTo>
                    <a:pt x="1399" y="1320"/>
                    <a:pt x="1397" y="1310"/>
                    <a:pt x="1402" y="1309"/>
                  </a:cubicBezTo>
                  <a:cubicBezTo>
                    <a:pt x="1403" y="1314"/>
                    <a:pt x="1406" y="1314"/>
                    <a:pt x="1410" y="1313"/>
                  </a:cubicBezTo>
                  <a:cubicBezTo>
                    <a:pt x="1411" y="1318"/>
                    <a:pt x="1414" y="1321"/>
                    <a:pt x="1418" y="1321"/>
                  </a:cubicBezTo>
                  <a:cubicBezTo>
                    <a:pt x="1422" y="1307"/>
                    <a:pt x="1414" y="1301"/>
                    <a:pt x="1424" y="1295"/>
                  </a:cubicBezTo>
                  <a:cubicBezTo>
                    <a:pt x="1423" y="1303"/>
                    <a:pt x="1424" y="1309"/>
                    <a:pt x="1426" y="1313"/>
                  </a:cubicBezTo>
                  <a:cubicBezTo>
                    <a:pt x="1441" y="1318"/>
                    <a:pt x="1443" y="1304"/>
                    <a:pt x="1450" y="1298"/>
                  </a:cubicBezTo>
                  <a:cubicBezTo>
                    <a:pt x="1449" y="1312"/>
                    <a:pt x="1447" y="1315"/>
                    <a:pt x="1456" y="1321"/>
                  </a:cubicBezTo>
                  <a:cubicBezTo>
                    <a:pt x="1456" y="1313"/>
                    <a:pt x="1463" y="1313"/>
                    <a:pt x="1469" y="1313"/>
                  </a:cubicBezTo>
                  <a:cubicBezTo>
                    <a:pt x="1465" y="1324"/>
                    <a:pt x="1481" y="1323"/>
                    <a:pt x="1480" y="1317"/>
                  </a:cubicBezTo>
                  <a:cubicBezTo>
                    <a:pt x="1471" y="1314"/>
                    <a:pt x="1477" y="1305"/>
                    <a:pt x="1480" y="1302"/>
                  </a:cubicBezTo>
                  <a:cubicBezTo>
                    <a:pt x="1483" y="1299"/>
                    <a:pt x="1487" y="1307"/>
                    <a:pt x="1491" y="1306"/>
                  </a:cubicBezTo>
                  <a:cubicBezTo>
                    <a:pt x="1492" y="1305"/>
                    <a:pt x="1493" y="1298"/>
                    <a:pt x="1496" y="1298"/>
                  </a:cubicBezTo>
                  <a:cubicBezTo>
                    <a:pt x="1497" y="1298"/>
                    <a:pt x="1496" y="1305"/>
                    <a:pt x="1496" y="1306"/>
                  </a:cubicBezTo>
                  <a:cubicBezTo>
                    <a:pt x="1498" y="1309"/>
                    <a:pt x="1507" y="1304"/>
                    <a:pt x="1510" y="1306"/>
                  </a:cubicBezTo>
                  <a:cubicBezTo>
                    <a:pt x="1511" y="1313"/>
                    <a:pt x="1511" y="1322"/>
                    <a:pt x="1518" y="1321"/>
                  </a:cubicBezTo>
                  <a:cubicBezTo>
                    <a:pt x="1520" y="1309"/>
                    <a:pt x="1513" y="1309"/>
                    <a:pt x="1512" y="1302"/>
                  </a:cubicBezTo>
                  <a:cubicBezTo>
                    <a:pt x="1520" y="1305"/>
                    <a:pt x="1519" y="1297"/>
                    <a:pt x="1526" y="1298"/>
                  </a:cubicBezTo>
                  <a:cubicBezTo>
                    <a:pt x="1525" y="1309"/>
                    <a:pt x="1536" y="1302"/>
                    <a:pt x="1536" y="1309"/>
                  </a:cubicBezTo>
                  <a:cubicBezTo>
                    <a:pt x="1536" y="1316"/>
                    <a:pt x="1537" y="1321"/>
                    <a:pt x="1539" y="1324"/>
                  </a:cubicBezTo>
                  <a:cubicBezTo>
                    <a:pt x="1548" y="1321"/>
                    <a:pt x="1551" y="1313"/>
                    <a:pt x="1558" y="1324"/>
                  </a:cubicBezTo>
                  <a:cubicBezTo>
                    <a:pt x="1558" y="1321"/>
                    <a:pt x="1560" y="1320"/>
                    <a:pt x="1561" y="1317"/>
                  </a:cubicBezTo>
                  <a:cubicBezTo>
                    <a:pt x="1561" y="1313"/>
                    <a:pt x="1557" y="1311"/>
                    <a:pt x="1561" y="1309"/>
                  </a:cubicBezTo>
                  <a:cubicBezTo>
                    <a:pt x="1569" y="1304"/>
                    <a:pt x="1570" y="1313"/>
                    <a:pt x="1577" y="1306"/>
                  </a:cubicBezTo>
                  <a:cubicBezTo>
                    <a:pt x="1582" y="1313"/>
                    <a:pt x="1575" y="1313"/>
                    <a:pt x="1577" y="1324"/>
                  </a:cubicBezTo>
                  <a:cubicBezTo>
                    <a:pt x="1582" y="1325"/>
                    <a:pt x="1582" y="1319"/>
                    <a:pt x="1585" y="1317"/>
                  </a:cubicBezTo>
                  <a:cubicBezTo>
                    <a:pt x="1590" y="1317"/>
                    <a:pt x="1588" y="1307"/>
                    <a:pt x="1596" y="1309"/>
                  </a:cubicBezTo>
                  <a:cubicBezTo>
                    <a:pt x="1596" y="1331"/>
                    <a:pt x="1611" y="1299"/>
                    <a:pt x="1612" y="1309"/>
                  </a:cubicBezTo>
                  <a:cubicBezTo>
                    <a:pt x="1611" y="1317"/>
                    <a:pt x="1606" y="1319"/>
                    <a:pt x="1606" y="1328"/>
                  </a:cubicBezTo>
                  <a:cubicBezTo>
                    <a:pt x="1616" y="1329"/>
                    <a:pt x="1616" y="1317"/>
                    <a:pt x="1625" y="1317"/>
                  </a:cubicBezTo>
                  <a:cubicBezTo>
                    <a:pt x="1625" y="1322"/>
                    <a:pt x="1630" y="1320"/>
                    <a:pt x="1631" y="1324"/>
                  </a:cubicBezTo>
                  <a:cubicBezTo>
                    <a:pt x="1622" y="1328"/>
                    <a:pt x="1628" y="1333"/>
                    <a:pt x="1631" y="1339"/>
                  </a:cubicBezTo>
                  <a:cubicBezTo>
                    <a:pt x="1636" y="1339"/>
                    <a:pt x="1644" y="1332"/>
                    <a:pt x="1644" y="1332"/>
                  </a:cubicBezTo>
                  <a:cubicBezTo>
                    <a:pt x="1644" y="1332"/>
                    <a:pt x="1644" y="1339"/>
                    <a:pt x="1644" y="1339"/>
                  </a:cubicBezTo>
                  <a:cubicBezTo>
                    <a:pt x="1652" y="1336"/>
                    <a:pt x="1652" y="1336"/>
                    <a:pt x="1660" y="1324"/>
                  </a:cubicBezTo>
                  <a:cubicBezTo>
                    <a:pt x="1661" y="1329"/>
                    <a:pt x="1661" y="1333"/>
                    <a:pt x="1666" y="1332"/>
                  </a:cubicBezTo>
                  <a:cubicBezTo>
                    <a:pt x="1666" y="1327"/>
                    <a:pt x="1666" y="1323"/>
                    <a:pt x="1671" y="1324"/>
                  </a:cubicBezTo>
                  <a:cubicBezTo>
                    <a:pt x="1672" y="1320"/>
                    <a:pt x="1674" y="1316"/>
                    <a:pt x="1676" y="1313"/>
                  </a:cubicBezTo>
                  <a:cubicBezTo>
                    <a:pt x="1678" y="1320"/>
                    <a:pt x="1673" y="1336"/>
                    <a:pt x="1682" y="1332"/>
                  </a:cubicBezTo>
                  <a:cubicBezTo>
                    <a:pt x="1680" y="1318"/>
                    <a:pt x="1684" y="1312"/>
                    <a:pt x="1687" y="1306"/>
                  </a:cubicBezTo>
                  <a:cubicBezTo>
                    <a:pt x="1684" y="1304"/>
                    <a:pt x="1681" y="1302"/>
                    <a:pt x="1679" y="1298"/>
                  </a:cubicBezTo>
                  <a:cubicBezTo>
                    <a:pt x="1691" y="1301"/>
                    <a:pt x="1683" y="1284"/>
                    <a:pt x="1687" y="1284"/>
                  </a:cubicBezTo>
                  <a:cubicBezTo>
                    <a:pt x="1691" y="1285"/>
                    <a:pt x="1692" y="1288"/>
                    <a:pt x="1695" y="1284"/>
                  </a:cubicBezTo>
                  <a:cubicBezTo>
                    <a:pt x="1695" y="1290"/>
                    <a:pt x="1696" y="1295"/>
                    <a:pt x="1698" y="1298"/>
                  </a:cubicBezTo>
                  <a:cubicBezTo>
                    <a:pt x="1693" y="1298"/>
                    <a:pt x="1691" y="1301"/>
                    <a:pt x="1690" y="1306"/>
                  </a:cubicBezTo>
                  <a:cubicBezTo>
                    <a:pt x="1698" y="1306"/>
                    <a:pt x="1706" y="1306"/>
                    <a:pt x="1714" y="1306"/>
                  </a:cubicBezTo>
                  <a:cubicBezTo>
                    <a:pt x="1719" y="1315"/>
                    <a:pt x="1719" y="1332"/>
                    <a:pt x="1725" y="1339"/>
                  </a:cubicBezTo>
                  <a:cubicBezTo>
                    <a:pt x="1735" y="1342"/>
                    <a:pt x="1735" y="1331"/>
                    <a:pt x="1744" y="1332"/>
                  </a:cubicBezTo>
                  <a:cubicBezTo>
                    <a:pt x="1744" y="1337"/>
                    <a:pt x="1742" y="1340"/>
                    <a:pt x="1741" y="1343"/>
                  </a:cubicBezTo>
                  <a:cubicBezTo>
                    <a:pt x="1751" y="1347"/>
                    <a:pt x="1749" y="1334"/>
                    <a:pt x="1757" y="1335"/>
                  </a:cubicBezTo>
                  <a:cubicBezTo>
                    <a:pt x="1759" y="1342"/>
                    <a:pt x="1766" y="1342"/>
                    <a:pt x="1770" y="1347"/>
                  </a:cubicBezTo>
                  <a:cubicBezTo>
                    <a:pt x="1776" y="1344"/>
                    <a:pt x="1770" y="1326"/>
                    <a:pt x="1776" y="1324"/>
                  </a:cubicBezTo>
                  <a:cubicBezTo>
                    <a:pt x="1776" y="1330"/>
                    <a:pt x="1775" y="1338"/>
                    <a:pt x="1778" y="1339"/>
                  </a:cubicBezTo>
                  <a:cubicBezTo>
                    <a:pt x="1780" y="1335"/>
                    <a:pt x="1782" y="1332"/>
                    <a:pt x="1787" y="1332"/>
                  </a:cubicBezTo>
                  <a:cubicBezTo>
                    <a:pt x="1792" y="1337"/>
                    <a:pt x="1802" y="1326"/>
                    <a:pt x="1811" y="1324"/>
                  </a:cubicBezTo>
                  <a:cubicBezTo>
                    <a:pt x="1811" y="1329"/>
                    <a:pt x="1811" y="1334"/>
                    <a:pt x="1811" y="1339"/>
                  </a:cubicBezTo>
                  <a:cubicBezTo>
                    <a:pt x="1813" y="1339"/>
                    <a:pt x="1816" y="1339"/>
                    <a:pt x="1819" y="1339"/>
                  </a:cubicBezTo>
                  <a:cubicBezTo>
                    <a:pt x="1826" y="1334"/>
                    <a:pt x="1813" y="1320"/>
                    <a:pt x="1819" y="1317"/>
                  </a:cubicBezTo>
                  <a:cubicBezTo>
                    <a:pt x="1824" y="1321"/>
                    <a:pt x="1828" y="1327"/>
                    <a:pt x="1832" y="1332"/>
                  </a:cubicBezTo>
                  <a:cubicBezTo>
                    <a:pt x="1832" y="1337"/>
                    <a:pt x="1828" y="1335"/>
                    <a:pt x="1827" y="1339"/>
                  </a:cubicBezTo>
                  <a:cubicBezTo>
                    <a:pt x="1832" y="1342"/>
                    <a:pt x="1835" y="1348"/>
                    <a:pt x="1840" y="1350"/>
                  </a:cubicBezTo>
                  <a:cubicBezTo>
                    <a:pt x="1840" y="1339"/>
                    <a:pt x="1850" y="1346"/>
                    <a:pt x="1854" y="1343"/>
                  </a:cubicBezTo>
                  <a:cubicBezTo>
                    <a:pt x="1855" y="1342"/>
                    <a:pt x="1858" y="1337"/>
                    <a:pt x="1859" y="1335"/>
                  </a:cubicBezTo>
                  <a:cubicBezTo>
                    <a:pt x="1861" y="1333"/>
                    <a:pt x="1861" y="1328"/>
                    <a:pt x="1865" y="1328"/>
                  </a:cubicBezTo>
                  <a:cubicBezTo>
                    <a:pt x="1864" y="1337"/>
                    <a:pt x="1859" y="1340"/>
                    <a:pt x="1867" y="1343"/>
                  </a:cubicBezTo>
                  <a:cubicBezTo>
                    <a:pt x="1867" y="1334"/>
                    <a:pt x="1869" y="1327"/>
                    <a:pt x="1873" y="1324"/>
                  </a:cubicBezTo>
                  <a:cubicBezTo>
                    <a:pt x="1877" y="1331"/>
                    <a:pt x="1874" y="1347"/>
                    <a:pt x="1881" y="1350"/>
                  </a:cubicBezTo>
                  <a:cubicBezTo>
                    <a:pt x="1877" y="1329"/>
                    <a:pt x="1890" y="1349"/>
                    <a:pt x="1891" y="1339"/>
                  </a:cubicBezTo>
                  <a:cubicBezTo>
                    <a:pt x="1888" y="1338"/>
                    <a:pt x="1887" y="1335"/>
                    <a:pt x="1886" y="1332"/>
                  </a:cubicBezTo>
                  <a:cubicBezTo>
                    <a:pt x="1891" y="1332"/>
                    <a:pt x="1894" y="1331"/>
                    <a:pt x="1897" y="1328"/>
                  </a:cubicBezTo>
                  <a:cubicBezTo>
                    <a:pt x="1899" y="1340"/>
                    <a:pt x="1899" y="1336"/>
                    <a:pt x="1894" y="1343"/>
                  </a:cubicBezTo>
                  <a:cubicBezTo>
                    <a:pt x="1904" y="1347"/>
                    <a:pt x="1902" y="1334"/>
                    <a:pt x="1910" y="1335"/>
                  </a:cubicBezTo>
                  <a:cubicBezTo>
                    <a:pt x="1904" y="1343"/>
                    <a:pt x="1911" y="1347"/>
                    <a:pt x="1913" y="1354"/>
                  </a:cubicBezTo>
                  <a:cubicBezTo>
                    <a:pt x="1917" y="1354"/>
                    <a:pt x="1919" y="1352"/>
                    <a:pt x="1921" y="1350"/>
                  </a:cubicBezTo>
                  <a:cubicBezTo>
                    <a:pt x="1921" y="1344"/>
                    <a:pt x="1928" y="1348"/>
                    <a:pt x="1929" y="1343"/>
                  </a:cubicBezTo>
                  <a:cubicBezTo>
                    <a:pt x="1925" y="1343"/>
                    <a:pt x="1929" y="1340"/>
                    <a:pt x="1929" y="1339"/>
                  </a:cubicBezTo>
                  <a:cubicBezTo>
                    <a:pt x="1929" y="1334"/>
                    <a:pt x="1928" y="1331"/>
                    <a:pt x="1926" y="1328"/>
                  </a:cubicBezTo>
                  <a:cubicBezTo>
                    <a:pt x="1930" y="1329"/>
                    <a:pt x="1936" y="1327"/>
                    <a:pt x="1937" y="1332"/>
                  </a:cubicBezTo>
                  <a:cubicBezTo>
                    <a:pt x="1934" y="1332"/>
                    <a:pt x="1931" y="1333"/>
                    <a:pt x="1932" y="1339"/>
                  </a:cubicBezTo>
                  <a:cubicBezTo>
                    <a:pt x="1938" y="1348"/>
                    <a:pt x="1939" y="1333"/>
                    <a:pt x="1945" y="1332"/>
                  </a:cubicBezTo>
                  <a:cubicBezTo>
                    <a:pt x="1949" y="1336"/>
                    <a:pt x="1946" y="1350"/>
                    <a:pt x="1953" y="1350"/>
                  </a:cubicBezTo>
                  <a:cubicBezTo>
                    <a:pt x="1954" y="1346"/>
                    <a:pt x="1953" y="1340"/>
                    <a:pt x="1956" y="1339"/>
                  </a:cubicBezTo>
                  <a:cubicBezTo>
                    <a:pt x="1956" y="1344"/>
                    <a:pt x="1961" y="1343"/>
                    <a:pt x="1961" y="1347"/>
                  </a:cubicBezTo>
                  <a:cubicBezTo>
                    <a:pt x="1962" y="1351"/>
                    <a:pt x="1965" y="1354"/>
                    <a:pt x="1969" y="1354"/>
                  </a:cubicBezTo>
                  <a:cubicBezTo>
                    <a:pt x="1973" y="1353"/>
                    <a:pt x="1973" y="1349"/>
                    <a:pt x="1975" y="1347"/>
                  </a:cubicBezTo>
                  <a:cubicBezTo>
                    <a:pt x="1975" y="1345"/>
                    <a:pt x="1980" y="1339"/>
                    <a:pt x="1980" y="1339"/>
                  </a:cubicBezTo>
                  <a:cubicBezTo>
                    <a:pt x="1982" y="1333"/>
                    <a:pt x="1976" y="1330"/>
                    <a:pt x="1980" y="1328"/>
                  </a:cubicBezTo>
                  <a:cubicBezTo>
                    <a:pt x="1988" y="1331"/>
                    <a:pt x="1984" y="1349"/>
                    <a:pt x="1994" y="1350"/>
                  </a:cubicBezTo>
                  <a:cubicBezTo>
                    <a:pt x="1995" y="1345"/>
                    <a:pt x="1998" y="1341"/>
                    <a:pt x="2002" y="1339"/>
                  </a:cubicBezTo>
                  <a:cubicBezTo>
                    <a:pt x="2002" y="1334"/>
                    <a:pt x="2001" y="1325"/>
                    <a:pt x="2004" y="1324"/>
                  </a:cubicBezTo>
                  <a:cubicBezTo>
                    <a:pt x="2008" y="1326"/>
                    <a:pt x="2010" y="1329"/>
                    <a:pt x="2010" y="1335"/>
                  </a:cubicBezTo>
                  <a:cubicBezTo>
                    <a:pt x="2018" y="1342"/>
                    <a:pt x="2021" y="1322"/>
                    <a:pt x="2023" y="1332"/>
                  </a:cubicBezTo>
                  <a:cubicBezTo>
                    <a:pt x="2019" y="1335"/>
                    <a:pt x="2019" y="1344"/>
                    <a:pt x="2018" y="1350"/>
                  </a:cubicBezTo>
                  <a:cubicBezTo>
                    <a:pt x="2025" y="1351"/>
                    <a:pt x="2029" y="1357"/>
                    <a:pt x="2037" y="1358"/>
                  </a:cubicBezTo>
                  <a:cubicBezTo>
                    <a:pt x="2046" y="1349"/>
                    <a:pt x="2032" y="1329"/>
                    <a:pt x="2037" y="1328"/>
                  </a:cubicBezTo>
                  <a:cubicBezTo>
                    <a:pt x="2047" y="1331"/>
                    <a:pt x="2040" y="1341"/>
                    <a:pt x="2045" y="1347"/>
                  </a:cubicBezTo>
                  <a:cubicBezTo>
                    <a:pt x="2046" y="1342"/>
                    <a:pt x="2048" y="1338"/>
                    <a:pt x="2050" y="1335"/>
                  </a:cubicBezTo>
                  <a:cubicBezTo>
                    <a:pt x="2057" y="1340"/>
                    <a:pt x="2043" y="1351"/>
                    <a:pt x="2055" y="1350"/>
                  </a:cubicBezTo>
                  <a:cubicBezTo>
                    <a:pt x="2056" y="1345"/>
                    <a:pt x="2075" y="1337"/>
                    <a:pt x="2079" y="1335"/>
                  </a:cubicBezTo>
                  <a:cubicBezTo>
                    <a:pt x="2079" y="68"/>
                    <a:pt x="2079" y="68"/>
                    <a:pt x="2079" y="68"/>
                  </a:cubicBezTo>
                  <a:cubicBezTo>
                    <a:pt x="2079" y="68"/>
                    <a:pt x="2061" y="100"/>
                    <a:pt x="2061" y="100"/>
                  </a:cubicBezTo>
                  <a:cubicBezTo>
                    <a:pt x="2059" y="102"/>
                    <a:pt x="2052" y="98"/>
                    <a:pt x="2050" y="100"/>
                  </a:cubicBezTo>
                  <a:close/>
                  <a:moveTo>
                    <a:pt x="28" y="300"/>
                  </a:moveTo>
                  <a:cubicBezTo>
                    <a:pt x="24" y="315"/>
                    <a:pt x="23" y="298"/>
                    <a:pt x="17" y="296"/>
                  </a:cubicBezTo>
                  <a:cubicBezTo>
                    <a:pt x="22" y="283"/>
                    <a:pt x="21" y="305"/>
                    <a:pt x="28" y="300"/>
                  </a:cubicBezTo>
                  <a:close/>
                  <a:moveTo>
                    <a:pt x="17" y="318"/>
                  </a:moveTo>
                  <a:cubicBezTo>
                    <a:pt x="15" y="316"/>
                    <a:pt x="24" y="315"/>
                    <a:pt x="25" y="315"/>
                  </a:cubicBezTo>
                  <a:cubicBezTo>
                    <a:pt x="25" y="315"/>
                    <a:pt x="25" y="311"/>
                    <a:pt x="25" y="311"/>
                  </a:cubicBezTo>
                  <a:cubicBezTo>
                    <a:pt x="35" y="313"/>
                    <a:pt x="21" y="323"/>
                    <a:pt x="17" y="318"/>
                  </a:cubicBezTo>
                  <a:close/>
                  <a:moveTo>
                    <a:pt x="31" y="311"/>
                  </a:moveTo>
                  <a:cubicBezTo>
                    <a:pt x="32" y="307"/>
                    <a:pt x="43" y="299"/>
                    <a:pt x="36" y="296"/>
                  </a:cubicBezTo>
                  <a:cubicBezTo>
                    <a:pt x="44" y="282"/>
                    <a:pt x="44" y="321"/>
                    <a:pt x="31" y="311"/>
                  </a:cubicBezTo>
                  <a:close/>
                  <a:moveTo>
                    <a:pt x="39" y="352"/>
                  </a:moveTo>
                  <a:cubicBezTo>
                    <a:pt x="40" y="347"/>
                    <a:pt x="42" y="344"/>
                    <a:pt x="47" y="344"/>
                  </a:cubicBezTo>
                  <a:cubicBezTo>
                    <a:pt x="46" y="349"/>
                    <a:pt x="43" y="352"/>
                    <a:pt x="39" y="352"/>
                  </a:cubicBezTo>
                  <a:close/>
                  <a:moveTo>
                    <a:pt x="41" y="215"/>
                  </a:moveTo>
                  <a:cubicBezTo>
                    <a:pt x="45" y="216"/>
                    <a:pt x="47" y="220"/>
                    <a:pt x="47" y="226"/>
                  </a:cubicBezTo>
                  <a:cubicBezTo>
                    <a:pt x="44" y="224"/>
                    <a:pt x="41" y="221"/>
                    <a:pt x="41" y="215"/>
                  </a:cubicBezTo>
                  <a:close/>
                  <a:moveTo>
                    <a:pt x="41" y="677"/>
                  </a:moveTo>
                  <a:cubicBezTo>
                    <a:pt x="43" y="675"/>
                    <a:pt x="49" y="681"/>
                    <a:pt x="49" y="681"/>
                  </a:cubicBezTo>
                  <a:cubicBezTo>
                    <a:pt x="53" y="694"/>
                    <a:pt x="36" y="684"/>
                    <a:pt x="41" y="677"/>
                  </a:cubicBezTo>
                  <a:close/>
                  <a:moveTo>
                    <a:pt x="189" y="644"/>
                  </a:moveTo>
                  <a:cubicBezTo>
                    <a:pt x="194" y="643"/>
                    <a:pt x="194" y="647"/>
                    <a:pt x="197" y="648"/>
                  </a:cubicBezTo>
                  <a:cubicBezTo>
                    <a:pt x="198" y="655"/>
                    <a:pt x="185" y="653"/>
                    <a:pt x="189" y="644"/>
                  </a:cubicBezTo>
                  <a:close/>
                  <a:moveTo>
                    <a:pt x="192" y="337"/>
                  </a:moveTo>
                  <a:cubicBezTo>
                    <a:pt x="191" y="343"/>
                    <a:pt x="184" y="340"/>
                    <a:pt x="187" y="352"/>
                  </a:cubicBezTo>
                  <a:cubicBezTo>
                    <a:pt x="180" y="351"/>
                    <a:pt x="180" y="342"/>
                    <a:pt x="184" y="337"/>
                  </a:cubicBezTo>
                  <a:cubicBezTo>
                    <a:pt x="176" y="325"/>
                    <a:pt x="165" y="336"/>
                    <a:pt x="154" y="329"/>
                  </a:cubicBezTo>
                  <a:cubicBezTo>
                    <a:pt x="156" y="332"/>
                    <a:pt x="157" y="335"/>
                    <a:pt x="157" y="341"/>
                  </a:cubicBezTo>
                  <a:cubicBezTo>
                    <a:pt x="165" y="336"/>
                    <a:pt x="169" y="339"/>
                    <a:pt x="170" y="352"/>
                  </a:cubicBezTo>
                  <a:cubicBezTo>
                    <a:pt x="167" y="350"/>
                    <a:pt x="166" y="345"/>
                    <a:pt x="163" y="344"/>
                  </a:cubicBezTo>
                  <a:cubicBezTo>
                    <a:pt x="161" y="352"/>
                    <a:pt x="168" y="350"/>
                    <a:pt x="168" y="355"/>
                  </a:cubicBezTo>
                  <a:cubicBezTo>
                    <a:pt x="171" y="356"/>
                    <a:pt x="170" y="363"/>
                    <a:pt x="173" y="363"/>
                  </a:cubicBezTo>
                  <a:cubicBezTo>
                    <a:pt x="172" y="371"/>
                    <a:pt x="158" y="362"/>
                    <a:pt x="160" y="374"/>
                  </a:cubicBezTo>
                  <a:cubicBezTo>
                    <a:pt x="156" y="373"/>
                    <a:pt x="158" y="365"/>
                    <a:pt x="157" y="359"/>
                  </a:cubicBezTo>
                  <a:cubicBezTo>
                    <a:pt x="161" y="359"/>
                    <a:pt x="164" y="359"/>
                    <a:pt x="168" y="359"/>
                  </a:cubicBezTo>
                  <a:cubicBezTo>
                    <a:pt x="168" y="353"/>
                    <a:pt x="162" y="358"/>
                    <a:pt x="160" y="355"/>
                  </a:cubicBezTo>
                  <a:cubicBezTo>
                    <a:pt x="157" y="353"/>
                    <a:pt x="162" y="337"/>
                    <a:pt x="152" y="344"/>
                  </a:cubicBezTo>
                  <a:cubicBezTo>
                    <a:pt x="153" y="331"/>
                    <a:pt x="149" y="325"/>
                    <a:pt x="144" y="322"/>
                  </a:cubicBezTo>
                  <a:cubicBezTo>
                    <a:pt x="144" y="318"/>
                    <a:pt x="149" y="320"/>
                    <a:pt x="149" y="315"/>
                  </a:cubicBezTo>
                  <a:cubicBezTo>
                    <a:pt x="149" y="307"/>
                    <a:pt x="139" y="313"/>
                    <a:pt x="135" y="311"/>
                  </a:cubicBezTo>
                  <a:cubicBezTo>
                    <a:pt x="135" y="318"/>
                    <a:pt x="139" y="319"/>
                    <a:pt x="138" y="326"/>
                  </a:cubicBezTo>
                  <a:cubicBezTo>
                    <a:pt x="136" y="323"/>
                    <a:pt x="131" y="320"/>
                    <a:pt x="130" y="326"/>
                  </a:cubicBezTo>
                  <a:cubicBezTo>
                    <a:pt x="123" y="323"/>
                    <a:pt x="135" y="316"/>
                    <a:pt x="133" y="307"/>
                  </a:cubicBezTo>
                  <a:cubicBezTo>
                    <a:pt x="144" y="301"/>
                    <a:pt x="153" y="317"/>
                    <a:pt x="154" y="311"/>
                  </a:cubicBezTo>
                  <a:cubicBezTo>
                    <a:pt x="163" y="315"/>
                    <a:pt x="151" y="321"/>
                    <a:pt x="152" y="326"/>
                  </a:cubicBezTo>
                  <a:cubicBezTo>
                    <a:pt x="160" y="328"/>
                    <a:pt x="160" y="319"/>
                    <a:pt x="168" y="322"/>
                  </a:cubicBezTo>
                  <a:cubicBezTo>
                    <a:pt x="171" y="316"/>
                    <a:pt x="163" y="315"/>
                    <a:pt x="163" y="315"/>
                  </a:cubicBezTo>
                  <a:cubicBezTo>
                    <a:pt x="162" y="309"/>
                    <a:pt x="171" y="313"/>
                    <a:pt x="170" y="307"/>
                  </a:cubicBezTo>
                  <a:cubicBezTo>
                    <a:pt x="171" y="297"/>
                    <a:pt x="154" y="310"/>
                    <a:pt x="154" y="300"/>
                  </a:cubicBezTo>
                  <a:cubicBezTo>
                    <a:pt x="151" y="298"/>
                    <a:pt x="140" y="304"/>
                    <a:pt x="141" y="296"/>
                  </a:cubicBezTo>
                  <a:cubicBezTo>
                    <a:pt x="145" y="296"/>
                    <a:pt x="150" y="296"/>
                    <a:pt x="154" y="296"/>
                  </a:cubicBezTo>
                  <a:cubicBezTo>
                    <a:pt x="159" y="296"/>
                    <a:pt x="160" y="301"/>
                    <a:pt x="165" y="300"/>
                  </a:cubicBezTo>
                  <a:cubicBezTo>
                    <a:pt x="169" y="298"/>
                    <a:pt x="165" y="297"/>
                    <a:pt x="165" y="292"/>
                  </a:cubicBezTo>
                  <a:cubicBezTo>
                    <a:pt x="168" y="293"/>
                    <a:pt x="170" y="292"/>
                    <a:pt x="170" y="289"/>
                  </a:cubicBezTo>
                  <a:cubicBezTo>
                    <a:pt x="176" y="289"/>
                    <a:pt x="171" y="297"/>
                    <a:pt x="170" y="296"/>
                  </a:cubicBezTo>
                  <a:cubicBezTo>
                    <a:pt x="173" y="308"/>
                    <a:pt x="177" y="297"/>
                    <a:pt x="187" y="304"/>
                  </a:cubicBezTo>
                  <a:cubicBezTo>
                    <a:pt x="186" y="309"/>
                    <a:pt x="180" y="307"/>
                    <a:pt x="176" y="307"/>
                  </a:cubicBezTo>
                  <a:cubicBezTo>
                    <a:pt x="172" y="310"/>
                    <a:pt x="172" y="319"/>
                    <a:pt x="170" y="326"/>
                  </a:cubicBezTo>
                  <a:cubicBezTo>
                    <a:pt x="181" y="328"/>
                    <a:pt x="179" y="301"/>
                    <a:pt x="189" y="315"/>
                  </a:cubicBezTo>
                  <a:cubicBezTo>
                    <a:pt x="191" y="320"/>
                    <a:pt x="182" y="316"/>
                    <a:pt x="181" y="318"/>
                  </a:cubicBezTo>
                  <a:cubicBezTo>
                    <a:pt x="180" y="323"/>
                    <a:pt x="188" y="320"/>
                    <a:pt x="189" y="322"/>
                  </a:cubicBezTo>
                  <a:cubicBezTo>
                    <a:pt x="192" y="325"/>
                    <a:pt x="187" y="338"/>
                    <a:pt x="192" y="337"/>
                  </a:cubicBezTo>
                  <a:close/>
                  <a:moveTo>
                    <a:pt x="189" y="422"/>
                  </a:moveTo>
                  <a:cubicBezTo>
                    <a:pt x="190" y="425"/>
                    <a:pt x="178" y="426"/>
                    <a:pt x="173" y="422"/>
                  </a:cubicBezTo>
                  <a:cubicBezTo>
                    <a:pt x="171" y="420"/>
                    <a:pt x="181" y="416"/>
                    <a:pt x="181" y="418"/>
                  </a:cubicBezTo>
                  <a:cubicBezTo>
                    <a:pt x="180" y="412"/>
                    <a:pt x="176" y="418"/>
                    <a:pt x="173" y="415"/>
                  </a:cubicBezTo>
                  <a:cubicBezTo>
                    <a:pt x="173" y="414"/>
                    <a:pt x="172" y="408"/>
                    <a:pt x="170" y="411"/>
                  </a:cubicBezTo>
                  <a:cubicBezTo>
                    <a:pt x="170" y="411"/>
                    <a:pt x="170" y="415"/>
                    <a:pt x="170" y="415"/>
                  </a:cubicBezTo>
                  <a:cubicBezTo>
                    <a:pt x="168" y="414"/>
                    <a:pt x="166" y="412"/>
                    <a:pt x="163" y="411"/>
                  </a:cubicBezTo>
                  <a:cubicBezTo>
                    <a:pt x="159" y="410"/>
                    <a:pt x="157" y="407"/>
                    <a:pt x="154" y="407"/>
                  </a:cubicBezTo>
                  <a:cubicBezTo>
                    <a:pt x="152" y="407"/>
                    <a:pt x="151" y="414"/>
                    <a:pt x="152" y="415"/>
                  </a:cubicBezTo>
                  <a:cubicBezTo>
                    <a:pt x="148" y="414"/>
                    <a:pt x="151" y="409"/>
                    <a:pt x="149" y="407"/>
                  </a:cubicBezTo>
                  <a:cubicBezTo>
                    <a:pt x="146" y="405"/>
                    <a:pt x="137" y="416"/>
                    <a:pt x="138" y="403"/>
                  </a:cubicBezTo>
                  <a:cubicBezTo>
                    <a:pt x="131" y="406"/>
                    <a:pt x="134" y="405"/>
                    <a:pt x="128" y="403"/>
                  </a:cubicBezTo>
                  <a:cubicBezTo>
                    <a:pt x="123" y="402"/>
                    <a:pt x="113" y="406"/>
                    <a:pt x="117" y="396"/>
                  </a:cubicBezTo>
                  <a:cubicBezTo>
                    <a:pt x="124" y="396"/>
                    <a:pt x="122" y="402"/>
                    <a:pt x="128" y="396"/>
                  </a:cubicBezTo>
                  <a:cubicBezTo>
                    <a:pt x="127" y="392"/>
                    <a:pt x="123" y="393"/>
                    <a:pt x="119" y="392"/>
                  </a:cubicBezTo>
                  <a:cubicBezTo>
                    <a:pt x="123" y="376"/>
                    <a:pt x="130" y="393"/>
                    <a:pt x="133" y="400"/>
                  </a:cubicBezTo>
                  <a:cubicBezTo>
                    <a:pt x="137" y="403"/>
                    <a:pt x="141" y="396"/>
                    <a:pt x="141" y="396"/>
                  </a:cubicBezTo>
                  <a:cubicBezTo>
                    <a:pt x="144" y="396"/>
                    <a:pt x="145" y="403"/>
                    <a:pt x="146" y="403"/>
                  </a:cubicBezTo>
                  <a:cubicBezTo>
                    <a:pt x="147" y="404"/>
                    <a:pt x="158" y="393"/>
                    <a:pt x="160" y="403"/>
                  </a:cubicBezTo>
                  <a:cubicBezTo>
                    <a:pt x="162" y="403"/>
                    <a:pt x="162" y="400"/>
                    <a:pt x="165" y="400"/>
                  </a:cubicBezTo>
                  <a:cubicBezTo>
                    <a:pt x="162" y="396"/>
                    <a:pt x="164" y="386"/>
                    <a:pt x="157" y="389"/>
                  </a:cubicBezTo>
                  <a:cubicBezTo>
                    <a:pt x="159" y="385"/>
                    <a:pt x="163" y="385"/>
                    <a:pt x="163" y="378"/>
                  </a:cubicBezTo>
                  <a:cubicBezTo>
                    <a:pt x="167" y="378"/>
                    <a:pt x="171" y="378"/>
                    <a:pt x="176" y="378"/>
                  </a:cubicBezTo>
                  <a:cubicBezTo>
                    <a:pt x="176" y="386"/>
                    <a:pt x="174" y="389"/>
                    <a:pt x="168" y="389"/>
                  </a:cubicBezTo>
                  <a:cubicBezTo>
                    <a:pt x="167" y="398"/>
                    <a:pt x="173" y="397"/>
                    <a:pt x="170" y="407"/>
                  </a:cubicBezTo>
                  <a:cubicBezTo>
                    <a:pt x="174" y="408"/>
                    <a:pt x="175" y="406"/>
                    <a:pt x="176" y="403"/>
                  </a:cubicBezTo>
                  <a:cubicBezTo>
                    <a:pt x="183" y="412"/>
                    <a:pt x="183" y="408"/>
                    <a:pt x="192" y="411"/>
                  </a:cubicBezTo>
                  <a:cubicBezTo>
                    <a:pt x="192" y="414"/>
                    <a:pt x="189" y="414"/>
                    <a:pt x="187" y="415"/>
                  </a:cubicBezTo>
                  <a:cubicBezTo>
                    <a:pt x="186" y="419"/>
                    <a:pt x="187" y="421"/>
                    <a:pt x="189" y="422"/>
                  </a:cubicBezTo>
                  <a:close/>
                  <a:moveTo>
                    <a:pt x="168" y="440"/>
                  </a:moveTo>
                  <a:cubicBezTo>
                    <a:pt x="169" y="447"/>
                    <a:pt x="153" y="447"/>
                    <a:pt x="157" y="437"/>
                  </a:cubicBezTo>
                  <a:cubicBezTo>
                    <a:pt x="162" y="436"/>
                    <a:pt x="163" y="441"/>
                    <a:pt x="168" y="440"/>
                  </a:cubicBezTo>
                  <a:close/>
                  <a:moveTo>
                    <a:pt x="152" y="444"/>
                  </a:moveTo>
                  <a:cubicBezTo>
                    <a:pt x="149" y="438"/>
                    <a:pt x="142" y="443"/>
                    <a:pt x="138" y="440"/>
                  </a:cubicBezTo>
                  <a:cubicBezTo>
                    <a:pt x="136" y="439"/>
                    <a:pt x="137" y="433"/>
                    <a:pt x="133" y="433"/>
                  </a:cubicBezTo>
                  <a:cubicBezTo>
                    <a:pt x="130" y="433"/>
                    <a:pt x="131" y="428"/>
                    <a:pt x="130" y="426"/>
                  </a:cubicBezTo>
                  <a:cubicBezTo>
                    <a:pt x="127" y="426"/>
                    <a:pt x="128" y="432"/>
                    <a:pt x="128" y="437"/>
                  </a:cubicBezTo>
                  <a:cubicBezTo>
                    <a:pt x="122" y="435"/>
                    <a:pt x="116" y="435"/>
                    <a:pt x="117" y="426"/>
                  </a:cubicBezTo>
                  <a:cubicBezTo>
                    <a:pt x="109" y="425"/>
                    <a:pt x="111" y="432"/>
                    <a:pt x="106" y="426"/>
                  </a:cubicBezTo>
                  <a:cubicBezTo>
                    <a:pt x="109" y="409"/>
                    <a:pt x="114" y="425"/>
                    <a:pt x="119" y="426"/>
                  </a:cubicBezTo>
                  <a:cubicBezTo>
                    <a:pt x="124" y="426"/>
                    <a:pt x="125" y="421"/>
                    <a:pt x="130" y="422"/>
                  </a:cubicBezTo>
                  <a:cubicBezTo>
                    <a:pt x="133" y="430"/>
                    <a:pt x="138" y="435"/>
                    <a:pt x="146" y="437"/>
                  </a:cubicBezTo>
                  <a:cubicBezTo>
                    <a:pt x="153" y="438"/>
                    <a:pt x="145" y="420"/>
                    <a:pt x="154" y="426"/>
                  </a:cubicBezTo>
                  <a:cubicBezTo>
                    <a:pt x="157" y="430"/>
                    <a:pt x="157" y="433"/>
                    <a:pt x="152" y="433"/>
                  </a:cubicBezTo>
                  <a:cubicBezTo>
                    <a:pt x="155" y="438"/>
                    <a:pt x="153" y="439"/>
                    <a:pt x="152" y="444"/>
                  </a:cubicBezTo>
                  <a:close/>
                  <a:moveTo>
                    <a:pt x="141" y="518"/>
                  </a:moveTo>
                  <a:cubicBezTo>
                    <a:pt x="138" y="525"/>
                    <a:pt x="131" y="526"/>
                    <a:pt x="128" y="533"/>
                  </a:cubicBezTo>
                  <a:cubicBezTo>
                    <a:pt x="122" y="531"/>
                    <a:pt x="125" y="519"/>
                    <a:pt x="117" y="522"/>
                  </a:cubicBezTo>
                  <a:cubicBezTo>
                    <a:pt x="116" y="515"/>
                    <a:pt x="129" y="516"/>
                    <a:pt x="125" y="525"/>
                  </a:cubicBezTo>
                  <a:cubicBezTo>
                    <a:pt x="131" y="526"/>
                    <a:pt x="133" y="522"/>
                    <a:pt x="133" y="514"/>
                  </a:cubicBezTo>
                  <a:cubicBezTo>
                    <a:pt x="132" y="510"/>
                    <a:pt x="118" y="506"/>
                    <a:pt x="119" y="511"/>
                  </a:cubicBezTo>
                  <a:cubicBezTo>
                    <a:pt x="111" y="508"/>
                    <a:pt x="122" y="503"/>
                    <a:pt x="119" y="496"/>
                  </a:cubicBezTo>
                  <a:cubicBezTo>
                    <a:pt x="123" y="501"/>
                    <a:pt x="131" y="500"/>
                    <a:pt x="138" y="500"/>
                  </a:cubicBezTo>
                  <a:cubicBezTo>
                    <a:pt x="143" y="509"/>
                    <a:pt x="135" y="513"/>
                    <a:pt x="141" y="518"/>
                  </a:cubicBezTo>
                  <a:close/>
                  <a:moveTo>
                    <a:pt x="133" y="559"/>
                  </a:moveTo>
                  <a:cubicBezTo>
                    <a:pt x="135" y="545"/>
                    <a:pt x="145" y="579"/>
                    <a:pt x="133" y="574"/>
                  </a:cubicBezTo>
                  <a:cubicBezTo>
                    <a:pt x="129" y="565"/>
                    <a:pt x="140" y="560"/>
                    <a:pt x="133" y="559"/>
                  </a:cubicBezTo>
                  <a:close/>
                  <a:moveTo>
                    <a:pt x="130" y="533"/>
                  </a:moveTo>
                  <a:cubicBezTo>
                    <a:pt x="138" y="534"/>
                    <a:pt x="136" y="547"/>
                    <a:pt x="141" y="551"/>
                  </a:cubicBezTo>
                  <a:cubicBezTo>
                    <a:pt x="138" y="559"/>
                    <a:pt x="130" y="542"/>
                    <a:pt x="130" y="533"/>
                  </a:cubicBezTo>
                  <a:close/>
                  <a:moveTo>
                    <a:pt x="125" y="540"/>
                  </a:moveTo>
                  <a:cubicBezTo>
                    <a:pt x="123" y="539"/>
                    <a:pt x="118" y="542"/>
                    <a:pt x="117" y="540"/>
                  </a:cubicBezTo>
                  <a:cubicBezTo>
                    <a:pt x="112" y="531"/>
                    <a:pt x="134" y="538"/>
                    <a:pt x="128" y="548"/>
                  </a:cubicBezTo>
                  <a:cubicBezTo>
                    <a:pt x="126" y="550"/>
                    <a:pt x="125" y="540"/>
                    <a:pt x="125" y="540"/>
                  </a:cubicBezTo>
                  <a:close/>
                  <a:moveTo>
                    <a:pt x="125" y="574"/>
                  </a:moveTo>
                  <a:cubicBezTo>
                    <a:pt x="123" y="574"/>
                    <a:pt x="121" y="568"/>
                    <a:pt x="122" y="566"/>
                  </a:cubicBezTo>
                  <a:cubicBezTo>
                    <a:pt x="126" y="553"/>
                    <a:pt x="127" y="573"/>
                    <a:pt x="125" y="574"/>
                  </a:cubicBezTo>
                  <a:close/>
                  <a:moveTo>
                    <a:pt x="125" y="611"/>
                  </a:moveTo>
                  <a:cubicBezTo>
                    <a:pt x="124" y="615"/>
                    <a:pt x="122" y="613"/>
                    <a:pt x="122" y="611"/>
                  </a:cubicBezTo>
                  <a:cubicBezTo>
                    <a:pt x="120" y="612"/>
                    <a:pt x="117" y="614"/>
                    <a:pt x="117" y="618"/>
                  </a:cubicBezTo>
                  <a:cubicBezTo>
                    <a:pt x="110" y="616"/>
                    <a:pt x="116" y="604"/>
                    <a:pt x="122" y="607"/>
                  </a:cubicBezTo>
                  <a:cubicBezTo>
                    <a:pt x="122" y="610"/>
                    <a:pt x="123" y="610"/>
                    <a:pt x="125" y="611"/>
                  </a:cubicBezTo>
                  <a:close/>
                  <a:moveTo>
                    <a:pt x="111" y="599"/>
                  </a:moveTo>
                  <a:cubicBezTo>
                    <a:pt x="112" y="592"/>
                    <a:pt x="123" y="600"/>
                    <a:pt x="125" y="603"/>
                  </a:cubicBezTo>
                  <a:cubicBezTo>
                    <a:pt x="133" y="608"/>
                    <a:pt x="114" y="602"/>
                    <a:pt x="111" y="599"/>
                  </a:cubicBezTo>
                  <a:close/>
                  <a:moveTo>
                    <a:pt x="93" y="592"/>
                  </a:moveTo>
                  <a:cubicBezTo>
                    <a:pt x="95" y="592"/>
                    <a:pt x="95" y="597"/>
                    <a:pt x="95" y="599"/>
                  </a:cubicBezTo>
                  <a:cubicBezTo>
                    <a:pt x="97" y="594"/>
                    <a:pt x="106" y="599"/>
                    <a:pt x="106" y="592"/>
                  </a:cubicBezTo>
                  <a:cubicBezTo>
                    <a:pt x="109" y="593"/>
                    <a:pt x="109" y="599"/>
                    <a:pt x="106" y="599"/>
                  </a:cubicBezTo>
                  <a:cubicBezTo>
                    <a:pt x="99" y="598"/>
                    <a:pt x="104" y="614"/>
                    <a:pt x="95" y="611"/>
                  </a:cubicBezTo>
                  <a:cubicBezTo>
                    <a:pt x="96" y="602"/>
                    <a:pt x="90" y="603"/>
                    <a:pt x="93" y="592"/>
                  </a:cubicBezTo>
                  <a:close/>
                  <a:moveTo>
                    <a:pt x="93" y="389"/>
                  </a:moveTo>
                  <a:cubicBezTo>
                    <a:pt x="100" y="389"/>
                    <a:pt x="98" y="404"/>
                    <a:pt x="90" y="403"/>
                  </a:cubicBezTo>
                  <a:cubicBezTo>
                    <a:pt x="92" y="400"/>
                    <a:pt x="93" y="395"/>
                    <a:pt x="93" y="389"/>
                  </a:cubicBezTo>
                  <a:close/>
                  <a:moveTo>
                    <a:pt x="87" y="315"/>
                  </a:moveTo>
                  <a:cubicBezTo>
                    <a:pt x="87" y="312"/>
                    <a:pt x="87" y="310"/>
                    <a:pt x="87" y="307"/>
                  </a:cubicBezTo>
                  <a:cubicBezTo>
                    <a:pt x="89" y="308"/>
                    <a:pt x="90" y="306"/>
                    <a:pt x="90" y="304"/>
                  </a:cubicBezTo>
                  <a:cubicBezTo>
                    <a:pt x="95" y="302"/>
                    <a:pt x="94" y="320"/>
                    <a:pt x="87" y="315"/>
                  </a:cubicBezTo>
                  <a:close/>
                  <a:moveTo>
                    <a:pt x="122" y="352"/>
                  </a:moveTo>
                  <a:cubicBezTo>
                    <a:pt x="119" y="355"/>
                    <a:pt x="115" y="357"/>
                    <a:pt x="109" y="355"/>
                  </a:cubicBezTo>
                  <a:cubicBezTo>
                    <a:pt x="109" y="353"/>
                    <a:pt x="109" y="350"/>
                    <a:pt x="109" y="348"/>
                  </a:cubicBezTo>
                  <a:cubicBezTo>
                    <a:pt x="111" y="349"/>
                    <a:pt x="111" y="346"/>
                    <a:pt x="111" y="344"/>
                  </a:cubicBezTo>
                  <a:cubicBezTo>
                    <a:pt x="114" y="345"/>
                    <a:pt x="113" y="352"/>
                    <a:pt x="117" y="352"/>
                  </a:cubicBezTo>
                  <a:cubicBezTo>
                    <a:pt x="119" y="352"/>
                    <a:pt x="119" y="350"/>
                    <a:pt x="119" y="348"/>
                  </a:cubicBezTo>
                  <a:cubicBezTo>
                    <a:pt x="121" y="342"/>
                    <a:pt x="122" y="348"/>
                    <a:pt x="122" y="352"/>
                  </a:cubicBezTo>
                  <a:close/>
                  <a:moveTo>
                    <a:pt x="125" y="381"/>
                  </a:moveTo>
                  <a:cubicBezTo>
                    <a:pt x="115" y="380"/>
                    <a:pt x="118" y="372"/>
                    <a:pt x="119" y="363"/>
                  </a:cubicBezTo>
                  <a:cubicBezTo>
                    <a:pt x="123" y="366"/>
                    <a:pt x="123" y="375"/>
                    <a:pt x="125" y="381"/>
                  </a:cubicBezTo>
                  <a:close/>
                  <a:moveTo>
                    <a:pt x="106" y="318"/>
                  </a:moveTo>
                  <a:cubicBezTo>
                    <a:pt x="109" y="315"/>
                    <a:pt x="107" y="305"/>
                    <a:pt x="114" y="307"/>
                  </a:cubicBezTo>
                  <a:cubicBezTo>
                    <a:pt x="115" y="315"/>
                    <a:pt x="112" y="319"/>
                    <a:pt x="106" y="318"/>
                  </a:cubicBezTo>
                  <a:close/>
                  <a:moveTo>
                    <a:pt x="109" y="363"/>
                  </a:moveTo>
                  <a:cubicBezTo>
                    <a:pt x="110" y="369"/>
                    <a:pt x="117" y="366"/>
                    <a:pt x="114" y="378"/>
                  </a:cubicBezTo>
                  <a:cubicBezTo>
                    <a:pt x="102" y="376"/>
                    <a:pt x="110" y="370"/>
                    <a:pt x="106" y="359"/>
                  </a:cubicBezTo>
                  <a:cubicBezTo>
                    <a:pt x="108" y="358"/>
                    <a:pt x="109" y="360"/>
                    <a:pt x="109" y="363"/>
                  </a:cubicBezTo>
                  <a:close/>
                  <a:moveTo>
                    <a:pt x="114" y="407"/>
                  </a:moveTo>
                  <a:cubicBezTo>
                    <a:pt x="110" y="407"/>
                    <a:pt x="105" y="407"/>
                    <a:pt x="101" y="407"/>
                  </a:cubicBezTo>
                  <a:cubicBezTo>
                    <a:pt x="103" y="394"/>
                    <a:pt x="101" y="398"/>
                    <a:pt x="103" y="385"/>
                  </a:cubicBezTo>
                  <a:cubicBezTo>
                    <a:pt x="106" y="386"/>
                    <a:pt x="106" y="392"/>
                    <a:pt x="106" y="396"/>
                  </a:cubicBezTo>
                  <a:cubicBezTo>
                    <a:pt x="112" y="397"/>
                    <a:pt x="104" y="379"/>
                    <a:pt x="114" y="385"/>
                  </a:cubicBezTo>
                  <a:cubicBezTo>
                    <a:pt x="109" y="392"/>
                    <a:pt x="113" y="398"/>
                    <a:pt x="114" y="407"/>
                  </a:cubicBezTo>
                  <a:close/>
                  <a:moveTo>
                    <a:pt x="106" y="352"/>
                  </a:moveTo>
                  <a:cubicBezTo>
                    <a:pt x="102" y="368"/>
                    <a:pt x="95" y="334"/>
                    <a:pt x="106" y="341"/>
                  </a:cubicBezTo>
                  <a:cubicBezTo>
                    <a:pt x="104" y="344"/>
                    <a:pt x="102" y="351"/>
                    <a:pt x="106" y="352"/>
                  </a:cubicBezTo>
                  <a:close/>
                  <a:moveTo>
                    <a:pt x="103" y="433"/>
                  </a:moveTo>
                  <a:cubicBezTo>
                    <a:pt x="104" y="439"/>
                    <a:pt x="107" y="443"/>
                    <a:pt x="103" y="448"/>
                  </a:cubicBezTo>
                  <a:cubicBezTo>
                    <a:pt x="98" y="444"/>
                    <a:pt x="100" y="435"/>
                    <a:pt x="98" y="429"/>
                  </a:cubicBezTo>
                  <a:cubicBezTo>
                    <a:pt x="96" y="425"/>
                    <a:pt x="92" y="426"/>
                    <a:pt x="93" y="418"/>
                  </a:cubicBezTo>
                  <a:cubicBezTo>
                    <a:pt x="96" y="419"/>
                    <a:pt x="97" y="417"/>
                    <a:pt x="98" y="415"/>
                  </a:cubicBezTo>
                  <a:cubicBezTo>
                    <a:pt x="102" y="417"/>
                    <a:pt x="102" y="426"/>
                    <a:pt x="103" y="433"/>
                  </a:cubicBezTo>
                  <a:close/>
                  <a:moveTo>
                    <a:pt x="109" y="440"/>
                  </a:moveTo>
                  <a:cubicBezTo>
                    <a:pt x="111" y="440"/>
                    <a:pt x="114" y="440"/>
                    <a:pt x="117" y="440"/>
                  </a:cubicBezTo>
                  <a:cubicBezTo>
                    <a:pt x="117" y="447"/>
                    <a:pt x="112" y="455"/>
                    <a:pt x="114" y="459"/>
                  </a:cubicBezTo>
                  <a:cubicBezTo>
                    <a:pt x="115" y="461"/>
                    <a:pt x="117" y="456"/>
                    <a:pt x="117" y="455"/>
                  </a:cubicBezTo>
                  <a:cubicBezTo>
                    <a:pt x="117" y="454"/>
                    <a:pt x="121" y="457"/>
                    <a:pt x="119" y="459"/>
                  </a:cubicBezTo>
                  <a:cubicBezTo>
                    <a:pt x="115" y="464"/>
                    <a:pt x="120" y="463"/>
                    <a:pt x="117" y="474"/>
                  </a:cubicBezTo>
                  <a:cubicBezTo>
                    <a:pt x="111" y="475"/>
                    <a:pt x="108" y="473"/>
                    <a:pt x="109" y="466"/>
                  </a:cubicBezTo>
                  <a:cubicBezTo>
                    <a:pt x="104" y="468"/>
                    <a:pt x="106" y="478"/>
                    <a:pt x="98" y="474"/>
                  </a:cubicBezTo>
                  <a:cubicBezTo>
                    <a:pt x="103" y="465"/>
                    <a:pt x="104" y="463"/>
                    <a:pt x="95" y="459"/>
                  </a:cubicBezTo>
                  <a:cubicBezTo>
                    <a:pt x="96" y="456"/>
                    <a:pt x="104" y="448"/>
                    <a:pt x="103" y="455"/>
                  </a:cubicBezTo>
                  <a:cubicBezTo>
                    <a:pt x="112" y="452"/>
                    <a:pt x="104" y="447"/>
                    <a:pt x="109" y="440"/>
                  </a:cubicBezTo>
                  <a:close/>
                  <a:moveTo>
                    <a:pt x="135" y="485"/>
                  </a:moveTo>
                  <a:cubicBezTo>
                    <a:pt x="138" y="498"/>
                    <a:pt x="121" y="492"/>
                    <a:pt x="119" y="489"/>
                  </a:cubicBezTo>
                  <a:cubicBezTo>
                    <a:pt x="121" y="484"/>
                    <a:pt x="130" y="491"/>
                    <a:pt x="135" y="485"/>
                  </a:cubicBezTo>
                  <a:close/>
                  <a:moveTo>
                    <a:pt x="128" y="463"/>
                  </a:moveTo>
                  <a:cubicBezTo>
                    <a:pt x="128" y="456"/>
                    <a:pt x="134" y="461"/>
                    <a:pt x="135" y="452"/>
                  </a:cubicBezTo>
                  <a:cubicBezTo>
                    <a:pt x="139" y="452"/>
                    <a:pt x="137" y="455"/>
                    <a:pt x="135" y="455"/>
                  </a:cubicBezTo>
                  <a:cubicBezTo>
                    <a:pt x="133" y="469"/>
                    <a:pt x="135" y="473"/>
                    <a:pt x="133" y="481"/>
                  </a:cubicBezTo>
                  <a:cubicBezTo>
                    <a:pt x="127" y="482"/>
                    <a:pt x="123" y="480"/>
                    <a:pt x="122" y="474"/>
                  </a:cubicBezTo>
                  <a:cubicBezTo>
                    <a:pt x="121" y="466"/>
                    <a:pt x="127" y="468"/>
                    <a:pt x="128" y="463"/>
                  </a:cubicBezTo>
                  <a:close/>
                  <a:moveTo>
                    <a:pt x="111" y="507"/>
                  </a:moveTo>
                  <a:cubicBezTo>
                    <a:pt x="106" y="509"/>
                    <a:pt x="104" y="504"/>
                    <a:pt x="101" y="503"/>
                  </a:cubicBezTo>
                  <a:cubicBezTo>
                    <a:pt x="101" y="499"/>
                    <a:pt x="106" y="500"/>
                    <a:pt x="109" y="500"/>
                  </a:cubicBezTo>
                  <a:cubicBezTo>
                    <a:pt x="109" y="495"/>
                    <a:pt x="109" y="490"/>
                    <a:pt x="109" y="485"/>
                  </a:cubicBezTo>
                  <a:cubicBezTo>
                    <a:pt x="113" y="473"/>
                    <a:pt x="111" y="501"/>
                    <a:pt x="111" y="507"/>
                  </a:cubicBezTo>
                  <a:close/>
                  <a:moveTo>
                    <a:pt x="109" y="544"/>
                  </a:moveTo>
                  <a:cubicBezTo>
                    <a:pt x="103" y="544"/>
                    <a:pt x="105" y="534"/>
                    <a:pt x="98" y="537"/>
                  </a:cubicBezTo>
                  <a:cubicBezTo>
                    <a:pt x="90" y="526"/>
                    <a:pt x="110" y="542"/>
                    <a:pt x="109" y="533"/>
                  </a:cubicBezTo>
                  <a:cubicBezTo>
                    <a:pt x="113" y="534"/>
                    <a:pt x="108" y="538"/>
                    <a:pt x="109" y="544"/>
                  </a:cubicBezTo>
                  <a:close/>
                  <a:moveTo>
                    <a:pt x="101" y="585"/>
                  </a:moveTo>
                  <a:cubicBezTo>
                    <a:pt x="98" y="596"/>
                    <a:pt x="98" y="574"/>
                    <a:pt x="93" y="577"/>
                  </a:cubicBezTo>
                  <a:cubicBezTo>
                    <a:pt x="95" y="566"/>
                    <a:pt x="100" y="581"/>
                    <a:pt x="101" y="585"/>
                  </a:cubicBezTo>
                  <a:close/>
                  <a:moveTo>
                    <a:pt x="93" y="492"/>
                  </a:moveTo>
                  <a:cubicBezTo>
                    <a:pt x="101" y="479"/>
                    <a:pt x="102" y="503"/>
                    <a:pt x="93" y="492"/>
                  </a:cubicBezTo>
                  <a:close/>
                  <a:moveTo>
                    <a:pt x="111" y="607"/>
                  </a:moveTo>
                  <a:cubicBezTo>
                    <a:pt x="110" y="611"/>
                    <a:pt x="108" y="614"/>
                    <a:pt x="103" y="614"/>
                  </a:cubicBezTo>
                  <a:cubicBezTo>
                    <a:pt x="104" y="610"/>
                    <a:pt x="107" y="607"/>
                    <a:pt x="111" y="607"/>
                  </a:cubicBezTo>
                  <a:close/>
                  <a:moveTo>
                    <a:pt x="106" y="581"/>
                  </a:moveTo>
                  <a:cubicBezTo>
                    <a:pt x="106" y="577"/>
                    <a:pt x="111" y="578"/>
                    <a:pt x="114" y="577"/>
                  </a:cubicBezTo>
                  <a:cubicBezTo>
                    <a:pt x="114" y="567"/>
                    <a:pt x="110" y="570"/>
                    <a:pt x="114" y="562"/>
                  </a:cubicBezTo>
                  <a:cubicBezTo>
                    <a:pt x="123" y="565"/>
                    <a:pt x="111" y="586"/>
                    <a:pt x="117" y="585"/>
                  </a:cubicBezTo>
                  <a:cubicBezTo>
                    <a:pt x="114" y="596"/>
                    <a:pt x="108" y="583"/>
                    <a:pt x="106" y="581"/>
                  </a:cubicBezTo>
                  <a:close/>
                  <a:moveTo>
                    <a:pt x="128" y="352"/>
                  </a:moveTo>
                  <a:cubicBezTo>
                    <a:pt x="130" y="348"/>
                    <a:pt x="128" y="338"/>
                    <a:pt x="135" y="341"/>
                  </a:cubicBezTo>
                  <a:cubicBezTo>
                    <a:pt x="133" y="344"/>
                    <a:pt x="135" y="354"/>
                    <a:pt x="128" y="352"/>
                  </a:cubicBezTo>
                  <a:close/>
                  <a:moveTo>
                    <a:pt x="135" y="355"/>
                  </a:moveTo>
                  <a:cubicBezTo>
                    <a:pt x="135" y="358"/>
                    <a:pt x="135" y="360"/>
                    <a:pt x="135" y="363"/>
                  </a:cubicBezTo>
                  <a:cubicBezTo>
                    <a:pt x="134" y="363"/>
                    <a:pt x="132" y="363"/>
                    <a:pt x="130" y="363"/>
                  </a:cubicBezTo>
                  <a:cubicBezTo>
                    <a:pt x="130" y="360"/>
                    <a:pt x="130" y="358"/>
                    <a:pt x="130" y="355"/>
                  </a:cubicBezTo>
                  <a:cubicBezTo>
                    <a:pt x="132" y="355"/>
                    <a:pt x="134" y="355"/>
                    <a:pt x="135" y="355"/>
                  </a:cubicBezTo>
                  <a:close/>
                  <a:moveTo>
                    <a:pt x="141" y="333"/>
                  </a:moveTo>
                  <a:cubicBezTo>
                    <a:pt x="147" y="335"/>
                    <a:pt x="143" y="353"/>
                    <a:pt x="141" y="355"/>
                  </a:cubicBezTo>
                  <a:cubicBezTo>
                    <a:pt x="133" y="351"/>
                    <a:pt x="144" y="343"/>
                    <a:pt x="141" y="333"/>
                  </a:cubicBezTo>
                  <a:close/>
                  <a:moveTo>
                    <a:pt x="138" y="363"/>
                  </a:moveTo>
                  <a:cubicBezTo>
                    <a:pt x="139" y="358"/>
                    <a:pt x="143" y="360"/>
                    <a:pt x="146" y="359"/>
                  </a:cubicBezTo>
                  <a:cubicBezTo>
                    <a:pt x="149" y="359"/>
                    <a:pt x="148" y="355"/>
                    <a:pt x="149" y="352"/>
                  </a:cubicBezTo>
                  <a:cubicBezTo>
                    <a:pt x="155" y="350"/>
                    <a:pt x="154" y="357"/>
                    <a:pt x="154" y="363"/>
                  </a:cubicBezTo>
                  <a:cubicBezTo>
                    <a:pt x="150" y="370"/>
                    <a:pt x="148" y="360"/>
                    <a:pt x="138" y="363"/>
                  </a:cubicBezTo>
                  <a:close/>
                  <a:moveTo>
                    <a:pt x="149" y="378"/>
                  </a:moveTo>
                  <a:cubicBezTo>
                    <a:pt x="161" y="379"/>
                    <a:pt x="146" y="399"/>
                    <a:pt x="149" y="378"/>
                  </a:cubicBezTo>
                  <a:close/>
                  <a:moveTo>
                    <a:pt x="184" y="389"/>
                  </a:moveTo>
                  <a:cubicBezTo>
                    <a:pt x="185" y="396"/>
                    <a:pt x="172" y="394"/>
                    <a:pt x="176" y="385"/>
                  </a:cubicBezTo>
                  <a:cubicBezTo>
                    <a:pt x="180" y="384"/>
                    <a:pt x="181" y="388"/>
                    <a:pt x="184" y="389"/>
                  </a:cubicBezTo>
                  <a:close/>
                  <a:moveTo>
                    <a:pt x="160" y="263"/>
                  </a:moveTo>
                  <a:cubicBezTo>
                    <a:pt x="157" y="263"/>
                    <a:pt x="147" y="266"/>
                    <a:pt x="146" y="259"/>
                  </a:cubicBezTo>
                  <a:cubicBezTo>
                    <a:pt x="146" y="256"/>
                    <a:pt x="147" y="252"/>
                    <a:pt x="149" y="252"/>
                  </a:cubicBezTo>
                  <a:cubicBezTo>
                    <a:pt x="150" y="252"/>
                    <a:pt x="151" y="259"/>
                    <a:pt x="152" y="259"/>
                  </a:cubicBezTo>
                  <a:cubicBezTo>
                    <a:pt x="158" y="261"/>
                    <a:pt x="162" y="258"/>
                    <a:pt x="168" y="259"/>
                  </a:cubicBezTo>
                  <a:cubicBezTo>
                    <a:pt x="167" y="260"/>
                    <a:pt x="166" y="266"/>
                    <a:pt x="165" y="267"/>
                  </a:cubicBezTo>
                  <a:cubicBezTo>
                    <a:pt x="161" y="269"/>
                    <a:pt x="161" y="263"/>
                    <a:pt x="160" y="263"/>
                  </a:cubicBezTo>
                  <a:close/>
                  <a:moveTo>
                    <a:pt x="149" y="278"/>
                  </a:moveTo>
                  <a:cubicBezTo>
                    <a:pt x="148" y="276"/>
                    <a:pt x="156" y="267"/>
                    <a:pt x="160" y="274"/>
                  </a:cubicBezTo>
                  <a:cubicBezTo>
                    <a:pt x="161" y="277"/>
                    <a:pt x="151" y="280"/>
                    <a:pt x="149" y="278"/>
                  </a:cubicBezTo>
                  <a:close/>
                  <a:moveTo>
                    <a:pt x="189" y="263"/>
                  </a:moveTo>
                  <a:cubicBezTo>
                    <a:pt x="187" y="266"/>
                    <a:pt x="188" y="273"/>
                    <a:pt x="184" y="274"/>
                  </a:cubicBezTo>
                  <a:cubicBezTo>
                    <a:pt x="185" y="280"/>
                    <a:pt x="192" y="277"/>
                    <a:pt x="189" y="289"/>
                  </a:cubicBezTo>
                  <a:cubicBezTo>
                    <a:pt x="181" y="292"/>
                    <a:pt x="186" y="276"/>
                    <a:pt x="176" y="281"/>
                  </a:cubicBezTo>
                  <a:cubicBezTo>
                    <a:pt x="177" y="277"/>
                    <a:pt x="179" y="274"/>
                    <a:pt x="184" y="274"/>
                  </a:cubicBezTo>
                  <a:cubicBezTo>
                    <a:pt x="183" y="267"/>
                    <a:pt x="185" y="262"/>
                    <a:pt x="189" y="263"/>
                  </a:cubicBezTo>
                  <a:close/>
                  <a:moveTo>
                    <a:pt x="176" y="267"/>
                  </a:moveTo>
                  <a:cubicBezTo>
                    <a:pt x="176" y="264"/>
                    <a:pt x="179" y="263"/>
                    <a:pt x="179" y="259"/>
                  </a:cubicBezTo>
                  <a:cubicBezTo>
                    <a:pt x="178" y="256"/>
                    <a:pt x="175" y="256"/>
                    <a:pt x="173" y="255"/>
                  </a:cubicBezTo>
                  <a:cubicBezTo>
                    <a:pt x="174" y="251"/>
                    <a:pt x="178" y="250"/>
                    <a:pt x="179" y="244"/>
                  </a:cubicBezTo>
                  <a:cubicBezTo>
                    <a:pt x="187" y="245"/>
                    <a:pt x="184" y="267"/>
                    <a:pt x="176" y="267"/>
                  </a:cubicBezTo>
                  <a:close/>
                  <a:moveTo>
                    <a:pt x="176" y="170"/>
                  </a:moveTo>
                  <a:cubicBezTo>
                    <a:pt x="173" y="183"/>
                    <a:pt x="171" y="172"/>
                    <a:pt x="163" y="174"/>
                  </a:cubicBezTo>
                  <a:cubicBezTo>
                    <a:pt x="165" y="168"/>
                    <a:pt x="172" y="165"/>
                    <a:pt x="176" y="170"/>
                  </a:cubicBezTo>
                  <a:close/>
                  <a:moveTo>
                    <a:pt x="90" y="226"/>
                  </a:moveTo>
                  <a:cubicBezTo>
                    <a:pt x="90" y="223"/>
                    <a:pt x="90" y="221"/>
                    <a:pt x="90" y="218"/>
                  </a:cubicBezTo>
                  <a:cubicBezTo>
                    <a:pt x="98" y="225"/>
                    <a:pt x="99" y="216"/>
                    <a:pt x="111" y="218"/>
                  </a:cubicBezTo>
                  <a:cubicBezTo>
                    <a:pt x="117" y="219"/>
                    <a:pt x="117" y="225"/>
                    <a:pt x="125" y="222"/>
                  </a:cubicBezTo>
                  <a:cubicBezTo>
                    <a:pt x="128" y="221"/>
                    <a:pt x="135" y="218"/>
                    <a:pt x="141" y="226"/>
                  </a:cubicBezTo>
                  <a:cubicBezTo>
                    <a:pt x="142" y="228"/>
                    <a:pt x="158" y="224"/>
                    <a:pt x="165" y="226"/>
                  </a:cubicBezTo>
                  <a:cubicBezTo>
                    <a:pt x="171" y="227"/>
                    <a:pt x="184" y="227"/>
                    <a:pt x="181" y="241"/>
                  </a:cubicBezTo>
                  <a:cubicBezTo>
                    <a:pt x="178" y="240"/>
                    <a:pt x="180" y="233"/>
                    <a:pt x="176" y="233"/>
                  </a:cubicBezTo>
                  <a:cubicBezTo>
                    <a:pt x="172" y="234"/>
                    <a:pt x="174" y="243"/>
                    <a:pt x="173" y="248"/>
                  </a:cubicBezTo>
                  <a:cubicBezTo>
                    <a:pt x="163" y="239"/>
                    <a:pt x="175" y="252"/>
                    <a:pt x="168" y="255"/>
                  </a:cubicBezTo>
                  <a:cubicBezTo>
                    <a:pt x="160" y="259"/>
                    <a:pt x="166" y="248"/>
                    <a:pt x="165" y="248"/>
                  </a:cubicBezTo>
                  <a:cubicBezTo>
                    <a:pt x="164" y="247"/>
                    <a:pt x="158" y="255"/>
                    <a:pt x="154" y="252"/>
                  </a:cubicBezTo>
                  <a:cubicBezTo>
                    <a:pt x="154" y="246"/>
                    <a:pt x="146" y="250"/>
                    <a:pt x="146" y="244"/>
                  </a:cubicBezTo>
                  <a:cubicBezTo>
                    <a:pt x="144" y="247"/>
                    <a:pt x="142" y="251"/>
                    <a:pt x="141" y="255"/>
                  </a:cubicBezTo>
                  <a:cubicBezTo>
                    <a:pt x="132" y="249"/>
                    <a:pt x="129" y="242"/>
                    <a:pt x="133" y="226"/>
                  </a:cubicBezTo>
                  <a:cubicBezTo>
                    <a:pt x="131" y="226"/>
                    <a:pt x="129" y="226"/>
                    <a:pt x="128" y="226"/>
                  </a:cubicBezTo>
                  <a:cubicBezTo>
                    <a:pt x="124" y="227"/>
                    <a:pt x="125" y="233"/>
                    <a:pt x="128" y="233"/>
                  </a:cubicBezTo>
                  <a:cubicBezTo>
                    <a:pt x="127" y="237"/>
                    <a:pt x="124" y="236"/>
                    <a:pt x="122" y="237"/>
                  </a:cubicBezTo>
                  <a:cubicBezTo>
                    <a:pt x="125" y="249"/>
                    <a:pt x="122" y="245"/>
                    <a:pt x="122" y="259"/>
                  </a:cubicBezTo>
                  <a:cubicBezTo>
                    <a:pt x="118" y="256"/>
                    <a:pt x="118" y="247"/>
                    <a:pt x="117" y="241"/>
                  </a:cubicBezTo>
                  <a:cubicBezTo>
                    <a:pt x="112" y="242"/>
                    <a:pt x="110" y="249"/>
                    <a:pt x="103" y="248"/>
                  </a:cubicBezTo>
                  <a:cubicBezTo>
                    <a:pt x="101" y="231"/>
                    <a:pt x="108" y="240"/>
                    <a:pt x="114" y="241"/>
                  </a:cubicBezTo>
                  <a:cubicBezTo>
                    <a:pt x="116" y="231"/>
                    <a:pt x="109" y="234"/>
                    <a:pt x="106" y="230"/>
                  </a:cubicBezTo>
                  <a:cubicBezTo>
                    <a:pt x="99" y="228"/>
                    <a:pt x="103" y="243"/>
                    <a:pt x="98" y="244"/>
                  </a:cubicBezTo>
                  <a:cubicBezTo>
                    <a:pt x="84" y="246"/>
                    <a:pt x="104" y="223"/>
                    <a:pt x="87" y="230"/>
                  </a:cubicBezTo>
                  <a:cubicBezTo>
                    <a:pt x="87" y="226"/>
                    <a:pt x="88" y="226"/>
                    <a:pt x="90" y="226"/>
                  </a:cubicBezTo>
                  <a:close/>
                  <a:moveTo>
                    <a:pt x="58" y="407"/>
                  </a:moveTo>
                  <a:cubicBezTo>
                    <a:pt x="67" y="405"/>
                    <a:pt x="58" y="424"/>
                    <a:pt x="55" y="418"/>
                  </a:cubicBezTo>
                  <a:cubicBezTo>
                    <a:pt x="55" y="418"/>
                    <a:pt x="57" y="411"/>
                    <a:pt x="58" y="411"/>
                  </a:cubicBezTo>
                  <a:cubicBezTo>
                    <a:pt x="58" y="411"/>
                    <a:pt x="57" y="407"/>
                    <a:pt x="58" y="407"/>
                  </a:cubicBezTo>
                  <a:close/>
                  <a:moveTo>
                    <a:pt x="55" y="433"/>
                  </a:moveTo>
                  <a:cubicBezTo>
                    <a:pt x="54" y="425"/>
                    <a:pt x="59" y="426"/>
                    <a:pt x="63" y="426"/>
                  </a:cubicBezTo>
                  <a:cubicBezTo>
                    <a:pt x="62" y="430"/>
                    <a:pt x="60" y="433"/>
                    <a:pt x="55" y="433"/>
                  </a:cubicBezTo>
                  <a:close/>
                  <a:moveTo>
                    <a:pt x="60" y="655"/>
                  </a:moveTo>
                  <a:cubicBezTo>
                    <a:pt x="60" y="649"/>
                    <a:pt x="60" y="643"/>
                    <a:pt x="60" y="636"/>
                  </a:cubicBezTo>
                  <a:cubicBezTo>
                    <a:pt x="69" y="631"/>
                    <a:pt x="69" y="661"/>
                    <a:pt x="60" y="655"/>
                  </a:cubicBezTo>
                  <a:close/>
                  <a:moveTo>
                    <a:pt x="71" y="244"/>
                  </a:moveTo>
                  <a:cubicBezTo>
                    <a:pt x="75" y="239"/>
                    <a:pt x="75" y="230"/>
                    <a:pt x="66" y="233"/>
                  </a:cubicBezTo>
                  <a:cubicBezTo>
                    <a:pt x="68" y="228"/>
                    <a:pt x="73" y="226"/>
                    <a:pt x="74" y="218"/>
                  </a:cubicBezTo>
                  <a:cubicBezTo>
                    <a:pt x="77" y="218"/>
                    <a:pt x="75" y="224"/>
                    <a:pt x="76" y="226"/>
                  </a:cubicBezTo>
                  <a:cubicBezTo>
                    <a:pt x="80" y="233"/>
                    <a:pt x="89" y="230"/>
                    <a:pt x="90" y="241"/>
                  </a:cubicBezTo>
                  <a:cubicBezTo>
                    <a:pt x="88" y="233"/>
                    <a:pt x="80" y="243"/>
                    <a:pt x="79" y="237"/>
                  </a:cubicBezTo>
                  <a:cubicBezTo>
                    <a:pt x="76" y="239"/>
                    <a:pt x="76" y="246"/>
                    <a:pt x="71" y="244"/>
                  </a:cubicBezTo>
                  <a:close/>
                  <a:moveTo>
                    <a:pt x="93" y="721"/>
                  </a:moveTo>
                  <a:cubicBezTo>
                    <a:pt x="93" y="712"/>
                    <a:pt x="87" y="712"/>
                    <a:pt x="82" y="710"/>
                  </a:cubicBezTo>
                  <a:cubicBezTo>
                    <a:pt x="83" y="703"/>
                    <a:pt x="92" y="707"/>
                    <a:pt x="90" y="696"/>
                  </a:cubicBezTo>
                  <a:cubicBezTo>
                    <a:pt x="93" y="700"/>
                    <a:pt x="99" y="700"/>
                    <a:pt x="106" y="699"/>
                  </a:cubicBezTo>
                  <a:cubicBezTo>
                    <a:pt x="106" y="714"/>
                    <a:pt x="102" y="721"/>
                    <a:pt x="93" y="721"/>
                  </a:cubicBezTo>
                  <a:close/>
                  <a:moveTo>
                    <a:pt x="106" y="692"/>
                  </a:moveTo>
                  <a:cubicBezTo>
                    <a:pt x="104" y="692"/>
                    <a:pt x="102" y="692"/>
                    <a:pt x="101" y="692"/>
                  </a:cubicBezTo>
                  <a:cubicBezTo>
                    <a:pt x="101" y="689"/>
                    <a:pt x="101" y="687"/>
                    <a:pt x="101" y="684"/>
                  </a:cubicBezTo>
                  <a:cubicBezTo>
                    <a:pt x="102" y="684"/>
                    <a:pt x="104" y="684"/>
                    <a:pt x="106" y="684"/>
                  </a:cubicBezTo>
                  <a:cubicBezTo>
                    <a:pt x="106" y="687"/>
                    <a:pt x="106" y="689"/>
                    <a:pt x="106" y="692"/>
                  </a:cubicBezTo>
                  <a:close/>
                  <a:moveTo>
                    <a:pt x="109" y="677"/>
                  </a:moveTo>
                  <a:cubicBezTo>
                    <a:pt x="101" y="677"/>
                    <a:pt x="98" y="669"/>
                    <a:pt x="93" y="666"/>
                  </a:cubicBezTo>
                  <a:cubicBezTo>
                    <a:pt x="92" y="672"/>
                    <a:pt x="95" y="673"/>
                    <a:pt x="98" y="673"/>
                  </a:cubicBezTo>
                  <a:cubicBezTo>
                    <a:pt x="95" y="685"/>
                    <a:pt x="86" y="673"/>
                    <a:pt x="90" y="662"/>
                  </a:cubicBezTo>
                  <a:cubicBezTo>
                    <a:pt x="82" y="663"/>
                    <a:pt x="83" y="678"/>
                    <a:pt x="79" y="655"/>
                  </a:cubicBezTo>
                  <a:cubicBezTo>
                    <a:pt x="87" y="665"/>
                    <a:pt x="97" y="649"/>
                    <a:pt x="101" y="662"/>
                  </a:cubicBezTo>
                  <a:cubicBezTo>
                    <a:pt x="103" y="662"/>
                    <a:pt x="103" y="659"/>
                    <a:pt x="106" y="659"/>
                  </a:cubicBezTo>
                  <a:cubicBezTo>
                    <a:pt x="106" y="652"/>
                    <a:pt x="97" y="656"/>
                    <a:pt x="95" y="651"/>
                  </a:cubicBezTo>
                  <a:cubicBezTo>
                    <a:pt x="97" y="649"/>
                    <a:pt x="106" y="640"/>
                    <a:pt x="98" y="636"/>
                  </a:cubicBezTo>
                  <a:cubicBezTo>
                    <a:pt x="96" y="634"/>
                    <a:pt x="105" y="634"/>
                    <a:pt x="106" y="636"/>
                  </a:cubicBezTo>
                  <a:cubicBezTo>
                    <a:pt x="107" y="637"/>
                    <a:pt x="105" y="643"/>
                    <a:pt x="106" y="644"/>
                  </a:cubicBezTo>
                  <a:cubicBezTo>
                    <a:pt x="108" y="645"/>
                    <a:pt x="112" y="643"/>
                    <a:pt x="114" y="644"/>
                  </a:cubicBezTo>
                  <a:cubicBezTo>
                    <a:pt x="115" y="648"/>
                    <a:pt x="109" y="646"/>
                    <a:pt x="109" y="648"/>
                  </a:cubicBezTo>
                  <a:cubicBezTo>
                    <a:pt x="106" y="657"/>
                    <a:pt x="115" y="669"/>
                    <a:pt x="109" y="677"/>
                  </a:cubicBezTo>
                  <a:close/>
                  <a:moveTo>
                    <a:pt x="163" y="736"/>
                  </a:moveTo>
                  <a:cubicBezTo>
                    <a:pt x="160" y="749"/>
                    <a:pt x="157" y="732"/>
                    <a:pt x="154" y="733"/>
                  </a:cubicBezTo>
                  <a:cubicBezTo>
                    <a:pt x="150" y="739"/>
                    <a:pt x="155" y="742"/>
                    <a:pt x="152" y="755"/>
                  </a:cubicBezTo>
                  <a:cubicBezTo>
                    <a:pt x="149" y="755"/>
                    <a:pt x="150" y="750"/>
                    <a:pt x="149" y="747"/>
                  </a:cubicBezTo>
                  <a:cubicBezTo>
                    <a:pt x="149" y="739"/>
                    <a:pt x="144" y="737"/>
                    <a:pt x="146" y="725"/>
                  </a:cubicBezTo>
                  <a:cubicBezTo>
                    <a:pt x="149" y="726"/>
                    <a:pt x="151" y="724"/>
                    <a:pt x="152" y="721"/>
                  </a:cubicBezTo>
                  <a:cubicBezTo>
                    <a:pt x="156" y="726"/>
                    <a:pt x="158" y="732"/>
                    <a:pt x="163" y="736"/>
                  </a:cubicBezTo>
                  <a:close/>
                  <a:moveTo>
                    <a:pt x="173" y="688"/>
                  </a:moveTo>
                  <a:cubicBezTo>
                    <a:pt x="172" y="693"/>
                    <a:pt x="170" y="696"/>
                    <a:pt x="165" y="696"/>
                  </a:cubicBezTo>
                  <a:cubicBezTo>
                    <a:pt x="159" y="695"/>
                    <a:pt x="161" y="690"/>
                    <a:pt x="157" y="688"/>
                  </a:cubicBezTo>
                  <a:cubicBezTo>
                    <a:pt x="153" y="690"/>
                    <a:pt x="158" y="693"/>
                    <a:pt x="157" y="699"/>
                  </a:cubicBezTo>
                  <a:cubicBezTo>
                    <a:pt x="148" y="700"/>
                    <a:pt x="151" y="685"/>
                    <a:pt x="144" y="684"/>
                  </a:cubicBezTo>
                  <a:cubicBezTo>
                    <a:pt x="135" y="692"/>
                    <a:pt x="148" y="702"/>
                    <a:pt x="154" y="703"/>
                  </a:cubicBezTo>
                  <a:cubicBezTo>
                    <a:pt x="153" y="706"/>
                    <a:pt x="151" y="710"/>
                    <a:pt x="154" y="710"/>
                  </a:cubicBezTo>
                  <a:cubicBezTo>
                    <a:pt x="153" y="721"/>
                    <a:pt x="149" y="707"/>
                    <a:pt x="144" y="710"/>
                  </a:cubicBezTo>
                  <a:cubicBezTo>
                    <a:pt x="140" y="711"/>
                    <a:pt x="146" y="729"/>
                    <a:pt x="144" y="740"/>
                  </a:cubicBezTo>
                  <a:cubicBezTo>
                    <a:pt x="135" y="736"/>
                    <a:pt x="139" y="748"/>
                    <a:pt x="138" y="755"/>
                  </a:cubicBezTo>
                  <a:cubicBezTo>
                    <a:pt x="136" y="766"/>
                    <a:pt x="135" y="748"/>
                    <a:pt x="135" y="744"/>
                  </a:cubicBezTo>
                  <a:cubicBezTo>
                    <a:pt x="134" y="735"/>
                    <a:pt x="140" y="736"/>
                    <a:pt x="138" y="725"/>
                  </a:cubicBezTo>
                  <a:cubicBezTo>
                    <a:pt x="126" y="722"/>
                    <a:pt x="142" y="735"/>
                    <a:pt x="130" y="733"/>
                  </a:cubicBezTo>
                  <a:cubicBezTo>
                    <a:pt x="129" y="723"/>
                    <a:pt x="131" y="719"/>
                    <a:pt x="138" y="721"/>
                  </a:cubicBezTo>
                  <a:cubicBezTo>
                    <a:pt x="138" y="712"/>
                    <a:pt x="138" y="704"/>
                    <a:pt x="144" y="703"/>
                  </a:cubicBezTo>
                  <a:cubicBezTo>
                    <a:pt x="140" y="696"/>
                    <a:pt x="130" y="700"/>
                    <a:pt x="125" y="696"/>
                  </a:cubicBezTo>
                  <a:cubicBezTo>
                    <a:pt x="119" y="698"/>
                    <a:pt x="122" y="718"/>
                    <a:pt x="130" y="714"/>
                  </a:cubicBezTo>
                  <a:cubicBezTo>
                    <a:pt x="129" y="719"/>
                    <a:pt x="127" y="722"/>
                    <a:pt x="122" y="721"/>
                  </a:cubicBezTo>
                  <a:cubicBezTo>
                    <a:pt x="123" y="729"/>
                    <a:pt x="118" y="729"/>
                    <a:pt x="114" y="729"/>
                  </a:cubicBezTo>
                  <a:cubicBezTo>
                    <a:pt x="115" y="694"/>
                    <a:pt x="115" y="674"/>
                    <a:pt x="117" y="644"/>
                  </a:cubicBezTo>
                  <a:cubicBezTo>
                    <a:pt x="128" y="642"/>
                    <a:pt x="124" y="657"/>
                    <a:pt x="119" y="662"/>
                  </a:cubicBezTo>
                  <a:cubicBezTo>
                    <a:pt x="122" y="673"/>
                    <a:pt x="123" y="654"/>
                    <a:pt x="130" y="659"/>
                  </a:cubicBezTo>
                  <a:cubicBezTo>
                    <a:pt x="132" y="670"/>
                    <a:pt x="127" y="672"/>
                    <a:pt x="128" y="681"/>
                  </a:cubicBezTo>
                  <a:cubicBezTo>
                    <a:pt x="123" y="679"/>
                    <a:pt x="122" y="684"/>
                    <a:pt x="122" y="688"/>
                  </a:cubicBezTo>
                  <a:cubicBezTo>
                    <a:pt x="132" y="706"/>
                    <a:pt x="130" y="664"/>
                    <a:pt x="138" y="677"/>
                  </a:cubicBezTo>
                  <a:cubicBezTo>
                    <a:pt x="139" y="670"/>
                    <a:pt x="135" y="669"/>
                    <a:pt x="135" y="662"/>
                  </a:cubicBezTo>
                  <a:cubicBezTo>
                    <a:pt x="135" y="652"/>
                    <a:pt x="127" y="654"/>
                    <a:pt x="128" y="644"/>
                  </a:cubicBezTo>
                  <a:cubicBezTo>
                    <a:pt x="133" y="637"/>
                    <a:pt x="132" y="646"/>
                    <a:pt x="141" y="644"/>
                  </a:cubicBezTo>
                  <a:cubicBezTo>
                    <a:pt x="141" y="651"/>
                    <a:pt x="141" y="659"/>
                    <a:pt x="141" y="666"/>
                  </a:cubicBezTo>
                  <a:cubicBezTo>
                    <a:pt x="149" y="669"/>
                    <a:pt x="144" y="653"/>
                    <a:pt x="154" y="659"/>
                  </a:cubicBezTo>
                  <a:cubicBezTo>
                    <a:pt x="153" y="654"/>
                    <a:pt x="151" y="651"/>
                    <a:pt x="146" y="651"/>
                  </a:cubicBezTo>
                  <a:cubicBezTo>
                    <a:pt x="146" y="645"/>
                    <a:pt x="151" y="642"/>
                    <a:pt x="146" y="640"/>
                  </a:cubicBezTo>
                  <a:cubicBezTo>
                    <a:pt x="152" y="634"/>
                    <a:pt x="150" y="637"/>
                    <a:pt x="149" y="618"/>
                  </a:cubicBezTo>
                  <a:cubicBezTo>
                    <a:pt x="153" y="618"/>
                    <a:pt x="156" y="618"/>
                    <a:pt x="160" y="618"/>
                  </a:cubicBezTo>
                  <a:cubicBezTo>
                    <a:pt x="158" y="623"/>
                    <a:pt x="156" y="627"/>
                    <a:pt x="154" y="633"/>
                  </a:cubicBezTo>
                  <a:cubicBezTo>
                    <a:pt x="158" y="638"/>
                    <a:pt x="165" y="640"/>
                    <a:pt x="163" y="655"/>
                  </a:cubicBezTo>
                  <a:cubicBezTo>
                    <a:pt x="159" y="654"/>
                    <a:pt x="161" y="648"/>
                    <a:pt x="157" y="648"/>
                  </a:cubicBezTo>
                  <a:cubicBezTo>
                    <a:pt x="151" y="652"/>
                    <a:pt x="160" y="668"/>
                    <a:pt x="160" y="677"/>
                  </a:cubicBezTo>
                  <a:cubicBezTo>
                    <a:pt x="157" y="677"/>
                    <a:pt x="155" y="678"/>
                    <a:pt x="154" y="681"/>
                  </a:cubicBezTo>
                  <a:cubicBezTo>
                    <a:pt x="159" y="694"/>
                    <a:pt x="166" y="679"/>
                    <a:pt x="173" y="688"/>
                  </a:cubicBezTo>
                  <a:close/>
                  <a:moveTo>
                    <a:pt x="173" y="648"/>
                  </a:moveTo>
                  <a:cubicBezTo>
                    <a:pt x="170" y="648"/>
                    <a:pt x="172" y="643"/>
                    <a:pt x="170" y="640"/>
                  </a:cubicBezTo>
                  <a:cubicBezTo>
                    <a:pt x="168" y="633"/>
                    <a:pt x="164" y="631"/>
                    <a:pt x="168" y="625"/>
                  </a:cubicBezTo>
                  <a:cubicBezTo>
                    <a:pt x="175" y="630"/>
                    <a:pt x="176" y="637"/>
                    <a:pt x="173" y="648"/>
                  </a:cubicBezTo>
                  <a:close/>
                  <a:moveTo>
                    <a:pt x="189" y="577"/>
                  </a:moveTo>
                  <a:cubicBezTo>
                    <a:pt x="185" y="575"/>
                    <a:pt x="183" y="572"/>
                    <a:pt x="179" y="570"/>
                  </a:cubicBezTo>
                  <a:cubicBezTo>
                    <a:pt x="173" y="587"/>
                    <a:pt x="189" y="575"/>
                    <a:pt x="187" y="588"/>
                  </a:cubicBezTo>
                  <a:cubicBezTo>
                    <a:pt x="182" y="592"/>
                    <a:pt x="178" y="577"/>
                    <a:pt x="176" y="588"/>
                  </a:cubicBezTo>
                  <a:cubicBezTo>
                    <a:pt x="169" y="584"/>
                    <a:pt x="176" y="569"/>
                    <a:pt x="176" y="562"/>
                  </a:cubicBezTo>
                  <a:cubicBezTo>
                    <a:pt x="176" y="556"/>
                    <a:pt x="174" y="550"/>
                    <a:pt x="170" y="548"/>
                  </a:cubicBezTo>
                  <a:cubicBezTo>
                    <a:pt x="163" y="553"/>
                    <a:pt x="173" y="552"/>
                    <a:pt x="173" y="562"/>
                  </a:cubicBezTo>
                  <a:cubicBezTo>
                    <a:pt x="173" y="563"/>
                    <a:pt x="168" y="562"/>
                    <a:pt x="168" y="562"/>
                  </a:cubicBezTo>
                  <a:cubicBezTo>
                    <a:pt x="166" y="567"/>
                    <a:pt x="171" y="583"/>
                    <a:pt x="168" y="588"/>
                  </a:cubicBezTo>
                  <a:cubicBezTo>
                    <a:pt x="166" y="588"/>
                    <a:pt x="165" y="585"/>
                    <a:pt x="163" y="585"/>
                  </a:cubicBezTo>
                  <a:cubicBezTo>
                    <a:pt x="164" y="596"/>
                    <a:pt x="159" y="599"/>
                    <a:pt x="157" y="607"/>
                  </a:cubicBezTo>
                  <a:cubicBezTo>
                    <a:pt x="160" y="617"/>
                    <a:pt x="182" y="602"/>
                    <a:pt x="179" y="622"/>
                  </a:cubicBezTo>
                  <a:cubicBezTo>
                    <a:pt x="164" y="624"/>
                    <a:pt x="163" y="609"/>
                    <a:pt x="149" y="611"/>
                  </a:cubicBezTo>
                  <a:cubicBezTo>
                    <a:pt x="143" y="611"/>
                    <a:pt x="143" y="620"/>
                    <a:pt x="144" y="629"/>
                  </a:cubicBezTo>
                  <a:cubicBezTo>
                    <a:pt x="138" y="629"/>
                    <a:pt x="140" y="619"/>
                    <a:pt x="133" y="622"/>
                  </a:cubicBezTo>
                  <a:cubicBezTo>
                    <a:pt x="133" y="616"/>
                    <a:pt x="134" y="608"/>
                    <a:pt x="130" y="607"/>
                  </a:cubicBezTo>
                  <a:cubicBezTo>
                    <a:pt x="131" y="601"/>
                    <a:pt x="138" y="606"/>
                    <a:pt x="138" y="599"/>
                  </a:cubicBezTo>
                  <a:cubicBezTo>
                    <a:pt x="137" y="584"/>
                    <a:pt x="128" y="591"/>
                    <a:pt x="119" y="592"/>
                  </a:cubicBezTo>
                  <a:cubicBezTo>
                    <a:pt x="120" y="569"/>
                    <a:pt x="146" y="603"/>
                    <a:pt x="141" y="577"/>
                  </a:cubicBezTo>
                  <a:cubicBezTo>
                    <a:pt x="146" y="578"/>
                    <a:pt x="147" y="584"/>
                    <a:pt x="146" y="592"/>
                  </a:cubicBezTo>
                  <a:cubicBezTo>
                    <a:pt x="150" y="592"/>
                    <a:pt x="153" y="592"/>
                    <a:pt x="157" y="592"/>
                  </a:cubicBezTo>
                  <a:cubicBezTo>
                    <a:pt x="159" y="579"/>
                    <a:pt x="147" y="586"/>
                    <a:pt x="146" y="577"/>
                  </a:cubicBezTo>
                  <a:cubicBezTo>
                    <a:pt x="145" y="566"/>
                    <a:pt x="155" y="570"/>
                    <a:pt x="160" y="566"/>
                  </a:cubicBezTo>
                  <a:cubicBezTo>
                    <a:pt x="160" y="570"/>
                    <a:pt x="160" y="574"/>
                    <a:pt x="160" y="577"/>
                  </a:cubicBezTo>
                  <a:cubicBezTo>
                    <a:pt x="163" y="577"/>
                    <a:pt x="162" y="573"/>
                    <a:pt x="163" y="570"/>
                  </a:cubicBezTo>
                  <a:cubicBezTo>
                    <a:pt x="164" y="566"/>
                    <a:pt x="164" y="563"/>
                    <a:pt x="165" y="551"/>
                  </a:cubicBezTo>
                  <a:cubicBezTo>
                    <a:pt x="165" y="550"/>
                    <a:pt x="165" y="545"/>
                    <a:pt x="165" y="544"/>
                  </a:cubicBezTo>
                  <a:cubicBezTo>
                    <a:pt x="170" y="539"/>
                    <a:pt x="162" y="533"/>
                    <a:pt x="168" y="525"/>
                  </a:cubicBezTo>
                  <a:cubicBezTo>
                    <a:pt x="169" y="516"/>
                    <a:pt x="153" y="529"/>
                    <a:pt x="157" y="514"/>
                  </a:cubicBezTo>
                  <a:cubicBezTo>
                    <a:pt x="152" y="514"/>
                    <a:pt x="151" y="519"/>
                    <a:pt x="146" y="518"/>
                  </a:cubicBezTo>
                  <a:cubicBezTo>
                    <a:pt x="144" y="510"/>
                    <a:pt x="141" y="504"/>
                    <a:pt x="141" y="492"/>
                  </a:cubicBezTo>
                  <a:cubicBezTo>
                    <a:pt x="143" y="495"/>
                    <a:pt x="145" y="499"/>
                    <a:pt x="146" y="503"/>
                  </a:cubicBezTo>
                  <a:cubicBezTo>
                    <a:pt x="157" y="503"/>
                    <a:pt x="143" y="482"/>
                    <a:pt x="154" y="492"/>
                  </a:cubicBezTo>
                  <a:cubicBezTo>
                    <a:pt x="155" y="482"/>
                    <a:pt x="148" y="482"/>
                    <a:pt x="141" y="481"/>
                  </a:cubicBezTo>
                  <a:cubicBezTo>
                    <a:pt x="136" y="456"/>
                    <a:pt x="158" y="468"/>
                    <a:pt x="157" y="448"/>
                  </a:cubicBezTo>
                  <a:cubicBezTo>
                    <a:pt x="162" y="447"/>
                    <a:pt x="163" y="452"/>
                    <a:pt x="168" y="452"/>
                  </a:cubicBezTo>
                  <a:cubicBezTo>
                    <a:pt x="175" y="453"/>
                    <a:pt x="166" y="431"/>
                    <a:pt x="173" y="433"/>
                  </a:cubicBezTo>
                  <a:cubicBezTo>
                    <a:pt x="186" y="433"/>
                    <a:pt x="171" y="442"/>
                    <a:pt x="179" y="444"/>
                  </a:cubicBezTo>
                  <a:cubicBezTo>
                    <a:pt x="180" y="445"/>
                    <a:pt x="183" y="443"/>
                    <a:pt x="184" y="444"/>
                  </a:cubicBezTo>
                  <a:cubicBezTo>
                    <a:pt x="189" y="449"/>
                    <a:pt x="186" y="458"/>
                    <a:pt x="192" y="463"/>
                  </a:cubicBezTo>
                  <a:cubicBezTo>
                    <a:pt x="185" y="475"/>
                    <a:pt x="186" y="447"/>
                    <a:pt x="179" y="448"/>
                  </a:cubicBezTo>
                  <a:cubicBezTo>
                    <a:pt x="176" y="448"/>
                    <a:pt x="177" y="452"/>
                    <a:pt x="176" y="455"/>
                  </a:cubicBezTo>
                  <a:cubicBezTo>
                    <a:pt x="170" y="455"/>
                    <a:pt x="165" y="455"/>
                    <a:pt x="160" y="455"/>
                  </a:cubicBezTo>
                  <a:cubicBezTo>
                    <a:pt x="157" y="458"/>
                    <a:pt x="157" y="464"/>
                    <a:pt x="152" y="463"/>
                  </a:cubicBezTo>
                  <a:cubicBezTo>
                    <a:pt x="157" y="470"/>
                    <a:pt x="157" y="466"/>
                    <a:pt x="154" y="477"/>
                  </a:cubicBezTo>
                  <a:cubicBezTo>
                    <a:pt x="161" y="477"/>
                    <a:pt x="159" y="464"/>
                    <a:pt x="163" y="459"/>
                  </a:cubicBezTo>
                  <a:cubicBezTo>
                    <a:pt x="168" y="452"/>
                    <a:pt x="171" y="466"/>
                    <a:pt x="173" y="466"/>
                  </a:cubicBezTo>
                  <a:cubicBezTo>
                    <a:pt x="177" y="467"/>
                    <a:pt x="179" y="455"/>
                    <a:pt x="184" y="463"/>
                  </a:cubicBezTo>
                  <a:cubicBezTo>
                    <a:pt x="186" y="474"/>
                    <a:pt x="181" y="476"/>
                    <a:pt x="181" y="485"/>
                  </a:cubicBezTo>
                  <a:cubicBezTo>
                    <a:pt x="188" y="482"/>
                    <a:pt x="201" y="475"/>
                    <a:pt x="200" y="492"/>
                  </a:cubicBezTo>
                  <a:cubicBezTo>
                    <a:pt x="188" y="487"/>
                    <a:pt x="193" y="505"/>
                    <a:pt x="184" y="503"/>
                  </a:cubicBezTo>
                  <a:cubicBezTo>
                    <a:pt x="184" y="500"/>
                    <a:pt x="184" y="496"/>
                    <a:pt x="184" y="492"/>
                  </a:cubicBezTo>
                  <a:cubicBezTo>
                    <a:pt x="180" y="493"/>
                    <a:pt x="183" y="503"/>
                    <a:pt x="179" y="503"/>
                  </a:cubicBezTo>
                  <a:cubicBezTo>
                    <a:pt x="179" y="514"/>
                    <a:pt x="191" y="508"/>
                    <a:pt x="195" y="514"/>
                  </a:cubicBezTo>
                  <a:cubicBezTo>
                    <a:pt x="194" y="519"/>
                    <a:pt x="190" y="518"/>
                    <a:pt x="187" y="518"/>
                  </a:cubicBezTo>
                  <a:cubicBezTo>
                    <a:pt x="187" y="525"/>
                    <a:pt x="187" y="533"/>
                    <a:pt x="187" y="540"/>
                  </a:cubicBezTo>
                  <a:cubicBezTo>
                    <a:pt x="174" y="544"/>
                    <a:pt x="191" y="528"/>
                    <a:pt x="181" y="525"/>
                  </a:cubicBezTo>
                  <a:cubicBezTo>
                    <a:pt x="177" y="529"/>
                    <a:pt x="178" y="541"/>
                    <a:pt x="176" y="548"/>
                  </a:cubicBezTo>
                  <a:cubicBezTo>
                    <a:pt x="174" y="558"/>
                    <a:pt x="181" y="555"/>
                    <a:pt x="181" y="562"/>
                  </a:cubicBezTo>
                  <a:cubicBezTo>
                    <a:pt x="180" y="572"/>
                    <a:pt x="192" y="565"/>
                    <a:pt x="189" y="577"/>
                  </a:cubicBezTo>
                  <a:close/>
                  <a:moveTo>
                    <a:pt x="168" y="607"/>
                  </a:moveTo>
                  <a:cubicBezTo>
                    <a:pt x="160" y="604"/>
                    <a:pt x="165" y="601"/>
                    <a:pt x="165" y="592"/>
                  </a:cubicBezTo>
                  <a:cubicBezTo>
                    <a:pt x="168" y="593"/>
                    <a:pt x="167" y="599"/>
                    <a:pt x="170" y="599"/>
                  </a:cubicBezTo>
                  <a:cubicBezTo>
                    <a:pt x="176" y="599"/>
                    <a:pt x="168" y="604"/>
                    <a:pt x="168" y="607"/>
                  </a:cubicBezTo>
                  <a:close/>
                  <a:moveTo>
                    <a:pt x="149" y="525"/>
                  </a:moveTo>
                  <a:cubicBezTo>
                    <a:pt x="152" y="525"/>
                    <a:pt x="154" y="525"/>
                    <a:pt x="157" y="525"/>
                  </a:cubicBezTo>
                  <a:cubicBezTo>
                    <a:pt x="162" y="532"/>
                    <a:pt x="159" y="547"/>
                    <a:pt x="160" y="559"/>
                  </a:cubicBezTo>
                  <a:cubicBezTo>
                    <a:pt x="151" y="556"/>
                    <a:pt x="148" y="551"/>
                    <a:pt x="152" y="566"/>
                  </a:cubicBezTo>
                  <a:cubicBezTo>
                    <a:pt x="137" y="563"/>
                    <a:pt x="147" y="547"/>
                    <a:pt x="149" y="537"/>
                  </a:cubicBezTo>
                  <a:cubicBezTo>
                    <a:pt x="150" y="533"/>
                    <a:pt x="145" y="530"/>
                    <a:pt x="149" y="525"/>
                  </a:cubicBezTo>
                  <a:close/>
                  <a:moveTo>
                    <a:pt x="189" y="566"/>
                  </a:moveTo>
                  <a:cubicBezTo>
                    <a:pt x="185" y="563"/>
                    <a:pt x="181" y="561"/>
                    <a:pt x="181" y="551"/>
                  </a:cubicBezTo>
                  <a:cubicBezTo>
                    <a:pt x="183" y="554"/>
                    <a:pt x="189" y="557"/>
                    <a:pt x="189" y="551"/>
                  </a:cubicBezTo>
                  <a:cubicBezTo>
                    <a:pt x="196" y="552"/>
                    <a:pt x="190" y="564"/>
                    <a:pt x="189" y="566"/>
                  </a:cubicBezTo>
                  <a:close/>
                  <a:moveTo>
                    <a:pt x="195" y="548"/>
                  </a:moveTo>
                  <a:cubicBezTo>
                    <a:pt x="187" y="544"/>
                    <a:pt x="198" y="536"/>
                    <a:pt x="195" y="525"/>
                  </a:cubicBezTo>
                  <a:cubicBezTo>
                    <a:pt x="201" y="533"/>
                    <a:pt x="200" y="541"/>
                    <a:pt x="195" y="548"/>
                  </a:cubicBezTo>
                  <a:close/>
                  <a:moveTo>
                    <a:pt x="205" y="525"/>
                  </a:moveTo>
                  <a:cubicBezTo>
                    <a:pt x="202" y="525"/>
                    <a:pt x="205" y="514"/>
                    <a:pt x="200" y="514"/>
                  </a:cubicBezTo>
                  <a:cubicBezTo>
                    <a:pt x="200" y="511"/>
                    <a:pt x="201" y="511"/>
                    <a:pt x="203" y="511"/>
                  </a:cubicBezTo>
                  <a:cubicBezTo>
                    <a:pt x="205" y="511"/>
                    <a:pt x="206" y="511"/>
                    <a:pt x="208" y="511"/>
                  </a:cubicBezTo>
                  <a:cubicBezTo>
                    <a:pt x="208" y="517"/>
                    <a:pt x="205" y="519"/>
                    <a:pt x="205" y="525"/>
                  </a:cubicBezTo>
                  <a:close/>
                  <a:moveTo>
                    <a:pt x="208" y="285"/>
                  </a:moveTo>
                  <a:cubicBezTo>
                    <a:pt x="201" y="280"/>
                    <a:pt x="216" y="258"/>
                    <a:pt x="208" y="285"/>
                  </a:cubicBezTo>
                  <a:close/>
                  <a:moveTo>
                    <a:pt x="458" y="803"/>
                  </a:moveTo>
                  <a:cubicBezTo>
                    <a:pt x="458" y="809"/>
                    <a:pt x="442" y="796"/>
                    <a:pt x="445" y="814"/>
                  </a:cubicBezTo>
                  <a:cubicBezTo>
                    <a:pt x="440" y="822"/>
                    <a:pt x="445" y="790"/>
                    <a:pt x="447" y="784"/>
                  </a:cubicBezTo>
                  <a:cubicBezTo>
                    <a:pt x="456" y="788"/>
                    <a:pt x="447" y="799"/>
                    <a:pt x="458" y="803"/>
                  </a:cubicBezTo>
                  <a:close/>
                  <a:moveTo>
                    <a:pt x="453" y="655"/>
                  </a:moveTo>
                  <a:cubicBezTo>
                    <a:pt x="457" y="642"/>
                    <a:pt x="458" y="662"/>
                    <a:pt x="456" y="662"/>
                  </a:cubicBezTo>
                  <a:cubicBezTo>
                    <a:pt x="454" y="663"/>
                    <a:pt x="452" y="657"/>
                    <a:pt x="453" y="655"/>
                  </a:cubicBezTo>
                  <a:close/>
                  <a:moveTo>
                    <a:pt x="447" y="648"/>
                  </a:moveTo>
                  <a:cubicBezTo>
                    <a:pt x="455" y="651"/>
                    <a:pt x="446" y="659"/>
                    <a:pt x="447" y="666"/>
                  </a:cubicBezTo>
                  <a:cubicBezTo>
                    <a:pt x="448" y="670"/>
                    <a:pt x="451" y="669"/>
                    <a:pt x="453" y="670"/>
                  </a:cubicBezTo>
                  <a:cubicBezTo>
                    <a:pt x="452" y="679"/>
                    <a:pt x="444" y="671"/>
                    <a:pt x="442" y="670"/>
                  </a:cubicBezTo>
                  <a:cubicBezTo>
                    <a:pt x="439" y="670"/>
                    <a:pt x="440" y="674"/>
                    <a:pt x="439" y="677"/>
                  </a:cubicBezTo>
                  <a:cubicBezTo>
                    <a:pt x="435" y="677"/>
                    <a:pt x="430" y="677"/>
                    <a:pt x="426" y="677"/>
                  </a:cubicBezTo>
                  <a:cubicBezTo>
                    <a:pt x="427" y="671"/>
                    <a:pt x="434" y="674"/>
                    <a:pt x="431" y="662"/>
                  </a:cubicBezTo>
                  <a:cubicBezTo>
                    <a:pt x="434" y="665"/>
                    <a:pt x="437" y="666"/>
                    <a:pt x="442" y="666"/>
                  </a:cubicBezTo>
                  <a:cubicBezTo>
                    <a:pt x="448" y="665"/>
                    <a:pt x="443" y="650"/>
                    <a:pt x="447" y="648"/>
                  </a:cubicBezTo>
                  <a:close/>
                  <a:moveTo>
                    <a:pt x="423" y="799"/>
                  </a:moveTo>
                  <a:cubicBezTo>
                    <a:pt x="418" y="798"/>
                    <a:pt x="410" y="807"/>
                    <a:pt x="410" y="792"/>
                  </a:cubicBezTo>
                  <a:cubicBezTo>
                    <a:pt x="404" y="793"/>
                    <a:pt x="401" y="791"/>
                    <a:pt x="402" y="784"/>
                  </a:cubicBezTo>
                  <a:cubicBezTo>
                    <a:pt x="399" y="784"/>
                    <a:pt x="400" y="789"/>
                    <a:pt x="399" y="792"/>
                  </a:cubicBezTo>
                  <a:cubicBezTo>
                    <a:pt x="392" y="787"/>
                    <a:pt x="399" y="772"/>
                    <a:pt x="407" y="777"/>
                  </a:cubicBezTo>
                  <a:cubicBezTo>
                    <a:pt x="407" y="782"/>
                    <a:pt x="407" y="787"/>
                    <a:pt x="410" y="788"/>
                  </a:cubicBezTo>
                  <a:cubicBezTo>
                    <a:pt x="416" y="783"/>
                    <a:pt x="408" y="780"/>
                    <a:pt x="412" y="773"/>
                  </a:cubicBezTo>
                  <a:cubicBezTo>
                    <a:pt x="415" y="770"/>
                    <a:pt x="407" y="761"/>
                    <a:pt x="410" y="751"/>
                  </a:cubicBezTo>
                  <a:cubicBezTo>
                    <a:pt x="412" y="750"/>
                    <a:pt x="412" y="753"/>
                    <a:pt x="412" y="755"/>
                  </a:cubicBezTo>
                  <a:cubicBezTo>
                    <a:pt x="413" y="759"/>
                    <a:pt x="415" y="757"/>
                    <a:pt x="415" y="755"/>
                  </a:cubicBezTo>
                  <a:cubicBezTo>
                    <a:pt x="419" y="756"/>
                    <a:pt x="417" y="764"/>
                    <a:pt x="418" y="770"/>
                  </a:cubicBezTo>
                  <a:cubicBezTo>
                    <a:pt x="419" y="774"/>
                    <a:pt x="427" y="776"/>
                    <a:pt x="423" y="784"/>
                  </a:cubicBezTo>
                  <a:cubicBezTo>
                    <a:pt x="432" y="783"/>
                    <a:pt x="435" y="781"/>
                    <a:pt x="442" y="784"/>
                  </a:cubicBezTo>
                  <a:cubicBezTo>
                    <a:pt x="439" y="789"/>
                    <a:pt x="439" y="798"/>
                    <a:pt x="437" y="803"/>
                  </a:cubicBezTo>
                  <a:cubicBezTo>
                    <a:pt x="434" y="801"/>
                    <a:pt x="425" y="806"/>
                    <a:pt x="423" y="803"/>
                  </a:cubicBezTo>
                  <a:cubicBezTo>
                    <a:pt x="423" y="803"/>
                    <a:pt x="423" y="799"/>
                    <a:pt x="423" y="799"/>
                  </a:cubicBezTo>
                  <a:close/>
                  <a:moveTo>
                    <a:pt x="388" y="792"/>
                  </a:moveTo>
                  <a:cubicBezTo>
                    <a:pt x="385" y="790"/>
                    <a:pt x="384" y="785"/>
                    <a:pt x="380" y="784"/>
                  </a:cubicBezTo>
                  <a:cubicBezTo>
                    <a:pt x="378" y="787"/>
                    <a:pt x="378" y="793"/>
                    <a:pt x="372" y="792"/>
                  </a:cubicBezTo>
                  <a:cubicBezTo>
                    <a:pt x="376" y="787"/>
                    <a:pt x="377" y="770"/>
                    <a:pt x="370" y="770"/>
                  </a:cubicBezTo>
                  <a:cubicBezTo>
                    <a:pt x="367" y="773"/>
                    <a:pt x="364" y="777"/>
                    <a:pt x="361" y="781"/>
                  </a:cubicBezTo>
                  <a:cubicBezTo>
                    <a:pt x="356" y="779"/>
                    <a:pt x="356" y="775"/>
                    <a:pt x="359" y="770"/>
                  </a:cubicBezTo>
                  <a:cubicBezTo>
                    <a:pt x="351" y="769"/>
                    <a:pt x="353" y="776"/>
                    <a:pt x="348" y="770"/>
                  </a:cubicBezTo>
                  <a:cubicBezTo>
                    <a:pt x="349" y="765"/>
                    <a:pt x="353" y="764"/>
                    <a:pt x="353" y="759"/>
                  </a:cubicBezTo>
                  <a:cubicBezTo>
                    <a:pt x="357" y="764"/>
                    <a:pt x="359" y="770"/>
                    <a:pt x="359" y="755"/>
                  </a:cubicBezTo>
                  <a:cubicBezTo>
                    <a:pt x="367" y="752"/>
                    <a:pt x="362" y="767"/>
                    <a:pt x="370" y="766"/>
                  </a:cubicBezTo>
                  <a:cubicBezTo>
                    <a:pt x="373" y="765"/>
                    <a:pt x="373" y="755"/>
                    <a:pt x="370" y="755"/>
                  </a:cubicBezTo>
                  <a:cubicBezTo>
                    <a:pt x="373" y="750"/>
                    <a:pt x="373" y="742"/>
                    <a:pt x="372" y="733"/>
                  </a:cubicBezTo>
                  <a:cubicBezTo>
                    <a:pt x="383" y="730"/>
                    <a:pt x="373" y="757"/>
                    <a:pt x="386" y="751"/>
                  </a:cubicBezTo>
                  <a:cubicBezTo>
                    <a:pt x="383" y="755"/>
                    <a:pt x="385" y="765"/>
                    <a:pt x="378" y="762"/>
                  </a:cubicBezTo>
                  <a:cubicBezTo>
                    <a:pt x="384" y="771"/>
                    <a:pt x="380" y="772"/>
                    <a:pt x="383" y="781"/>
                  </a:cubicBezTo>
                  <a:cubicBezTo>
                    <a:pt x="386" y="778"/>
                    <a:pt x="386" y="772"/>
                    <a:pt x="391" y="773"/>
                  </a:cubicBezTo>
                  <a:cubicBezTo>
                    <a:pt x="398" y="782"/>
                    <a:pt x="387" y="780"/>
                    <a:pt x="388" y="792"/>
                  </a:cubicBezTo>
                  <a:close/>
                  <a:moveTo>
                    <a:pt x="345" y="740"/>
                  </a:moveTo>
                  <a:cubicBezTo>
                    <a:pt x="346" y="740"/>
                    <a:pt x="344" y="746"/>
                    <a:pt x="343" y="744"/>
                  </a:cubicBezTo>
                  <a:cubicBezTo>
                    <a:pt x="340" y="739"/>
                    <a:pt x="339" y="743"/>
                    <a:pt x="335" y="740"/>
                  </a:cubicBezTo>
                  <a:cubicBezTo>
                    <a:pt x="334" y="740"/>
                    <a:pt x="335" y="734"/>
                    <a:pt x="335" y="733"/>
                  </a:cubicBezTo>
                  <a:cubicBezTo>
                    <a:pt x="332" y="727"/>
                    <a:pt x="326" y="732"/>
                    <a:pt x="321" y="733"/>
                  </a:cubicBezTo>
                  <a:cubicBezTo>
                    <a:pt x="321" y="723"/>
                    <a:pt x="316" y="721"/>
                    <a:pt x="321" y="714"/>
                  </a:cubicBezTo>
                  <a:cubicBezTo>
                    <a:pt x="325" y="713"/>
                    <a:pt x="322" y="723"/>
                    <a:pt x="324" y="725"/>
                  </a:cubicBezTo>
                  <a:cubicBezTo>
                    <a:pt x="327" y="729"/>
                    <a:pt x="331" y="718"/>
                    <a:pt x="335" y="721"/>
                  </a:cubicBezTo>
                  <a:cubicBezTo>
                    <a:pt x="335" y="725"/>
                    <a:pt x="335" y="729"/>
                    <a:pt x="335" y="733"/>
                  </a:cubicBezTo>
                  <a:cubicBezTo>
                    <a:pt x="341" y="731"/>
                    <a:pt x="345" y="727"/>
                    <a:pt x="353" y="729"/>
                  </a:cubicBezTo>
                  <a:cubicBezTo>
                    <a:pt x="353" y="725"/>
                    <a:pt x="348" y="726"/>
                    <a:pt x="345" y="725"/>
                  </a:cubicBezTo>
                  <a:cubicBezTo>
                    <a:pt x="349" y="720"/>
                    <a:pt x="356" y="720"/>
                    <a:pt x="356" y="710"/>
                  </a:cubicBezTo>
                  <a:cubicBezTo>
                    <a:pt x="360" y="711"/>
                    <a:pt x="357" y="721"/>
                    <a:pt x="361" y="721"/>
                  </a:cubicBezTo>
                  <a:cubicBezTo>
                    <a:pt x="356" y="729"/>
                    <a:pt x="357" y="723"/>
                    <a:pt x="359" y="736"/>
                  </a:cubicBezTo>
                  <a:cubicBezTo>
                    <a:pt x="359" y="741"/>
                    <a:pt x="358" y="746"/>
                    <a:pt x="359" y="751"/>
                  </a:cubicBezTo>
                  <a:cubicBezTo>
                    <a:pt x="356" y="751"/>
                    <a:pt x="354" y="752"/>
                    <a:pt x="353" y="755"/>
                  </a:cubicBezTo>
                  <a:cubicBezTo>
                    <a:pt x="346" y="754"/>
                    <a:pt x="357" y="748"/>
                    <a:pt x="353" y="740"/>
                  </a:cubicBezTo>
                  <a:cubicBezTo>
                    <a:pt x="358" y="727"/>
                    <a:pt x="336" y="740"/>
                    <a:pt x="345" y="740"/>
                  </a:cubicBezTo>
                  <a:close/>
                  <a:moveTo>
                    <a:pt x="332" y="747"/>
                  </a:moveTo>
                  <a:cubicBezTo>
                    <a:pt x="337" y="748"/>
                    <a:pt x="345" y="744"/>
                    <a:pt x="343" y="755"/>
                  </a:cubicBezTo>
                  <a:cubicBezTo>
                    <a:pt x="340" y="755"/>
                    <a:pt x="340" y="753"/>
                    <a:pt x="340" y="751"/>
                  </a:cubicBezTo>
                  <a:cubicBezTo>
                    <a:pt x="337" y="751"/>
                    <a:pt x="338" y="756"/>
                    <a:pt x="337" y="759"/>
                  </a:cubicBezTo>
                  <a:cubicBezTo>
                    <a:pt x="335" y="758"/>
                    <a:pt x="335" y="755"/>
                    <a:pt x="332" y="755"/>
                  </a:cubicBezTo>
                  <a:cubicBezTo>
                    <a:pt x="332" y="752"/>
                    <a:pt x="332" y="750"/>
                    <a:pt x="332" y="747"/>
                  </a:cubicBezTo>
                  <a:close/>
                  <a:moveTo>
                    <a:pt x="326" y="744"/>
                  </a:moveTo>
                  <a:cubicBezTo>
                    <a:pt x="326" y="741"/>
                    <a:pt x="326" y="739"/>
                    <a:pt x="326" y="736"/>
                  </a:cubicBezTo>
                  <a:cubicBezTo>
                    <a:pt x="328" y="736"/>
                    <a:pt x="330" y="736"/>
                    <a:pt x="332" y="736"/>
                  </a:cubicBezTo>
                  <a:cubicBezTo>
                    <a:pt x="332" y="739"/>
                    <a:pt x="332" y="741"/>
                    <a:pt x="332" y="744"/>
                  </a:cubicBezTo>
                  <a:cubicBezTo>
                    <a:pt x="330" y="744"/>
                    <a:pt x="328" y="744"/>
                    <a:pt x="326" y="744"/>
                  </a:cubicBezTo>
                  <a:close/>
                  <a:moveTo>
                    <a:pt x="297" y="607"/>
                  </a:moveTo>
                  <a:cubicBezTo>
                    <a:pt x="296" y="598"/>
                    <a:pt x="309" y="609"/>
                    <a:pt x="305" y="596"/>
                  </a:cubicBezTo>
                  <a:cubicBezTo>
                    <a:pt x="309" y="598"/>
                    <a:pt x="312" y="601"/>
                    <a:pt x="316" y="603"/>
                  </a:cubicBezTo>
                  <a:cubicBezTo>
                    <a:pt x="317" y="607"/>
                    <a:pt x="311" y="605"/>
                    <a:pt x="310" y="607"/>
                  </a:cubicBezTo>
                  <a:cubicBezTo>
                    <a:pt x="310" y="609"/>
                    <a:pt x="314" y="613"/>
                    <a:pt x="313" y="618"/>
                  </a:cubicBezTo>
                  <a:cubicBezTo>
                    <a:pt x="313" y="619"/>
                    <a:pt x="310" y="618"/>
                    <a:pt x="310" y="622"/>
                  </a:cubicBezTo>
                  <a:cubicBezTo>
                    <a:pt x="310" y="635"/>
                    <a:pt x="315" y="658"/>
                    <a:pt x="302" y="655"/>
                  </a:cubicBezTo>
                  <a:cubicBezTo>
                    <a:pt x="303" y="651"/>
                    <a:pt x="308" y="652"/>
                    <a:pt x="308" y="648"/>
                  </a:cubicBezTo>
                  <a:cubicBezTo>
                    <a:pt x="306" y="644"/>
                    <a:pt x="301" y="644"/>
                    <a:pt x="302" y="636"/>
                  </a:cubicBezTo>
                  <a:cubicBezTo>
                    <a:pt x="302" y="635"/>
                    <a:pt x="305" y="631"/>
                    <a:pt x="305" y="633"/>
                  </a:cubicBezTo>
                  <a:cubicBezTo>
                    <a:pt x="305" y="625"/>
                    <a:pt x="296" y="624"/>
                    <a:pt x="300" y="614"/>
                  </a:cubicBezTo>
                  <a:cubicBezTo>
                    <a:pt x="302" y="617"/>
                    <a:pt x="304" y="621"/>
                    <a:pt x="305" y="625"/>
                  </a:cubicBezTo>
                  <a:cubicBezTo>
                    <a:pt x="313" y="619"/>
                    <a:pt x="305" y="604"/>
                    <a:pt x="297" y="607"/>
                  </a:cubicBezTo>
                  <a:close/>
                  <a:moveTo>
                    <a:pt x="289" y="562"/>
                  </a:moveTo>
                  <a:cubicBezTo>
                    <a:pt x="284" y="562"/>
                    <a:pt x="283" y="567"/>
                    <a:pt x="278" y="566"/>
                  </a:cubicBezTo>
                  <a:cubicBezTo>
                    <a:pt x="276" y="558"/>
                    <a:pt x="286" y="554"/>
                    <a:pt x="275" y="555"/>
                  </a:cubicBezTo>
                  <a:cubicBezTo>
                    <a:pt x="279" y="541"/>
                    <a:pt x="293" y="558"/>
                    <a:pt x="286" y="537"/>
                  </a:cubicBezTo>
                  <a:cubicBezTo>
                    <a:pt x="281" y="542"/>
                    <a:pt x="280" y="540"/>
                    <a:pt x="281" y="529"/>
                  </a:cubicBezTo>
                  <a:cubicBezTo>
                    <a:pt x="276" y="529"/>
                    <a:pt x="272" y="529"/>
                    <a:pt x="267" y="529"/>
                  </a:cubicBezTo>
                  <a:cubicBezTo>
                    <a:pt x="268" y="518"/>
                    <a:pt x="277" y="524"/>
                    <a:pt x="281" y="529"/>
                  </a:cubicBezTo>
                  <a:cubicBezTo>
                    <a:pt x="287" y="528"/>
                    <a:pt x="291" y="523"/>
                    <a:pt x="300" y="525"/>
                  </a:cubicBezTo>
                  <a:cubicBezTo>
                    <a:pt x="300" y="531"/>
                    <a:pt x="284" y="531"/>
                    <a:pt x="297" y="533"/>
                  </a:cubicBezTo>
                  <a:cubicBezTo>
                    <a:pt x="291" y="548"/>
                    <a:pt x="294" y="552"/>
                    <a:pt x="292" y="570"/>
                  </a:cubicBezTo>
                  <a:cubicBezTo>
                    <a:pt x="296" y="571"/>
                    <a:pt x="297" y="567"/>
                    <a:pt x="297" y="562"/>
                  </a:cubicBezTo>
                  <a:cubicBezTo>
                    <a:pt x="300" y="562"/>
                    <a:pt x="302" y="563"/>
                    <a:pt x="302" y="566"/>
                  </a:cubicBezTo>
                  <a:cubicBezTo>
                    <a:pt x="308" y="565"/>
                    <a:pt x="303" y="550"/>
                    <a:pt x="308" y="548"/>
                  </a:cubicBezTo>
                  <a:cubicBezTo>
                    <a:pt x="313" y="548"/>
                    <a:pt x="308" y="559"/>
                    <a:pt x="310" y="562"/>
                  </a:cubicBezTo>
                  <a:cubicBezTo>
                    <a:pt x="311" y="565"/>
                    <a:pt x="313" y="560"/>
                    <a:pt x="313" y="559"/>
                  </a:cubicBezTo>
                  <a:cubicBezTo>
                    <a:pt x="313" y="558"/>
                    <a:pt x="318" y="560"/>
                    <a:pt x="316" y="562"/>
                  </a:cubicBezTo>
                  <a:cubicBezTo>
                    <a:pt x="311" y="567"/>
                    <a:pt x="319" y="566"/>
                    <a:pt x="313" y="585"/>
                  </a:cubicBezTo>
                  <a:cubicBezTo>
                    <a:pt x="316" y="582"/>
                    <a:pt x="316" y="576"/>
                    <a:pt x="321" y="577"/>
                  </a:cubicBezTo>
                  <a:cubicBezTo>
                    <a:pt x="321" y="583"/>
                    <a:pt x="321" y="590"/>
                    <a:pt x="321" y="596"/>
                  </a:cubicBezTo>
                  <a:cubicBezTo>
                    <a:pt x="318" y="596"/>
                    <a:pt x="319" y="591"/>
                    <a:pt x="318" y="588"/>
                  </a:cubicBezTo>
                  <a:cubicBezTo>
                    <a:pt x="315" y="588"/>
                    <a:pt x="314" y="589"/>
                    <a:pt x="313" y="592"/>
                  </a:cubicBezTo>
                  <a:cubicBezTo>
                    <a:pt x="311" y="588"/>
                    <a:pt x="301" y="577"/>
                    <a:pt x="300" y="585"/>
                  </a:cubicBezTo>
                  <a:cubicBezTo>
                    <a:pt x="291" y="581"/>
                    <a:pt x="303" y="577"/>
                    <a:pt x="302" y="574"/>
                  </a:cubicBezTo>
                  <a:cubicBezTo>
                    <a:pt x="300" y="568"/>
                    <a:pt x="281" y="577"/>
                    <a:pt x="289" y="562"/>
                  </a:cubicBezTo>
                  <a:close/>
                  <a:moveTo>
                    <a:pt x="292" y="625"/>
                  </a:moveTo>
                  <a:cubicBezTo>
                    <a:pt x="284" y="626"/>
                    <a:pt x="285" y="615"/>
                    <a:pt x="281" y="611"/>
                  </a:cubicBezTo>
                  <a:cubicBezTo>
                    <a:pt x="277" y="615"/>
                    <a:pt x="274" y="615"/>
                    <a:pt x="270" y="611"/>
                  </a:cubicBezTo>
                  <a:cubicBezTo>
                    <a:pt x="270" y="606"/>
                    <a:pt x="270" y="601"/>
                    <a:pt x="270" y="596"/>
                  </a:cubicBezTo>
                  <a:cubicBezTo>
                    <a:pt x="270" y="591"/>
                    <a:pt x="273" y="588"/>
                    <a:pt x="273" y="585"/>
                  </a:cubicBezTo>
                  <a:cubicBezTo>
                    <a:pt x="272" y="579"/>
                    <a:pt x="268" y="575"/>
                    <a:pt x="267" y="570"/>
                  </a:cubicBezTo>
                  <a:cubicBezTo>
                    <a:pt x="267" y="560"/>
                    <a:pt x="271" y="550"/>
                    <a:pt x="267" y="537"/>
                  </a:cubicBezTo>
                  <a:cubicBezTo>
                    <a:pt x="270" y="538"/>
                    <a:pt x="272" y="540"/>
                    <a:pt x="273" y="544"/>
                  </a:cubicBezTo>
                  <a:cubicBezTo>
                    <a:pt x="272" y="543"/>
                    <a:pt x="269" y="546"/>
                    <a:pt x="270" y="548"/>
                  </a:cubicBezTo>
                  <a:cubicBezTo>
                    <a:pt x="272" y="550"/>
                    <a:pt x="274" y="557"/>
                    <a:pt x="273" y="574"/>
                  </a:cubicBezTo>
                  <a:cubicBezTo>
                    <a:pt x="273" y="578"/>
                    <a:pt x="275" y="576"/>
                    <a:pt x="275" y="574"/>
                  </a:cubicBezTo>
                  <a:cubicBezTo>
                    <a:pt x="283" y="571"/>
                    <a:pt x="273" y="591"/>
                    <a:pt x="281" y="588"/>
                  </a:cubicBezTo>
                  <a:cubicBezTo>
                    <a:pt x="280" y="597"/>
                    <a:pt x="280" y="606"/>
                    <a:pt x="283" y="611"/>
                  </a:cubicBezTo>
                  <a:cubicBezTo>
                    <a:pt x="287" y="609"/>
                    <a:pt x="286" y="601"/>
                    <a:pt x="286" y="596"/>
                  </a:cubicBezTo>
                  <a:cubicBezTo>
                    <a:pt x="289" y="598"/>
                    <a:pt x="289" y="604"/>
                    <a:pt x="294" y="603"/>
                  </a:cubicBezTo>
                  <a:cubicBezTo>
                    <a:pt x="294" y="612"/>
                    <a:pt x="290" y="614"/>
                    <a:pt x="292" y="625"/>
                  </a:cubicBezTo>
                  <a:close/>
                  <a:moveTo>
                    <a:pt x="283" y="644"/>
                  </a:moveTo>
                  <a:cubicBezTo>
                    <a:pt x="283" y="648"/>
                    <a:pt x="278" y="646"/>
                    <a:pt x="278" y="651"/>
                  </a:cubicBezTo>
                  <a:cubicBezTo>
                    <a:pt x="275" y="651"/>
                    <a:pt x="277" y="648"/>
                    <a:pt x="278" y="648"/>
                  </a:cubicBezTo>
                  <a:cubicBezTo>
                    <a:pt x="274" y="637"/>
                    <a:pt x="276" y="643"/>
                    <a:pt x="283" y="644"/>
                  </a:cubicBezTo>
                  <a:close/>
                  <a:moveTo>
                    <a:pt x="270" y="618"/>
                  </a:moveTo>
                  <a:cubicBezTo>
                    <a:pt x="274" y="617"/>
                    <a:pt x="275" y="621"/>
                    <a:pt x="278" y="622"/>
                  </a:cubicBezTo>
                  <a:cubicBezTo>
                    <a:pt x="279" y="629"/>
                    <a:pt x="266" y="627"/>
                    <a:pt x="270" y="618"/>
                  </a:cubicBezTo>
                  <a:close/>
                  <a:moveTo>
                    <a:pt x="273" y="636"/>
                  </a:moveTo>
                  <a:cubicBezTo>
                    <a:pt x="273" y="635"/>
                    <a:pt x="270" y="648"/>
                    <a:pt x="270" y="648"/>
                  </a:cubicBezTo>
                  <a:cubicBezTo>
                    <a:pt x="268" y="650"/>
                    <a:pt x="269" y="635"/>
                    <a:pt x="267" y="629"/>
                  </a:cubicBezTo>
                  <a:cubicBezTo>
                    <a:pt x="272" y="628"/>
                    <a:pt x="273" y="632"/>
                    <a:pt x="273" y="636"/>
                  </a:cubicBezTo>
                  <a:close/>
                  <a:moveTo>
                    <a:pt x="232" y="470"/>
                  </a:moveTo>
                  <a:cubicBezTo>
                    <a:pt x="227" y="469"/>
                    <a:pt x="230" y="456"/>
                    <a:pt x="224" y="455"/>
                  </a:cubicBezTo>
                  <a:cubicBezTo>
                    <a:pt x="216" y="446"/>
                    <a:pt x="232" y="459"/>
                    <a:pt x="230" y="452"/>
                  </a:cubicBezTo>
                  <a:cubicBezTo>
                    <a:pt x="235" y="451"/>
                    <a:pt x="231" y="465"/>
                    <a:pt x="232" y="470"/>
                  </a:cubicBezTo>
                  <a:close/>
                  <a:moveTo>
                    <a:pt x="232" y="581"/>
                  </a:moveTo>
                  <a:cubicBezTo>
                    <a:pt x="228" y="578"/>
                    <a:pt x="229" y="569"/>
                    <a:pt x="227" y="562"/>
                  </a:cubicBezTo>
                  <a:cubicBezTo>
                    <a:pt x="233" y="563"/>
                    <a:pt x="233" y="572"/>
                    <a:pt x="232" y="581"/>
                  </a:cubicBezTo>
                  <a:close/>
                  <a:moveTo>
                    <a:pt x="214" y="751"/>
                  </a:moveTo>
                  <a:cubicBezTo>
                    <a:pt x="213" y="741"/>
                    <a:pt x="215" y="735"/>
                    <a:pt x="222" y="736"/>
                  </a:cubicBezTo>
                  <a:cubicBezTo>
                    <a:pt x="222" y="746"/>
                    <a:pt x="221" y="752"/>
                    <a:pt x="214" y="751"/>
                  </a:cubicBezTo>
                  <a:close/>
                  <a:moveTo>
                    <a:pt x="219" y="766"/>
                  </a:moveTo>
                  <a:cubicBezTo>
                    <a:pt x="218" y="767"/>
                    <a:pt x="216" y="757"/>
                    <a:pt x="214" y="759"/>
                  </a:cubicBezTo>
                  <a:cubicBezTo>
                    <a:pt x="218" y="746"/>
                    <a:pt x="221" y="763"/>
                    <a:pt x="219" y="766"/>
                  </a:cubicBezTo>
                  <a:close/>
                  <a:moveTo>
                    <a:pt x="224" y="537"/>
                  </a:moveTo>
                  <a:cubicBezTo>
                    <a:pt x="223" y="538"/>
                    <a:pt x="221" y="527"/>
                    <a:pt x="219" y="529"/>
                  </a:cubicBezTo>
                  <a:cubicBezTo>
                    <a:pt x="224" y="517"/>
                    <a:pt x="226" y="534"/>
                    <a:pt x="224" y="537"/>
                  </a:cubicBezTo>
                  <a:close/>
                  <a:moveTo>
                    <a:pt x="224" y="381"/>
                  </a:moveTo>
                  <a:cubicBezTo>
                    <a:pt x="224" y="378"/>
                    <a:pt x="224" y="374"/>
                    <a:pt x="224" y="370"/>
                  </a:cubicBezTo>
                  <a:cubicBezTo>
                    <a:pt x="232" y="365"/>
                    <a:pt x="232" y="387"/>
                    <a:pt x="224" y="381"/>
                  </a:cubicBezTo>
                  <a:close/>
                  <a:moveTo>
                    <a:pt x="230" y="392"/>
                  </a:moveTo>
                  <a:cubicBezTo>
                    <a:pt x="220" y="384"/>
                    <a:pt x="242" y="388"/>
                    <a:pt x="235" y="370"/>
                  </a:cubicBezTo>
                  <a:cubicBezTo>
                    <a:pt x="237" y="372"/>
                    <a:pt x="239" y="374"/>
                    <a:pt x="243" y="374"/>
                  </a:cubicBezTo>
                  <a:cubicBezTo>
                    <a:pt x="240" y="378"/>
                    <a:pt x="235" y="381"/>
                    <a:pt x="238" y="392"/>
                  </a:cubicBezTo>
                  <a:cubicBezTo>
                    <a:pt x="233" y="393"/>
                    <a:pt x="231" y="386"/>
                    <a:pt x="230" y="392"/>
                  </a:cubicBezTo>
                  <a:close/>
                  <a:moveTo>
                    <a:pt x="249" y="433"/>
                  </a:moveTo>
                  <a:cubicBezTo>
                    <a:pt x="248" y="437"/>
                    <a:pt x="245" y="436"/>
                    <a:pt x="243" y="437"/>
                  </a:cubicBezTo>
                  <a:cubicBezTo>
                    <a:pt x="240" y="432"/>
                    <a:pt x="242" y="431"/>
                    <a:pt x="243" y="426"/>
                  </a:cubicBezTo>
                  <a:cubicBezTo>
                    <a:pt x="246" y="427"/>
                    <a:pt x="245" y="433"/>
                    <a:pt x="249" y="433"/>
                  </a:cubicBezTo>
                  <a:close/>
                  <a:moveTo>
                    <a:pt x="235" y="477"/>
                  </a:moveTo>
                  <a:cubicBezTo>
                    <a:pt x="239" y="478"/>
                    <a:pt x="236" y="488"/>
                    <a:pt x="240" y="489"/>
                  </a:cubicBezTo>
                  <a:cubicBezTo>
                    <a:pt x="237" y="500"/>
                    <a:pt x="233" y="485"/>
                    <a:pt x="235" y="477"/>
                  </a:cubicBezTo>
                  <a:close/>
                  <a:moveTo>
                    <a:pt x="238" y="466"/>
                  </a:moveTo>
                  <a:cubicBezTo>
                    <a:pt x="238" y="456"/>
                    <a:pt x="252" y="459"/>
                    <a:pt x="251" y="470"/>
                  </a:cubicBezTo>
                  <a:cubicBezTo>
                    <a:pt x="246" y="462"/>
                    <a:pt x="243" y="473"/>
                    <a:pt x="238" y="466"/>
                  </a:cubicBezTo>
                  <a:close/>
                  <a:moveTo>
                    <a:pt x="254" y="533"/>
                  </a:moveTo>
                  <a:cubicBezTo>
                    <a:pt x="248" y="545"/>
                    <a:pt x="243" y="520"/>
                    <a:pt x="254" y="533"/>
                  </a:cubicBezTo>
                  <a:close/>
                  <a:moveTo>
                    <a:pt x="246" y="448"/>
                  </a:moveTo>
                  <a:cubicBezTo>
                    <a:pt x="246" y="444"/>
                    <a:pt x="251" y="445"/>
                    <a:pt x="254" y="444"/>
                  </a:cubicBezTo>
                  <a:cubicBezTo>
                    <a:pt x="256" y="448"/>
                    <a:pt x="257" y="454"/>
                    <a:pt x="257" y="463"/>
                  </a:cubicBezTo>
                  <a:cubicBezTo>
                    <a:pt x="252" y="459"/>
                    <a:pt x="252" y="449"/>
                    <a:pt x="246" y="448"/>
                  </a:cubicBezTo>
                  <a:close/>
                  <a:moveTo>
                    <a:pt x="254" y="437"/>
                  </a:moveTo>
                  <a:cubicBezTo>
                    <a:pt x="254" y="434"/>
                    <a:pt x="253" y="433"/>
                    <a:pt x="251" y="433"/>
                  </a:cubicBezTo>
                  <a:cubicBezTo>
                    <a:pt x="251" y="429"/>
                    <a:pt x="254" y="430"/>
                    <a:pt x="257" y="429"/>
                  </a:cubicBezTo>
                  <a:cubicBezTo>
                    <a:pt x="255" y="426"/>
                    <a:pt x="254" y="423"/>
                    <a:pt x="251" y="422"/>
                  </a:cubicBezTo>
                  <a:cubicBezTo>
                    <a:pt x="252" y="418"/>
                    <a:pt x="256" y="419"/>
                    <a:pt x="259" y="418"/>
                  </a:cubicBezTo>
                  <a:cubicBezTo>
                    <a:pt x="259" y="424"/>
                    <a:pt x="259" y="431"/>
                    <a:pt x="259" y="437"/>
                  </a:cubicBezTo>
                  <a:cubicBezTo>
                    <a:pt x="257" y="437"/>
                    <a:pt x="256" y="437"/>
                    <a:pt x="254" y="437"/>
                  </a:cubicBezTo>
                  <a:close/>
                  <a:moveTo>
                    <a:pt x="259" y="359"/>
                  </a:moveTo>
                  <a:cubicBezTo>
                    <a:pt x="251" y="360"/>
                    <a:pt x="254" y="347"/>
                    <a:pt x="251" y="341"/>
                  </a:cubicBezTo>
                  <a:cubicBezTo>
                    <a:pt x="254" y="346"/>
                    <a:pt x="259" y="350"/>
                    <a:pt x="259" y="359"/>
                  </a:cubicBezTo>
                  <a:close/>
                  <a:moveTo>
                    <a:pt x="254" y="329"/>
                  </a:moveTo>
                  <a:cubicBezTo>
                    <a:pt x="253" y="320"/>
                    <a:pt x="258" y="318"/>
                    <a:pt x="259" y="311"/>
                  </a:cubicBezTo>
                  <a:cubicBezTo>
                    <a:pt x="264" y="312"/>
                    <a:pt x="260" y="332"/>
                    <a:pt x="254" y="329"/>
                  </a:cubicBezTo>
                  <a:close/>
                  <a:moveTo>
                    <a:pt x="259" y="448"/>
                  </a:moveTo>
                  <a:cubicBezTo>
                    <a:pt x="267" y="434"/>
                    <a:pt x="268" y="459"/>
                    <a:pt x="259" y="448"/>
                  </a:cubicBezTo>
                  <a:close/>
                  <a:moveTo>
                    <a:pt x="265" y="437"/>
                  </a:moveTo>
                  <a:cubicBezTo>
                    <a:pt x="264" y="432"/>
                    <a:pt x="265" y="430"/>
                    <a:pt x="267" y="429"/>
                  </a:cubicBezTo>
                  <a:cubicBezTo>
                    <a:pt x="259" y="417"/>
                    <a:pt x="276" y="429"/>
                    <a:pt x="267" y="418"/>
                  </a:cubicBezTo>
                  <a:cubicBezTo>
                    <a:pt x="270" y="407"/>
                    <a:pt x="275" y="422"/>
                    <a:pt x="278" y="422"/>
                  </a:cubicBezTo>
                  <a:cubicBezTo>
                    <a:pt x="279" y="429"/>
                    <a:pt x="263" y="430"/>
                    <a:pt x="273" y="437"/>
                  </a:cubicBezTo>
                  <a:cubicBezTo>
                    <a:pt x="272" y="442"/>
                    <a:pt x="269" y="435"/>
                    <a:pt x="265" y="437"/>
                  </a:cubicBezTo>
                  <a:close/>
                  <a:moveTo>
                    <a:pt x="294" y="270"/>
                  </a:moveTo>
                  <a:cubicBezTo>
                    <a:pt x="289" y="267"/>
                    <a:pt x="293" y="246"/>
                    <a:pt x="300" y="248"/>
                  </a:cubicBezTo>
                  <a:cubicBezTo>
                    <a:pt x="298" y="256"/>
                    <a:pt x="293" y="259"/>
                    <a:pt x="294" y="270"/>
                  </a:cubicBezTo>
                  <a:close/>
                  <a:moveTo>
                    <a:pt x="294" y="296"/>
                  </a:moveTo>
                  <a:cubicBezTo>
                    <a:pt x="292" y="296"/>
                    <a:pt x="289" y="296"/>
                    <a:pt x="286" y="296"/>
                  </a:cubicBezTo>
                  <a:cubicBezTo>
                    <a:pt x="286" y="294"/>
                    <a:pt x="286" y="291"/>
                    <a:pt x="286" y="289"/>
                  </a:cubicBezTo>
                  <a:cubicBezTo>
                    <a:pt x="292" y="288"/>
                    <a:pt x="295" y="290"/>
                    <a:pt x="294" y="296"/>
                  </a:cubicBezTo>
                  <a:close/>
                  <a:moveTo>
                    <a:pt x="294" y="333"/>
                  </a:moveTo>
                  <a:cubicBezTo>
                    <a:pt x="291" y="332"/>
                    <a:pt x="292" y="324"/>
                    <a:pt x="292" y="318"/>
                  </a:cubicBezTo>
                  <a:cubicBezTo>
                    <a:pt x="302" y="317"/>
                    <a:pt x="293" y="326"/>
                    <a:pt x="294" y="333"/>
                  </a:cubicBezTo>
                  <a:close/>
                  <a:moveTo>
                    <a:pt x="294" y="389"/>
                  </a:moveTo>
                  <a:cubicBezTo>
                    <a:pt x="297" y="390"/>
                    <a:pt x="296" y="396"/>
                    <a:pt x="300" y="396"/>
                  </a:cubicBezTo>
                  <a:cubicBezTo>
                    <a:pt x="297" y="401"/>
                    <a:pt x="292" y="403"/>
                    <a:pt x="292" y="411"/>
                  </a:cubicBezTo>
                  <a:cubicBezTo>
                    <a:pt x="284" y="406"/>
                    <a:pt x="296" y="398"/>
                    <a:pt x="294" y="389"/>
                  </a:cubicBezTo>
                  <a:close/>
                  <a:moveTo>
                    <a:pt x="343" y="248"/>
                  </a:moveTo>
                  <a:cubicBezTo>
                    <a:pt x="347" y="242"/>
                    <a:pt x="351" y="250"/>
                    <a:pt x="361" y="244"/>
                  </a:cubicBezTo>
                  <a:cubicBezTo>
                    <a:pt x="365" y="249"/>
                    <a:pt x="364" y="257"/>
                    <a:pt x="364" y="267"/>
                  </a:cubicBezTo>
                  <a:cubicBezTo>
                    <a:pt x="355" y="262"/>
                    <a:pt x="362" y="279"/>
                    <a:pt x="353" y="274"/>
                  </a:cubicBezTo>
                  <a:cubicBezTo>
                    <a:pt x="351" y="261"/>
                    <a:pt x="356" y="258"/>
                    <a:pt x="361" y="255"/>
                  </a:cubicBezTo>
                  <a:cubicBezTo>
                    <a:pt x="359" y="240"/>
                    <a:pt x="348" y="259"/>
                    <a:pt x="343" y="248"/>
                  </a:cubicBezTo>
                  <a:close/>
                  <a:moveTo>
                    <a:pt x="348" y="300"/>
                  </a:moveTo>
                  <a:cubicBezTo>
                    <a:pt x="344" y="297"/>
                    <a:pt x="338" y="297"/>
                    <a:pt x="340" y="285"/>
                  </a:cubicBezTo>
                  <a:cubicBezTo>
                    <a:pt x="342" y="284"/>
                    <a:pt x="342" y="286"/>
                    <a:pt x="343" y="289"/>
                  </a:cubicBezTo>
                  <a:cubicBezTo>
                    <a:pt x="344" y="293"/>
                    <a:pt x="349" y="293"/>
                    <a:pt x="348" y="300"/>
                  </a:cubicBezTo>
                  <a:close/>
                  <a:moveTo>
                    <a:pt x="383" y="263"/>
                  </a:moveTo>
                  <a:cubicBezTo>
                    <a:pt x="388" y="264"/>
                    <a:pt x="388" y="273"/>
                    <a:pt x="394" y="274"/>
                  </a:cubicBezTo>
                  <a:cubicBezTo>
                    <a:pt x="393" y="279"/>
                    <a:pt x="388" y="278"/>
                    <a:pt x="388" y="274"/>
                  </a:cubicBezTo>
                  <a:cubicBezTo>
                    <a:pt x="386" y="274"/>
                    <a:pt x="386" y="279"/>
                    <a:pt x="386" y="281"/>
                  </a:cubicBezTo>
                  <a:cubicBezTo>
                    <a:pt x="377" y="278"/>
                    <a:pt x="384" y="274"/>
                    <a:pt x="383" y="263"/>
                  </a:cubicBezTo>
                  <a:close/>
                  <a:moveTo>
                    <a:pt x="386" y="333"/>
                  </a:moveTo>
                  <a:cubicBezTo>
                    <a:pt x="381" y="330"/>
                    <a:pt x="379" y="320"/>
                    <a:pt x="383" y="315"/>
                  </a:cubicBezTo>
                  <a:cubicBezTo>
                    <a:pt x="389" y="314"/>
                    <a:pt x="384" y="328"/>
                    <a:pt x="386" y="333"/>
                  </a:cubicBezTo>
                  <a:close/>
                  <a:moveTo>
                    <a:pt x="386" y="307"/>
                  </a:moveTo>
                  <a:cubicBezTo>
                    <a:pt x="378" y="299"/>
                    <a:pt x="384" y="297"/>
                    <a:pt x="380" y="285"/>
                  </a:cubicBezTo>
                  <a:cubicBezTo>
                    <a:pt x="387" y="285"/>
                    <a:pt x="386" y="297"/>
                    <a:pt x="386" y="307"/>
                  </a:cubicBezTo>
                  <a:close/>
                  <a:moveTo>
                    <a:pt x="388" y="489"/>
                  </a:moveTo>
                  <a:cubicBezTo>
                    <a:pt x="389" y="489"/>
                    <a:pt x="388" y="496"/>
                    <a:pt x="388" y="496"/>
                  </a:cubicBezTo>
                  <a:cubicBezTo>
                    <a:pt x="390" y="496"/>
                    <a:pt x="393" y="491"/>
                    <a:pt x="394" y="489"/>
                  </a:cubicBezTo>
                  <a:cubicBezTo>
                    <a:pt x="395" y="487"/>
                    <a:pt x="397" y="495"/>
                    <a:pt x="396" y="496"/>
                  </a:cubicBezTo>
                  <a:cubicBezTo>
                    <a:pt x="396" y="497"/>
                    <a:pt x="391" y="495"/>
                    <a:pt x="391" y="496"/>
                  </a:cubicBezTo>
                  <a:cubicBezTo>
                    <a:pt x="389" y="502"/>
                    <a:pt x="392" y="510"/>
                    <a:pt x="383" y="511"/>
                  </a:cubicBezTo>
                  <a:cubicBezTo>
                    <a:pt x="379" y="520"/>
                    <a:pt x="389" y="519"/>
                    <a:pt x="391" y="522"/>
                  </a:cubicBezTo>
                  <a:cubicBezTo>
                    <a:pt x="393" y="526"/>
                    <a:pt x="389" y="536"/>
                    <a:pt x="396" y="533"/>
                  </a:cubicBezTo>
                  <a:cubicBezTo>
                    <a:pt x="398" y="544"/>
                    <a:pt x="391" y="545"/>
                    <a:pt x="383" y="544"/>
                  </a:cubicBezTo>
                  <a:cubicBezTo>
                    <a:pt x="381" y="537"/>
                    <a:pt x="386" y="534"/>
                    <a:pt x="386" y="529"/>
                  </a:cubicBezTo>
                  <a:cubicBezTo>
                    <a:pt x="384" y="522"/>
                    <a:pt x="380" y="526"/>
                    <a:pt x="378" y="522"/>
                  </a:cubicBezTo>
                  <a:cubicBezTo>
                    <a:pt x="376" y="519"/>
                    <a:pt x="380" y="513"/>
                    <a:pt x="380" y="514"/>
                  </a:cubicBezTo>
                  <a:cubicBezTo>
                    <a:pt x="375" y="506"/>
                    <a:pt x="375" y="505"/>
                    <a:pt x="367" y="507"/>
                  </a:cubicBezTo>
                  <a:cubicBezTo>
                    <a:pt x="366" y="499"/>
                    <a:pt x="369" y="497"/>
                    <a:pt x="370" y="492"/>
                  </a:cubicBezTo>
                  <a:cubicBezTo>
                    <a:pt x="375" y="493"/>
                    <a:pt x="371" y="504"/>
                    <a:pt x="378" y="503"/>
                  </a:cubicBezTo>
                  <a:cubicBezTo>
                    <a:pt x="380" y="504"/>
                    <a:pt x="380" y="502"/>
                    <a:pt x="380" y="500"/>
                  </a:cubicBezTo>
                  <a:cubicBezTo>
                    <a:pt x="380" y="496"/>
                    <a:pt x="377" y="497"/>
                    <a:pt x="375" y="496"/>
                  </a:cubicBezTo>
                  <a:cubicBezTo>
                    <a:pt x="374" y="492"/>
                    <a:pt x="376" y="488"/>
                    <a:pt x="378" y="489"/>
                  </a:cubicBezTo>
                  <a:cubicBezTo>
                    <a:pt x="378" y="489"/>
                    <a:pt x="380" y="496"/>
                    <a:pt x="380" y="496"/>
                  </a:cubicBezTo>
                  <a:cubicBezTo>
                    <a:pt x="381" y="496"/>
                    <a:pt x="385" y="484"/>
                    <a:pt x="388" y="489"/>
                  </a:cubicBezTo>
                  <a:close/>
                  <a:moveTo>
                    <a:pt x="404" y="296"/>
                  </a:moveTo>
                  <a:cubicBezTo>
                    <a:pt x="406" y="299"/>
                    <a:pt x="394" y="307"/>
                    <a:pt x="396" y="300"/>
                  </a:cubicBezTo>
                  <a:cubicBezTo>
                    <a:pt x="397" y="299"/>
                    <a:pt x="402" y="293"/>
                    <a:pt x="404" y="296"/>
                  </a:cubicBezTo>
                  <a:close/>
                  <a:moveTo>
                    <a:pt x="396" y="278"/>
                  </a:moveTo>
                  <a:cubicBezTo>
                    <a:pt x="397" y="275"/>
                    <a:pt x="399" y="274"/>
                    <a:pt x="399" y="270"/>
                  </a:cubicBezTo>
                  <a:cubicBezTo>
                    <a:pt x="401" y="271"/>
                    <a:pt x="402" y="274"/>
                    <a:pt x="404" y="274"/>
                  </a:cubicBezTo>
                  <a:cubicBezTo>
                    <a:pt x="404" y="277"/>
                    <a:pt x="402" y="278"/>
                    <a:pt x="402" y="281"/>
                  </a:cubicBezTo>
                  <a:cubicBezTo>
                    <a:pt x="400" y="281"/>
                    <a:pt x="399" y="278"/>
                    <a:pt x="396" y="278"/>
                  </a:cubicBezTo>
                  <a:close/>
                  <a:moveTo>
                    <a:pt x="421" y="525"/>
                  </a:moveTo>
                  <a:cubicBezTo>
                    <a:pt x="422" y="534"/>
                    <a:pt x="416" y="534"/>
                    <a:pt x="418" y="544"/>
                  </a:cubicBezTo>
                  <a:cubicBezTo>
                    <a:pt x="412" y="539"/>
                    <a:pt x="410" y="546"/>
                    <a:pt x="402" y="540"/>
                  </a:cubicBezTo>
                  <a:cubicBezTo>
                    <a:pt x="404" y="537"/>
                    <a:pt x="405" y="532"/>
                    <a:pt x="404" y="525"/>
                  </a:cubicBezTo>
                  <a:cubicBezTo>
                    <a:pt x="410" y="528"/>
                    <a:pt x="410" y="531"/>
                    <a:pt x="407" y="537"/>
                  </a:cubicBezTo>
                  <a:cubicBezTo>
                    <a:pt x="419" y="543"/>
                    <a:pt x="411" y="522"/>
                    <a:pt x="421" y="525"/>
                  </a:cubicBezTo>
                  <a:close/>
                  <a:moveTo>
                    <a:pt x="410" y="285"/>
                  </a:moveTo>
                  <a:cubicBezTo>
                    <a:pt x="422" y="287"/>
                    <a:pt x="407" y="307"/>
                    <a:pt x="410" y="285"/>
                  </a:cubicBezTo>
                  <a:close/>
                  <a:moveTo>
                    <a:pt x="412" y="281"/>
                  </a:moveTo>
                  <a:cubicBezTo>
                    <a:pt x="412" y="279"/>
                    <a:pt x="412" y="276"/>
                    <a:pt x="412" y="274"/>
                  </a:cubicBezTo>
                  <a:cubicBezTo>
                    <a:pt x="414" y="274"/>
                    <a:pt x="416" y="274"/>
                    <a:pt x="418" y="274"/>
                  </a:cubicBezTo>
                  <a:cubicBezTo>
                    <a:pt x="418" y="276"/>
                    <a:pt x="418" y="279"/>
                    <a:pt x="418" y="281"/>
                  </a:cubicBezTo>
                  <a:cubicBezTo>
                    <a:pt x="416" y="281"/>
                    <a:pt x="414" y="281"/>
                    <a:pt x="412" y="281"/>
                  </a:cubicBezTo>
                  <a:close/>
                  <a:moveTo>
                    <a:pt x="396" y="500"/>
                  </a:moveTo>
                  <a:cubicBezTo>
                    <a:pt x="403" y="501"/>
                    <a:pt x="403" y="509"/>
                    <a:pt x="399" y="514"/>
                  </a:cubicBezTo>
                  <a:cubicBezTo>
                    <a:pt x="395" y="513"/>
                    <a:pt x="397" y="505"/>
                    <a:pt x="396" y="500"/>
                  </a:cubicBezTo>
                  <a:close/>
                  <a:moveTo>
                    <a:pt x="351" y="489"/>
                  </a:moveTo>
                  <a:cubicBezTo>
                    <a:pt x="352" y="483"/>
                    <a:pt x="356" y="482"/>
                    <a:pt x="361" y="481"/>
                  </a:cubicBezTo>
                  <a:cubicBezTo>
                    <a:pt x="363" y="490"/>
                    <a:pt x="368" y="509"/>
                    <a:pt x="356" y="507"/>
                  </a:cubicBezTo>
                  <a:cubicBezTo>
                    <a:pt x="356" y="503"/>
                    <a:pt x="356" y="500"/>
                    <a:pt x="356" y="496"/>
                  </a:cubicBezTo>
                  <a:cubicBezTo>
                    <a:pt x="359" y="496"/>
                    <a:pt x="358" y="500"/>
                    <a:pt x="359" y="503"/>
                  </a:cubicBezTo>
                  <a:cubicBezTo>
                    <a:pt x="367" y="498"/>
                    <a:pt x="357" y="487"/>
                    <a:pt x="351" y="489"/>
                  </a:cubicBezTo>
                  <a:close/>
                  <a:moveTo>
                    <a:pt x="364" y="285"/>
                  </a:moveTo>
                  <a:cubicBezTo>
                    <a:pt x="363" y="279"/>
                    <a:pt x="379" y="280"/>
                    <a:pt x="372" y="289"/>
                  </a:cubicBezTo>
                  <a:cubicBezTo>
                    <a:pt x="373" y="287"/>
                    <a:pt x="364" y="285"/>
                    <a:pt x="364" y="285"/>
                  </a:cubicBezTo>
                  <a:close/>
                  <a:moveTo>
                    <a:pt x="372" y="296"/>
                  </a:moveTo>
                  <a:cubicBezTo>
                    <a:pt x="372" y="303"/>
                    <a:pt x="375" y="304"/>
                    <a:pt x="375" y="311"/>
                  </a:cubicBezTo>
                  <a:cubicBezTo>
                    <a:pt x="372" y="311"/>
                    <a:pt x="373" y="306"/>
                    <a:pt x="372" y="304"/>
                  </a:cubicBezTo>
                  <a:cubicBezTo>
                    <a:pt x="370" y="303"/>
                    <a:pt x="370" y="305"/>
                    <a:pt x="370" y="307"/>
                  </a:cubicBezTo>
                  <a:cubicBezTo>
                    <a:pt x="368" y="314"/>
                    <a:pt x="365" y="303"/>
                    <a:pt x="370" y="304"/>
                  </a:cubicBezTo>
                  <a:cubicBezTo>
                    <a:pt x="371" y="295"/>
                    <a:pt x="357" y="306"/>
                    <a:pt x="361" y="292"/>
                  </a:cubicBezTo>
                  <a:cubicBezTo>
                    <a:pt x="364" y="295"/>
                    <a:pt x="367" y="296"/>
                    <a:pt x="372" y="296"/>
                  </a:cubicBezTo>
                  <a:close/>
                  <a:moveTo>
                    <a:pt x="375" y="533"/>
                  </a:moveTo>
                  <a:cubicBezTo>
                    <a:pt x="367" y="548"/>
                    <a:pt x="368" y="521"/>
                    <a:pt x="361" y="522"/>
                  </a:cubicBezTo>
                  <a:cubicBezTo>
                    <a:pt x="363" y="511"/>
                    <a:pt x="367" y="525"/>
                    <a:pt x="372" y="522"/>
                  </a:cubicBezTo>
                  <a:cubicBezTo>
                    <a:pt x="372" y="527"/>
                    <a:pt x="372" y="532"/>
                    <a:pt x="375" y="533"/>
                  </a:cubicBezTo>
                  <a:close/>
                  <a:moveTo>
                    <a:pt x="364" y="474"/>
                  </a:moveTo>
                  <a:cubicBezTo>
                    <a:pt x="361" y="473"/>
                    <a:pt x="362" y="467"/>
                    <a:pt x="361" y="463"/>
                  </a:cubicBezTo>
                  <a:cubicBezTo>
                    <a:pt x="366" y="461"/>
                    <a:pt x="367" y="465"/>
                    <a:pt x="367" y="470"/>
                  </a:cubicBezTo>
                  <a:cubicBezTo>
                    <a:pt x="365" y="469"/>
                    <a:pt x="364" y="471"/>
                    <a:pt x="364" y="474"/>
                  </a:cubicBezTo>
                  <a:close/>
                  <a:moveTo>
                    <a:pt x="364" y="344"/>
                  </a:moveTo>
                  <a:cubicBezTo>
                    <a:pt x="363" y="336"/>
                    <a:pt x="369" y="339"/>
                    <a:pt x="370" y="333"/>
                  </a:cubicBezTo>
                  <a:cubicBezTo>
                    <a:pt x="373" y="334"/>
                    <a:pt x="372" y="340"/>
                    <a:pt x="372" y="344"/>
                  </a:cubicBezTo>
                  <a:cubicBezTo>
                    <a:pt x="370" y="344"/>
                    <a:pt x="367" y="344"/>
                    <a:pt x="364" y="344"/>
                  </a:cubicBezTo>
                  <a:close/>
                  <a:moveTo>
                    <a:pt x="361" y="555"/>
                  </a:moveTo>
                  <a:cubicBezTo>
                    <a:pt x="368" y="551"/>
                    <a:pt x="379" y="549"/>
                    <a:pt x="378" y="566"/>
                  </a:cubicBezTo>
                  <a:cubicBezTo>
                    <a:pt x="373" y="561"/>
                    <a:pt x="360" y="567"/>
                    <a:pt x="361" y="555"/>
                  </a:cubicBezTo>
                  <a:close/>
                  <a:moveTo>
                    <a:pt x="364" y="274"/>
                  </a:moveTo>
                  <a:cubicBezTo>
                    <a:pt x="366" y="269"/>
                    <a:pt x="370" y="267"/>
                    <a:pt x="375" y="267"/>
                  </a:cubicBezTo>
                  <a:cubicBezTo>
                    <a:pt x="378" y="278"/>
                    <a:pt x="369" y="273"/>
                    <a:pt x="364" y="274"/>
                  </a:cubicBezTo>
                  <a:close/>
                  <a:moveTo>
                    <a:pt x="353" y="363"/>
                  </a:moveTo>
                  <a:cubicBezTo>
                    <a:pt x="352" y="364"/>
                    <a:pt x="350" y="353"/>
                    <a:pt x="348" y="355"/>
                  </a:cubicBezTo>
                  <a:cubicBezTo>
                    <a:pt x="353" y="343"/>
                    <a:pt x="355" y="360"/>
                    <a:pt x="353" y="363"/>
                  </a:cubicBezTo>
                  <a:close/>
                  <a:moveTo>
                    <a:pt x="351" y="459"/>
                  </a:moveTo>
                  <a:cubicBezTo>
                    <a:pt x="351" y="463"/>
                    <a:pt x="351" y="466"/>
                    <a:pt x="351" y="470"/>
                  </a:cubicBezTo>
                  <a:cubicBezTo>
                    <a:pt x="348" y="470"/>
                    <a:pt x="349" y="465"/>
                    <a:pt x="348" y="463"/>
                  </a:cubicBezTo>
                  <a:cubicBezTo>
                    <a:pt x="346" y="466"/>
                    <a:pt x="341" y="465"/>
                    <a:pt x="337" y="459"/>
                  </a:cubicBezTo>
                  <a:cubicBezTo>
                    <a:pt x="336" y="456"/>
                    <a:pt x="334" y="454"/>
                    <a:pt x="335" y="448"/>
                  </a:cubicBezTo>
                  <a:cubicBezTo>
                    <a:pt x="337" y="451"/>
                    <a:pt x="339" y="454"/>
                    <a:pt x="340" y="459"/>
                  </a:cubicBezTo>
                  <a:cubicBezTo>
                    <a:pt x="344" y="459"/>
                    <a:pt x="347" y="459"/>
                    <a:pt x="351" y="459"/>
                  </a:cubicBezTo>
                  <a:close/>
                  <a:moveTo>
                    <a:pt x="340" y="559"/>
                  </a:moveTo>
                  <a:cubicBezTo>
                    <a:pt x="347" y="549"/>
                    <a:pt x="345" y="570"/>
                    <a:pt x="343" y="574"/>
                  </a:cubicBezTo>
                  <a:cubicBezTo>
                    <a:pt x="336" y="572"/>
                    <a:pt x="336" y="564"/>
                    <a:pt x="343" y="562"/>
                  </a:cubicBezTo>
                  <a:cubicBezTo>
                    <a:pt x="343" y="559"/>
                    <a:pt x="342" y="559"/>
                    <a:pt x="340" y="559"/>
                  </a:cubicBezTo>
                  <a:close/>
                  <a:moveTo>
                    <a:pt x="335" y="522"/>
                  </a:moveTo>
                  <a:cubicBezTo>
                    <a:pt x="334" y="521"/>
                    <a:pt x="335" y="518"/>
                    <a:pt x="335" y="518"/>
                  </a:cubicBezTo>
                  <a:cubicBezTo>
                    <a:pt x="332" y="517"/>
                    <a:pt x="320" y="521"/>
                    <a:pt x="324" y="511"/>
                  </a:cubicBezTo>
                  <a:cubicBezTo>
                    <a:pt x="334" y="513"/>
                    <a:pt x="331" y="517"/>
                    <a:pt x="329" y="503"/>
                  </a:cubicBezTo>
                  <a:cubicBezTo>
                    <a:pt x="332" y="503"/>
                    <a:pt x="335" y="503"/>
                    <a:pt x="337" y="503"/>
                  </a:cubicBezTo>
                  <a:cubicBezTo>
                    <a:pt x="334" y="516"/>
                    <a:pt x="336" y="519"/>
                    <a:pt x="345" y="514"/>
                  </a:cubicBezTo>
                  <a:cubicBezTo>
                    <a:pt x="347" y="517"/>
                    <a:pt x="338" y="528"/>
                    <a:pt x="335" y="522"/>
                  </a:cubicBezTo>
                  <a:close/>
                  <a:moveTo>
                    <a:pt x="324" y="707"/>
                  </a:moveTo>
                  <a:cubicBezTo>
                    <a:pt x="320" y="705"/>
                    <a:pt x="325" y="702"/>
                    <a:pt x="324" y="696"/>
                  </a:cubicBezTo>
                  <a:cubicBezTo>
                    <a:pt x="332" y="698"/>
                    <a:pt x="329" y="698"/>
                    <a:pt x="337" y="696"/>
                  </a:cubicBezTo>
                  <a:cubicBezTo>
                    <a:pt x="338" y="706"/>
                    <a:pt x="338" y="716"/>
                    <a:pt x="329" y="714"/>
                  </a:cubicBezTo>
                  <a:cubicBezTo>
                    <a:pt x="329" y="710"/>
                    <a:pt x="329" y="707"/>
                    <a:pt x="329" y="703"/>
                  </a:cubicBezTo>
                  <a:cubicBezTo>
                    <a:pt x="326" y="702"/>
                    <a:pt x="324" y="704"/>
                    <a:pt x="324" y="707"/>
                  </a:cubicBezTo>
                  <a:close/>
                  <a:moveTo>
                    <a:pt x="316" y="644"/>
                  </a:moveTo>
                  <a:cubicBezTo>
                    <a:pt x="322" y="632"/>
                    <a:pt x="323" y="658"/>
                    <a:pt x="324" y="666"/>
                  </a:cubicBezTo>
                  <a:cubicBezTo>
                    <a:pt x="308" y="668"/>
                    <a:pt x="324" y="649"/>
                    <a:pt x="316" y="644"/>
                  </a:cubicBezTo>
                  <a:close/>
                  <a:moveTo>
                    <a:pt x="335" y="562"/>
                  </a:moveTo>
                  <a:cubicBezTo>
                    <a:pt x="335" y="571"/>
                    <a:pt x="335" y="580"/>
                    <a:pt x="335" y="588"/>
                  </a:cubicBezTo>
                  <a:cubicBezTo>
                    <a:pt x="331" y="589"/>
                    <a:pt x="325" y="578"/>
                    <a:pt x="332" y="577"/>
                  </a:cubicBezTo>
                  <a:cubicBezTo>
                    <a:pt x="329" y="573"/>
                    <a:pt x="326" y="577"/>
                    <a:pt x="321" y="570"/>
                  </a:cubicBezTo>
                  <a:cubicBezTo>
                    <a:pt x="322" y="560"/>
                    <a:pt x="326" y="575"/>
                    <a:pt x="332" y="570"/>
                  </a:cubicBezTo>
                  <a:cubicBezTo>
                    <a:pt x="329" y="565"/>
                    <a:pt x="330" y="562"/>
                    <a:pt x="335" y="562"/>
                  </a:cubicBezTo>
                  <a:close/>
                  <a:moveTo>
                    <a:pt x="324" y="618"/>
                  </a:moveTo>
                  <a:cubicBezTo>
                    <a:pt x="327" y="616"/>
                    <a:pt x="327" y="609"/>
                    <a:pt x="332" y="611"/>
                  </a:cubicBezTo>
                  <a:cubicBezTo>
                    <a:pt x="333" y="620"/>
                    <a:pt x="326" y="620"/>
                    <a:pt x="321" y="622"/>
                  </a:cubicBezTo>
                  <a:cubicBezTo>
                    <a:pt x="321" y="618"/>
                    <a:pt x="322" y="618"/>
                    <a:pt x="324" y="618"/>
                  </a:cubicBezTo>
                  <a:close/>
                  <a:moveTo>
                    <a:pt x="337" y="677"/>
                  </a:moveTo>
                  <a:cubicBezTo>
                    <a:pt x="329" y="691"/>
                    <a:pt x="328" y="666"/>
                    <a:pt x="337" y="677"/>
                  </a:cubicBezTo>
                  <a:close/>
                  <a:moveTo>
                    <a:pt x="326" y="670"/>
                  </a:moveTo>
                  <a:cubicBezTo>
                    <a:pt x="326" y="662"/>
                    <a:pt x="327" y="658"/>
                    <a:pt x="332" y="659"/>
                  </a:cubicBezTo>
                  <a:cubicBezTo>
                    <a:pt x="332" y="652"/>
                    <a:pt x="332" y="646"/>
                    <a:pt x="332" y="640"/>
                  </a:cubicBezTo>
                  <a:cubicBezTo>
                    <a:pt x="341" y="642"/>
                    <a:pt x="339" y="675"/>
                    <a:pt x="326" y="670"/>
                  </a:cubicBezTo>
                  <a:close/>
                  <a:moveTo>
                    <a:pt x="326" y="555"/>
                  </a:moveTo>
                  <a:cubicBezTo>
                    <a:pt x="326" y="555"/>
                    <a:pt x="330" y="548"/>
                    <a:pt x="329" y="548"/>
                  </a:cubicBezTo>
                  <a:cubicBezTo>
                    <a:pt x="325" y="546"/>
                    <a:pt x="325" y="551"/>
                    <a:pt x="324" y="551"/>
                  </a:cubicBezTo>
                  <a:cubicBezTo>
                    <a:pt x="322" y="552"/>
                    <a:pt x="319" y="545"/>
                    <a:pt x="318" y="551"/>
                  </a:cubicBezTo>
                  <a:cubicBezTo>
                    <a:pt x="314" y="550"/>
                    <a:pt x="319" y="548"/>
                    <a:pt x="318" y="544"/>
                  </a:cubicBezTo>
                  <a:cubicBezTo>
                    <a:pt x="319" y="541"/>
                    <a:pt x="317" y="540"/>
                    <a:pt x="316" y="540"/>
                  </a:cubicBezTo>
                  <a:cubicBezTo>
                    <a:pt x="309" y="535"/>
                    <a:pt x="333" y="541"/>
                    <a:pt x="337" y="544"/>
                  </a:cubicBezTo>
                  <a:cubicBezTo>
                    <a:pt x="335" y="547"/>
                    <a:pt x="333" y="554"/>
                    <a:pt x="337" y="555"/>
                  </a:cubicBezTo>
                  <a:cubicBezTo>
                    <a:pt x="341" y="561"/>
                    <a:pt x="326" y="554"/>
                    <a:pt x="326" y="555"/>
                  </a:cubicBezTo>
                  <a:close/>
                  <a:moveTo>
                    <a:pt x="313" y="463"/>
                  </a:moveTo>
                  <a:cubicBezTo>
                    <a:pt x="313" y="463"/>
                    <a:pt x="318" y="467"/>
                    <a:pt x="318" y="466"/>
                  </a:cubicBezTo>
                  <a:cubicBezTo>
                    <a:pt x="318" y="467"/>
                    <a:pt x="312" y="474"/>
                    <a:pt x="313" y="474"/>
                  </a:cubicBezTo>
                  <a:cubicBezTo>
                    <a:pt x="309" y="473"/>
                    <a:pt x="313" y="471"/>
                    <a:pt x="313" y="470"/>
                  </a:cubicBezTo>
                  <a:cubicBezTo>
                    <a:pt x="314" y="469"/>
                    <a:pt x="312" y="463"/>
                    <a:pt x="313" y="463"/>
                  </a:cubicBezTo>
                  <a:close/>
                  <a:moveTo>
                    <a:pt x="345" y="492"/>
                  </a:moveTo>
                  <a:cubicBezTo>
                    <a:pt x="350" y="491"/>
                    <a:pt x="350" y="495"/>
                    <a:pt x="351" y="500"/>
                  </a:cubicBezTo>
                  <a:cubicBezTo>
                    <a:pt x="348" y="499"/>
                    <a:pt x="348" y="501"/>
                    <a:pt x="348" y="503"/>
                  </a:cubicBezTo>
                  <a:cubicBezTo>
                    <a:pt x="345" y="503"/>
                    <a:pt x="346" y="497"/>
                    <a:pt x="345" y="492"/>
                  </a:cubicBezTo>
                  <a:close/>
                  <a:moveTo>
                    <a:pt x="343" y="422"/>
                  </a:moveTo>
                  <a:cubicBezTo>
                    <a:pt x="337" y="422"/>
                    <a:pt x="339" y="412"/>
                    <a:pt x="332" y="415"/>
                  </a:cubicBezTo>
                  <a:cubicBezTo>
                    <a:pt x="334" y="406"/>
                    <a:pt x="345" y="413"/>
                    <a:pt x="343" y="422"/>
                  </a:cubicBezTo>
                  <a:close/>
                  <a:moveTo>
                    <a:pt x="340" y="477"/>
                  </a:moveTo>
                  <a:cubicBezTo>
                    <a:pt x="340" y="478"/>
                    <a:pt x="340" y="481"/>
                    <a:pt x="340" y="481"/>
                  </a:cubicBezTo>
                  <a:cubicBezTo>
                    <a:pt x="343" y="483"/>
                    <a:pt x="346" y="481"/>
                    <a:pt x="345" y="489"/>
                  </a:cubicBezTo>
                  <a:cubicBezTo>
                    <a:pt x="341" y="490"/>
                    <a:pt x="340" y="486"/>
                    <a:pt x="340" y="481"/>
                  </a:cubicBezTo>
                  <a:cubicBezTo>
                    <a:pt x="337" y="481"/>
                    <a:pt x="338" y="486"/>
                    <a:pt x="337" y="489"/>
                  </a:cubicBezTo>
                  <a:cubicBezTo>
                    <a:pt x="333" y="487"/>
                    <a:pt x="332" y="491"/>
                    <a:pt x="332" y="496"/>
                  </a:cubicBezTo>
                  <a:cubicBezTo>
                    <a:pt x="329" y="495"/>
                    <a:pt x="330" y="489"/>
                    <a:pt x="329" y="485"/>
                  </a:cubicBezTo>
                  <a:cubicBezTo>
                    <a:pt x="326" y="485"/>
                    <a:pt x="324" y="485"/>
                    <a:pt x="321" y="485"/>
                  </a:cubicBezTo>
                  <a:cubicBezTo>
                    <a:pt x="320" y="482"/>
                    <a:pt x="337" y="476"/>
                    <a:pt x="340" y="477"/>
                  </a:cubicBezTo>
                  <a:close/>
                  <a:moveTo>
                    <a:pt x="332" y="466"/>
                  </a:moveTo>
                  <a:cubicBezTo>
                    <a:pt x="326" y="477"/>
                    <a:pt x="323" y="454"/>
                    <a:pt x="324" y="444"/>
                  </a:cubicBezTo>
                  <a:cubicBezTo>
                    <a:pt x="327" y="447"/>
                    <a:pt x="327" y="453"/>
                    <a:pt x="332" y="452"/>
                  </a:cubicBezTo>
                  <a:cubicBezTo>
                    <a:pt x="331" y="454"/>
                    <a:pt x="325" y="466"/>
                    <a:pt x="332" y="466"/>
                  </a:cubicBezTo>
                  <a:close/>
                  <a:moveTo>
                    <a:pt x="329" y="411"/>
                  </a:moveTo>
                  <a:cubicBezTo>
                    <a:pt x="326" y="411"/>
                    <a:pt x="327" y="418"/>
                    <a:pt x="326" y="422"/>
                  </a:cubicBezTo>
                  <a:cubicBezTo>
                    <a:pt x="323" y="421"/>
                    <a:pt x="322" y="423"/>
                    <a:pt x="321" y="426"/>
                  </a:cubicBezTo>
                  <a:cubicBezTo>
                    <a:pt x="315" y="425"/>
                    <a:pt x="321" y="413"/>
                    <a:pt x="324" y="415"/>
                  </a:cubicBezTo>
                  <a:cubicBezTo>
                    <a:pt x="324" y="407"/>
                    <a:pt x="324" y="400"/>
                    <a:pt x="324" y="392"/>
                  </a:cubicBezTo>
                  <a:cubicBezTo>
                    <a:pt x="328" y="395"/>
                    <a:pt x="328" y="404"/>
                    <a:pt x="329" y="411"/>
                  </a:cubicBezTo>
                  <a:close/>
                  <a:moveTo>
                    <a:pt x="324" y="344"/>
                  </a:moveTo>
                  <a:cubicBezTo>
                    <a:pt x="328" y="343"/>
                    <a:pt x="329" y="347"/>
                    <a:pt x="329" y="352"/>
                  </a:cubicBezTo>
                  <a:cubicBezTo>
                    <a:pt x="327" y="351"/>
                    <a:pt x="327" y="353"/>
                    <a:pt x="326" y="355"/>
                  </a:cubicBezTo>
                  <a:cubicBezTo>
                    <a:pt x="323" y="355"/>
                    <a:pt x="324" y="349"/>
                    <a:pt x="324" y="344"/>
                  </a:cubicBezTo>
                  <a:close/>
                  <a:moveTo>
                    <a:pt x="316" y="385"/>
                  </a:moveTo>
                  <a:cubicBezTo>
                    <a:pt x="316" y="381"/>
                    <a:pt x="321" y="382"/>
                    <a:pt x="321" y="378"/>
                  </a:cubicBezTo>
                  <a:cubicBezTo>
                    <a:pt x="324" y="378"/>
                    <a:pt x="323" y="382"/>
                    <a:pt x="324" y="385"/>
                  </a:cubicBezTo>
                  <a:cubicBezTo>
                    <a:pt x="320" y="389"/>
                    <a:pt x="320" y="386"/>
                    <a:pt x="316" y="385"/>
                  </a:cubicBezTo>
                  <a:close/>
                  <a:moveTo>
                    <a:pt x="321" y="352"/>
                  </a:moveTo>
                  <a:cubicBezTo>
                    <a:pt x="318" y="354"/>
                    <a:pt x="319" y="348"/>
                    <a:pt x="318" y="348"/>
                  </a:cubicBezTo>
                  <a:cubicBezTo>
                    <a:pt x="317" y="347"/>
                    <a:pt x="311" y="349"/>
                    <a:pt x="310" y="348"/>
                  </a:cubicBezTo>
                  <a:cubicBezTo>
                    <a:pt x="307" y="343"/>
                    <a:pt x="323" y="336"/>
                    <a:pt x="321" y="352"/>
                  </a:cubicBezTo>
                  <a:close/>
                  <a:moveTo>
                    <a:pt x="310" y="537"/>
                  </a:moveTo>
                  <a:cubicBezTo>
                    <a:pt x="312" y="551"/>
                    <a:pt x="297" y="551"/>
                    <a:pt x="300" y="537"/>
                  </a:cubicBezTo>
                  <a:cubicBezTo>
                    <a:pt x="305" y="530"/>
                    <a:pt x="303" y="537"/>
                    <a:pt x="310" y="537"/>
                  </a:cubicBezTo>
                  <a:close/>
                  <a:moveTo>
                    <a:pt x="286" y="496"/>
                  </a:moveTo>
                  <a:cubicBezTo>
                    <a:pt x="285" y="489"/>
                    <a:pt x="284" y="493"/>
                    <a:pt x="286" y="481"/>
                  </a:cubicBezTo>
                  <a:cubicBezTo>
                    <a:pt x="293" y="485"/>
                    <a:pt x="293" y="499"/>
                    <a:pt x="286" y="503"/>
                  </a:cubicBezTo>
                  <a:cubicBezTo>
                    <a:pt x="281" y="512"/>
                    <a:pt x="287" y="503"/>
                    <a:pt x="286" y="496"/>
                  </a:cubicBezTo>
                  <a:close/>
                  <a:moveTo>
                    <a:pt x="286" y="466"/>
                  </a:moveTo>
                  <a:cubicBezTo>
                    <a:pt x="286" y="461"/>
                    <a:pt x="286" y="456"/>
                    <a:pt x="286" y="452"/>
                  </a:cubicBezTo>
                  <a:cubicBezTo>
                    <a:pt x="284" y="452"/>
                    <a:pt x="283" y="452"/>
                    <a:pt x="281" y="452"/>
                  </a:cubicBezTo>
                  <a:cubicBezTo>
                    <a:pt x="281" y="447"/>
                    <a:pt x="286" y="448"/>
                    <a:pt x="289" y="448"/>
                  </a:cubicBezTo>
                  <a:cubicBezTo>
                    <a:pt x="289" y="453"/>
                    <a:pt x="289" y="458"/>
                    <a:pt x="289" y="463"/>
                  </a:cubicBezTo>
                  <a:cubicBezTo>
                    <a:pt x="292" y="462"/>
                    <a:pt x="291" y="456"/>
                    <a:pt x="292" y="452"/>
                  </a:cubicBezTo>
                  <a:cubicBezTo>
                    <a:pt x="299" y="456"/>
                    <a:pt x="300" y="464"/>
                    <a:pt x="297" y="474"/>
                  </a:cubicBezTo>
                  <a:cubicBezTo>
                    <a:pt x="293" y="472"/>
                    <a:pt x="295" y="462"/>
                    <a:pt x="286" y="466"/>
                  </a:cubicBezTo>
                  <a:close/>
                  <a:moveTo>
                    <a:pt x="289" y="344"/>
                  </a:moveTo>
                  <a:cubicBezTo>
                    <a:pt x="283" y="356"/>
                    <a:pt x="278" y="331"/>
                    <a:pt x="289" y="344"/>
                  </a:cubicBezTo>
                  <a:close/>
                  <a:moveTo>
                    <a:pt x="286" y="326"/>
                  </a:moveTo>
                  <a:cubicBezTo>
                    <a:pt x="281" y="325"/>
                    <a:pt x="280" y="319"/>
                    <a:pt x="281" y="311"/>
                  </a:cubicBezTo>
                  <a:cubicBezTo>
                    <a:pt x="286" y="312"/>
                    <a:pt x="287" y="317"/>
                    <a:pt x="286" y="326"/>
                  </a:cubicBezTo>
                  <a:close/>
                  <a:moveTo>
                    <a:pt x="281" y="500"/>
                  </a:moveTo>
                  <a:cubicBezTo>
                    <a:pt x="271" y="494"/>
                    <a:pt x="277" y="485"/>
                    <a:pt x="278" y="481"/>
                  </a:cubicBezTo>
                  <a:cubicBezTo>
                    <a:pt x="279" y="478"/>
                    <a:pt x="281" y="479"/>
                    <a:pt x="281" y="481"/>
                  </a:cubicBezTo>
                  <a:cubicBezTo>
                    <a:pt x="280" y="488"/>
                    <a:pt x="279" y="486"/>
                    <a:pt x="281" y="500"/>
                  </a:cubicBezTo>
                  <a:close/>
                  <a:moveTo>
                    <a:pt x="270" y="366"/>
                  </a:moveTo>
                  <a:cubicBezTo>
                    <a:pt x="264" y="367"/>
                    <a:pt x="269" y="353"/>
                    <a:pt x="267" y="348"/>
                  </a:cubicBezTo>
                  <a:cubicBezTo>
                    <a:pt x="271" y="352"/>
                    <a:pt x="274" y="352"/>
                    <a:pt x="275" y="344"/>
                  </a:cubicBezTo>
                  <a:cubicBezTo>
                    <a:pt x="286" y="354"/>
                    <a:pt x="267" y="355"/>
                    <a:pt x="270" y="366"/>
                  </a:cubicBezTo>
                  <a:close/>
                  <a:moveTo>
                    <a:pt x="270" y="389"/>
                  </a:moveTo>
                  <a:cubicBezTo>
                    <a:pt x="280" y="400"/>
                    <a:pt x="262" y="401"/>
                    <a:pt x="270" y="389"/>
                  </a:cubicBezTo>
                  <a:close/>
                  <a:moveTo>
                    <a:pt x="270" y="452"/>
                  </a:moveTo>
                  <a:cubicBezTo>
                    <a:pt x="277" y="452"/>
                    <a:pt x="283" y="460"/>
                    <a:pt x="278" y="466"/>
                  </a:cubicBezTo>
                  <a:cubicBezTo>
                    <a:pt x="271" y="467"/>
                    <a:pt x="269" y="461"/>
                    <a:pt x="270" y="452"/>
                  </a:cubicBezTo>
                  <a:close/>
                  <a:moveTo>
                    <a:pt x="278" y="315"/>
                  </a:moveTo>
                  <a:cubicBezTo>
                    <a:pt x="274" y="323"/>
                    <a:pt x="270" y="307"/>
                    <a:pt x="270" y="322"/>
                  </a:cubicBezTo>
                  <a:cubicBezTo>
                    <a:pt x="258" y="316"/>
                    <a:pt x="280" y="308"/>
                    <a:pt x="270" y="304"/>
                  </a:cubicBezTo>
                  <a:cubicBezTo>
                    <a:pt x="272" y="297"/>
                    <a:pt x="275" y="303"/>
                    <a:pt x="278" y="304"/>
                  </a:cubicBezTo>
                  <a:cubicBezTo>
                    <a:pt x="280" y="290"/>
                    <a:pt x="269" y="294"/>
                    <a:pt x="265" y="289"/>
                  </a:cubicBezTo>
                  <a:cubicBezTo>
                    <a:pt x="265" y="280"/>
                    <a:pt x="271" y="291"/>
                    <a:pt x="273" y="289"/>
                  </a:cubicBezTo>
                  <a:cubicBezTo>
                    <a:pt x="276" y="285"/>
                    <a:pt x="274" y="289"/>
                    <a:pt x="283" y="289"/>
                  </a:cubicBezTo>
                  <a:cubicBezTo>
                    <a:pt x="284" y="300"/>
                    <a:pt x="276" y="301"/>
                    <a:pt x="278" y="315"/>
                  </a:cubicBezTo>
                  <a:close/>
                  <a:moveTo>
                    <a:pt x="305" y="696"/>
                  </a:moveTo>
                  <a:cubicBezTo>
                    <a:pt x="314" y="700"/>
                    <a:pt x="305" y="707"/>
                    <a:pt x="310" y="718"/>
                  </a:cubicBezTo>
                  <a:cubicBezTo>
                    <a:pt x="308" y="715"/>
                    <a:pt x="304" y="714"/>
                    <a:pt x="300" y="714"/>
                  </a:cubicBezTo>
                  <a:cubicBezTo>
                    <a:pt x="297" y="702"/>
                    <a:pt x="304" y="703"/>
                    <a:pt x="305" y="696"/>
                  </a:cubicBezTo>
                  <a:close/>
                  <a:moveTo>
                    <a:pt x="294" y="699"/>
                  </a:moveTo>
                  <a:cubicBezTo>
                    <a:pt x="294" y="697"/>
                    <a:pt x="294" y="694"/>
                    <a:pt x="294" y="692"/>
                  </a:cubicBezTo>
                  <a:cubicBezTo>
                    <a:pt x="296" y="692"/>
                    <a:pt x="298" y="692"/>
                    <a:pt x="300" y="692"/>
                  </a:cubicBezTo>
                  <a:cubicBezTo>
                    <a:pt x="300" y="694"/>
                    <a:pt x="300" y="697"/>
                    <a:pt x="300" y="699"/>
                  </a:cubicBezTo>
                  <a:cubicBezTo>
                    <a:pt x="298" y="699"/>
                    <a:pt x="296" y="699"/>
                    <a:pt x="294" y="699"/>
                  </a:cubicBezTo>
                  <a:close/>
                  <a:moveTo>
                    <a:pt x="316" y="721"/>
                  </a:moveTo>
                  <a:cubicBezTo>
                    <a:pt x="311" y="724"/>
                    <a:pt x="316" y="740"/>
                    <a:pt x="308" y="736"/>
                  </a:cubicBezTo>
                  <a:cubicBezTo>
                    <a:pt x="307" y="727"/>
                    <a:pt x="309" y="720"/>
                    <a:pt x="316" y="721"/>
                  </a:cubicBezTo>
                  <a:close/>
                  <a:moveTo>
                    <a:pt x="316" y="751"/>
                  </a:moveTo>
                  <a:cubicBezTo>
                    <a:pt x="324" y="737"/>
                    <a:pt x="325" y="762"/>
                    <a:pt x="316" y="751"/>
                  </a:cubicBezTo>
                  <a:close/>
                  <a:moveTo>
                    <a:pt x="351" y="681"/>
                  </a:moveTo>
                  <a:cubicBezTo>
                    <a:pt x="353" y="689"/>
                    <a:pt x="341" y="689"/>
                    <a:pt x="343" y="681"/>
                  </a:cubicBezTo>
                  <a:cubicBezTo>
                    <a:pt x="344" y="676"/>
                    <a:pt x="350" y="678"/>
                    <a:pt x="351" y="681"/>
                  </a:cubicBezTo>
                  <a:close/>
                  <a:moveTo>
                    <a:pt x="351" y="662"/>
                  </a:moveTo>
                  <a:cubicBezTo>
                    <a:pt x="356" y="670"/>
                    <a:pt x="359" y="680"/>
                    <a:pt x="367" y="684"/>
                  </a:cubicBezTo>
                  <a:cubicBezTo>
                    <a:pt x="365" y="687"/>
                    <a:pt x="364" y="691"/>
                    <a:pt x="364" y="696"/>
                  </a:cubicBezTo>
                  <a:cubicBezTo>
                    <a:pt x="361" y="696"/>
                    <a:pt x="363" y="690"/>
                    <a:pt x="361" y="688"/>
                  </a:cubicBezTo>
                  <a:cubicBezTo>
                    <a:pt x="357" y="680"/>
                    <a:pt x="349" y="678"/>
                    <a:pt x="351" y="662"/>
                  </a:cubicBezTo>
                  <a:close/>
                  <a:moveTo>
                    <a:pt x="348" y="718"/>
                  </a:moveTo>
                  <a:cubicBezTo>
                    <a:pt x="342" y="717"/>
                    <a:pt x="342" y="708"/>
                    <a:pt x="345" y="703"/>
                  </a:cubicBezTo>
                  <a:cubicBezTo>
                    <a:pt x="349" y="704"/>
                    <a:pt x="347" y="712"/>
                    <a:pt x="348" y="718"/>
                  </a:cubicBezTo>
                  <a:close/>
                  <a:moveTo>
                    <a:pt x="388" y="755"/>
                  </a:moveTo>
                  <a:cubicBezTo>
                    <a:pt x="389" y="750"/>
                    <a:pt x="396" y="752"/>
                    <a:pt x="396" y="755"/>
                  </a:cubicBezTo>
                  <a:cubicBezTo>
                    <a:pt x="399" y="763"/>
                    <a:pt x="387" y="763"/>
                    <a:pt x="388" y="755"/>
                  </a:cubicBezTo>
                  <a:close/>
                  <a:moveTo>
                    <a:pt x="399" y="684"/>
                  </a:moveTo>
                  <a:cubicBezTo>
                    <a:pt x="405" y="687"/>
                    <a:pt x="407" y="696"/>
                    <a:pt x="410" y="703"/>
                  </a:cubicBezTo>
                  <a:cubicBezTo>
                    <a:pt x="408" y="709"/>
                    <a:pt x="407" y="703"/>
                    <a:pt x="407" y="699"/>
                  </a:cubicBezTo>
                  <a:cubicBezTo>
                    <a:pt x="403" y="698"/>
                    <a:pt x="403" y="703"/>
                    <a:pt x="399" y="703"/>
                  </a:cubicBezTo>
                  <a:cubicBezTo>
                    <a:pt x="395" y="701"/>
                    <a:pt x="399" y="699"/>
                    <a:pt x="402" y="699"/>
                  </a:cubicBezTo>
                  <a:cubicBezTo>
                    <a:pt x="402" y="693"/>
                    <a:pt x="398" y="692"/>
                    <a:pt x="399" y="684"/>
                  </a:cubicBezTo>
                  <a:close/>
                  <a:moveTo>
                    <a:pt x="412" y="696"/>
                  </a:moveTo>
                  <a:cubicBezTo>
                    <a:pt x="412" y="692"/>
                    <a:pt x="412" y="688"/>
                    <a:pt x="412" y="684"/>
                  </a:cubicBezTo>
                  <a:cubicBezTo>
                    <a:pt x="416" y="686"/>
                    <a:pt x="417" y="691"/>
                    <a:pt x="421" y="692"/>
                  </a:cubicBezTo>
                  <a:cubicBezTo>
                    <a:pt x="421" y="695"/>
                    <a:pt x="420" y="695"/>
                    <a:pt x="418" y="696"/>
                  </a:cubicBezTo>
                  <a:cubicBezTo>
                    <a:pt x="416" y="696"/>
                    <a:pt x="414" y="696"/>
                    <a:pt x="412" y="696"/>
                  </a:cubicBezTo>
                  <a:close/>
                  <a:moveTo>
                    <a:pt x="439" y="692"/>
                  </a:moveTo>
                  <a:cubicBezTo>
                    <a:pt x="436" y="691"/>
                    <a:pt x="438" y="685"/>
                    <a:pt x="434" y="684"/>
                  </a:cubicBezTo>
                  <a:cubicBezTo>
                    <a:pt x="435" y="680"/>
                    <a:pt x="439" y="681"/>
                    <a:pt x="442" y="681"/>
                  </a:cubicBezTo>
                  <a:cubicBezTo>
                    <a:pt x="443" y="687"/>
                    <a:pt x="440" y="687"/>
                    <a:pt x="439" y="692"/>
                  </a:cubicBezTo>
                  <a:close/>
                  <a:moveTo>
                    <a:pt x="439" y="581"/>
                  </a:moveTo>
                  <a:cubicBezTo>
                    <a:pt x="442" y="582"/>
                    <a:pt x="441" y="588"/>
                    <a:pt x="445" y="588"/>
                  </a:cubicBezTo>
                  <a:cubicBezTo>
                    <a:pt x="444" y="599"/>
                    <a:pt x="436" y="589"/>
                    <a:pt x="439" y="581"/>
                  </a:cubicBezTo>
                  <a:close/>
                  <a:moveTo>
                    <a:pt x="439" y="655"/>
                  </a:moveTo>
                  <a:cubicBezTo>
                    <a:pt x="438" y="666"/>
                    <a:pt x="434" y="651"/>
                    <a:pt x="429" y="655"/>
                  </a:cubicBezTo>
                  <a:cubicBezTo>
                    <a:pt x="424" y="657"/>
                    <a:pt x="427" y="668"/>
                    <a:pt x="423" y="673"/>
                  </a:cubicBezTo>
                  <a:cubicBezTo>
                    <a:pt x="422" y="676"/>
                    <a:pt x="416" y="682"/>
                    <a:pt x="412" y="681"/>
                  </a:cubicBezTo>
                  <a:cubicBezTo>
                    <a:pt x="410" y="666"/>
                    <a:pt x="397" y="665"/>
                    <a:pt x="399" y="644"/>
                  </a:cubicBezTo>
                  <a:cubicBezTo>
                    <a:pt x="393" y="644"/>
                    <a:pt x="393" y="653"/>
                    <a:pt x="394" y="662"/>
                  </a:cubicBezTo>
                  <a:cubicBezTo>
                    <a:pt x="395" y="671"/>
                    <a:pt x="398" y="658"/>
                    <a:pt x="402" y="666"/>
                  </a:cubicBezTo>
                  <a:cubicBezTo>
                    <a:pt x="396" y="674"/>
                    <a:pt x="392" y="680"/>
                    <a:pt x="383" y="673"/>
                  </a:cubicBezTo>
                  <a:cubicBezTo>
                    <a:pt x="386" y="686"/>
                    <a:pt x="389" y="687"/>
                    <a:pt x="383" y="699"/>
                  </a:cubicBezTo>
                  <a:cubicBezTo>
                    <a:pt x="380" y="695"/>
                    <a:pt x="373" y="695"/>
                    <a:pt x="367" y="696"/>
                  </a:cubicBezTo>
                  <a:cubicBezTo>
                    <a:pt x="367" y="689"/>
                    <a:pt x="371" y="687"/>
                    <a:pt x="378" y="688"/>
                  </a:cubicBezTo>
                  <a:cubicBezTo>
                    <a:pt x="379" y="682"/>
                    <a:pt x="371" y="683"/>
                    <a:pt x="370" y="681"/>
                  </a:cubicBezTo>
                  <a:cubicBezTo>
                    <a:pt x="369" y="680"/>
                    <a:pt x="372" y="675"/>
                    <a:pt x="372" y="673"/>
                  </a:cubicBezTo>
                  <a:cubicBezTo>
                    <a:pt x="372" y="672"/>
                    <a:pt x="370" y="661"/>
                    <a:pt x="367" y="659"/>
                  </a:cubicBezTo>
                  <a:cubicBezTo>
                    <a:pt x="361" y="658"/>
                    <a:pt x="366" y="672"/>
                    <a:pt x="364" y="677"/>
                  </a:cubicBezTo>
                  <a:cubicBezTo>
                    <a:pt x="362" y="677"/>
                    <a:pt x="356" y="665"/>
                    <a:pt x="361" y="666"/>
                  </a:cubicBezTo>
                  <a:cubicBezTo>
                    <a:pt x="361" y="658"/>
                    <a:pt x="354" y="659"/>
                    <a:pt x="351" y="655"/>
                  </a:cubicBezTo>
                  <a:cubicBezTo>
                    <a:pt x="345" y="655"/>
                    <a:pt x="345" y="664"/>
                    <a:pt x="345" y="673"/>
                  </a:cubicBezTo>
                  <a:cubicBezTo>
                    <a:pt x="335" y="670"/>
                    <a:pt x="346" y="658"/>
                    <a:pt x="343" y="644"/>
                  </a:cubicBezTo>
                  <a:cubicBezTo>
                    <a:pt x="345" y="646"/>
                    <a:pt x="345" y="652"/>
                    <a:pt x="351" y="651"/>
                  </a:cubicBezTo>
                  <a:cubicBezTo>
                    <a:pt x="360" y="653"/>
                    <a:pt x="351" y="633"/>
                    <a:pt x="351" y="633"/>
                  </a:cubicBezTo>
                  <a:cubicBezTo>
                    <a:pt x="348" y="632"/>
                    <a:pt x="347" y="645"/>
                    <a:pt x="345" y="636"/>
                  </a:cubicBezTo>
                  <a:cubicBezTo>
                    <a:pt x="345" y="634"/>
                    <a:pt x="346" y="631"/>
                    <a:pt x="345" y="629"/>
                  </a:cubicBezTo>
                  <a:cubicBezTo>
                    <a:pt x="343" y="623"/>
                    <a:pt x="335" y="621"/>
                    <a:pt x="340" y="611"/>
                  </a:cubicBezTo>
                  <a:cubicBezTo>
                    <a:pt x="342" y="603"/>
                    <a:pt x="344" y="615"/>
                    <a:pt x="340" y="614"/>
                  </a:cubicBezTo>
                  <a:cubicBezTo>
                    <a:pt x="336" y="622"/>
                    <a:pt x="347" y="618"/>
                    <a:pt x="351" y="622"/>
                  </a:cubicBezTo>
                  <a:cubicBezTo>
                    <a:pt x="352" y="623"/>
                    <a:pt x="360" y="639"/>
                    <a:pt x="359" y="618"/>
                  </a:cubicBezTo>
                  <a:cubicBezTo>
                    <a:pt x="365" y="625"/>
                    <a:pt x="364" y="640"/>
                    <a:pt x="364" y="655"/>
                  </a:cubicBezTo>
                  <a:cubicBezTo>
                    <a:pt x="368" y="656"/>
                    <a:pt x="369" y="651"/>
                    <a:pt x="372" y="651"/>
                  </a:cubicBezTo>
                  <a:cubicBezTo>
                    <a:pt x="371" y="645"/>
                    <a:pt x="364" y="648"/>
                    <a:pt x="367" y="636"/>
                  </a:cubicBezTo>
                  <a:cubicBezTo>
                    <a:pt x="370" y="636"/>
                    <a:pt x="372" y="636"/>
                    <a:pt x="375" y="636"/>
                  </a:cubicBezTo>
                  <a:cubicBezTo>
                    <a:pt x="374" y="632"/>
                    <a:pt x="371" y="629"/>
                    <a:pt x="367" y="629"/>
                  </a:cubicBezTo>
                  <a:cubicBezTo>
                    <a:pt x="365" y="624"/>
                    <a:pt x="377" y="620"/>
                    <a:pt x="370" y="618"/>
                  </a:cubicBezTo>
                  <a:cubicBezTo>
                    <a:pt x="372" y="606"/>
                    <a:pt x="375" y="622"/>
                    <a:pt x="378" y="622"/>
                  </a:cubicBezTo>
                  <a:cubicBezTo>
                    <a:pt x="378" y="652"/>
                    <a:pt x="373" y="658"/>
                    <a:pt x="378" y="681"/>
                  </a:cubicBezTo>
                  <a:cubicBezTo>
                    <a:pt x="386" y="678"/>
                    <a:pt x="375" y="653"/>
                    <a:pt x="380" y="648"/>
                  </a:cubicBezTo>
                  <a:cubicBezTo>
                    <a:pt x="384" y="643"/>
                    <a:pt x="377" y="638"/>
                    <a:pt x="383" y="629"/>
                  </a:cubicBezTo>
                  <a:cubicBezTo>
                    <a:pt x="390" y="634"/>
                    <a:pt x="391" y="637"/>
                    <a:pt x="388" y="648"/>
                  </a:cubicBezTo>
                  <a:cubicBezTo>
                    <a:pt x="399" y="651"/>
                    <a:pt x="392" y="630"/>
                    <a:pt x="402" y="633"/>
                  </a:cubicBezTo>
                  <a:cubicBezTo>
                    <a:pt x="402" y="622"/>
                    <a:pt x="395" y="620"/>
                    <a:pt x="394" y="611"/>
                  </a:cubicBezTo>
                  <a:cubicBezTo>
                    <a:pt x="391" y="612"/>
                    <a:pt x="387" y="617"/>
                    <a:pt x="391" y="618"/>
                  </a:cubicBezTo>
                  <a:cubicBezTo>
                    <a:pt x="389" y="624"/>
                    <a:pt x="385" y="620"/>
                    <a:pt x="386" y="614"/>
                  </a:cubicBezTo>
                  <a:cubicBezTo>
                    <a:pt x="383" y="610"/>
                    <a:pt x="376" y="613"/>
                    <a:pt x="378" y="603"/>
                  </a:cubicBezTo>
                  <a:cubicBezTo>
                    <a:pt x="370" y="603"/>
                    <a:pt x="363" y="603"/>
                    <a:pt x="356" y="603"/>
                  </a:cubicBezTo>
                  <a:cubicBezTo>
                    <a:pt x="358" y="607"/>
                    <a:pt x="361" y="609"/>
                    <a:pt x="364" y="611"/>
                  </a:cubicBezTo>
                  <a:cubicBezTo>
                    <a:pt x="364" y="624"/>
                    <a:pt x="355" y="603"/>
                    <a:pt x="356" y="614"/>
                  </a:cubicBezTo>
                  <a:cubicBezTo>
                    <a:pt x="349" y="614"/>
                    <a:pt x="353" y="598"/>
                    <a:pt x="343" y="603"/>
                  </a:cubicBezTo>
                  <a:cubicBezTo>
                    <a:pt x="340" y="598"/>
                    <a:pt x="345" y="593"/>
                    <a:pt x="345" y="592"/>
                  </a:cubicBezTo>
                  <a:cubicBezTo>
                    <a:pt x="345" y="585"/>
                    <a:pt x="336" y="584"/>
                    <a:pt x="343" y="581"/>
                  </a:cubicBezTo>
                  <a:cubicBezTo>
                    <a:pt x="352" y="577"/>
                    <a:pt x="347" y="592"/>
                    <a:pt x="348" y="599"/>
                  </a:cubicBezTo>
                  <a:cubicBezTo>
                    <a:pt x="355" y="599"/>
                    <a:pt x="352" y="586"/>
                    <a:pt x="356" y="581"/>
                  </a:cubicBezTo>
                  <a:cubicBezTo>
                    <a:pt x="357" y="577"/>
                    <a:pt x="352" y="579"/>
                    <a:pt x="351" y="577"/>
                  </a:cubicBezTo>
                  <a:cubicBezTo>
                    <a:pt x="349" y="574"/>
                    <a:pt x="353" y="565"/>
                    <a:pt x="348" y="566"/>
                  </a:cubicBezTo>
                  <a:cubicBezTo>
                    <a:pt x="350" y="562"/>
                    <a:pt x="354" y="562"/>
                    <a:pt x="353" y="555"/>
                  </a:cubicBezTo>
                  <a:cubicBezTo>
                    <a:pt x="360" y="556"/>
                    <a:pt x="354" y="568"/>
                    <a:pt x="353" y="570"/>
                  </a:cubicBezTo>
                  <a:cubicBezTo>
                    <a:pt x="353" y="578"/>
                    <a:pt x="363" y="572"/>
                    <a:pt x="367" y="574"/>
                  </a:cubicBezTo>
                  <a:cubicBezTo>
                    <a:pt x="365" y="585"/>
                    <a:pt x="372" y="587"/>
                    <a:pt x="370" y="599"/>
                  </a:cubicBezTo>
                  <a:cubicBezTo>
                    <a:pt x="384" y="595"/>
                    <a:pt x="371" y="585"/>
                    <a:pt x="372" y="570"/>
                  </a:cubicBezTo>
                  <a:cubicBezTo>
                    <a:pt x="376" y="571"/>
                    <a:pt x="376" y="576"/>
                    <a:pt x="380" y="577"/>
                  </a:cubicBezTo>
                  <a:cubicBezTo>
                    <a:pt x="386" y="578"/>
                    <a:pt x="382" y="564"/>
                    <a:pt x="383" y="559"/>
                  </a:cubicBezTo>
                  <a:cubicBezTo>
                    <a:pt x="390" y="562"/>
                    <a:pt x="390" y="554"/>
                    <a:pt x="396" y="555"/>
                  </a:cubicBezTo>
                  <a:cubicBezTo>
                    <a:pt x="397" y="570"/>
                    <a:pt x="403" y="555"/>
                    <a:pt x="410" y="562"/>
                  </a:cubicBezTo>
                  <a:cubicBezTo>
                    <a:pt x="409" y="567"/>
                    <a:pt x="405" y="568"/>
                    <a:pt x="404" y="574"/>
                  </a:cubicBezTo>
                  <a:cubicBezTo>
                    <a:pt x="413" y="576"/>
                    <a:pt x="410" y="563"/>
                    <a:pt x="418" y="566"/>
                  </a:cubicBezTo>
                  <a:cubicBezTo>
                    <a:pt x="419" y="574"/>
                    <a:pt x="426" y="573"/>
                    <a:pt x="421" y="581"/>
                  </a:cubicBezTo>
                  <a:cubicBezTo>
                    <a:pt x="417" y="580"/>
                    <a:pt x="420" y="570"/>
                    <a:pt x="415" y="570"/>
                  </a:cubicBezTo>
                  <a:cubicBezTo>
                    <a:pt x="412" y="571"/>
                    <a:pt x="412" y="577"/>
                    <a:pt x="415" y="577"/>
                  </a:cubicBezTo>
                  <a:cubicBezTo>
                    <a:pt x="415" y="582"/>
                    <a:pt x="415" y="588"/>
                    <a:pt x="418" y="588"/>
                  </a:cubicBezTo>
                  <a:cubicBezTo>
                    <a:pt x="416" y="600"/>
                    <a:pt x="416" y="595"/>
                    <a:pt x="418" y="607"/>
                  </a:cubicBezTo>
                  <a:cubicBezTo>
                    <a:pt x="424" y="609"/>
                    <a:pt x="423" y="602"/>
                    <a:pt x="423" y="596"/>
                  </a:cubicBezTo>
                  <a:cubicBezTo>
                    <a:pt x="426" y="596"/>
                    <a:pt x="426" y="602"/>
                    <a:pt x="426" y="607"/>
                  </a:cubicBezTo>
                  <a:cubicBezTo>
                    <a:pt x="426" y="614"/>
                    <a:pt x="433" y="612"/>
                    <a:pt x="431" y="622"/>
                  </a:cubicBezTo>
                  <a:cubicBezTo>
                    <a:pt x="429" y="620"/>
                    <a:pt x="427" y="618"/>
                    <a:pt x="423" y="618"/>
                  </a:cubicBezTo>
                  <a:cubicBezTo>
                    <a:pt x="416" y="617"/>
                    <a:pt x="427" y="642"/>
                    <a:pt x="415" y="636"/>
                  </a:cubicBezTo>
                  <a:cubicBezTo>
                    <a:pt x="418" y="630"/>
                    <a:pt x="416" y="618"/>
                    <a:pt x="421" y="614"/>
                  </a:cubicBezTo>
                  <a:cubicBezTo>
                    <a:pt x="419" y="611"/>
                    <a:pt x="416" y="609"/>
                    <a:pt x="412" y="607"/>
                  </a:cubicBezTo>
                  <a:cubicBezTo>
                    <a:pt x="407" y="607"/>
                    <a:pt x="412" y="615"/>
                    <a:pt x="412" y="614"/>
                  </a:cubicBezTo>
                  <a:cubicBezTo>
                    <a:pt x="411" y="620"/>
                    <a:pt x="400" y="622"/>
                    <a:pt x="410" y="625"/>
                  </a:cubicBezTo>
                  <a:cubicBezTo>
                    <a:pt x="409" y="629"/>
                    <a:pt x="404" y="628"/>
                    <a:pt x="404" y="633"/>
                  </a:cubicBezTo>
                  <a:cubicBezTo>
                    <a:pt x="405" y="637"/>
                    <a:pt x="409" y="636"/>
                    <a:pt x="412" y="636"/>
                  </a:cubicBezTo>
                  <a:cubicBezTo>
                    <a:pt x="414" y="644"/>
                    <a:pt x="409" y="643"/>
                    <a:pt x="404" y="644"/>
                  </a:cubicBezTo>
                  <a:cubicBezTo>
                    <a:pt x="400" y="653"/>
                    <a:pt x="411" y="651"/>
                    <a:pt x="412" y="655"/>
                  </a:cubicBezTo>
                  <a:cubicBezTo>
                    <a:pt x="415" y="662"/>
                    <a:pt x="408" y="669"/>
                    <a:pt x="415" y="673"/>
                  </a:cubicBezTo>
                  <a:cubicBezTo>
                    <a:pt x="420" y="668"/>
                    <a:pt x="415" y="648"/>
                    <a:pt x="421" y="636"/>
                  </a:cubicBezTo>
                  <a:cubicBezTo>
                    <a:pt x="422" y="638"/>
                    <a:pt x="429" y="651"/>
                    <a:pt x="431" y="640"/>
                  </a:cubicBezTo>
                  <a:cubicBezTo>
                    <a:pt x="437" y="641"/>
                    <a:pt x="432" y="657"/>
                    <a:pt x="439" y="655"/>
                  </a:cubicBezTo>
                  <a:close/>
                  <a:moveTo>
                    <a:pt x="426" y="570"/>
                  </a:moveTo>
                  <a:cubicBezTo>
                    <a:pt x="434" y="566"/>
                    <a:pt x="439" y="597"/>
                    <a:pt x="429" y="596"/>
                  </a:cubicBezTo>
                  <a:cubicBezTo>
                    <a:pt x="427" y="592"/>
                    <a:pt x="431" y="593"/>
                    <a:pt x="431" y="592"/>
                  </a:cubicBezTo>
                  <a:cubicBezTo>
                    <a:pt x="432" y="587"/>
                    <a:pt x="426" y="591"/>
                    <a:pt x="426" y="588"/>
                  </a:cubicBezTo>
                  <a:cubicBezTo>
                    <a:pt x="425" y="583"/>
                    <a:pt x="427" y="576"/>
                    <a:pt x="426" y="570"/>
                  </a:cubicBezTo>
                  <a:close/>
                  <a:moveTo>
                    <a:pt x="437" y="285"/>
                  </a:moveTo>
                  <a:cubicBezTo>
                    <a:pt x="435" y="284"/>
                    <a:pt x="434" y="281"/>
                    <a:pt x="431" y="281"/>
                  </a:cubicBezTo>
                  <a:cubicBezTo>
                    <a:pt x="427" y="283"/>
                    <a:pt x="435" y="294"/>
                    <a:pt x="423" y="292"/>
                  </a:cubicBezTo>
                  <a:cubicBezTo>
                    <a:pt x="425" y="290"/>
                    <a:pt x="427" y="282"/>
                    <a:pt x="423" y="281"/>
                  </a:cubicBezTo>
                  <a:cubicBezTo>
                    <a:pt x="423" y="275"/>
                    <a:pt x="441" y="274"/>
                    <a:pt x="437" y="285"/>
                  </a:cubicBezTo>
                  <a:close/>
                  <a:moveTo>
                    <a:pt x="426" y="30"/>
                  </a:moveTo>
                  <a:cubicBezTo>
                    <a:pt x="426" y="26"/>
                    <a:pt x="426" y="26"/>
                    <a:pt x="426" y="26"/>
                  </a:cubicBezTo>
                  <a:cubicBezTo>
                    <a:pt x="436" y="28"/>
                    <a:pt x="421" y="38"/>
                    <a:pt x="418" y="34"/>
                  </a:cubicBezTo>
                  <a:cubicBezTo>
                    <a:pt x="416" y="31"/>
                    <a:pt x="425" y="30"/>
                    <a:pt x="426" y="30"/>
                  </a:cubicBezTo>
                  <a:close/>
                  <a:moveTo>
                    <a:pt x="407" y="174"/>
                  </a:moveTo>
                  <a:cubicBezTo>
                    <a:pt x="413" y="173"/>
                    <a:pt x="422" y="196"/>
                    <a:pt x="410" y="196"/>
                  </a:cubicBezTo>
                  <a:cubicBezTo>
                    <a:pt x="410" y="193"/>
                    <a:pt x="412" y="193"/>
                    <a:pt x="412" y="189"/>
                  </a:cubicBezTo>
                  <a:cubicBezTo>
                    <a:pt x="410" y="183"/>
                    <a:pt x="404" y="184"/>
                    <a:pt x="399" y="182"/>
                  </a:cubicBezTo>
                  <a:cubicBezTo>
                    <a:pt x="400" y="176"/>
                    <a:pt x="407" y="180"/>
                    <a:pt x="407" y="174"/>
                  </a:cubicBezTo>
                  <a:close/>
                  <a:moveTo>
                    <a:pt x="415" y="252"/>
                  </a:moveTo>
                  <a:cubicBezTo>
                    <a:pt x="415" y="258"/>
                    <a:pt x="413" y="262"/>
                    <a:pt x="410" y="263"/>
                  </a:cubicBezTo>
                  <a:cubicBezTo>
                    <a:pt x="411" y="263"/>
                    <a:pt x="400" y="260"/>
                    <a:pt x="399" y="259"/>
                  </a:cubicBezTo>
                  <a:cubicBezTo>
                    <a:pt x="399" y="259"/>
                    <a:pt x="399" y="256"/>
                    <a:pt x="399" y="255"/>
                  </a:cubicBezTo>
                  <a:cubicBezTo>
                    <a:pt x="396" y="253"/>
                    <a:pt x="393" y="255"/>
                    <a:pt x="394" y="248"/>
                  </a:cubicBezTo>
                  <a:cubicBezTo>
                    <a:pt x="402" y="251"/>
                    <a:pt x="405" y="259"/>
                    <a:pt x="415" y="252"/>
                  </a:cubicBezTo>
                  <a:close/>
                  <a:moveTo>
                    <a:pt x="394" y="185"/>
                  </a:moveTo>
                  <a:cubicBezTo>
                    <a:pt x="391" y="182"/>
                    <a:pt x="388" y="181"/>
                    <a:pt x="383" y="182"/>
                  </a:cubicBezTo>
                  <a:cubicBezTo>
                    <a:pt x="382" y="175"/>
                    <a:pt x="398" y="175"/>
                    <a:pt x="394" y="185"/>
                  </a:cubicBezTo>
                  <a:close/>
                  <a:moveTo>
                    <a:pt x="391" y="248"/>
                  </a:moveTo>
                  <a:cubicBezTo>
                    <a:pt x="389" y="256"/>
                    <a:pt x="374" y="252"/>
                    <a:pt x="372" y="248"/>
                  </a:cubicBezTo>
                  <a:cubicBezTo>
                    <a:pt x="373" y="244"/>
                    <a:pt x="375" y="246"/>
                    <a:pt x="375" y="248"/>
                  </a:cubicBezTo>
                  <a:cubicBezTo>
                    <a:pt x="384" y="251"/>
                    <a:pt x="386" y="241"/>
                    <a:pt x="391" y="248"/>
                  </a:cubicBezTo>
                  <a:close/>
                  <a:moveTo>
                    <a:pt x="340" y="174"/>
                  </a:moveTo>
                  <a:cubicBezTo>
                    <a:pt x="350" y="177"/>
                    <a:pt x="339" y="185"/>
                    <a:pt x="345" y="193"/>
                  </a:cubicBezTo>
                  <a:cubicBezTo>
                    <a:pt x="355" y="195"/>
                    <a:pt x="361" y="181"/>
                    <a:pt x="367" y="189"/>
                  </a:cubicBezTo>
                  <a:cubicBezTo>
                    <a:pt x="367" y="185"/>
                    <a:pt x="366" y="182"/>
                    <a:pt x="364" y="182"/>
                  </a:cubicBezTo>
                  <a:cubicBezTo>
                    <a:pt x="362" y="171"/>
                    <a:pt x="377" y="184"/>
                    <a:pt x="375" y="174"/>
                  </a:cubicBezTo>
                  <a:cubicBezTo>
                    <a:pt x="380" y="177"/>
                    <a:pt x="373" y="200"/>
                    <a:pt x="370" y="204"/>
                  </a:cubicBezTo>
                  <a:cubicBezTo>
                    <a:pt x="368" y="205"/>
                    <a:pt x="367" y="208"/>
                    <a:pt x="364" y="207"/>
                  </a:cubicBezTo>
                  <a:cubicBezTo>
                    <a:pt x="370" y="200"/>
                    <a:pt x="364" y="195"/>
                    <a:pt x="359" y="193"/>
                  </a:cubicBezTo>
                  <a:cubicBezTo>
                    <a:pt x="355" y="191"/>
                    <a:pt x="357" y="199"/>
                    <a:pt x="356" y="200"/>
                  </a:cubicBezTo>
                  <a:cubicBezTo>
                    <a:pt x="352" y="203"/>
                    <a:pt x="345" y="198"/>
                    <a:pt x="340" y="200"/>
                  </a:cubicBezTo>
                  <a:cubicBezTo>
                    <a:pt x="335" y="191"/>
                    <a:pt x="333" y="182"/>
                    <a:pt x="340" y="174"/>
                  </a:cubicBezTo>
                  <a:close/>
                  <a:moveTo>
                    <a:pt x="340" y="300"/>
                  </a:moveTo>
                  <a:cubicBezTo>
                    <a:pt x="339" y="307"/>
                    <a:pt x="334" y="309"/>
                    <a:pt x="335" y="318"/>
                  </a:cubicBezTo>
                  <a:cubicBezTo>
                    <a:pt x="335" y="328"/>
                    <a:pt x="339" y="313"/>
                    <a:pt x="345" y="318"/>
                  </a:cubicBezTo>
                  <a:cubicBezTo>
                    <a:pt x="346" y="312"/>
                    <a:pt x="343" y="311"/>
                    <a:pt x="340" y="311"/>
                  </a:cubicBezTo>
                  <a:cubicBezTo>
                    <a:pt x="340" y="303"/>
                    <a:pt x="349" y="309"/>
                    <a:pt x="353" y="307"/>
                  </a:cubicBezTo>
                  <a:cubicBezTo>
                    <a:pt x="357" y="317"/>
                    <a:pt x="343" y="319"/>
                    <a:pt x="351" y="322"/>
                  </a:cubicBezTo>
                  <a:cubicBezTo>
                    <a:pt x="350" y="326"/>
                    <a:pt x="348" y="324"/>
                    <a:pt x="348" y="322"/>
                  </a:cubicBezTo>
                  <a:cubicBezTo>
                    <a:pt x="340" y="319"/>
                    <a:pt x="340" y="328"/>
                    <a:pt x="332" y="326"/>
                  </a:cubicBezTo>
                  <a:cubicBezTo>
                    <a:pt x="328" y="316"/>
                    <a:pt x="333" y="314"/>
                    <a:pt x="329" y="311"/>
                  </a:cubicBezTo>
                  <a:cubicBezTo>
                    <a:pt x="330" y="307"/>
                    <a:pt x="335" y="308"/>
                    <a:pt x="335" y="304"/>
                  </a:cubicBezTo>
                  <a:cubicBezTo>
                    <a:pt x="335" y="300"/>
                    <a:pt x="338" y="301"/>
                    <a:pt x="340" y="300"/>
                  </a:cubicBezTo>
                  <a:close/>
                  <a:moveTo>
                    <a:pt x="335" y="296"/>
                  </a:moveTo>
                  <a:cubicBezTo>
                    <a:pt x="331" y="294"/>
                    <a:pt x="330" y="288"/>
                    <a:pt x="329" y="281"/>
                  </a:cubicBezTo>
                  <a:cubicBezTo>
                    <a:pt x="334" y="282"/>
                    <a:pt x="335" y="288"/>
                    <a:pt x="335" y="296"/>
                  </a:cubicBezTo>
                  <a:close/>
                  <a:moveTo>
                    <a:pt x="324" y="163"/>
                  </a:moveTo>
                  <a:cubicBezTo>
                    <a:pt x="324" y="170"/>
                    <a:pt x="324" y="178"/>
                    <a:pt x="324" y="185"/>
                  </a:cubicBezTo>
                  <a:cubicBezTo>
                    <a:pt x="327" y="183"/>
                    <a:pt x="327" y="177"/>
                    <a:pt x="332" y="178"/>
                  </a:cubicBezTo>
                  <a:cubicBezTo>
                    <a:pt x="334" y="193"/>
                    <a:pt x="313" y="206"/>
                    <a:pt x="313" y="185"/>
                  </a:cubicBezTo>
                  <a:cubicBezTo>
                    <a:pt x="316" y="185"/>
                    <a:pt x="315" y="190"/>
                    <a:pt x="316" y="193"/>
                  </a:cubicBezTo>
                  <a:cubicBezTo>
                    <a:pt x="321" y="194"/>
                    <a:pt x="320" y="176"/>
                    <a:pt x="313" y="182"/>
                  </a:cubicBezTo>
                  <a:cubicBezTo>
                    <a:pt x="320" y="172"/>
                    <a:pt x="310" y="170"/>
                    <a:pt x="310" y="159"/>
                  </a:cubicBezTo>
                  <a:cubicBezTo>
                    <a:pt x="315" y="152"/>
                    <a:pt x="318" y="161"/>
                    <a:pt x="324" y="163"/>
                  </a:cubicBezTo>
                  <a:close/>
                  <a:moveTo>
                    <a:pt x="308" y="241"/>
                  </a:moveTo>
                  <a:cubicBezTo>
                    <a:pt x="316" y="246"/>
                    <a:pt x="318" y="237"/>
                    <a:pt x="321" y="248"/>
                  </a:cubicBezTo>
                  <a:cubicBezTo>
                    <a:pt x="323" y="246"/>
                    <a:pt x="326" y="244"/>
                    <a:pt x="329" y="244"/>
                  </a:cubicBezTo>
                  <a:cubicBezTo>
                    <a:pt x="330" y="248"/>
                    <a:pt x="328" y="248"/>
                    <a:pt x="326" y="248"/>
                  </a:cubicBezTo>
                  <a:cubicBezTo>
                    <a:pt x="319" y="255"/>
                    <a:pt x="326" y="266"/>
                    <a:pt x="326" y="274"/>
                  </a:cubicBezTo>
                  <a:cubicBezTo>
                    <a:pt x="327" y="282"/>
                    <a:pt x="324" y="291"/>
                    <a:pt x="326" y="296"/>
                  </a:cubicBezTo>
                  <a:cubicBezTo>
                    <a:pt x="323" y="296"/>
                    <a:pt x="319" y="296"/>
                    <a:pt x="318" y="300"/>
                  </a:cubicBezTo>
                  <a:cubicBezTo>
                    <a:pt x="312" y="292"/>
                    <a:pt x="326" y="281"/>
                    <a:pt x="321" y="263"/>
                  </a:cubicBezTo>
                  <a:cubicBezTo>
                    <a:pt x="321" y="266"/>
                    <a:pt x="307" y="266"/>
                    <a:pt x="313" y="259"/>
                  </a:cubicBezTo>
                  <a:cubicBezTo>
                    <a:pt x="313" y="259"/>
                    <a:pt x="318" y="260"/>
                    <a:pt x="318" y="259"/>
                  </a:cubicBezTo>
                  <a:cubicBezTo>
                    <a:pt x="318" y="258"/>
                    <a:pt x="314" y="249"/>
                    <a:pt x="313" y="248"/>
                  </a:cubicBezTo>
                  <a:cubicBezTo>
                    <a:pt x="311" y="247"/>
                    <a:pt x="309" y="251"/>
                    <a:pt x="310" y="252"/>
                  </a:cubicBezTo>
                  <a:cubicBezTo>
                    <a:pt x="314" y="256"/>
                    <a:pt x="310" y="255"/>
                    <a:pt x="308" y="252"/>
                  </a:cubicBezTo>
                  <a:cubicBezTo>
                    <a:pt x="305" y="248"/>
                    <a:pt x="308" y="249"/>
                    <a:pt x="308" y="241"/>
                  </a:cubicBezTo>
                  <a:close/>
                  <a:moveTo>
                    <a:pt x="308" y="270"/>
                  </a:moveTo>
                  <a:cubicBezTo>
                    <a:pt x="308" y="261"/>
                    <a:pt x="312" y="275"/>
                    <a:pt x="318" y="270"/>
                  </a:cubicBezTo>
                  <a:cubicBezTo>
                    <a:pt x="317" y="278"/>
                    <a:pt x="313" y="282"/>
                    <a:pt x="310" y="289"/>
                  </a:cubicBezTo>
                  <a:cubicBezTo>
                    <a:pt x="305" y="287"/>
                    <a:pt x="312" y="273"/>
                    <a:pt x="308" y="270"/>
                  </a:cubicBezTo>
                  <a:close/>
                  <a:moveTo>
                    <a:pt x="313" y="311"/>
                  </a:moveTo>
                  <a:cubicBezTo>
                    <a:pt x="318" y="310"/>
                    <a:pt x="321" y="312"/>
                    <a:pt x="321" y="318"/>
                  </a:cubicBezTo>
                  <a:cubicBezTo>
                    <a:pt x="316" y="317"/>
                    <a:pt x="309" y="317"/>
                    <a:pt x="310" y="307"/>
                  </a:cubicBezTo>
                  <a:cubicBezTo>
                    <a:pt x="303" y="306"/>
                    <a:pt x="313" y="328"/>
                    <a:pt x="302" y="322"/>
                  </a:cubicBezTo>
                  <a:cubicBezTo>
                    <a:pt x="303" y="313"/>
                    <a:pt x="303" y="304"/>
                    <a:pt x="297" y="304"/>
                  </a:cubicBezTo>
                  <a:cubicBezTo>
                    <a:pt x="293" y="305"/>
                    <a:pt x="298" y="308"/>
                    <a:pt x="297" y="315"/>
                  </a:cubicBezTo>
                  <a:cubicBezTo>
                    <a:pt x="289" y="318"/>
                    <a:pt x="292" y="306"/>
                    <a:pt x="292" y="300"/>
                  </a:cubicBezTo>
                  <a:cubicBezTo>
                    <a:pt x="299" y="295"/>
                    <a:pt x="306" y="311"/>
                    <a:pt x="305" y="296"/>
                  </a:cubicBezTo>
                  <a:cubicBezTo>
                    <a:pt x="312" y="295"/>
                    <a:pt x="312" y="304"/>
                    <a:pt x="313" y="311"/>
                  </a:cubicBezTo>
                  <a:close/>
                  <a:moveTo>
                    <a:pt x="292" y="159"/>
                  </a:moveTo>
                  <a:cubicBezTo>
                    <a:pt x="297" y="166"/>
                    <a:pt x="296" y="157"/>
                    <a:pt x="305" y="159"/>
                  </a:cubicBezTo>
                  <a:cubicBezTo>
                    <a:pt x="307" y="167"/>
                    <a:pt x="289" y="173"/>
                    <a:pt x="292" y="159"/>
                  </a:cubicBezTo>
                  <a:close/>
                  <a:moveTo>
                    <a:pt x="286" y="174"/>
                  </a:moveTo>
                  <a:cubicBezTo>
                    <a:pt x="293" y="173"/>
                    <a:pt x="292" y="181"/>
                    <a:pt x="300" y="178"/>
                  </a:cubicBezTo>
                  <a:cubicBezTo>
                    <a:pt x="298" y="181"/>
                    <a:pt x="297" y="184"/>
                    <a:pt x="297" y="189"/>
                  </a:cubicBezTo>
                  <a:cubicBezTo>
                    <a:pt x="293" y="185"/>
                    <a:pt x="285" y="186"/>
                    <a:pt x="286" y="174"/>
                  </a:cubicBezTo>
                  <a:close/>
                  <a:moveTo>
                    <a:pt x="289" y="255"/>
                  </a:moveTo>
                  <a:cubicBezTo>
                    <a:pt x="287" y="255"/>
                    <a:pt x="286" y="252"/>
                    <a:pt x="283" y="252"/>
                  </a:cubicBezTo>
                  <a:cubicBezTo>
                    <a:pt x="283" y="249"/>
                    <a:pt x="283" y="247"/>
                    <a:pt x="283" y="244"/>
                  </a:cubicBezTo>
                  <a:cubicBezTo>
                    <a:pt x="289" y="243"/>
                    <a:pt x="289" y="250"/>
                    <a:pt x="289" y="255"/>
                  </a:cubicBezTo>
                  <a:close/>
                  <a:moveTo>
                    <a:pt x="283" y="189"/>
                  </a:moveTo>
                  <a:cubicBezTo>
                    <a:pt x="278" y="188"/>
                    <a:pt x="282" y="177"/>
                    <a:pt x="275" y="178"/>
                  </a:cubicBezTo>
                  <a:cubicBezTo>
                    <a:pt x="279" y="167"/>
                    <a:pt x="287" y="178"/>
                    <a:pt x="283" y="189"/>
                  </a:cubicBezTo>
                  <a:close/>
                  <a:moveTo>
                    <a:pt x="278" y="248"/>
                  </a:moveTo>
                  <a:cubicBezTo>
                    <a:pt x="274" y="246"/>
                    <a:pt x="273" y="240"/>
                    <a:pt x="273" y="233"/>
                  </a:cubicBezTo>
                  <a:cubicBezTo>
                    <a:pt x="277" y="234"/>
                    <a:pt x="279" y="240"/>
                    <a:pt x="278" y="248"/>
                  </a:cubicBezTo>
                  <a:close/>
                  <a:moveTo>
                    <a:pt x="267" y="174"/>
                  </a:moveTo>
                  <a:cubicBezTo>
                    <a:pt x="269" y="174"/>
                    <a:pt x="271" y="174"/>
                    <a:pt x="273" y="174"/>
                  </a:cubicBezTo>
                  <a:cubicBezTo>
                    <a:pt x="273" y="177"/>
                    <a:pt x="273" y="179"/>
                    <a:pt x="273" y="182"/>
                  </a:cubicBezTo>
                  <a:cubicBezTo>
                    <a:pt x="271" y="182"/>
                    <a:pt x="269" y="182"/>
                    <a:pt x="267" y="182"/>
                  </a:cubicBezTo>
                  <a:cubicBezTo>
                    <a:pt x="267" y="179"/>
                    <a:pt x="267" y="177"/>
                    <a:pt x="267" y="174"/>
                  </a:cubicBezTo>
                  <a:close/>
                  <a:moveTo>
                    <a:pt x="276" y="259"/>
                  </a:moveTo>
                  <a:cubicBezTo>
                    <a:pt x="277" y="257"/>
                    <a:pt x="279" y="253"/>
                    <a:pt x="278" y="252"/>
                  </a:cubicBezTo>
                  <a:cubicBezTo>
                    <a:pt x="281" y="254"/>
                    <a:pt x="279" y="256"/>
                    <a:pt x="281" y="259"/>
                  </a:cubicBezTo>
                  <a:cubicBezTo>
                    <a:pt x="283" y="262"/>
                    <a:pt x="289" y="264"/>
                    <a:pt x="286" y="278"/>
                  </a:cubicBezTo>
                  <a:cubicBezTo>
                    <a:pt x="284" y="284"/>
                    <a:pt x="283" y="275"/>
                    <a:pt x="283" y="270"/>
                  </a:cubicBezTo>
                  <a:cubicBezTo>
                    <a:pt x="284" y="266"/>
                    <a:pt x="275" y="260"/>
                    <a:pt x="270" y="259"/>
                  </a:cubicBezTo>
                  <a:cubicBezTo>
                    <a:pt x="268" y="259"/>
                    <a:pt x="265" y="266"/>
                    <a:pt x="265" y="259"/>
                  </a:cubicBezTo>
                  <a:cubicBezTo>
                    <a:pt x="257" y="254"/>
                    <a:pt x="274" y="257"/>
                    <a:pt x="276" y="259"/>
                  </a:cubicBezTo>
                  <a:close/>
                  <a:moveTo>
                    <a:pt x="259" y="237"/>
                  </a:moveTo>
                  <a:cubicBezTo>
                    <a:pt x="263" y="238"/>
                    <a:pt x="260" y="248"/>
                    <a:pt x="265" y="248"/>
                  </a:cubicBezTo>
                  <a:cubicBezTo>
                    <a:pt x="264" y="257"/>
                    <a:pt x="257" y="245"/>
                    <a:pt x="259" y="237"/>
                  </a:cubicBezTo>
                  <a:close/>
                  <a:moveTo>
                    <a:pt x="257" y="270"/>
                  </a:moveTo>
                  <a:cubicBezTo>
                    <a:pt x="250" y="282"/>
                    <a:pt x="261" y="262"/>
                    <a:pt x="254" y="263"/>
                  </a:cubicBezTo>
                  <a:cubicBezTo>
                    <a:pt x="255" y="249"/>
                    <a:pt x="265" y="271"/>
                    <a:pt x="257" y="270"/>
                  </a:cubicBezTo>
                  <a:close/>
                  <a:moveTo>
                    <a:pt x="251" y="174"/>
                  </a:moveTo>
                  <a:cubicBezTo>
                    <a:pt x="253" y="174"/>
                    <a:pt x="255" y="174"/>
                    <a:pt x="257" y="174"/>
                  </a:cubicBezTo>
                  <a:cubicBezTo>
                    <a:pt x="257" y="177"/>
                    <a:pt x="257" y="179"/>
                    <a:pt x="257" y="182"/>
                  </a:cubicBezTo>
                  <a:cubicBezTo>
                    <a:pt x="255" y="182"/>
                    <a:pt x="253" y="182"/>
                    <a:pt x="251" y="182"/>
                  </a:cubicBezTo>
                  <a:cubicBezTo>
                    <a:pt x="251" y="179"/>
                    <a:pt x="251" y="177"/>
                    <a:pt x="251" y="174"/>
                  </a:cubicBezTo>
                  <a:close/>
                  <a:moveTo>
                    <a:pt x="249" y="289"/>
                  </a:moveTo>
                  <a:cubicBezTo>
                    <a:pt x="251" y="289"/>
                    <a:pt x="251" y="284"/>
                    <a:pt x="251" y="281"/>
                  </a:cubicBezTo>
                  <a:cubicBezTo>
                    <a:pt x="253" y="283"/>
                    <a:pt x="257" y="285"/>
                    <a:pt x="257" y="289"/>
                  </a:cubicBezTo>
                  <a:cubicBezTo>
                    <a:pt x="256" y="289"/>
                    <a:pt x="251" y="293"/>
                    <a:pt x="251" y="292"/>
                  </a:cubicBezTo>
                  <a:cubicBezTo>
                    <a:pt x="251" y="299"/>
                    <a:pt x="257" y="302"/>
                    <a:pt x="254" y="311"/>
                  </a:cubicBezTo>
                  <a:cubicBezTo>
                    <a:pt x="241" y="308"/>
                    <a:pt x="251" y="297"/>
                    <a:pt x="246" y="285"/>
                  </a:cubicBezTo>
                  <a:cubicBezTo>
                    <a:pt x="248" y="284"/>
                    <a:pt x="248" y="286"/>
                    <a:pt x="249" y="289"/>
                  </a:cubicBezTo>
                  <a:close/>
                  <a:moveTo>
                    <a:pt x="243" y="274"/>
                  </a:moveTo>
                  <a:cubicBezTo>
                    <a:pt x="240" y="279"/>
                    <a:pt x="242" y="275"/>
                    <a:pt x="240" y="270"/>
                  </a:cubicBezTo>
                  <a:cubicBezTo>
                    <a:pt x="240" y="270"/>
                    <a:pt x="238" y="270"/>
                    <a:pt x="238" y="270"/>
                  </a:cubicBezTo>
                  <a:cubicBezTo>
                    <a:pt x="238" y="265"/>
                    <a:pt x="240" y="270"/>
                    <a:pt x="240" y="270"/>
                  </a:cubicBezTo>
                  <a:cubicBezTo>
                    <a:pt x="245" y="273"/>
                    <a:pt x="246" y="271"/>
                    <a:pt x="243" y="274"/>
                  </a:cubicBezTo>
                  <a:close/>
                  <a:moveTo>
                    <a:pt x="227" y="304"/>
                  </a:moveTo>
                  <a:cubicBezTo>
                    <a:pt x="226" y="296"/>
                    <a:pt x="239" y="298"/>
                    <a:pt x="235" y="307"/>
                  </a:cubicBezTo>
                  <a:cubicBezTo>
                    <a:pt x="233" y="307"/>
                    <a:pt x="231" y="307"/>
                    <a:pt x="230" y="307"/>
                  </a:cubicBezTo>
                  <a:cubicBezTo>
                    <a:pt x="230" y="304"/>
                    <a:pt x="229" y="304"/>
                    <a:pt x="227" y="304"/>
                  </a:cubicBezTo>
                  <a:close/>
                  <a:moveTo>
                    <a:pt x="235" y="278"/>
                  </a:moveTo>
                  <a:cubicBezTo>
                    <a:pt x="238" y="279"/>
                    <a:pt x="237" y="285"/>
                    <a:pt x="240" y="285"/>
                  </a:cubicBezTo>
                  <a:cubicBezTo>
                    <a:pt x="239" y="295"/>
                    <a:pt x="232" y="285"/>
                    <a:pt x="235" y="278"/>
                  </a:cubicBezTo>
                  <a:close/>
                  <a:moveTo>
                    <a:pt x="235" y="244"/>
                  </a:moveTo>
                  <a:cubicBezTo>
                    <a:pt x="238" y="245"/>
                    <a:pt x="237" y="252"/>
                    <a:pt x="240" y="252"/>
                  </a:cubicBezTo>
                  <a:cubicBezTo>
                    <a:pt x="240" y="255"/>
                    <a:pt x="237" y="255"/>
                    <a:pt x="235" y="255"/>
                  </a:cubicBezTo>
                  <a:cubicBezTo>
                    <a:pt x="235" y="259"/>
                    <a:pt x="236" y="259"/>
                    <a:pt x="238" y="259"/>
                  </a:cubicBezTo>
                  <a:cubicBezTo>
                    <a:pt x="237" y="268"/>
                    <a:pt x="231" y="255"/>
                    <a:pt x="227" y="255"/>
                  </a:cubicBezTo>
                  <a:cubicBezTo>
                    <a:pt x="227" y="251"/>
                    <a:pt x="230" y="253"/>
                    <a:pt x="230" y="255"/>
                  </a:cubicBezTo>
                  <a:cubicBezTo>
                    <a:pt x="232" y="253"/>
                    <a:pt x="234" y="249"/>
                    <a:pt x="235" y="244"/>
                  </a:cubicBezTo>
                  <a:close/>
                  <a:moveTo>
                    <a:pt x="230" y="163"/>
                  </a:moveTo>
                  <a:cubicBezTo>
                    <a:pt x="231" y="162"/>
                    <a:pt x="222" y="159"/>
                    <a:pt x="222" y="159"/>
                  </a:cubicBezTo>
                  <a:cubicBezTo>
                    <a:pt x="221" y="153"/>
                    <a:pt x="236" y="154"/>
                    <a:pt x="230" y="163"/>
                  </a:cubicBezTo>
                  <a:close/>
                  <a:moveTo>
                    <a:pt x="222" y="244"/>
                  </a:moveTo>
                  <a:cubicBezTo>
                    <a:pt x="218" y="243"/>
                    <a:pt x="216" y="240"/>
                    <a:pt x="216" y="233"/>
                  </a:cubicBezTo>
                  <a:cubicBezTo>
                    <a:pt x="219" y="235"/>
                    <a:pt x="222" y="238"/>
                    <a:pt x="222" y="244"/>
                  </a:cubicBezTo>
                  <a:close/>
                  <a:moveTo>
                    <a:pt x="214" y="270"/>
                  </a:moveTo>
                  <a:cubicBezTo>
                    <a:pt x="212" y="260"/>
                    <a:pt x="226" y="273"/>
                    <a:pt x="224" y="263"/>
                  </a:cubicBezTo>
                  <a:cubicBezTo>
                    <a:pt x="230" y="265"/>
                    <a:pt x="220" y="277"/>
                    <a:pt x="222" y="285"/>
                  </a:cubicBezTo>
                  <a:cubicBezTo>
                    <a:pt x="221" y="299"/>
                    <a:pt x="215" y="274"/>
                    <a:pt x="222" y="278"/>
                  </a:cubicBezTo>
                  <a:cubicBezTo>
                    <a:pt x="220" y="274"/>
                    <a:pt x="217" y="272"/>
                    <a:pt x="214" y="270"/>
                  </a:cubicBezTo>
                  <a:close/>
                  <a:moveTo>
                    <a:pt x="216" y="337"/>
                  </a:moveTo>
                  <a:cubicBezTo>
                    <a:pt x="216" y="326"/>
                    <a:pt x="218" y="334"/>
                    <a:pt x="222" y="333"/>
                  </a:cubicBezTo>
                  <a:cubicBezTo>
                    <a:pt x="223" y="333"/>
                    <a:pt x="234" y="322"/>
                    <a:pt x="232" y="337"/>
                  </a:cubicBezTo>
                  <a:cubicBezTo>
                    <a:pt x="238" y="339"/>
                    <a:pt x="242" y="319"/>
                    <a:pt x="232" y="322"/>
                  </a:cubicBezTo>
                  <a:cubicBezTo>
                    <a:pt x="232" y="318"/>
                    <a:pt x="232" y="315"/>
                    <a:pt x="232" y="311"/>
                  </a:cubicBezTo>
                  <a:cubicBezTo>
                    <a:pt x="236" y="315"/>
                    <a:pt x="238" y="321"/>
                    <a:pt x="240" y="326"/>
                  </a:cubicBezTo>
                  <a:cubicBezTo>
                    <a:pt x="241" y="332"/>
                    <a:pt x="238" y="332"/>
                    <a:pt x="238" y="337"/>
                  </a:cubicBezTo>
                  <a:cubicBezTo>
                    <a:pt x="237" y="349"/>
                    <a:pt x="242" y="368"/>
                    <a:pt x="232" y="366"/>
                  </a:cubicBezTo>
                  <a:cubicBezTo>
                    <a:pt x="235" y="356"/>
                    <a:pt x="235" y="351"/>
                    <a:pt x="232" y="341"/>
                  </a:cubicBezTo>
                  <a:cubicBezTo>
                    <a:pt x="226" y="339"/>
                    <a:pt x="234" y="357"/>
                    <a:pt x="224" y="352"/>
                  </a:cubicBezTo>
                  <a:cubicBezTo>
                    <a:pt x="224" y="346"/>
                    <a:pt x="227" y="345"/>
                    <a:pt x="227" y="341"/>
                  </a:cubicBezTo>
                  <a:cubicBezTo>
                    <a:pt x="226" y="328"/>
                    <a:pt x="215" y="347"/>
                    <a:pt x="216" y="337"/>
                  </a:cubicBezTo>
                  <a:close/>
                  <a:moveTo>
                    <a:pt x="211" y="703"/>
                  </a:moveTo>
                  <a:cubicBezTo>
                    <a:pt x="210" y="696"/>
                    <a:pt x="203" y="696"/>
                    <a:pt x="205" y="684"/>
                  </a:cubicBezTo>
                  <a:cubicBezTo>
                    <a:pt x="208" y="684"/>
                    <a:pt x="211" y="684"/>
                    <a:pt x="214" y="684"/>
                  </a:cubicBezTo>
                  <a:cubicBezTo>
                    <a:pt x="216" y="693"/>
                    <a:pt x="215" y="705"/>
                    <a:pt x="222" y="707"/>
                  </a:cubicBezTo>
                  <a:cubicBezTo>
                    <a:pt x="221" y="712"/>
                    <a:pt x="215" y="710"/>
                    <a:pt x="211" y="710"/>
                  </a:cubicBezTo>
                  <a:cubicBezTo>
                    <a:pt x="209" y="707"/>
                    <a:pt x="208" y="704"/>
                    <a:pt x="211" y="703"/>
                  </a:cubicBezTo>
                  <a:close/>
                  <a:moveTo>
                    <a:pt x="214" y="795"/>
                  </a:moveTo>
                  <a:cubicBezTo>
                    <a:pt x="224" y="806"/>
                    <a:pt x="204" y="810"/>
                    <a:pt x="214" y="795"/>
                  </a:cubicBezTo>
                  <a:close/>
                  <a:moveTo>
                    <a:pt x="214" y="788"/>
                  </a:moveTo>
                  <a:cubicBezTo>
                    <a:pt x="212" y="779"/>
                    <a:pt x="218" y="780"/>
                    <a:pt x="216" y="770"/>
                  </a:cubicBezTo>
                  <a:cubicBezTo>
                    <a:pt x="219" y="772"/>
                    <a:pt x="222" y="774"/>
                    <a:pt x="227" y="773"/>
                  </a:cubicBezTo>
                  <a:cubicBezTo>
                    <a:pt x="227" y="777"/>
                    <a:pt x="224" y="776"/>
                    <a:pt x="222" y="777"/>
                  </a:cubicBezTo>
                  <a:cubicBezTo>
                    <a:pt x="221" y="783"/>
                    <a:pt x="224" y="784"/>
                    <a:pt x="227" y="784"/>
                  </a:cubicBezTo>
                  <a:cubicBezTo>
                    <a:pt x="228" y="790"/>
                    <a:pt x="216" y="793"/>
                    <a:pt x="224" y="795"/>
                  </a:cubicBezTo>
                  <a:cubicBezTo>
                    <a:pt x="222" y="806"/>
                    <a:pt x="218" y="787"/>
                    <a:pt x="214" y="788"/>
                  </a:cubicBezTo>
                  <a:close/>
                  <a:moveTo>
                    <a:pt x="227" y="832"/>
                  </a:moveTo>
                  <a:cubicBezTo>
                    <a:pt x="217" y="831"/>
                    <a:pt x="220" y="823"/>
                    <a:pt x="222" y="814"/>
                  </a:cubicBezTo>
                  <a:cubicBezTo>
                    <a:pt x="227" y="814"/>
                    <a:pt x="227" y="823"/>
                    <a:pt x="227" y="832"/>
                  </a:cubicBezTo>
                  <a:close/>
                  <a:moveTo>
                    <a:pt x="227" y="640"/>
                  </a:moveTo>
                  <a:cubicBezTo>
                    <a:pt x="230" y="629"/>
                    <a:pt x="236" y="642"/>
                    <a:pt x="238" y="644"/>
                  </a:cubicBezTo>
                  <a:cubicBezTo>
                    <a:pt x="237" y="653"/>
                    <a:pt x="231" y="640"/>
                    <a:pt x="227" y="640"/>
                  </a:cubicBezTo>
                  <a:close/>
                  <a:moveTo>
                    <a:pt x="232" y="559"/>
                  </a:moveTo>
                  <a:cubicBezTo>
                    <a:pt x="235" y="549"/>
                    <a:pt x="238" y="567"/>
                    <a:pt x="243" y="566"/>
                  </a:cubicBezTo>
                  <a:cubicBezTo>
                    <a:pt x="238" y="579"/>
                    <a:pt x="238" y="557"/>
                    <a:pt x="232" y="559"/>
                  </a:cubicBezTo>
                  <a:close/>
                  <a:moveTo>
                    <a:pt x="240" y="692"/>
                  </a:moveTo>
                  <a:cubicBezTo>
                    <a:pt x="243" y="689"/>
                    <a:pt x="243" y="684"/>
                    <a:pt x="243" y="677"/>
                  </a:cubicBezTo>
                  <a:cubicBezTo>
                    <a:pt x="248" y="676"/>
                    <a:pt x="248" y="698"/>
                    <a:pt x="240" y="692"/>
                  </a:cubicBezTo>
                  <a:close/>
                  <a:moveTo>
                    <a:pt x="246" y="592"/>
                  </a:moveTo>
                  <a:cubicBezTo>
                    <a:pt x="245" y="594"/>
                    <a:pt x="238" y="582"/>
                    <a:pt x="243" y="577"/>
                  </a:cubicBezTo>
                  <a:cubicBezTo>
                    <a:pt x="245" y="576"/>
                    <a:pt x="248" y="590"/>
                    <a:pt x="246" y="592"/>
                  </a:cubicBezTo>
                  <a:close/>
                  <a:moveTo>
                    <a:pt x="238" y="555"/>
                  </a:moveTo>
                  <a:cubicBezTo>
                    <a:pt x="238" y="547"/>
                    <a:pt x="250" y="554"/>
                    <a:pt x="249" y="544"/>
                  </a:cubicBezTo>
                  <a:cubicBezTo>
                    <a:pt x="252" y="550"/>
                    <a:pt x="264" y="545"/>
                    <a:pt x="267" y="551"/>
                  </a:cubicBezTo>
                  <a:cubicBezTo>
                    <a:pt x="262" y="560"/>
                    <a:pt x="249" y="542"/>
                    <a:pt x="249" y="562"/>
                  </a:cubicBezTo>
                  <a:cubicBezTo>
                    <a:pt x="244" y="561"/>
                    <a:pt x="246" y="551"/>
                    <a:pt x="238" y="555"/>
                  </a:cubicBezTo>
                  <a:close/>
                  <a:moveTo>
                    <a:pt x="249" y="651"/>
                  </a:moveTo>
                  <a:cubicBezTo>
                    <a:pt x="258" y="647"/>
                    <a:pt x="253" y="663"/>
                    <a:pt x="254" y="670"/>
                  </a:cubicBezTo>
                  <a:cubicBezTo>
                    <a:pt x="245" y="665"/>
                    <a:pt x="253" y="662"/>
                    <a:pt x="249" y="651"/>
                  </a:cubicBezTo>
                  <a:close/>
                  <a:moveTo>
                    <a:pt x="254" y="847"/>
                  </a:moveTo>
                  <a:cubicBezTo>
                    <a:pt x="250" y="846"/>
                    <a:pt x="252" y="838"/>
                    <a:pt x="251" y="832"/>
                  </a:cubicBezTo>
                  <a:cubicBezTo>
                    <a:pt x="262" y="831"/>
                    <a:pt x="253" y="840"/>
                    <a:pt x="254" y="847"/>
                  </a:cubicBezTo>
                  <a:close/>
                  <a:moveTo>
                    <a:pt x="262" y="633"/>
                  </a:moveTo>
                  <a:cubicBezTo>
                    <a:pt x="250" y="627"/>
                    <a:pt x="264" y="620"/>
                    <a:pt x="262" y="607"/>
                  </a:cubicBezTo>
                  <a:cubicBezTo>
                    <a:pt x="255" y="606"/>
                    <a:pt x="254" y="613"/>
                    <a:pt x="251" y="618"/>
                  </a:cubicBezTo>
                  <a:cubicBezTo>
                    <a:pt x="247" y="616"/>
                    <a:pt x="251" y="615"/>
                    <a:pt x="251" y="611"/>
                  </a:cubicBezTo>
                  <a:cubicBezTo>
                    <a:pt x="250" y="605"/>
                    <a:pt x="254" y="604"/>
                    <a:pt x="254" y="599"/>
                  </a:cubicBezTo>
                  <a:cubicBezTo>
                    <a:pt x="251" y="594"/>
                    <a:pt x="249" y="579"/>
                    <a:pt x="251" y="570"/>
                  </a:cubicBezTo>
                  <a:cubicBezTo>
                    <a:pt x="251" y="569"/>
                    <a:pt x="254" y="570"/>
                    <a:pt x="254" y="566"/>
                  </a:cubicBezTo>
                  <a:cubicBezTo>
                    <a:pt x="254" y="560"/>
                    <a:pt x="255" y="559"/>
                    <a:pt x="259" y="559"/>
                  </a:cubicBezTo>
                  <a:cubicBezTo>
                    <a:pt x="260" y="566"/>
                    <a:pt x="257" y="569"/>
                    <a:pt x="257" y="574"/>
                  </a:cubicBezTo>
                  <a:cubicBezTo>
                    <a:pt x="258" y="582"/>
                    <a:pt x="261" y="569"/>
                    <a:pt x="265" y="577"/>
                  </a:cubicBezTo>
                  <a:cubicBezTo>
                    <a:pt x="261" y="589"/>
                    <a:pt x="265" y="592"/>
                    <a:pt x="262" y="599"/>
                  </a:cubicBezTo>
                  <a:cubicBezTo>
                    <a:pt x="260" y="611"/>
                    <a:pt x="269" y="607"/>
                    <a:pt x="267" y="618"/>
                  </a:cubicBezTo>
                  <a:cubicBezTo>
                    <a:pt x="258" y="618"/>
                    <a:pt x="267" y="623"/>
                    <a:pt x="262" y="633"/>
                  </a:cubicBezTo>
                  <a:close/>
                  <a:moveTo>
                    <a:pt x="265" y="666"/>
                  </a:moveTo>
                  <a:cubicBezTo>
                    <a:pt x="269" y="667"/>
                    <a:pt x="270" y="662"/>
                    <a:pt x="275" y="662"/>
                  </a:cubicBezTo>
                  <a:cubicBezTo>
                    <a:pt x="273" y="664"/>
                    <a:pt x="264" y="682"/>
                    <a:pt x="265" y="666"/>
                  </a:cubicBezTo>
                  <a:close/>
                  <a:moveTo>
                    <a:pt x="278" y="766"/>
                  </a:moveTo>
                  <a:cubicBezTo>
                    <a:pt x="273" y="766"/>
                    <a:pt x="272" y="761"/>
                    <a:pt x="267" y="762"/>
                  </a:cubicBezTo>
                  <a:cubicBezTo>
                    <a:pt x="268" y="758"/>
                    <a:pt x="273" y="758"/>
                    <a:pt x="273" y="762"/>
                  </a:cubicBezTo>
                  <a:cubicBezTo>
                    <a:pt x="275" y="761"/>
                    <a:pt x="278" y="759"/>
                    <a:pt x="278" y="755"/>
                  </a:cubicBezTo>
                  <a:cubicBezTo>
                    <a:pt x="283" y="745"/>
                    <a:pt x="278" y="761"/>
                    <a:pt x="278" y="766"/>
                  </a:cubicBezTo>
                  <a:close/>
                  <a:moveTo>
                    <a:pt x="275" y="721"/>
                  </a:moveTo>
                  <a:cubicBezTo>
                    <a:pt x="275" y="717"/>
                    <a:pt x="280" y="716"/>
                    <a:pt x="281" y="714"/>
                  </a:cubicBezTo>
                  <a:cubicBezTo>
                    <a:pt x="282" y="710"/>
                    <a:pt x="272" y="697"/>
                    <a:pt x="283" y="699"/>
                  </a:cubicBezTo>
                  <a:cubicBezTo>
                    <a:pt x="283" y="702"/>
                    <a:pt x="281" y="703"/>
                    <a:pt x="281" y="707"/>
                  </a:cubicBezTo>
                  <a:cubicBezTo>
                    <a:pt x="279" y="713"/>
                    <a:pt x="288" y="712"/>
                    <a:pt x="289" y="714"/>
                  </a:cubicBezTo>
                  <a:cubicBezTo>
                    <a:pt x="290" y="718"/>
                    <a:pt x="284" y="717"/>
                    <a:pt x="283" y="718"/>
                  </a:cubicBezTo>
                  <a:cubicBezTo>
                    <a:pt x="282" y="723"/>
                    <a:pt x="292" y="724"/>
                    <a:pt x="289" y="733"/>
                  </a:cubicBezTo>
                  <a:cubicBezTo>
                    <a:pt x="279" y="737"/>
                    <a:pt x="285" y="719"/>
                    <a:pt x="275" y="721"/>
                  </a:cubicBezTo>
                  <a:close/>
                  <a:moveTo>
                    <a:pt x="281" y="766"/>
                  </a:moveTo>
                  <a:cubicBezTo>
                    <a:pt x="281" y="759"/>
                    <a:pt x="288" y="761"/>
                    <a:pt x="286" y="751"/>
                  </a:cubicBezTo>
                  <a:cubicBezTo>
                    <a:pt x="292" y="753"/>
                    <a:pt x="290" y="773"/>
                    <a:pt x="281" y="766"/>
                  </a:cubicBezTo>
                  <a:close/>
                  <a:moveTo>
                    <a:pt x="286" y="648"/>
                  </a:moveTo>
                  <a:cubicBezTo>
                    <a:pt x="286" y="643"/>
                    <a:pt x="286" y="638"/>
                    <a:pt x="286" y="633"/>
                  </a:cubicBezTo>
                  <a:cubicBezTo>
                    <a:pt x="289" y="634"/>
                    <a:pt x="291" y="636"/>
                    <a:pt x="292" y="640"/>
                  </a:cubicBezTo>
                  <a:cubicBezTo>
                    <a:pt x="294" y="640"/>
                    <a:pt x="294" y="636"/>
                    <a:pt x="294" y="633"/>
                  </a:cubicBezTo>
                  <a:cubicBezTo>
                    <a:pt x="304" y="636"/>
                    <a:pt x="296" y="650"/>
                    <a:pt x="286" y="648"/>
                  </a:cubicBezTo>
                  <a:close/>
                  <a:moveTo>
                    <a:pt x="297" y="777"/>
                  </a:moveTo>
                  <a:cubicBezTo>
                    <a:pt x="298" y="784"/>
                    <a:pt x="296" y="789"/>
                    <a:pt x="292" y="788"/>
                  </a:cubicBezTo>
                  <a:cubicBezTo>
                    <a:pt x="292" y="782"/>
                    <a:pt x="292" y="776"/>
                    <a:pt x="292" y="770"/>
                  </a:cubicBezTo>
                  <a:cubicBezTo>
                    <a:pt x="294" y="772"/>
                    <a:pt x="299" y="775"/>
                    <a:pt x="300" y="770"/>
                  </a:cubicBezTo>
                  <a:cubicBezTo>
                    <a:pt x="304" y="772"/>
                    <a:pt x="301" y="778"/>
                    <a:pt x="297" y="777"/>
                  </a:cubicBezTo>
                  <a:close/>
                  <a:moveTo>
                    <a:pt x="300" y="755"/>
                  </a:moveTo>
                  <a:cubicBezTo>
                    <a:pt x="300" y="755"/>
                    <a:pt x="300" y="750"/>
                    <a:pt x="302" y="751"/>
                  </a:cubicBezTo>
                  <a:cubicBezTo>
                    <a:pt x="300" y="751"/>
                    <a:pt x="306" y="756"/>
                    <a:pt x="305" y="755"/>
                  </a:cubicBezTo>
                  <a:cubicBezTo>
                    <a:pt x="307" y="759"/>
                    <a:pt x="286" y="756"/>
                    <a:pt x="300" y="755"/>
                  </a:cubicBezTo>
                  <a:close/>
                  <a:moveTo>
                    <a:pt x="361" y="825"/>
                  </a:moveTo>
                  <a:cubicBezTo>
                    <a:pt x="360" y="824"/>
                    <a:pt x="355" y="827"/>
                    <a:pt x="353" y="825"/>
                  </a:cubicBezTo>
                  <a:cubicBezTo>
                    <a:pt x="353" y="824"/>
                    <a:pt x="354" y="818"/>
                    <a:pt x="353" y="818"/>
                  </a:cubicBezTo>
                  <a:cubicBezTo>
                    <a:pt x="348" y="814"/>
                    <a:pt x="338" y="818"/>
                    <a:pt x="337" y="807"/>
                  </a:cubicBezTo>
                  <a:cubicBezTo>
                    <a:pt x="325" y="808"/>
                    <a:pt x="318" y="804"/>
                    <a:pt x="316" y="792"/>
                  </a:cubicBezTo>
                  <a:cubicBezTo>
                    <a:pt x="312" y="796"/>
                    <a:pt x="309" y="796"/>
                    <a:pt x="305" y="792"/>
                  </a:cubicBezTo>
                  <a:cubicBezTo>
                    <a:pt x="304" y="780"/>
                    <a:pt x="310" y="776"/>
                    <a:pt x="308" y="762"/>
                  </a:cubicBezTo>
                  <a:cubicBezTo>
                    <a:pt x="311" y="748"/>
                    <a:pt x="310" y="801"/>
                    <a:pt x="316" y="773"/>
                  </a:cubicBezTo>
                  <a:cubicBezTo>
                    <a:pt x="325" y="774"/>
                    <a:pt x="309" y="789"/>
                    <a:pt x="318" y="792"/>
                  </a:cubicBezTo>
                  <a:cubicBezTo>
                    <a:pt x="322" y="787"/>
                    <a:pt x="322" y="778"/>
                    <a:pt x="326" y="773"/>
                  </a:cubicBezTo>
                  <a:cubicBezTo>
                    <a:pt x="326" y="771"/>
                    <a:pt x="326" y="768"/>
                    <a:pt x="326" y="766"/>
                  </a:cubicBezTo>
                  <a:cubicBezTo>
                    <a:pt x="330" y="766"/>
                    <a:pt x="329" y="773"/>
                    <a:pt x="329" y="777"/>
                  </a:cubicBezTo>
                  <a:cubicBezTo>
                    <a:pt x="329" y="781"/>
                    <a:pt x="333" y="779"/>
                    <a:pt x="335" y="781"/>
                  </a:cubicBezTo>
                  <a:cubicBezTo>
                    <a:pt x="337" y="785"/>
                    <a:pt x="334" y="793"/>
                    <a:pt x="337" y="795"/>
                  </a:cubicBezTo>
                  <a:cubicBezTo>
                    <a:pt x="342" y="794"/>
                    <a:pt x="339" y="781"/>
                    <a:pt x="348" y="784"/>
                  </a:cubicBezTo>
                  <a:cubicBezTo>
                    <a:pt x="347" y="789"/>
                    <a:pt x="343" y="790"/>
                    <a:pt x="343" y="795"/>
                  </a:cubicBezTo>
                  <a:cubicBezTo>
                    <a:pt x="343" y="803"/>
                    <a:pt x="352" y="791"/>
                    <a:pt x="359" y="795"/>
                  </a:cubicBezTo>
                  <a:cubicBezTo>
                    <a:pt x="359" y="813"/>
                    <a:pt x="366" y="808"/>
                    <a:pt x="361" y="825"/>
                  </a:cubicBezTo>
                  <a:close/>
                  <a:moveTo>
                    <a:pt x="415" y="851"/>
                  </a:moveTo>
                  <a:cubicBezTo>
                    <a:pt x="407" y="853"/>
                    <a:pt x="414" y="833"/>
                    <a:pt x="404" y="836"/>
                  </a:cubicBezTo>
                  <a:cubicBezTo>
                    <a:pt x="400" y="838"/>
                    <a:pt x="405" y="841"/>
                    <a:pt x="404" y="847"/>
                  </a:cubicBezTo>
                  <a:cubicBezTo>
                    <a:pt x="399" y="847"/>
                    <a:pt x="401" y="840"/>
                    <a:pt x="399" y="836"/>
                  </a:cubicBezTo>
                  <a:cubicBezTo>
                    <a:pt x="396" y="830"/>
                    <a:pt x="395" y="830"/>
                    <a:pt x="391" y="825"/>
                  </a:cubicBezTo>
                  <a:cubicBezTo>
                    <a:pt x="387" y="828"/>
                    <a:pt x="392" y="831"/>
                    <a:pt x="388" y="840"/>
                  </a:cubicBezTo>
                  <a:cubicBezTo>
                    <a:pt x="386" y="840"/>
                    <a:pt x="386" y="835"/>
                    <a:pt x="386" y="832"/>
                  </a:cubicBezTo>
                  <a:cubicBezTo>
                    <a:pt x="378" y="829"/>
                    <a:pt x="379" y="838"/>
                    <a:pt x="372" y="836"/>
                  </a:cubicBezTo>
                  <a:cubicBezTo>
                    <a:pt x="371" y="835"/>
                    <a:pt x="368" y="818"/>
                    <a:pt x="367" y="829"/>
                  </a:cubicBezTo>
                  <a:cubicBezTo>
                    <a:pt x="361" y="830"/>
                    <a:pt x="367" y="818"/>
                    <a:pt x="370" y="818"/>
                  </a:cubicBezTo>
                  <a:cubicBezTo>
                    <a:pt x="367" y="809"/>
                    <a:pt x="365" y="798"/>
                    <a:pt x="378" y="795"/>
                  </a:cubicBezTo>
                  <a:cubicBezTo>
                    <a:pt x="376" y="803"/>
                    <a:pt x="383" y="804"/>
                    <a:pt x="383" y="799"/>
                  </a:cubicBezTo>
                  <a:cubicBezTo>
                    <a:pt x="388" y="802"/>
                    <a:pt x="383" y="806"/>
                    <a:pt x="383" y="810"/>
                  </a:cubicBezTo>
                  <a:cubicBezTo>
                    <a:pt x="386" y="817"/>
                    <a:pt x="386" y="807"/>
                    <a:pt x="391" y="814"/>
                  </a:cubicBezTo>
                  <a:cubicBezTo>
                    <a:pt x="397" y="822"/>
                    <a:pt x="394" y="802"/>
                    <a:pt x="402" y="807"/>
                  </a:cubicBezTo>
                  <a:cubicBezTo>
                    <a:pt x="403" y="816"/>
                    <a:pt x="403" y="827"/>
                    <a:pt x="407" y="832"/>
                  </a:cubicBezTo>
                  <a:cubicBezTo>
                    <a:pt x="415" y="832"/>
                    <a:pt x="401" y="822"/>
                    <a:pt x="412" y="825"/>
                  </a:cubicBezTo>
                  <a:cubicBezTo>
                    <a:pt x="410" y="838"/>
                    <a:pt x="417" y="839"/>
                    <a:pt x="415" y="851"/>
                  </a:cubicBezTo>
                  <a:close/>
                  <a:moveTo>
                    <a:pt x="466" y="866"/>
                  </a:moveTo>
                  <a:cubicBezTo>
                    <a:pt x="465" y="863"/>
                    <a:pt x="475" y="860"/>
                    <a:pt x="477" y="862"/>
                  </a:cubicBezTo>
                  <a:cubicBezTo>
                    <a:pt x="478" y="864"/>
                    <a:pt x="470" y="873"/>
                    <a:pt x="466" y="866"/>
                  </a:cubicBezTo>
                  <a:close/>
                  <a:moveTo>
                    <a:pt x="485" y="807"/>
                  </a:moveTo>
                  <a:cubicBezTo>
                    <a:pt x="482" y="797"/>
                    <a:pt x="477" y="818"/>
                    <a:pt x="472" y="818"/>
                  </a:cubicBezTo>
                  <a:cubicBezTo>
                    <a:pt x="468" y="837"/>
                    <a:pt x="482" y="845"/>
                    <a:pt x="474" y="858"/>
                  </a:cubicBezTo>
                  <a:cubicBezTo>
                    <a:pt x="469" y="858"/>
                    <a:pt x="473" y="846"/>
                    <a:pt x="469" y="844"/>
                  </a:cubicBezTo>
                  <a:cubicBezTo>
                    <a:pt x="464" y="843"/>
                    <a:pt x="468" y="855"/>
                    <a:pt x="466" y="858"/>
                  </a:cubicBezTo>
                  <a:cubicBezTo>
                    <a:pt x="466" y="859"/>
                    <a:pt x="454" y="847"/>
                    <a:pt x="458" y="862"/>
                  </a:cubicBezTo>
                  <a:cubicBezTo>
                    <a:pt x="451" y="866"/>
                    <a:pt x="445" y="851"/>
                    <a:pt x="442" y="862"/>
                  </a:cubicBezTo>
                  <a:cubicBezTo>
                    <a:pt x="438" y="857"/>
                    <a:pt x="439" y="844"/>
                    <a:pt x="431" y="844"/>
                  </a:cubicBezTo>
                  <a:cubicBezTo>
                    <a:pt x="428" y="844"/>
                    <a:pt x="429" y="851"/>
                    <a:pt x="431" y="851"/>
                  </a:cubicBezTo>
                  <a:cubicBezTo>
                    <a:pt x="430" y="862"/>
                    <a:pt x="418" y="849"/>
                    <a:pt x="418" y="847"/>
                  </a:cubicBezTo>
                  <a:cubicBezTo>
                    <a:pt x="418" y="845"/>
                    <a:pt x="426" y="835"/>
                    <a:pt x="415" y="836"/>
                  </a:cubicBezTo>
                  <a:cubicBezTo>
                    <a:pt x="415" y="829"/>
                    <a:pt x="419" y="828"/>
                    <a:pt x="418" y="821"/>
                  </a:cubicBezTo>
                  <a:cubicBezTo>
                    <a:pt x="428" y="819"/>
                    <a:pt x="430" y="827"/>
                    <a:pt x="429" y="840"/>
                  </a:cubicBezTo>
                  <a:cubicBezTo>
                    <a:pt x="431" y="838"/>
                    <a:pt x="433" y="836"/>
                    <a:pt x="437" y="836"/>
                  </a:cubicBezTo>
                  <a:cubicBezTo>
                    <a:pt x="437" y="830"/>
                    <a:pt x="435" y="827"/>
                    <a:pt x="431" y="825"/>
                  </a:cubicBezTo>
                  <a:cubicBezTo>
                    <a:pt x="431" y="814"/>
                    <a:pt x="439" y="834"/>
                    <a:pt x="439" y="821"/>
                  </a:cubicBezTo>
                  <a:cubicBezTo>
                    <a:pt x="444" y="822"/>
                    <a:pt x="441" y="834"/>
                    <a:pt x="445" y="836"/>
                  </a:cubicBezTo>
                  <a:cubicBezTo>
                    <a:pt x="447" y="834"/>
                    <a:pt x="448" y="828"/>
                    <a:pt x="453" y="829"/>
                  </a:cubicBezTo>
                  <a:cubicBezTo>
                    <a:pt x="455" y="839"/>
                    <a:pt x="447" y="836"/>
                    <a:pt x="447" y="844"/>
                  </a:cubicBezTo>
                  <a:cubicBezTo>
                    <a:pt x="450" y="855"/>
                    <a:pt x="455" y="832"/>
                    <a:pt x="458" y="836"/>
                  </a:cubicBezTo>
                  <a:cubicBezTo>
                    <a:pt x="462" y="842"/>
                    <a:pt x="461" y="833"/>
                    <a:pt x="469" y="832"/>
                  </a:cubicBezTo>
                  <a:cubicBezTo>
                    <a:pt x="470" y="824"/>
                    <a:pt x="464" y="824"/>
                    <a:pt x="466" y="814"/>
                  </a:cubicBezTo>
                  <a:cubicBezTo>
                    <a:pt x="475" y="817"/>
                    <a:pt x="471" y="804"/>
                    <a:pt x="480" y="807"/>
                  </a:cubicBezTo>
                  <a:cubicBezTo>
                    <a:pt x="479" y="802"/>
                    <a:pt x="475" y="803"/>
                    <a:pt x="472" y="803"/>
                  </a:cubicBezTo>
                  <a:cubicBezTo>
                    <a:pt x="478" y="789"/>
                    <a:pt x="490" y="800"/>
                    <a:pt x="496" y="807"/>
                  </a:cubicBezTo>
                  <a:cubicBezTo>
                    <a:pt x="497" y="820"/>
                    <a:pt x="478" y="810"/>
                    <a:pt x="485" y="807"/>
                  </a:cubicBezTo>
                  <a:close/>
                  <a:moveTo>
                    <a:pt x="493" y="858"/>
                  </a:moveTo>
                  <a:cubicBezTo>
                    <a:pt x="490" y="857"/>
                    <a:pt x="488" y="854"/>
                    <a:pt x="488" y="847"/>
                  </a:cubicBezTo>
                  <a:cubicBezTo>
                    <a:pt x="491" y="849"/>
                    <a:pt x="493" y="852"/>
                    <a:pt x="493" y="858"/>
                  </a:cubicBezTo>
                  <a:close/>
                  <a:moveTo>
                    <a:pt x="501" y="877"/>
                  </a:moveTo>
                  <a:cubicBezTo>
                    <a:pt x="499" y="877"/>
                    <a:pt x="499" y="872"/>
                    <a:pt x="499" y="869"/>
                  </a:cubicBezTo>
                  <a:cubicBezTo>
                    <a:pt x="494" y="869"/>
                    <a:pt x="493" y="874"/>
                    <a:pt x="488" y="873"/>
                  </a:cubicBezTo>
                  <a:cubicBezTo>
                    <a:pt x="488" y="869"/>
                    <a:pt x="488" y="866"/>
                    <a:pt x="488" y="862"/>
                  </a:cubicBezTo>
                  <a:cubicBezTo>
                    <a:pt x="492" y="867"/>
                    <a:pt x="510" y="865"/>
                    <a:pt x="501" y="877"/>
                  </a:cubicBezTo>
                  <a:close/>
                  <a:moveTo>
                    <a:pt x="590" y="45"/>
                  </a:moveTo>
                  <a:cubicBezTo>
                    <a:pt x="589" y="30"/>
                    <a:pt x="606" y="42"/>
                    <a:pt x="606" y="30"/>
                  </a:cubicBezTo>
                  <a:cubicBezTo>
                    <a:pt x="613" y="35"/>
                    <a:pt x="593" y="53"/>
                    <a:pt x="590" y="45"/>
                  </a:cubicBezTo>
                  <a:close/>
                  <a:moveTo>
                    <a:pt x="612" y="137"/>
                  </a:moveTo>
                  <a:cubicBezTo>
                    <a:pt x="609" y="136"/>
                    <a:pt x="609" y="133"/>
                    <a:pt x="606" y="133"/>
                  </a:cubicBezTo>
                  <a:cubicBezTo>
                    <a:pt x="606" y="125"/>
                    <a:pt x="619" y="130"/>
                    <a:pt x="612" y="137"/>
                  </a:cubicBezTo>
                  <a:close/>
                  <a:moveTo>
                    <a:pt x="636" y="126"/>
                  </a:moveTo>
                  <a:cubicBezTo>
                    <a:pt x="647" y="128"/>
                    <a:pt x="633" y="147"/>
                    <a:pt x="636" y="126"/>
                  </a:cubicBezTo>
                  <a:close/>
                  <a:moveTo>
                    <a:pt x="644" y="137"/>
                  </a:moveTo>
                  <a:cubicBezTo>
                    <a:pt x="645" y="127"/>
                    <a:pt x="658" y="120"/>
                    <a:pt x="657" y="137"/>
                  </a:cubicBezTo>
                  <a:cubicBezTo>
                    <a:pt x="652" y="144"/>
                    <a:pt x="652" y="135"/>
                    <a:pt x="644" y="137"/>
                  </a:cubicBezTo>
                  <a:close/>
                  <a:moveTo>
                    <a:pt x="708" y="137"/>
                  </a:moveTo>
                  <a:cubicBezTo>
                    <a:pt x="703" y="138"/>
                    <a:pt x="700" y="136"/>
                    <a:pt x="700" y="130"/>
                  </a:cubicBezTo>
                  <a:cubicBezTo>
                    <a:pt x="704" y="126"/>
                    <a:pt x="707" y="133"/>
                    <a:pt x="708" y="133"/>
                  </a:cubicBezTo>
                  <a:cubicBezTo>
                    <a:pt x="713" y="134"/>
                    <a:pt x="715" y="127"/>
                    <a:pt x="716" y="133"/>
                  </a:cubicBezTo>
                  <a:cubicBezTo>
                    <a:pt x="718" y="146"/>
                    <a:pt x="711" y="139"/>
                    <a:pt x="708" y="137"/>
                  </a:cubicBezTo>
                  <a:close/>
                  <a:moveTo>
                    <a:pt x="716" y="100"/>
                  </a:moveTo>
                  <a:cubicBezTo>
                    <a:pt x="719" y="100"/>
                    <a:pt x="722" y="100"/>
                    <a:pt x="724" y="100"/>
                  </a:cubicBezTo>
                  <a:cubicBezTo>
                    <a:pt x="723" y="111"/>
                    <a:pt x="696" y="99"/>
                    <a:pt x="716" y="100"/>
                  </a:cubicBezTo>
                  <a:close/>
                  <a:moveTo>
                    <a:pt x="792" y="115"/>
                  </a:moveTo>
                  <a:cubicBezTo>
                    <a:pt x="786" y="114"/>
                    <a:pt x="786" y="106"/>
                    <a:pt x="786" y="96"/>
                  </a:cubicBezTo>
                  <a:cubicBezTo>
                    <a:pt x="791" y="96"/>
                    <a:pt x="795" y="96"/>
                    <a:pt x="800" y="96"/>
                  </a:cubicBezTo>
                  <a:cubicBezTo>
                    <a:pt x="797" y="103"/>
                    <a:pt x="793" y="107"/>
                    <a:pt x="792" y="115"/>
                  </a:cubicBezTo>
                  <a:close/>
                  <a:moveTo>
                    <a:pt x="816" y="111"/>
                  </a:moveTo>
                  <a:cubicBezTo>
                    <a:pt x="812" y="108"/>
                    <a:pt x="810" y="102"/>
                    <a:pt x="810" y="93"/>
                  </a:cubicBezTo>
                  <a:cubicBezTo>
                    <a:pt x="815" y="90"/>
                    <a:pt x="820" y="87"/>
                    <a:pt x="827" y="85"/>
                  </a:cubicBezTo>
                  <a:cubicBezTo>
                    <a:pt x="830" y="104"/>
                    <a:pt x="818" y="101"/>
                    <a:pt x="816" y="111"/>
                  </a:cubicBezTo>
                  <a:close/>
                  <a:moveTo>
                    <a:pt x="827" y="126"/>
                  </a:moveTo>
                  <a:cubicBezTo>
                    <a:pt x="827" y="121"/>
                    <a:pt x="835" y="125"/>
                    <a:pt x="835" y="119"/>
                  </a:cubicBezTo>
                  <a:cubicBezTo>
                    <a:pt x="843" y="123"/>
                    <a:pt x="829" y="134"/>
                    <a:pt x="827" y="126"/>
                  </a:cubicBezTo>
                  <a:close/>
                  <a:moveTo>
                    <a:pt x="870" y="152"/>
                  </a:moveTo>
                  <a:cubicBezTo>
                    <a:pt x="867" y="153"/>
                    <a:pt x="865" y="157"/>
                    <a:pt x="862" y="156"/>
                  </a:cubicBezTo>
                  <a:cubicBezTo>
                    <a:pt x="861" y="156"/>
                    <a:pt x="861" y="152"/>
                    <a:pt x="859" y="152"/>
                  </a:cubicBezTo>
                  <a:cubicBezTo>
                    <a:pt x="857" y="152"/>
                    <a:pt x="855" y="147"/>
                    <a:pt x="851" y="148"/>
                  </a:cubicBezTo>
                  <a:cubicBezTo>
                    <a:pt x="853" y="142"/>
                    <a:pt x="873" y="142"/>
                    <a:pt x="875" y="148"/>
                  </a:cubicBezTo>
                  <a:cubicBezTo>
                    <a:pt x="875" y="159"/>
                    <a:pt x="873" y="151"/>
                    <a:pt x="870" y="152"/>
                  </a:cubicBezTo>
                  <a:close/>
                  <a:moveTo>
                    <a:pt x="859" y="133"/>
                  </a:moveTo>
                  <a:cubicBezTo>
                    <a:pt x="859" y="128"/>
                    <a:pt x="859" y="123"/>
                    <a:pt x="856" y="122"/>
                  </a:cubicBezTo>
                  <a:cubicBezTo>
                    <a:pt x="860" y="114"/>
                    <a:pt x="871" y="127"/>
                    <a:pt x="878" y="126"/>
                  </a:cubicBezTo>
                  <a:cubicBezTo>
                    <a:pt x="872" y="133"/>
                    <a:pt x="867" y="138"/>
                    <a:pt x="859" y="133"/>
                  </a:cubicBezTo>
                  <a:close/>
                  <a:moveTo>
                    <a:pt x="886" y="104"/>
                  </a:moveTo>
                  <a:cubicBezTo>
                    <a:pt x="884" y="104"/>
                    <a:pt x="882" y="104"/>
                    <a:pt x="880" y="104"/>
                  </a:cubicBezTo>
                  <a:cubicBezTo>
                    <a:pt x="880" y="101"/>
                    <a:pt x="880" y="99"/>
                    <a:pt x="880" y="96"/>
                  </a:cubicBezTo>
                  <a:cubicBezTo>
                    <a:pt x="882" y="96"/>
                    <a:pt x="884" y="96"/>
                    <a:pt x="886" y="96"/>
                  </a:cubicBezTo>
                  <a:cubicBezTo>
                    <a:pt x="886" y="99"/>
                    <a:pt x="886" y="101"/>
                    <a:pt x="886" y="104"/>
                  </a:cubicBezTo>
                  <a:close/>
                  <a:moveTo>
                    <a:pt x="913" y="1239"/>
                  </a:moveTo>
                  <a:cubicBezTo>
                    <a:pt x="909" y="1234"/>
                    <a:pt x="912" y="1233"/>
                    <a:pt x="913" y="1228"/>
                  </a:cubicBezTo>
                  <a:cubicBezTo>
                    <a:pt x="916" y="1229"/>
                    <a:pt x="914" y="1235"/>
                    <a:pt x="918" y="1235"/>
                  </a:cubicBezTo>
                  <a:cubicBezTo>
                    <a:pt x="918" y="1239"/>
                    <a:pt x="915" y="1238"/>
                    <a:pt x="913" y="1239"/>
                  </a:cubicBezTo>
                  <a:close/>
                  <a:moveTo>
                    <a:pt x="926" y="119"/>
                  </a:moveTo>
                  <a:cubicBezTo>
                    <a:pt x="923" y="118"/>
                    <a:pt x="924" y="112"/>
                    <a:pt x="923" y="108"/>
                  </a:cubicBezTo>
                  <a:cubicBezTo>
                    <a:pt x="926" y="108"/>
                    <a:pt x="929" y="108"/>
                    <a:pt x="931" y="108"/>
                  </a:cubicBezTo>
                  <a:cubicBezTo>
                    <a:pt x="931" y="112"/>
                    <a:pt x="927" y="113"/>
                    <a:pt x="926" y="119"/>
                  </a:cubicBezTo>
                  <a:close/>
                  <a:moveTo>
                    <a:pt x="931" y="673"/>
                  </a:moveTo>
                  <a:cubicBezTo>
                    <a:pt x="928" y="672"/>
                    <a:pt x="929" y="664"/>
                    <a:pt x="929" y="659"/>
                  </a:cubicBezTo>
                  <a:cubicBezTo>
                    <a:pt x="935" y="660"/>
                    <a:pt x="935" y="668"/>
                    <a:pt x="931" y="673"/>
                  </a:cubicBezTo>
                  <a:close/>
                  <a:moveTo>
                    <a:pt x="956" y="385"/>
                  </a:moveTo>
                  <a:cubicBezTo>
                    <a:pt x="954" y="385"/>
                    <a:pt x="952" y="385"/>
                    <a:pt x="950" y="385"/>
                  </a:cubicBezTo>
                  <a:cubicBezTo>
                    <a:pt x="951" y="382"/>
                    <a:pt x="949" y="381"/>
                    <a:pt x="948" y="381"/>
                  </a:cubicBezTo>
                  <a:cubicBezTo>
                    <a:pt x="947" y="374"/>
                    <a:pt x="960" y="376"/>
                    <a:pt x="956" y="385"/>
                  </a:cubicBezTo>
                  <a:close/>
                  <a:moveTo>
                    <a:pt x="977" y="111"/>
                  </a:moveTo>
                  <a:cubicBezTo>
                    <a:pt x="977" y="108"/>
                    <a:pt x="977" y="104"/>
                    <a:pt x="977" y="100"/>
                  </a:cubicBezTo>
                  <a:cubicBezTo>
                    <a:pt x="980" y="100"/>
                    <a:pt x="983" y="100"/>
                    <a:pt x="985" y="100"/>
                  </a:cubicBezTo>
                  <a:cubicBezTo>
                    <a:pt x="982" y="104"/>
                    <a:pt x="984" y="114"/>
                    <a:pt x="977" y="111"/>
                  </a:cubicBezTo>
                  <a:close/>
                  <a:moveTo>
                    <a:pt x="993" y="688"/>
                  </a:moveTo>
                  <a:cubicBezTo>
                    <a:pt x="993" y="684"/>
                    <a:pt x="993" y="681"/>
                    <a:pt x="993" y="677"/>
                  </a:cubicBezTo>
                  <a:cubicBezTo>
                    <a:pt x="1001" y="672"/>
                    <a:pt x="1001" y="694"/>
                    <a:pt x="993" y="688"/>
                  </a:cubicBezTo>
                  <a:close/>
                  <a:moveTo>
                    <a:pt x="1009" y="1254"/>
                  </a:moveTo>
                  <a:cubicBezTo>
                    <a:pt x="1008" y="1254"/>
                    <a:pt x="1006" y="1254"/>
                    <a:pt x="1004" y="1254"/>
                  </a:cubicBezTo>
                  <a:cubicBezTo>
                    <a:pt x="1003" y="1244"/>
                    <a:pt x="1005" y="1238"/>
                    <a:pt x="1012" y="1239"/>
                  </a:cubicBezTo>
                  <a:cubicBezTo>
                    <a:pt x="1010" y="1242"/>
                    <a:pt x="1008" y="1249"/>
                    <a:pt x="1012" y="1250"/>
                  </a:cubicBezTo>
                  <a:cubicBezTo>
                    <a:pt x="1013" y="1254"/>
                    <a:pt x="1011" y="1254"/>
                    <a:pt x="1009" y="1254"/>
                  </a:cubicBezTo>
                  <a:close/>
                  <a:moveTo>
                    <a:pt x="1039" y="145"/>
                  </a:moveTo>
                  <a:cubicBezTo>
                    <a:pt x="1031" y="158"/>
                    <a:pt x="1030" y="133"/>
                    <a:pt x="1039" y="145"/>
                  </a:cubicBezTo>
                  <a:close/>
                  <a:moveTo>
                    <a:pt x="1074" y="133"/>
                  </a:moveTo>
                  <a:cubicBezTo>
                    <a:pt x="1071" y="132"/>
                    <a:pt x="1068" y="129"/>
                    <a:pt x="1069" y="122"/>
                  </a:cubicBezTo>
                  <a:cubicBezTo>
                    <a:pt x="1071" y="123"/>
                    <a:pt x="1071" y="121"/>
                    <a:pt x="1071" y="119"/>
                  </a:cubicBezTo>
                  <a:cubicBezTo>
                    <a:pt x="1074" y="121"/>
                    <a:pt x="1076" y="123"/>
                    <a:pt x="1079" y="122"/>
                  </a:cubicBezTo>
                  <a:cubicBezTo>
                    <a:pt x="1078" y="126"/>
                    <a:pt x="1073" y="126"/>
                    <a:pt x="1074" y="133"/>
                  </a:cubicBezTo>
                  <a:close/>
                  <a:moveTo>
                    <a:pt x="1085" y="640"/>
                  </a:moveTo>
                  <a:cubicBezTo>
                    <a:pt x="1083" y="640"/>
                    <a:pt x="1081" y="640"/>
                    <a:pt x="1079" y="640"/>
                  </a:cubicBezTo>
                  <a:cubicBezTo>
                    <a:pt x="1079" y="638"/>
                    <a:pt x="1079" y="635"/>
                    <a:pt x="1079" y="633"/>
                  </a:cubicBezTo>
                  <a:cubicBezTo>
                    <a:pt x="1081" y="633"/>
                    <a:pt x="1083" y="633"/>
                    <a:pt x="1085" y="633"/>
                  </a:cubicBezTo>
                  <a:cubicBezTo>
                    <a:pt x="1085" y="635"/>
                    <a:pt x="1085" y="638"/>
                    <a:pt x="1085" y="640"/>
                  </a:cubicBezTo>
                  <a:close/>
                  <a:moveTo>
                    <a:pt x="1096" y="1254"/>
                  </a:moveTo>
                  <a:cubicBezTo>
                    <a:pt x="1094" y="1254"/>
                    <a:pt x="1092" y="1254"/>
                    <a:pt x="1090" y="1254"/>
                  </a:cubicBezTo>
                  <a:cubicBezTo>
                    <a:pt x="1090" y="1252"/>
                    <a:pt x="1090" y="1249"/>
                    <a:pt x="1090" y="1247"/>
                  </a:cubicBezTo>
                  <a:cubicBezTo>
                    <a:pt x="1092" y="1247"/>
                    <a:pt x="1094" y="1247"/>
                    <a:pt x="1096" y="1247"/>
                  </a:cubicBezTo>
                  <a:cubicBezTo>
                    <a:pt x="1096" y="1249"/>
                    <a:pt x="1096" y="1252"/>
                    <a:pt x="1096" y="1254"/>
                  </a:cubicBezTo>
                  <a:close/>
                  <a:moveTo>
                    <a:pt x="1101" y="170"/>
                  </a:moveTo>
                  <a:cubicBezTo>
                    <a:pt x="1109" y="167"/>
                    <a:pt x="1111" y="174"/>
                    <a:pt x="1114" y="178"/>
                  </a:cubicBezTo>
                  <a:cubicBezTo>
                    <a:pt x="1116" y="181"/>
                    <a:pt x="1098" y="181"/>
                    <a:pt x="1101" y="170"/>
                  </a:cubicBezTo>
                  <a:close/>
                  <a:moveTo>
                    <a:pt x="1117" y="119"/>
                  </a:moveTo>
                  <a:cubicBezTo>
                    <a:pt x="1117" y="115"/>
                    <a:pt x="1120" y="116"/>
                    <a:pt x="1122" y="115"/>
                  </a:cubicBezTo>
                  <a:cubicBezTo>
                    <a:pt x="1125" y="115"/>
                    <a:pt x="1128" y="115"/>
                    <a:pt x="1131" y="115"/>
                  </a:cubicBezTo>
                  <a:cubicBezTo>
                    <a:pt x="1131" y="123"/>
                    <a:pt x="1121" y="117"/>
                    <a:pt x="1117" y="119"/>
                  </a:cubicBezTo>
                  <a:close/>
                  <a:moveTo>
                    <a:pt x="1125" y="1265"/>
                  </a:moveTo>
                  <a:cubicBezTo>
                    <a:pt x="1118" y="1258"/>
                    <a:pt x="1128" y="1249"/>
                    <a:pt x="1122" y="1239"/>
                  </a:cubicBezTo>
                  <a:cubicBezTo>
                    <a:pt x="1135" y="1240"/>
                    <a:pt x="1123" y="1256"/>
                    <a:pt x="1125" y="1265"/>
                  </a:cubicBezTo>
                  <a:close/>
                  <a:moveTo>
                    <a:pt x="1147" y="178"/>
                  </a:moveTo>
                  <a:cubicBezTo>
                    <a:pt x="1140" y="190"/>
                    <a:pt x="1134" y="168"/>
                    <a:pt x="1147" y="178"/>
                  </a:cubicBezTo>
                  <a:close/>
                  <a:moveTo>
                    <a:pt x="1171" y="189"/>
                  </a:moveTo>
                  <a:cubicBezTo>
                    <a:pt x="1167" y="185"/>
                    <a:pt x="1161" y="185"/>
                    <a:pt x="1157" y="182"/>
                  </a:cubicBezTo>
                  <a:cubicBezTo>
                    <a:pt x="1159" y="174"/>
                    <a:pt x="1176" y="175"/>
                    <a:pt x="1171" y="189"/>
                  </a:cubicBezTo>
                  <a:close/>
                  <a:moveTo>
                    <a:pt x="1176" y="1217"/>
                  </a:moveTo>
                  <a:cubicBezTo>
                    <a:pt x="1176" y="1214"/>
                    <a:pt x="1181" y="1213"/>
                    <a:pt x="1184" y="1213"/>
                  </a:cubicBezTo>
                  <a:cubicBezTo>
                    <a:pt x="1183" y="1213"/>
                    <a:pt x="1190" y="1219"/>
                    <a:pt x="1190" y="1217"/>
                  </a:cubicBezTo>
                  <a:cubicBezTo>
                    <a:pt x="1192" y="1224"/>
                    <a:pt x="1181" y="1219"/>
                    <a:pt x="1176" y="1217"/>
                  </a:cubicBezTo>
                  <a:close/>
                  <a:moveTo>
                    <a:pt x="1187" y="592"/>
                  </a:moveTo>
                  <a:cubicBezTo>
                    <a:pt x="1190" y="580"/>
                    <a:pt x="1190" y="602"/>
                    <a:pt x="1190" y="607"/>
                  </a:cubicBezTo>
                  <a:cubicBezTo>
                    <a:pt x="1187" y="619"/>
                    <a:pt x="1187" y="597"/>
                    <a:pt x="1187" y="592"/>
                  </a:cubicBezTo>
                  <a:close/>
                  <a:moveTo>
                    <a:pt x="1192" y="577"/>
                  </a:moveTo>
                  <a:cubicBezTo>
                    <a:pt x="1191" y="577"/>
                    <a:pt x="1190" y="574"/>
                    <a:pt x="1190" y="574"/>
                  </a:cubicBezTo>
                  <a:cubicBezTo>
                    <a:pt x="1188" y="573"/>
                    <a:pt x="1186" y="576"/>
                    <a:pt x="1187" y="577"/>
                  </a:cubicBezTo>
                  <a:cubicBezTo>
                    <a:pt x="1185" y="575"/>
                    <a:pt x="1185" y="574"/>
                    <a:pt x="1187" y="574"/>
                  </a:cubicBezTo>
                  <a:cubicBezTo>
                    <a:pt x="1188" y="573"/>
                    <a:pt x="1189" y="569"/>
                    <a:pt x="1192" y="570"/>
                  </a:cubicBezTo>
                  <a:cubicBezTo>
                    <a:pt x="1192" y="570"/>
                    <a:pt x="1204" y="581"/>
                    <a:pt x="1192" y="577"/>
                  </a:cubicBezTo>
                  <a:close/>
                  <a:moveTo>
                    <a:pt x="1200" y="133"/>
                  </a:moveTo>
                  <a:cubicBezTo>
                    <a:pt x="1203" y="133"/>
                    <a:pt x="1203" y="137"/>
                    <a:pt x="1203" y="137"/>
                  </a:cubicBezTo>
                  <a:cubicBezTo>
                    <a:pt x="1207" y="137"/>
                    <a:pt x="1219" y="134"/>
                    <a:pt x="1217" y="145"/>
                  </a:cubicBezTo>
                  <a:cubicBezTo>
                    <a:pt x="1213" y="139"/>
                    <a:pt x="1205" y="141"/>
                    <a:pt x="1198" y="141"/>
                  </a:cubicBezTo>
                  <a:cubicBezTo>
                    <a:pt x="1199" y="141"/>
                    <a:pt x="1200" y="134"/>
                    <a:pt x="1200" y="133"/>
                  </a:cubicBezTo>
                  <a:close/>
                  <a:moveTo>
                    <a:pt x="1200" y="189"/>
                  </a:moveTo>
                  <a:cubicBezTo>
                    <a:pt x="1201" y="184"/>
                    <a:pt x="1207" y="186"/>
                    <a:pt x="1211" y="185"/>
                  </a:cubicBezTo>
                  <a:cubicBezTo>
                    <a:pt x="1210" y="194"/>
                    <a:pt x="1204" y="194"/>
                    <a:pt x="1200" y="189"/>
                  </a:cubicBezTo>
                  <a:close/>
                  <a:moveTo>
                    <a:pt x="1208" y="1269"/>
                  </a:moveTo>
                  <a:cubicBezTo>
                    <a:pt x="1205" y="1257"/>
                    <a:pt x="1213" y="1260"/>
                    <a:pt x="1214" y="1254"/>
                  </a:cubicBezTo>
                  <a:cubicBezTo>
                    <a:pt x="1217" y="1255"/>
                    <a:pt x="1216" y="1263"/>
                    <a:pt x="1217" y="1269"/>
                  </a:cubicBezTo>
                  <a:cubicBezTo>
                    <a:pt x="1214" y="1269"/>
                    <a:pt x="1211" y="1269"/>
                    <a:pt x="1208" y="1269"/>
                  </a:cubicBezTo>
                  <a:close/>
                  <a:moveTo>
                    <a:pt x="1214" y="237"/>
                  </a:moveTo>
                  <a:cubicBezTo>
                    <a:pt x="1213" y="243"/>
                    <a:pt x="1210" y="236"/>
                    <a:pt x="1206" y="237"/>
                  </a:cubicBezTo>
                  <a:cubicBezTo>
                    <a:pt x="1208" y="227"/>
                    <a:pt x="1202" y="227"/>
                    <a:pt x="1203" y="218"/>
                  </a:cubicBezTo>
                  <a:cubicBezTo>
                    <a:pt x="1206" y="217"/>
                    <a:pt x="1207" y="226"/>
                    <a:pt x="1208" y="226"/>
                  </a:cubicBezTo>
                  <a:cubicBezTo>
                    <a:pt x="1213" y="227"/>
                    <a:pt x="1215" y="211"/>
                    <a:pt x="1222" y="222"/>
                  </a:cubicBezTo>
                  <a:cubicBezTo>
                    <a:pt x="1220" y="227"/>
                    <a:pt x="1204" y="229"/>
                    <a:pt x="1214" y="237"/>
                  </a:cubicBezTo>
                  <a:close/>
                  <a:moveTo>
                    <a:pt x="1340" y="152"/>
                  </a:moveTo>
                  <a:cubicBezTo>
                    <a:pt x="1341" y="154"/>
                    <a:pt x="1333" y="158"/>
                    <a:pt x="1332" y="156"/>
                  </a:cubicBezTo>
                  <a:cubicBezTo>
                    <a:pt x="1332" y="155"/>
                    <a:pt x="1332" y="152"/>
                    <a:pt x="1332" y="152"/>
                  </a:cubicBezTo>
                  <a:cubicBezTo>
                    <a:pt x="1329" y="152"/>
                    <a:pt x="1324" y="159"/>
                    <a:pt x="1321" y="152"/>
                  </a:cubicBezTo>
                  <a:cubicBezTo>
                    <a:pt x="1323" y="144"/>
                    <a:pt x="1338" y="148"/>
                    <a:pt x="1340" y="152"/>
                  </a:cubicBezTo>
                  <a:close/>
                  <a:moveTo>
                    <a:pt x="1316" y="574"/>
                  </a:moveTo>
                  <a:cubicBezTo>
                    <a:pt x="1314" y="561"/>
                    <a:pt x="1320" y="559"/>
                    <a:pt x="1319" y="548"/>
                  </a:cubicBezTo>
                  <a:cubicBezTo>
                    <a:pt x="1328" y="549"/>
                    <a:pt x="1324" y="574"/>
                    <a:pt x="1316" y="574"/>
                  </a:cubicBezTo>
                  <a:close/>
                  <a:moveTo>
                    <a:pt x="1281" y="130"/>
                  </a:moveTo>
                  <a:cubicBezTo>
                    <a:pt x="1285" y="118"/>
                    <a:pt x="1285" y="140"/>
                    <a:pt x="1278" y="137"/>
                  </a:cubicBezTo>
                  <a:cubicBezTo>
                    <a:pt x="1273" y="134"/>
                    <a:pt x="1281" y="135"/>
                    <a:pt x="1281" y="130"/>
                  </a:cubicBezTo>
                  <a:close/>
                  <a:moveTo>
                    <a:pt x="1260" y="137"/>
                  </a:moveTo>
                  <a:cubicBezTo>
                    <a:pt x="1267" y="141"/>
                    <a:pt x="1273" y="146"/>
                    <a:pt x="1284" y="145"/>
                  </a:cubicBezTo>
                  <a:cubicBezTo>
                    <a:pt x="1286" y="157"/>
                    <a:pt x="1278" y="151"/>
                    <a:pt x="1276" y="148"/>
                  </a:cubicBezTo>
                  <a:cubicBezTo>
                    <a:pt x="1274" y="158"/>
                    <a:pt x="1277" y="162"/>
                    <a:pt x="1284" y="159"/>
                  </a:cubicBezTo>
                  <a:cubicBezTo>
                    <a:pt x="1294" y="168"/>
                    <a:pt x="1255" y="158"/>
                    <a:pt x="1265" y="167"/>
                  </a:cubicBezTo>
                  <a:cubicBezTo>
                    <a:pt x="1264" y="177"/>
                    <a:pt x="1256" y="167"/>
                    <a:pt x="1260" y="159"/>
                  </a:cubicBezTo>
                  <a:cubicBezTo>
                    <a:pt x="1257" y="159"/>
                    <a:pt x="1254" y="159"/>
                    <a:pt x="1251" y="159"/>
                  </a:cubicBezTo>
                  <a:cubicBezTo>
                    <a:pt x="1251" y="153"/>
                    <a:pt x="1268" y="153"/>
                    <a:pt x="1268" y="159"/>
                  </a:cubicBezTo>
                  <a:cubicBezTo>
                    <a:pt x="1270" y="157"/>
                    <a:pt x="1272" y="153"/>
                    <a:pt x="1273" y="148"/>
                  </a:cubicBezTo>
                  <a:cubicBezTo>
                    <a:pt x="1264" y="154"/>
                    <a:pt x="1261" y="150"/>
                    <a:pt x="1251" y="148"/>
                  </a:cubicBezTo>
                  <a:cubicBezTo>
                    <a:pt x="1247" y="135"/>
                    <a:pt x="1261" y="146"/>
                    <a:pt x="1260" y="137"/>
                  </a:cubicBezTo>
                  <a:close/>
                  <a:moveTo>
                    <a:pt x="1276" y="237"/>
                  </a:moveTo>
                  <a:cubicBezTo>
                    <a:pt x="1274" y="237"/>
                    <a:pt x="1272" y="237"/>
                    <a:pt x="1270" y="237"/>
                  </a:cubicBezTo>
                  <a:cubicBezTo>
                    <a:pt x="1270" y="231"/>
                    <a:pt x="1273" y="231"/>
                    <a:pt x="1273" y="226"/>
                  </a:cubicBezTo>
                  <a:cubicBezTo>
                    <a:pt x="1279" y="228"/>
                    <a:pt x="1279" y="232"/>
                    <a:pt x="1276" y="237"/>
                  </a:cubicBezTo>
                  <a:close/>
                  <a:moveTo>
                    <a:pt x="1260" y="237"/>
                  </a:moveTo>
                  <a:cubicBezTo>
                    <a:pt x="1255" y="238"/>
                    <a:pt x="1254" y="234"/>
                    <a:pt x="1254" y="230"/>
                  </a:cubicBezTo>
                  <a:cubicBezTo>
                    <a:pt x="1240" y="238"/>
                    <a:pt x="1262" y="214"/>
                    <a:pt x="1260" y="237"/>
                  </a:cubicBezTo>
                  <a:close/>
                  <a:moveTo>
                    <a:pt x="1254" y="614"/>
                  </a:moveTo>
                  <a:cubicBezTo>
                    <a:pt x="1248" y="625"/>
                    <a:pt x="1253" y="587"/>
                    <a:pt x="1254" y="581"/>
                  </a:cubicBezTo>
                  <a:cubicBezTo>
                    <a:pt x="1258" y="583"/>
                    <a:pt x="1259" y="586"/>
                    <a:pt x="1260" y="592"/>
                  </a:cubicBezTo>
                  <a:cubicBezTo>
                    <a:pt x="1260" y="600"/>
                    <a:pt x="1250" y="603"/>
                    <a:pt x="1254" y="614"/>
                  </a:cubicBezTo>
                  <a:close/>
                  <a:moveTo>
                    <a:pt x="1227" y="148"/>
                  </a:moveTo>
                  <a:cubicBezTo>
                    <a:pt x="1225" y="149"/>
                    <a:pt x="1225" y="147"/>
                    <a:pt x="1225" y="145"/>
                  </a:cubicBezTo>
                  <a:cubicBezTo>
                    <a:pt x="1225" y="142"/>
                    <a:pt x="1225" y="140"/>
                    <a:pt x="1225" y="137"/>
                  </a:cubicBezTo>
                  <a:cubicBezTo>
                    <a:pt x="1233" y="134"/>
                    <a:pt x="1234" y="141"/>
                    <a:pt x="1241" y="141"/>
                  </a:cubicBezTo>
                  <a:cubicBezTo>
                    <a:pt x="1239" y="145"/>
                    <a:pt x="1235" y="145"/>
                    <a:pt x="1235" y="152"/>
                  </a:cubicBezTo>
                  <a:cubicBezTo>
                    <a:pt x="1233" y="152"/>
                    <a:pt x="1230" y="136"/>
                    <a:pt x="1227" y="148"/>
                  </a:cubicBezTo>
                  <a:close/>
                  <a:moveTo>
                    <a:pt x="1230" y="588"/>
                  </a:moveTo>
                  <a:cubicBezTo>
                    <a:pt x="1229" y="580"/>
                    <a:pt x="1230" y="574"/>
                    <a:pt x="1233" y="570"/>
                  </a:cubicBezTo>
                  <a:cubicBezTo>
                    <a:pt x="1235" y="572"/>
                    <a:pt x="1237" y="574"/>
                    <a:pt x="1238" y="570"/>
                  </a:cubicBezTo>
                  <a:cubicBezTo>
                    <a:pt x="1244" y="574"/>
                    <a:pt x="1234" y="587"/>
                    <a:pt x="1238" y="599"/>
                  </a:cubicBezTo>
                  <a:cubicBezTo>
                    <a:pt x="1232" y="601"/>
                    <a:pt x="1240" y="583"/>
                    <a:pt x="1230" y="588"/>
                  </a:cubicBezTo>
                  <a:close/>
                  <a:moveTo>
                    <a:pt x="1238" y="1273"/>
                  </a:moveTo>
                  <a:cubicBezTo>
                    <a:pt x="1246" y="1259"/>
                    <a:pt x="1247" y="1284"/>
                    <a:pt x="1238" y="1273"/>
                  </a:cubicBezTo>
                  <a:close/>
                  <a:moveTo>
                    <a:pt x="1254" y="1239"/>
                  </a:moveTo>
                  <a:cubicBezTo>
                    <a:pt x="1257" y="1241"/>
                    <a:pt x="1260" y="1244"/>
                    <a:pt x="1260" y="1250"/>
                  </a:cubicBezTo>
                  <a:cubicBezTo>
                    <a:pt x="1256" y="1249"/>
                    <a:pt x="1254" y="1246"/>
                    <a:pt x="1254" y="1239"/>
                  </a:cubicBezTo>
                  <a:close/>
                  <a:moveTo>
                    <a:pt x="1260" y="1235"/>
                  </a:moveTo>
                  <a:cubicBezTo>
                    <a:pt x="1251" y="1233"/>
                    <a:pt x="1246" y="1228"/>
                    <a:pt x="1238" y="1225"/>
                  </a:cubicBezTo>
                  <a:cubicBezTo>
                    <a:pt x="1238" y="1215"/>
                    <a:pt x="1247" y="1223"/>
                    <a:pt x="1249" y="1225"/>
                  </a:cubicBezTo>
                  <a:cubicBezTo>
                    <a:pt x="1251" y="1224"/>
                    <a:pt x="1251" y="1220"/>
                    <a:pt x="1251" y="1217"/>
                  </a:cubicBezTo>
                  <a:cubicBezTo>
                    <a:pt x="1260" y="1215"/>
                    <a:pt x="1260" y="1225"/>
                    <a:pt x="1260" y="1235"/>
                  </a:cubicBezTo>
                  <a:close/>
                  <a:moveTo>
                    <a:pt x="1260" y="193"/>
                  </a:moveTo>
                  <a:cubicBezTo>
                    <a:pt x="1265" y="183"/>
                    <a:pt x="1269" y="196"/>
                    <a:pt x="1276" y="189"/>
                  </a:cubicBezTo>
                  <a:cubicBezTo>
                    <a:pt x="1278" y="203"/>
                    <a:pt x="1261" y="196"/>
                    <a:pt x="1260" y="193"/>
                  </a:cubicBezTo>
                  <a:close/>
                  <a:moveTo>
                    <a:pt x="1270" y="1261"/>
                  </a:moveTo>
                  <a:cubicBezTo>
                    <a:pt x="1274" y="1262"/>
                    <a:pt x="1271" y="1273"/>
                    <a:pt x="1276" y="1273"/>
                  </a:cubicBezTo>
                  <a:cubicBezTo>
                    <a:pt x="1274" y="1282"/>
                    <a:pt x="1268" y="1269"/>
                    <a:pt x="1270" y="1261"/>
                  </a:cubicBezTo>
                  <a:close/>
                  <a:moveTo>
                    <a:pt x="1284" y="1232"/>
                  </a:moveTo>
                  <a:cubicBezTo>
                    <a:pt x="1281" y="1228"/>
                    <a:pt x="1274" y="1231"/>
                    <a:pt x="1276" y="1221"/>
                  </a:cubicBezTo>
                  <a:cubicBezTo>
                    <a:pt x="1282" y="1220"/>
                    <a:pt x="1284" y="1224"/>
                    <a:pt x="1284" y="1232"/>
                  </a:cubicBezTo>
                  <a:close/>
                  <a:moveTo>
                    <a:pt x="1286" y="603"/>
                  </a:moveTo>
                  <a:cubicBezTo>
                    <a:pt x="1277" y="603"/>
                    <a:pt x="1292" y="591"/>
                    <a:pt x="1284" y="592"/>
                  </a:cubicBezTo>
                  <a:cubicBezTo>
                    <a:pt x="1290" y="581"/>
                    <a:pt x="1289" y="597"/>
                    <a:pt x="1286" y="603"/>
                  </a:cubicBezTo>
                  <a:close/>
                  <a:moveTo>
                    <a:pt x="1292" y="585"/>
                  </a:moveTo>
                  <a:cubicBezTo>
                    <a:pt x="1285" y="584"/>
                    <a:pt x="1286" y="572"/>
                    <a:pt x="1286" y="562"/>
                  </a:cubicBezTo>
                  <a:cubicBezTo>
                    <a:pt x="1296" y="559"/>
                    <a:pt x="1290" y="577"/>
                    <a:pt x="1292" y="585"/>
                  </a:cubicBezTo>
                  <a:close/>
                  <a:moveTo>
                    <a:pt x="1292" y="152"/>
                  </a:moveTo>
                  <a:cubicBezTo>
                    <a:pt x="1283" y="149"/>
                    <a:pt x="1317" y="141"/>
                    <a:pt x="1313" y="156"/>
                  </a:cubicBezTo>
                  <a:cubicBezTo>
                    <a:pt x="1309" y="150"/>
                    <a:pt x="1300" y="152"/>
                    <a:pt x="1292" y="152"/>
                  </a:cubicBezTo>
                  <a:close/>
                  <a:moveTo>
                    <a:pt x="1316" y="170"/>
                  </a:moveTo>
                  <a:cubicBezTo>
                    <a:pt x="1315" y="175"/>
                    <a:pt x="1313" y="178"/>
                    <a:pt x="1308" y="178"/>
                  </a:cubicBezTo>
                  <a:cubicBezTo>
                    <a:pt x="1309" y="173"/>
                    <a:pt x="1311" y="170"/>
                    <a:pt x="1316" y="170"/>
                  </a:cubicBezTo>
                  <a:close/>
                  <a:moveTo>
                    <a:pt x="1294" y="603"/>
                  </a:moveTo>
                  <a:cubicBezTo>
                    <a:pt x="1297" y="600"/>
                    <a:pt x="1297" y="595"/>
                    <a:pt x="1297" y="588"/>
                  </a:cubicBezTo>
                  <a:cubicBezTo>
                    <a:pt x="1305" y="589"/>
                    <a:pt x="1302" y="604"/>
                    <a:pt x="1294" y="603"/>
                  </a:cubicBezTo>
                  <a:close/>
                  <a:moveTo>
                    <a:pt x="1305" y="577"/>
                  </a:moveTo>
                  <a:cubicBezTo>
                    <a:pt x="1303" y="585"/>
                    <a:pt x="1304" y="585"/>
                    <a:pt x="1303" y="577"/>
                  </a:cubicBezTo>
                  <a:cubicBezTo>
                    <a:pt x="1303" y="569"/>
                    <a:pt x="1306" y="562"/>
                    <a:pt x="1308" y="555"/>
                  </a:cubicBezTo>
                  <a:cubicBezTo>
                    <a:pt x="1312" y="552"/>
                    <a:pt x="1308" y="570"/>
                    <a:pt x="1305" y="577"/>
                  </a:cubicBezTo>
                  <a:close/>
                  <a:moveTo>
                    <a:pt x="1300" y="200"/>
                  </a:moveTo>
                  <a:cubicBezTo>
                    <a:pt x="1301" y="192"/>
                    <a:pt x="1313" y="198"/>
                    <a:pt x="1319" y="196"/>
                  </a:cubicBezTo>
                  <a:cubicBezTo>
                    <a:pt x="1317" y="202"/>
                    <a:pt x="1315" y="206"/>
                    <a:pt x="1313" y="211"/>
                  </a:cubicBezTo>
                  <a:cubicBezTo>
                    <a:pt x="1306" y="211"/>
                    <a:pt x="1310" y="195"/>
                    <a:pt x="1300" y="200"/>
                  </a:cubicBezTo>
                  <a:close/>
                  <a:moveTo>
                    <a:pt x="1324" y="603"/>
                  </a:moveTo>
                  <a:cubicBezTo>
                    <a:pt x="1322" y="601"/>
                    <a:pt x="1317" y="597"/>
                    <a:pt x="1316" y="603"/>
                  </a:cubicBezTo>
                  <a:cubicBezTo>
                    <a:pt x="1313" y="602"/>
                    <a:pt x="1314" y="599"/>
                    <a:pt x="1316" y="599"/>
                  </a:cubicBezTo>
                  <a:cubicBezTo>
                    <a:pt x="1316" y="595"/>
                    <a:pt x="1315" y="593"/>
                    <a:pt x="1313" y="592"/>
                  </a:cubicBezTo>
                  <a:cubicBezTo>
                    <a:pt x="1316" y="582"/>
                    <a:pt x="1328" y="592"/>
                    <a:pt x="1324" y="603"/>
                  </a:cubicBezTo>
                  <a:close/>
                  <a:moveTo>
                    <a:pt x="1327" y="607"/>
                  </a:moveTo>
                  <a:cubicBezTo>
                    <a:pt x="1330" y="608"/>
                    <a:pt x="1329" y="614"/>
                    <a:pt x="1332" y="614"/>
                  </a:cubicBezTo>
                  <a:cubicBezTo>
                    <a:pt x="1331" y="624"/>
                    <a:pt x="1324" y="614"/>
                    <a:pt x="1327" y="607"/>
                  </a:cubicBezTo>
                  <a:close/>
                  <a:moveTo>
                    <a:pt x="1329" y="1235"/>
                  </a:moveTo>
                  <a:cubicBezTo>
                    <a:pt x="1329" y="1232"/>
                    <a:pt x="1329" y="1228"/>
                    <a:pt x="1329" y="1225"/>
                  </a:cubicBezTo>
                  <a:cubicBezTo>
                    <a:pt x="1337" y="1219"/>
                    <a:pt x="1337" y="1241"/>
                    <a:pt x="1329" y="1235"/>
                  </a:cubicBezTo>
                  <a:close/>
                  <a:moveTo>
                    <a:pt x="1329" y="555"/>
                  </a:moveTo>
                  <a:cubicBezTo>
                    <a:pt x="1329" y="551"/>
                    <a:pt x="1337" y="542"/>
                    <a:pt x="1338" y="551"/>
                  </a:cubicBezTo>
                  <a:cubicBezTo>
                    <a:pt x="1337" y="555"/>
                    <a:pt x="1339" y="555"/>
                    <a:pt x="1340" y="555"/>
                  </a:cubicBezTo>
                  <a:cubicBezTo>
                    <a:pt x="1338" y="566"/>
                    <a:pt x="1334" y="552"/>
                    <a:pt x="1329" y="555"/>
                  </a:cubicBezTo>
                  <a:close/>
                  <a:moveTo>
                    <a:pt x="1348" y="1232"/>
                  </a:moveTo>
                  <a:cubicBezTo>
                    <a:pt x="1348" y="1236"/>
                    <a:pt x="1349" y="1238"/>
                    <a:pt x="1351" y="1239"/>
                  </a:cubicBezTo>
                  <a:cubicBezTo>
                    <a:pt x="1346" y="1252"/>
                    <a:pt x="1347" y="1229"/>
                    <a:pt x="1338" y="1235"/>
                  </a:cubicBezTo>
                  <a:cubicBezTo>
                    <a:pt x="1338" y="1226"/>
                    <a:pt x="1347" y="1228"/>
                    <a:pt x="1354" y="1228"/>
                  </a:cubicBezTo>
                  <a:cubicBezTo>
                    <a:pt x="1354" y="1232"/>
                    <a:pt x="1350" y="1231"/>
                    <a:pt x="1348" y="1232"/>
                  </a:cubicBezTo>
                  <a:close/>
                  <a:moveTo>
                    <a:pt x="1628" y="326"/>
                  </a:moveTo>
                  <a:cubicBezTo>
                    <a:pt x="1627" y="327"/>
                    <a:pt x="1624" y="337"/>
                    <a:pt x="1623" y="337"/>
                  </a:cubicBezTo>
                  <a:cubicBezTo>
                    <a:pt x="1619" y="338"/>
                    <a:pt x="1619" y="324"/>
                    <a:pt x="1628" y="326"/>
                  </a:cubicBezTo>
                  <a:close/>
                  <a:moveTo>
                    <a:pt x="1628" y="1202"/>
                  </a:moveTo>
                  <a:cubicBezTo>
                    <a:pt x="1625" y="1201"/>
                    <a:pt x="1622" y="1198"/>
                    <a:pt x="1623" y="1191"/>
                  </a:cubicBezTo>
                  <a:cubicBezTo>
                    <a:pt x="1626" y="1193"/>
                    <a:pt x="1628" y="1196"/>
                    <a:pt x="1628" y="1202"/>
                  </a:cubicBezTo>
                  <a:close/>
                  <a:moveTo>
                    <a:pt x="1617" y="1235"/>
                  </a:moveTo>
                  <a:cubicBezTo>
                    <a:pt x="1611" y="1248"/>
                    <a:pt x="1604" y="1225"/>
                    <a:pt x="1617" y="1235"/>
                  </a:cubicBezTo>
                  <a:close/>
                  <a:moveTo>
                    <a:pt x="1609" y="1180"/>
                  </a:moveTo>
                  <a:cubicBezTo>
                    <a:pt x="1607" y="1179"/>
                    <a:pt x="1607" y="1182"/>
                    <a:pt x="1606" y="1184"/>
                  </a:cubicBezTo>
                  <a:cubicBezTo>
                    <a:pt x="1603" y="1183"/>
                    <a:pt x="1604" y="1177"/>
                    <a:pt x="1604" y="1173"/>
                  </a:cubicBezTo>
                  <a:cubicBezTo>
                    <a:pt x="1608" y="1171"/>
                    <a:pt x="1609" y="1176"/>
                    <a:pt x="1609" y="1180"/>
                  </a:cubicBezTo>
                  <a:close/>
                  <a:moveTo>
                    <a:pt x="1604" y="226"/>
                  </a:moveTo>
                  <a:cubicBezTo>
                    <a:pt x="1608" y="225"/>
                    <a:pt x="1608" y="247"/>
                    <a:pt x="1601" y="241"/>
                  </a:cubicBezTo>
                  <a:cubicBezTo>
                    <a:pt x="1600" y="233"/>
                    <a:pt x="1603" y="231"/>
                    <a:pt x="1604" y="226"/>
                  </a:cubicBezTo>
                  <a:close/>
                  <a:moveTo>
                    <a:pt x="1604" y="740"/>
                  </a:moveTo>
                  <a:cubicBezTo>
                    <a:pt x="1603" y="743"/>
                    <a:pt x="1605" y="743"/>
                    <a:pt x="1606" y="744"/>
                  </a:cubicBezTo>
                  <a:cubicBezTo>
                    <a:pt x="1605" y="755"/>
                    <a:pt x="1601" y="740"/>
                    <a:pt x="1596" y="744"/>
                  </a:cubicBezTo>
                  <a:cubicBezTo>
                    <a:pt x="1595" y="739"/>
                    <a:pt x="1603" y="731"/>
                    <a:pt x="1604" y="740"/>
                  </a:cubicBezTo>
                  <a:close/>
                  <a:moveTo>
                    <a:pt x="1593" y="551"/>
                  </a:moveTo>
                  <a:cubicBezTo>
                    <a:pt x="1599" y="553"/>
                    <a:pt x="1595" y="571"/>
                    <a:pt x="1593" y="574"/>
                  </a:cubicBezTo>
                  <a:cubicBezTo>
                    <a:pt x="1585" y="570"/>
                    <a:pt x="1594" y="558"/>
                    <a:pt x="1593" y="551"/>
                  </a:cubicBezTo>
                  <a:close/>
                  <a:moveTo>
                    <a:pt x="1588" y="611"/>
                  </a:moveTo>
                  <a:cubicBezTo>
                    <a:pt x="1589" y="600"/>
                    <a:pt x="1592" y="616"/>
                    <a:pt x="1596" y="614"/>
                  </a:cubicBezTo>
                  <a:cubicBezTo>
                    <a:pt x="1595" y="619"/>
                    <a:pt x="1591" y="617"/>
                    <a:pt x="1588" y="618"/>
                  </a:cubicBezTo>
                  <a:cubicBezTo>
                    <a:pt x="1587" y="615"/>
                    <a:pt x="1589" y="614"/>
                    <a:pt x="1590" y="614"/>
                  </a:cubicBezTo>
                  <a:cubicBezTo>
                    <a:pt x="1591" y="611"/>
                    <a:pt x="1589" y="611"/>
                    <a:pt x="1588" y="611"/>
                  </a:cubicBezTo>
                  <a:close/>
                  <a:moveTo>
                    <a:pt x="1593" y="636"/>
                  </a:moveTo>
                  <a:cubicBezTo>
                    <a:pt x="1593" y="639"/>
                    <a:pt x="1593" y="641"/>
                    <a:pt x="1593" y="644"/>
                  </a:cubicBezTo>
                  <a:cubicBezTo>
                    <a:pt x="1580" y="648"/>
                    <a:pt x="1588" y="624"/>
                    <a:pt x="1593" y="636"/>
                  </a:cubicBezTo>
                  <a:close/>
                  <a:moveTo>
                    <a:pt x="1580" y="577"/>
                  </a:moveTo>
                  <a:cubicBezTo>
                    <a:pt x="1581" y="567"/>
                    <a:pt x="1583" y="586"/>
                    <a:pt x="1582" y="588"/>
                  </a:cubicBezTo>
                  <a:cubicBezTo>
                    <a:pt x="1581" y="596"/>
                    <a:pt x="1577" y="591"/>
                    <a:pt x="1580" y="577"/>
                  </a:cubicBezTo>
                  <a:close/>
                  <a:moveTo>
                    <a:pt x="1577" y="263"/>
                  </a:moveTo>
                  <a:cubicBezTo>
                    <a:pt x="1575" y="274"/>
                    <a:pt x="1571" y="259"/>
                    <a:pt x="1566" y="263"/>
                  </a:cubicBezTo>
                  <a:cubicBezTo>
                    <a:pt x="1566" y="258"/>
                    <a:pt x="1566" y="252"/>
                    <a:pt x="1563" y="252"/>
                  </a:cubicBezTo>
                  <a:cubicBezTo>
                    <a:pt x="1565" y="245"/>
                    <a:pt x="1568" y="251"/>
                    <a:pt x="1569" y="252"/>
                  </a:cubicBezTo>
                  <a:cubicBezTo>
                    <a:pt x="1570" y="252"/>
                    <a:pt x="1573" y="251"/>
                    <a:pt x="1574" y="252"/>
                  </a:cubicBezTo>
                  <a:cubicBezTo>
                    <a:pt x="1574" y="252"/>
                    <a:pt x="1570" y="268"/>
                    <a:pt x="1577" y="263"/>
                  </a:cubicBezTo>
                  <a:close/>
                  <a:moveTo>
                    <a:pt x="1563" y="707"/>
                  </a:moveTo>
                  <a:cubicBezTo>
                    <a:pt x="1561" y="705"/>
                    <a:pt x="1561" y="704"/>
                    <a:pt x="1563" y="703"/>
                  </a:cubicBezTo>
                  <a:cubicBezTo>
                    <a:pt x="1564" y="703"/>
                    <a:pt x="1563" y="700"/>
                    <a:pt x="1563" y="699"/>
                  </a:cubicBezTo>
                  <a:cubicBezTo>
                    <a:pt x="1566" y="696"/>
                    <a:pt x="1570" y="704"/>
                    <a:pt x="1569" y="707"/>
                  </a:cubicBezTo>
                  <a:cubicBezTo>
                    <a:pt x="1567" y="710"/>
                    <a:pt x="1566" y="703"/>
                    <a:pt x="1566" y="703"/>
                  </a:cubicBezTo>
                  <a:cubicBezTo>
                    <a:pt x="1565" y="703"/>
                    <a:pt x="1562" y="706"/>
                    <a:pt x="1563" y="707"/>
                  </a:cubicBezTo>
                  <a:close/>
                  <a:moveTo>
                    <a:pt x="1566" y="640"/>
                  </a:moveTo>
                  <a:cubicBezTo>
                    <a:pt x="1564" y="640"/>
                    <a:pt x="1562" y="635"/>
                    <a:pt x="1558" y="636"/>
                  </a:cubicBezTo>
                  <a:cubicBezTo>
                    <a:pt x="1561" y="630"/>
                    <a:pt x="1569" y="630"/>
                    <a:pt x="1571" y="633"/>
                  </a:cubicBezTo>
                  <a:cubicBezTo>
                    <a:pt x="1573" y="634"/>
                    <a:pt x="1567" y="640"/>
                    <a:pt x="1566" y="640"/>
                  </a:cubicBezTo>
                  <a:close/>
                  <a:moveTo>
                    <a:pt x="1561" y="618"/>
                  </a:moveTo>
                  <a:cubicBezTo>
                    <a:pt x="1569" y="604"/>
                    <a:pt x="1570" y="629"/>
                    <a:pt x="1561" y="618"/>
                  </a:cubicBezTo>
                  <a:close/>
                  <a:moveTo>
                    <a:pt x="1569" y="599"/>
                  </a:moveTo>
                  <a:cubicBezTo>
                    <a:pt x="1569" y="594"/>
                    <a:pt x="1569" y="589"/>
                    <a:pt x="1566" y="588"/>
                  </a:cubicBezTo>
                  <a:cubicBezTo>
                    <a:pt x="1566" y="585"/>
                    <a:pt x="1567" y="585"/>
                    <a:pt x="1569" y="585"/>
                  </a:cubicBezTo>
                  <a:cubicBezTo>
                    <a:pt x="1571" y="585"/>
                    <a:pt x="1572" y="585"/>
                    <a:pt x="1574" y="585"/>
                  </a:cubicBezTo>
                  <a:cubicBezTo>
                    <a:pt x="1571" y="596"/>
                    <a:pt x="1573" y="594"/>
                    <a:pt x="1577" y="603"/>
                  </a:cubicBezTo>
                  <a:cubicBezTo>
                    <a:pt x="1574" y="616"/>
                    <a:pt x="1576" y="593"/>
                    <a:pt x="1569" y="599"/>
                  </a:cubicBezTo>
                  <a:close/>
                  <a:moveTo>
                    <a:pt x="1539" y="196"/>
                  </a:moveTo>
                  <a:cubicBezTo>
                    <a:pt x="1546" y="192"/>
                    <a:pt x="1550" y="207"/>
                    <a:pt x="1553" y="196"/>
                  </a:cubicBezTo>
                  <a:cubicBezTo>
                    <a:pt x="1556" y="198"/>
                    <a:pt x="1553" y="203"/>
                    <a:pt x="1550" y="204"/>
                  </a:cubicBezTo>
                  <a:cubicBezTo>
                    <a:pt x="1555" y="217"/>
                    <a:pt x="1557" y="197"/>
                    <a:pt x="1563" y="200"/>
                  </a:cubicBezTo>
                  <a:cubicBezTo>
                    <a:pt x="1561" y="203"/>
                    <a:pt x="1560" y="208"/>
                    <a:pt x="1561" y="215"/>
                  </a:cubicBezTo>
                  <a:cubicBezTo>
                    <a:pt x="1551" y="218"/>
                    <a:pt x="1548" y="211"/>
                    <a:pt x="1547" y="200"/>
                  </a:cubicBezTo>
                  <a:cubicBezTo>
                    <a:pt x="1537" y="195"/>
                    <a:pt x="1547" y="217"/>
                    <a:pt x="1536" y="211"/>
                  </a:cubicBezTo>
                  <a:cubicBezTo>
                    <a:pt x="1539" y="208"/>
                    <a:pt x="1539" y="203"/>
                    <a:pt x="1539" y="196"/>
                  </a:cubicBezTo>
                  <a:close/>
                  <a:moveTo>
                    <a:pt x="1571" y="222"/>
                  </a:moveTo>
                  <a:cubicBezTo>
                    <a:pt x="1571" y="227"/>
                    <a:pt x="1571" y="233"/>
                    <a:pt x="1574" y="233"/>
                  </a:cubicBezTo>
                  <a:cubicBezTo>
                    <a:pt x="1574" y="237"/>
                    <a:pt x="1571" y="236"/>
                    <a:pt x="1569" y="237"/>
                  </a:cubicBezTo>
                  <a:cubicBezTo>
                    <a:pt x="1566" y="239"/>
                    <a:pt x="1567" y="230"/>
                    <a:pt x="1566" y="230"/>
                  </a:cubicBezTo>
                  <a:cubicBezTo>
                    <a:pt x="1562" y="229"/>
                    <a:pt x="1558" y="234"/>
                    <a:pt x="1553" y="233"/>
                  </a:cubicBezTo>
                  <a:cubicBezTo>
                    <a:pt x="1553" y="233"/>
                    <a:pt x="1552" y="230"/>
                    <a:pt x="1550" y="230"/>
                  </a:cubicBezTo>
                  <a:cubicBezTo>
                    <a:pt x="1546" y="229"/>
                    <a:pt x="1537" y="229"/>
                    <a:pt x="1536" y="218"/>
                  </a:cubicBezTo>
                  <a:cubicBezTo>
                    <a:pt x="1548" y="219"/>
                    <a:pt x="1557" y="224"/>
                    <a:pt x="1571" y="222"/>
                  </a:cubicBezTo>
                  <a:close/>
                  <a:moveTo>
                    <a:pt x="1550" y="1221"/>
                  </a:moveTo>
                  <a:cubicBezTo>
                    <a:pt x="1554" y="1221"/>
                    <a:pt x="1551" y="1232"/>
                    <a:pt x="1555" y="1232"/>
                  </a:cubicBezTo>
                  <a:cubicBezTo>
                    <a:pt x="1554" y="1243"/>
                    <a:pt x="1550" y="1228"/>
                    <a:pt x="1545" y="1232"/>
                  </a:cubicBezTo>
                  <a:cubicBezTo>
                    <a:pt x="1545" y="1226"/>
                    <a:pt x="1545" y="1220"/>
                    <a:pt x="1545" y="1213"/>
                  </a:cubicBezTo>
                  <a:cubicBezTo>
                    <a:pt x="1548" y="1214"/>
                    <a:pt x="1546" y="1220"/>
                    <a:pt x="1550" y="1221"/>
                  </a:cubicBezTo>
                  <a:close/>
                  <a:moveTo>
                    <a:pt x="1528" y="200"/>
                  </a:moveTo>
                  <a:cubicBezTo>
                    <a:pt x="1523" y="202"/>
                    <a:pt x="1523" y="195"/>
                    <a:pt x="1523" y="189"/>
                  </a:cubicBezTo>
                  <a:cubicBezTo>
                    <a:pt x="1520" y="188"/>
                    <a:pt x="1518" y="190"/>
                    <a:pt x="1518" y="193"/>
                  </a:cubicBezTo>
                  <a:cubicBezTo>
                    <a:pt x="1508" y="182"/>
                    <a:pt x="1535" y="183"/>
                    <a:pt x="1528" y="200"/>
                  </a:cubicBezTo>
                  <a:close/>
                  <a:moveTo>
                    <a:pt x="1523" y="259"/>
                  </a:moveTo>
                  <a:cubicBezTo>
                    <a:pt x="1521" y="265"/>
                    <a:pt x="1519" y="271"/>
                    <a:pt x="1512" y="270"/>
                  </a:cubicBezTo>
                  <a:cubicBezTo>
                    <a:pt x="1514" y="263"/>
                    <a:pt x="1513" y="250"/>
                    <a:pt x="1523" y="259"/>
                  </a:cubicBezTo>
                  <a:close/>
                  <a:moveTo>
                    <a:pt x="1483" y="174"/>
                  </a:moveTo>
                  <a:cubicBezTo>
                    <a:pt x="1485" y="174"/>
                    <a:pt x="1486" y="174"/>
                    <a:pt x="1488" y="174"/>
                  </a:cubicBezTo>
                  <a:cubicBezTo>
                    <a:pt x="1489" y="185"/>
                    <a:pt x="1468" y="173"/>
                    <a:pt x="1483" y="174"/>
                  </a:cubicBezTo>
                  <a:close/>
                  <a:moveTo>
                    <a:pt x="1464" y="163"/>
                  </a:moveTo>
                  <a:cubicBezTo>
                    <a:pt x="1464" y="170"/>
                    <a:pt x="1467" y="171"/>
                    <a:pt x="1467" y="178"/>
                  </a:cubicBezTo>
                  <a:cubicBezTo>
                    <a:pt x="1463" y="178"/>
                    <a:pt x="1459" y="178"/>
                    <a:pt x="1456" y="178"/>
                  </a:cubicBezTo>
                  <a:cubicBezTo>
                    <a:pt x="1451" y="171"/>
                    <a:pt x="1460" y="165"/>
                    <a:pt x="1448" y="167"/>
                  </a:cubicBezTo>
                  <a:cubicBezTo>
                    <a:pt x="1440" y="161"/>
                    <a:pt x="1459" y="163"/>
                    <a:pt x="1464" y="163"/>
                  </a:cubicBezTo>
                  <a:close/>
                  <a:moveTo>
                    <a:pt x="1464" y="662"/>
                  </a:moveTo>
                  <a:cubicBezTo>
                    <a:pt x="1467" y="663"/>
                    <a:pt x="1466" y="670"/>
                    <a:pt x="1469" y="670"/>
                  </a:cubicBezTo>
                  <a:cubicBezTo>
                    <a:pt x="1470" y="673"/>
                    <a:pt x="1468" y="673"/>
                    <a:pt x="1467" y="673"/>
                  </a:cubicBezTo>
                  <a:cubicBezTo>
                    <a:pt x="1463" y="681"/>
                    <a:pt x="1467" y="670"/>
                    <a:pt x="1464" y="662"/>
                  </a:cubicBezTo>
                  <a:close/>
                  <a:moveTo>
                    <a:pt x="1445" y="562"/>
                  </a:moveTo>
                  <a:cubicBezTo>
                    <a:pt x="1444" y="561"/>
                    <a:pt x="1442" y="558"/>
                    <a:pt x="1445" y="562"/>
                  </a:cubicBezTo>
                  <a:cubicBezTo>
                    <a:pt x="1452" y="568"/>
                    <a:pt x="1449" y="572"/>
                    <a:pt x="1445" y="585"/>
                  </a:cubicBezTo>
                  <a:cubicBezTo>
                    <a:pt x="1442" y="584"/>
                    <a:pt x="1444" y="581"/>
                    <a:pt x="1445" y="581"/>
                  </a:cubicBezTo>
                  <a:cubicBezTo>
                    <a:pt x="1443" y="574"/>
                    <a:pt x="1440" y="580"/>
                    <a:pt x="1437" y="581"/>
                  </a:cubicBezTo>
                  <a:cubicBezTo>
                    <a:pt x="1431" y="589"/>
                    <a:pt x="1442" y="569"/>
                    <a:pt x="1448" y="570"/>
                  </a:cubicBezTo>
                  <a:cubicBezTo>
                    <a:pt x="1447" y="567"/>
                    <a:pt x="1445" y="566"/>
                    <a:pt x="1445" y="562"/>
                  </a:cubicBezTo>
                  <a:close/>
                  <a:moveTo>
                    <a:pt x="1442" y="1180"/>
                  </a:moveTo>
                  <a:cubicBezTo>
                    <a:pt x="1447" y="1185"/>
                    <a:pt x="1447" y="1195"/>
                    <a:pt x="1445" y="1199"/>
                  </a:cubicBezTo>
                  <a:cubicBezTo>
                    <a:pt x="1445" y="1199"/>
                    <a:pt x="1437" y="1189"/>
                    <a:pt x="1442" y="1180"/>
                  </a:cubicBezTo>
                  <a:close/>
                  <a:moveTo>
                    <a:pt x="1445" y="1228"/>
                  </a:moveTo>
                  <a:cubicBezTo>
                    <a:pt x="1443" y="1227"/>
                    <a:pt x="1443" y="1230"/>
                    <a:pt x="1442" y="1232"/>
                  </a:cubicBezTo>
                  <a:cubicBezTo>
                    <a:pt x="1439" y="1231"/>
                    <a:pt x="1440" y="1225"/>
                    <a:pt x="1440" y="1221"/>
                  </a:cubicBezTo>
                  <a:cubicBezTo>
                    <a:pt x="1444" y="1219"/>
                    <a:pt x="1445" y="1224"/>
                    <a:pt x="1445" y="1228"/>
                  </a:cubicBezTo>
                  <a:close/>
                  <a:moveTo>
                    <a:pt x="1440" y="644"/>
                  </a:moveTo>
                  <a:cubicBezTo>
                    <a:pt x="1444" y="637"/>
                    <a:pt x="1450" y="638"/>
                    <a:pt x="1453" y="640"/>
                  </a:cubicBezTo>
                  <a:cubicBezTo>
                    <a:pt x="1454" y="641"/>
                    <a:pt x="1447" y="651"/>
                    <a:pt x="1440" y="644"/>
                  </a:cubicBezTo>
                  <a:close/>
                  <a:moveTo>
                    <a:pt x="1450" y="270"/>
                  </a:moveTo>
                  <a:cubicBezTo>
                    <a:pt x="1449" y="259"/>
                    <a:pt x="1453" y="257"/>
                    <a:pt x="1453" y="248"/>
                  </a:cubicBezTo>
                  <a:cubicBezTo>
                    <a:pt x="1463" y="245"/>
                    <a:pt x="1456" y="258"/>
                    <a:pt x="1453" y="259"/>
                  </a:cubicBezTo>
                  <a:cubicBezTo>
                    <a:pt x="1455" y="267"/>
                    <a:pt x="1451" y="288"/>
                    <a:pt x="1450" y="270"/>
                  </a:cubicBezTo>
                  <a:close/>
                  <a:moveTo>
                    <a:pt x="1448" y="1210"/>
                  </a:moveTo>
                  <a:cubicBezTo>
                    <a:pt x="1452" y="1209"/>
                    <a:pt x="1452" y="1213"/>
                    <a:pt x="1456" y="1213"/>
                  </a:cubicBezTo>
                  <a:cubicBezTo>
                    <a:pt x="1457" y="1221"/>
                    <a:pt x="1444" y="1219"/>
                    <a:pt x="1448" y="1210"/>
                  </a:cubicBezTo>
                  <a:close/>
                  <a:moveTo>
                    <a:pt x="1450" y="1195"/>
                  </a:moveTo>
                  <a:cubicBezTo>
                    <a:pt x="1450" y="1190"/>
                    <a:pt x="1450" y="1185"/>
                    <a:pt x="1450" y="1180"/>
                  </a:cubicBezTo>
                  <a:cubicBezTo>
                    <a:pt x="1458" y="1173"/>
                    <a:pt x="1456" y="1196"/>
                    <a:pt x="1458" y="1184"/>
                  </a:cubicBezTo>
                  <a:cubicBezTo>
                    <a:pt x="1466" y="1188"/>
                    <a:pt x="1455" y="1196"/>
                    <a:pt x="1450" y="1195"/>
                  </a:cubicBezTo>
                  <a:close/>
                  <a:moveTo>
                    <a:pt x="1418" y="170"/>
                  </a:moveTo>
                  <a:cubicBezTo>
                    <a:pt x="1422" y="178"/>
                    <a:pt x="1402" y="180"/>
                    <a:pt x="1402" y="167"/>
                  </a:cubicBezTo>
                  <a:cubicBezTo>
                    <a:pt x="1405" y="171"/>
                    <a:pt x="1412" y="171"/>
                    <a:pt x="1418" y="170"/>
                  </a:cubicBezTo>
                  <a:close/>
                  <a:moveTo>
                    <a:pt x="1402" y="204"/>
                  </a:moveTo>
                  <a:cubicBezTo>
                    <a:pt x="1406" y="204"/>
                    <a:pt x="1409" y="204"/>
                    <a:pt x="1413" y="204"/>
                  </a:cubicBezTo>
                  <a:cubicBezTo>
                    <a:pt x="1413" y="213"/>
                    <a:pt x="1409" y="215"/>
                    <a:pt x="1407" y="222"/>
                  </a:cubicBezTo>
                  <a:cubicBezTo>
                    <a:pt x="1403" y="219"/>
                    <a:pt x="1402" y="213"/>
                    <a:pt x="1402" y="204"/>
                  </a:cubicBezTo>
                  <a:close/>
                  <a:moveTo>
                    <a:pt x="1413" y="566"/>
                  </a:moveTo>
                  <a:cubicBezTo>
                    <a:pt x="1404" y="581"/>
                    <a:pt x="1403" y="555"/>
                    <a:pt x="1405" y="544"/>
                  </a:cubicBezTo>
                  <a:cubicBezTo>
                    <a:pt x="1408" y="545"/>
                    <a:pt x="1410" y="543"/>
                    <a:pt x="1410" y="540"/>
                  </a:cubicBezTo>
                  <a:cubicBezTo>
                    <a:pt x="1420" y="544"/>
                    <a:pt x="1397" y="565"/>
                    <a:pt x="1413" y="566"/>
                  </a:cubicBezTo>
                  <a:close/>
                  <a:moveTo>
                    <a:pt x="1378" y="207"/>
                  </a:moveTo>
                  <a:cubicBezTo>
                    <a:pt x="1381" y="202"/>
                    <a:pt x="1389" y="204"/>
                    <a:pt x="1397" y="204"/>
                  </a:cubicBezTo>
                  <a:cubicBezTo>
                    <a:pt x="1389" y="213"/>
                    <a:pt x="1403" y="208"/>
                    <a:pt x="1399" y="222"/>
                  </a:cubicBezTo>
                  <a:cubicBezTo>
                    <a:pt x="1397" y="222"/>
                    <a:pt x="1397" y="218"/>
                    <a:pt x="1397" y="215"/>
                  </a:cubicBezTo>
                  <a:cubicBezTo>
                    <a:pt x="1393" y="220"/>
                    <a:pt x="1385" y="218"/>
                    <a:pt x="1378" y="218"/>
                  </a:cubicBezTo>
                  <a:cubicBezTo>
                    <a:pt x="1378" y="215"/>
                    <a:pt x="1378" y="211"/>
                    <a:pt x="1378" y="207"/>
                  </a:cubicBezTo>
                  <a:close/>
                  <a:moveTo>
                    <a:pt x="1359" y="562"/>
                  </a:moveTo>
                  <a:cubicBezTo>
                    <a:pt x="1365" y="561"/>
                    <a:pt x="1364" y="568"/>
                    <a:pt x="1364" y="574"/>
                  </a:cubicBezTo>
                  <a:cubicBezTo>
                    <a:pt x="1362" y="573"/>
                    <a:pt x="1362" y="570"/>
                    <a:pt x="1359" y="570"/>
                  </a:cubicBezTo>
                  <a:cubicBezTo>
                    <a:pt x="1359" y="567"/>
                    <a:pt x="1359" y="565"/>
                    <a:pt x="1359" y="562"/>
                  </a:cubicBezTo>
                  <a:close/>
                  <a:moveTo>
                    <a:pt x="1373" y="618"/>
                  </a:moveTo>
                  <a:cubicBezTo>
                    <a:pt x="1367" y="622"/>
                    <a:pt x="1377" y="595"/>
                    <a:pt x="1370" y="607"/>
                  </a:cubicBezTo>
                  <a:cubicBezTo>
                    <a:pt x="1367" y="607"/>
                    <a:pt x="1368" y="602"/>
                    <a:pt x="1367" y="599"/>
                  </a:cubicBezTo>
                  <a:cubicBezTo>
                    <a:pt x="1369" y="600"/>
                    <a:pt x="1370" y="598"/>
                    <a:pt x="1370" y="596"/>
                  </a:cubicBezTo>
                  <a:cubicBezTo>
                    <a:pt x="1375" y="599"/>
                    <a:pt x="1377" y="612"/>
                    <a:pt x="1373" y="618"/>
                  </a:cubicBezTo>
                  <a:close/>
                  <a:moveTo>
                    <a:pt x="1375" y="629"/>
                  </a:moveTo>
                  <a:cubicBezTo>
                    <a:pt x="1375" y="631"/>
                    <a:pt x="1375" y="634"/>
                    <a:pt x="1375" y="636"/>
                  </a:cubicBezTo>
                  <a:cubicBezTo>
                    <a:pt x="1373" y="636"/>
                    <a:pt x="1372" y="636"/>
                    <a:pt x="1370" y="636"/>
                  </a:cubicBezTo>
                  <a:cubicBezTo>
                    <a:pt x="1370" y="634"/>
                    <a:pt x="1370" y="631"/>
                    <a:pt x="1370" y="629"/>
                  </a:cubicBezTo>
                  <a:cubicBezTo>
                    <a:pt x="1372" y="629"/>
                    <a:pt x="1373" y="629"/>
                    <a:pt x="1375" y="629"/>
                  </a:cubicBezTo>
                  <a:close/>
                  <a:moveTo>
                    <a:pt x="1370" y="1235"/>
                  </a:moveTo>
                  <a:cubicBezTo>
                    <a:pt x="1366" y="1232"/>
                    <a:pt x="1359" y="1233"/>
                    <a:pt x="1362" y="1221"/>
                  </a:cubicBezTo>
                  <a:cubicBezTo>
                    <a:pt x="1364" y="1220"/>
                    <a:pt x="1364" y="1222"/>
                    <a:pt x="1364" y="1225"/>
                  </a:cubicBezTo>
                  <a:cubicBezTo>
                    <a:pt x="1366" y="1228"/>
                    <a:pt x="1371" y="1228"/>
                    <a:pt x="1370" y="1235"/>
                  </a:cubicBezTo>
                  <a:close/>
                  <a:moveTo>
                    <a:pt x="1356" y="1280"/>
                  </a:moveTo>
                  <a:cubicBezTo>
                    <a:pt x="1359" y="1275"/>
                    <a:pt x="1364" y="1273"/>
                    <a:pt x="1364" y="1265"/>
                  </a:cubicBezTo>
                  <a:cubicBezTo>
                    <a:pt x="1371" y="1264"/>
                    <a:pt x="1366" y="1279"/>
                    <a:pt x="1375" y="1276"/>
                  </a:cubicBezTo>
                  <a:cubicBezTo>
                    <a:pt x="1374" y="1285"/>
                    <a:pt x="1362" y="1278"/>
                    <a:pt x="1356" y="1280"/>
                  </a:cubicBezTo>
                  <a:close/>
                  <a:moveTo>
                    <a:pt x="1375" y="1239"/>
                  </a:moveTo>
                  <a:cubicBezTo>
                    <a:pt x="1370" y="1237"/>
                    <a:pt x="1375" y="1233"/>
                    <a:pt x="1375" y="1228"/>
                  </a:cubicBezTo>
                  <a:cubicBezTo>
                    <a:pt x="1380" y="1231"/>
                    <a:pt x="1376" y="1235"/>
                    <a:pt x="1375" y="1239"/>
                  </a:cubicBezTo>
                  <a:close/>
                  <a:moveTo>
                    <a:pt x="1378" y="255"/>
                  </a:moveTo>
                  <a:cubicBezTo>
                    <a:pt x="1369" y="255"/>
                    <a:pt x="1362" y="253"/>
                    <a:pt x="1362" y="241"/>
                  </a:cubicBezTo>
                  <a:cubicBezTo>
                    <a:pt x="1364" y="244"/>
                    <a:pt x="1379" y="249"/>
                    <a:pt x="1380" y="241"/>
                  </a:cubicBezTo>
                  <a:cubicBezTo>
                    <a:pt x="1392" y="245"/>
                    <a:pt x="1369" y="251"/>
                    <a:pt x="1380" y="255"/>
                  </a:cubicBezTo>
                  <a:cubicBezTo>
                    <a:pt x="1380" y="260"/>
                    <a:pt x="1378" y="258"/>
                    <a:pt x="1378" y="255"/>
                  </a:cubicBezTo>
                  <a:close/>
                  <a:moveTo>
                    <a:pt x="1383" y="562"/>
                  </a:moveTo>
                  <a:cubicBezTo>
                    <a:pt x="1380" y="587"/>
                    <a:pt x="1377" y="524"/>
                    <a:pt x="1383" y="562"/>
                  </a:cubicBezTo>
                  <a:close/>
                  <a:moveTo>
                    <a:pt x="1389" y="267"/>
                  </a:moveTo>
                  <a:cubicBezTo>
                    <a:pt x="1379" y="257"/>
                    <a:pt x="1398" y="256"/>
                    <a:pt x="1389" y="248"/>
                  </a:cubicBezTo>
                  <a:cubicBezTo>
                    <a:pt x="1391" y="242"/>
                    <a:pt x="1400" y="244"/>
                    <a:pt x="1405" y="241"/>
                  </a:cubicBezTo>
                  <a:cubicBezTo>
                    <a:pt x="1407" y="244"/>
                    <a:pt x="1406" y="251"/>
                    <a:pt x="1410" y="252"/>
                  </a:cubicBezTo>
                  <a:cubicBezTo>
                    <a:pt x="1409" y="256"/>
                    <a:pt x="1405" y="255"/>
                    <a:pt x="1405" y="252"/>
                  </a:cubicBezTo>
                  <a:cubicBezTo>
                    <a:pt x="1401" y="251"/>
                    <a:pt x="1404" y="261"/>
                    <a:pt x="1402" y="263"/>
                  </a:cubicBezTo>
                  <a:cubicBezTo>
                    <a:pt x="1400" y="266"/>
                    <a:pt x="1391" y="254"/>
                    <a:pt x="1391" y="267"/>
                  </a:cubicBezTo>
                  <a:cubicBezTo>
                    <a:pt x="1396" y="273"/>
                    <a:pt x="1401" y="265"/>
                    <a:pt x="1407" y="274"/>
                  </a:cubicBezTo>
                  <a:cubicBezTo>
                    <a:pt x="1407" y="278"/>
                    <a:pt x="1402" y="277"/>
                    <a:pt x="1402" y="281"/>
                  </a:cubicBezTo>
                  <a:cubicBezTo>
                    <a:pt x="1396" y="270"/>
                    <a:pt x="1400" y="280"/>
                    <a:pt x="1391" y="281"/>
                  </a:cubicBezTo>
                  <a:cubicBezTo>
                    <a:pt x="1399" y="273"/>
                    <a:pt x="1384" y="264"/>
                    <a:pt x="1383" y="278"/>
                  </a:cubicBezTo>
                  <a:cubicBezTo>
                    <a:pt x="1375" y="274"/>
                    <a:pt x="1386" y="268"/>
                    <a:pt x="1389" y="267"/>
                  </a:cubicBezTo>
                  <a:close/>
                  <a:moveTo>
                    <a:pt x="1389" y="555"/>
                  </a:moveTo>
                  <a:cubicBezTo>
                    <a:pt x="1390" y="550"/>
                    <a:pt x="1394" y="548"/>
                    <a:pt x="1399" y="548"/>
                  </a:cubicBezTo>
                  <a:cubicBezTo>
                    <a:pt x="1397" y="554"/>
                    <a:pt x="1393" y="562"/>
                    <a:pt x="1389" y="555"/>
                  </a:cubicBezTo>
                  <a:close/>
                  <a:moveTo>
                    <a:pt x="1399" y="577"/>
                  </a:moveTo>
                  <a:cubicBezTo>
                    <a:pt x="1396" y="576"/>
                    <a:pt x="1394" y="573"/>
                    <a:pt x="1394" y="566"/>
                  </a:cubicBezTo>
                  <a:cubicBezTo>
                    <a:pt x="1397" y="568"/>
                    <a:pt x="1399" y="571"/>
                    <a:pt x="1399" y="577"/>
                  </a:cubicBezTo>
                  <a:close/>
                  <a:moveTo>
                    <a:pt x="1389" y="1280"/>
                  </a:moveTo>
                  <a:cubicBezTo>
                    <a:pt x="1390" y="1280"/>
                    <a:pt x="1392" y="1280"/>
                    <a:pt x="1394" y="1280"/>
                  </a:cubicBezTo>
                  <a:cubicBezTo>
                    <a:pt x="1395" y="1290"/>
                    <a:pt x="1374" y="1279"/>
                    <a:pt x="1389" y="1280"/>
                  </a:cubicBezTo>
                  <a:close/>
                  <a:moveTo>
                    <a:pt x="1394" y="1250"/>
                  </a:moveTo>
                  <a:cubicBezTo>
                    <a:pt x="1391" y="1248"/>
                    <a:pt x="1391" y="1242"/>
                    <a:pt x="1386" y="1243"/>
                  </a:cubicBezTo>
                  <a:cubicBezTo>
                    <a:pt x="1388" y="1240"/>
                    <a:pt x="1390" y="1233"/>
                    <a:pt x="1386" y="1232"/>
                  </a:cubicBezTo>
                  <a:cubicBezTo>
                    <a:pt x="1387" y="1227"/>
                    <a:pt x="1394" y="1231"/>
                    <a:pt x="1394" y="1225"/>
                  </a:cubicBezTo>
                  <a:cubicBezTo>
                    <a:pt x="1400" y="1223"/>
                    <a:pt x="1397" y="1235"/>
                    <a:pt x="1402" y="1235"/>
                  </a:cubicBezTo>
                  <a:cubicBezTo>
                    <a:pt x="1401" y="1243"/>
                    <a:pt x="1390" y="1236"/>
                    <a:pt x="1394" y="1250"/>
                  </a:cubicBezTo>
                  <a:close/>
                  <a:moveTo>
                    <a:pt x="1402" y="577"/>
                  </a:moveTo>
                  <a:cubicBezTo>
                    <a:pt x="1404" y="567"/>
                    <a:pt x="1406" y="583"/>
                    <a:pt x="1410" y="581"/>
                  </a:cubicBezTo>
                  <a:cubicBezTo>
                    <a:pt x="1407" y="593"/>
                    <a:pt x="1405" y="577"/>
                    <a:pt x="1402" y="577"/>
                  </a:cubicBezTo>
                  <a:close/>
                  <a:moveTo>
                    <a:pt x="1405" y="1306"/>
                  </a:moveTo>
                  <a:cubicBezTo>
                    <a:pt x="1405" y="1297"/>
                    <a:pt x="1414" y="1305"/>
                    <a:pt x="1415" y="1306"/>
                  </a:cubicBezTo>
                  <a:cubicBezTo>
                    <a:pt x="1415" y="1315"/>
                    <a:pt x="1406" y="1307"/>
                    <a:pt x="1405" y="1306"/>
                  </a:cubicBezTo>
                  <a:close/>
                  <a:moveTo>
                    <a:pt x="1426" y="1247"/>
                  </a:moveTo>
                  <a:cubicBezTo>
                    <a:pt x="1422" y="1245"/>
                    <a:pt x="1424" y="1235"/>
                    <a:pt x="1415" y="1239"/>
                  </a:cubicBezTo>
                  <a:cubicBezTo>
                    <a:pt x="1415" y="1234"/>
                    <a:pt x="1415" y="1229"/>
                    <a:pt x="1415" y="1225"/>
                  </a:cubicBezTo>
                  <a:cubicBezTo>
                    <a:pt x="1421" y="1226"/>
                    <a:pt x="1420" y="1235"/>
                    <a:pt x="1429" y="1232"/>
                  </a:cubicBezTo>
                  <a:cubicBezTo>
                    <a:pt x="1430" y="1240"/>
                    <a:pt x="1427" y="1242"/>
                    <a:pt x="1426" y="1247"/>
                  </a:cubicBezTo>
                  <a:close/>
                  <a:moveTo>
                    <a:pt x="1421" y="1180"/>
                  </a:moveTo>
                  <a:cubicBezTo>
                    <a:pt x="1421" y="1183"/>
                    <a:pt x="1421" y="1185"/>
                    <a:pt x="1421" y="1187"/>
                  </a:cubicBezTo>
                  <a:cubicBezTo>
                    <a:pt x="1419" y="1187"/>
                    <a:pt x="1417" y="1187"/>
                    <a:pt x="1415" y="1187"/>
                  </a:cubicBezTo>
                  <a:cubicBezTo>
                    <a:pt x="1415" y="1185"/>
                    <a:pt x="1415" y="1183"/>
                    <a:pt x="1415" y="1180"/>
                  </a:cubicBezTo>
                  <a:cubicBezTo>
                    <a:pt x="1417" y="1180"/>
                    <a:pt x="1419" y="1180"/>
                    <a:pt x="1421" y="1180"/>
                  </a:cubicBezTo>
                  <a:close/>
                  <a:moveTo>
                    <a:pt x="1424" y="244"/>
                  </a:moveTo>
                  <a:cubicBezTo>
                    <a:pt x="1425" y="252"/>
                    <a:pt x="1422" y="254"/>
                    <a:pt x="1421" y="259"/>
                  </a:cubicBezTo>
                  <a:cubicBezTo>
                    <a:pt x="1413" y="259"/>
                    <a:pt x="1414" y="242"/>
                    <a:pt x="1424" y="244"/>
                  </a:cubicBezTo>
                  <a:close/>
                  <a:moveTo>
                    <a:pt x="1424" y="1180"/>
                  </a:moveTo>
                  <a:cubicBezTo>
                    <a:pt x="1424" y="1176"/>
                    <a:pt x="1424" y="1173"/>
                    <a:pt x="1424" y="1169"/>
                  </a:cubicBezTo>
                  <a:cubicBezTo>
                    <a:pt x="1431" y="1164"/>
                    <a:pt x="1431" y="1185"/>
                    <a:pt x="1424" y="1180"/>
                  </a:cubicBezTo>
                  <a:close/>
                  <a:moveTo>
                    <a:pt x="1421" y="289"/>
                  </a:moveTo>
                  <a:cubicBezTo>
                    <a:pt x="1420" y="282"/>
                    <a:pt x="1427" y="284"/>
                    <a:pt x="1429" y="281"/>
                  </a:cubicBezTo>
                  <a:cubicBezTo>
                    <a:pt x="1435" y="273"/>
                    <a:pt x="1430" y="288"/>
                    <a:pt x="1421" y="289"/>
                  </a:cubicBezTo>
                  <a:close/>
                  <a:moveTo>
                    <a:pt x="1421" y="270"/>
                  </a:moveTo>
                  <a:cubicBezTo>
                    <a:pt x="1423" y="267"/>
                    <a:pt x="1424" y="262"/>
                    <a:pt x="1424" y="255"/>
                  </a:cubicBezTo>
                  <a:cubicBezTo>
                    <a:pt x="1426" y="255"/>
                    <a:pt x="1429" y="255"/>
                    <a:pt x="1432" y="255"/>
                  </a:cubicBezTo>
                  <a:cubicBezTo>
                    <a:pt x="1428" y="261"/>
                    <a:pt x="1429" y="272"/>
                    <a:pt x="1421" y="270"/>
                  </a:cubicBezTo>
                  <a:close/>
                  <a:moveTo>
                    <a:pt x="1413" y="189"/>
                  </a:moveTo>
                  <a:cubicBezTo>
                    <a:pt x="1413" y="185"/>
                    <a:pt x="1416" y="186"/>
                    <a:pt x="1418" y="185"/>
                  </a:cubicBezTo>
                  <a:cubicBezTo>
                    <a:pt x="1425" y="187"/>
                    <a:pt x="1417" y="168"/>
                    <a:pt x="1426" y="174"/>
                  </a:cubicBezTo>
                  <a:cubicBezTo>
                    <a:pt x="1425" y="177"/>
                    <a:pt x="1423" y="180"/>
                    <a:pt x="1424" y="185"/>
                  </a:cubicBezTo>
                  <a:cubicBezTo>
                    <a:pt x="1436" y="183"/>
                    <a:pt x="1428" y="174"/>
                    <a:pt x="1429" y="159"/>
                  </a:cubicBezTo>
                  <a:cubicBezTo>
                    <a:pt x="1434" y="152"/>
                    <a:pt x="1434" y="162"/>
                    <a:pt x="1442" y="159"/>
                  </a:cubicBezTo>
                  <a:cubicBezTo>
                    <a:pt x="1442" y="165"/>
                    <a:pt x="1434" y="161"/>
                    <a:pt x="1434" y="167"/>
                  </a:cubicBezTo>
                  <a:cubicBezTo>
                    <a:pt x="1434" y="173"/>
                    <a:pt x="1448" y="163"/>
                    <a:pt x="1448" y="178"/>
                  </a:cubicBezTo>
                  <a:cubicBezTo>
                    <a:pt x="1444" y="182"/>
                    <a:pt x="1441" y="182"/>
                    <a:pt x="1440" y="174"/>
                  </a:cubicBezTo>
                  <a:cubicBezTo>
                    <a:pt x="1433" y="179"/>
                    <a:pt x="1431" y="182"/>
                    <a:pt x="1434" y="193"/>
                  </a:cubicBezTo>
                  <a:cubicBezTo>
                    <a:pt x="1426" y="193"/>
                    <a:pt x="1423" y="186"/>
                    <a:pt x="1413" y="189"/>
                  </a:cubicBezTo>
                  <a:close/>
                  <a:moveTo>
                    <a:pt x="1437" y="1295"/>
                  </a:moveTo>
                  <a:cubicBezTo>
                    <a:pt x="1434" y="1294"/>
                    <a:pt x="1435" y="1288"/>
                    <a:pt x="1434" y="1284"/>
                  </a:cubicBezTo>
                  <a:cubicBezTo>
                    <a:pt x="1439" y="1282"/>
                    <a:pt x="1439" y="1286"/>
                    <a:pt x="1440" y="1291"/>
                  </a:cubicBezTo>
                  <a:cubicBezTo>
                    <a:pt x="1437" y="1290"/>
                    <a:pt x="1437" y="1292"/>
                    <a:pt x="1437" y="1295"/>
                  </a:cubicBezTo>
                  <a:close/>
                  <a:moveTo>
                    <a:pt x="1445" y="1273"/>
                  </a:moveTo>
                  <a:cubicBezTo>
                    <a:pt x="1443" y="1273"/>
                    <a:pt x="1442" y="1273"/>
                    <a:pt x="1440" y="1273"/>
                  </a:cubicBezTo>
                  <a:cubicBezTo>
                    <a:pt x="1440" y="1270"/>
                    <a:pt x="1440" y="1268"/>
                    <a:pt x="1440" y="1265"/>
                  </a:cubicBezTo>
                  <a:cubicBezTo>
                    <a:pt x="1442" y="1265"/>
                    <a:pt x="1443" y="1265"/>
                    <a:pt x="1445" y="1265"/>
                  </a:cubicBezTo>
                  <a:cubicBezTo>
                    <a:pt x="1445" y="1268"/>
                    <a:pt x="1445" y="1270"/>
                    <a:pt x="1445" y="1273"/>
                  </a:cubicBezTo>
                  <a:close/>
                  <a:moveTo>
                    <a:pt x="1448" y="1254"/>
                  </a:moveTo>
                  <a:cubicBezTo>
                    <a:pt x="1444" y="1251"/>
                    <a:pt x="1439" y="1249"/>
                    <a:pt x="1440" y="1239"/>
                  </a:cubicBezTo>
                  <a:cubicBezTo>
                    <a:pt x="1444" y="1237"/>
                    <a:pt x="1454" y="1244"/>
                    <a:pt x="1453" y="1235"/>
                  </a:cubicBezTo>
                  <a:cubicBezTo>
                    <a:pt x="1451" y="1232"/>
                    <a:pt x="1447" y="1232"/>
                    <a:pt x="1448" y="1225"/>
                  </a:cubicBezTo>
                  <a:cubicBezTo>
                    <a:pt x="1450" y="1225"/>
                    <a:pt x="1453" y="1225"/>
                    <a:pt x="1456" y="1225"/>
                  </a:cubicBezTo>
                  <a:cubicBezTo>
                    <a:pt x="1452" y="1229"/>
                    <a:pt x="1454" y="1236"/>
                    <a:pt x="1458" y="1239"/>
                  </a:cubicBezTo>
                  <a:cubicBezTo>
                    <a:pt x="1460" y="1251"/>
                    <a:pt x="1445" y="1241"/>
                    <a:pt x="1448" y="1254"/>
                  </a:cubicBezTo>
                  <a:close/>
                  <a:moveTo>
                    <a:pt x="1458" y="1302"/>
                  </a:moveTo>
                  <a:cubicBezTo>
                    <a:pt x="1463" y="1294"/>
                    <a:pt x="1465" y="1305"/>
                    <a:pt x="1472" y="1298"/>
                  </a:cubicBezTo>
                  <a:cubicBezTo>
                    <a:pt x="1475" y="1312"/>
                    <a:pt x="1460" y="1305"/>
                    <a:pt x="1458" y="1302"/>
                  </a:cubicBezTo>
                  <a:close/>
                  <a:moveTo>
                    <a:pt x="1475" y="655"/>
                  </a:moveTo>
                  <a:cubicBezTo>
                    <a:pt x="1472" y="658"/>
                    <a:pt x="1470" y="652"/>
                    <a:pt x="1469" y="651"/>
                  </a:cubicBezTo>
                  <a:cubicBezTo>
                    <a:pt x="1469" y="651"/>
                    <a:pt x="1464" y="644"/>
                    <a:pt x="1467" y="640"/>
                  </a:cubicBezTo>
                  <a:cubicBezTo>
                    <a:pt x="1469" y="637"/>
                    <a:pt x="1469" y="650"/>
                    <a:pt x="1469" y="651"/>
                  </a:cubicBezTo>
                  <a:cubicBezTo>
                    <a:pt x="1469" y="651"/>
                    <a:pt x="1477" y="652"/>
                    <a:pt x="1475" y="655"/>
                  </a:cubicBezTo>
                  <a:close/>
                  <a:moveTo>
                    <a:pt x="1469" y="588"/>
                  </a:moveTo>
                  <a:cubicBezTo>
                    <a:pt x="1473" y="575"/>
                    <a:pt x="1474" y="595"/>
                    <a:pt x="1472" y="596"/>
                  </a:cubicBezTo>
                  <a:cubicBezTo>
                    <a:pt x="1470" y="596"/>
                    <a:pt x="1469" y="591"/>
                    <a:pt x="1469" y="588"/>
                  </a:cubicBezTo>
                  <a:close/>
                  <a:moveTo>
                    <a:pt x="1475" y="285"/>
                  </a:moveTo>
                  <a:cubicBezTo>
                    <a:pt x="1473" y="280"/>
                    <a:pt x="1468" y="276"/>
                    <a:pt x="1469" y="267"/>
                  </a:cubicBezTo>
                  <a:cubicBezTo>
                    <a:pt x="1472" y="267"/>
                    <a:pt x="1475" y="267"/>
                    <a:pt x="1477" y="267"/>
                  </a:cubicBezTo>
                  <a:cubicBezTo>
                    <a:pt x="1472" y="277"/>
                    <a:pt x="1483" y="284"/>
                    <a:pt x="1483" y="281"/>
                  </a:cubicBezTo>
                  <a:cubicBezTo>
                    <a:pt x="1483" y="285"/>
                    <a:pt x="1475" y="285"/>
                    <a:pt x="1477" y="292"/>
                  </a:cubicBezTo>
                  <a:cubicBezTo>
                    <a:pt x="1474" y="293"/>
                    <a:pt x="1476" y="288"/>
                    <a:pt x="1475" y="285"/>
                  </a:cubicBezTo>
                  <a:close/>
                  <a:moveTo>
                    <a:pt x="1480" y="699"/>
                  </a:moveTo>
                  <a:cubicBezTo>
                    <a:pt x="1480" y="695"/>
                    <a:pt x="1479" y="693"/>
                    <a:pt x="1477" y="692"/>
                  </a:cubicBezTo>
                  <a:cubicBezTo>
                    <a:pt x="1478" y="687"/>
                    <a:pt x="1483" y="688"/>
                    <a:pt x="1483" y="692"/>
                  </a:cubicBezTo>
                  <a:cubicBezTo>
                    <a:pt x="1485" y="693"/>
                    <a:pt x="1485" y="690"/>
                    <a:pt x="1485" y="688"/>
                  </a:cubicBezTo>
                  <a:cubicBezTo>
                    <a:pt x="1490" y="687"/>
                    <a:pt x="1486" y="703"/>
                    <a:pt x="1480" y="699"/>
                  </a:cubicBezTo>
                  <a:close/>
                  <a:moveTo>
                    <a:pt x="1493" y="1243"/>
                  </a:moveTo>
                  <a:cubicBezTo>
                    <a:pt x="1482" y="1245"/>
                    <a:pt x="1494" y="1235"/>
                    <a:pt x="1491" y="1225"/>
                  </a:cubicBezTo>
                  <a:cubicBezTo>
                    <a:pt x="1494" y="1226"/>
                    <a:pt x="1497" y="1245"/>
                    <a:pt x="1493" y="1243"/>
                  </a:cubicBezTo>
                  <a:close/>
                  <a:moveTo>
                    <a:pt x="1485" y="566"/>
                  </a:moveTo>
                  <a:cubicBezTo>
                    <a:pt x="1484" y="561"/>
                    <a:pt x="1496" y="557"/>
                    <a:pt x="1488" y="555"/>
                  </a:cubicBezTo>
                  <a:cubicBezTo>
                    <a:pt x="1499" y="541"/>
                    <a:pt x="1484" y="571"/>
                    <a:pt x="1496" y="566"/>
                  </a:cubicBezTo>
                  <a:cubicBezTo>
                    <a:pt x="1494" y="577"/>
                    <a:pt x="1490" y="563"/>
                    <a:pt x="1485" y="566"/>
                  </a:cubicBezTo>
                  <a:close/>
                  <a:moveTo>
                    <a:pt x="1491" y="182"/>
                  </a:moveTo>
                  <a:cubicBezTo>
                    <a:pt x="1491" y="179"/>
                    <a:pt x="1493" y="178"/>
                    <a:pt x="1493" y="174"/>
                  </a:cubicBezTo>
                  <a:cubicBezTo>
                    <a:pt x="1497" y="176"/>
                    <a:pt x="1499" y="179"/>
                    <a:pt x="1499" y="185"/>
                  </a:cubicBezTo>
                  <a:cubicBezTo>
                    <a:pt x="1494" y="186"/>
                    <a:pt x="1494" y="182"/>
                    <a:pt x="1491" y="182"/>
                  </a:cubicBezTo>
                  <a:close/>
                  <a:moveTo>
                    <a:pt x="1499" y="1221"/>
                  </a:moveTo>
                  <a:cubicBezTo>
                    <a:pt x="1494" y="1218"/>
                    <a:pt x="1498" y="1214"/>
                    <a:pt x="1499" y="1210"/>
                  </a:cubicBezTo>
                  <a:cubicBezTo>
                    <a:pt x="1504" y="1212"/>
                    <a:pt x="1499" y="1216"/>
                    <a:pt x="1499" y="1221"/>
                  </a:cubicBezTo>
                  <a:close/>
                  <a:moveTo>
                    <a:pt x="1496" y="170"/>
                  </a:moveTo>
                  <a:cubicBezTo>
                    <a:pt x="1495" y="165"/>
                    <a:pt x="1511" y="165"/>
                    <a:pt x="1504" y="174"/>
                  </a:cubicBezTo>
                  <a:cubicBezTo>
                    <a:pt x="1505" y="173"/>
                    <a:pt x="1496" y="170"/>
                    <a:pt x="1496" y="170"/>
                  </a:cubicBezTo>
                  <a:close/>
                  <a:moveTo>
                    <a:pt x="1504" y="651"/>
                  </a:moveTo>
                  <a:cubicBezTo>
                    <a:pt x="1506" y="648"/>
                    <a:pt x="1507" y="643"/>
                    <a:pt x="1507" y="636"/>
                  </a:cubicBezTo>
                  <a:cubicBezTo>
                    <a:pt x="1510" y="637"/>
                    <a:pt x="1512" y="636"/>
                    <a:pt x="1512" y="633"/>
                  </a:cubicBezTo>
                  <a:cubicBezTo>
                    <a:pt x="1516" y="634"/>
                    <a:pt x="1513" y="639"/>
                    <a:pt x="1510" y="640"/>
                  </a:cubicBezTo>
                  <a:cubicBezTo>
                    <a:pt x="1510" y="648"/>
                    <a:pt x="1509" y="652"/>
                    <a:pt x="1504" y="651"/>
                  </a:cubicBezTo>
                  <a:close/>
                  <a:moveTo>
                    <a:pt x="1515" y="1180"/>
                  </a:moveTo>
                  <a:cubicBezTo>
                    <a:pt x="1512" y="1178"/>
                    <a:pt x="1509" y="1175"/>
                    <a:pt x="1510" y="1169"/>
                  </a:cubicBezTo>
                  <a:cubicBezTo>
                    <a:pt x="1513" y="1171"/>
                    <a:pt x="1515" y="1174"/>
                    <a:pt x="1515" y="1180"/>
                  </a:cubicBezTo>
                  <a:close/>
                  <a:moveTo>
                    <a:pt x="1523" y="1291"/>
                  </a:moveTo>
                  <a:cubicBezTo>
                    <a:pt x="1518" y="1280"/>
                    <a:pt x="1511" y="1294"/>
                    <a:pt x="1510" y="1276"/>
                  </a:cubicBezTo>
                  <a:cubicBezTo>
                    <a:pt x="1522" y="1278"/>
                    <a:pt x="1514" y="1273"/>
                    <a:pt x="1515" y="1261"/>
                  </a:cubicBezTo>
                  <a:cubicBezTo>
                    <a:pt x="1522" y="1259"/>
                    <a:pt x="1520" y="1269"/>
                    <a:pt x="1526" y="1269"/>
                  </a:cubicBezTo>
                  <a:cubicBezTo>
                    <a:pt x="1525" y="1273"/>
                    <a:pt x="1523" y="1271"/>
                    <a:pt x="1523" y="1269"/>
                  </a:cubicBezTo>
                  <a:cubicBezTo>
                    <a:pt x="1520" y="1269"/>
                    <a:pt x="1521" y="1273"/>
                    <a:pt x="1520" y="1276"/>
                  </a:cubicBezTo>
                  <a:cubicBezTo>
                    <a:pt x="1523" y="1287"/>
                    <a:pt x="1532" y="1275"/>
                    <a:pt x="1536" y="1276"/>
                  </a:cubicBezTo>
                  <a:cubicBezTo>
                    <a:pt x="1538" y="1290"/>
                    <a:pt x="1524" y="1281"/>
                    <a:pt x="1523" y="1291"/>
                  </a:cubicBezTo>
                  <a:close/>
                  <a:moveTo>
                    <a:pt x="1534" y="230"/>
                  </a:moveTo>
                  <a:cubicBezTo>
                    <a:pt x="1536" y="230"/>
                    <a:pt x="1537" y="230"/>
                    <a:pt x="1539" y="230"/>
                  </a:cubicBezTo>
                  <a:cubicBezTo>
                    <a:pt x="1540" y="240"/>
                    <a:pt x="1519" y="229"/>
                    <a:pt x="1534" y="230"/>
                  </a:cubicBezTo>
                  <a:close/>
                  <a:moveTo>
                    <a:pt x="1553" y="1291"/>
                  </a:moveTo>
                  <a:cubicBezTo>
                    <a:pt x="1551" y="1291"/>
                    <a:pt x="1549" y="1291"/>
                    <a:pt x="1547" y="1291"/>
                  </a:cubicBezTo>
                  <a:cubicBezTo>
                    <a:pt x="1547" y="1289"/>
                    <a:pt x="1547" y="1286"/>
                    <a:pt x="1547" y="1284"/>
                  </a:cubicBezTo>
                  <a:cubicBezTo>
                    <a:pt x="1549" y="1284"/>
                    <a:pt x="1551" y="1284"/>
                    <a:pt x="1553" y="1284"/>
                  </a:cubicBezTo>
                  <a:cubicBezTo>
                    <a:pt x="1553" y="1286"/>
                    <a:pt x="1553" y="1289"/>
                    <a:pt x="1553" y="1291"/>
                  </a:cubicBezTo>
                  <a:close/>
                  <a:moveTo>
                    <a:pt x="1550" y="1276"/>
                  </a:moveTo>
                  <a:cubicBezTo>
                    <a:pt x="1548" y="1276"/>
                    <a:pt x="1547" y="1273"/>
                    <a:pt x="1545" y="1273"/>
                  </a:cubicBezTo>
                  <a:cubicBezTo>
                    <a:pt x="1545" y="1270"/>
                    <a:pt x="1547" y="1269"/>
                    <a:pt x="1547" y="1265"/>
                  </a:cubicBezTo>
                  <a:cubicBezTo>
                    <a:pt x="1549" y="1266"/>
                    <a:pt x="1550" y="1269"/>
                    <a:pt x="1553" y="1269"/>
                  </a:cubicBezTo>
                  <a:cubicBezTo>
                    <a:pt x="1552" y="1272"/>
                    <a:pt x="1550" y="1273"/>
                    <a:pt x="1550" y="1276"/>
                  </a:cubicBezTo>
                  <a:close/>
                  <a:moveTo>
                    <a:pt x="1555" y="1265"/>
                  </a:moveTo>
                  <a:cubicBezTo>
                    <a:pt x="1550" y="1266"/>
                    <a:pt x="1552" y="1257"/>
                    <a:pt x="1550" y="1254"/>
                  </a:cubicBezTo>
                  <a:cubicBezTo>
                    <a:pt x="1547" y="1251"/>
                    <a:pt x="1547" y="1254"/>
                    <a:pt x="1545" y="1250"/>
                  </a:cubicBezTo>
                  <a:cubicBezTo>
                    <a:pt x="1543" y="1247"/>
                    <a:pt x="1539" y="1246"/>
                    <a:pt x="1539" y="1239"/>
                  </a:cubicBezTo>
                  <a:cubicBezTo>
                    <a:pt x="1549" y="1240"/>
                    <a:pt x="1547" y="1243"/>
                    <a:pt x="1555" y="1239"/>
                  </a:cubicBezTo>
                  <a:cubicBezTo>
                    <a:pt x="1556" y="1250"/>
                    <a:pt x="1555" y="1252"/>
                    <a:pt x="1550" y="1247"/>
                  </a:cubicBezTo>
                  <a:cubicBezTo>
                    <a:pt x="1548" y="1258"/>
                    <a:pt x="1559" y="1251"/>
                    <a:pt x="1555" y="1265"/>
                  </a:cubicBezTo>
                  <a:close/>
                  <a:moveTo>
                    <a:pt x="1547" y="555"/>
                  </a:moveTo>
                  <a:cubicBezTo>
                    <a:pt x="1551" y="562"/>
                    <a:pt x="1556" y="568"/>
                    <a:pt x="1561" y="574"/>
                  </a:cubicBezTo>
                  <a:cubicBezTo>
                    <a:pt x="1558" y="579"/>
                    <a:pt x="1545" y="569"/>
                    <a:pt x="1547" y="555"/>
                  </a:cubicBezTo>
                  <a:close/>
                  <a:moveTo>
                    <a:pt x="1566" y="1243"/>
                  </a:moveTo>
                  <a:cubicBezTo>
                    <a:pt x="1560" y="1244"/>
                    <a:pt x="1563" y="1232"/>
                    <a:pt x="1558" y="1232"/>
                  </a:cubicBezTo>
                  <a:cubicBezTo>
                    <a:pt x="1558" y="1223"/>
                    <a:pt x="1567" y="1231"/>
                    <a:pt x="1569" y="1232"/>
                  </a:cubicBezTo>
                  <a:cubicBezTo>
                    <a:pt x="1567" y="1235"/>
                    <a:pt x="1566" y="1238"/>
                    <a:pt x="1566" y="1243"/>
                  </a:cubicBezTo>
                  <a:close/>
                  <a:moveTo>
                    <a:pt x="1561" y="1199"/>
                  </a:moveTo>
                  <a:cubicBezTo>
                    <a:pt x="1561" y="1195"/>
                    <a:pt x="1561" y="1191"/>
                    <a:pt x="1561" y="1187"/>
                  </a:cubicBezTo>
                  <a:cubicBezTo>
                    <a:pt x="1568" y="1185"/>
                    <a:pt x="1566" y="1195"/>
                    <a:pt x="1571" y="1195"/>
                  </a:cubicBezTo>
                  <a:cubicBezTo>
                    <a:pt x="1571" y="1200"/>
                    <a:pt x="1565" y="1198"/>
                    <a:pt x="1561" y="1199"/>
                  </a:cubicBezTo>
                  <a:close/>
                  <a:moveTo>
                    <a:pt x="1580" y="1250"/>
                  </a:moveTo>
                  <a:cubicBezTo>
                    <a:pt x="1577" y="1246"/>
                    <a:pt x="1570" y="1249"/>
                    <a:pt x="1571" y="1239"/>
                  </a:cubicBezTo>
                  <a:cubicBezTo>
                    <a:pt x="1574" y="1243"/>
                    <a:pt x="1581" y="1240"/>
                    <a:pt x="1580" y="1250"/>
                  </a:cubicBezTo>
                  <a:close/>
                  <a:moveTo>
                    <a:pt x="1577" y="640"/>
                  </a:moveTo>
                  <a:cubicBezTo>
                    <a:pt x="1577" y="638"/>
                    <a:pt x="1577" y="635"/>
                    <a:pt x="1577" y="633"/>
                  </a:cubicBezTo>
                  <a:cubicBezTo>
                    <a:pt x="1579" y="633"/>
                    <a:pt x="1580" y="633"/>
                    <a:pt x="1582" y="633"/>
                  </a:cubicBezTo>
                  <a:cubicBezTo>
                    <a:pt x="1582" y="635"/>
                    <a:pt x="1582" y="638"/>
                    <a:pt x="1582" y="640"/>
                  </a:cubicBezTo>
                  <a:cubicBezTo>
                    <a:pt x="1580" y="640"/>
                    <a:pt x="1579" y="640"/>
                    <a:pt x="1577" y="640"/>
                  </a:cubicBezTo>
                  <a:close/>
                  <a:moveTo>
                    <a:pt x="1598" y="1254"/>
                  </a:moveTo>
                  <a:cubicBezTo>
                    <a:pt x="1593" y="1257"/>
                    <a:pt x="1592" y="1248"/>
                    <a:pt x="1590" y="1247"/>
                  </a:cubicBezTo>
                  <a:cubicBezTo>
                    <a:pt x="1588" y="1246"/>
                    <a:pt x="1585" y="1252"/>
                    <a:pt x="1582" y="1247"/>
                  </a:cubicBezTo>
                  <a:cubicBezTo>
                    <a:pt x="1587" y="1239"/>
                    <a:pt x="1600" y="1236"/>
                    <a:pt x="1598" y="1254"/>
                  </a:cubicBezTo>
                  <a:close/>
                  <a:moveTo>
                    <a:pt x="1633" y="1291"/>
                  </a:moveTo>
                  <a:cubicBezTo>
                    <a:pt x="1625" y="1305"/>
                    <a:pt x="1624" y="1280"/>
                    <a:pt x="1633" y="1291"/>
                  </a:cubicBezTo>
                  <a:close/>
                  <a:moveTo>
                    <a:pt x="1628" y="1313"/>
                  </a:moveTo>
                  <a:cubicBezTo>
                    <a:pt x="1628" y="1308"/>
                    <a:pt x="1628" y="1303"/>
                    <a:pt x="1628" y="1298"/>
                  </a:cubicBezTo>
                  <a:cubicBezTo>
                    <a:pt x="1637" y="1298"/>
                    <a:pt x="1638" y="1316"/>
                    <a:pt x="1628" y="1313"/>
                  </a:cubicBezTo>
                  <a:close/>
                  <a:moveTo>
                    <a:pt x="1625" y="1250"/>
                  </a:moveTo>
                  <a:cubicBezTo>
                    <a:pt x="1617" y="1249"/>
                    <a:pt x="1607" y="1253"/>
                    <a:pt x="1601" y="1247"/>
                  </a:cubicBezTo>
                  <a:cubicBezTo>
                    <a:pt x="1602" y="1236"/>
                    <a:pt x="1609" y="1246"/>
                    <a:pt x="1612" y="1247"/>
                  </a:cubicBezTo>
                  <a:cubicBezTo>
                    <a:pt x="1614" y="1247"/>
                    <a:pt x="1615" y="1242"/>
                    <a:pt x="1617" y="1243"/>
                  </a:cubicBezTo>
                  <a:cubicBezTo>
                    <a:pt x="1618" y="1243"/>
                    <a:pt x="1617" y="1246"/>
                    <a:pt x="1620" y="1247"/>
                  </a:cubicBezTo>
                  <a:cubicBezTo>
                    <a:pt x="1625" y="1247"/>
                    <a:pt x="1629" y="1246"/>
                    <a:pt x="1636" y="1247"/>
                  </a:cubicBezTo>
                  <a:cubicBezTo>
                    <a:pt x="1638" y="1240"/>
                    <a:pt x="1638" y="1251"/>
                    <a:pt x="1641" y="1250"/>
                  </a:cubicBezTo>
                  <a:cubicBezTo>
                    <a:pt x="1639" y="1261"/>
                    <a:pt x="1631" y="1251"/>
                    <a:pt x="1625" y="1250"/>
                  </a:cubicBezTo>
                  <a:close/>
                  <a:moveTo>
                    <a:pt x="1641" y="588"/>
                  </a:moveTo>
                  <a:cubicBezTo>
                    <a:pt x="1641" y="595"/>
                    <a:pt x="1648" y="600"/>
                    <a:pt x="1639" y="599"/>
                  </a:cubicBezTo>
                  <a:cubicBezTo>
                    <a:pt x="1637" y="611"/>
                    <a:pt x="1644" y="611"/>
                    <a:pt x="1639" y="618"/>
                  </a:cubicBezTo>
                  <a:cubicBezTo>
                    <a:pt x="1627" y="611"/>
                    <a:pt x="1643" y="590"/>
                    <a:pt x="1641" y="574"/>
                  </a:cubicBezTo>
                  <a:cubicBezTo>
                    <a:pt x="1638" y="569"/>
                    <a:pt x="1641" y="572"/>
                    <a:pt x="1644" y="574"/>
                  </a:cubicBezTo>
                  <a:cubicBezTo>
                    <a:pt x="1646" y="581"/>
                    <a:pt x="1641" y="583"/>
                    <a:pt x="1641" y="588"/>
                  </a:cubicBezTo>
                  <a:close/>
                  <a:moveTo>
                    <a:pt x="2066" y="156"/>
                  </a:moveTo>
                  <a:cubicBezTo>
                    <a:pt x="2076" y="166"/>
                    <a:pt x="2060" y="179"/>
                    <a:pt x="2066" y="156"/>
                  </a:cubicBezTo>
                  <a:close/>
                  <a:moveTo>
                    <a:pt x="2055" y="562"/>
                  </a:moveTo>
                  <a:cubicBezTo>
                    <a:pt x="2055" y="562"/>
                    <a:pt x="2053" y="563"/>
                    <a:pt x="2053" y="562"/>
                  </a:cubicBezTo>
                  <a:cubicBezTo>
                    <a:pt x="2043" y="552"/>
                    <a:pt x="2062" y="561"/>
                    <a:pt x="2058" y="566"/>
                  </a:cubicBezTo>
                  <a:cubicBezTo>
                    <a:pt x="2057" y="568"/>
                    <a:pt x="2052" y="570"/>
                    <a:pt x="2053" y="566"/>
                  </a:cubicBezTo>
                  <a:cubicBezTo>
                    <a:pt x="2053" y="565"/>
                    <a:pt x="2056" y="566"/>
                    <a:pt x="2055" y="562"/>
                  </a:cubicBezTo>
                  <a:close/>
                  <a:moveTo>
                    <a:pt x="2034" y="296"/>
                  </a:moveTo>
                  <a:cubicBezTo>
                    <a:pt x="2038" y="296"/>
                    <a:pt x="2042" y="312"/>
                    <a:pt x="2042" y="296"/>
                  </a:cubicBezTo>
                  <a:cubicBezTo>
                    <a:pt x="2051" y="297"/>
                    <a:pt x="2042" y="306"/>
                    <a:pt x="2047" y="307"/>
                  </a:cubicBezTo>
                  <a:cubicBezTo>
                    <a:pt x="2047" y="312"/>
                    <a:pt x="2042" y="311"/>
                    <a:pt x="2042" y="307"/>
                  </a:cubicBezTo>
                  <a:cubicBezTo>
                    <a:pt x="2037" y="307"/>
                    <a:pt x="2036" y="312"/>
                    <a:pt x="2031" y="311"/>
                  </a:cubicBezTo>
                  <a:cubicBezTo>
                    <a:pt x="2031" y="304"/>
                    <a:pt x="2035" y="303"/>
                    <a:pt x="2034" y="296"/>
                  </a:cubicBezTo>
                  <a:close/>
                  <a:moveTo>
                    <a:pt x="2039" y="285"/>
                  </a:moveTo>
                  <a:cubicBezTo>
                    <a:pt x="2041" y="274"/>
                    <a:pt x="2045" y="289"/>
                    <a:pt x="2050" y="285"/>
                  </a:cubicBezTo>
                  <a:cubicBezTo>
                    <a:pt x="2050" y="294"/>
                    <a:pt x="2041" y="286"/>
                    <a:pt x="2039" y="285"/>
                  </a:cubicBezTo>
                  <a:close/>
                  <a:moveTo>
                    <a:pt x="2058" y="241"/>
                  </a:moveTo>
                  <a:cubicBezTo>
                    <a:pt x="2051" y="236"/>
                    <a:pt x="2066" y="214"/>
                    <a:pt x="2058" y="241"/>
                  </a:cubicBezTo>
                  <a:close/>
                  <a:moveTo>
                    <a:pt x="2050" y="174"/>
                  </a:moveTo>
                  <a:cubicBezTo>
                    <a:pt x="2060" y="185"/>
                    <a:pt x="2042" y="187"/>
                    <a:pt x="2050" y="174"/>
                  </a:cubicBezTo>
                  <a:close/>
                  <a:moveTo>
                    <a:pt x="2053" y="244"/>
                  </a:moveTo>
                  <a:cubicBezTo>
                    <a:pt x="2061" y="248"/>
                    <a:pt x="2052" y="257"/>
                    <a:pt x="2050" y="259"/>
                  </a:cubicBezTo>
                  <a:cubicBezTo>
                    <a:pt x="2047" y="259"/>
                    <a:pt x="2048" y="255"/>
                    <a:pt x="2047" y="252"/>
                  </a:cubicBezTo>
                  <a:cubicBezTo>
                    <a:pt x="2045" y="251"/>
                    <a:pt x="2045" y="253"/>
                    <a:pt x="2045" y="255"/>
                  </a:cubicBezTo>
                  <a:cubicBezTo>
                    <a:pt x="2042" y="256"/>
                    <a:pt x="2042" y="254"/>
                    <a:pt x="2042" y="252"/>
                  </a:cubicBezTo>
                  <a:cubicBezTo>
                    <a:pt x="2042" y="249"/>
                    <a:pt x="2042" y="247"/>
                    <a:pt x="2042" y="244"/>
                  </a:cubicBezTo>
                  <a:cubicBezTo>
                    <a:pt x="2047" y="241"/>
                    <a:pt x="2051" y="255"/>
                    <a:pt x="2053" y="244"/>
                  </a:cubicBezTo>
                  <a:close/>
                  <a:moveTo>
                    <a:pt x="2037" y="185"/>
                  </a:moveTo>
                  <a:cubicBezTo>
                    <a:pt x="2038" y="185"/>
                    <a:pt x="2040" y="185"/>
                    <a:pt x="2042" y="185"/>
                  </a:cubicBezTo>
                  <a:cubicBezTo>
                    <a:pt x="2042" y="188"/>
                    <a:pt x="2042" y="190"/>
                    <a:pt x="2042" y="193"/>
                  </a:cubicBezTo>
                  <a:cubicBezTo>
                    <a:pt x="2040" y="193"/>
                    <a:pt x="2038" y="193"/>
                    <a:pt x="2037" y="193"/>
                  </a:cubicBezTo>
                  <a:cubicBezTo>
                    <a:pt x="2037" y="190"/>
                    <a:pt x="2037" y="188"/>
                    <a:pt x="2037" y="185"/>
                  </a:cubicBezTo>
                  <a:close/>
                  <a:moveTo>
                    <a:pt x="2031" y="233"/>
                  </a:moveTo>
                  <a:cubicBezTo>
                    <a:pt x="2041" y="232"/>
                    <a:pt x="2035" y="253"/>
                    <a:pt x="2039" y="259"/>
                  </a:cubicBezTo>
                  <a:cubicBezTo>
                    <a:pt x="2029" y="262"/>
                    <a:pt x="2032" y="245"/>
                    <a:pt x="2031" y="233"/>
                  </a:cubicBezTo>
                  <a:close/>
                  <a:moveTo>
                    <a:pt x="2018" y="548"/>
                  </a:moveTo>
                  <a:cubicBezTo>
                    <a:pt x="2030" y="550"/>
                    <a:pt x="2016" y="570"/>
                    <a:pt x="2018" y="548"/>
                  </a:cubicBezTo>
                  <a:close/>
                  <a:moveTo>
                    <a:pt x="2020" y="1180"/>
                  </a:moveTo>
                  <a:cubicBezTo>
                    <a:pt x="2019" y="1187"/>
                    <a:pt x="2016" y="1181"/>
                    <a:pt x="2012" y="1180"/>
                  </a:cubicBezTo>
                  <a:cubicBezTo>
                    <a:pt x="2014" y="1173"/>
                    <a:pt x="2017" y="1180"/>
                    <a:pt x="2020" y="1180"/>
                  </a:cubicBezTo>
                  <a:close/>
                  <a:moveTo>
                    <a:pt x="2010" y="156"/>
                  </a:moveTo>
                  <a:cubicBezTo>
                    <a:pt x="2018" y="150"/>
                    <a:pt x="2018" y="172"/>
                    <a:pt x="2010" y="167"/>
                  </a:cubicBezTo>
                  <a:cubicBezTo>
                    <a:pt x="2010" y="163"/>
                    <a:pt x="2010" y="159"/>
                    <a:pt x="2010" y="156"/>
                  </a:cubicBezTo>
                  <a:close/>
                  <a:moveTo>
                    <a:pt x="2010" y="174"/>
                  </a:moveTo>
                  <a:cubicBezTo>
                    <a:pt x="2011" y="167"/>
                    <a:pt x="2013" y="176"/>
                    <a:pt x="2012" y="182"/>
                  </a:cubicBezTo>
                  <a:cubicBezTo>
                    <a:pt x="2011" y="189"/>
                    <a:pt x="2009" y="179"/>
                    <a:pt x="2010" y="174"/>
                  </a:cubicBezTo>
                  <a:close/>
                  <a:moveTo>
                    <a:pt x="2012" y="559"/>
                  </a:moveTo>
                  <a:cubicBezTo>
                    <a:pt x="2009" y="557"/>
                    <a:pt x="2007" y="554"/>
                    <a:pt x="2007" y="548"/>
                  </a:cubicBezTo>
                  <a:cubicBezTo>
                    <a:pt x="2010" y="549"/>
                    <a:pt x="2013" y="552"/>
                    <a:pt x="2012" y="559"/>
                  </a:cubicBezTo>
                  <a:close/>
                  <a:moveTo>
                    <a:pt x="2007" y="1187"/>
                  </a:moveTo>
                  <a:cubicBezTo>
                    <a:pt x="2019" y="1189"/>
                    <a:pt x="2004" y="1209"/>
                    <a:pt x="2007" y="1187"/>
                  </a:cubicBezTo>
                  <a:close/>
                  <a:moveTo>
                    <a:pt x="1991" y="182"/>
                  </a:moveTo>
                  <a:cubicBezTo>
                    <a:pt x="1995" y="172"/>
                    <a:pt x="2006" y="183"/>
                    <a:pt x="2004" y="193"/>
                  </a:cubicBezTo>
                  <a:cubicBezTo>
                    <a:pt x="1998" y="197"/>
                    <a:pt x="1993" y="182"/>
                    <a:pt x="1991" y="193"/>
                  </a:cubicBezTo>
                  <a:cubicBezTo>
                    <a:pt x="1988" y="192"/>
                    <a:pt x="1989" y="185"/>
                    <a:pt x="1986" y="185"/>
                  </a:cubicBezTo>
                  <a:cubicBezTo>
                    <a:pt x="1985" y="178"/>
                    <a:pt x="2004" y="189"/>
                    <a:pt x="1991" y="182"/>
                  </a:cubicBezTo>
                  <a:close/>
                  <a:moveTo>
                    <a:pt x="1996" y="537"/>
                  </a:moveTo>
                  <a:cubicBezTo>
                    <a:pt x="1995" y="544"/>
                    <a:pt x="1995" y="552"/>
                    <a:pt x="1988" y="551"/>
                  </a:cubicBezTo>
                  <a:cubicBezTo>
                    <a:pt x="1989" y="548"/>
                    <a:pt x="1991" y="545"/>
                    <a:pt x="1994" y="544"/>
                  </a:cubicBezTo>
                  <a:cubicBezTo>
                    <a:pt x="1991" y="539"/>
                    <a:pt x="1991" y="536"/>
                    <a:pt x="1996" y="537"/>
                  </a:cubicBezTo>
                  <a:close/>
                  <a:moveTo>
                    <a:pt x="1996" y="1169"/>
                  </a:moveTo>
                  <a:cubicBezTo>
                    <a:pt x="1999" y="1172"/>
                    <a:pt x="2000" y="1180"/>
                    <a:pt x="1996" y="1187"/>
                  </a:cubicBezTo>
                  <a:cubicBezTo>
                    <a:pt x="1990" y="1187"/>
                    <a:pt x="1995" y="1171"/>
                    <a:pt x="1996" y="1169"/>
                  </a:cubicBezTo>
                  <a:close/>
                  <a:moveTo>
                    <a:pt x="1996" y="211"/>
                  </a:moveTo>
                  <a:cubicBezTo>
                    <a:pt x="1990" y="213"/>
                    <a:pt x="1990" y="204"/>
                    <a:pt x="1983" y="207"/>
                  </a:cubicBezTo>
                  <a:cubicBezTo>
                    <a:pt x="1989" y="197"/>
                    <a:pt x="1991" y="205"/>
                    <a:pt x="1999" y="200"/>
                  </a:cubicBezTo>
                  <a:cubicBezTo>
                    <a:pt x="1998" y="203"/>
                    <a:pt x="1996" y="206"/>
                    <a:pt x="1996" y="211"/>
                  </a:cubicBezTo>
                  <a:close/>
                  <a:moveTo>
                    <a:pt x="1999" y="570"/>
                  </a:moveTo>
                  <a:cubicBezTo>
                    <a:pt x="2011" y="571"/>
                    <a:pt x="1996" y="591"/>
                    <a:pt x="1999" y="570"/>
                  </a:cubicBezTo>
                  <a:close/>
                  <a:moveTo>
                    <a:pt x="1986" y="122"/>
                  </a:moveTo>
                  <a:cubicBezTo>
                    <a:pt x="1988" y="123"/>
                    <a:pt x="1987" y="130"/>
                    <a:pt x="1991" y="130"/>
                  </a:cubicBezTo>
                  <a:cubicBezTo>
                    <a:pt x="1990" y="134"/>
                    <a:pt x="1986" y="132"/>
                    <a:pt x="1986" y="137"/>
                  </a:cubicBezTo>
                  <a:cubicBezTo>
                    <a:pt x="1977" y="135"/>
                    <a:pt x="1988" y="129"/>
                    <a:pt x="1986" y="122"/>
                  </a:cubicBezTo>
                  <a:close/>
                  <a:moveTo>
                    <a:pt x="1977" y="133"/>
                  </a:moveTo>
                  <a:cubicBezTo>
                    <a:pt x="1976" y="133"/>
                    <a:pt x="1974" y="133"/>
                    <a:pt x="1972" y="133"/>
                  </a:cubicBezTo>
                  <a:cubicBezTo>
                    <a:pt x="1973" y="130"/>
                    <a:pt x="1971" y="130"/>
                    <a:pt x="1969" y="130"/>
                  </a:cubicBezTo>
                  <a:cubicBezTo>
                    <a:pt x="1968" y="123"/>
                    <a:pt x="1982" y="124"/>
                    <a:pt x="1977" y="133"/>
                  </a:cubicBezTo>
                  <a:close/>
                  <a:moveTo>
                    <a:pt x="1961" y="133"/>
                  </a:moveTo>
                  <a:cubicBezTo>
                    <a:pt x="1966" y="142"/>
                    <a:pt x="1971" y="147"/>
                    <a:pt x="1980" y="141"/>
                  </a:cubicBezTo>
                  <a:cubicBezTo>
                    <a:pt x="1979" y="144"/>
                    <a:pt x="1978" y="145"/>
                    <a:pt x="1977" y="148"/>
                  </a:cubicBezTo>
                  <a:cubicBezTo>
                    <a:pt x="1977" y="156"/>
                    <a:pt x="1983" y="158"/>
                    <a:pt x="1983" y="163"/>
                  </a:cubicBezTo>
                  <a:cubicBezTo>
                    <a:pt x="1982" y="176"/>
                    <a:pt x="1978" y="182"/>
                    <a:pt x="1972" y="193"/>
                  </a:cubicBezTo>
                  <a:cubicBezTo>
                    <a:pt x="1969" y="192"/>
                    <a:pt x="1972" y="174"/>
                    <a:pt x="1975" y="174"/>
                  </a:cubicBezTo>
                  <a:cubicBezTo>
                    <a:pt x="1979" y="174"/>
                    <a:pt x="1974" y="159"/>
                    <a:pt x="1972" y="152"/>
                  </a:cubicBezTo>
                  <a:cubicBezTo>
                    <a:pt x="1968" y="152"/>
                    <a:pt x="1971" y="159"/>
                    <a:pt x="1969" y="163"/>
                  </a:cubicBezTo>
                  <a:cubicBezTo>
                    <a:pt x="1964" y="176"/>
                    <a:pt x="1972" y="145"/>
                    <a:pt x="1961" y="148"/>
                  </a:cubicBezTo>
                  <a:cubicBezTo>
                    <a:pt x="1961" y="143"/>
                    <a:pt x="1961" y="138"/>
                    <a:pt x="1961" y="133"/>
                  </a:cubicBezTo>
                  <a:close/>
                  <a:moveTo>
                    <a:pt x="1969" y="1232"/>
                  </a:moveTo>
                  <a:cubicBezTo>
                    <a:pt x="1973" y="1227"/>
                    <a:pt x="1971" y="1214"/>
                    <a:pt x="1961" y="1217"/>
                  </a:cubicBezTo>
                  <a:cubicBezTo>
                    <a:pt x="1960" y="1209"/>
                    <a:pt x="1966" y="1212"/>
                    <a:pt x="1967" y="1206"/>
                  </a:cubicBezTo>
                  <a:cubicBezTo>
                    <a:pt x="1967" y="1202"/>
                    <a:pt x="1972" y="1203"/>
                    <a:pt x="1975" y="1202"/>
                  </a:cubicBezTo>
                  <a:cubicBezTo>
                    <a:pt x="1976" y="1211"/>
                    <a:pt x="1974" y="1216"/>
                    <a:pt x="1972" y="1221"/>
                  </a:cubicBezTo>
                  <a:cubicBezTo>
                    <a:pt x="1974" y="1224"/>
                    <a:pt x="1978" y="1234"/>
                    <a:pt x="1969" y="1232"/>
                  </a:cubicBezTo>
                  <a:close/>
                  <a:moveTo>
                    <a:pt x="1964" y="1306"/>
                  </a:moveTo>
                  <a:cubicBezTo>
                    <a:pt x="1963" y="1310"/>
                    <a:pt x="1961" y="1313"/>
                    <a:pt x="1956" y="1313"/>
                  </a:cubicBezTo>
                  <a:cubicBezTo>
                    <a:pt x="1957" y="1309"/>
                    <a:pt x="1959" y="1306"/>
                    <a:pt x="1964" y="1306"/>
                  </a:cubicBezTo>
                  <a:close/>
                  <a:moveTo>
                    <a:pt x="1964" y="207"/>
                  </a:moveTo>
                  <a:cubicBezTo>
                    <a:pt x="1964" y="205"/>
                    <a:pt x="1964" y="202"/>
                    <a:pt x="1964" y="200"/>
                  </a:cubicBezTo>
                  <a:cubicBezTo>
                    <a:pt x="1969" y="199"/>
                    <a:pt x="1972" y="201"/>
                    <a:pt x="1972" y="207"/>
                  </a:cubicBezTo>
                  <a:cubicBezTo>
                    <a:pt x="1969" y="207"/>
                    <a:pt x="1967" y="207"/>
                    <a:pt x="1964" y="207"/>
                  </a:cubicBezTo>
                  <a:close/>
                  <a:moveTo>
                    <a:pt x="1961" y="163"/>
                  </a:moveTo>
                  <a:cubicBezTo>
                    <a:pt x="1969" y="151"/>
                    <a:pt x="1953" y="183"/>
                    <a:pt x="1967" y="178"/>
                  </a:cubicBezTo>
                  <a:cubicBezTo>
                    <a:pt x="1967" y="184"/>
                    <a:pt x="1963" y="186"/>
                    <a:pt x="1964" y="193"/>
                  </a:cubicBezTo>
                  <a:cubicBezTo>
                    <a:pt x="1960" y="187"/>
                    <a:pt x="1956" y="171"/>
                    <a:pt x="1961" y="163"/>
                  </a:cubicBezTo>
                  <a:close/>
                  <a:moveTo>
                    <a:pt x="1940" y="108"/>
                  </a:moveTo>
                  <a:cubicBezTo>
                    <a:pt x="1942" y="108"/>
                    <a:pt x="1945" y="108"/>
                    <a:pt x="1948" y="108"/>
                  </a:cubicBezTo>
                  <a:cubicBezTo>
                    <a:pt x="1945" y="115"/>
                    <a:pt x="1952" y="125"/>
                    <a:pt x="1953" y="115"/>
                  </a:cubicBezTo>
                  <a:cubicBezTo>
                    <a:pt x="1956" y="114"/>
                    <a:pt x="1956" y="116"/>
                    <a:pt x="1956" y="119"/>
                  </a:cubicBezTo>
                  <a:cubicBezTo>
                    <a:pt x="1955" y="122"/>
                    <a:pt x="1957" y="122"/>
                    <a:pt x="1959" y="122"/>
                  </a:cubicBezTo>
                  <a:cubicBezTo>
                    <a:pt x="1959" y="127"/>
                    <a:pt x="1954" y="124"/>
                    <a:pt x="1953" y="126"/>
                  </a:cubicBezTo>
                  <a:cubicBezTo>
                    <a:pt x="1951" y="130"/>
                    <a:pt x="1954" y="139"/>
                    <a:pt x="1951" y="141"/>
                  </a:cubicBezTo>
                  <a:cubicBezTo>
                    <a:pt x="1947" y="138"/>
                    <a:pt x="1945" y="132"/>
                    <a:pt x="1945" y="122"/>
                  </a:cubicBezTo>
                  <a:cubicBezTo>
                    <a:pt x="1943" y="122"/>
                    <a:pt x="1943" y="127"/>
                    <a:pt x="1942" y="130"/>
                  </a:cubicBezTo>
                  <a:cubicBezTo>
                    <a:pt x="1940" y="128"/>
                    <a:pt x="1938" y="126"/>
                    <a:pt x="1934" y="126"/>
                  </a:cubicBezTo>
                  <a:cubicBezTo>
                    <a:pt x="1937" y="121"/>
                    <a:pt x="1937" y="112"/>
                    <a:pt x="1940" y="108"/>
                  </a:cubicBezTo>
                  <a:close/>
                  <a:moveTo>
                    <a:pt x="1937" y="174"/>
                  </a:moveTo>
                  <a:cubicBezTo>
                    <a:pt x="1934" y="161"/>
                    <a:pt x="1954" y="164"/>
                    <a:pt x="1948" y="178"/>
                  </a:cubicBezTo>
                  <a:cubicBezTo>
                    <a:pt x="1943" y="171"/>
                    <a:pt x="1946" y="171"/>
                    <a:pt x="1937" y="174"/>
                  </a:cubicBezTo>
                  <a:close/>
                  <a:moveTo>
                    <a:pt x="1945" y="1095"/>
                  </a:moveTo>
                  <a:cubicBezTo>
                    <a:pt x="1944" y="1100"/>
                    <a:pt x="1942" y="1103"/>
                    <a:pt x="1937" y="1102"/>
                  </a:cubicBezTo>
                  <a:cubicBezTo>
                    <a:pt x="1938" y="1098"/>
                    <a:pt x="1941" y="1095"/>
                    <a:pt x="1945" y="1095"/>
                  </a:cubicBezTo>
                  <a:close/>
                  <a:moveTo>
                    <a:pt x="1942" y="137"/>
                  </a:moveTo>
                  <a:cubicBezTo>
                    <a:pt x="1941" y="142"/>
                    <a:pt x="1939" y="145"/>
                    <a:pt x="1934" y="145"/>
                  </a:cubicBezTo>
                  <a:cubicBezTo>
                    <a:pt x="1936" y="140"/>
                    <a:pt x="1938" y="137"/>
                    <a:pt x="1942" y="137"/>
                  </a:cubicBezTo>
                  <a:close/>
                  <a:moveTo>
                    <a:pt x="1908" y="193"/>
                  </a:moveTo>
                  <a:cubicBezTo>
                    <a:pt x="1910" y="201"/>
                    <a:pt x="1917" y="202"/>
                    <a:pt x="1921" y="207"/>
                  </a:cubicBezTo>
                  <a:cubicBezTo>
                    <a:pt x="1919" y="214"/>
                    <a:pt x="1915" y="210"/>
                    <a:pt x="1916" y="204"/>
                  </a:cubicBezTo>
                  <a:cubicBezTo>
                    <a:pt x="1910" y="205"/>
                    <a:pt x="1909" y="201"/>
                    <a:pt x="1905" y="200"/>
                  </a:cubicBezTo>
                  <a:cubicBezTo>
                    <a:pt x="1901" y="191"/>
                    <a:pt x="1913" y="185"/>
                    <a:pt x="1905" y="182"/>
                  </a:cubicBezTo>
                  <a:cubicBezTo>
                    <a:pt x="1905" y="173"/>
                    <a:pt x="1912" y="183"/>
                    <a:pt x="1913" y="182"/>
                  </a:cubicBezTo>
                  <a:cubicBezTo>
                    <a:pt x="1913" y="181"/>
                    <a:pt x="1913" y="178"/>
                    <a:pt x="1913" y="178"/>
                  </a:cubicBezTo>
                  <a:cubicBezTo>
                    <a:pt x="1919" y="179"/>
                    <a:pt x="1920" y="185"/>
                    <a:pt x="1924" y="193"/>
                  </a:cubicBezTo>
                  <a:cubicBezTo>
                    <a:pt x="1927" y="199"/>
                    <a:pt x="1935" y="201"/>
                    <a:pt x="1932" y="207"/>
                  </a:cubicBezTo>
                  <a:cubicBezTo>
                    <a:pt x="1922" y="210"/>
                    <a:pt x="1920" y="202"/>
                    <a:pt x="1921" y="189"/>
                  </a:cubicBezTo>
                  <a:cubicBezTo>
                    <a:pt x="1915" y="188"/>
                    <a:pt x="1911" y="190"/>
                    <a:pt x="1908" y="193"/>
                  </a:cubicBezTo>
                  <a:close/>
                  <a:moveTo>
                    <a:pt x="1897" y="244"/>
                  </a:moveTo>
                  <a:cubicBezTo>
                    <a:pt x="1897" y="239"/>
                    <a:pt x="1894" y="244"/>
                    <a:pt x="1894" y="244"/>
                  </a:cubicBezTo>
                  <a:cubicBezTo>
                    <a:pt x="1891" y="243"/>
                    <a:pt x="1892" y="235"/>
                    <a:pt x="1886" y="237"/>
                  </a:cubicBezTo>
                  <a:cubicBezTo>
                    <a:pt x="1888" y="231"/>
                    <a:pt x="1895" y="232"/>
                    <a:pt x="1899" y="230"/>
                  </a:cubicBezTo>
                  <a:cubicBezTo>
                    <a:pt x="1899" y="239"/>
                    <a:pt x="1897" y="253"/>
                    <a:pt x="1908" y="248"/>
                  </a:cubicBezTo>
                  <a:cubicBezTo>
                    <a:pt x="1909" y="258"/>
                    <a:pt x="1898" y="252"/>
                    <a:pt x="1897" y="259"/>
                  </a:cubicBezTo>
                  <a:cubicBezTo>
                    <a:pt x="1890" y="258"/>
                    <a:pt x="1900" y="253"/>
                    <a:pt x="1897" y="244"/>
                  </a:cubicBezTo>
                  <a:close/>
                  <a:moveTo>
                    <a:pt x="1908" y="241"/>
                  </a:moveTo>
                  <a:cubicBezTo>
                    <a:pt x="1901" y="240"/>
                    <a:pt x="1901" y="231"/>
                    <a:pt x="1905" y="226"/>
                  </a:cubicBezTo>
                  <a:cubicBezTo>
                    <a:pt x="1911" y="227"/>
                    <a:pt x="1911" y="236"/>
                    <a:pt x="1908" y="241"/>
                  </a:cubicBezTo>
                  <a:close/>
                  <a:moveTo>
                    <a:pt x="1902" y="222"/>
                  </a:moveTo>
                  <a:cubicBezTo>
                    <a:pt x="1904" y="217"/>
                    <a:pt x="1911" y="217"/>
                    <a:pt x="1916" y="215"/>
                  </a:cubicBezTo>
                  <a:cubicBezTo>
                    <a:pt x="1918" y="227"/>
                    <a:pt x="1907" y="221"/>
                    <a:pt x="1902" y="222"/>
                  </a:cubicBezTo>
                  <a:close/>
                  <a:moveTo>
                    <a:pt x="1926" y="189"/>
                  </a:moveTo>
                  <a:cubicBezTo>
                    <a:pt x="1936" y="167"/>
                    <a:pt x="1940" y="211"/>
                    <a:pt x="1926" y="189"/>
                  </a:cubicBezTo>
                  <a:close/>
                  <a:moveTo>
                    <a:pt x="1932" y="211"/>
                  </a:moveTo>
                  <a:cubicBezTo>
                    <a:pt x="1941" y="209"/>
                    <a:pt x="1932" y="228"/>
                    <a:pt x="1929" y="222"/>
                  </a:cubicBezTo>
                  <a:cubicBezTo>
                    <a:pt x="1929" y="222"/>
                    <a:pt x="1931" y="215"/>
                    <a:pt x="1932" y="215"/>
                  </a:cubicBezTo>
                  <a:cubicBezTo>
                    <a:pt x="1932" y="215"/>
                    <a:pt x="1932" y="211"/>
                    <a:pt x="1932" y="211"/>
                  </a:cubicBezTo>
                  <a:close/>
                  <a:moveTo>
                    <a:pt x="1934" y="159"/>
                  </a:moveTo>
                  <a:cubicBezTo>
                    <a:pt x="1934" y="164"/>
                    <a:pt x="1933" y="161"/>
                    <a:pt x="1932" y="163"/>
                  </a:cubicBezTo>
                  <a:cubicBezTo>
                    <a:pt x="1931" y="166"/>
                    <a:pt x="1922" y="176"/>
                    <a:pt x="1932" y="174"/>
                  </a:cubicBezTo>
                  <a:cubicBezTo>
                    <a:pt x="1931" y="178"/>
                    <a:pt x="1927" y="177"/>
                    <a:pt x="1924" y="178"/>
                  </a:cubicBezTo>
                  <a:cubicBezTo>
                    <a:pt x="1924" y="173"/>
                    <a:pt x="1924" y="168"/>
                    <a:pt x="1924" y="163"/>
                  </a:cubicBezTo>
                  <a:cubicBezTo>
                    <a:pt x="1928" y="163"/>
                    <a:pt x="1931" y="164"/>
                    <a:pt x="1932" y="159"/>
                  </a:cubicBezTo>
                  <a:cubicBezTo>
                    <a:pt x="1932" y="155"/>
                    <a:pt x="1935" y="157"/>
                    <a:pt x="1934" y="159"/>
                  </a:cubicBezTo>
                  <a:close/>
                  <a:moveTo>
                    <a:pt x="1921" y="119"/>
                  </a:moveTo>
                  <a:cubicBezTo>
                    <a:pt x="1923" y="120"/>
                    <a:pt x="1926" y="113"/>
                    <a:pt x="1929" y="119"/>
                  </a:cubicBezTo>
                  <a:cubicBezTo>
                    <a:pt x="1930" y="125"/>
                    <a:pt x="1920" y="138"/>
                    <a:pt x="1932" y="137"/>
                  </a:cubicBezTo>
                  <a:cubicBezTo>
                    <a:pt x="1929" y="146"/>
                    <a:pt x="1915" y="158"/>
                    <a:pt x="1921" y="167"/>
                  </a:cubicBezTo>
                  <a:cubicBezTo>
                    <a:pt x="1913" y="177"/>
                    <a:pt x="1913" y="159"/>
                    <a:pt x="1916" y="148"/>
                  </a:cubicBezTo>
                  <a:cubicBezTo>
                    <a:pt x="1918" y="148"/>
                    <a:pt x="1921" y="148"/>
                    <a:pt x="1924" y="148"/>
                  </a:cubicBezTo>
                  <a:cubicBezTo>
                    <a:pt x="1922" y="137"/>
                    <a:pt x="1922" y="141"/>
                    <a:pt x="1924" y="130"/>
                  </a:cubicBezTo>
                  <a:cubicBezTo>
                    <a:pt x="1921" y="129"/>
                    <a:pt x="1919" y="131"/>
                    <a:pt x="1918" y="133"/>
                  </a:cubicBezTo>
                  <a:cubicBezTo>
                    <a:pt x="1912" y="135"/>
                    <a:pt x="1926" y="115"/>
                    <a:pt x="1913" y="119"/>
                  </a:cubicBezTo>
                  <a:cubicBezTo>
                    <a:pt x="1914" y="117"/>
                    <a:pt x="1916" y="110"/>
                    <a:pt x="1918" y="111"/>
                  </a:cubicBezTo>
                  <a:cubicBezTo>
                    <a:pt x="1921" y="112"/>
                    <a:pt x="1920" y="118"/>
                    <a:pt x="1921" y="119"/>
                  </a:cubicBezTo>
                  <a:close/>
                  <a:moveTo>
                    <a:pt x="1913" y="71"/>
                  </a:moveTo>
                  <a:cubicBezTo>
                    <a:pt x="1915" y="71"/>
                    <a:pt x="1917" y="71"/>
                    <a:pt x="1918" y="71"/>
                  </a:cubicBezTo>
                  <a:cubicBezTo>
                    <a:pt x="1918" y="77"/>
                    <a:pt x="1918" y="83"/>
                    <a:pt x="1918" y="89"/>
                  </a:cubicBezTo>
                  <a:cubicBezTo>
                    <a:pt x="1916" y="87"/>
                    <a:pt x="1916" y="81"/>
                    <a:pt x="1910" y="82"/>
                  </a:cubicBezTo>
                  <a:cubicBezTo>
                    <a:pt x="1910" y="76"/>
                    <a:pt x="1913" y="75"/>
                    <a:pt x="1913" y="71"/>
                  </a:cubicBezTo>
                  <a:close/>
                  <a:moveTo>
                    <a:pt x="1897" y="111"/>
                  </a:moveTo>
                  <a:cubicBezTo>
                    <a:pt x="1904" y="113"/>
                    <a:pt x="1909" y="131"/>
                    <a:pt x="1897" y="130"/>
                  </a:cubicBezTo>
                  <a:cubicBezTo>
                    <a:pt x="1897" y="124"/>
                    <a:pt x="1897" y="117"/>
                    <a:pt x="1897" y="111"/>
                  </a:cubicBezTo>
                  <a:close/>
                  <a:moveTo>
                    <a:pt x="1894" y="137"/>
                  </a:moveTo>
                  <a:cubicBezTo>
                    <a:pt x="1891" y="136"/>
                    <a:pt x="1889" y="132"/>
                    <a:pt x="1889" y="126"/>
                  </a:cubicBezTo>
                  <a:cubicBezTo>
                    <a:pt x="1892" y="128"/>
                    <a:pt x="1894" y="131"/>
                    <a:pt x="1894" y="137"/>
                  </a:cubicBezTo>
                  <a:close/>
                  <a:moveTo>
                    <a:pt x="1875" y="126"/>
                  </a:moveTo>
                  <a:cubicBezTo>
                    <a:pt x="1884" y="126"/>
                    <a:pt x="1872" y="118"/>
                    <a:pt x="1873" y="108"/>
                  </a:cubicBezTo>
                  <a:cubicBezTo>
                    <a:pt x="1875" y="110"/>
                    <a:pt x="1879" y="111"/>
                    <a:pt x="1883" y="111"/>
                  </a:cubicBezTo>
                  <a:cubicBezTo>
                    <a:pt x="1883" y="116"/>
                    <a:pt x="1883" y="122"/>
                    <a:pt x="1886" y="122"/>
                  </a:cubicBezTo>
                  <a:cubicBezTo>
                    <a:pt x="1886" y="129"/>
                    <a:pt x="1877" y="125"/>
                    <a:pt x="1875" y="130"/>
                  </a:cubicBezTo>
                  <a:cubicBezTo>
                    <a:pt x="1876" y="137"/>
                    <a:pt x="1875" y="141"/>
                    <a:pt x="1870" y="141"/>
                  </a:cubicBezTo>
                  <a:cubicBezTo>
                    <a:pt x="1874" y="139"/>
                    <a:pt x="1867" y="126"/>
                    <a:pt x="1875" y="126"/>
                  </a:cubicBezTo>
                  <a:close/>
                  <a:moveTo>
                    <a:pt x="1878" y="152"/>
                  </a:moveTo>
                  <a:cubicBezTo>
                    <a:pt x="1879" y="149"/>
                    <a:pt x="1881" y="148"/>
                    <a:pt x="1881" y="145"/>
                  </a:cubicBezTo>
                  <a:cubicBezTo>
                    <a:pt x="1882" y="145"/>
                    <a:pt x="1884" y="145"/>
                    <a:pt x="1886" y="145"/>
                  </a:cubicBezTo>
                  <a:cubicBezTo>
                    <a:pt x="1887" y="152"/>
                    <a:pt x="1882" y="152"/>
                    <a:pt x="1878" y="152"/>
                  </a:cubicBezTo>
                  <a:close/>
                  <a:moveTo>
                    <a:pt x="1838" y="133"/>
                  </a:moveTo>
                  <a:cubicBezTo>
                    <a:pt x="1839" y="126"/>
                    <a:pt x="1841" y="136"/>
                    <a:pt x="1840" y="141"/>
                  </a:cubicBezTo>
                  <a:cubicBezTo>
                    <a:pt x="1839" y="148"/>
                    <a:pt x="1837" y="138"/>
                    <a:pt x="1838" y="133"/>
                  </a:cubicBezTo>
                  <a:close/>
                  <a:moveTo>
                    <a:pt x="1830" y="126"/>
                  </a:moveTo>
                  <a:cubicBezTo>
                    <a:pt x="1822" y="128"/>
                    <a:pt x="1827" y="112"/>
                    <a:pt x="1822" y="111"/>
                  </a:cubicBezTo>
                  <a:cubicBezTo>
                    <a:pt x="1825" y="101"/>
                    <a:pt x="1831" y="117"/>
                    <a:pt x="1830" y="126"/>
                  </a:cubicBezTo>
                  <a:close/>
                  <a:moveTo>
                    <a:pt x="1773" y="122"/>
                  </a:moveTo>
                  <a:cubicBezTo>
                    <a:pt x="1775" y="123"/>
                    <a:pt x="1776" y="126"/>
                    <a:pt x="1778" y="126"/>
                  </a:cubicBezTo>
                  <a:cubicBezTo>
                    <a:pt x="1778" y="129"/>
                    <a:pt x="1776" y="130"/>
                    <a:pt x="1776" y="133"/>
                  </a:cubicBezTo>
                  <a:cubicBezTo>
                    <a:pt x="1774" y="133"/>
                    <a:pt x="1773" y="130"/>
                    <a:pt x="1770" y="130"/>
                  </a:cubicBezTo>
                  <a:cubicBezTo>
                    <a:pt x="1771" y="127"/>
                    <a:pt x="1773" y="126"/>
                    <a:pt x="1773" y="122"/>
                  </a:cubicBezTo>
                  <a:close/>
                  <a:moveTo>
                    <a:pt x="1757" y="96"/>
                  </a:moveTo>
                  <a:cubicBezTo>
                    <a:pt x="1769" y="99"/>
                    <a:pt x="1755" y="119"/>
                    <a:pt x="1757" y="96"/>
                  </a:cubicBezTo>
                  <a:close/>
                  <a:moveTo>
                    <a:pt x="1711" y="163"/>
                  </a:moveTo>
                  <a:cubicBezTo>
                    <a:pt x="1717" y="164"/>
                    <a:pt x="1715" y="146"/>
                    <a:pt x="1709" y="152"/>
                  </a:cubicBezTo>
                  <a:cubicBezTo>
                    <a:pt x="1710" y="149"/>
                    <a:pt x="1711" y="145"/>
                    <a:pt x="1714" y="145"/>
                  </a:cubicBezTo>
                  <a:cubicBezTo>
                    <a:pt x="1723" y="135"/>
                    <a:pt x="1724" y="159"/>
                    <a:pt x="1725" y="137"/>
                  </a:cubicBezTo>
                  <a:cubicBezTo>
                    <a:pt x="1730" y="139"/>
                    <a:pt x="1730" y="148"/>
                    <a:pt x="1738" y="145"/>
                  </a:cubicBezTo>
                  <a:cubicBezTo>
                    <a:pt x="1736" y="155"/>
                    <a:pt x="1742" y="154"/>
                    <a:pt x="1741" y="163"/>
                  </a:cubicBezTo>
                  <a:cubicBezTo>
                    <a:pt x="1749" y="160"/>
                    <a:pt x="1739" y="151"/>
                    <a:pt x="1741" y="145"/>
                  </a:cubicBezTo>
                  <a:cubicBezTo>
                    <a:pt x="1746" y="151"/>
                    <a:pt x="1753" y="132"/>
                    <a:pt x="1760" y="141"/>
                  </a:cubicBezTo>
                  <a:cubicBezTo>
                    <a:pt x="1760" y="141"/>
                    <a:pt x="1760" y="145"/>
                    <a:pt x="1760" y="145"/>
                  </a:cubicBezTo>
                  <a:cubicBezTo>
                    <a:pt x="1761" y="144"/>
                    <a:pt x="1763" y="137"/>
                    <a:pt x="1762" y="137"/>
                  </a:cubicBezTo>
                  <a:cubicBezTo>
                    <a:pt x="1766" y="137"/>
                    <a:pt x="1766" y="147"/>
                    <a:pt x="1768" y="148"/>
                  </a:cubicBezTo>
                  <a:cubicBezTo>
                    <a:pt x="1772" y="151"/>
                    <a:pt x="1773" y="134"/>
                    <a:pt x="1778" y="145"/>
                  </a:cubicBezTo>
                  <a:cubicBezTo>
                    <a:pt x="1787" y="146"/>
                    <a:pt x="1779" y="126"/>
                    <a:pt x="1789" y="130"/>
                  </a:cubicBezTo>
                  <a:cubicBezTo>
                    <a:pt x="1788" y="135"/>
                    <a:pt x="1785" y="139"/>
                    <a:pt x="1784" y="145"/>
                  </a:cubicBezTo>
                  <a:cubicBezTo>
                    <a:pt x="1785" y="152"/>
                    <a:pt x="1794" y="147"/>
                    <a:pt x="1797" y="148"/>
                  </a:cubicBezTo>
                  <a:cubicBezTo>
                    <a:pt x="1797" y="148"/>
                    <a:pt x="1797" y="152"/>
                    <a:pt x="1797" y="152"/>
                  </a:cubicBezTo>
                  <a:cubicBezTo>
                    <a:pt x="1803" y="153"/>
                    <a:pt x="1811" y="148"/>
                    <a:pt x="1816" y="156"/>
                  </a:cubicBezTo>
                  <a:cubicBezTo>
                    <a:pt x="1816" y="156"/>
                    <a:pt x="1816" y="159"/>
                    <a:pt x="1816" y="159"/>
                  </a:cubicBezTo>
                  <a:cubicBezTo>
                    <a:pt x="1824" y="159"/>
                    <a:pt x="1822" y="138"/>
                    <a:pt x="1827" y="159"/>
                  </a:cubicBezTo>
                  <a:cubicBezTo>
                    <a:pt x="1831" y="158"/>
                    <a:pt x="1829" y="150"/>
                    <a:pt x="1830" y="145"/>
                  </a:cubicBezTo>
                  <a:cubicBezTo>
                    <a:pt x="1827" y="141"/>
                    <a:pt x="1824" y="137"/>
                    <a:pt x="1822" y="133"/>
                  </a:cubicBezTo>
                  <a:cubicBezTo>
                    <a:pt x="1821" y="122"/>
                    <a:pt x="1829" y="143"/>
                    <a:pt x="1830" y="130"/>
                  </a:cubicBezTo>
                  <a:cubicBezTo>
                    <a:pt x="1837" y="136"/>
                    <a:pt x="1826" y="166"/>
                    <a:pt x="1843" y="159"/>
                  </a:cubicBezTo>
                  <a:cubicBezTo>
                    <a:pt x="1842" y="162"/>
                    <a:pt x="1840" y="165"/>
                    <a:pt x="1840" y="170"/>
                  </a:cubicBezTo>
                  <a:cubicBezTo>
                    <a:pt x="1832" y="174"/>
                    <a:pt x="1832" y="165"/>
                    <a:pt x="1827" y="163"/>
                  </a:cubicBezTo>
                  <a:cubicBezTo>
                    <a:pt x="1820" y="163"/>
                    <a:pt x="1815" y="167"/>
                    <a:pt x="1811" y="167"/>
                  </a:cubicBezTo>
                  <a:cubicBezTo>
                    <a:pt x="1812" y="167"/>
                    <a:pt x="1808" y="155"/>
                    <a:pt x="1805" y="159"/>
                  </a:cubicBezTo>
                  <a:cubicBezTo>
                    <a:pt x="1803" y="164"/>
                    <a:pt x="1805" y="160"/>
                    <a:pt x="1803" y="159"/>
                  </a:cubicBezTo>
                  <a:cubicBezTo>
                    <a:pt x="1800" y="159"/>
                    <a:pt x="1800" y="163"/>
                    <a:pt x="1800" y="163"/>
                  </a:cubicBezTo>
                  <a:cubicBezTo>
                    <a:pt x="1794" y="162"/>
                    <a:pt x="1793" y="156"/>
                    <a:pt x="1787" y="156"/>
                  </a:cubicBezTo>
                  <a:cubicBezTo>
                    <a:pt x="1787" y="159"/>
                    <a:pt x="1790" y="159"/>
                    <a:pt x="1792" y="159"/>
                  </a:cubicBezTo>
                  <a:cubicBezTo>
                    <a:pt x="1789" y="166"/>
                    <a:pt x="1785" y="170"/>
                    <a:pt x="1784" y="178"/>
                  </a:cubicBezTo>
                  <a:cubicBezTo>
                    <a:pt x="1776" y="175"/>
                    <a:pt x="1787" y="169"/>
                    <a:pt x="1784" y="159"/>
                  </a:cubicBezTo>
                  <a:cubicBezTo>
                    <a:pt x="1781" y="159"/>
                    <a:pt x="1782" y="164"/>
                    <a:pt x="1781" y="167"/>
                  </a:cubicBezTo>
                  <a:cubicBezTo>
                    <a:pt x="1778" y="164"/>
                    <a:pt x="1778" y="158"/>
                    <a:pt x="1773" y="159"/>
                  </a:cubicBezTo>
                  <a:cubicBezTo>
                    <a:pt x="1773" y="156"/>
                    <a:pt x="1773" y="152"/>
                    <a:pt x="1773" y="148"/>
                  </a:cubicBezTo>
                  <a:cubicBezTo>
                    <a:pt x="1770" y="147"/>
                    <a:pt x="1764" y="159"/>
                    <a:pt x="1770" y="159"/>
                  </a:cubicBezTo>
                  <a:cubicBezTo>
                    <a:pt x="1769" y="163"/>
                    <a:pt x="1764" y="163"/>
                    <a:pt x="1765" y="170"/>
                  </a:cubicBezTo>
                  <a:cubicBezTo>
                    <a:pt x="1760" y="164"/>
                    <a:pt x="1762" y="171"/>
                    <a:pt x="1754" y="170"/>
                  </a:cubicBezTo>
                  <a:cubicBezTo>
                    <a:pt x="1754" y="160"/>
                    <a:pt x="1759" y="163"/>
                    <a:pt x="1754" y="156"/>
                  </a:cubicBezTo>
                  <a:cubicBezTo>
                    <a:pt x="1750" y="159"/>
                    <a:pt x="1749" y="165"/>
                    <a:pt x="1749" y="174"/>
                  </a:cubicBezTo>
                  <a:cubicBezTo>
                    <a:pt x="1747" y="172"/>
                    <a:pt x="1744" y="171"/>
                    <a:pt x="1744" y="167"/>
                  </a:cubicBezTo>
                  <a:cubicBezTo>
                    <a:pt x="1741" y="168"/>
                    <a:pt x="1741" y="170"/>
                    <a:pt x="1738" y="170"/>
                  </a:cubicBezTo>
                  <a:cubicBezTo>
                    <a:pt x="1734" y="171"/>
                    <a:pt x="1734" y="167"/>
                    <a:pt x="1730" y="167"/>
                  </a:cubicBezTo>
                  <a:cubicBezTo>
                    <a:pt x="1725" y="166"/>
                    <a:pt x="1722" y="176"/>
                    <a:pt x="1722" y="163"/>
                  </a:cubicBezTo>
                  <a:cubicBezTo>
                    <a:pt x="1717" y="159"/>
                    <a:pt x="1718" y="170"/>
                    <a:pt x="1717" y="170"/>
                  </a:cubicBezTo>
                  <a:cubicBezTo>
                    <a:pt x="1716" y="171"/>
                    <a:pt x="1706" y="163"/>
                    <a:pt x="1698" y="167"/>
                  </a:cubicBezTo>
                  <a:cubicBezTo>
                    <a:pt x="1700" y="155"/>
                    <a:pt x="1695" y="153"/>
                    <a:pt x="1695" y="145"/>
                  </a:cubicBezTo>
                  <a:cubicBezTo>
                    <a:pt x="1704" y="146"/>
                    <a:pt x="1704" y="160"/>
                    <a:pt x="1711" y="163"/>
                  </a:cubicBezTo>
                  <a:close/>
                  <a:moveTo>
                    <a:pt x="1832" y="196"/>
                  </a:moveTo>
                  <a:cubicBezTo>
                    <a:pt x="1824" y="194"/>
                    <a:pt x="1836" y="191"/>
                    <a:pt x="1835" y="185"/>
                  </a:cubicBezTo>
                  <a:cubicBezTo>
                    <a:pt x="1844" y="189"/>
                    <a:pt x="1832" y="193"/>
                    <a:pt x="1832" y="196"/>
                  </a:cubicBezTo>
                  <a:close/>
                  <a:moveTo>
                    <a:pt x="1838" y="1199"/>
                  </a:moveTo>
                  <a:cubicBezTo>
                    <a:pt x="1841" y="1198"/>
                    <a:pt x="1840" y="1202"/>
                    <a:pt x="1840" y="1202"/>
                  </a:cubicBezTo>
                  <a:cubicBezTo>
                    <a:pt x="1843" y="1203"/>
                    <a:pt x="1854" y="1199"/>
                    <a:pt x="1851" y="1210"/>
                  </a:cubicBezTo>
                  <a:cubicBezTo>
                    <a:pt x="1843" y="1212"/>
                    <a:pt x="1841" y="1206"/>
                    <a:pt x="1835" y="1206"/>
                  </a:cubicBezTo>
                  <a:cubicBezTo>
                    <a:pt x="1836" y="1206"/>
                    <a:pt x="1837" y="1199"/>
                    <a:pt x="1838" y="1199"/>
                  </a:cubicBezTo>
                  <a:close/>
                  <a:moveTo>
                    <a:pt x="1784" y="244"/>
                  </a:moveTo>
                  <a:cubicBezTo>
                    <a:pt x="1785" y="239"/>
                    <a:pt x="1792" y="241"/>
                    <a:pt x="1789" y="230"/>
                  </a:cubicBezTo>
                  <a:cubicBezTo>
                    <a:pt x="1792" y="232"/>
                    <a:pt x="1793" y="236"/>
                    <a:pt x="1795" y="241"/>
                  </a:cubicBezTo>
                  <a:cubicBezTo>
                    <a:pt x="1797" y="238"/>
                    <a:pt x="1799" y="234"/>
                    <a:pt x="1800" y="230"/>
                  </a:cubicBezTo>
                  <a:cubicBezTo>
                    <a:pt x="1804" y="231"/>
                    <a:pt x="1802" y="239"/>
                    <a:pt x="1803" y="244"/>
                  </a:cubicBezTo>
                  <a:cubicBezTo>
                    <a:pt x="1807" y="249"/>
                    <a:pt x="1809" y="255"/>
                    <a:pt x="1816" y="255"/>
                  </a:cubicBezTo>
                  <a:cubicBezTo>
                    <a:pt x="1814" y="266"/>
                    <a:pt x="1808" y="250"/>
                    <a:pt x="1800" y="255"/>
                  </a:cubicBezTo>
                  <a:cubicBezTo>
                    <a:pt x="1801" y="238"/>
                    <a:pt x="1795" y="249"/>
                    <a:pt x="1784" y="244"/>
                  </a:cubicBezTo>
                  <a:close/>
                  <a:moveTo>
                    <a:pt x="1805" y="226"/>
                  </a:moveTo>
                  <a:cubicBezTo>
                    <a:pt x="1796" y="232"/>
                    <a:pt x="1804" y="213"/>
                    <a:pt x="1797" y="215"/>
                  </a:cubicBezTo>
                  <a:cubicBezTo>
                    <a:pt x="1800" y="205"/>
                    <a:pt x="1808" y="217"/>
                    <a:pt x="1805" y="226"/>
                  </a:cubicBezTo>
                  <a:close/>
                  <a:moveTo>
                    <a:pt x="1797" y="189"/>
                  </a:moveTo>
                  <a:cubicBezTo>
                    <a:pt x="1800" y="178"/>
                    <a:pt x="1804" y="194"/>
                    <a:pt x="1811" y="189"/>
                  </a:cubicBezTo>
                  <a:cubicBezTo>
                    <a:pt x="1810" y="198"/>
                    <a:pt x="1799" y="191"/>
                    <a:pt x="1797" y="189"/>
                  </a:cubicBezTo>
                  <a:close/>
                  <a:moveTo>
                    <a:pt x="1730" y="1254"/>
                  </a:moveTo>
                  <a:cubicBezTo>
                    <a:pt x="1728" y="1255"/>
                    <a:pt x="1727" y="1258"/>
                    <a:pt x="1725" y="1258"/>
                  </a:cubicBezTo>
                  <a:cubicBezTo>
                    <a:pt x="1720" y="1258"/>
                    <a:pt x="1723" y="1270"/>
                    <a:pt x="1719" y="1273"/>
                  </a:cubicBezTo>
                  <a:cubicBezTo>
                    <a:pt x="1715" y="1265"/>
                    <a:pt x="1716" y="1269"/>
                    <a:pt x="1709" y="1265"/>
                  </a:cubicBezTo>
                  <a:cubicBezTo>
                    <a:pt x="1708" y="1258"/>
                    <a:pt x="1718" y="1265"/>
                    <a:pt x="1719" y="1261"/>
                  </a:cubicBezTo>
                  <a:cubicBezTo>
                    <a:pt x="1720" y="1261"/>
                    <a:pt x="1715" y="1252"/>
                    <a:pt x="1717" y="1250"/>
                  </a:cubicBezTo>
                  <a:cubicBezTo>
                    <a:pt x="1719" y="1248"/>
                    <a:pt x="1730" y="1259"/>
                    <a:pt x="1727" y="1243"/>
                  </a:cubicBezTo>
                  <a:cubicBezTo>
                    <a:pt x="1731" y="1232"/>
                    <a:pt x="1728" y="1261"/>
                    <a:pt x="1738" y="1254"/>
                  </a:cubicBezTo>
                  <a:cubicBezTo>
                    <a:pt x="1748" y="1256"/>
                    <a:pt x="1728" y="1263"/>
                    <a:pt x="1730" y="1254"/>
                  </a:cubicBezTo>
                  <a:close/>
                  <a:moveTo>
                    <a:pt x="1738" y="1265"/>
                  </a:moveTo>
                  <a:cubicBezTo>
                    <a:pt x="1732" y="1277"/>
                    <a:pt x="1725" y="1255"/>
                    <a:pt x="1738" y="1265"/>
                  </a:cubicBezTo>
                  <a:close/>
                  <a:moveTo>
                    <a:pt x="1725" y="1206"/>
                  </a:moveTo>
                  <a:cubicBezTo>
                    <a:pt x="1721" y="1207"/>
                    <a:pt x="1724" y="1217"/>
                    <a:pt x="1719" y="1217"/>
                  </a:cubicBezTo>
                  <a:cubicBezTo>
                    <a:pt x="1720" y="1221"/>
                    <a:pt x="1724" y="1220"/>
                    <a:pt x="1727" y="1221"/>
                  </a:cubicBezTo>
                  <a:cubicBezTo>
                    <a:pt x="1727" y="1226"/>
                    <a:pt x="1727" y="1231"/>
                    <a:pt x="1727" y="1235"/>
                  </a:cubicBezTo>
                  <a:cubicBezTo>
                    <a:pt x="1725" y="1235"/>
                    <a:pt x="1725" y="1231"/>
                    <a:pt x="1725" y="1228"/>
                  </a:cubicBezTo>
                  <a:cubicBezTo>
                    <a:pt x="1724" y="1223"/>
                    <a:pt x="1718" y="1225"/>
                    <a:pt x="1714" y="1225"/>
                  </a:cubicBezTo>
                  <a:cubicBezTo>
                    <a:pt x="1713" y="1216"/>
                    <a:pt x="1715" y="1211"/>
                    <a:pt x="1719" y="1210"/>
                  </a:cubicBezTo>
                  <a:cubicBezTo>
                    <a:pt x="1719" y="1204"/>
                    <a:pt x="1711" y="1208"/>
                    <a:pt x="1711" y="1202"/>
                  </a:cubicBezTo>
                  <a:cubicBezTo>
                    <a:pt x="1709" y="1191"/>
                    <a:pt x="1717" y="1196"/>
                    <a:pt x="1722" y="1195"/>
                  </a:cubicBezTo>
                  <a:cubicBezTo>
                    <a:pt x="1722" y="1192"/>
                    <a:pt x="1722" y="1190"/>
                    <a:pt x="1722" y="1187"/>
                  </a:cubicBezTo>
                  <a:cubicBezTo>
                    <a:pt x="1726" y="1189"/>
                    <a:pt x="1724" y="1197"/>
                    <a:pt x="1725" y="1202"/>
                  </a:cubicBezTo>
                  <a:cubicBezTo>
                    <a:pt x="1733" y="1205"/>
                    <a:pt x="1733" y="1195"/>
                    <a:pt x="1738" y="1202"/>
                  </a:cubicBezTo>
                  <a:cubicBezTo>
                    <a:pt x="1739" y="1210"/>
                    <a:pt x="1729" y="1204"/>
                    <a:pt x="1725" y="1206"/>
                  </a:cubicBezTo>
                  <a:close/>
                  <a:moveTo>
                    <a:pt x="1719" y="577"/>
                  </a:moveTo>
                  <a:cubicBezTo>
                    <a:pt x="1719" y="581"/>
                    <a:pt x="1716" y="580"/>
                    <a:pt x="1714" y="581"/>
                  </a:cubicBezTo>
                  <a:cubicBezTo>
                    <a:pt x="1714" y="578"/>
                    <a:pt x="1713" y="577"/>
                    <a:pt x="1711" y="577"/>
                  </a:cubicBezTo>
                  <a:cubicBezTo>
                    <a:pt x="1712" y="573"/>
                    <a:pt x="1717" y="575"/>
                    <a:pt x="1717" y="570"/>
                  </a:cubicBezTo>
                  <a:cubicBezTo>
                    <a:pt x="1720" y="571"/>
                    <a:pt x="1718" y="574"/>
                    <a:pt x="1717" y="574"/>
                  </a:cubicBezTo>
                  <a:cubicBezTo>
                    <a:pt x="1716" y="577"/>
                    <a:pt x="1718" y="577"/>
                    <a:pt x="1719" y="577"/>
                  </a:cubicBezTo>
                  <a:close/>
                  <a:moveTo>
                    <a:pt x="1722" y="614"/>
                  </a:moveTo>
                  <a:cubicBezTo>
                    <a:pt x="1718" y="616"/>
                    <a:pt x="1717" y="611"/>
                    <a:pt x="1717" y="607"/>
                  </a:cubicBezTo>
                  <a:cubicBezTo>
                    <a:pt x="1711" y="608"/>
                    <a:pt x="1708" y="606"/>
                    <a:pt x="1709" y="599"/>
                  </a:cubicBezTo>
                  <a:cubicBezTo>
                    <a:pt x="1719" y="597"/>
                    <a:pt x="1728" y="606"/>
                    <a:pt x="1722" y="614"/>
                  </a:cubicBezTo>
                  <a:close/>
                  <a:moveTo>
                    <a:pt x="1741" y="559"/>
                  </a:moveTo>
                  <a:cubicBezTo>
                    <a:pt x="1744" y="560"/>
                    <a:pt x="1742" y="562"/>
                    <a:pt x="1741" y="562"/>
                  </a:cubicBezTo>
                  <a:cubicBezTo>
                    <a:pt x="1739" y="576"/>
                    <a:pt x="1754" y="590"/>
                    <a:pt x="1738" y="592"/>
                  </a:cubicBezTo>
                  <a:cubicBezTo>
                    <a:pt x="1739" y="589"/>
                    <a:pt x="1741" y="585"/>
                    <a:pt x="1744" y="585"/>
                  </a:cubicBezTo>
                  <a:cubicBezTo>
                    <a:pt x="1744" y="577"/>
                    <a:pt x="1734" y="583"/>
                    <a:pt x="1730" y="581"/>
                  </a:cubicBezTo>
                  <a:cubicBezTo>
                    <a:pt x="1733" y="573"/>
                    <a:pt x="1738" y="567"/>
                    <a:pt x="1741" y="559"/>
                  </a:cubicBezTo>
                  <a:close/>
                  <a:moveTo>
                    <a:pt x="1738" y="230"/>
                  </a:moveTo>
                  <a:cubicBezTo>
                    <a:pt x="1738" y="227"/>
                    <a:pt x="1738" y="225"/>
                    <a:pt x="1738" y="222"/>
                  </a:cubicBezTo>
                  <a:cubicBezTo>
                    <a:pt x="1744" y="220"/>
                    <a:pt x="1743" y="228"/>
                    <a:pt x="1744" y="233"/>
                  </a:cubicBezTo>
                  <a:cubicBezTo>
                    <a:pt x="1741" y="233"/>
                    <a:pt x="1741" y="230"/>
                    <a:pt x="1738" y="230"/>
                  </a:cubicBezTo>
                  <a:close/>
                  <a:moveTo>
                    <a:pt x="1754" y="222"/>
                  </a:moveTo>
                  <a:cubicBezTo>
                    <a:pt x="1761" y="224"/>
                    <a:pt x="1753" y="246"/>
                    <a:pt x="1762" y="244"/>
                  </a:cubicBezTo>
                  <a:cubicBezTo>
                    <a:pt x="1760" y="263"/>
                    <a:pt x="1753" y="236"/>
                    <a:pt x="1749" y="248"/>
                  </a:cubicBezTo>
                  <a:cubicBezTo>
                    <a:pt x="1742" y="247"/>
                    <a:pt x="1747" y="231"/>
                    <a:pt x="1754" y="237"/>
                  </a:cubicBezTo>
                  <a:cubicBezTo>
                    <a:pt x="1753" y="224"/>
                    <a:pt x="1746" y="231"/>
                    <a:pt x="1754" y="222"/>
                  </a:cubicBezTo>
                  <a:close/>
                  <a:moveTo>
                    <a:pt x="1754" y="204"/>
                  </a:moveTo>
                  <a:cubicBezTo>
                    <a:pt x="1754" y="199"/>
                    <a:pt x="1754" y="194"/>
                    <a:pt x="1754" y="189"/>
                  </a:cubicBezTo>
                  <a:cubicBezTo>
                    <a:pt x="1756" y="189"/>
                    <a:pt x="1758" y="189"/>
                    <a:pt x="1760" y="189"/>
                  </a:cubicBezTo>
                  <a:cubicBezTo>
                    <a:pt x="1760" y="194"/>
                    <a:pt x="1760" y="199"/>
                    <a:pt x="1760" y="204"/>
                  </a:cubicBezTo>
                  <a:cubicBezTo>
                    <a:pt x="1758" y="204"/>
                    <a:pt x="1756" y="204"/>
                    <a:pt x="1754" y="204"/>
                  </a:cubicBezTo>
                  <a:close/>
                  <a:moveTo>
                    <a:pt x="1754" y="618"/>
                  </a:moveTo>
                  <a:cubicBezTo>
                    <a:pt x="1759" y="617"/>
                    <a:pt x="1759" y="621"/>
                    <a:pt x="1762" y="622"/>
                  </a:cubicBezTo>
                  <a:cubicBezTo>
                    <a:pt x="1763" y="629"/>
                    <a:pt x="1750" y="627"/>
                    <a:pt x="1754" y="618"/>
                  </a:cubicBezTo>
                  <a:close/>
                  <a:moveTo>
                    <a:pt x="1741" y="784"/>
                  </a:moveTo>
                  <a:cubicBezTo>
                    <a:pt x="1741" y="785"/>
                    <a:pt x="1743" y="777"/>
                    <a:pt x="1744" y="777"/>
                  </a:cubicBezTo>
                  <a:cubicBezTo>
                    <a:pt x="1744" y="777"/>
                    <a:pt x="1743" y="773"/>
                    <a:pt x="1744" y="773"/>
                  </a:cubicBezTo>
                  <a:cubicBezTo>
                    <a:pt x="1753" y="771"/>
                    <a:pt x="1744" y="790"/>
                    <a:pt x="1741" y="784"/>
                  </a:cubicBezTo>
                  <a:close/>
                  <a:moveTo>
                    <a:pt x="1735" y="640"/>
                  </a:moveTo>
                  <a:cubicBezTo>
                    <a:pt x="1736" y="636"/>
                    <a:pt x="1735" y="634"/>
                    <a:pt x="1733" y="633"/>
                  </a:cubicBezTo>
                  <a:cubicBezTo>
                    <a:pt x="1737" y="619"/>
                    <a:pt x="1737" y="641"/>
                    <a:pt x="1744" y="636"/>
                  </a:cubicBezTo>
                  <a:cubicBezTo>
                    <a:pt x="1743" y="645"/>
                    <a:pt x="1740" y="652"/>
                    <a:pt x="1738" y="659"/>
                  </a:cubicBezTo>
                  <a:cubicBezTo>
                    <a:pt x="1734" y="667"/>
                    <a:pt x="1739" y="635"/>
                    <a:pt x="1735" y="640"/>
                  </a:cubicBezTo>
                  <a:close/>
                  <a:moveTo>
                    <a:pt x="1730" y="603"/>
                  </a:moveTo>
                  <a:cubicBezTo>
                    <a:pt x="1736" y="612"/>
                    <a:pt x="1744" y="596"/>
                    <a:pt x="1744" y="614"/>
                  </a:cubicBezTo>
                  <a:cubicBezTo>
                    <a:pt x="1739" y="611"/>
                    <a:pt x="1729" y="614"/>
                    <a:pt x="1730" y="603"/>
                  </a:cubicBezTo>
                  <a:close/>
                  <a:moveTo>
                    <a:pt x="1733" y="566"/>
                  </a:moveTo>
                  <a:cubicBezTo>
                    <a:pt x="1731" y="568"/>
                    <a:pt x="1727" y="565"/>
                    <a:pt x="1727" y="570"/>
                  </a:cubicBezTo>
                  <a:cubicBezTo>
                    <a:pt x="1723" y="568"/>
                    <a:pt x="1725" y="564"/>
                    <a:pt x="1727" y="562"/>
                  </a:cubicBezTo>
                  <a:cubicBezTo>
                    <a:pt x="1731" y="560"/>
                    <a:pt x="1741" y="559"/>
                    <a:pt x="1733" y="566"/>
                  </a:cubicBezTo>
                  <a:close/>
                  <a:moveTo>
                    <a:pt x="1727" y="688"/>
                  </a:moveTo>
                  <a:cubicBezTo>
                    <a:pt x="1726" y="695"/>
                    <a:pt x="1731" y="711"/>
                    <a:pt x="1722" y="707"/>
                  </a:cubicBezTo>
                  <a:cubicBezTo>
                    <a:pt x="1727" y="700"/>
                    <a:pt x="1722" y="687"/>
                    <a:pt x="1717" y="684"/>
                  </a:cubicBezTo>
                  <a:cubicBezTo>
                    <a:pt x="1721" y="671"/>
                    <a:pt x="1721" y="693"/>
                    <a:pt x="1727" y="688"/>
                  </a:cubicBezTo>
                  <a:close/>
                  <a:moveTo>
                    <a:pt x="1738" y="1165"/>
                  </a:moveTo>
                  <a:cubicBezTo>
                    <a:pt x="1742" y="1168"/>
                    <a:pt x="1743" y="1173"/>
                    <a:pt x="1744" y="1180"/>
                  </a:cubicBezTo>
                  <a:cubicBezTo>
                    <a:pt x="1739" y="1179"/>
                    <a:pt x="1737" y="1174"/>
                    <a:pt x="1738" y="1165"/>
                  </a:cubicBezTo>
                  <a:close/>
                  <a:moveTo>
                    <a:pt x="1757" y="1206"/>
                  </a:moveTo>
                  <a:cubicBezTo>
                    <a:pt x="1750" y="1207"/>
                    <a:pt x="1751" y="1199"/>
                    <a:pt x="1744" y="1202"/>
                  </a:cubicBezTo>
                  <a:cubicBezTo>
                    <a:pt x="1744" y="1191"/>
                    <a:pt x="1760" y="1192"/>
                    <a:pt x="1757" y="1206"/>
                  </a:cubicBezTo>
                  <a:close/>
                  <a:moveTo>
                    <a:pt x="1757" y="1235"/>
                  </a:moveTo>
                  <a:cubicBezTo>
                    <a:pt x="1760" y="1237"/>
                    <a:pt x="1763" y="1240"/>
                    <a:pt x="1762" y="1247"/>
                  </a:cubicBezTo>
                  <a:cubicBezTo>
                    <a:pt x="1753" y="1250"/>
                    <a:pt x="1753" y="1241"/>
                    <a:pt x="1757" y="1235"/>
                  </a:cubicBezTo>
                  <a:close/>
                  <a:moveTo>
                    <a:pt x="1760" y="696"/>
                  </a:moveTo>
                  <a:cubicBezTo>
                    <a:pt x="1764" y="695"/>
                    <a:pt x="1765" y="699"/>
                    <a:pt x="1762" y="699"/>
                  </a:cubicBezTo>
                  <a:cubicBezTo>
                    <a:pt x="1763" y="709"/>
                    <a:pt x="1767" y="711"/>
                    <a:pt x="1762" y="718"/>
                  </a:cubicBezTo>
                  <a:cubicBezTo>
                    <a:pt x="1756" y="717"/>
                    <a:pt x="1761" y="702"/>
                    <a:pt x="1760" y="696"/>
                  </a:cubicBezTo>
                  <a:close/>
                  <a:moveTo>
                    <a:pt x="1706" y="640"/>
                  </a:moveTo>
                  <a:cubicBezTo>
                    <a:pt x="1711" y="640"/>
                    <a:pt x="1705" y="656"/>
                    <a:pt x="1698" y="651"/>
                  </a:cubicBezTo>
                  <a:cubicBezTo>
                    <a:pt x="1698" y="644"/>
                    <a:pt x="1707" y="649"/>
                    <a:pt x="1706" y="640"/>
                  </a:cubicBezTo>
                  <a:close/>
                  <a:moveTo>
                    <a:pt x="1698" y="540"/>
                  </a:moveTo>
                  <a:cubicBezTo>
                    <a:pt x="1699" y="533"/>
                    <a:pt x="1701" y="543"/>
                    <a:pt x="1700" y="548"/>
                  </a:cubicBezTo>
                  <a:cubicBezTo>
                    <a:pt x="1700" y="555"/>
                    <a:pt x="1697" y="545"/>
                    <a:pt x="1698" y="540"/>
                  </a:cubicBezTo>
                  <a:close/>
                  <a:moveTo>
                    <a:pt x="1698" y="200"/>
                  </a:moveTo>
                  <a:cubicBezTo>
                    <a:pt x="1700" y="200"/>
                    <a:pt x="1701" y="200"/>
                    <a:pt x="1703" y="200"/>
                  </a:cubicBezTo>
                  <a:cubicBezTo>
                    <a:pt x="1704" y="210"/>
                    <a:pt x="1683" y="199"/>
                    <a:pt x="1698" y="200"/>
                  </a:cubicBezTo>
                  <a:close/>
                  <a:moveTo>
                    <a:pt x="1684" y="566"/>
                  </a:moveTo>
                  <a:cubicBezTo>
                    <a:pt x="1684" y="560"/>
                    <a:pt x="1699" y="560"/>
                    <a:pt x="1695" y="570"/>
                  </a:cubicBezTo>
                  <a:cubicBezTo>
                    <a:pt x="1690" y="570"/>
                    <a:pt x="1689" y="565"/>
                    <a:pt x="1684" y="566"/>
                  </a:cubicBezTo>
                  <a:close/>
                  <a:moveTo>
                    <a:pt x="1692" y="622"/>
                  </a:moveTo>
                  <a:cubicBezTo>
                    <a:pt x="1692" y="624"/>
                    <a:pt x="1692" y="627"/>
                    <a:pt x="1692" y="629"/>
                  </a:cubicBezTo>
                  <a:cubicBezTo>
                    <a:pt x="1691" y="629"/>
                    <a:pt x="1689" y="629"/>
                    <a:pt x="1687" y="629"/>
                  </a:cubicBezTo>
                  <a:cubicBezTo>
                    <a:pt x="1687" y="627"/>
                    <a:pt x="1687" y="624"/>
                    <a:pt x="1687" y="622"/>
                  </a:cubicBezTo>
                  <a:cubicBezTo>
                    <a:pt x="1689" y="622"/>
                    <a:pt x="1691" y="622"/>
                    <a:pt x="1692" y="622"/>
                  </a:cubicBezTo>
                  <a:close/>
                  <a:moveTo>
                    <a:pt x="1690" y="63"/>
                  </a:moveTo>
                  <a:cubicBezTo>
                    <a:pt x="1699" y="70"/>
                    <a:pt x="1686" y="73"/>
                    <a:pt x="1684" y="71"/>
                  </a:cubicBezTo>
                  <a:cubicBezTo>
                    <a:pt x="1683" y="69"/>
                    <a:pt x="1691" y="66"/>
                    <a:pt x="1690" y="63"/>
                  </a:cubicBezTo>
                  <a:close/>
                  <a:moveTo>
                    <a:pt x="1684" y="1184"/>
                  </a:moveTo>
                  <a:cubicBezTo>
                    <a:pt x="1695" y="1183"/>
                    <a:pt x="1685" y="1187"/>
                    <a:pt x="1687" y="1195"/>
                  </a:cubicBezTo>
                  <a:cubicBezTo>
                    <a:pt x="1699" y="1195"/>
                    <a:pt x="1691" y="1186"/>
                    <a:pt x="1695" y="1180"/>
                  </a:cubicBezTo>
                  <a:cubicBezTo>
                    <a:pt x="1703" y="1180"/>
                    <a:pt x="1693" y="1203"/>
                    <a:pt x="1700" y="1202"/>
                  </a:cubicBezTo>
                  <a:cubicBezTo>
                    <a:pt x="1696" y="1213"/>
                    <a:pt x="1688" y="1197"/>
                    <a:pt x="1679" y="1202"/>
                  </a:cubicBezTo>
                  <a:cubicBezTo>
                    <a:pt x="1680" y="1195"/>
                    <a:pt x="1687" y="1196"/>
                    <a:pt x="1684" y="1184"/>
                  </a:cubicBezTo>
                  <a:close/>
                  <a:moveTo>
                    <a:pt x="1671" y="185"/>
                  </a:moveTo>
                  <a:cubicBezTo>
                    <a:pt x="1677" y="183"/>
                    <a:pt x="1681" y="207"/>
                    <a:pt x="1671" y="204"/>
                  </a:cubicBezTo>
                  <a:cubicBezTo>
                    <a:pt x="1675" y="198"/>
                    <a:pt x="1673" y="192"/>
                    <a:pt x="1666" y="193"/>
                  </a:cubicBezTo>
                  <a:cubicBezTo>
                    <a:pt x="1666" y="189"/>
                    <a:pt x="1671" y="190"/>
                    <a:pt x="1671" y="185"/>
                  </a:cubicBezTo>
                  <a:close/>
                  <a:moveTo>
                    <a:pt x="1668" y="215"/>
                  </a:moveTo>
                  <a:cubicBezTo>
                    <a:pt x="1676" y="215"/>
                    <a:pt x="1674" y="209"/>
                    <a:pt x="1679" y="215"/>
                  </a:cubicBezTo>
                  <a:cubicBezTo>
                    <a:pt x="1678" y="218"/>
                    <a:pt x="1676" y="221"/>
                    <a:pt x="1676" y="226"/>
                  </a:cubicBezTo>
                  <a:cubicBezTo>
                    <a:pt x="1668" y="229"/>
                    <a:pt x="1673" y="214"/>
                    <a:pt x="1666" y="215"/>
                  </a:cubicBezTo>
                  <a:cubicBezTo>
                    <a:pt x="1660" y="212"/>
                    <a:pt x="1668" y="209"/>
                    <a:pt x="1668" y="215"/>
                  </a:cubicBezTo>
                  <a:close/>
                  <a:moveTo>
                    <a:pt x="1668" y="237"/>
                  </a:moveTo>
                  <a:cubicBezTo>
                    <a:pt x="1669" y="234"/>
                    <a:pt x="1671" y="233"/>
                    <a:pt x="1671" y="230"/>
                  </a:cubicBezTo>
                  <a:cubicBezTo>
                    <a:pt x="1674" y="231"/>
                    <a:pt x="1676" y="234"/>
                    <a:pt x="1676" y="241"/>
                  </a:cubicBezTo>
                  <a:cubicBezTo>
                    <a:pt x="1672" y="242"/>
                    <a:pt x="1672" y="237"/>
                    <a:pt x="1668" y="237"/>
                  </a:cubicBezTo>
                  <a:close/>
                  <a:moveTo>
                    <a:pt x="1676" y="692"/>
                  </a:moveTo>
                  <a:cubicBezTo>
                    <a:pt x="1676" y="694"/>
                    <a:pt x="1676" y="697"/>
                    <a:pt x="1676" y="699"/>
                  </a:cubicBezTo>
                  <a:cubicBezTo>
                    <a:pt x="1675" y="699"/>
                    <a:pt x="1673" y="699"/>
                    <a:pt x="1671" y="699"/>
                  </a:cubicBezTo>
                  <a:cubicBezTo>
                    <a:pt x="1671" y="697"/>
                    <a:pt x="1671" y="694"/>
                    <a:pt x="1671" y="692"/>
                  </a:cubicBezTo>
                  <a:cubicBezTo>
                    <a:pt x="1673" y="692"/>
                    <a:pt x="1675" y="692"/>
                    <a:pt x="1676" y="692"/>
                  </a:cubicBezTo>
                  <a:close/>
                  <a:moveTo>
                    <a:pt x="1668" y="648"/>
                  </a:moveTo>
                  <a:cubicBezTo>
                    <a:pt x="1660" y="661"/>
                    <a:pt x="1659" y="636"/>
                    <a:pt x="1668" y="648"/>
                  </a:cubicBezTo>
                  <a:close/>
                  <a:moveTo>
                    <a:pt x="1663" y="1162"/>
                  </a:moveTo>
                  <a:cubicBezTo>
                    <a:pt x="1661" y="1161"/>
                    <a:pt x="1660" y="1163"/>
                    <a:pt x="1660" y="1165"/>
                  </a:cubicBezTo>
                  <a:cubicBezTo>
                    <a:pt x="1657" y="1165"/>
                    <a:pt x="1658" y="1159"/>
                    <a:pt x="1657" y="1154"/>
                  </a:cubicBezTo>
                  <a:cubicBezTo>
                    <a:pt x="1662" y="1153"/>
                    <a:pt x="1663" y="1157"/>
                    <a:pt x="1663" y="1162"/>
                  </a:cubicBezTo>
                  <a:close/>
                  <a:moveTo>
                    <a:pt x="1655" y="233"/>
                  </a:moveTo>
                  <a:cubicBezTo>
                    <a:pt x="1658" y="234"/>
                    <a:pt x="1657" y="241"/>
                    <a:pt x="1660" y="241"/>
                  </a:cubicBezTo>
                  <a:cubicBezTo>
                    <a:pt x="1659" y="251"/>
                    <a:pt x="1652" y="241"/>
                    <a:pt x="1655" y="233"/>
                  </a:cubicBezTo>
                  <a:close/>
                  <a:moveTo>
                    <a:pt x="1671" y="1254"/>
                  </a:moveTo>
                  <a:cubicBezTo>
                    <a:pt x="1670" y="1260"/>
                    <a:pt x="1673" y="1261"/>
                    <a:pt x="1676" y="1261"/>
                  </a:cubicBezTo>
                  <a:cubicBezTo>
                    <a:pt x="1675" y="1272"/>
                    <a:pt x="1668" y="1261"/>
                    <a:pt x="1666" y="1261"/>
                  </a:cubicBezTo>
                  <a:cubicBezTo>
                    <a:pt x="1660" y="1262"/>
                    <a:pt x="1659" y="1268"/>
                    <a:pt x="1652" y="1269"/>
                  </a:cubicBezTo>
                  <a:cubicBezTo>
                    <a:pt x="1652" y="1259"/>
                    <a:pt x="1660" y="1259"/>
                    <a:pt x="1663" y="1254"/>
                  </a:cubicBezTo>
                  <a:cubicBezTo>
                    <a:pt x="1662" y="1250"/>
                    <a:pt x="1658" y="1251"/>
                    <a:pt x="1655" y="1250"/>
                  </a:cubicBezTo>
                  <a:cubicBezTo>
                    <a:pt x="1652" y="1253"/>
                    <a:pt x="1652" y="1259"/>
                    <a:pt x="1647" y="1258"/>
                  </a:cubicBezTo>
                  <a:cubicBezTo>
                    <a:pt x="1643" y="1243"/>
                    <a:pt x="1655" y="1249"/>
                    <a:pt x="1655" y="1239"/>
                  </a:cubicBezTo>
                  <a:cubicBezTo>
                    <a:pt x="1657" y="1239"/>
                    <a:pt x="1657" y="1241"/>
                    <a:pt x="1657" y="1243"/>
                  </a:cubicBezTo>
                  <a:cubicBezTo>
                    <a:pt x="1662" y="1251"/>
                    <a:pt x="1679" y="1244"/>
                    <a:pt x="1684" y="1250"/>
                  </a:cubicBezTo>
                  <a:cubicBezTo>
                    <a:pt x="1683" y="1254"/>
                    <a:pt x="1678" y="1264"/>
                    <a:pt x="1687" y="1261"/>
                  </a:cubicBezTo>
                  <a:cubicBezTo>
                    <a:pt x="1680" y="1282"/>
                    <a:pt x="1683" y="1249"/>
                    <a:pt x="1671" y="1254"/>
                  </a:cubicBezTo>
                  <a:close/>
                  <a:moveTo>
                    <a:pt x="1690" y="1258"/>
                  </a:moveTo>
                  <a:cubicBezTo>
                    <a:pt x="1680" y="1250"/>
                    <a:pt x="1696" y="1247"/>
                    <a:pt x="1698" y="1243"/>
                  </a:cubicBezTo>
                  <a:cubicBezTo>
                    <a:pt x="1700" y="1242"/>
                    <a:pt x="1700" y="1244"/>
                    <a:pt x="1700" y="1247"/>
                  </a:cubicBezTo>
                  <a:cubicBezTo>
                    <a:pt x="1701" y="1252"/>
                    <a:pt x="1707" y="1250"/>
                    <a:pt x="1711" y="1250"/>
                  </a:cubicBezTo>
                  <a:cubicBezTo>
                    <a:pt x="1719" y="1260"/>
                    <a:pt x="1690" y="1248"/>
                    <a:pt x="1690" y="1258"/>
                  </a:cubicBezTo>
                  <a:close/>
                  <a:moveTo>
                    <a:pt x="1700" y="1273"/>
                  </a:moveTo>
                  <a:cubicBezTo>
                    <a:pt x="1697" y="1273"/>
                    <a:pt x="1697" y="1260"/>
                    <a:pt x="1706" y="1261"/>
                  </a:cubicBezTo>
                  <a:cubicBezTo>
                    <a:pt x="1705" y="1263"/>
                    <a:pt x="1702" y="1272"/>
                    <a:pt x="1700" y="1273"/>
                  </a:cubicBezTo>
                  <a:close/>
                  <a:moveTo>
                    <a:pt x="1730" y="1298"/>
                  </a:moveTo>
                  <a:cubicBezTo>
                    <a:pt x="1728" y="1299"/>
                    <a:pt x="1726" y="1312"/>
                    <a:pt x="1717" y="1306"/>
                  </a:cubicBezTo>
                  <a:cubicBezTo>
                    <a:pt x="1716" y="1305"/>
                    <a:pt x="1718" y="1295"/>
                    <a:pt x="1717" y="1295"/>
                  </a:cubicBezTo>
                  <a:cubicBezTo>
                    <a:pt x="1712" y="1293"/>
                    <a:pt x="1709" y="1301"/>
                    <a:pt x="1703" y="1298"/>
                  </a:cubicBezTo>
                  <a:cubicBezTo>
                    <a:pt x="1701" y="1288"/>
                    <a:pt x="1709" y="1291"/>
                    <a:pt x="1709" y="1284"/>
                  </a:cubicBezTo>
                  <a:cubicBezTo>
                    <a:pt x="1711" y="1283"/>
                    <a:pt x="1713" y="1291"/>
                    <a:pt x="1714" y="1291"/>
                  </a:cubicBezTo>
                  <a:cubicBezTo>
                    <a:pt x="1716" y="1292"/>
                    <a:pt x="1720" y="1286"/>
                    <a:pt x="1725" y="1287"/>
                  </a:cubicBezTo>
                  <a:cubicBezTo>
                    <a:pt x="1725" y="1287"/>
                    <a:pt x="1725" y="1295"/>
                    <a:pt x="1725" y="1295"/>
                  </a:cubicBezTo>
                  <a:cubicBezTo>
                    <a:pt x="1727" y="1295"/>
                    <a:pt x="1732" y="1290"/>
                    <a:pt x="1733" y="1287"/>
                  </a:cubicBezTo>
                  <a:cubicBezTo>
                    <a:pt x="1736" y="1290"/>
                    <a:pt x="1738" y="1295"/>
                    <a:pt x="1738" y="1302"/>
                  </a:cubicBezTo>
                  <a:cubicBezTo>
                    <a:pt x="1735" y="1306"/>
                    <a:pt x="1730" y="1298"/>
                    <a:pt x="1730" y="1298"/>
                  </a:cubicBezTo>
                  <a:close/>
                  <a:moveTo>
                    <a:pt x="1735" y="1324"/>
                  </a:moveTo>
                  <a:cubicBezTo>
                    <a:pt x="1733" y="1314"/>
                    <a:pt x="1741" y="1320"/>
                    <a:pt x="1744" y="1317"/>
                  </a:cubicBezTo>
                  <a:cubicBezTo>
                    <a:pt x="1748" y="1311"/>
                    <a:pt x="1745" y="1318"/>
                    <a:pt x="1752" y="1324"/>
                  </a:cubicBezTo>
                  <a:cubicBezTo>
                    <a:pt x="1751" y="1331"/>
                    <a:pt x="1743" y="1320"/>
                    <a:pt x="1735" y="1324"/>
                  </a:cubicBezTo>
                  <a:close/>
                  <a:moveTo>
                    <a:pt x="1752" y="1302"/>
                  </a:moveTo>
                  <a:cubicBezTo>
                    <a:pt x="1750" y="1302"/>
                    <a:pt x="1748" y="1302"/>
                    <a:pt x="1746" y="1302"/>
                  </a:cubicBezTo>
                  <a:cubicBezTo>
                    <a:pt x="1746" y="1300"/>
                    <a:pt x="1746" y="1297"/>
                    <a:pt x="1746" y="1295"/>
                  </a:cubicBezTo>
                  <a:cubicBezTo>
                    <a:pt x="1748" y="1295"/>
                    <a:pt x="1750" y="1295"/>
                    <a:pt x="1752" y="1295"/>
                  </a:cubicBezTo>
                  <a:cubicBezTo>
                    <a:pt x="1752" y="1297"/>
                    <a:pt x="1752" y="1300"/>
                    <a:pt x="1752" y="1302"/>
                  </a:cubicBezTo>
                  <a:close/>
                  <a:moveTo>
                    <a:pt x="1757" y="1269"/>
                  </a:moveTo>
                  <a:cubicBezTo>
                    <a:pt x="1752" y="1270"/>
                    <a:pt x="1754" y="1261"/>
                    <a:pt x="1752" y="1258"/>
                  </a:cubicBezTo>
                  <a:cubicBezTo>
                    <a:pt x="1750" y="1255"/>
                    <a:pt x="1745" y="1256"/>
                    <a:pt x="1744" y="1254"/>
                  </a:cubicBezTo>
                  <a:cubicBezTo>
                    <a:pt x="1741" y="1251"/>
                    <a:pt x="1742" y="1244"/>
                    <a:pt x="1738" y="1243"/>
                  </a:cubicBezTo>
                  <a:cubicBezTo>
                    <a:pt x="1741" y="1233"/>
                    <a:pt x="1749" y="1245"/>
                    <a:pt x="1746" y="1254"/>
                  </a:cubicBezTo>
                  <a:cubicBezTo>
                    <a:pt x="1753" y="1249"/>
                    <a:pt x="1756" y="1252"/>
                    <a:pt x="1762" y="1254"/>
                  </a:cubicBezTo>
                  <a:cubicBezTo>
                    <a:pt x="1762" y="1261"/>
                    <a:pt x="1755" y="1259"/>
                    <a:pt x="1757" y="1269"/>
                  </a:cubicBezTo>
                  <a:close/>
                  <a:moveTo>
                    <a:pt x="1762" y="1269"/>
                  </a:moveTo>
                  <a:cubicBezTo>
                    <a:pt x="1767" y="1261"/>
                    <a:pt x="1772" y="1268"/>
                    <a:pt x="1768" y="1254"/>
                  </a:cubicBezTo>
                  <a:cubicBezTo>
                    <a:pt x="1777" y="1256"/>
                    <a:pt x="1773" y="1273"/>
                    <a:pt x="1762" y="1269"/>
                  </a:cubicBezTo>
                  <a:close/>
                  <a:moveTo>
                    <a:pt x="1773" y="1210"/>
                  </a:moveTo>
                  <a:cubicBezTo>
                    <a:pt x="1771" y="1207"/>
                    <a:pt x="1767" y="1206"/>
                    <a:pt x="1762" y="1206"/>
                  </a:cubicBezTo>
                  <a:cubicBezTo>
                    <a:pt x="1762" y="1199"/>
                    <a:pt x="1777" y="1199"/>
                    <a:pt x="1773" y="1210"/>
                  </a:cubicBezTo>
                  <a:close/>
                  <a:moveTo>
                    <a:pt x="1776" y="241"/>
                  </a:moveTo>
                  <a:cubicBezTo>
                    <a:pt x="1771" y="240"/>
                    <a:pt x="1770" y="245"/>
                    <a:pt x="1765" y="244"/>
                  </a:cubicBezTo>
                  <a:cubicBezTo>
                    <a:pt x="1765" y="241"/>
                    <a:pt x="1765" y="237"/>
                    <a:pt x="1765" y="233"/>
                  </a:cubicBezTo>
                  <a:cubicBezTo>
                    <a:pt x="1768" y="238"/>
                    <a:pt x="1778" y="235"/>
                    <a:pt x="1778" y="244"/>
                  </a:cubicBezTo>
                  <a:cubicBezTo>
                    <a:pt x="1777" y="250"/>
                    <a:pt x="1776" y="245"/>
                    <a:pt x="1776" y="241"/>
                  </a:cubicBezTo>
                  <a:close/>
                  <a:moveTo>
                    <a:pt x="1776" y="1206"/>
                  </a:moveTo>
                  <a:cubicBezTo>
                    <a:pt x="1777" y="1201"/>
                    <a:pt x="1782" y="1203"/>
                    <a:pt x="1787" y="1202"/>
                  </a:cubicBezTo>
                  <a:cubicBezTo>
                    <a:pt x="1787" y="1200"/>
                    <a:pt x="1787" y="1197"/>
                    <a:pt x="1787" y="1195"/>
                  </a:cubicBezTo>
                  <a:cubicBezTo>
                    <a:pt x="1789" y="1194"/>
                    <a:pt x="1789" y="1196"/>
                    <a:pt x="1789" y="1199"/>
                  </a:cubicBezTo>
                  <a:cubicBezTo>
                    <a:pt x="1789" y="1207"/>
                    <a:pt x="1799" y="1200"/>
                    <a:pt x="1803" y="1202"/>
                  </a:cubicBezTo>
                  <a:cubicBezTo>
                    <a:pt x="1805" y="1202"/>
                    <a:pt x="1805" y="1198"/>
                    <a:pt x="1805" y="1195"/>
                  </a:cubicBezTo>
                  <a:cubicBezTo>
                    <a:pt x="1808" y="1197"/>
                    <a:pt x="1810" y="1199"/>
                    <a:pt x="1811" y="1195"/>
                  </a:cubicBezTo>
                  <a:cubicBezTo>
                    <a:pt x="1814" y="1194"/>
                    <a:pt x="1812" y="1201"/>
                    <a:pt x="1813" y="1202"/>
                  </a:cubicBezTo>
                  <a:cubicBezTo>
                    <a:pt x="1817" y="1206"/>
                    <a:pt x="1827" y="1196"/>
                    <a:pt x="1824" y="1210"/>
                  </a:cubicBezTo>
                  <a:cubicBezTo>
                    <a:pt x="1818" y="1204"/>
                    <a:pt x="1813" y="1210"/>
                    <a:pt x="1805" y="1210"/>
                  </a:cubicBezTo>
                  <a:cubicBezTo>
                    <a:pt x="1797" y="1209"/>
                    <a:pt x="1787" y="1203"/>
                    <a:pt x="1776" y="1206"/>
                  </a:cubicBezTo>
                  <a:close/>
                  <a:moveTo>
                    <a:pt x="1797" y="1225"/>
                  </a:moveTo>
                  <a:cubicBezTo>
                    <a:pt x="1805" y="1211"/>
                    <a:pt x="1806" y="1236"/>
                    <a:pt x="1797" y="1225"/>
                  </a:cubicBezTo>
                  <a:close/>
                  <a:moveTo>
                    <a:pt x="1787" y="1276"/>
                  </a:moveTo>
                  <a:cubicBezTo>
                    <a:pt x="1782" y="1273"/>
                    <a:pt x="1780" y="1266"/>
                    <a:pt x="1784" y="1261"/>
                  </a:cubicBezTo>
                  <a:cubicBezTo>
                    <a:pt x="1792" y="1265"/>
                    <a:pt x="1787" y="1267"/>
                    <a:pt x="1787" y="1276"/>
                  </a:cubicBezTo>
                  <a:close/>
                  <a:moveTo>
                    <a:pt x="1778" y="1258"/>
                  </a:moveTo>
                  <a:cubicBezTo>
                    <a:pt x="1779" y="1254"/>
                    <a:pt x="1782" y="1255"/>
                    <a:pt x="1784" y="1254"/>
                  </a:cubicBezTo>
                  <a:cubicBezTo>
                    <a:pt x="1787" y="1254"/>
                    <a:pt x="1789" y="1254"/>
                    <a:pt x="1792" y="1254"/>
                  </a:cubicBezTo>
                  <a:cubicBezTo>
                    <a:pt x="1792" y="1262"/>
                    <a:pt x="1782" y="1256"/>
                    <a:pt x="1778" y="1258"/>
                  </a:cubicBezTo>
                  <a:close/>
                  <a:moveTo>
                    <a:pt x="1800" y="1276"/>
                  </a:moveTo>
                  <a:cubicBezTo>
                    <a:pt x="1795" y="1276"/>
                    <a:pt x="1798" y="1264"/>
                    <a:pt x="1792" y="1265"/>
                  </a:cubicBezTo>
                  <a:cubicBezTo>
                    <a:pt x="1792" y="1261"/>
                    <a:pt x="1797" y="1262"/>
                    <a:pt x="1800" y="1261"/>
                  </a:cubicBezTo>
                  <a:cubicBezTo>
                    <a:pt x="1796" y="1256"/>
                    <a:pt x="1790" y="1252"/>
                    <a:pt x="1792" y="1239"/>
                  </a:cubicBezTo>
                  <a:cubicBezTo>
                    <a:pt x="1802" y="1236"/>
                    <a:pt x="1800" y="1269"/>
                    <a:pt x="1805" y="1261"/>
                  </a:cubicBezTo>
                  <a:cubicBezTo>
                    <a:pt x="1816" y="1270"/>
                    <a:pt x="1796" y="1265"/>
                    <a:pt x="1800" y="1276"/>
                  </a:cubicBezTo>
                  <a:close/>
                  <a:moveTo>
                    <a:pt x="1811" y="1221"/>
                  </a:moveTo>
                  <a:cubicBezTo>
                    <a:pt x="1811" y="1208"/>
                    <a:pt x="1820" y="1229"/>
                    <a:pt x="1819" y="1217"/>
                  </a:cubicBezTo>
                  <a:cubicBezTo>
                    <a:pt x="1820" y="1216"/>
                    <a:pt x="1822" y="1224"/>
                    <a:pt x="1822" y="1225"/>
                  </a:cubicBezTo>
                  <a:cubicBezTo>
                    <a:pt x="1821" y="1225"/>
                    <a:pt x="1816" y="1223"/>
                    <a:pt x="1816" y="1225"/>
                  </a:cubicBezTo>
                  <a:cubicBezTo>
                    <a:pt x="1814" y="1232"/>
                    <a:pt x="1814" y="1235"/>
                    <a:pt x="1813" y="1243"/>
                  </a:cubicBezTo>
                  <a:cubicBezTo>
                    <a:pt x="1801" y="1236"/>
                    <a:pt x="1818" y="1227"/>
                    <a:pt x="1811" y="1221"/>
                  </a:cubicBezTo>
                  <a:close/>
                  <a:moveTo>
                    <a:pt x="1811" y="1254"/>
                  </a:moveTo>
                  <a:cubicBezTo>
                    <a:pt x="1806" y="1252"/>
                    <a:pt x="1814" y="1248"/>
                    <a:pt x="1813" y="1254"/>
                  </a:cubicBezTo>
                  <a:cubicBezTo>
                    <a:pt x="1820" y="1254"/>
                    <a:pt x="1822" y="1247"/>
                    <a:pt x="1827" y="1254"/>
                  </a:cubicBezTo>
                  <a:cubicBezTo>
                    <a:pt x="1825" y="1264"/>
                    <a:pt x="1824" y="1275"/>
                    <a:pt x="1813" y="1273"/>
                  </a:cubicBezTo>
                  <a:cubicBezTo>
                    <a:pt x="1812" y="1267"/>
                    <a:pt x="1817" y="1253"/>
                    <a:pt x="1811" y="1254"/>
                  </a:cubicBezTo>
                  <a:close/>
                  <a:moveTo>
                    <a:pt x="1827" y="1295"/>
                  </a:moveTo>
                  <a:cubicBezTo>
                    <a:pt x="1820" y="1296"/>
                    <a:pt x="1821" y="1288"/>
                    <a:pt x="1813" y="1291"/>
                  </a:cubicBezTo>
                  <a:cubicBezTo>
                    <a:pt x="1813" y="1285"/>
                    <a:pt x="1831" y="1284"/>
                    <a:pt x="1827" y="1295"/>
                  </a:cubicBezTo>
                  <a:close/>
                  <a:moveTo>
                    <a:pt x="1835" y="1306"/>
                  </a:moveTo>
                  <a:cubicBezTo>
                    <a:pt x="1832" y="1305"/>
                    <a:pt x="1833" y="1299"/>
                    <a:pt x="1832" y="1295"/>
                  </a:cubicBezTo>
                  <a:cubicBezTo>
                    <a:pt x="1837" y="1293"/>
                    <a:pt x="1837" y="1298"/>
                    <a:pt x="1838" y="1302"/>
                  </a:cubicBezTo>
                  <a:cubicBezTo>
                    <a:pt x="1835" y="1301"/>
                    <a:pt x="1835" y="1304"/>
                    <a:pt x="1835" y="1306"/>
                  </a:cubicBezTo>
                  <a:close/>
                  <a:moveTo>
                    <a:pt x="1843" y="1269"/>
                  </a:moveTo>
                  <a:cubicBezTo>
                    <a:pt x="1842" y="1282"/>
                    <a:pt x="1831" y="1262"/>
                    <a:pt x="1832" y="1273"/>
                  </a:cubicBezTo>
                  <a:cubicBezTo>
                    <a:pt x="1823" y="1272"/>
                    <a:pt x="1838" y="1260"/>
                    <a:pt x="1830" y="1261"/>
                  </a:cubicBezTo>
                  <a:cubicBezTo>
                    <a:pt x="1829" y="1256"/>
                    <a:pt x="1845" y="1257"/>
                    <a:pt x="1835" y="1250"/>
                  </a:cubicBezTo>
                  <a:cubicBezTo>
                    <a:pt x="1837" y="1245"/>
                    <a:pt x="1839" y="1251"/>
                    <a:pt x="1846" y="1247"/>
                  </a:cubicBezTo>
                  <a:cubicBezTo>
                    <a:pt x="1846" y="1251"/>
                    <a:pt x="1845" y="1253"/>
                    <a:pt x="1843" y="1254"/>
                  </a:cubicBezTo>
                  <a:cubicBezTo>
                    <a:pt x="1843" y="1258"/>
                    <a:pt x="1846" y="1257"/>
                    <a:pt x="1848" y="1258"/>
                  </a:cubicBezTo>
                  <a:cubicBezTo>
                    <a:pt x="1847" y="1262"/>
                    <a:pt x="1828" y="1265"/>
                    <a:pt x="1843" y="1269"/>
                  </a:cubicBezTo>
                  <a:close/>
                  <a:moveTo>
                    <a:pt x="1862" y="1309"/>
                  </a:moveTo>
                  <a:cubicBezTo>
                    <a:pt x="1861" y="1311"/>
                    <a:pt x="1859" y="1300"/>
                    <a:pt x="1856" y="1302"/>
                  </a:cubicBezTo>
                  <a:cubicBezTo>
                    <a:pt x="1861" y="1290"/>
                    <a:pt x="1864" y="1307"/>
                    <a:pt x="1862" y="1309"/>
                  </a:cubicBezTo>
                  <a:close/>
                  <a:moveTo>
                    <a:pt x="1867" y="1273"/>
                  </a:moveTo>
                  <a:cubicBezTo>
                    <a:pt x="1862" y="1276"/>
                    <a:pt x="1856" y="1279"/>
                    <a:pt x="1854" y="1287"/>
                  </a:cubicBezTo>
                  <a:cubicBezTo>
                    <a:pt x="1845" y="1279"/>
                    <a:pt x="1860" y="1274"/>
                    <a:pt x="1859" y="1265"/>
                  </a:cubicBezTo>
                  <a:cubicBezTo>
                    <a:pt x="1859" y="1261"/>
                    <a:pt x="1854" y="1262"/>
                    <a:pt x="1851" y="1261"/>
                  </a:cubicBezTo>
                  <a:cubicBezTo>
                    <a:pt x="1853" y="1256"/>
                    <a:pt x="1857" y="1255"/>
                    <a:pt x="1862" y="1254"/>
                  </a:cubicBezTo>
                  <a:cubicBezTo>
                    <a:pt x="1859" y="1249"/>
                    <a:pt x="1861" y="1248"/>
                    <a:pt x="1862" y="1243"/>
                  </a:cubicBezTo>
                  <a:cubicBezTo>
                    <a:pt x="1868" y="1242"/>
                    <a:pt x="1860" y="1260"/>
                    <a:pt x="1870" y="1254"/>
                  </a:cubicBezTo>
                  <a:cubicBezTo>
                    <a:pt x="1869" y="1259"/>
                    <a:pt x="1866" y="1262"/>
                    <a:pt x="1862" y="1261"/>
                  </a:cubicBezTo>
                  <a:cubicBezTo>
                    <a:pt x="1862" y="1269"/>
                    <a:pt x="1868" y="1262"/>
                    <a:pt x="1867" y="1261"/>
                  </a:cubicBezTo>
                  <a:cubicBezTo>
                    <a:pt x="1870" y="1263"/>
                    <a:pt x="1870" y="1271"/>
                    <a:pt x="1875" y="1269"/>
                  </a:cubicBezTo>
                  <a:cubicBezTo>
                    <a:pt x="1875" y="1273"/>
                    <a:pt x="1870" y="1272"/>
                    <a:pt x="1867" y="1273"/>
                  </a:cubicBezTo>
                  <a:close/>
                  <a:moveTo>
                    <a:pt x="1867" y="1165"/>
                  </a:moveTo>
                  <a:cubicBezTo>
                    <a:pt x="1865" y="1165"/>
                    <a:pt x="1864" y="1165"/>
                    <a:pt x="1862" y="1165"/>
                  </a:cubicBezTo>
                  <a:cubicBezTo>
                    <a:pt x="1862" y="1163"/>
                    <a:pt x="1862" y="1160"/>
                    <a:pt x="1862" y="1158"/>
                  </a:cubicBezTo>
                  <a:cubicBezTo>
                    <a:pt x="1864" y="1158"/>
                    <a:pt x="1865" y="1158"/>
                    <a:pt x="1867" y="1158"/>
                  </a:cubicBezTo>
                  <a:cubicBezTo>
                    <a:pt x="1867" y="1160"/>
                    <a:pt x="1867" y="1163"/>
                    <a:pt x="1867" y="1165"/>
                  </a:cubicBezTo>
                  <a:close/>
                  <a:moveTo>
                    <a:pt x="1873" y="1173"/>
                  </a:moveTo>
                  <a:cubicBezTo>
                    <a:pt x="1873" y="1175"/>
                    <a:pt x="1873" y="1178"/>
                    <a:pt x="1873" y="1180"/>
                  </a:cubicBezTo>
                  <a:cubicBezTo>
                    <a:pt x="1871" y="1180"/>
                    <a:pt x="1869" y="1180"/>
                    <a:pt x="1867" y="1180"/>
                  </a:cubicBezTo>
                  <a:cubicBezTo>
                    <a:pt x="1867" y="1178"/>
                    <a:pt x="1867" y="1175"/>
                    <a:pt x="1867" y="1173"/>
                  </a:cubicBezTo>
                  <a:cubicBezTo>
                    <a:pt x="1869" y="1173"/>
                    <a:pt x="1871" y="1173"/>
                    <a:pt x="1873" y="1173"/>
                  </a:cubicBezTo>
                  <a:close/>
                  <a:moveTo>
                    <a:pt x="1873" y="1191"/>
                  </a:moveTo>
                  <a:cubicBezTo>
                    <a:pt x="1871" y="1197"/>
                    <a:pt x="1870" y="1191"/>
                    <a:pt x="1870" y="1187"/>
                  </a:cubicBezTo>
                  <a:cubicBezTo>
                    <a:pt x="1867" y="1187"/>
                    <a:pt x="1865" y="1188"/>
                    <a:pt x="1865" y="1191"/>
                  </a:cubicBezTo>
                  <a:cubicBezTo>
                    <a:pt x="1854" y="1184"/>
                    <a:pt x="1875" y="1179"/>
                    <a:pt x="1873" y="1191"/>
                  </a:cubicBezTo>
                  <a:close/>
                  <a:moveTo>
                    <a:pt x="1867" y="1210"/>
                  </a:moveTo>
                  <a:cubicBezTo>
                    <a:pt x="1866" y="1192"/>
                    <a:pt x="1879" y="1201"/>
                    <a:pt x="1878" y="1213"/>
                  </a:cubicBezTo>
                  <a:cubicBezTo>
                    <a:pt x="1876" y="1211"/>
                    <a:pt x="1872" y="1209"/>
                    <a:pt x="1867" y="1210"/>
                  </a:cubicBezTo>
                  <a:close/>
                  <a:moveTo>
                    <a:pt x="1873" y="174"/>
                  </a:moveTo>
                  <a:cubicBezTo>
                    <a:pt x="1868" y="183"/>
                    <a:pt x="1863" y="171"/>
                    <a:pt x="1859" y="170"/>
                  </a:cubicBezTo>
                  <a:cubicBezTo>
                    <a:pt x="1858" y="170"/>
                    <a:pt x="1854" y="170"/>
                    <a:pt x="1854" y="170"/>
                  </a:cubicBezTo>
                  <a:cubicBezTo>
                    <a:pt x="1850" y="176"/>
                    <a:pt x="1856" y="179"/>
                    <a:pt x="1846" y="174"/>
                  </a:cubicBezTo>
                  <a:cubicBezTo>
                    <a:pt x="1843" y="185"/>
                    <a:pt x="1852" y="181"/>
                    <a:pt x="1856" y="182"/>
                  </a:cubicBezTo>
                  <a:cubicBezTo>
                    <a:pt x="1856" y="188"/>
                    <a:pt x="1848" y="184"/>
                    <a:pt x="1848" y="193"/>
                  </a:cubicBezTo>
                  <a:cubicBezTo>
                    <a:pt x="1851" y="203"/>
                    <a:pt x="1856" y="187"/>
                    <a:pt x="1859" y="196"/>
                  </a:cubicBezTo>
                  <a:cubicBezTo>
                    <a:pt x="1864" y="199"/>
                    <a:pt x="1856" y="202"/>
                    <a:pt x="1856" y="196"/>
                  </a:cubicBezTo>
                  <a:cubicBezTo>
                    <a:pt x="1854" y="196"/>
                    <a:pt x="1854" y="201"/>
                    <a:pt x="1854" y="204"/>
                  </a:cubicBezTo>
                  <a:cubicBezTo>
                    <a:pt x="1848" y="205"/>
                    <a:pt x="1847" y="201"/>
                    <a:pt x="1843" y="200"/>
                  </a:cubicBezTo>
                  <a:cubicBezTo>
                    <a:pt x="1842" y="208"/>
                    <a:pt x="1844" y="214"/>
                    <a:pt x="1848" y="215"/>
                  </a:cubicBezTo>
                  <a:cubicBezTo>
                    <a:pt x="1842" y="227"/>
                    <a:pt x="1839" y="204"/>
                    <a:pt x="1838" y="196"/>
                  </a:cubicBezTo>
                  <a:cubicBezTo>
                    <a:pt x="1847" y="195"/>
                    <a:pt x="1846" y="185"/>
                    <a:pt x="1840" y="178"/>
                  </a:cubicBezTo>
                  <a:cubicBezTo>
                    <a:pt x="1840" y="171"/>
                    <a:pt x="1848" y="173"/>
                    <a:pt x="1846" y="163"/>
                  </a:cubicBezTo>
                  <a:cubicBezTo>
                    <a:pt x="1855" y="164"/>
                    <a:pt x="1863" y="162"/>
                    <a:pt x="1870" y="159"/>
                  </a:cubicBezTo>
                  <a:cubicBezTo>
                    <a:pt x="1869" y="162"/>
                    <a:pt x="1867" y="163"/>
                    <a:pt x="1867" y="167"/>
                  </a:cubicBezTo>
                  <a:cubicBezTo>
                    <a:pt x="1871" y="170"/>
                    <a:pt x="1875" y="163"/>
                    <a:pt x="1875" y="163"/>
                  </a:cubicBezTo>
                  <a:cubicBezTo>
                    <a:pt x="1879" y="164"/>
                    <a:pt x="1876" y="169"/>
                    <a:pt x="1878" y="170"/>
                  </a:cubicBezTo>
                  <a:cubicBezTo>
                    <a:pt x="1882" y="174"/>
                    <a:pt x="1889" y="167"/>
                    <a:pt x="1883" y="167"/>
                  </a:cubicBezTo>
                  <a:cubicBezTo>
                    <a:pt x="1883" y="167"/>
                    <a:pt x="1885" y="161"/>
                    <a:pt x="1886" y="163"/>
                  </a:cubicBezTo>
                  <a:cubicBezTo>
                    <a:pt x="1888" y="166"/>
                    <a:pt x="1891" y="166"/>
                    <a:pt x="1891" y="170"/>
                  </a:cubicBezTo>
                  <a:cubicBezTo>
                    <a:pt x="1897" y="170"/>
                    <a:pt x="1888" y="161"/>
                    <a:pt x="1891" y="152"/>
                  </a:cubicBezTo>
                  <a:cubicBezTo>
                    <a:pt x="1902" y="153"/>
                    <a:pt x="1896" y="131"/>
                    <a:pt x="1908" y="133"/>
                  </a:cubicBezTo>
                  <a:cubicBezTo>
                    <a:pt x="1903" y="144"/>
                    <a:pt x="1891" y="164"/>
                    <a:pt x="1902" y="174"/>
                  </a:cubicBezTo>
                  <a:cubicBezTo>
                    <a:pt x="1897" y="182"/>
                    <a:pt x="1893" y="205"/>
                    <a:pt x="1902" y="211"/>
                  </a:cubicBezTo>
                  <a:cubicBezTo>
                    <a:pt x="1900" y="218"/>
                    <a:pt x="1893" y="224"/>
                    <a:pt x="1889" y="218"/>
                  </a:cubicBezTo>
                  <a:cubicBezTo>
                    <a:pt x="1890" y="211"/>
                    <a:pt x="1893" y="211"/>
                    <a:pt x="1897" y="215"/>
                  </a:cubicBezTo>
                  <a:cubicBezTo>
                    <a:pt x="1892" y="209"/>
                    <a:pt x="1897" y="189"/>
                    <a:pt x="1886" y="193"/>
                  </a:cubicBezTo>
                  <a:cubicBezTo>
                    <a:pt x="1887" y="188"/>
                    <a:pt x="1891" y="190"/>
                    <a:pt x="1894" y="189"/>
                  </a:cubicBezTo>
                  <a:cubicBezTo>
                    <a:pt x="1891" y="177"/>
                    <a:pt x="1886" y="188"/>
                    <a:pt x="1881" y="178"/>
                  </a:cubicBezTo>
                  <a:cubicBezTo>
                    <a:pt x="1878" y="179"/>
                    <a:pt x="1879" y="182"/>
                    <a:pt x="1881" y="182"/>
                  </a:cubicBezTo>
                  <a:cubicBezTo>
                    <a:pt x="1880" y="191"/>
                    <a:pt x="1870" y="182"/>
                    <a:pt x="1873" y="174"/>
                  </a:cubicBezTo>
                  <a:close/>
                  <a:moveTo>
                    <a:pt x="1899" y="1317"/>
                  </a:moveTo>
                  <a:cubicBezTo>
                    <a:pt x="1889" y="1322"/>
                    <a:pt x="1899" y="1300"/>
                    <a:pt x="1889" y="1306"/>
                  </a:cubicBezTo>
                  <a:cubicBezTo>
                    <a:pt x="1890" y="1301"/>
                    <a:pt x="1895" y="1303"/>
                    <a:pt x="1899" y="1302"/>
                  </a:cubicBezTo>
                  <a:cubicBezTo>
                    <a:pt x="1899" y="1307"/>
                    <a:pt x="1899" y="1312"/>
                    <a:pt x="1899" y="1317"/>
                  </a:cubicBezTo>
                  <a:close/>
                  <a:moveTo>
                    <a:pt x="1937" y="1258"/>
                  </a:moveTo>
                  <a:cubicBezTo>
                    <a:pt x="1935" y="1258"/>
                    <a:pt x="1935" y="1253"/>
                    <a:pt x="1934" y="1250"/>
                  </a:cubicBezTo>
                  <a:cubicBezTo>
                    <a:pt x="1928" y="1251"/>
                    <a:pt x="1934" y="1262"/>
                    <a:pt x="1934" y="1261"/>
                  </a:cubicBezTo>
                  <a:cubicBezTo>
                    <a:pt x="1934" y="1269"/>
                    <a:pt x="1927" y="1263"/>
                    <a:pt x="1932" y="1276"/>
                  </a:cubicBezTo>
                  <a:cubicBezTo>
                    <a:pt x="1924" y="1279"/>
                    <a:pt x="1925" y="1271"/>
                    <a:pt x="1918" y="1273"/>
                  </a:cubicBezTo>
                  <a:cubicBezTo>
                    <a:pt x="1919" y="1268"/>
                    <a:pt x="1923" y="1269"/>
                    <a:pt x="1926" y="1269"/>
                  </a:cubicBezTo>
                  <a:cubicBezTo>
                    <a:pt x="1924" y="1260"/>
                    <a:pt x="1913" y="1260"/>
                    <a:pt x="1913" y="1273"/>
                  </a:cubicBezTo>
                  <a:cubicBezTo>
                    <a:pt x="1907" y="1275"/>
                    <a:pt x="1909" y="1265"/>
                    <a:pt x="1905" y="1265"/>
                  </a:cubicBezTo>
                  <a:cubicBezTo>
                    <a:pt x="1902" y="1266"/>
                    <a:pt x="1903" y="1269"/>
                    <a:pt x="1905" y="1269"/>
                  </a:cubicBezTo>
                  <a:cubicBezTo>
                    <a:pt x="1904" y="1279"/>
                    <a:pt x="1886" y="1266"/>
                    <a:pt x="1886" y="1276"/>
                  </a:cubicBezTo>
                  <a:cubicBezTo>
                    <a:pt x="1882" y="1275"/>
                    <a:pt x="1885" y="1265"/>
                    <a:pt x="1881" y="1265"/>
                  </a:cubicBezTo>
                  <a:cubicBezTo>
                    <a:pt x="1880" y="1258"/>
                    <a:pt x="1886" y="1261"/>
                    <a:pt x="1889" y="1258"/>
                  </a:cubicBezTo>
                  <a:cubicBezTo>
                    <a:pt x="1890" y="1256"/>
                    <a:pt x="1890" y="1242"/>
                    <a:pt x="1897" y="1247"/>
                  </a:cubicBezTo>
                  <a:cubicBezTo>
                    <a:pt x="1897" y="1257"/>
                    <a:pt x="1891" y="1260"/>
                    <a:pt x="1886" y="1265"/>
                  </a:cubicBezTo>
                  <a:cubicBezTo>
                    <a:pt x="1886" y="1273"/>
                    <a:pt x="1896" y="1267"/>
                    <a:pt x="1899" y="1269"/>
                  </a:cubicBezTo>
                  <a:cubicBezTo>
                    <a:pt x="1899" y="1265"/>
                    <a:pt x="1896" y="1266"/>
                    <a:pt x="1894" y="1265"/>
                  </a:cubicBezTo>
                  <a:cubicBezTo>
                    <a:pt x="1894" y="1262"/>
                    <a:pt x="1897" y="1262"/>
                    <a:pt x="1899" y="1261"/>
                  </a:cubicBezTo>
                  <a:cubicBezTo>
                    <a:pt x="1898" y="1254"/>
                    <a:pt x="1901" y="1252"/>
                    <a:pt x="1902" y="1247"/>
                  </a:cubicBezTo>
                  <a:cubicBezTo>
                    <a:pt x="1906" y="1247"/>
                    <a:pt x="1903" y="1258"/>
                    <a:pt x="1908" y="1258"/>
                  </a:cubicBezTo>
                  <a:cubicBezTo>
                    <a:pt x="1912" y="1258"/>
                    <a:pt x="1910" y="1230"/>
                    <a:pt x="1913" y="1250"/>
                  </a:cubicBezTo>
                  <a:cubicBezTo>
                    <a:pt x="1915" y="1255"/>
                    <a:pt x="1919" y="1257"/>
                    <a:pt x="1924" y="1258"/>
                  </a:cubicBezTo>
                  <a:cubicBezTo>
                    <a:pt x="1928" y="1254"/>
                    <a:pt x="1929" y="1246"/>
                    <a:pt x="1937" y="1247"/>
                  </a:cubicBezTo>
                  <a:cubicBezTo>
                    <a:pt x="1937" y="1250"/>
                    <a:pt x="1937" y="1254"/>
                    <a:pt x="1937" y="1258"/>
                  </a:cubicBezTo>
                  <a:close/>
                  <a:moveTo>
                    <a:pt x="1945" y="1217"/>
                  </a:moveTo>
                  <a:cubicBezTo>
                    <a:pt x="1942" y="1212"/>
                    <a:pt x="1944" y="1218"/>
                    <a:pt x="1940" y="1217"/>
                  </a:cubicBezTo>
                  <a:cubicBezTo>
                    <a:pt x="1937" y="1217"/>
                    <a:pt x="1934" y="1210"/>
                    <a:pt x="1932" y="1221"/>
                  </a:cubicBezTo>
                  <a:cubicBezTo>
                    <a:pt x="1929" y="1221"/>
                    <a:pt x="1930" y="1216"/>
                    <a:pt x="1929" y="1213"/>
                  </a:cubicBezTo>
                  <a:cubicBezTo>
                    <a:pt x="1925" y="1213"/>
                    <a:pt x="1920" y="1213"/>
                    <a:pt x="1916" y="1213"/>
                  </a:cubicBezTo>
                  <a:cubicBezTo>
                    <a:pt x="1913" y="1216"/>
                    <a:pt x="1913" y="1222"/>
                    <a:pt x="1908" y="1221"/>
                  </a:cubicBezTo>
                  <a:cubicBezTo>
                    <a:pt x="1912" y="1208"/>
                    <a:pt x="1900" y="1217"/>
                    <a:pt x="1894" y="1213"/>
                  </a:cubicBezTo>
                  <a:cubicBezTo>
                    <a:pt x="1892" y="1212"/>
                    <a:pt x="1892" y="1205"/>
                    <a:pt x="1889" y="1206"/>
                  </a:cubicBezTo>
                  <a:cubicBezTo>
                    <a:pt x="1887" y="1196"/>
                    <a:pt x="1901" y="1209"/>
                    <a:pt x="1899" y="1199"/>
                  </a:cubicBezTo>
                  <a:cubicBezTo>
                    <a:pt x="1901" y="1206"/>
                    <a:pt x="1914" y="1198"/>
                    <a:pt x="1916" y="1206"/>
                  </a:cubicBezTo>
                  <a:cubicBezTo>
                    <a:pt x="1919" y="1198"/>
                    <a:pt x="1927" y="1201"/>
                    <a:pt x="1942" y="1202"/>
                  </a:cubicBezTo>
                  <a:cubicBezTo>
                    <a:pt x="1943" y="1202"/>
                    <a:pt x="1942" y="1206"/>
                    <a:pt x="1942" y="1206"/>
                  </a:cubicBezTo>
                  <a:cubicBezTo>
                    <a:pt x="1945" y="1207"/>
                    <a:pt x="1945" y="1205"/>
                    <a:pt x="1945" y="1202"/>
                  </a:cubicBezTo>
                  <a:cubicBezTo>
                    <a:pt x="1948" y="1203"/>
                    <a:pt x="1947" y="1206"/>
                    <a:pt x="1945" y="1206"/>
                  </a:cubicBezTo>
                  <a:cubicBezTo>
                    <a:pt x="1945" y="1210"/>
                    <a:pt x="1946" y="1214"/>
                    <a:pt x="1948" y="1213"/>
                  </a:cubicBezTo>
                  <a:cubicBezTo>
                    <a:pt x="1951" y="1213"/>
                    <a:pt x="1953" y="1206"/>
                    <a:pt x="1959" y="1213"/>
                  </a:cubicBezTo>
                  <a:cubicBezTo>
                    <a:pt x="1962" y="1218"/>
                    <a:pt x="1947" y="1220"/>
                    <a:pt x="1945" y="1217"/>
                  </a:cubicBezTo>
                  <a:close/>
                  <a:moveTo>
                    <a:pt x="1967" y="1339"/>
                  </a:moveTo>
                  <a:cubicBezTo>
                    <a:pt x="1959" y="1342"/>
                    <a:pt x="1961" y="1332"/>
                    <a:pt x="1956" y="1332"/>
                  </a:cubicBezTo>
                  <a:cubicBezTo>
                    <a:pt x="1958" y="1327"/>
                    <a:pt x="1962" y="1325"/>
                    <a:pt x="1967" y="1324"/>
                  </a:cubicBezTo>
                  <a:cubicBezTo>
                    <a:pt x="1967" y="1329"/>
                    <a:pt x="1967" y="1334"/>
                    <a:pt x="1967" y="1339"/>
                  </a:cubicBezTo>
                  <a:close/>
                  <a:moveTo>
                    <a:pt x="1969" y="1269"/>
                  </a:moveTo>
                  <a:cubicBezTo>
                    <a:pt x="1970" y="1266"/>
                    <a:pt x="1968" y="1265"/>
                    <a:pt x="1967" y="1265"/>
                  </a:cubicBezTo>
                  <a:cubicBezTo>
                    <a:pt x="1967" y="1262"/>
                    <a:pt x="1970" y="1262"/>
                    <a:pt x="1972" y="1261"/>
                  </a:cubicBezTo>
                  <a:cubicBezTo>
                    <a:pt x="1967" y="1253"/>
                    <a:pt x="1973" y="1257"/>
                    <a:pt x="1975" y="1250"/>
                  </a:cubicBezTo>
                  <a:cubicBezTo>
                    <a:pt x="1983" y="1254"/>
                    <a:pt x="1971" y="1260"/>
                    <a:pt x="1975" y="1269"/>
                  </a:cubicBezTo>
                  <a:cubicBezTo>
                    <a:pt x="1973" y="1269"/>
                    <a:pt x="1971" y="1269"/>
                    <a:pt x="1969" y="1269"/>
                  </a:cubicBezTo>
                  <a:close/>
                  <a:moveTo>
                    <a:pt x="1977" y="1306"/>
                  </a:moveTo>
                  <a:cubicBezTo>
                    <a:pt x="1984" y="1296"/>
                    <a:pt x="1986" y="1310"/>
                    <a:pt x="1994" y="1309"/>
                  </a:cubicBezTo>
                  <a:cubicBezTo>
                    <a:pt x="1994" y="1315"/>
                    <a:pt x="1974" y="1318"/>
                    <a:pt x="1977" y="1306"/>
                  </a:cubicBezTo>
                  <a:close/>
                  <a:moveTo>
                    <a:pt x="1980" y="1232"/>
                  </a:moveTo>
                  <a:cubicBezTo>
                    <a:pt x="1981" y="1225"/>
                    <a:pt x="1985" y="1223"/>
                    <a:pt x="1991" y="1225"/>
                  </a:cubicBezTo>
                  <a:cubicBezTo>
                    <a:pt x="1989" y="1229"/>
                    <a:pt x="1985" y="1231"/>
                    <a:pt x="1980" y="1232"/>
                  </a:cubicBezTo>
                  <a:close/>
                  <a:moveTo>
                    <a:pt x="2015" y="1269"/>
                  </a:moveTo>
                  <a:cubicBezTo>
                    <a:pt x="2004" y="1271"/>
                    <a:pt x="2007" y="1255"/>
                    <a:pt x="2007" y="1243"/>
                  </a:cubicBezTo>
                  <a:cubicBezTo>
                    <a:pt x="2010" y="1245"/>
                    <a:pt x="2010" y="1252"/>
                    <a:pt x="2015" y="1250"/>
                  </a:cubicBezTo>
                  <a:cubicBezTo>
                    <a:pt x="2015" y="1257"/>
                    <a:pt x="2015" y="1263"/>
                    <a:pt x="2015" y="1269"/>
                  </a:cubicBezTo>
                  <a:close/>
                  <a:moveTo>
                    <a:pt x="2020" y="1261"/>
                  </a:moveTo>
                  <a:cubicBezTo>
                    <a:pt x="2028" y="1259"/>
                    <a:pt x="2019" y="1279"/>
                    <a:pt x="2026" y="1276"/>
                  </a:cubicBezTo>
                  <a:cubicBezTo>
                    <a:pt x="2021" y="1289"/>
                    <a:pt x="2019" y="1269"/>
                    <a:pt x="2020" y="1261"/>
                  </a:cubicBezTo>
                  <a:close/>
                  <a:moveTo>
                    <a:pt x="2026" y="1217"/>
                  </a:moveTo>
                  <a:cubicBezTo>
                    <a:pt x="2026" y="1217"/>
                    <a:pt x="2022" y="1221"/>
                    <a:pt x="2023" y="1221"/>
                  </a:cubicBezTo>
                  <a:cubicBezTo>
                    <a:pt x="2021" y="1221"/>
                    <a:pt x="2018" y="1213"/>
                    <a:pt x="2018" y="1213"/>
                  </a:cubicBezTo>
                  <a:cubicBezTo>
                    <a:pt x="2014" y="1214"/>
                    <a:pt x="2013" y="1220"/>
                    <a:pt x="2010" y="1221"/>
                  </a:cubicBezTo>
                  <a:cubicBezTo>
                    <a:pt x="2001" y="1223"/>
                    <a:pt x="1995" y="1212"/>
                    <a:pt x="1988" y="1221"/>
                  </a:cubicBezTo>
                  <a:cubicBezTo>
                    <a:pt x="1985" y="1222"/>
                    <a:pt x="1979" y="1210"/>
                    <a:pt x="1986" y="1210"/>
                  </a:cubicBezTo>
                  <a:cubicBezTo>
                    <a:pt x="1985" y="1206"/>
                    <a:pt x="1982" y="1207"/>
                    <a:pt x="1980" y="1206"/>
                  </a:cubicBezTo>
                  <a:cubicBezTo>
                    <a:pt x="1981" y="1198"/>
                    <a:pt x="1996" y="1201"/>
                    <a:pt x="1991" y="1213"/>
                  </a:cubicBezTo>
                  <a:cubicBezTo>
                    <a:pt x="1994" y="1213"/>
                    <a:pt x="1994" y="1202"/>
                    <a:pt x="1991" y="1202"/>
                  </a:cubicBezTo>
                  <a:cubicBezTo>
                    <a:pt x="1991" y="1198"/>
                    <a:pt x="1996" y="1199"/>
                    <a:pt x="1999" y="1199"/>
                  </a:cubicBezTo>
                  <a:cubicBezTo>
                    <a:pt x="1999" y="1202"/>
                    <a:pt x="1999" y="1206"/>
                    <a:pt x="1999" y="1210"/>
                  </a:cubicBezTo>
                  <a:cubicBezTo>
                    <a:pt x="2009" y="1209"/>
                    <a:pt x="2004" y="1201"/>
                    <a:pt x="2012" y="1206"/>
                  </a:cubicBezTo>
                  <a:cubicBezTo>
                    <a:pt x="2013" y="1206"/>
                    <a:pt x="2017" y="1205"/>
                    <a:pt x="2018" y="1206"/>
                  </a:cubicBezTo>
                  <a:cubicBezTo>
                    <a:pt x="2018" y="1206"/>
                    <a:pt x="2019" y="1212"/>
                    <a:pt x="2020" y="1210"/>
                  </a:cubicBezTo>
                  <a:cubicBezTo>
                    <a:pt x="2025" y="1204"/>
                    <a:pt x="2023" y="1215"/>
                    <a:pt x="2031" y="1213"/>
                  </a:cubicBezTo>
                  <a:cubicBezTo>
                    <a:pt x="2031" y="1217"/>
                    <a:pt x="2028" y="1216"/>
                    <a:pt x="2026" y="1217"/>
                  </a:cubicBezTo>
                  <a:close/>
                  <a:moveTo>
                    <a:pt x="2031" y="588"/>
                  </a:moveTo>
                  <a:cubicBezTo>
                    <a:pt x="2033" y="585"/>
                    <a:pt x="2034" y="580"/>
                    <a:pt x="2034" y="574"/>
                  </a:cubicBezTo>
                  <a:cubicBezTo>
                    <a:pt x="2039" y="572"/>
                    <a:pt x="2039" y="594"/>
                    <a:pt x="2031" y="588"/>
                  </a:cubicBezTo>
                  <a:close/>
                  <a:moveTo>
                    <a:pt x="2039" y="1210"/>
                  </a:moveTo>
                  <a:cubicBezTo>
                    <a:pt x="2044" y="1209"/>
                    <a:pt x="2044" y="1213"/>
                    <a:pt x="2047" y="1213"/>
                  </a:cubicBezTo>
                  <a:cubicBezTo>
                    <a:pt x="2046" y="1218"/>
                    <a:pt x="2042" y="1220"/>
                    <a:pt x="2037" y="1221"/>
                  </a:cubicBezTo>
                  <a:cubicBezTo>
                    <a:pt x="2038" y="1218"/>
                    <a:pt x="2039" y="1215"/>
                    <a:pt x="2039" y="1210"/>
                  </a:cubicBezTo>
                  <a:close/>
                  <a:moveTo>
                    <a:pt x="2039" y="1306"/>
                  </a:moveTo>
                  <a:cubicBezTo>
                    <a:pt x="2042" y="1309"/>
                    <a:pt x="2045" y="1310"/>
                    <a:pt x="2050" y="1309"/>
                  </a:cubicBezTo>
                  <a:cubicBezTo>
                    <a:pt x="2051" y="1316"/>
                    <a:pt x="2035" y="1316"/>
                    <a:pt x="2039" y="1306"/>
                  </a:cubicBezTo>
                  <a:close/>
                  <a:moveTo>
                    <a:pt x="2050" y="1269"/>
                  </a:moveTo>
                  <a:cubicBezTo>
                    <a:pt x="2048" y="1268"/>
                    <a:pt x="2048" y="1270"/>
                    <a:pt x="2047" y="1273"/>
                  </a:cubicBezTo>
                  <a:cubicBezTo>
                    <a:pt x="2044" y="1272"/>
                    <a:pt x="2045" y="1266"/>
                    <a:pt x="2045" y="1261"/>
                  </a:cubicBezTo>
                  <a:cubicBezTo>
                    <a:pt x="2048" y="1263"/>
                    <a:pt x="2049" y="1268"/>
                    <a:pt x="2053" y="1269"/>
                  </a:cubicBezTo>
                  <a:cubicBezTo>
                    <a:pt x="2052" y="1273"/>
                    <a:pt x="2050" y="1271"/>
                    <a:pt x="2050" y="1269"/>
                  </a:cubicBezTo>
                  <a:close/>
                  <a:moveTo>
                    <a:pt x="2064" y="1213"/>
                  </a:moveTo>
                  <a:cubicBezTo>
                    <a:pt x="2061" y="1219"/>
                    <a:pt x="2057" y="1221"/>
                    <a:pt x="2050" y="1221"/>
                  </a:cubicBezTo>
                  <a:cubicBezTo>
                    <a:pt x="2050" y="1214"/>
                    <a:pt x="2059" y="1218"/>
                    <a:pt x="2058" y="1210"/>
                  </a:cubicBezTo>
                  <a:cubicBezTo>
                    <a:pt x="2058" y="1206"/>
                    <a:pt x="2055" y="1207"/>
                    <a:pt x="2053" y="1206"/>
                  </a:cubicBezTo>
                  <a:cubicBezTo>
                    <a:pt x="2054" y="1201"/>
                    <a:pt x="2059" y="1203"/>
                    <a:pt x="2064" y="1202"/>
                  </a:cubicBezTo>
                  <a:cubicBezTo>
                    <a:pt x="2064" y="1209"/>
                    <a:pt x="2059" y="1212"/>
                    <a:pt x="2064" y="1213"/>
                  </a:cubicBezTo>
                  <a:close/>
                  <a:moveTo>
                    <a:pt x="2055" y="1195"/>
                  </a:moveTo>
                  <a:cubicBezTo>
                    <a:pt x="2055" y="1191"/>
                    <a:pt x="2055" y="1187"/>
                    <a:pt x="2055" y="1184"/>
                  </a:cubicBezTo>
                  <a:cubicBezTo>
                    <a:pt x="2060" y="1180"/>
                    <a:pt x="2064" y="1195"/>
                    <a:pt x="2066" y="1184"/>
                  </a:cubicBezTo>
                  <a:cubicBezTo>
                    <a:pt x="2072" y="1186"/>
                    <a:pt x="2063" y="1198"/>
                    <a:pt x="2055" y="1195"/>
                  </a:cubicBezTo>
                  <a:close/>
                  <a:moveTo>
                    <a:pt x="2069" y="204"/>
                  </a:moveTo>
                  <a:cubicBezTo>
                    <a:pt x="2065" y="208"/>
                    <a:pt x="2064" y="215"/>
                    <a:pt x="2058" y="207"/>
                  </a:cubicBezTo>
                  <a:cubicBezTo>
                    <a:pt x="2062" y="202"/>
                    <a:pt x="2071" y="196"/>
                    <a:pt x="2072" y="207"/>
                  </a:cubicBezTo>
                  <a:cubicBezTo>
                    <a:pt x="2070" y="213"/>
                    <a:pt x="2069" y="208"/>
                    <a:pt x="2069" y="204"/>
                  </a:cubicBezTo>
                  <a:close/>
                  <a:moveTo>
                    <a:pt x="2074" y="182"/>
                  </a:moveTo>
                  <a:cubicBezTo>
                    <a:pt x="2069" y="181"/>
                    <a:pt x="2074" y="174"/>
                    <a:pt x="2074" y="174"/>
                  </a:cubicBezTo>
                  <a:cubicBezTo>
                    <a:pt x="2074" y="170"/>
                    <a:pt x="2069" y="164"/>
                    <a:pt x="2074" y="159"/>
                  </a:cubicBezTo>
                  <a:cubicBezTo>
                    <a:pt x="2082" y="163"/>
                    <a:pt x="2073" y="175"/>
                    <a:pt x="2074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</p:grpSp>
      <p:sp>
        <p:nvSpPr>
          <p:cNvPr id="112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792107" y="4618881"/>
            <a:ext cx="4232424" cy="7493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  <a:endParaRPr lang="en-AU"/>
          </a:p>
        </p:txBody>
      </p:sp>
      <p:sp>
        <p:nvSpPr>
          <p:cNvPr id="113" name="Title 4124"/>
          <p:cNvSpPr>
            <a:spLocks noGrp="1"/>
          </p:cNvSpPr>
          <p:nvPr>
            <p:ph type="title"/>
          </p:nvPr>
        </p:nvSpPr>
        <p:spPr>
          <a:xfrm>
            <a:off x="5735264" y="1927683"/>
            <a:ext cx="5486400" cy="2603500"/>
          </a:xfrm>
        </p:spPr>
        <p:txBody>
          <a:bodyPr/>
          <a:lstStyle>
            <a:lvl1pPr>
              <a:defRPr sz="7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4107779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splash">
    <p:bg>
      <p:bgPr>
        <a:solidFill>
          <a:srgbClr val="4985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94" name="Group 4193"/>
          <p:cNvGrpSpPr/>
          <p:nvPr userDrawn="1"/>
        </p:nvGrpSpPr>
        <p:grpSpPr>
          <a:xfrm>
            <a:off x="3388559" y="1687629"/>
            <a:ext cx="8814356" cy="4310435"/>
            <a:chOff x="2541419" y="1687628"/>
            <a:chExt cx="6610767" cy="4310435"/>
          </a:xfrm>
          <a:solidFill>
            <a:schemeClr val="accent3"/>
          </a:solidFill>
        </p:grpSpPr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3782953" y="1707783"/>
              <a:ext cx="34935" cy="79275"/>
            </a:xfrm>
            <a:custGeom>
              <a:avLst/>
              <a:gdLst>
                <a:gd name="T0" fmla="*/ 11 w 11"/>
                <a:gd name="T1" fmla="*/ 13 h 25"/>
                <a:gd name="T2" fmla="*/ 11 w 11"/>
                <a:gd name="T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25">
                  <a:moveTo>
                    <a:pt x="11" y="13"/>
                  </a:moveTo>
                  <a:cubicBezTo>
                    <a:pt x="0" y="0"/>
                    <a:pt x="4" y="25"/>
                    <a:pt x="1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6" name="Freeform 8"/>
            <p:cNvSpPr>
              <a:spLocks/>
            </p:cNvSpPr>
            <p:nvPr userDrawn="1"/>
          </p:nvSpPr>
          <p:spPr bwMode="auto">
            <a:xfrm>
              <a:off x="4782630" y="1722563"/>
              <a:ext cx="30904" cy="67183"/>
            </a:xfrm>
            <a:custGeom>
              <a:avLst/>
              <a:gdLst>
                <a:gd name="T0" fmla="*/ 10 w 10"/>
                <a:gd name="T1" fmla="*/ 11 h 21"/>
                <a:gd name="T2" fmla="*/ 0 w 10"/>
                <a:gd name="T3" fmla="*/ 11 h 21"/>
                <a:gd name="T4" fmla="*/ 10 w 10"/>
                <a:gd name="T5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1">
                  <a:moveTo>
                    <a:pt x="10" y="11"/>
                  </a:moveTo>
                  <a:cubicBezTo>
                    <a:pt x="5" y="15"/>
                    <a:pt x="1" y="0"/>
                    <a:pt x="0" y="11"/>
                  </a:cubicBezTo>
                  <a:cubicBezTo>
                    <a:pt x="1" y="13"/>
                    <a:pt x="10" y="21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8294936" y="1770934"/>
              <a:ext cx="34935" cy="51059"/>
            </a:xfrm>
            <a:custGeom>
              <a:avLst/>
              <a:gdLst>
                <a:gd name="T0" fmla="*/ 3 w 11"/>
                <a:gd name="T1" fmla="*/ 0 h 16"/>
                <a:gd name="T2" fmla="*/ 0 w 11"/>
                <a:gd name="T3" fmla="*/ 15 h 16"/>
                <a:gd name="T4" fmla="*/ 3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3" y="0"/>
                  </a:moveTo>
                  <a:cubicBezTo>
                    <a:pt x="4" y="7"/>
                    <a:pt x="0" y="8"/>
                    <a:pt x="0" y="15"/>
                  </a:cubicBezTo>
                  <a:cubicBezTo>
                    <a:pt x="8" y="16"/>
                    <a:pt x="11" y="1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8" name="Freeform 10"/>
            <p:cNvSpPr>
              <a:spLocks/>
            </p:cNvSpPr>
            <p:nvPr userDrawn="1"/>
          </p:nvSpPr>
          <p:spPr bwMode="auto">
            <a:xfrm>
              <a:off x="8345995" y="1783027"/>
              <a:ext cx="18811" cy="57777"/>
            </a:xfrm>
            <a:custGeom>
              <a:avLst/>
              <a:gdLst>
                <a:gd name="T0" fmla="*/ 6 w 6"/>
                <a:gd name="T1" fmla="*/ 18 h 18"/>
                <a:gd name="T2" fmla="*/ 1 w 6"/>
                <a:gd name="T3" fmla="*/ 0 h 18"/>
                <a:gd name="T4" fmla="*/ 6 w 6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8">
                  <a:moveTo>
                    <a:pt x="6" y="18"/>
                  </a:moveTo>
                  <a:cubicBezTo>
                    <a:pt x="6" y="9"/>
                    <a:pt x="5" y="3"/>
                    <a:pt x="1" y="0"/>
                  </a:cubicBezTo>
                  <a:cubicBezTo>
                    <a:pt x="0" y="9"/>
                    <a:pt x="0" y="18"/>
                    <a:pt x="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9" name="Freeform 11"/>
            <p:cNvSpPr>
              <a:spLocks/>
            </p:cNvSpPr>
            <p:nvPr userDrawn="1"/>
          </p:nvSpPr>
          <p:spPr bwMode="auto">
            <a:xfrm>
              <a:off x="8921078" y="1783027"/>
              <a:ext cx="79275" cy="123616"/>
            </a:xfrm>
            <a:custGeom>
              <a:avLst/>
              <a:gdLst>
                <a:gd name="T0" fmla="*/ 5 w 25"/>
                <a:gd name="T1" fmla="*/ 33 h 39"/>
                <a:gd name="T2" fmla="*/ 10 w 25"/>
                <a:gd name="T3" fmla="*/ 37 h 39"/>
                <a:gd name="T4" fmla="*/ 13 w 25"/>
                <a:gd name="T5" fmla="*/ 33 h 39"/>
                <a:gd name="T6" fmla="*/ 19 w 25"/>
                <a:gd name="T7" fmla="*/ 26 h 39"/>
                <a:gd name="T8" fmla="*/ 24 w 25"/>
                <a:gd name="T9" fmla="*/ 18 h 39"/>
                <a:gd name="T10" fmla="*/ 16 w 25"/>
                <a:gd name="T11" fmla="*/ 0 h 39"/>
                <a:gd name="T12" fmla="*/ 2 w 25"/>
                <a:gd name="T13" fmla="*/ 15 h 39"/>
                <a:gd name="T14" fmla="*/ 13 w 25"/>
                <a:gd name="T15" fmla="*/ 11 h 39"/>
                <a:gd name="T16" fmla="*/ 10 w 25"/>
                <a:gd name="T17" fmla="*/ 30 h 39"/>
                <a:gd name="T18" fmla="*/ 0 w 25"/>
                <a:gd name="T19" fmla="*/ 26 h 39"/>
                <a:gd name="T20" fmla="*/ 2 w 25"/>
                <a:gd name="T21" fmla="*/ 37 h 39"/>
                <a:gd name="T22" fmla="*/ 5 w 25"/>
                <a:gd name="T23" fmla="*/ 3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39">
                  <a:moveTo>
                    <a:pt x="5" y="33"/>
                  </a:moveTo>
                  <a:cubicBezTo>
                    <a:pt x="8" y="32"/>
                    <a:pt x="9" y="38"/>
                    <a:pt x="10" y="37"/>
                  </a:cubicBezTo>
                  <a:cubicBezTo>
                    <a:pt x="12" y="36"/>
                    <a:pt x="10" y="33"/>
                    <a:pt x="13" y="33"/>
                  </a:cubicBezTo>
                  <a:cubicBezTo>
                    <a:pt x="17" y="33"/>
                    <a:pt x="16" y="26"/>
                    <a:pt x="19" y="26"/>
                  </a:cubicBezTo>
                  <a:cubicBezTo>
                    <a:pt x="22" y="25"/>
                    <a:pt x="21" y="20"/>
                    <a:pt x="24" y="18"/>
                  </a:cubicBezTo>
                  <a:cubicBezTo>
                    <a:pt x="25" y="8"/>
                    <a:pt x="19" y="6"/>
                    <a:pt x="16" y="0"/>
                  </a:cubicBezTo>
                  <a:cubicBezTo>
                    <a:pt x="10" y="3"/>
                    <a:pt x="0" y="0"/>
                    <a:pt x="2" y="15"/>
                  </a:cubicBezTo>
                  <a:cubicBezTo>
                    <a:pt x="9" y="20"/>
                    <a:pt x="11" y="0"/>
                    <a:pt x="13" y="11"/>
                  </a:cubicBezTo>
                  <a:cubicBezTo>
                    <a:pt x="14" y="21"/>
                    <a:pt x="3" y="20"/>
                    <a:pt x="10" y="30"/>
                  </a:cubicBezTo>
                  <a:cubicBezTo>
                    <a:pt x="5" y="23"/>
                    <a:pt x="5" y="32"/>
                    <a:pt x="0" y="26"/>
                  </a:cubicBezTo>
                  <a:cubicBezTo>
                    <a:pt x="0" y="30"/>
                    <a:pt x="0" y="35"/>
                    <a:pt x="2" y="37"/>
                  </a:cubicBezTo>
                  <a:cubicBezTo>
                    <a:pt x="5" y="39"/>
                    <a:pt x="5" y="33"/>
                    <a:pt x="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0" name="Freeform 12"/>
            <p:cNvSpPr>
              <a:spLocks/>
            </p:cNvSpPr>
            <p:nvPr userDrawn="1"/>
          </p:nvSpPr>
          <p:spPr bwMode="auto">
            <a:xfrm>
              <a:off x="8399741" y="1817962"/>
              <a:ext cx="16124" cy="22842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3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" name="Freeform 13"/>
            <p:cNvSpPr>
              <a:spLocks/>
            </p:cNvSpPr>
            <p:nvPr userDrawn="1"/>
          </p:nvSpPr>
          <p:spPr bwMode="auto">
            <a:xfrm>
              <a:off x="7350349" y="1840804"/>
              <a:ext cx="14780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2" name="Freeform 14"/>
            <p:cNvSpPr>
              <a:spLocks/>
            </p:cNvSpPr>
            <p:nvPr userDrawn="1"/>
          </p:nvSpPr>
          <p:spPr bwMode="auto">
            <a:xfrm>
              <a:off x="8534106" y="1840804"/>
              <a:ext cx="28217" cy="72557"/>
            </a:xfrm>
            <a:custGeom>
              <a:avLst/>
              <a:gdLst>
                <a:gd name="T0" fmla="*/ 9 w 9"/>
                <a:gd name="T1" fmla="*/ 23 h 23"/>
                <a:gd name="T2" fmla="*/ 3 w 9"/>
                <a:gd name="T3" fmla="*/ 0 h 23"/>
                <a:gd name="T4" fmla="*/ 9 w 9"/>
                <a:gd name="T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3">
                  <a:moveTo>
                    <a:pt x="9" y="23"/>
                  </a:moveTo>
                  <a:cubicBezTo>
                    <a:pt x="6" y="16"/>
                    <a:pt x="8" y="4"/>
                    <a:pt x="3" y="0"/>
                  </a:cubicBezTo>
                  <a:cubicBezTo>
                    <a:pt x="0" y="5"/>
                    <a:pt x="1" y="23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3" name="Freeform 15"/>
            <p:cNvSpPr>
              <a:spLocks/>
            </p:cNvSpPr>
            <p:nvPr userDrawn="1"/>
          </p:nvSpPr>
          <p:spPr bwMode="auto">
            <a:xfrm>
              <a:off x="8986917" y="1831399"/>
              <a:ext cx="38966" cy="104805"/>
            </a:xfrm>
            <a:custGeom>
              <a:avLst/>
              <a:gdLst>
                <a:gd name="T0" fmla="*/ 3 w 12"/>
                <a:gd name="T1" fmla="*/ 33 h 33"/>
                <a:gd name="T2" fmla="*/ 8 w 12"/>
                <a:gd name="T3" fmla="*/ 33 h 33"/>
                <a:gd name="T4" fmla="*/ 11 w 12"/>
                <a:gd name="T5" fmla="*/ 29 h 33"/>
                <a:gd name="T6" fmla="*/ 6 w 12"/>
                <a:gd name="T7" fmla="*/ 18 h 33"/>
                <a:gd name="T8" fmla="*/ 3 w 12"/>
                <a:gd name="T9" fmla="*/ 3 h 33"/>
                <a:gd name="T10" fmla="*/ 3 w 12"/>
                <a:gd name="T1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33">
                  <a:moveTo>
                    <a:pt x="3" y="33"/>
                  </a:moveTo>
                  <a:cubicBezTo>
                    <a:pt x="5" y="33"/>
                    <a:pt x="7" y="33"/>
                    <a:pt x="8" y="33"/>
                  </a:cubicBezTo>
                  <a:cubicBezTo>
                    <a:pt x="9" y="31"/>
                    <a:pt x="9" y="29"/>
                    <a:pt x="11" y="29"/>
                  </a:cubicBezTo>
                  <a:cubicBezTo>
                    <a:pt x="12" y="22"/>
                    <a:pt x="7" y="22"/>
                    <a:pt x="6" y="18"/>
                  </a:cubicBezTo>
                  <a:cubicBezTo>
                    <a:pt x="8" y="15"/>
                    <a:pt x="12" y="0"/>
                    <a:pt x="3" y="3"/>
                  </a:cubicBezTo>
                  <a:cubicBezTo>
                    <a:pt x="0" y="17"/>
                    <a:pt x="1" y="24"/>
                    <a:pt x="3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4" name="Freeform 16"/>
            <p:cNvSpPr>
              <a:spLocks/>
            </p:cNvSpPr>
            <p:nvPr userDrawn="1"/>
          </p:nvSpPr>
          <p:spPr bwMode="auto">
            <a:xfrm>
              <a:off x="8476329" y="1887832"/>
              <a:ext cx="60464" cy="83306"/>
            </a:xfrm>
            <a:custGeom>
              <a:avLst/>
              <a:gdLst>
                <a:gd name="T0" fmla="*/ 11 w 19"/>
                <a:gd name="T1" fmla="*/ 26 h 26"/>
                <a:gd name="T2" fmla="*/ 19 w 19"/>
                <a:gd name="T3" fmla="*/ 15 h 26"/>
                <a:gd name="T4" fmla="*/ 19 w 19"/>
                <a:gd name="T5" fmla="*/ 0 h 26"/>
                <a:gd name="T6" fmla="*/ 11 w 19"/>
                <a:gd name="T7" fmla="*/ 0 h 26"/>
                <a:gd name="T8" fmla="*/ 11 w 19"/>
                <a:gd name="T9" fmla="*/ 15 h 26"/>
                <a:gd name="T10" fmla="*/ 11 w 19"/>
                <a:gd name="T1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6">
                  <a:moveTo>
                    <a:pt x="11" y="26"/>
                  </a:moveTo>
                  <a:cubicBezTo>
                    <a:pt x="14" y="23"/>
                    <a:pt x="11" y="12"/>
                    <a:pt x="19" y="15"/>
                  </a:cubicBezTo>
                  <a:cubicBezTo>
                    <a:pt x="19" y="10"/>
                    <a:pt x="19" y="5"/>
                    <a:pt x="19" y="0"/>
                  </a:cubicBezTo>
                  <a:cubicBezTo>
                    <a:pt x="16" y="0"/>
                    <a:pt x="13" y="0"/>
                    <a:pt x="11" y="0"/>
                  </a:cubicBezTo>
                  <a:cubicBezTo>
                    <a:pt x="7" y="10"/>
                    <a:pt x="11" y="11"/>
                    <a:pt x="11" y="15"/>
                  </a:cubicBezTo>
                  <a:cubicBezTo>
                    <a:pt x="10" y="17"/>
                    <a:pt x="0" y="23"/>
                    <a:pt x="11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5" name="Freeform 17"/>
            <p:cNvSpPr>
              <a:spLocks/>
            </p:cNvSpPr>
            <p:nvPr userDrawn="1"/>
          </p:nvSpPr>
          <p:spPr bwMode="auto">
            <a:xfrm>
              <a:off x="8771933" y="1885145"/>
              <a:ext cx="37622" cy="81963"/>
            </a:xfrm>
            <a:custGeom>
              <a:avLst/>
              <a:gdLst>
                <a:gd name="T0" fmla="*/ 12 w 12"/>
                <a:gd name="T1" fmla="*/ 23 h 26"/>
                <a:gd name="T2" fmla="*/ 1 w 12"/>
                <a:gd name="T3" fmla="*/ 1 h 26"/>
                <a:gd name="T4" fmla="*/ 6 w 12"/>
                <a:gd name="T5" fmla="*/ 16 h 26"/>
                <a:gd name="T6" fmla="*/ 12 w 12"/>
                <a:gd name="T7" fmla="*/ 2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12" y="23"/>
                  </a:moveTo>
                  <a:cubicBezTo>
                    <a:pt x="9" y="15"/>
                    <a:pt x="11" y="0"/>
                    <a:pt x="1" y="1"/>
                  </a:cubicBezTo>
                  <a:cubicBezTo>
                    <a:pt x="0" y="7"/>
                    <a:pt x="5" y="12"/>
                    <a:pt x="6" y="16"/>
                  </a:cubicBezTo>
                  <a:cubicBezTo>
                    <a:pt x="8" y="19"/>
                    <a:pt x="6" y="26"/>
                    <a:pt x="1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6" name="Freeform 18"/>
            <p:cNvSpPr>
              <a:spLocks/>
            </p:cNvSpPr>
            <p:nvPr userDrawn="1"/>
          </p:nvSpPr>
          <p:spPr bwMode="auto">
            <a:xfrm>
              <a:off x="4985522" y="1901268"/>
              <a:ext cx="18811" cy="21498"/>
            </a:xfrm>
            <a:custGeom>
              <a:avLst/>
              <a:gdLst>
                <a:gd name="T0" fmla="*/ 0 w 6"/>
                <a:gd name="T1" fmla="*/ 7 h 7"/>
                <a:gd name="T2" fmla="*/ 6 w 6"/>
                <a:gd name="T3" fmla="*/ 7 h 7"/>
                <a:gd name="T4" fmla="*/ 6 w 6"/>
                <a:gd name="T5" fmla="*/ 0 h 7"/>
                <a:gd name="T6" fmla="*/ 0 w 6"/>
                <a:gd name="T7" fmla="*/ 0 h 7"/>
                <a:gd name="T8" fmla="*/ 0 w 6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7"/>
                  </a:moveTo>
                  <a:cubicBezTo>
                    <a:pt x="2" y="7"/>
                    <a:pt x="4" y="7"/>
                    <a:pt x="6" y="7"/>
                  </a:cubicBezTo>
                  <a:cubicBezTo>
                    <a:pt x="6" y="5"/>
                    <a:pt x="6" y="2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7" name="Freeform 19"/>
            <p:cNvSpPr>
              <a:spLocks/>
            </p:cNvSpPr>
            <p:nvPr userDrawn="1"/>
          </p:nvSpPr>
          <p:spPr bwMode="auto">
            <a:xfrm>
              <a:off x="7707760" y="1901268"/>
              <a:ext cx="16124" cy="21498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4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8" name="Freeform 20"/>
            <p:cNvSpPr>
              <a:spLocks/>
            </p:cNvSpPr>
            <p:nvPr userDrawn="1"/>
          </p:nvSpPr>
          <p:spPr bwMode="auto">
            <a:xfrm>
              <a:off x="5395336" y="1910674"/>
              <a:ext cx="44341" cy="44341"/>
            </a:xfrm>
            <a:custGeom>
              <a:avLst/>
              <a:gdLst>
                <a:gd name="T0" fmla="*/ 0 w 14"/>
                <a:gd name="T1" fmla="*/ 8 h 14"/>
                <a:gd name="T2" fmla="*/ 14 w 14"/>
                <a:gd name="T3" fmla="*/ 4 h 14"/>
                <a:gd name="T4" fmla="*/ 0 w 14"/>
                <a:gd name="T5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0" y="8"/>
                  </a:moveTo>
                  <a:cubicBezTo>
                    <a:pt x="4" y="14"/>
                    <a:pt x="11" y="11"/>
                    <a:pt x="14" y="4"/>
                  </a:cubicBezTo>
                  <a:cubicBezTo>
                    <a:pt x="10" y="6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9" name="Freeform 21"/>
            <p:cNvSpPr>
              <a:spLocks/>
            </p:cNvSpPr>
            <p:nvPr userDrawn="1"/>
          </p:nvSpPr>
          <p:spPr bwMode="auto">
            <a:xfrm>
              <a:off x="7086993" y="1910674"/>
              <a:ext cx="37622" cy="85994"/>
            </a:xfrm>
            <a:custGeom>
              <a:avLst/>
              <a:gdLst>
                <a:gd name="T0" fmla="*/ 2 w 12"/>
                <a:gd name="T1" fmla="*/ 4 h 27"/>
                <a:gd name="T2" fmla="*/ 0 w 12"/>
                <a:gd name="T3" fmla="*/ 19 h 27"/>
                <a:gd name="T4" fmla="*/ 2 w 12"/>
                <a:gd name="T5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7">
                  <a:moveTo>
                    <a:pt x="2" y="4"/>
                  </a:moveTo>
                  <a:cubicBezTo>
                    <a:pt x="2" y="11"/>
                    <a:pt x="2" y="16"/>
                    <a:pt x="0" y="19"/>
                  </a:cubicBezTo>
                  <a:cubicBezTo>
                    <a:pt x="10" y="27"/>
                    <a:pt x="12" y="0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0" name="Freeform 22"/>
            <p:cNvSpPr>
              <a:spLocks/>
            </p:cNvSpPr>
            <p:nvPr userDrawn="1"/>
          </p:nvSpPr>
          <p:spPr bwMode="auto">
            <a:xfrm>
              <a:off x="8844490" y="1906643"/>
              <a:ext cx="22842" cy="69870"/>
            </a:xfrm>
            <a:custGeom>
              <a:avLst/>
              <a:gdLst>
                <a:gd name="T0" fmla="*/ 0 w 7"/>
                <a:gd name="T1" fmla="*/ 5 h 22"/>
                <a:gd name="T2" fmla="*/ 0 w 7"/>
                <a:gd name="T3" fmla="*/ 16 h 22"/>
                <a:gd name="T4" fmla="*/ 0 w 7"/>
                <a:gd name="T5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2">
                  <a:moveTo>
                    <a:pt x="0" y="5"/>
                  </a:moveTo>
                  <a:cubicBezTo>
                    <a:pt x="0" y="9"/>
                    <a:pt x="0" y="13"/>
                    <a:pt x="0" y="16"/>
                  </a:cubicBezTo>
                  <a:cubicBezTo>
                    <a:pt x="7" y="22"/>
                    <a:pt x="7" y="0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1" name="Freeform 23"/>
            <p:cNvSpPr>
              <a:spLocks/>
            </p:cNvSpPr>
            <p:nvPr userDrawn="1"/>
          </p:nvSpPr>
          <p:spPr bwMode="auto">
            <a:xfrm>
              <a:off x="5778276" y="1906643"/>
              <a:ext cx="34935" cy="79275"/>
            </a:xfrm>
            <a:custGeom>
              <a:avLst/>
              <a:gdLst>
                <a:gd name="T0" fmla="*/ 11 w 11"/>
                <a:gd name="T1" fmla="*/ 13 h 25"/>
                <a:gd name="T2" fmla="*/ 11 w 11"/>
                <a:gd name="T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25">
                  <a:moveTo>
                    <a:pt x="11" y="13"/>
                  </a:moveTo>
                  <a:cubicBezTo>
                    <a:pt x="0" y="0"/>
                    <a:pt x="5" y="25"/>
                    <a:pt x="1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2" name="Freeform 24"/>
            <p:cNvSpPr>
              <a:spLocks/>
            </p:cNvSpPr>
            <p:nvPr userDrawn="1"/>
          </p:nvSpPr>
          <p:spPr bwMode="auto">
            <a:xfrm>
              <a:off x="5870988" y="1926798"/>
              <a:ext cx="47028" cy="30904"/>
            </a:xfrm>
            <a:custGeom>
              <a:avLst/>
              <a:gdLst>
                <a:gd name="T0" fmla="*/ 9 w 15"/>
                <a:gd name="T1" fmla="*/ 10 h 10"/>
                <a:gd name="T2" fmla="*/ 14 w 15"/>
                <a:gd name="T3" fmla="*/ 3 h 10"/>
                <a:gd name="T4" fmla="*/ 9 w 15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9" y="10"/>
                  </a:moveTo>
                  <a:cubicBezTo>
                    <a:pt x="8" y="7"/>
                    <a:pt x="15" y="5"/>
                    <a:pt x="14" y="3"/>
                  </a:cubicBezTo>
                  <a:cubicBezTo>
                    <a:pt x="12" y="0"/>
                    <a:pt x="0" y="4"/>
                    <a:pt x="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3" name="Freeform 25"/>
            <p:cNvSpPr>
              <a:spLocks/>
            </p:cNvSpPr>
            <p:nvPr userDrawn="1"/>
          </p:nvSpPr>
          <p:spPr bwMode="auto">
            <a:xfrm>
              <a:off x="6940535" y="1932172"/>
              <a:ext cx="25529" cy="38966"/>
            </a:xfrm>
            <a:custGeom>
              <a:avLst/>
              <a:gdLst>
                <a:gd name="T0" fmla="*/ 8 w 8"/>
                <a:gd name="T1" fmla="*/ 5 h 12"/>
                <a:gd name="T2" fmla="*/ 0 w 8"/>
                <a:gd name="T3" fmla="*/ 1 h 12"/>
                <a:gd name="T4" fmla="*/ 0 w 8"/>
                <a:gd name="T5" fmla="*/ 12 h 12"/>
                <a:gd name="T6" fmla="*/ 5 w 8"/>
                <a:gd name="T7" fmla="*/ 12 h 12"/>
                <a:gd name="T8" fmla="*/ 8 w 8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8" y="5"/>
                  </a:moveTo>
                  <a:cubicBezTo>
                    <a:pt x="5" y="4"/>
                    <a:pt x="4" y="0"/>
                    <a:pt x="0" y="1"/>
                  </a:cubicBezTo>
                  <a:cubicBezTo>
                    <a:pt x="0" y="5"/>
                    <a:pt x="0" y="8"/>
                    <a:pt x="0" y="12"/>
                  </a:cubicBezTo>
                  <a:cubicBezTo>
                    <a:pt x="2" y="12"/>
                    <a:pt x="3" y="12"/>
                    <a:pt x="5" y="12"/>
                  </a:cubicBezTo>
                  <a:cubicBezTo>
                    <a:pt x="5" y="8"/>
                    <a:pt x="7" y="8"/>
                    <a:pt x="8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4" name="Freeform 26"/>
            <p:cNvSpPr>
              <a:spLocks/>
            </p:cNvSpPr>
            <p:nvPr userDrawn="1"/>
          </p:nvSpPr>
          <p:spPr bwMode="auto">
            <a:xfrm>
              <a:off x="5959669" y="1938891"/>
              <a:ext cx="37622" cy="44341"/>
            </a:xfrm>
            <a:custGeom>
              <a:avLst/>
              <a:gdLst>
                <a:gd name="T0" fmla="*/ 10 w 12"/>
                <a:gd name="T1" fmla="*/ 3 h 14"/>
                <a:gd name="T2" fmla="*/ 2 w 12"/>
                <a:gd name="T3" fmla="*/ 6 h 14"/>
                <a:gd name="T4" fmla="*/ 10 w 12"/>
                <a:gd name="T5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4">
                  <a:moveTo>
                    <a:pt x="10" y="3"/>
                  </a:moveTo>
                  <a:cubicBezTo>
                    <a:pt x="8" y="0"/>
                    <a:pt x="3" y="5"/>
                    <a:pt x="2" y="6"/>
                  </a:cubicBezTo>
                  <a:cubicBezTo>
                    <a:pt x="0" y="14"/>
                    <a:pt x="12" y="5"/>
                    <a:pt x="1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5" name="Freeform 27"/>
            <p:cNvSpPr>
              <a:spLocks/>
            </p:cNvSpPr>
            <p:nvPr userDrawn="1"/>
          </p:nvSpPr>
          <p:spPr bwMode="auto">
            <a:xfrm>
              <a:off x="6343954" y="1948296"/>
              <a:ext cx="16124" cy="22842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6" name="Freeform 28"/>
            <p:cNvSpPr>
              <a:spLocks/>
            </p:cNvSpPr>
            <p:nvPr userDrawn="1"/>
          </p:nvSpPr>
          <p:spPr bwMode="auto">
            <a:xfrm>
              <a:off x="8902267" y="1948296"/>
              <a:ext cx="18811" cy="22842"/>
            </a:xfrm>
            <a:custGeom>
              <a:avLst/>
              <a:gdLst>
                <a:gd name="T0" fmla="*/ 6 w 6"/>
                <a:gd name="T1" fmla="*/ 0 h 7"/>
                <a:gd name="T2" fmla="*/ 0 w 6"/>
                <a:gd name="T3" fmla="*/ 0 h 7"/>
                <a:gd name="T4" fmla="*/ 0 w 6"/>
                <a:gd name="T5" fmla="*/ 7 h 7"/>
                <a:gd name="T6" fmla="*/ 6 w 6"/>
                <a:gd name="T7" fmla="*/ 7 h 7"/>
                <a:gd name="T8" fmla="*/ 6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4" y="7"/>
                    <a:pt x="6" y="7"/>
                  </a:cubicBezTo>
                  <a:cubicBezTo>
                    <a:pt x="6" y="5"/>
                    <a:pt x="6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7" name="Freeform 29"/>
            <p:cNvSpPr>
              <a:spLocks/>
            </p:cNvSpPr>
            <p:nvPr userDrawn="1"/>
          </p:nvSpPr>
          <p:spPr bwMode="auto">
            <a:xfrm>
              <a:off x="8986917" y="1948296"/>
              <a:ext cx="29560" cy="37622"/>
            </a:xfrm>
            <a:custGeom>
              <a:avLst/>
              <a:gdLst>
                <a:gd name="T0" fmla="*/ 8 w 9"/>
                <a:gd name="T1" fmla="*/ 11 h 12"/>
                <a:gd name="T2" fmla="*/ 3 w 9"/>
                <a:gd name="T3" fmla="*/ 0 h 12"/>
                <a:gd name="T4" fmla="*/ 0 w 9"/>
                <a:gd name="T5" fmla="*/ 7 h 12"/>
                <a:gd name="T6" fmla="*/ 8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11"/>
                  </a:moveTo>
                  <a:cubicBezTo>
                    <a:pt x="9" y="4"/>
                    <a:pt x="6" y="1"/>
                    <a:pt x="3" y="0"/>
                  </a:cubicBezTo>
                  <a:cubicBezTo>
                    <a:pt x="3" y="3"/>
                    <a:pt x="1" y="4"/>
                    <a:pt x="0" y="7"/>
                  </a:cubicBezTo>
                  <a:cubicBezTo>
                    <a:pt x="4" y="7"/>
                    <a:pt x="4" y="12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8" name="Freeform 30"/>
            <p:cNvSpPr>
              <a:spLocks/>
            </p:cNvSpPr>
            <p:nvPr userDrawn="1"/>
          </p:nvSpPr>
          <p:spPr bwMode="auto">
            <a:xfrm>
              <a:off x="9037976" y="1938891"/>
              <a:ext cx="32248" cy="44341"/>
            </a:xfrm>
            <a:custGeom>
              <a:avLst/>
              <a:gdLst>
                <a:gd name="T0" fmla="*/ 0 w 10"/>
                <a:gd name="T1" fmla="*/ 10 h 14"/>
                <a:gd name="T2" fmla="*/ 8 w 10"/>
                <a:gd name="T3" fmla="*/ 14 h 14"/>
                <a:gd name="T4" fmla="*/ 0 w 10"/>
                <a:gd name="T5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4">
                  <a:moveTo>
                    <a:pt x="0" y="10"/>
                  </a:moveTo>
                  <a:cubicBezTo>
                    <a:pt x="4" y="10"/>
                    <a:pt x="6" y="12"/>
                    <a:pt x="8" y="14"/>
                  </a:cubicBezTo>
                  <a:cubicBezTo>
                    <a:pt x="10" y="2"/>
                    <a:pt x="1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9" name="Freeform 31"/>
            <p:cNvSpPr>
              <a:spLocks/>
            </p:cNvSpPr>
            <p:nvPr userDrawn="1"/>
          </p:nvSpPr>
          <p:spPr bwMode="auto">
            <a:xfrm>
              <a:off x="6521316" y="1983231"/>
              <a:ext cx="48371" cy="51059"/>
            </a:xfrm>
            <a:custGeom>
              <a:avLst/>
              <a:gdLst>
                <a:gd name="T0" fmla="*/ 6 w 15"/>
                <a:gd name="T1" fmla="*/ 11 h 16"/>
                <a:gd name="T2" fmla="*/ 3 w 15"/>
                <a:gd name="T3" fmla="*/ 15 h 16"/>
                <a:gd name="T4" fmla="*/ 14 w 15"/>
                <a:gd name="T5" fmla="*/ 0 h 16"/>
                <a:gd name="T6" fmla="*/ 0 w 15"/>
                <a:gd name="T7" fmla="*/ 7 h 16"/>
                <a:gd name="T8" fmla="*/ 6 w 15"/>
                <a:gd name="T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6" y="11"/>
                  </a:moveTo>
                  <a:cubicBezTo>
                    <a:pt x="4" y="11"/>
                    <a:pt x="2" y="11"/>
                    <a:pt x="3" y="15"/>
                  </a:cubicBezTo>
                  <a:cubicBezTo>
                    <a:pt x="11" y="16"/>
                    <a:pt x="15" y="11"/>
                    <a:pt x="14" y="0"/>
                  </a:cubicBezTo>
                  <a:cubicBezTo>
                    <a:pt x="9" y="2"/>
                    <a:pt x="2" y="2"/>
                    <a:pt x="0" y="7"/>
                  </a:cubicBezTo>
                  <a:cubicBezTo>
                    <a:pt x="2" y="8"/>
                    <a:pt x="5" y="7"/>
                    <a:pt x="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0" name="Freeform 32"/>
            <p:cNvSpPr>
              <a:spLocks/>
            </p:cNvSpPr>
            <p:nvPr userDrawn="1"/>
          </p:nvSpPr>
          <p:spPr bwMode="auto">
            <a:xfrm>
              <a:off x="7397377" y="1973826"/>
              <a:ext cx="51059" cy="37622"/>
            </a:xfrm>
            <a:custGeom>
              <a:avLst/>
              <a:gdLst>
                <a:gd name="T0" fmla="*/ 12 w 16"/>
                <a:gd name="T1" fmla="*/ 10 h 12"/>
                <a:gd name="T2" fmla="*/ 1 w 16"/>
                <a:gd name="T3" fmla="*/ 6 h 12"/>
                <a:gd name="T4" fmla="*/ 12 w 16"/>
                <a:gd name="T5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2" y="10"/>
                  </a:moveTo>
                  <a:cubicBezTo>
                    <a:pt x="16" y="0"/>
                    <a:pt x="0" y="0"/>
                    <a:pt x="1" y="6"/>
                  </a:cubicBezTo>
                  <a:cubicBezTo>
                    <a:pt x="5" y="8"/>
                    <a:pt x="6" y="12"/>
                    <a:pt x="1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1" name="Freeform 33"/>
            <p:cNvSpPr>
              <a:spLocks/>
            </p:cNvSpPr>
            <p:nvPr userDrawn="1"/>
          </p:nvSpPr>
          <p:spPr bwMode="auto">
            <a:xfrm>
              <a:off x="7508900" y="1983231"/>
              <a:ext cx="40310" cy="37622"/>
            </a:xfrm>
            <a:custGeom>
              <a:avLst/>
              <a:gdLst>
                <a:gd name="T0" fmla="*/ 12 w 13"/>
                <a:gd name="T1" fmla="*/ 11 h 12"/>
                <a:gd name="T2" fmla="*/ 1 w 13"/>
                <a:gd name="T3" fmla="*/ 0 h 12"/>
                <a:gd name="T4" fmla="*/ 12 w 13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2" y="11"/>
                  </a:moveTo>
                  <a:cubicBezTo>
                    <a:pt x="13" y="1"/>
                    <a:pt x="6" y="1"/>
                    <a:pt x="1" y="0"/>
                  </a:cubicBezTo>
                  <a:cubicBezTo>
                    <a:pt x="0" y="9"/>
                    <a:pt x="5" y="12"/>
                    <a:pt x="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2" name="Freeform 34"/>
            <p:cNvSpPr>
              <a:spLocks/>
            </p:cNvSpPr>
            <p:nvPr userDrawn="1"/>
          </p:nvSpPr>
          <p:spPr bwMode="auto">
            <a:xfrm>
              <a:off x="6061787" y="1989949"/>
              <a:ext cx="24186" cy="28217"/>
            </a:xfrm>
            <a:custGeom>
              <a:avLst/>
              <a:gdLst>
                <a:gd name="T0" fmla="*/ 0 w 8"/>
                <a:gd name="T1" fmla="*/ 1 h 9"/>
                <a:gd name="T2" fmla="*/ 0 w 8"/>
                <a:gd name="T3" fmla="*/ 9 h 9"/>
                <a:gd name="T4" fmla="*/ 8 w 8"/>
                <a:gd name="T5" fmla="*/ 9 h 9"/>
                <a:gd name="T6" fmla="*/ 0 w 8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3" y="9"/>
                    <a:pt x="5" y="9"/>
                    <a:pt x="8" y="9"/>
                  </a:cubicBezTo>
                  <a:cubicBezTo>
                    <a:pt x="8" y="2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3" name="Freeform 35"/>
            <p:cNvSpPr>
              <a:spLocks/>
            </p:cNvSpPr>
            <p:nvPr userDrawn="1"/>
          </p:nvSpPr>
          <p:spPr bwMode="auto">
            <a:xfrm>
              <a:off x="6290208" y="1976513"/>
              <a:ext cx="60464" cy="69870"/>
            </a:xfrm>
            <a:custGeom>
              <a:avLst/>
              <a:gdLst>
                <a:gd name="T0" fmla="*/ 19 w 19"/>
                <a:gd name="T1" fmla="*/ 13 h 22"/>
                <a:gd name="T2" fmla="*/ 0 w 19"/>
                <a:gd name="T3" fmla="*/ 13 h 22"/>
                <a:gd name="T4" fmla="*/ 19 w 19"/>
                <a:gd name="T5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22">
                  <a:moveTo>
                    <a:pt x="19" y="13"/>
                  </a:moveTo>
                  <a:cubicBezTo>
                    <a:pt x="13" y="11"/>
                    <a:pt x="2" y="0"/>
                    <a:pt x="0" y="13"/>
                  </a:cubicBezTo>
                  <a:cubicBezTo>
                    <a:pt x="9" y="8"/>
                    <a:pt x="17" y="22"/>
                    <a:pt x="19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48" name="Freeform 36"/>
            <p:cNvSpPr>
              <a:spLocks/>
            </p:cNvSpPr>
            <p:nvPr userDrawn="1"/>
          </p:nvSpPr>
          <p:spPr bwMode="auto">
            <a:xfrm>
              <a:off x="6632839" y="1980544"/>
              <a:ext cx="72557" cy="72557"/>
            </a:xfrm>
            <a:custGeom>
              <a:avLst/>
              <a:gdLst>
                <a:gd name="T0" fmla="*/ 14 w 23"/>
                <a:gd name="T1" fmla="*/ 23 h 23"/>
                <a:gd name="T2" fmla="*/ 14 w 23"/>
                <a:gd name="T3" fmla="*/ 4 h 23"/>
                <a:gd name="T4" fmla="*/ 3 w 23"/>
                <a:gd name="T5" fmla="*/ 4 h 23"/>
                <a:gd name="T6" fmla="*/ 0 w 23"/>
                <a:gd name="T7" fmla="*/ 16 h 23"/>
                <a:gd name="T8" fmla="*/ 14 w 23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4" y="23"/>
                  </a:moveTo>
                  <a:cubicBezTo>
                    <a:pt x="15" y="16"/>
                    <a:pt x="23" y="7"/>
                    <a:pt x="14" y="4"/>
                  </a:cubicBezTo>
                  <a:cubicBezTo>
                    <a:pt x="13" y="22"/>
                    <a:pt x="10" y="0"/>
                    <a:pt x="3" y="4"/>
                  </a:cubicBezTo>
                  <a:cubicBezTo>
                    <a:pt x="3" y="10"/>
                    <a:pt x="1" y="13"/>
                    <a:pt x="0" y="16"/>
                  </a:cubicBezTo>
                  <a:cubicBezTo>
                    <a:pt x="9" y="12"/>
                    <a:pt x="8" y="21"/>
                    <a:pt x="14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49" name="Freeform 37"/>
            <p:cNvSpPr>
              <a:spLocks/>
            </p:cNvSpPr>
            <p:nvPr userDrawn="1"/>
          </p:nvSpPr>
          <p:spPr bwMode="auto">
            <a:xfrm>
              <a:off x="8397054" y="1989949"/>
              <a:ext cx="32248" cy="51059"/>
            </a:xfrm>
            <a:custGeom>
              <a:avLst/>
              <a:gdLst>
                <a:gd name="T0" fmla="*/ 1 w 10"/>
                <a:gd name="T1" fmla="*/ 1 h 16"/>
                <a:gd name="T2" fmla="*/ 9 w 10"/>
                <a:gd name="T3" fmla="*/ 16 h 16"/>
                <a:gd name="T4" fmla="*/ 1 w 10"/>
                <a:gd name="T5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6">
                  <a:moveTo>
                    <a:pt x="1" y="1"/>
                  </a:moveTo>
                  <a:cubicBezTo>
                    <a:pt x="0" y="11"/>
                    <a:pt x="5" y="13"/>
                    <a:pt x="9" y="16"/>
                  </a:cubicBezTo>
                  <a:cubicBezTo>
                    <a:pt x="10" y="7"/>
                    <a:pt x="8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1" name="Freeform 38"/>
            <p:cNvSpPr>
              <a:spLocks/>
            </p:cNvSpPr>
            <p:nvPr userDrawn="1"/>
          </p:nvSpPr>
          <p:spPr bwMode="auto">
            <a:xfrm>
              <a:off x="7178362" y="2002042"/>
              <a:ext cx="76588" cy="83306"/>
            </a:xfrm>
            <a:custGeom>
              <a:avLst/>
              <a:gdLst>
                <a:gd name="T0" fmla="*/ 14 w 24"/>
                <a:gd name="T1" fmla="*/ 16 h 26"/>
                <a:gd name="T2" fmla="*/ 24 w 24"/>
                <a:gd name="T3" fmla="*/ 16 h 26"/>
                <a:gd name="T4" fmla="*/ 16 w 24"/>
                <a:gd name="T5" fmla="*/ 16 h 26"/>
                <a:gd name="T6" fmla="*/ 11 w 24"/>
                <a:gd name="T7" fmla="*/ 5 h 26"/>
                <a:gd name="T8" fmla="*/ 6 w 24"/>
                <a:gd name="T9" fmla="*/ 5 h 26"/>
                <a:gd name="T10" fmla="*/ 0 w 24"/>
                <a:gd name="T11" fmla="*/ 20 h 26"/>
                <a:gd name="T12" fmla="*/ 14 w 24"/>
                <a:gd name="T13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6">
                  <a:moveTo>
                    <a:pt x="14" y="16"/>
                  </a:moveTo>
                  <a:cubicBezTo>
                    <a:pt x="16" y="22"/>
                    <a:pt x="24" y="26"/>
                    <a:pt x="24" y="16"/>
                  </a:cubicBezTo>
                  <a:cubicBezTo>
                    <a:pt x="22" y="16"/>
                    <a:pt x="19" y="16"/>
                    <a:pt x="16" y="16"/>
                  </a:cubicBezTo>
                  <a:cubicBezTo>
                    <a:pt x="17" y="9"/>
                    <a:pt x="13" y="9"/>
                    <a:pt x="11" y="5"/>
                  </a:cubicBezTo>
                  <a:cubicBezTo>
                    <a:pt x="11" y="1"/>
                    <a:pt x="6" y="0"/>
                    <a:pt x="6" y="5"/>
                  </a:cubicBezTo>
                  <a:cubicBezTo>
                    <a:pt x="14" y="10"/>
                    <a:pt x="1" y="15"/>
                    <a:pt x="0" y="20"/>
                  </a:cubicBezTo>
                  <a:cubicBezTo>
                    <a:pt x="6" y="21"/>
                    <a:pt x="11" y="19"/>
                    <a:pt x="1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2" name="Freeform 39"/>
            <p:cNvSpPr>
              <a:spLocks/>
            </p:cNvSpPr>
            <p:nvPr userDrawn="1"/>
          </p:nvSpPr>
          <p:spPr bwMode="auto">
            <a:xfrm>
              <a:off x="6733613" y="2018166"/>
              <a:ext cx="25529" cy="22842"/>
            </a:xfrm>
            <a:custGeom>
              <a:avLst/>
              <a:gdLst>
                <a:gd name="T0" fmla="*/ 8 w 8"/>
                <a:gd name="T1" fmla="*/ 0 h 7"/>
                <a:gd name="T2" fmla="*/ 0 w 8"/>
                <a:gd name="T3" fmla="*/ 7 h 7"/>
                <a:gd name="T4" fmla="*/ 8 w 8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7">
                  <a:moveTo>
                    <a:pt x="8" y="0"/>
                  </a:moveTo>
                  <a:cubicBezTo>
                    <a:pt x="4" y="0"/>
                    <a:pt x="2" y="3"/>
                    <a:pt x="0" y="7"/>
                  </a:cubicBezTo>
                  <a:cubicBezTo>
                    <a:pt x="5" y="7"/>
                    <a:pt x="7" y="4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3" name="Freeform 40"/>
            <p:cNvSpPr>
              <a:spLocks/>
            </p:cNvSpPr>
            <p:nvPr userDrawn="1"/>
          </p:nvSpPr>
          <p:spPr bwMode="auto">
            <a:xfrm>
              <a:off x="8993635" y="2015479"/>
              <a:ext cx="28217" cy="44341"/>
            </a:xfrm>
            <a:custGeom>
              <a:avLst/>
              <a:gdLst>
                <a:gd name="T0" fmla="*/ 9 w 9"/>
                <a:gd name="T1" fmla="*/ 1 h 14"/>
                <a:gd name="T2" fmla="*/ 1 w 9"/>
                <a:gd name="T3" fmla="*/ 12 h 14"/>
                <a:gd name="T4" fmla="*/ 9 w 9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9" y="1"/>
                  </a:moveTo>
                  <a:cubicBezTo>
                    <a:pt x="3" y="0"/>
                    <a:pt x="0" y="4"/>
                    <a:pt x="1" y="12"/>
                  </a:cubicBezTo>
                  <a:cubicBezTo>
                    <a:pt x="8" y="14"/>
                    <a:pt x="6" y="4"/>
                    <a:pt x="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4" name="Freeform 41"/>
            <p:cNvSpPr>
              <a:spLocks/>
            </p:cNvSpPr>
            <p:nvPr userDrawn="1"/>
          </p:nvSpPr>
          <p:spPr bwMode="auto">
            <a:xfrm>
              <a:off x="6949941" y="2027572"/>
              <a:ext cx="56433" cy="95399"/>
            </a:xfrm>
            <a:custGeom>
              <a:avLst/>
              <a:gdLst>
                <a:gd name="T0" fmla="*/ 13 w 18"/>
                <a:gd name="T1" fmla="*/ 26 h 30"/>
                <a:gd name="T2" fmla="*/ 8 w 18"/>
                <a:gd name="T3" fmla="*/ 19 h 30"/>
                <a:gd name="T4" fmla="*/ 16 w 18"/>
                <a:gd name="T5" fmla="*/ 1 h 30"/>
                <a:gd name="T6" fmla="*/ 0 w 18"/>
                <a:gd name="T7" fmla="*/ 15 h 30"/>
                <a:gd name="T8" fmla="*/ 13 w 18"/>
                <a:gd name="T9" fmla="*/ 2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30">
                  <a:moveTo>
                    <a:pt x="13" y="26"/>
                  </a:moveTo>
                  <a:cubicBezTo>
                    <a:pt x="14" y="9"/>
                    <a:pt x="11" y="13"/>
                    <a:pt x="8" y="19"/>
                  </a:cubicBezTo>
                  <a:cubicBezTo>
                    <a:pt x="5" y="5"/>
                    <a:pt x="18" y="13"/>
                    <a:pt x="16" y="1"/>
                  </a:cubicBezTo>
                  <a:cubicBezTo>
                    <a:pt x="7" y="0"/>
                    <a:pt x="5" y="10"/>
                    <a:pt x="0" y="15"/>
                  </a:cubicBezTo>
                  <a:cubicBezTo>
                    <a:pt x="9" y="13"/>
                    <a:pt x="3" y="30"/>
                    <a:pt x="13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5" name="Freeform 42"/>
            <p:cNvSpPr>
              <a:spLocks/>
            </p:cNvSpPr>
            <p:nvPr userDrawn="1"/>
          </p:nvSpPr>
          <p:spPr bwMode="auto">
            <a:xfrm>
              <a:off x="7061464" y="2020853"/>
              <a:ext cx="40310" cy="60464"/>
            </a:xfrm>
            <a:custGeom>
              <a:avLst/>
              <a:gdLst>
                <a:gd name="T0" fmla="*/ 13 w 13"/>
                <a:gd name="T1" fmla="*/ 6 h 19"/>
                <a:gd name="T2" fmla="*/ 0 w 13"/>
                <a:gd name="T3" fmla="*/ 10 h 19"/>
                <a:gd name="T4" fmla="*/ 13 w 13"/>
                <a:gd name="T5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9">
                  <a:moveTo>
                    <a:pt x="13" y="6"/>
                  </a:moveTo>
                  <a:cubicBezTo>
                    <a:pt x="7" y="4"/>
                    <a:pt x="3" y="0"/>
                    <a:pt x="0" y="10"/>
                  </a:cubicBezTo>
                  <a:cubicBezTo>
                    <a:pt x="8" y="8"/>
                    <a:pt x="11" y="19"/>
                    <a:pt x="1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6" name="Freeform 43"/>
            <p:cNvSpPr>
              <a:spLocks/>
            </p:cNvSpPr>
            <p:nvPr userDrawn="1"/>
          </p:nvSpPr>
          <p:spPr bwMode="auto">
            <a:xfrm>
              <a:off x="7250919" y="2041008"/>
              <a:ext cx="67183" cy="49715"/>
            </a:xfrm>
            <a:custGeom>
              <a:avLst/>
              <a:gdLst>
                <a:gd name="T0" fmla="*/ 9 w 21"/>
                <a:gd name="T1" fmla="*/ 0 h 16"/>
                <a:gd name="T2" fmla="*/ 4 w 21"/>
                <a:gd name="T3" fmla="*/ 0 h 16"/>
                <a:gd name="T4" fmla="*/ 9 w 2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6">
                  <a:moveTo>
                    <a:pt x="9" y="0"/>
                  </a:moveTo>
                  <a:cubicBezTo>
                    <a:pt x="9" y="5"/>
                    <a:pt x="6" y="2"/>
                    <a:pt x="4" y="0"/>
                  </a:cubicBezTo>
                  <a:cubicBezTo>
                    <a:pt x="0" y="16"/>
                    <a:pt x="21" y="4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7" name="Freeform 44"/>
            <p:cNvSpPr>
              <a:spLocks/>
            </p:cNvSpPr>
            <p:nvPr userDrawn="1"/>
          </p:nvSpPr>
          <p:spPr bwMode="auto">
            <a:xfrm>
              <a:off x="7324820" y="2034290"/>
              <a:ext cx="44341" cy="88681"/>
            </a:xfrm>
            <a:custGeom>
              <a:avLst/>
              <a:gdLst>
                <a:gd name="T0" fmla="*/ 8 w 14"/>
                <a:gd name="T1" fmla="*/ 28 h 28"/>
                <a:gd name="T2" fmla="*/ 13 w 14"/>
                <a:gd name="T3" fmla="*/ 21 h 28"/>
                <a:gd name="T4" fmla="*/ 5 w 14"/>
                <a:gd name="T5" fmla="*/ 2 h 28"/>
                <a:gd name="T6" fmla="*/ 8 w 14"/>
                <a:gd name="T7" fmla="*/ 17 h 28"/>
                <a:gd name="T8" fmla="*/ 8 w 14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8">
                  <a:moveTo>
                    <a:pt x="8" y="28"/>
                  </a:moveTo>
                  <a:cubicBezTo>
                    <a:pt x="8" y="23"/>
                    <a:pt x="13" y="25"/>
                    <a:pt x="13" y="21"/>
                  </a:cubicBezTo>
                  <a:cubicBezTo>
                    <a:pt x="7" y="19"/>
                    <a:pt x="14" y="0"/>
                    <a:pt x="5" y="2"/>
                  </a:cubicBezTo>
                  <a:cubicBezTo>
                    <a:pt x="0" y="10"/>
                    <a:pt x="6" y="9"/>
                    <a:pt x="8" y="17"/>
                  </a:cubicBezTo>
                  <a:cubicBezTo>
                    <a:pt x="4" y="17"/>
                    <a:pt x="5" y="27"/>
                    <a:pt x="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8" name="Freeform 45"/>
            <p:cNvSpPr>
              <a:spLocks/>
            </p:cNvSpPr>
            <p:nvPr userDrawn="1"/>
          </p:nvSpPr>
          <p:spPr bwMode="auto">
            <a:xfrm>
              <a:off x="7504869" y="2041008"/>
              <a:ext cx="51059" cy="116898"/>
            </a:xfrm>
            <a:custGeom>
              <a:avLst/>
              <a:gdLst>
                <a:gd name="T0" fmla="*/ 7 w 16"/>
                <a:gd name="T1" fmla="*/ 0 h 37"/>
                <a:gd name="T2" fmla="*/ 5 w 16"/>
                <a:gd name="T3" fmla="*/ 15 h 37"/>
                <a:gd name="T4" fmla="*/ 10 w 16"/>
                <a:gd name="T5" fmla="*/ 22 h 37"/>
                <a:gd name="T6" fmla="*/ 5 w 16"/>
                <a:gd name="T7" fmla="*/ 37 h 37"/>
                <a:gd name="T8" fmla="*/ 16 w 16"/>
                <a:gd name="T9" fmla="*/ 30 h 37"/>
                <a:gd name="T10" fmla="*/ 13 w 16"/>
                <a:gd name="T11" fmla="*/ 22 h 37"/>
                <a:gd name="T12" fmla="*/ 7 w 16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37">
                  <a:moveTo>
                    <a:pt x="7" y="0"/>
                  </a:moveTo>
                  <a:cubicBezTo>
                    <a:pt x="2" y="10"/>
                    <a:pt x="8" y="10"/>
                    <a:pt x="5" y="15"/>
                  </a:cubicBezTo>
                  <a:cubicBezTo>
                    <a:pt x="3" y="17"/>
                    <a:pt x="10" y="21"/>
                    <a:pt x="10" y="22"/>
                  </a:cubicBezTo>
                  <a:cubicBezTo>
                    <a:pt x="10" y="25"/>
                    <a:pt x="0" y="30"/>
                    <a:pt x="5" y="37"/>
                  </a:cubicBezTo>
                  <a:cubicBezTo>
                    <a:pt x="10" y="37"/>
                    <a:pt x="14" y="35"/>
                    <a:pt x="16" y="30"/>
                  </a:cubicBezTo>
                  <a:cubicBezTo>
                    <a:pt x="9" y="30"/>
                    <a:pt x="12" y="28"/>
                    <a:pt x="13" y="22"/>
                  </a:cubicBezTo>
                  <a:cubicBezTo>
                    <a:pt x="14" y="14"/>
                    <a:pt x="9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9" name="Freeform 46"/>
            <p:cNvSpPr>
              <a:spLocks/>
            </p:cNvSpPr>
            <p:nvPr userDrawn="1"/>
          </p:nvSpPr>
          <p:spPr bwMode="auto">
            <a:xfrm>
              <a:off x="6753768" y="2046383"/>
              <a:ext cx="37622" cy="57777"/>
            </a:xfrm>
            <a:custGeom>
              <a:avLst/>
              <a:gdLst>
                <a:gd name="T0" fmla="*/ 2 w 12"/>
                <a:gd name="T1" fmla="*/ 6 h 18"/>
                <a:gd name="T2" fmla="*/ 0 w 12"/>
                <a:gd name="T3" fmla="*/ 13 h 18"/>
                <a:gd name="T4" fmla="*/ 2 w 12"/>
                <a:gd name="T5" fmla="*/ 2 h 18"/>
                <a:gd name="T6" fmla="*/ 2 w 12"/>
                <a:gd name="T7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8">
                  <a:moveTo>
                    <a:pt x="2" y="6"/>
                  </a:moveTo>
                  <a:cubicBezTo>
                    <a:pt x="2" y="6"/>
                    <a:pt x="0" y="13"/>
                    <a:pt x="0" y="13"/>
                  </a:cubicBezTo>
                  <a:cubicBezTo>
                    <a:pt x="3" y="18"/>
                    <a:pt x="12" y="0"/>
                    <a:pt x="2" y="2"/>
                  </a:cubicBezTo>
                  <a:cubicBezTo>
                    <a:pt x="2" y="2"/>
                    <a:pt x="3" y="5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0" name="Freeform 47"/>
            <p:cNvSpPr>
              <a:spLocks/>
            </p:cNvSpPr>
            <p:nvPr userDrawn="1"/>
          </p:nvSpPr>
          <p:spPr bwMode="auto">
            <a:xfrm>
              <a:off x="6171966" y="2071912"/>
              <a:ext cx="48371" cy="29560"/>
            </a:xfrm>
            <a:custGeom>
              <a:avLst/>
              <a:gdLst>
                <a:gd name="T0" fmla="*/ 8 w 15"/>
                <a:gd name="T1" fmla="*/ 1 h 9"/>
                <a:gd name="T2" fmla="*/ 0 w 15"/>
                <a:gd name="T3" fmla="*/ 5 h 9"/>
                <a:gd name="T4" fmla="*/ 8 w 15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8" y="1"/>
                  </a:moveTo>
                  <a:cubicBezTo>
                    <a:pt x="6" y="0"/>
                    <a:pt x="0" y="2"/>
                    <a:pt x="0" y="5"/>
                  </a:cubicBezTo>
                  <a:cubicBezTo>
                    <a:pt x="0" y="9"/>
                    <a:pt x="15" y="7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1" name="Freeform 48"/>
            <p:cNvSpPr>
              <a:spLocks/>
            </p:cNvSpPr>
            <p:nvPr userDrawn="1"/>
          </p:nvSpPr>
          <p:spPr bwMode="auto">
            <a:xfrm>
              <a:off x="7054746" y="2075943"/>
              <a:ext cx="34935" cy="34935"/>
            </a:xfrm>
            <a:custGeom>
              <a:avLst/>
              <a:gdLst>
                <a:gd name="T0" fmla="*/ 10 w 11"/>
                <a:gd name="T1" fmla="*/ 11 h 11"/>
                <a:gd name="T2" fmla="*/ 2 w 11"/>
                <a:gd name="T3" fmla="*/ 0 h 11"/>
                <a:gd name="T4" fmla="*/ 10 w 11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1">
                  <a:moveTo>
                    <a:pt x="10" y="11"/>
                  </a:moveTo>
                  <a:cubicBezTo>
                    <a:pt x="11" y="1"/>
                    <a:pt x="4" y="4"/>
                    <a:pt x="2" y="0"/>
                  </a:cubicBezTo>
                  <a:cubicBezTo>
                    <a:pt x="0" y="10"/>
                    <a:pt x="7" y="8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2" name="Freeform 49"/>
            <p:cNvSpPr>
              <a:spLocks/>
            </p:cNvSpPr>
            <p:nvPr userDrawn="1"/>
          </p:nvSpPr>
          <p:spPr bwMode="auto">
            <a:xfrm>
              <a:off x="7111179" y="2075943"/>
              <a:ext cx="48371" cy="72557"/>
            </a:xfrm>
            <a:custGeom>
              <a:avLst/>
              <a:gdLst>
                <a:gd name="T0" fmla="*/ 2 w 15"/>
                <a:gd name="T1" fmla="*/ 0 h 23"/>
                <a:gd name="T2" fmla="*/ 2 w 15"/>
                <a:gd name="T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3">
                  <a:moveTo>
                    <a:pt x="2" y="0"/>
                  </a:moveTo>
                  <a:cubicBezTo>
                    <a:pt x="0" y="23"/>
                    <a:pt x="15" y="3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3" name="Freeform 50"/>
            <p:cNvSpPr>
              <a:spLocks/>
            </p:cNvSpPr>
            <p:nvPr userDrawn="1"/>
          </p:nvSpPr>
          <p:spPr bwMode="auto">
            <a:xfrm>
              <a:off x="7143427" y="2088036"/>
              <a:ext cx="28217" cy="37622"/>
            </a:xfrm>
            <a:custGeom>
              <a:avLst/>
              <a:gdLst>
                <a:gd name="T0" fmla="*/ 8 w 9"/>
                <a:gd name="T1" fmla="*/ 11 h 12"/>
                <a:gd name="T2" fmla="*/ 3 w 9"/>
                <a:gd name="T3" fmla="*/ 0 h 12"/>
                <a:gd name="T4" fmla="*/ 0 w 9"/>
                <a:gd name="T5" fmla="*/ 7 h 12"/>
                <a:gd name="T6" fmla="*/ 8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11"/>
                  </a:moveTo>
                  <a:cubicBezTo>
                    <a:pt x="9" y="5"/>
                    <a:pt x="6" y="2"/>
                    <a:pt x="3" y="0"/>
                  </a:cubicBezTo>
                  <a:cubicBezTo>
                    <a:pt x="3" y="4"/>
                    <a:pt x="1" y="4"/>
                    <a:pt x="0" y="7"/>
                  </a:cubicBezTo>
                  <a:cubicBezTo>
                    <a:pt x="4" y="8"/>
                    <a:pt x="4" y="12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4" name="Freeform 51"/>
            <p:cNvSpPr>
              <a:spLocks/>
            </p:cNvSpPr>
            <p:nvPr userDrawn="1"/>
          </p:nvSpPr>
          <p:spPr bwMode="auto">
            <a:xfrm>
              <a:off x="6765860" y="2097442"/>
              <a:ext cx="41653" cy="38966"/>
            </a:xfrm>
            <a:custGeom>
              <a:avLst/>
              <a:gdLst>
                <a:gd name="T0" fmla="*/ 12 w 13"/>
                <a:gd name="T1" fmla="*/ 4 h 12"/>
                <a:gd name="T2" fmla="*/ 4 w 13"/>
                <a:gd name="T3" fmla="*/ 1 h 12"/>
                <a:gd name="T4" fmla="*/ 12 w 13"/>
                <a:gd name="T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2" y="4"/>
                  </a:moveTo>
                  <a:cubicBezTo>
                    <a:pt x="8" y="4"/>
                    <a:pt x="8" y="0"/>
                    <a:pt x="4" y="1"/>
                  </a:cubicBezTo>
                  <a:cubicBezTo>
                    <a:pt x="0" y="10"/>
                    <a:pt x="13" y="12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5" name="Freeform 52"/>
            <p:cNvSpPr>
              <a:spLocks/>
            </p:cNvSpPr>
            <p:nvPr userDrawn="1"/>
          </p:nvSpPr>
          <p:spPr bwMode="auto">
            <a:xfrm>
              <a:off x="7400064" y="2148500"/>
              <a:ext cx="32248" cy="34935"/>
            </a:xfrm>
            <a:custGeom>
              <a:avLst/>
              <a:gdLst>
                <a:gd name="T0" fmla="*/ 8 w 10"/>
                <a:gd name="T1" fmla="*/ 11 h 11"/>
                <a:gd name="T2" fmla="*/ 0 w 10"/>
                <a:gd name="T3" fmla="*/ 0 h 11"/>
                <a:gd name="T4" fmla="*/ 8 w 10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8" y="11"/>
                  </a:moveTo>
                  <a:cubicBezTo>
                    <a:pt x="10" y="1"/>
                    <a:pt x="3" y="3"/>
                    <a:pt x="0" y="0"/>
                  </a:cubicBezTo>
                  <a:cubicBezTo>
                    <a:pt x="0" y="8"/>
                    <a:pt x="2" y="11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6" name="Freeform 53"/>
            <p:cNvSpPr>
              <a:spLocks/>
            </p:cNvSpPr>
            <p:nvPr userDrawn="1"/>
          </p:nvSpPr>
          <p:spPr bwMode="auto">
            <a:xfrm>
              <a:off x="7674169" y="2155219"/>
              <a:ext cx="37622" cy="37622"/>
            </a:xfrm>
            <a:custGeom>
              <a:avLst/>
              <a:gdLst>
                <a:gd name="T0" fmla="*/ 6 w 12"/>
                <a:gd name="T1" fmla="*/ 12 h 12"/>
                <a:gd name="T2" fmla="*/ 11 w 12"/>
                <a:gd name="T3" fmla="*/ 1 h 12"/>
                <a:gd name="T4" fmla="*/ 0 w 12"/>
                <a:gd name="T5" fmla="*/ 5 h 12"/>
                <a:gd name="T6" fmla="*/ 6 w 12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6" y="7"/>
                    <a:pt x="12" y="9"/>
                    <a:pt x="11" y="1"/>
                  </a:cubicBezTo>
                  <a:cubicBezTo>
                    <a:pt x="7" y="2"/>
                    <a:pt x="1" y="0"/>
                    <a:pt x="0" y="5"/>
                  </a:cubicBezTo>
                  <a:cubicBezTo>
                    <a:pt x="4" y="5"/>
                    <a:pt x="3" y="11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7" name="Freeform 54"/>
            <p:cNvSpPr>
              <a:spLocks/>
            </p:cNvSpPr>
            <p:nvPr userDrawn="1"/>
          </p:nvSpPr>
          <p:spPr bwMode="auto">
            <a:xfrm>
              <a:off x="7991271" y="2157906"/>
              <a:ext cx="56433" cy="47028"/>
            </a:xfrm>
            <a:custGeom>
              <a:avLst/>
              <a:gdLst>
                <a:gd name="T0" fmla="*/ 13 w 18"/>
                <a:gd name="T1" fmla="*/ 15 h 15"/>
                <a:gd name="T2" fmla="*/ 18 w 18"/>
                <a:gd name="T3" fmla="*/ 4 h 15"/>
                <a:gd name="T4" fmla="*/ 0 w 18"/>
                <a:gd name="T5" fmla="*/ 11 h 15"/>
                <a:gd name="T6" fmla="*/ 13 w 18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13" y="15"/>
                  </a:moveTo>
                  <a:cubicBezTo>
                    <a:pt x="12" y="8"/>
                    <a:pt x="17" y="8"/>
                    <a:pt x="18" y="4"/>
                  </a:cubicBezTo>
                  <a:cubicBezTo>
                    <a:pt x="15" y="0"/>
                    <a:pt x="1" y="2"/>
                    <a:pt x="0" y="11"/>
                  </a:cubicBezTo>
                  <a:cubicBezTo>
                    <a:pt x="11" y="9"/>
                    <a:pt x="9" y="8"/>
                    <a:pt x="13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8" name="Freeform 55"/>
            <p:cNvSpPr>
              <a:spLocks/>
            </p:cNvSpPr>
            <p:nvPr userDrawn="1"/>
          </p:nvSpPr>
          <p:spPr bwMode="auto">
            <a:xfrm>
              <a:off x="7359755" y="2190154"/>
              <a:ext cx="14780" cy="37622"/>
            </a:xfrm>
            <a:custGeom>
              <a:avLst/>
              <a:gdLst>
                <a:gd name="T0" fmla="*/ 0 w 5"/>
                <a:gd name="T1" fmla="*/ 1 h 12"/>
                <a:gd name="T2" fmla="*/ 0 w 5"/>
                <a:gd name="T3" fmla="*/ 9 h 12"/>
                <a:gd name="T4" fmla="*/ 5 w 5"/>
                <a:gd name="T5" fmla="*/ 12 h 12"/>
                <a:gd name="T6" fmla="*/ 0 w 5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2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3" y="12"/>
                    <a:pt x="5" y="12"/>
                  </a:cubicBezTo>
                  <a:cubicBezTo>
                    <a:pt x="5" y="7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9" name="Freeform 56"/>
            <p:cNvSpPr>
              <a:spLocks/>
            </p:cNvSpPr>
            <p:nvPr userDrawn="1"/>
          </p:nvSpPr>
          <p:spPr bwMode="auto">
            <a:xfrm>
              <a:off x="7742695" y="2202246"/>
              <a:ext cx="25529" cy="51059"/>
            </a:xfrm>
            <a:custGeom>
              <a:avLst/>
              <a:gdLst>
                <a:gd name="T0" fmla="*/ 0 w 8"/>
                <a:gd name="T1" fmla="*/ 1 h 16"/>
                <a:gd name="T2" fmla="*/ 5 w 8"/>
                <a:gd name="T3" fmla="*/ 16 h 16"/>
                <a:gd name="T4" fmla="*/ 8 w 8"/>
                <a:gd name="T5" fmla="*/ 5 h 16"/>
                <a:gd name="T6" fmla="*/ 0 w 8"/>
                <a:gd name="T7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6">
                  <a:moveTo>
                    <a:pt x="0" y="1"/>
                  </a:moveTo>
                  <a:cubicBezTo>
                    <a:pt x="0" y="8"/>
                    <a:pt x="1" y="13"/>
                    <a:pt x="5" y="16"/>
                  </a:cubicBezTo>
                  <a:cubicBezTo>
                    <a:pt x="5" y="11"/>
                    <a:pt x="6" y="8"/>
                    <a:pt x="8" y="5"/>
                  </a:cubicBezTo>
                  <a:cubicBezTo>
                    <a:pt x="4" y="5"/>
                    <a:pt x="4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0" name="Freeform 57"/>
            <p:cNvSpPr>
              <a:spLocks/>
            </p:cNvSpPr>
            <p:nvPr userDrawn="1"/>
          </p:nvSpPr>
          <p:spPr bwMode="auto">
            <a:xfrm>
              <a:off x="7698355" y="2225089"/>
              <a:ext cx="34935" cy="63152"/>
            </a:xfrm>
            <a:custGeom>
              <a:avLst/>
              <a:gdLst>
                <a:gd name="T0" fmla="*/ 0 w 11"/>
                <a:gd name="T1" fmla="*/ 9 h 20"/>
                <a:gd name="T2" fmla="*/ 11 w 11"/>
                <a:gd name="T3" fmla="*/ 9 h 20"/>
                <a:gd name="T4" fmla="*/ 0 w 11"/>
                <a:gd name="T5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0">
                  <a:moveTo>
                    <a:pt x="0" y="9"/>
                  </a:moveTo>
                  <a:cubicBezTo>
                    <a:pt x="5" y="5"/>
                    <a:pt x="9" y="20"/>
                    <a:pt x="11" y="9"/>
                  </a:cubicBezTo>
                  <a:cubicBezTo>
                    <a:pt x="9" y="8"/>
                    <a:pt x="1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1" name="Freeform 58"/>
            <p:cNvSpPr>
              <a:spLocks/>
            </p:cNvSpPr>
            <p:nvPr userDrawn="1"/>
          </p:nvSpPr>
          <p:spPr bwMode="auto">
            <a:xfrm>
              <a:off x="7749414" y="2329893"/>
              <a:ext cx="18811" cy="40310"/>
            </a:xfrm>
            <a:custGeom>
              <a:avLst/>
              <a:gdLst>
                <a:gd name="T0" fmla="*/ 0 w 6"/>
                <a:gd name="T1" fmla="*/ 2 h 13"/>
                <a:gd name="T2" fmla="*/ 0 w 6"/>
                <a:gd name="T3" fmla="*/ 9 h 13"/>
                <a:gd name="T4" fmla="*/ 6 w 6"/>
                <a:gd name="T5" fmla="*/ 13 h 13"/>
                <a:gd name="T6" fmla="*/ 0 w 6"/>
                <a:gd name="T7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3">
                  <a:moveTo>
                    <a:pt x="0" y="2"/>
                  </a:moveTo>
                  <a:cubicBezTo>
                    <a:pt x="0" y="4"/>
                    <a:pt x="0" y="7"/>
                    <a:pt x="0" y="9"/>
                  </a:cubicBezTo>
                  <a:cubicBezTo>
                    <a:pt x="3" y="9"/>
                    <a:pt x="4" y="12"/>
                    <a:pt x="6" y="13"/>
                  </a:cubicBezTo>
                  <a:cubicBezTo>
                    <a:pt x="5" y="7"/>
                    <a:pt x="6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2" name="Freeform 59"/>
            <p:cNvSpPr>
              <a:spLocks/>
            </p:cNvSpPr>
            <p:nvPr userDrawn="1"/>
          </p:nvSpPr>
          <p:spPr bwMode="auto">
            <a:xfrm>
              <a:off x="6892164" y="2354079"/>
              <a:ext cx="67183" cy="38966"/>
            </a:xfrm>
            <a:custGeom>
              <a:avLst/>
              <a:gdLst>
                <a:gd name="T0" fmla="*/ 20 w 21"/>
                <a:gd name="T1" fmla="*/ 1 h 12"/>
                <a:gd name="T2" fmla="*/ 15 w 21"/>
                <a:gd name="T3" fmla="*/ 1 h 12"/>
                <a:gd name="T4" fmla="*/ 20 w 21"/>
                <a:gd name="T5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2">
                  <a:moveTo>
                    <a:pt x="20" y="1"/>
                  </a:moveTo>
                  <a:cubicBezTo>
                    <a:pt x="18" y="1"/>
                    <a:pt x="17" y="1"/>
                    <a:pt x="15" y="1"/>
                  </a:cubicBezTo>
                  <a:cubicBezTo>
                    <a:pt x="0" y="0"/>
                    <a:pt x="21" y="12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3" name="Freeform 60"/>
            <p:cNvSpPr>
              <a:spLocks/>
            </p:cNvSpPr>
            <p:nvPr userDrawn="1"/>
          </p:nvSpPr>
          <p:spPr bwMode="auto">
            <a:xfrm>
              <a:off x="2995573" y="2386327"/>
              <a:ext cx="18811" cy="67183"/>
            </a:xfrm>
            <a:custGeom>
              <a:avLst/>
              <a:gdLst>
                <a:gd name="T0" fmla="*/ 3 w 6"/>
                <a:gd name="T1" fmla="*/ 21 h 21"/>
                <a:gd name="T2" fmla="*/ 1 w 6"/>
                <a:gd name="T3" fmla="*/ 13 h 21"/>
                <a:gd name="T4" fmla="*/ 3 w 6"/>
                <a:gd name="T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1">
                  <a:moveTo>
                    <a:pt x="3" y="21"/>
                  </a:moveTo>
                  <a:cubicBezTo>
                    <a:pt x="6" y="20"/>
                    <a:pt x="5" y="0"/>
                    <a:pt x="1" y="13"/>
                  </a:cubicBezTo>
                  <a:cubicBezTo>
                    <a:pt x="0" y="16"/>
                    <a:pt x="2" y="21"/>
                    <a:pt x="3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4" name="Freeform 61"/>
            <p:cNvSpPr>
              <a:spLocks/>
            </p:cNvSpPr>
            <p:nvPr userDrawn="1"/>
          </p:nvSpPr>
          <p:spPr bwMode="auto">
            <a:xfrm>
              <a:off x="2970044" y="2423949"/>
              <a:ext cx="18811" cy="38966"/>
            </a:xfrm>
            <a:custGeom>
              <a:avLst/>
              <a:gdLst>
                <a:gd name="T0" fmla="*/ 3 w 6"/>
                <a:gd name="T1" fmla="*/ 12 h 12"/>
                <a:gd name="T2" fmla="*/ 6 w 6"/>
                <a:gd name="T3" fmla="*/ 9 h 12"/>
                <a:gd name="T4" fmla="*/ 0 w 6"/>
                <a:gd name="T5" fmla="*/ 1 h 12"/>
                <a:gd name="T6" fmla="*/ 3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3" y="12"/>
                  </a:moveTo>
                  <a:cubicBezTo>
                    <a:pt x="3" y="10"/>
                    <a:pt x="4" y="8"/>
                    <a:pt x="6" y="9"/>
                  </a:cubicBezTo>
                  <a:cubicBezTo>
                    <a:pt x="6" y="4"/>
                    <a:pt x="5" y="0"/>
                    <a:pt x="0" y="1"/>
                  </a:cubicBezTo>
                  <a:cubicBezTo>
                    <a:pt x="1" y="6"/>
                    <a:pt x="0" y="12"/>
                    <a:pt x="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5" name="Freeform 62"/>
            <p:cNvSpPr>
              <a:spLocks/>
            </p:cNvSpPr>
            <p:nvPr userDrawn="1"/>
          </p:nvSpPr>
          <p:spPr bwMode="auto">
            <a:xfrm>
              <a:off x="3023790" y="2440073"/>
              <a:ext cx="41653" cy="38966"/>
            </a:xfrm>
            <a:custGeom>
              <a:avLst/>
              <a:gdLst>
                <a:gd name="T0" fmla="*/ 13 w 13"/>
                <a:gd name="T1" fmla="*/ 4 h 12"/>
                <a:gd name="T2" fmla="*/ 2 w 13"/>
                <a:gd name="T3" fmla="*/ 11 h 12"/>
                <a:gd name="T4" fmla="*/ 13 w 13"/>
                <a:gd name="T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4"/>
                  </a:moveTo>
                  <a:cubicBezTo>
                    <a:pt x="8" y="5"/>
                    <a:pt x="0" y="0"/>
                    <a:pt x="2" y="11"/>
                  </a:cubicBezTo>
                  <a:cubicBezTo>
                    <a:pt x="9" y="12"/>
                    <a:pt x="13" y="10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6" name="Freeform 63"/>
            <p:cNvSpPr>
              <a:spLocks/>
            </p:cNvSpPr>
            <p:nvPr userDrawn="1"/>
          </p:nvSpPr>
          <p:spPr bwMode="auto">
            <a:xfrm>
              <a:off x="3792359" y="3484090"/>
              <a:ext cx="28217" cy="64495"/>
            </a:xfrm>
            <a:custGeom>
              <a:avLst/>
              <a:gdLst>
                <a:gd name="T0" fmla="*/ 8 w 9"/>
                <a:gd name="T1" fmla="*/ 19 h 20"/>
                <a:gd name="T2" fmla="*/ 0 w 9"/>
                <a:gd name="T3" fmla="*/ 0 h 20"/>
                <a:gd name="T4" fmla="*/ 8 w 9"/>
                <a:gd name="T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0">
                  <a:moveTo>
                    <a:pt x="8" y="19"/>
                  </a:moveTo>
                  <a:cubicBezTo>
                    <a:pt x="9" y="7"/>
                    <a:pt x="4" y="4"/>
                    <a:pt x="0" y="0"/>
                  </a:cubicBezTo>
                  <a:cubicBezTo>
                    <a:pt x="2" y="7"/>
                    <a:pt x="0" y="20"/>
                    <a:pt x="8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7" name="Freeform 64"/>
            <p:cNvSpPr>
              <a:spLocks/>
            </p:cNvSpPr>
            <p:nvPr userDrawn="1"/>
          </p:nvSpPr>
          <p:spPr bwMode="auto">
            <a:xfrm>
              <a:off x="3338205" y="3532462"/>
              <a:ext cx="47028" cy="75245"/>
            </a:xfrm>
            <a:custGeom>
              <a:avLst/>
              <a:gdLst>
                <a:gd name="T0" fmla="*/ 6 w 15"/>
                <a:gd name="T1" fmla="*/ 0 h 24"/>
                <a:gd name="T2" fmla="*/ 6 w 15"/>
                <a:gd name="T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4">
                  <a:moveTo>
                    <a:pt x="6" y="0"/>
                  </a:moveTo>
                  <a:cubicBezTo>
                    <a:pt x="0" y="24"/>
                    <a:pt x="15" y="1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8" name="Freeform 65"/>
            <p:cNvSpPr>
              <a:spLocks/>
            </p:cNvSpPr>
            <p:nvPr userDrawn="1"/>
          </p:nvSpPr>
          <p:spPr bwMode="auto">
            <a:xfrm>
              <a:off x="3748018" y="3523056"/>
              <a:ext cx="37622" cy="81963"/>
            </a:xfrm>
            <a:custGeom>
              <a:avLst/>
              <a:gdLst>
                <a:gd name="T0" fmla="*/ 3 w 12"/>
                <a:gd name="T1" fmla="*/ 3 h 26"/>
                <a:gd name="T2" fmla="*/ 0 w 12"/>
                <a:gd name="T3" fmla="*/ 25 h 26"/>
                <a:gd name="T4" fmla="*/ 6 w 12"/>
                <a:gd name="T5" fmla="*/ 14 h 26"/>
                <a:gd name="T6" fmla="*/ 3 w 12"/>
                <a:gd name="T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3" y="3"/>
                  </a:moveTo>
                  <a:cubicBezTo>
                    <a:pt x="5" y="14"/>
                    <a:pt x="0" y="16"/>
                    <a:pt x="0" y="25"/>
                  </a:cubicBezTo>
                  <a:cubicBezTo>
                    <a:pt x="7" y="26"/>
                    <a:pt x="4" y="21"/>
                    <a:pt x="6" y="14"/>
                  </a:cubicBezTo>
                  <a:cubicBezTo>
                    <a:pt x="7" y="9"/>
                    <a:pt x="12" y="0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9" name="Freeform 66"/>
            <p:cNvSpPr>
              <a:spLocks/>
            </p:cNvSpPr>
            <p:nvPr userDrawn="1"/>
          </p:nvSpPr>
          <p:spPr bwMode="auto">
            <a:xfrm>
              <a:off x="2998261" y="3574115"/>
              <a:ext cx="32248" cy="63152"/>
            </a:xfrm>
            <a:custGeom>
              <a:avLst/>
              <a:gdLst>
                <a:gd name="T0" fmla="*/ 0 w 10"/>
                <a:gd name="T1" fmla="*/ 9 h 20"/>
                <a:gd name="T2" fmla="*/ 10 w 10"/>
                <a:gd name="T3" fmla="*/ 9 h 20"/>
                <a:gd name="T4" fmla="*/ 0 w 10"/>
                <a:gd name="T5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9"/>
                  </a:moveTo>
                  <a:cubicBezTo>
                    <a:pt x="5" y="6"/>
                    <a:pt x="9" y="20"/>
                    <a:pt x="10" y="9"/>
                  </a:cubicBezTo>
                  <a:cubicBezTo>
                    <a:pt x="9" y="8"/>
                    <a:pt x="0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24" name="Freeform 67"/>
            <p:cNvSpPr>
              <a:spLocks/>
            </p:cNvSpPr>
            <p:nvPr userDrawn="1"/>
          </p:nvSpPr>
          <p:spPr bwMode="auto">
            <a:xfrm>
              <a:off x="3151437" y="3672202"/>
              <a:ext cx="44341" cy="69870"/>
            </a:xfrm>
            <a:custGeom>
              <a:avLst/>
              <a:gdLst>
                <a:gd name="T0" fmla="*/ 3 w 14"/>
                <a:gd name="T1" fmla="*/ 0 h 22"/>
                <a:gd name="T2" fmla="*/ 3 w 14"/>
                <a:gd name="T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22">
                  <a:moveTo>
                    <a:pt x="3" y="0"/>
                  </a:moveTo>
                  <a:cubicBezTo>
                    <a:pt x="0" y="22"/>
                    <a:pt x="14" y="2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26" name="Freeform 68"/>
            <p:cNvSpPr>
              <a:spLocks/>
            </p:cNvSpPr>
            <p:nvPr userDrawn="1"/>
          </p:nvSpPr>
          <p:spPr bwMode="auto">
            <a:xfrm>
              <a:off x="3140688" y="3872406"/>
              <a:ext cx="20155" cy="24186"/>
            </a:xfrm>
            <a:custGeom>
              <a:avLst/>
              <a:gdLst>
                <a:gd name="T0" fmla="*/ 6 w 6"/>
                <a:gd name="T1" fmla="*/ 0 h 8"/>
                <a:gd name="T2" fmla="*/ 0 w 6"/>
                <a:gd name="T3" fmla="*/ 0 h 8"/>
                <a:gd name="T4" fmla="*/ 0 w 6"/>
                <a:gd name="T5" fmla="*/ 8 h 8"/>
                <a:gd name="T6" fmla="*/ 6 w 6"/>
                <a:gd name="T7" fmla="*/ 8 h 8"/>
                <a:gd name="T8" fmla="*/ 6 w 6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6" y="8"/>
                  </a:cubicBezTo>
                  <a:cubicBezTo>
                    <a:pt x="6" y="5"/>
                    <a:pt x="6" y="3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27" name="Freeform 69"/>
            <p:cNvSpPr>
              <a:spLocks/>
            </p:cNvSpPr>
            <p:nvPr userDrawn="1"/>
          </p:nvSpPr>
          <p:spPr bwMode="auto">
            <a:xfrm>
              <a:off x="3081567" y="3919434"/>
              <a:ext cx="72557" cy="116898"/>
            </a:xfrm>
            <a:custGeom>
              <a:avLst/>
              <a:gdLst>
                <a:gd name="T0" fmla="*/ 11 w 23"/>
                <a:gd name="T1" fmla="*/ 4 h 37"/>
                <a:gd name="T2" fmla="*/ 3 w 23"/>
                <a:gd name="T3" fmla="*/ 0 h 37"/>
                <a:gd name="T4" fmla="*/ 3 w 23"/>
                <a:gd name="T5" fmla="*/ 33 h 37"/>
                <a:gd name="T6" fmla="*/ 22 w 23"/>
                <a:gd name="T7" fmla="*/ 26 h 37"/>
                <a:gd name="T8" fmla="*/ 17 w 23"/>
                <a:gd name="T9" fmla="*/ 15 h 37"/>
                <a:gd name="T10" fmla="*/ 14 w 23"/>
                <a:gd name="T11" fmla="*/ 4 h 37"/>
                <a:gd name="T12" fmla="*/ 6 w 23"/>
                <a:gd name="T13" fmla="*/ 11 h 37"/>
                <a:gd name="T14" fmla="*/ 11 w 23"/>
                <a:gd name="T15" fmla="*/ 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7">
                  <a:moveTo>
                    <a:pt x="11" y="4"/>
                  </a:moveTo>
                  <a:cubicBezTo>
                    <a:pt x="8" y="4"/>
                    <a:pt x="5" y="2"/>
                    <a:pt x="3" y="0"/>
                  </a:cubicBezTo>
                  <a:cubicBezTo>
                    <a:pt x="2" y="17"/>
                    <a:pt x="0" y="18"/>
                    <a:pt x="3" y="33"/>
                  </a:cubicBezTo>
                  <a:cubicBezTo>
                    <a:pt x="14" y="37"/>
                    <a:pt x="10" y="20"/>
                    <a:pt x="22" y="26"/>
                  </a:cubicBezTo>
                  <a:cubicBezTo>
                    <a:pt x="23" y="18"/>
                    <a:pt x="18" y="19"/>
                    <a:pt x="17" y="15"/>
                  </a:cubicBezTo>
                  <a:cubicBezTo>
                    <a:pt x="16" y="13"/>
                    <a:pt x="22" y="4"/>
                    <a:pt x="14" y="4"/>
                  </a:cubicBezTo>
                  <a:cubicBezTo>
                    <a:pt x="16" y="11"/>
                    <a:pt x="7" y="20"/>
                    <a:pt x="6" y="11"/>
                  </a:cubicBezTo>
                  <a:cubicBezTo>
                    <a:pt x="9" y="11"/>
                    <a:pt x="12" y="10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96" name="Freeform 70"/>
            <p:cNvSpPr>
              <a:spLocks/>
            </p:cNvSpPr>
            <p:nvPr userDrawn="1"/>
          </p:nvSpPr>
          <p:spPr bwMode="auto">
            <a:xfrm>
              <a:off x="3058725" y="3912715"/>
              <a:ext cx="32248" cy="60464"/>
            </a:xfrm>
            <a:custGeom>
              <a:avLst/>
              <a:gdLst>
                <a:gd name="T0" fmla="*/ 0 w 10"/>
                <a:gd name="T1" fmla="*/ 9 h 19"/>
                <a:gd name="T2" fmla="*/ 7 w 10"/>
                <a:gd name="T3" fmla="*/ 17 h 19"/>
                <a:gd name="T4" fmla="*/ 0 w 10"/>
                <a:gd name="T5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9">
                  <a:moveTo>
                    <a:pt x="0" y="9"/>
                  </a:moveTo>
                  <a:cubicBezTo>
                    <a:pt x="4" y="10"/>
                    <a:pt x="2" y="19"/>
                    <a:pt x="7" y="17"/>
                  </a:cubicBezTo>
                  <a:cubicBezTo>
                    <a:pt x="10" y="9"/>
                    <a:pt x="1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97" name="Freeform 71"/>
            <p:cNvSpPr>
              <a:spLocks/>
            </p:cNvSpPr>
            <p:nvPr userDrawn="1"/>
          </p:nvSpPr>
          <p:spPr bwMode="auto">
            <a:xfrm>
              <a:off x="3125908" y="4049768"/>
              <a:ext cx="75245" cy="126303"/>
            </a:xfrm>
            <a:custGeom>
              <a:avLst/>
              <a:gdLst>
                <a:gd name="T0" fmla="*/ 0 w 24"/>
                <a:gd name="T1" fmla="*/ 29 h 40"/>
                <a:gd name="T2" fmla="*/ 19 w 24"/>
                <a:gd name="T3" fmla="*/ 22 h 40"/>
                <a:gd name="T4" fmla="*/ 21 w 24"/>
                <a:gd name="T5" fmla="*/ 40 h 40"/>
                <a:gd name="T6" fmla="*/ 24 w 24"/>
                <a:gd name="T7" fmla="*/ 18 h 40"/>
                <a:gd name="T8" fmla="*/ 16 w 24"/>
                <a:gd name="T9" fmla="*/ 0 h 40"/>
                <a:gd name="T10" fmla="*/ 13 w 24"/>
                <a:gd name="T11" fmla="*/ 18 h 40"/>
                <a:gd name="T12" fmla="*/ 0 w 24"/>
                <a:gd name="T13" fmla="*/ 2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0">
                  <a:moveTo>
                    <a:pt x="0" y="29"/>
                  </a:moveTo>
                  <a:cubicBezTo>
                    <a:pt x="8" y="30"/>
                    <a:pt x="8" y="18"/>
                    <a:pt x="19" y="22"/>
                  </a:cubicBezTo>
                  <a:cubicBezTo>
                    <a:pt x="15" y="27"/>
                    <a:pt x="17" y="37"/>
                    <a:pt x="21" y="40"/>
                  </a:cubicBezTo>
                  <a:cubicBezTo>
                    <a:pt x="21" y="31"/>
                    <a:pt x="21" y="23"/>
                    <a:pt x="24" y="18"/>
                  </a:cubicBezTo>
                  <a:cubicBezTo>
                    <a:pt x="16" y="20"/>
                    <a:pt x="22" y="1"/>
                    <a:pt x="16" y="0"/>
                  </a:cubicBezTo>
                  <a:cubicBezTo>
                    <a:pt x="12" y="8"/>
                    <a:pt x="10" y="7"/>
                    <a:pt x="13" y="18"/>
                  </a:cubicBezTo>
                  <a:cubicBezTo>
                    <a:pt x="5" y="16"/>
                    <a:pt x="2" y="23"/>
                    <a:pt x="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98" name="Freeform 72"/>
            <p:cNvSpPr>
              <a:spLocks/>
            </p:cNvSpPr>
            <p:nvPr userDrawn="1"/>
          </p:nvSpPr>
          <p:spPr bwMode="auto">
            <a:xfrm>
              <a:off x="2792682" y="4059173"/>
              <a:ext cx="14780" cy="47028"/>
            </a:xfrm>
            <a:custGeom>
              <a:avLst/>
              <a:gdLst>
                <a:gd name="T0" fmla="*/ 5 w 5"/>
                <a:gd name="T1" fmla="*/ 15 h 15"/>
                <a:gd name="T2" fmla="*/ 5 w 5"/>
                <a:gd name="T3" fmla="*/ 0 h 15"/>
                <a:gd name="T4" fmla="*/ 0 w 5"/>
                <a:gd name="T5" fmla="*/ 0 h 15"/>
                <a:gd name="T6" fmla="*/ 0 w 5"/>
                <a:gd name="T7" fmla="*/ 15 h 15"/>
                <a:gd name="T8" fmla="*/ 5 w 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5">
                  <a:moveTo>
                    <a:pt x="5" y="15"/>
                  </a:moveTo>
                  <a:cubicBezTo>
                    <a:pt x="5" y="10"/>
                    <a:pt x="5" y="5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5"/>
                    <a:pt x="0" y="10"/>
                    <a:pt x="0" y="15"/>
                  </a:cubicBezTo>
                  <a:cubicBezTo>
                    <a:pt x="2" y="15"/>
                    <a:pt x="4" y="15"/>
                    <a:pt x="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30" name="Freeform 73"/>
            <p:cNvSpPr>
              <a:spLocks/>
            </p:cNvSpPr>
            <p:nvPr userDrawn="1"/>
          </p:nvSpPr>
          <p:spPr bwMode="auto">
            <a:xfrm>
              <a:off x="2823586" y="4059173"/>
              <a:ext cx="44341" cy="72557"/>
            </a:xfrm>
            <a:custGeom>
              <a:avLst/>
              <a:gdLst>
                <a:gd name="T0" fmla="*/ 9 w 14"/>
                <a:gd name="T1" fmla="*/ 23 h 23"/>
                <a:gd name="T2" fmla="*/ 14 w 14"/>
                <a:gd name="T3" fmla="*/ 8 h 23"/>
                <a:gd name="T4" fmla="*/ 4 w 14"/>
                <a:gd name="T5" fmla="*/ 0 h 23"/>
                <a:gd name="T6" fmla="*/ 9 w 14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3">
                  <a:moveTo>
                    <a:pt x="9" y="23"/>
                  </a:moveTo>
                  <a:cubicBezTo>
                    <a:pt x="10" y="17"/>
                    <a:pt x="13" y="13"/>
                    <a:pt x="14" y="8"/>
                  </a:cubicBezTo>
                  <a:cubicBezTo>
                    <a:pt x="10" y="6"/>
                    <a:pt x="7" y="2"/>
                    <a:pt x="4" y="0"/>
                  </a:cubicBezTo>
                  <a:cubicBezTo>
                    <a:pt x="9" y="11"/>
                    <a:pt x="0" y="19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31" name="Freeform 74"/>
            <p:cNvSpPr>
              <a:spLocks/>
            </p:cNvSpPr>
            <p:nvPr userDrawn="1"/>
          </p:nvSpPr>
          <p:spPr bwMode="auto">
            <a:xfrm>
              <a:off x="2867927" y="4084703"/>
              <a:ext cx="51059" cy="60464"/>
            </a:xfrm>
            <a:custGeom>
              <a:avLst/>
              <a:gdLst>
                <a:gd name="T0" fmla="*/ 16 w 16"/>
                <a:gd name="T1" fmla="*/ 18 h 19"/>
                <a:gd name="T2" fmla="*/ 3 w 16"/>
                <a:gd name="T3" fmla="*/ 0 h 19"/>
                <a:gd name="T4" fmla="*/ 0 w 16"/>
                <a:gd name="T5" fmla="*/ 15 h 19"/>
                <a:gd name="T6" fmla="*/ 16 w 16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9">
                  <a:moveTo>
                    <a:pt x="16" y="18"/>
                  </a:moveTo>
                  <a:cubicBezTo>
                    <a:pt x="15" y="8"/>
                    <a:pt x="11" y="1"/>
                    <a:pt x="3" y="0"/>
                  </a:cubicBezTo>
                  <a:cubicBezTo>
                    <a:pt x="5" y="12"/>
                    <a:pt x="5" y="7"/>
                    <a:pt x="0" y="15"/>
                  </a:cubicBezTo>
                  <a:cubicBezTo>
                    <a:pt x="3" y="19"/>
                    <a:pt x="10" y="19"/>
                    <a:pt x="1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32" name="Freeform 75"/>
            <p:cNvSpPr>
              <a:spLocks/>
            </p:cNvSpPr>
            <p:nvPr userDrawn="1"/>
          </p:nvSpPr>
          <p:spPr bwMode="auto">
            <a:xfrm>
              <a:off x="3090973" y="4084703"/>
              <a:ext cx="65839" cy="56433"/>
            </a:xfrm>
            <a:custGeom>
              <a:avLst/>
              <a:gdLst>
                <a:gd name="T0" fmla="*/ 8 w 21"/>
                <a:gd name="T1" fmla="*/ 0 h 18"/>
                <a:gd name="T2" fmla="*/ 0 w 21"/>
                <a:gd name="T3" fmla="*/ 7 h 18"/>
                <a:gd name="T4" fmla="*/ 6 w 21"/>
                <a:gd name="T5" fmla="*/ 18 h 18"/>
                <a:gd name="T6" fmla="*/ 8 w 21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8">
                  <a:moveTo>
                    <a:pt x="8" y="0"/>
                  </a:moveTo>
                  <a:cubicBezTo>
                    <a:pt x="8" y="5"/>
                    <a:pt x="2" y="4"/>
                    <a:pt x="0" y="7"/>
                  </a:cubicBezTo>
                  <a:cubicBezTo>
                    <a:pt x="0" y="14"/>
                    <a:pt x="2" y="17"/>
                    <a:pt x="6" y="18"/>
                  </a:cubicBezTo>
                  <a:cubicBezTo>
                    <a:pt x="5" y="7"/>
                    <a:pt x="21" y="6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33" name="Freeform 76"/>
            <p:cNvSpPr>
              <a:spLocks/>
            </p:cNvSpPr>
            <p:nvPr userDrawn="1"/>
          </p:nvSpPr>
          <p:spPr bwMode="auto">
            <a:xfrm>
              <a:off x="2937796" y="4112919"/>
              <a:ext cx="73901" cy="102118"/>
            </a:xfrm>
            <a:custGeom>
              <a:avLst/>
              <a:gdLst>
                <a:gd name="T0" fmla="*/ 0 w 23"/>
                <a:gd name="T1" fmla="*/ 2 h 32"/>
                <a:gd name="T2" fmla="*/ 0 w 23"/>
                <a:gd name="T3" fmla="*/ 17 h 32"/>
                <a:gd name="T4" fmla="*/ 16 w 23"/>
                <a:gd name="T5" fmla="*/ 13 h 32"/>
                <a:gd name="T6" fmla="*/ 10 w 23"/>
                <a:gd name="T7" fmla="*/ 31 h 32"/>
                <a:gd name="T8" fmla="*/ 19 w 23"/>
                <a:gd name="T9" fmla="*/ 6 h 32"/>
                <a:gd name="T10" fmla="*/ 0 w 23"/>
                <a:gd name="T11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32">
                  <a:moveTo>
                    <a:pt x="0" y="2"/>
                  </a:moveTo>
                  <a:cubicBezTo>
                    <a:pt x="0" y="7"/>
                    <a:pt x="0" y="12"/>
                    <a:pt x="0" y="17"/>
                  </a:cubicBezTo>
                  <a:cubicBezTo>
                    <a:pt x="8" y="21"/>
                    <a:pt x="14" y="4"/>
                    <a:pt x="16" y="13"/>
                  </a:cubicBezTo>
                  <a:cubicBezTo>
                    <a:pt x="9" y="20"/>
                    <a:pt x="13" y="19"/>
                    <a:pt x="10" y="31"/>
                  </a:cubicBezTo>
                  <a:cubicBezTo>
                    <a:pt x="20" y="32"/>
                    <a:pt x="23" y="12"/>
                    <a:pt x="19" y="6"/>
                  </a:cubicBezTo>
                  <a:cubicBezTo>
                    <a:pt x="9" y="9"/>
                    <a:pt x="8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34" name="Freeform 77"/>
            <p:cNvSpPr>
              <a:spLocks/>
            </p:cNvSpPr>
            <p:nvPr userDrawn="1"/>
          </p:nvSpPr>
          <p:spPr bwMode="auto">
            <a:xfrm>
              <a:off x="2814181" y="4115607"/>
              <a:ext cx="79275" cy="51059"/>
            </a:xfrm>
            <a:custGeom>
              <a:avLst/>
              <a:gdLst>
                <a:gd name="T0" fmla="*/ 12 w 25"/>
                <a:gd name="T1" fmla="*/ 16 h 16"/>
                <a:gd name="T2" fmla="*/ 20 w 25"/>
                <a:gd name="T3" fmla="*/ 16 h 16"/>
                <a:gd name="T4" fmla="*/ 12 w 25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16">
                  <a:moveTo>
                    <a:pt x="12" y="16"/>
                  </a:moveTo>
                  <a:cubicBezTo>
                    <a:pt x="13" y="10"/>
                    <a:pt x="18" y="13"/>
                    <a:pt x="20" y="16"/>
                  </a:cubicBezTo>
                  <a:cubicBezTo>
                    <a:pt x="25" y="0"/>
                    <a:pt x="0" y="10"/>
                    <a:pt x="1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35" name="Freeform 78"/>
            <p:cNvSpPr>
              <a:spLocks/>
            </p:cNvSpPr>
            <p:nvPr userDrawn="1"/>
          </p:nvSpPr>
          <p:spPr bwMode="auto">
            <a:xfrm>
              <a:off x="3033196" y="4138449"/>
              <a:ext cx="32248" cy="67183"/>
            </a:xfrm>
            <a:custGeom>
              <a:avLst/>
              <a:gdLst>
                <a:gd name="T0" fmla="*/ 5 w 10"/>
                <a:gd name="T1" fmla="*/ 20 h 21"/>
                <a:gd name="T2" fmla="*/ 10 w 10"/>
                <a:gd name="T3" fmla="*/ 1 h 21"/>
                <a:gd name="T4" fmla="*/ 5 w 10"/>
                <a:gd name="T5" fmla="*/ 1 h 21"/>
                <a:gd name="T6" fmla="*/ 5 w 10"/>
                <a:gd name="T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1">
                  <a:moveTo>
                    <a:pt x="5" y="20"/>
                  </a:moveTo>
                  <a:cubicBezTo>
                    <a:pt x="8" y="15"/>
                    <a:pt x="7" y="6"/>
                    <a:pt x="10" y="1"/>
                  </a:cubicBezTo>
                  <a:cubicBezTo>
                    <a:pt x="8" y="1"/>
                    <a:pt x="7" y="1"/>
                    <a:pt x="5" y="1"/>
                  </a:cubicBezTo>
                  <a:cubicBezTo>
                    <a:pt x="0" y="0"/>
                    <a:pt x="0" y="21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36" name="Freeform 79"/>
            <p:cNvSpPr>
              <a:spLocks/>
            </p:cNvSpPr>
            <p:nvPr userDrawn="1"/>
          </p:nvSpPr>
          <p:spPr bwMode="auto">
            <a:xfrm>
              <a:off x="3004979" y="4176071"/>
              <a:ext cx="28217" cy="34935"/>
            </a:xfrm>
            <a:custGeom>
              <a:avLst/>
              <a:gdLst>
                <a:gd name="T0" fmla="*/ 8 w 9"/>
                <a:gd name="T1" fmla="*/ 8 h 11"/>
                <a:gd name="T2" fmla="*/ 3 w 9"/>
                <a:gd name="T3" fmla="*/ 0 h 11"/>
                <a:gd name="T4" fmla="*/ 0 w 9"/>
                <a:gd name="T5" fmla="*/ 11 h 11"/>
                <a:gd name="T6" fmla="*/ 6 w 9"/>
                <a:gd name="T7" fmla="*/ 11 h 11"/>
                <a:gd name="T8" fmla="*/ 8 w 9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8" y="8"/>
                  </a:moveTo>
                  <a:cubicBezTo>
                    <a:pt x="5" y="8"/>
                    <a:pt x="6" y="1"/>
                    <a:pt x="3" y="0"/>
                  </a:cubicBezTo>
                  <a:cubicBezTo>
                    <a:pt x="3" y="5"/>
                    <a:pt x="0" y="6"/>
                    <a:pt x="0" y="11"/>
                  </a:cubicBezTo>
                  <a:cubicBezTo>
                    <a:pt x="2" y="11"/>
                    <a:pt x="4" y="11"/>
                    <a:pt x="6" y="11"/>
                  </a:cubicBezTo>
                  <a:cubicBezTo>
                    <a:pt x="7" y="11"/>
                    <a:pt x="9" y="11"/>
                    <a:pt x="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37" name="Freeform 80"/>
            <p:cNvSpPr>
              <a:spLocks/>
            </p:cNvSpPr>
            <p:nvPr userDrawn="1"/>
          </p:nvSpPr>
          <p:spPr bwMode="auto">
            <a:xfrm>
              <a:off x="3624403" y="4215037"/>
              <a:ext cx="40310" cy="40310"/>
            </a:xfrm>
            <a:custGeom>
              <a:avLst/>
              <a:gdLst>
                <a:gd name="T0" fmla="*/ 2 w 13"/>
                <a:gd name="T1" fmla="*/ 11 h 13"/>
                <a:gd name="T2" fmla="*/ 12 w 13"/>
                <a:gd name="T3" fmla="*/ 7 h 13"/>
                <a:gd name="T4" fmla="*/ 2 w 13"/>
                <a:gd name="T5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2" y="11"/>
                  </a:moveTo>
                  <a:cubicBezTo>
                    <a:pt x="3" y="13"/>
                    <a:pt x="13" y="10"/>
                    <a:pt x="12" y="7"/>
                  </a:cubicBezTo>
                  <a:cubicBezTo>
                    <a:pt x="9" y="0"/>
                    <a:pt x="0" y="9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38" name="Freeform 81"/>
            <p:cNvSpPr>
              <a:spLocks/>
            </p:cNvSpPr>
            <p:nvPr userDrawn="1"/>
          </p:nvSpPr>
          <p:spPr bwMode="auto">
            <a:xfrm>
              <a:off x="2792682" y="4205631"/>
              <a:ext cx="34935" cy="79275"/>
            </a:xfrm>
            <a:custGeom>
              <a:avLst/>
              <a:gdLst>
                <a:gd name="T0" fmla="*/ 8 w 11"/>
                <a:gd name="T1" fmla="*/ 25 h 25"/>
                <a:gd name="T2" fmla="*/ 11 w 11"/>
                <a:gd name="T3" fmla="*/ 17 h 25"/>
                <a:gd name="T4" fmla="*/ 0 w 11"/>
                <a:gd name="T5" fmla="*/ 14 h 25"/>
                <a:gd name="T6" fmla="*/ 3 w 11"/>
                <a:gd name="T7" fmla="*/ 25 h 25"/>
                <a:gd name="T8" fmla="*/ 8 w 11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5">
                  <a:moveTo>
                    <a:pt x="8" y="25"/>
                  </a:moveTo>
                  <a:cubicBezTo>
                    <a:pt x="8" y="21"/>
                    <a:pt x="10" y="20"/>
                    <a:pt x="11" y="17"/>
                  </a:cubicBezTo>
                  <a:cubicBezTo>
                    <a:pt x="4" y="22"/>
                    <a:pt x="4" y="0"/>
                    <a:pt x="0" y="14"/>
                  </a:cubicBezTo>
                  <a:cubicBezTo>
                    <a:pt x="3" y="14"/>
                    <a:pt x="3" y="19"/>
                    <a:pt x="3" y="25"/>
                  </a:cubicBezTo>
                  <a:cubicBezTo>
                    <a:pt x="5" y="25"/>
                    <a:pt x="6" y="25"/>
                    <a:pt x="8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39" name="Freeform 82"/>
            <p:cNvSpPr>
              <a:spLocks/>
            </p:cNvSpPr>
            <p:nvPr userDrawn="1"/>
          </p:nvSpPr>
          <p:spPr bwMode="auto">
            <a:xfrm>
              <a:off x="2960639" y="4236535"/>
              <a:ext cx="30904" cy="48371"/>
            </a:xfrm>
            <a:custGeom>
              <a:avLst/>
              <a:gdLst>
                <a:gd name="T0" fmla="*/ 1 w 10"/>
                <a:gd name="T1" fmla="*/ 4 h 15"/>
                <a:gd name="T2" fmla="*/ 6 w 10"/>
                <a:gd name="T3" fmla="*/ 15 h 15"/>
                <a:gd name="T4" fmla="*/ 9 w 10"/>
                <a:gd name="T5" fmla="*/ 0 h 15"/>
                <a:gd name="T6" fmla="*/ 3 w 10"/>
                <a:gd name="T7" fmla="*/ 0 h 15"/>
                <a:gd name="T8" fmla="*/ 1 w 10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1" y="4"/>
                  </a:moveTo>
                  <a:cubicBezTo>
                    <a:pt x="5" y="4"/>
                    <a:pt x="2" y="14"/>
                    <a:pt x="6" y="15"/>
                  </a:cubicBezTo>
                  <a:cubicBezTo>
                    <a:pt x="7" y="10"/>
                    <a:pt x="10" y="8"/>
                    <a:pt x="9" y="0"/>
                  </a:cubicBezTo>
                  <a:cubicBezTo>
                    <a:pt x="7" y="0"/>
                    <a:pt x="5" y="0"/>
                    <a:pt x="3" y="0"/>
                  </a:cubicBezTo>
                  <a:cubicBezTo>
                    <a:pt x="2" y="0"/>
                    <a:pt x="0" y="0"/>
                    <a:pt x="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0" name="Freeform 83"/>
            <p:cNvSpPr>
              <a:spLocks/>
            </p:cNvSpPr>
            <p:nvPr userDrawn="1"/>
          </p:nvSpPr>
          <p:spPr bwMode="auto">
            <a:xfrm>
              <a:off x="2998261" y="4227130"/>
              <a:ext cx="41653" cy="67183"/>
            </a:xfrm>
            <a:custGeom>
              <a:avLst/>
              <a:gdLst>
                <a:gd name="T0" fmla="*/ 0 w 13"/>
                <a:gd name="T1" fmla="*/ 10 h 21"/>
                <a:gd name="T2" fmla="*/ 13 w 13"/>
                <a:gd name="T3" fmla="*/ 10 h 21"/>
                <a:gd name="T4" fmla="*/ 0 w 13"/>
                <a:gd name="T5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1">
                  <a:moveTo>
                    <a:pt x="0" y="10"/>
                  </a:moveTo>
                  <a:cubicBezTo>
                    <a:pt x="6" y="5"/>
                    <a:pt x="11" y="21"/>
                    <a:pt x="13" y="10"/>
                  </a:cubicBezTo>
                  <a:cubicBezTo>
                    <a:pt x="8" y="5"/>
                    <a:pt x="4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1" name="Freeform 84"/>
            <p:cNvSpPr>
              <a:spLocks/>
            </p:cNvSpPr>
            <p:nvPr userDrawn="1"/>
          </p:nvSpPr>
          <p:spPr bwMode="auto">
            <a:xfrm>
              <a:off x="2802088" y="4249972"/>
              <a:ext cx="85994" cy="114210"/>
            </a:xfrm>
            <a:custGeom>
              <a:avLst/>
              <a:gdLst>
                <a:gd name="T0" fmla="*/ 11 w 27"/>
                <a:gd name="T1" fmla="*/ 33 h 36"/>
                <a:gd name="T2" fmla="*/ 21 w 27"/>
                <a:gd name="T3" fmla="*/ 33 h 36"/>
                <a:gd name="T4" fmla="*/ 21 w 27"/>
                <a:gd name="T5" fmla="*/ 0 h 36"/>
                <a:gd name="T6" fmla="*/ 13 w 27"/>
                <a:gd name="T7" fmla="*/ 0 h 36"/>
                <a:gd name="T8" fmla="*/ 11 w 27"/>
                <a:gd name="T9" fmla="*/ 11 h 36"/>
                <a:gd name="T10" fmla="*/ 11 w 27"/>
                <a:gd name="T11" fmla="*/ 3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36">
                  <a:moveTo>
                    <a:pt x="11" y="33"/>
                  </a:moveTo>
                  <a:cubicBezTo>
                    <a:pt x="12" y="22"/>
                    <a:pt x="16" y="36"/>
                    <a:pt x="21" y="33"/>
                  </a:cubicBezTo>
                  <a:cubicBezTo>
                    <a:pt x="17" y="21"/>
                    <a:pt x="20" y="13"/>
                    <a:pt x="21" y="0"/>
                  </a:cubicBezTo>
                  <a:cubicBezTo>
                    <a:pt x="19" y="0"/>
                    <a:pt x="16" y="0"/>
                    <a:pt x="13" y="0"/>
                  </a:cubicBezTo>
                  <a:cubicBezTo>
                    <a:pt x="13" y="5"/>
                    <a:pt x="12" y="8"/>
                    <a:pt x="11" y="11"/>
                  </a:cubicBezTo>
                  <a:cubicBezTo>
                    <a:pt x="27" y="13"/>
                    <a:pt x="0" y="27"/>
                    <a:pt x="11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2" name="Freeform 85"/>
            <p:cNvSpPr>
              <a:spLocks/>
            </p:cNvSpPr>
            <p:nvPr userDrawn="1"/>
          </p:nvSpPr>
          <p:spPr bwMode="auto">
            <a:xfrm>
              <a:off x="2867927" y="4255347"/>
              <a:ext cx="55090" cy="64495"/>
            </a:xfrm>
            <a:custGeom>
              <a:avLst/>
              <a:gdLst>
                <a:gd name="T0" fmla="*/ 8 w 17"/>
                <a:gd name="T1" fmla="*/ 9 h 20"/>
                <a:gd name="T2" fmla="*/ 6 w 17"/>
                <a:gd name="T3" fmla="*/ 9 h 20"/>
                <a:gd name="T4" fmla="*/ 3 w 17"/>
                <a:gd name="T5" fmla="*/ 1 h 20"/>
                <a:gd name="T6" fmla="*/ 0 w 17"/>
                <a:gd name="T7" fmla="*/ 16 h 20"/>
                <a:gd name="T8" fmla="*/ 16 w 17"/>
                <a:gd name="T9" fmla="*/ 20 h 20"/>
                <a:gd name="T10" fmla="*/ 8 w 17"/>
                <a:gd name="T11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20">
                  <a:moveTo>
                    <a:pt x="8" y="9"/>
                  </a:moveTo>
                  <a:cubicBezTo>
                    <a:pt x="6" y="10"/>
                    <a:pt x="9" y="13"/>
                    <a:pt x="6" y="9"/>
                  </a:cubicBezTo>
                  <a:cubicBezTo>
                    <a:pt x="4" y="7"/>
                    <a:pt x="6" y="0"/>
                    <a:pt x="3" y="1"/>
                  </a:cubicBezTo>
                  <a:cubicBezTo>
                    <a:pt x="3" y="8"/>
                    <a:pt x="2" y="13"/>
                    <a:pt x="0" y="16"/>
                  </a:cubicBezTo>
                  <a:cubicBezTo>
                    <a:pt x="9" y="13"/>
                    <a:pt x="10" y="20"/>
                    <a:pt x="16" y="20"/>
                  </a:cubicBezTo>
                  <a:cubicBezTo>
                    <a:pt x="17" y="10"/>
                    <a:pt x="12" y="7"/>
                    <a:pt x="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3" name="Freeform 86"/>
            <p:cNvSpPr>
              <a:spLocks/>
            </p:cNvSpPr>
            <p:nvPr userDrawn="1"/>
          </p:nvSpPr>
          <p:spPr bwMode="auto">
            <a:xfrm>
              <a:off x="3081567" y="4243254"/>
              <a:ext cx="25529" cy="69870"/>
            </a:xfrm>
            <a:custGeom>
              <a:avLst/>
              <a:gdLst>
                <a:gd name="T0" fmla="*/ 0 w 8"/>
                <a:gd name="T1" fmla="*/ 13 h 22"/>
                <a:gd name="T2" fmla="*/ 6 w 8"/>
                <a:gd name="T3" fmla="*/ 20 h 22"/>
                <a:gd name="T4" fmla="*/ 0 w 8"/>
                <a:gd name="T5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2">
                  <a:moveTo>
                    <a:pt x="0" y="13"/>
                  </a:moveTo>
                  <a:cubicBezTo>
                    <a:pt x="3" y="11"/>
                    <a:pt x="5" y="22"/>
                    <a:pt x="6" y="20"/>
                  </a:cubicBezTo>
                  <a:cubicBezTo>
                    <a:pt x="8" y="17"/>
                    <a:pt x="5" y="0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4" name="Freeform 87"/>
            <p:cNvSpPr>
              <a:spLocks/>
            </p:cNvSpPr>
            <p:nvPr userDrawn="1"/>
          </p:nvSpPr>
          <p:spPr bwMode="auto">
            <a:xfrm>
              <a:off x="2928391" y="4284907"/>
              <a:ext cx="69870" cy="116898"/>
            </a:xfrm>
            <a:custGeom>
              <a:avLst/>
              <a:gdLst>
                <a:gd name="T0" fmla="*/ 6 w 22"/>
                <a:gd name="T1" fmla="*/ 26 h 37"/>
                <a:gd name="T2" fmla="*/ 13 w 22"/>
                <a:gd name="T3" fmla="*/ 37 h 37"/>
                <a:gd name="T4" fmla="*/ 22 w 22"/>
                <a:gd name="T5" fmla="*/ 29 h 37"/>
                <a:gd name="T6" fmla="*/ 6 w 22"/>
                <a:gd name="T7" fmla="*/ 11 h 37"/>
                <a:gd name="T8" fmla="*/ 16 w 22"/>
                <a:gd name="T9" fmla="*/ 18 h 37"/>
                <a:gd name="T10" fmla="*/ 19 w 22"/>
                <a:gd name="T11" fmla="*/ 7 h 37"/>
                <a:gd name="T12" fmla="*/ 8 w 22"/>
                <a:gd name="T13" fmla="*/ 0 h 37"/>
                <a:gd name="T14" fmla="*/ 0 w 22"/>
                <a:gd name="T15" fmla="*/ 11 h 37"/>
                <a:gd name="T16" fmla="*/ 6 w 22"/>
                <a:gd name="T17" fmla="*/ 2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37">
                  <a:moveTo>
                    <a:pt x="6" y="26"/>
                  </a:moveTo>
                  <a:cubicBezTo>
                    <a:pt x="8" y="30"/>
                    <a:pt x="12" y="34"/>
                    <a:pt x="13" y="37"/>
                  </a:cubicBezTo>
                  <a:cubicBezTo>
                    <a:pt x="14" y="31"/>
                    <a:pt x="21" y="35"/>
                    <a:pt x="22" y="29"/>
                  </a:cubicBezTo>
                  <a:cubicBezTo>
                    <a:pt x="17" y="23"/>
                    <a:pt x="5" y="25"/>
                    <a:pt x="6" y="11"/>
                  </a:cubicBezTo>
                  <a:cubicBezTo>
                    <a:pt x="11" y="11"/>
                    <a:pt x="9" y="21"/>
                    <a:pt x="16" y="18"/>
                  </a:cubicBezTo>
                  <a:cubicBezTo>
                    <a:pt x="16" y="13"/>
                    <a:pt x="18" y="10"/>
                    <a:pt x="19" y="7"/>
                  </a:cubicBezTo>
                  <a:cubicBezTo>
                    <a:pt x="12" y="10"/>
                    <a:pt x="13" y="0"/>
                    <a:pt x="8" y="0"/>
                  </a:cubicBezTo>
                  <a:cubicBezTo>
                    <a:pt x="7" y="5"/>
                    <a:pt x="4" y="9"/>
                    <a:pt x="0" y="11"/>
                  </a:cubicBezTo>
                  <a:cubicBezTo>
                    <a:pt x="0" y="17"/>
                    <a:pt x="3" y="22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5" name="Freeform 88"/>
            <p:cNvSpPr>
              <a:spLocks/>
            </p:cNvSpPr>
            <p:nvPr userDrawn="1"/>
          </p:nvSpPr>
          <p:spPr bwMode="auto">
            <a:xfrm>
              <a:off x="3061412" y="4319842"/>
              <a:ext cx="29560" cy="44341"/>
            </a:xfrm>
            <a:custGeom>
              <a:avLst/>
              <a:gdLst>
                <a:gd name="T0" fmla="*/ 9 w 9"/>
                <a:gd name="T1" fmla="*/ 11 h 14"/>
                <a:gd name="T2" fmla="*/ 4 w 9"/>
                <a:gd name="T3" fmla="*/ 0 h 14"/>
                <a:gd name="T4" fmla="*/ 9 w 9"/>
                <a:gd name="T5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9" y="11"/>
                  </a:moveTo>
                  <a:cubicBezTo>
                    <a:pt x="9" y="4"/>
                    <a:pt x="7" y="1"/>
                    <a:pt x="4" y="0"/>
                  </a:cubicBezTo>
                  <a:cubicBezTo>
                    <a:pt x="0" y="5"/>
                    <a:pt x="0" y="14"/>
                    <a:pt x="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6" name="Freeform 89"/>
            <p:cNvSpPr>
              <a:spLocks/>
            </p:cNvSpPr>
            <p:nvPr userDrawn="1"/>
          </p:nvSpPr>
          <p:spPr bwMode="auto">
            <a:xfrm>
              <a:off x="2988855" y="4329247"/>
              <a:ext cx="16124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7" name="Freeform 90"/>
            <p:cNvSpPr>
              <a:spLocks/>
            </p:cNvSpPr>
            <p:nvPr userDrawn="1"/>
          </p:nvSpPr>
          <p:spPr bwMode="auto">
            <a:xfrm>
              <a:off x="3072162" y="4389712"/>
              <a:ext cx="30904" cy="56433"/>
            </a:xfrm>
            <a:custGeom>
              <a:avLst/>
              <a:gdLst>
                <a:gd name="T0" fmla="*/ 3 w 10"/>
                <a:gd name="T1" fmla="*/ 18 h 18"/>
                <a:gd name="T2" fmla="*/ 1 w 10"/>
                <a:gd name="T3" fmla="*/ 4 h 18"/>
                <a:gd name="T4" fmla="*/ 3 w 10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3" y="18"/>
                  </a:moveTo>
                  <a:cubicBezTo>
                    <a:pt x="5" y="16"/>
                    <a:pt x="10" y="0"/>
                    <a:pt x="1" y="4"/>
                  </a:cubicBezTo>
                  <a:cubicBezTo>
                    <a:pt x="1" y="9"/>
                    <a:pt x="0" y="17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8" name="Freeform 91"/>
            <p:cNvSpPr>
              <a:spLocks/>
            </p:cNvSpPr>
            <p:nvPr userDrawn="1"/>
          </p:nvSpPr>
          <p:spPr bwMode="auto">
            <a:xfrm>
              <a:off x="3131282" y="4401805"/>
              <a:ext cx="22842" cy="44341"/>
            </a:xfrm>
            <a:custGeom>
              <a:avLst/>
              <a:gdLst>
                <a:gd name="T0" fmla="*/ 6 w 7"/>
                <a:gd name="T1" fmla="*/ 14 h 14"/>
                <a:gd name="T2" fmla="*/ 1 w 7"/>
                <a:gd name="T3" fmla="*/ 0 h 14"/>
                <a:gd name="T4" fmla="*/ 6 w 7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6" y="14"/>
                  </a:moveTo>
                  <a:cubicBezTo>
                    <a:pt x="7" y="6"/>
                    <a:pt x="5" y="1"/>
                    <a:pt x="1" y="0"/>
                  </a:cubicBezTo>
                  <a:cubicBezTo>
                    <a:pt x="0" y="8"/>
                    <a:pt x="1" y="14"/>
                    <a:pt x="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9" name="Freeform 92"/>
            <p:cNvSpPr>
              <a:spLocks/>
            </p:cNvSpPr>
            <p:nvPr userDrawn="1"/>
          </p:nvSpPr>
          <p:spPr bwMode="auto">
            <a:xfrm>
              <a:off x="2807462" y="4378963"/>
              <a:ext cx="45684" cy="115554"/>
            </a:xfrm>
            <a:custGeom>
              <a:avLst/>
              <a:gdLst>
                <a:gd name="T0" fmla="*/ 14 w 14"/>
                <a:gd name="T1" fmla="*/ 18 h 36"/>
                <a:gd name="T2" fmla="*/ 11 w 14"/>
                <a:gd name="T3" fmla="*/ 14 h 36"/>
                <a:gd name="T4" fmla="*/ 14 w 14"/>
                <a:gd name="T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36">
                  <a:moveTo>
                    <a:pt x="14" y="18"/>
                  </a:moveTo>
                  <a:cubicBezTo>
                    <a:pt x="11" y="19"/>
                    <a:pt x="12" y="15"/>
                    <a:pt x="11" y="14"/>
                  </a:cubicBezTo>
                  <a:cubicBezTo>
                    <a:pt x="0" y="0"/>
                    <a:pt x="4" y="36"/>
                    <a:pt x="1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0" name="Freeform 93"/>
            <p:cNvSpPr>
              <a:spLocks/>
            </p:cNvSpPr>
            <p:nvPr userDrawn="1"/>
          </p:nvSpPr>
          <p:spPr bwMode="auto">
            <a:xfrm>
              <a:off x="2923016" y="4439427"/>
              <a:ext cx="81963" cy="83306"/>
            </a:xfrm>
            <a:custGeom>
              <a:avLst/>
              <a:gdLst>
                <a:gd name="T0" fmla="*/ 18 w 26"/>
                <a:gd name="T1" fmla="*/ 21 h 26"/>
                <a:gd name="T2" fmla="*/ 24 w 26"/>
                <a:gd name="T3" fmla="*/ 2 h 26"/>
                <a:gd name="T4" fmla="*/ 8 w 26"/>
                <a:gd name="T5" fmla="*/ 17 h 26"/>
                <a:gd name="T6" fmla="*/ 18 w 26"/>
                <a:gd name="T7" fmla="*/ 2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6">
                  <a:moveTo>
                    <a:pt x="18" y="21"/>
                  </a:moveTo>
                  <a:cubicBezTo>
                    <a:pt x="14" y="7"/>
                    <a:pt x="26" y="14"/>
                    <a:pt x="24" y="2"/>
                  </a:cubicBezTo>
                  <a:cubicBezTo>
                    <a:pt x="15" y="0"/>
                    <a:pt x="0" y="9"/>
                    <a:pt x="8" y="17"/>
                  </a:cubicBezTo>
                  <a:cubicBezTo>
                    <a:pt x="10" y="6"/>
                    <a:pt x="12" y="26"/>
                    <a:pt x="18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1" name="Freeform 94"/>
            <p:cNvSpPr>
              <a:spLocks/>
            </p:cNvSpPr>
            <p:nvPr userDrawn="1"/>
          </p:nvSpPr>
          <p:spPr bwMode="auto">
            <a:xfrm>
              <a:off x="3252211" y="4446145"/>
              <a:ext cx="34935" cy="85994"/>
            </a:xfrm>
            <a:custGeom>
              <a:avLst/>
              <a:gdLst>
                <a:gd name="T0" fmla="*/ 11 w 11"/>
                <a:gd name="T1" fmla="*/ 23 h 27"/>
                <a:gd name="T2" fmla="*/ 3 w 11"/>
                <a:gd name="T3" fmla="*/ 0 h 27"/>
                <a:gd name="T4" fmla="*/ 11 w 11"/>
                <a:gd name="T5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7">
                  <a:moveTo>
                    <a:pt x="11" y="23"/>
                  </a:moveTo>
                  <a:cubicBezTo>
                    <a:pt x="10" y="13"/>
                    <a:pt x="7" y="6"/>
                    <a:pt x="3" y="0"/>
                  </a:cubicBezTo>
                  <a:cubicBezTo>
                    <a:pt x="1" y="4"/>
                    <a:pt x="0" y="27"/>
                    <a:pt x="1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2" name="Freeform 95"/>
            <p:cNvSpPr>
              <a:spLocks/>
            </p:cNvSpPr>
            <p:nvPr userDrawn="1"/>
          </p:nvSpPr>
          <p:spPr bwMode="auto">
            <a:xfrm>
              <a:off x="2827617" y="4483767"/>
              <a:ext cx="28217" cy="22842"/>
            </a:xfrm>
            <a:custGeom>
              <a:avLst/>
              <a:gdLst>
                <a:gd name="T0" fmla="*/ 3 w 9"/>
                <a:gd name="T1" fmla="*/ 0 h 7"/>
                <a:gd name="T2" fmla="*/ 0 w 9"/>
                <a:gd name="T3" fmla="*/ 7 h 7"/>
                <a:gd name="T4" fmla="*/ 8 w 9"/>
                <a:gd name="T5" fmla="*/ 0 h 7"/>
                <a:gd name="T6" fmla="*/ 3 w 9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3" y="0"/>
                  </a:moveTo>
                  <a:cubicBezTo>
                    <a:pt x="3" y="3"/>
                    <a:pt x="0" y="4"/>
                    <a:pt x="0" y="7"/>
                  </a:cubicBezTo>
                  <a:cubicBezTo>
                    <a:pt x="4" y="7"/>
                    <a:pt x="9" y="7"/>
                    <a:pt x="8" y="0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3" name="Freeform 96"/>
            <p:cNvSpPr>
              <a:spLocks/>
            </p:cNvSpPr>
            <p:nvPr userDrawn="1"/>
          </p:nvSpPr>
          <p:spPr bwMode="auto">
            <a:xfrm>
              <a:off x="3109784" y="4483767"/>
              <a:ext cx="47028" cy="69870"/>
            </a:xfrm>
            <a:custGeom>
              <a:avLst/>
              <a:gdLst>
                <a:gd name="T0" fmla="*/ 8 w 15"/>
                <a:gd name="T1" fmla="*/ 22 h 22"/>
                <a:gd name="T2" fmla="*/ 13 w 15"/>
                <a:gd name="T3" fmla="*/ 22 h 22"/>
                <a:gd name="T4" fmla="*/ 8 w 15"/>
                <a:gd name="T5" fmla="*/ 7 h 22"/>
                <a:gd name="T6" fmla="*/ 8 w 15"/>
                <a:gd name="T7" fmla="*/ 0 h 22"/>
                <a:gd name="T8" fmla="*/ 8 w 15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2">
                  <a:moveTo>
                    <a:pt x="8" y="22"/>
                  </a:moveTo>
                  <a:cubicBezTo>
                    <a:pt x="8" y="17"/>
                    <a:pt x="11" y="19"/>
                    <a:pt x="13" y="22"/>
                  </a:cubicBezTo>
                  <a:cubicBezTo>
                    <a:pt x="15" y="12"/>
                    <a:pt x="8" y="14"/>
                    <a:pt x="8" y="7"/>
                  </a:cubicBezTo>
                  <a:cubicBezTo>
                    <a:pt x="10" y="7"/>
                    <a:pt x="11" y="0"/>
                    <a:pt x="8" y="0"/>
                  </a:cubicBezTo>
                  <a:cubicBezTo>
                    <a:pt x="4" y="8"/>
                    <a:pt x="0" y="16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4" name="Freeform 97"/>
            <p:cNvSpPr>
              <a:spLocks/>
            </p:cNvSpPr>
            <p:nvPr userDrawn="1"/>
          </p:nvSpPr>
          <p:spPr bwMode="auto">
            <a:xfrm>
              <a:off x="3151437" y="4481080"/>
              <a:ext cx="24186" cy="44341"/>
            </a:xfrm>
            <a:custGeom>
              <a:avLst/>
              <a:gdLst>
                <a:gd name="T0" fmla="*/ 8 w 8"/>
                <a:gd name="T1" fmla="*/ 1 h 14"/>
                <a:gd name="T2" fmla="*/ 0 w 8"/>
                <a:gd name="T3" fmla="*/ 12 h 14"/>
                <a:gd name="T4" fmla="*/ 8 w 8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4">
                  <a:moveTo>
                    <a:pt x="8" y="1"/>
                  </a:moveTo>
                  <a:cubicBezTo>
                    <a:pt x="2" y="0"/>
                    <a:pt x="0" y="4"/>
                    <a:pt x="0" y="12"/>
                  </a:cubicBezTo>
                  <a:cubicBezTo>
                    <a:pt x="7" y="14"/>
                    <a:pt x="5" y="4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5" name="Freeform 98"/>
            <p:cNvSpPr>
              <a:spLocks/>
            </p:cNvSpPr>
            <p:nvPr userDrawn="1"/>
          </p:nvSpPr>
          <p:spPr bwMode="auto">
            <a:xfrm>
              <a:off x="3217276" y="4513328"/>
              <a:ext cx="25529" cy="69870"/>
            </a:xfrm>
            <a:custGeom>
              <a:avLst/>
              <a:gdLst>
                <a:gd name="T0" fmla="*/ 3 w 8"/>
                <a:gd name="T1" fmla="*/ 2 h 22"/>
                <a:gd name="T2" fmla="*/ 1 w 8"/>
                <a:gd name="T3" fmla="*/ 16 h 22"/>
                <a:gd name="T4" fmla="*/ 3 w 8"/>
                <a:gd name="T5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2">
                  <a:moveTo>
                    <a:pt x="3" y="2"/>
                  </a:moveTo>
                  <a:cubicBezTo>
                    <a:pt x="4" y="9"/>
                    <a:pt x="0" y="10"/>
                    <a:pt x="1" y="16"/>
                  </a:cubicBezTo>
                  <a:cubicBezTo>
                    <a:pt x="8" y="22"/>
                    <a:pt x="8" y="0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6" name="Freeform 99"/>
            <p:cNvSpPr>
              <a:spLocks/>
            </p:cNvSpPr>
            <p:nvPr userDrawn="1"/>
          </p:nvSpPr>
          <p:spPr bwMode="auto">
            <a:xfrm>
              <a:off x="3252211" y="4499891"/>
              <a:ext cx="16124" cy="67183"/>
            </a:xfrm>
            <a:custGeom>
              <a:avLst/>
              <a:gdLst>
                <a:gd name="T0" fmla="*/ 3 w 5"/>
                <a:gd name="T1" fmla="*/ 20 h 21"/>
                <a:gd name="T2" fmla="*/ 0 w 5"/>
                <a:gd name="T3" fmla="*/ 13 h 21"/>
                <a:gd name="T4" fmla="*/ 3 w 5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1">
                  <a:moveTo>
                    <a:pt x="3" y="20"/>
                  </a:moveTo>
                  <a:cubicBezTo>
                    <a:pt x="5" y="20"/>
                    <a:pt x="4" y="0"/>
                    <a:pt x="0" y="13"/>
                  </a:cubicBezTo>
                  <a:cubicBezTo>
                    <a:pt x="0" y="15"/>
                    <a:pt x="1" y="21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7" name="Freeform 100"/>
            <p:cNvSpPr>
              <a:spLocks/>
            </p:cNvSpPr>
            <p:nvPr userDrawn="1"/>
          </p:nvSpPr>
          <p:spPr bwMode="auto">
            <a:xfrm>
              <a:off x="2704001" y="4563043"/>
              <a:ext cx="40310" cy="102118"/>
            </a:xfrm>
            <a:custGeom>
              <a:avLst/>
              <a:gdLst>
                <a:gd name="T0" fmla="*/ 4 w 13"/>
                <a:gd name="T1" fmla="*/ 0 h 32"/>
                <a:gd name="T2" fmla="*/ 1 w 13"/>
                <a:gd name="T3" fmla="*/ 8 h 32"/>
                <a:gd name="T4" fmla="*/ 4 w 13"/>
                <a:gd name="T5" fmla="*/ 19 h 32"/>
                <a:gd name="T6" fmla="*/ 4 w 13"/>
                <a:gd name="T7" fmla="*/ 26 h 32"/>
                <a:gd name="T8" fmla="*/ 9 w 13"/>
                <a:gd name="T9" fmla="*/ 26 h 32"/>
                <a:gd name="T10" fmla="*/ 4 w 13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32">
                  <a:moveTo>
                    <a:pt x="4" y="0"/>
                  </a:moveTo>
                  <a:cubicBezTo>
                    <a:pt x="3" y="3"/>
                    <a:pt x="4" y="8"/>
                    <a:pt x="1" y="8"/>
                  </a:cubicBezTo>
                  <a:cubicBezTo>
                    <a:pt x="0" y="13"/>
                    <a:pt x="4" y="16"/>
                    <a:pt x="4" y="19"/>
                  </a:cubicBezTo>
                  <a:cubicBezTo>
                    <a:pt x="5" y="25"/>
                    <a:pt x="1" y="22"/>
                    <a:pt x="4" y="26"/>
                  </a:cubicBezTo>
                  <a:cubicBezTo>
                    <a:pt x="5" y="28"/>
                    <a:pt x="8" y="32"/>
                    <a:pt x="9" y="26"/>
                  </a:cubicBezTo>
                  <a:cubicBezTo>
                    <a:pt x="3" y="19"/>
                    <a:pt x="13" y="7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8" name="Freeform 101"/>
            <p:cNvSpPr>
              <a:spLocks/>
            </p:cNvSpPr>
            <p:nvPr userDrawn="1"/>
          </p:nvSpPr>
          <p:spPr bwMode="auto">
            <a:xfrm>
              <a:off x="3074849" y="4563043"/>
              <a:ext cx="16124" cy="25529"/>
            </a:xfrm>
            <a:custGeom>
              <a:avLst/>
              <a:gdLst>
                <a:gd name="T0" fmla="*/ 0 w 5"/>
                <a:gd name="T1" fmla="*/ 8 h 8"/>
                <a:gd name="T2" fmla="*/ 5 w 5"/>
                <a:gd name="T3" fmla="*/ 8 h 8"/>
                <a:gd name="T4" fmla="*/ 5 w 5"/>
                <a:gd name="T5" fmla="*/ 0 h 8"/>
                <a:gd name="T6" fmla="*/ 0 w 5"/>
                <a:gd name="T7" fmla="*/ 0 h 8"/>
                <a:gd name="T8" fmla="*/ 0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0" y="8"/>
                  </a:moveTo>
                  <a:cubicBezTo>
                    <a:pt x="2" y="8"/>
                    <a:pt x="3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9" name="Freeform 102"/>
            <p:cNvSpPr>
              <a:spLocks/>
            </p:cNvSpPr>
            <p:nvPr userDrawn="1"/>
          </p:nvSpPr>
          <p:spPr bwMode="auto">
            <a:xfrm>
              <a:off x="3335517" y="4563043"/>
              <a:ext cx="59121" cy="64495"/>
            </a:xfrm>
            <a:custGeom>
              <a:avLst/>
              <a:gdLst>
                <a:gd name="T0" fmla="*/ 12 w 19"/>
                <a:gd name="T1" fmla="*/ 0 h 20"/>
                <a:gd name="T2" fmla="*/ 4 w 19"/>
                <a:gd name="T3" fmla="*/ 15 h 20"/>
                <a:gd name="T4" fmla="*/ 12 w 19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20">
                  <a:moveTo>
                    <a:pt x="12" y="0"/>
                  </a:moveTo>
                  <a:cubicBezTo>
                    <a:pt x="11" y="8"/>
                    <a:pt x="0" y="1"/>
                    <a:pt x="4" y="15"/>
                  </a:cubicBezTo>
                  <a:cubicBezTo>
                    <a:pt x="12" y="20"/>
                    <a:pt x="19" y="5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28" name="Freeform 103"/>
            <p:cNvSpPr>
              <a:spLocks/>
            </p:cNvSpPr>
            <p:nvPr userDrawn="1"/>
          </p:nvSpPr>
          <p:spPr bwMode="auto">
            <a:xfrm>
              <a:off x="3240118" y="4588572"/>
              <a:ext cx="30904" cy="64495"/>
            </a:xfrm>
            <a:custGeom>
              <a:avLst/>
              <a:gdLst>
                <a:gd name="T0" fmla="*/ 4 w 10"/>
                <a:gd name="T1" fmla="*/ 0 h 20"/>
                <a:gd name="T2" fmla="*/ 10 w 10"/>
                <a:gd name="T3" fmla="*/ 11 h 20"/>
                <a:gd name="T4" fmla="*/ 4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4" y="0"/>
                  </a:moveTo>
                  <a:cubicBezTo>
                    <a:pt x="0" y="8"/>
                    <a:pt x="5" y="20"/>
                    <a:pt x="10" y="11"/>
                  </a:cubicBezTo>
                  <a:cubicBezTo>
                    <a:pt x="5" y="11"/>
                    <a:pt x="8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29" name="Freeform 104"/>
            <p:cNvSpPr>
              <a:spLocks/>
            </p:cNvSpPr>
            <p:nvPr userDrawn="1"/>
          </p:nvSpPr>
          <p:spPr bwMode="auto">
            <a:xfrm>
              <a:off x="2998261" y="4585885"/>
              <a:ext cx="60464" cy="47028"/>
            </a:xfrm>
            <a:custGeom>
              <a:avLst/>
              <a:gdLst>
                <a:gd name="T0" fmla="*/ 19 w 19"/>
                <a:gd name="T1" fmla="*/ 5 h 15"/>
                <a:gd name="T2" fmla="*/ 0 w 19"/>
                <a:gd name="T3" fmla="*/ 8 h 15"/>
                <a:gd name="T4" fmla="*/ 10 w 19"/>
                <a:gd name="T5" fmla="*/ 8 h 15"/>
                <a:gd name="T6" fmla="*/ 16 w 19"/>
                <a:gd name="T7" fmla="*/ 12 h 15"/>
                <a:gd name="T8" fmla="*/ 19 w 19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19" y="5"/>
                  </a:moveTo>
                  <a:cubicBezTo>
                    <a:pt x="13" y="7"/>
                    <a:pt x="1" y="0"/>
                    <a:pt x="0" y="8"/>
                  </a:cubicBezTo>
                  <a:cubicBezTo>
                    <a:pt x="3" y="15"/>
                    <a:pt x="7" y="9"/>
                    <a:pt x="10" y="8"/>
                  </a:cubicBezTo>
                  <a:cubicBezTo>
                    <a:pt x="11" y="8"/>
                    <a:pt x="12" y="14"/>
                    <a:pt x="16" y="12"/>
                  </a:cubicBezTo>
                  <a:cubicBezTo>
                    <a:pt x="17" y="11"/>
                    <a:pt x="17" y="5"/>
                    <a:pt x="19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30" name="Freeform 105"/>
            <p:cNvSpPr>
              <a:spLocks/>
            </p:cNvSpPr>
            <p:nvPr userDrawn="1"/>
          </p:nvSpPr>
          <p:spPr bwMode="auto">
            <a:xfrm>
              <a:off x="3284459" y="4604696"/>
              <a:ext cx="25529" cy="76588"/>
            </a:xfrm>
            <a:custGeom>
              <a:avLst/>
              <a:gdLst>
                <a:gd name="T0" fmla="*/ 1 w 8"/>
                <a:gd name="T1" fmla="*/ 6 h 24"/>
                <a:gd name="T2" fmla="*/ 1 w 8"/>
                <a:gd name="T3" fmla="*/ 21 h 24"/>
                <a:gd name="T4" fmla="*/ 4 w 8"/>
                <a:gd name="T5" fmla="*/ 6 h 24"/>
                <a:gd name="T6" fmla="*/ 6 w 8"/>
                <a:gd name="T7" fmla="*/ 2 h 24"/>
                <a:gd name="T8" fmla="*/ 1 w 8"/>
                <a:gd name="T9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4">
                  <a:moveTo>
                    <a:pt x="1" y="6"/>
                  </a:moveTo>
                  <a:cubicBezTo>
                    <a:pt x="1" y="8"/>
                    <a:pt x="0" y="19"/>
                    <a:pt x="1" y="21"/>
                  </a:cubicBezTo>
                  <a:cubicBezTo>
                    <a:pt x="3" y="24"/>
                    <a:pt x="4" y="9"/>
                    <a:pt x="4" y="6"/>
                  </a:cubicBezTo>
                  <a:cubicBezTo>
                    <a:pt x="4" y="6"/>
                    <a:pt x="8" y="5"/>
                    <a:pt x="6" y="2"/>
                  </a:cubicBezTo>
                  <a:cubicBezTo>
                    <a:pt x="5" y="0"/>
                    <a:pt x="1" y="5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31" name="Freeform 106"/>
            <p:cNvSpPr>
              <a:spLocks/>
            </p:cNvSpPr>
            <p:nvPr userDrawn="1"/>
          </p:nvSpPr>
          <p:spPr bwMode="auto">
            <a:xfrm>
              <a:off x="3131282" y="4623507"/>
              <a:ext cx="41653" cy="34935"/>
            </a:xfrm>
            <a:custGeom>
              <a:avLst/>
              <a:gdLst>
                <a:gd name="T0" fmla="*/ 3 w 13"/>
                <a:gd name="T1" fmla="*/ 11 h 11"/>
                <a:gd name="T2" fmla="*/ 9 w 13"/>
                <a:gd name="T3" fmla="*/ 11 h 11"/>
                <a:gd name="T4" fmla="*/ 1 w 13"/>
                <a:gd name="T5" fmla="*/ 7 h 11"/>
                <a:gd name="T6" fmla="*/ 3 w 13"/>
                <a:gd name="T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3" y="11"/>
                  </a:moveTo>
                  <a:cubicBezTo>
                    <a:pt x="5" y="11"/>
                    <a:pt x="7" y="11"/>
                    <a:pt x="9" y="11"/>
                  </a:cubicBezTo>
                  <a:cubicBezTo>
                    <a:pt x="13" y="2"/>
                    <a:pt x="0" y="0"/>
                    <a:pt x="1" y="7"/>
                  </a:cubicBezTo>
                  <a:cubicBezTo>
                    <a:pt x="2" y="8"/>
                    <a:pt x="4" y="8"/>
                    <a:pt x="3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32" name="Freeform 107"/>
            <p:cNvSpPr>
              <a:spLocks/>
            </p:cNvSpPr>
            <p:nvPr userDrawn="1"/>
          </p:nvSpPr>
          <p:spPr bwMode="auto">
            <a:xfrm>
              <a:off x="3433604" y="4636944"/>
              <a:ext cx="16124" cy="21498"/>
            </a:xfrm>
            <a:custGeom>
              <a:avLst/>
              <a:gdLst>
                <a:gd name="T0" fmla="*/ 0 w 5"/>
                <a:gd name="T1" fmla="*/ 7 h 7"/>
                <a:gd name="T2" fmla="*/ 5 w 5"/>
                <a:gd name="T3" fmla="*/ 7 h 7"/>
                <a:gd name="T4" fmla="*/ 5 w 5"/>
                <a:gd name="T5" fmla="*/ 0 h 7"/>
                <a:gd name="T6" fmla="*/ 0 w 5"/>
                <a:gd name="T7" fmla="*/ 0 h 7"/>
                <a:gd name="T8" fmla="*/ 0 w 5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0" y="7"/>
                  </a:moveTo>
                  <a:cubicBezTo>
                    <a:pt x="2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33" name="Freeform 108"/>
            <p:cNvSpPr>
              <a:spLocks/>
            </p:cNvSpPr>
            <p:nvPr userDrawn="1"/>
          </p:nvSpPr>
          <p:spPr bwMode="auto">
            <a:xfrm>
              <a:off x="2923016" y="4646349"/>
              <a:ext cx="49715" cy="95399"/>
            </a:xfrm>
            <a:custGeom>
              <a:avLst/>
              <a:gdLst>
                <a:gd name="T0" fmla="*/ 5 w 16"/>
                <a:gd name="T1" fmla="*/ 0 h 30"/>
                <a:gd name="T2" fmla="*/ 13 w 16"/>
                <a:gd name="T3" fmla="*/ 30 h 30"/>
                <a:gd name="T4" fmla="*/ 8 w 16"/>
                <a:gd name="T5" fmla="*/ 4 h 30"/>
                <a:gd name="T6" fmla="*/ 5 w 16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0">
                  <a:moveTo>
                    <a:pt x="5" y="0"/>
                  </a:moveTo>
                  <a:cubicBezTo>
                    <a:pt x="0" y="17"/>
                    <a:pt x="7" y="19"/>
                    <a:pt x="13" y="30"/>
                  </a:cubicBezTo>
                  <a:cubicBezTo>
                    <a:pt x="16" y="15"/>
                    <a:pt x="7" y="15"/>
                    <a:pt x="8" y="4"/>
                  </a:cubicBezTo>
                  <a:cubicBezTo>
                    <a:pt x="7" y="2"/>
                    <a:pt x="7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34" name="Freeform 109"/>
            <p:cNvSpPr>
              <a:spLocks/>
            </p:cNvSpPr>
            <p:nvPr userDrawn="1"/>
          </p:nvSpPr>
          <p:spPr bwMode="auto">
            <a:xfrm>
              <a:off x="3100378" y="4646349"/>
              <a:ext cx="16124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35" name="Freeform 110"/>
            <p:cNvSpPr>
              <a:spLocks/>
            </p:cNvSpPr>
            <p:nvPr userDrawn="1"/>
          </p:nvSpPr>
          <p:spPr bwMode="auto">
            <a:xfrm>
              <a:off x="3201152" y="4627538"/>
              <a:ext cx="34935" cy="65839"/>
            </a:xfrm>
            <a:custGeom>
              <a:avLst/>
              <a:gdLst>
                <a:gd name="T0" fmla="*/ 0 w 11"/>
                <a:gd name="T1" fmla="*/ 10 h 21"/>
                <a:gd name="T2" fmla="*/ 8 w 11"/>
                <a:gd name="T3" fmla="*/ 21 h 21"/>
                <a:gd name="T4" fmla="*/ 0 w 11"/>
                <a:gd name="T5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1">
                  <a:moveTo>
                    <a:pt x="0" y="10"/>
                  </a:moveTo>
                  <a:cubicBezTo>
                    <a:pt x="6" y="9"/>
                    <a:pt x="3" y="21"/>
                    <a:pt x="8" y="21"/>
                  </a:cubicBezTo>
                  <a:cubicBezTo>
                    <a:pt x="11" y="12"/>
                    <a:pt x="3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36" name="Freeform 111"/>
            <p:cNvSpPr>
              <a:spLocks/>
            </p:cNvSpPr>
            <p:nvPr userDrawn="1"/>
          </p:nvSpPr>
          <p:spPr bwMode="auto">
            <a:xfrm>
              <a:off x="2893456" y="4671879"/>
              <a:ext cx="18811" cy="44341"/>
            </a:xfrm>
            <a:custGeom>
              <a:avLst/>
              <a:gdLst>
                <a:gd name="T0" fmla="*/ 0 w 6"/>
                <a:gd name="T1" fmla="*/ 14 h 14"/>
                <a:gd name="T2" fmla="*/ 6 w 6"/>
                <a:gd name="T3" fmla="*/ 14 h 14"/>
                <a:gd name="T4" fmla="*/ 6 w 6"/>
                <a:gd name="T5" fmla="*/ 0 h 14"/>
                <a:gd name="T6" fmla="*/ 0 w 6"/>
                <a:gd name="T7" fmla="*/ 0 h 14"/>
                <a:gd name="T8" fmla="*/ 0 w 6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2" y="14"/>
                    <a:pt x="4" y="14"/>
                    <a:pt x="6" y="14"/>
                  </a:cubicBezTo>
                  <a:cubicBezTo>
                    <a:pt x="6" y="10"/>
                    <a:pt x="6" y="5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37" name="Freeform 112"/>
            <p:cNvSpPr>
              <a:spLocks/>
            </p:cNvSpPr>
            <p:nvPr userDrawn="1"/>
          </p:nvSpPr>
          <p:spPr bwMode="auto">
            <a:xfrm>
              <a:off x="3370452" y="4671879"/>
              <a:ext cx="21498" cy="44341"/>
            </a:xfrm>
            <a:custGeom>
              <a:avLst/>
              <a:gdLst>
                <a:gd name="T0" fmla="*/ 1 w 7"/>
                <a:gd name="T1" fmla="*/ 0 h 14"/>
                <a:gd name="T2" fmla="*/ 4 w 7"/>
                <a:gd name="T3" fmla="*/ 14 h 14"/>
                <a:gd name="T4" fmla="*/ 1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1" y="0"/>
                  </a:moveTo>
                  <a:cubicBezTo>
                    <a:pt x="1" y="5"/>
                    <a:pt x="0" y="13"/>
                    <a:pt x="4" y="14"/>
                  </a:cubicBezTo>
                  <a:cubicBezTo>
                    <a:pt x="7" y="10"/>
                    <a:pt x="7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38" name="Freeform 113"/>
            <p:cNvSpPr>
              <a:spLocks/>
            </p:cNvSpPr>
            <p:nvPr userDrawn="1"/>
          </p:nvSpPr>
          <p:spPr bwMode="auto">
            <a:xfrm>
              <a:off x="3280428" y="4681284"/>
              <a:ext cx="32248" cy="34935"/>
            </a:xfrm>
            <a:custGeom>
              <a:avLst/>
              <a:gdLst>
                <a:gd name="T0" fmla="*/ 5 w 10"/>
                <a:gd name="T1" fmla="*/ 0 h 11"/>
                <a:gd name="T2" fmla="*/ 5 w 10"/>
                <a:gd name="T3" fmla="*/ 11 h 11"/>
                <a:gd name="T4" fmla="*/ 5 w 10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5" y="0"/>
                  </a:moveTo>
                  <a:cubicBezTo>
                    <a:pt x="4" y="5"/>
                    <a:pt x="0" y="9"/>
                    <a:pt x="5" y="11"/>
                  </a:cubicBezTo>
                  <a:cubicBezTo>
                    <a:pt x="5" y="7"/>
                    <a:pt x="10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39" name="Freeform 114"/>
            <p:cNvSpPr>
              <a:spLocks/>
            </p:cNvSpPr>
            <p:nvPr userDrawn="1"/>
          </p:nvSpPr>
          <p:spPr bwMode="auto">
            <a:xfrm>
              <a:off x="3410762" y="4690690"/>
              <a:ext cx="29560" cy="79275"/>
            </a:xfrm>
            <a:custGeom>
              <a:avLst/>
              <a:gdLst>
                <a:gd name="T0" fmla="*/ 1 w 9"/>
                <a:gd name="T1" fmla="*/ 20 h 25"/>
                <a:gd name="T2" fmla="*/ 4 w 9"/>
                <a:gd name="T3" fmla="*/ 1 h 25"/>
                <a:gd name="T4" fmla="*/ 1 w 9"/>
                <a:gd name="T5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5">
                  <a:moveTo>
                    <a:pt x="1" y="20"/>
                  </a:moveTo>
                  <a:cubicBezTo>
                    <a:pt x="9" y="25"/>
                    <a:pt x="8" y="0"/>
                    <a:pt x="4" y="1"/>
                  </a:cubicBezTo>
                  <a:cubicBezTo>
                    <a:pt x="6" y="12"/>
                    <a:pt x="0" y="11"/>
                    <a:pt x="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40" name="Freeform 115"/>
            <p:cNvSpPr>
              <a:spLocks/>
            </p:cNvSpPr>
            <p:nvPr userDrawn="1"/>
          </p:nvSpPr>
          <p:spPr bwMode="auto">
            <a:xfrm>
              <a:off x="3468539" y="4712188"/>
              <a:ext cx="25529" cy="29560"/>
            </a:xfrm>
            <a:custGeom>
              <a:avLst/>
              <a:gdLst>
                <a:gd name="T0" fmla="*/ 0 w 8"/>
                <a:gd name="T1" fmla="*/ 1 h 9"/>
                <a:gd name="T2" fmla="*/ 0 w 8"/>
                <a:gd name="T3" fmla="*/ 9 h 9"/>
                <a:gd name="T4" fmla="*/ 8 w 8"/>
                <a:gd name="T5" fmla="*/ 9 h 9"/>
                <a:gd name="T6" fmla="*/ 0 w 8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5" y="9"/>
                    <a:pt x="8" y="9"/>
                  </a:cubicBezTo>
                  <a:cubicBezTo>
                    <a:pt x="8" y="2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41" name="Freeform 116"/>
            <p:cNvSpPr>
              <a:spLocks/>
            </p:cNvSpPr>
            <p:nvPr userDrawn="1"/>
          </p:nvSpPr>
          <p:spPr bwMode="auto">
            <a:xfrm>
              <a:off x="3135313" y="4737718"/>
              <a:ext cx="51059" cy="57777"/>
            </a:xfrm>
            <a:custGeom>
              <a:avLst/>
              <a:gdLst>
                <a:gd name="T0" fmla="*/ 0 w 16"/>
                <a:gd name="T1" fmla="*/ 8 h 18"/>
                <a:gd name="T2" fmla="*/ 13 w 16"/>
                <a:gd name="T3" fmla="*/ 16 h 18"/>
                <a:gd name="T4" fmla="*/ 16 w 16"/>
                <a:gd name="T5" fmla="*/ 5 h 18"/>
                <a:gd name="T6" fmla="*/ 0 w 16"/>
                <a:gd name="T7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8">
                  <a:moveTo>
                    <a:pt x="0" y="8"/>
                  </a:moveTo>
                  <a:cubicBezTo>
                    <a:pt x="8" y="6"/>
                    <a:pt x="5" y="18"/>
                    <a:pt x="13" y="16"/>
                  </a:cubicBezTo>
                  <a:cubicBezTo>
                    <a:pt x="13" y="11"/>
                    <a:pt x="14" y="8"/>
                    <a:pt x="16" y="5"/>
                  </a:cubicBezTo>
                  <a:cubicBezTo>
                    <a:pt x="11" y="7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42" name="Freeform 117"/>
            <p:cNvSpPr>
              <a:spLocks/>
            </p:cNvSpPr>
            <p:nvPr userDrawn="1"/>
          </p:nvSpPr>
          <p:spPr bwMode="auto">
            <a:xfrm>
              <a:off x="3379858" y="4776684"/>
              <a:ext cx="47028" cy="65839"/>
            </a:xfrm>
            <a:custGeom>
              <a:avLst/>
              <a:gdLst>
                <a:gd name="T0" fmla="*/ 3 w 15"/>
                <a:gd name="T1" fmla="*/ 0 h 21"/>
                <a:gd name="T2" fmla="*/ 3 w 15"/>
                <a:gd name="T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1">
                  <a:moveTo>
                    <a:pt x="3" y="0"/>
                  </a:moveTo>
                  <a:cubicBezTo>
                    <a:pt x="0" y="21"/>
                    <a:pt x="15" y="2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43" name="Freeform 118"/>
            <p:cNvSpPr>
              <a:spLocks/>
            </p:cNvSpPr>
            <p:nvPr userDrawn="1"/>
          </p:nvSpPr>
          <p:spPr bwMode="auto">
            <a:xfrm>
              <a:off x="3452415" y="4798182"/>
              <a:ext cx="32248" cy="79275"/>
            </a:xfrm>
            <a:custGeom>
              <a:avLst/>
              <a:gdLst>
                <a:gd name="T0" fmla="*/ 5 w 10"/>
                <a:gd name="T1" fmla="*/ 0 h 25"/>
                <a:gd name="T2" fmla="*/ 2 w 10"/>
                <a:gd name="T3" fmla="*/ 19 h 25"/>
                <a:gd name="T4" fmla="*/ 5 w 10"/>
                <a:gd name="T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5">
                  <a:moveTo>
                    <a:pt x="5" y="0"/>
                  </a:moveTo>
                  <a:cubicBezTo>
                    <a:pt x="6" y="9"/>
                    <a:pt x="0" y="8"/>
                    <a:pt x="2" y="19"/>
                  </a:cubicBezTo>
                  <a:cubicBezTo>
                    <a:pt x="10" y="25"/>
                    <a:pt x="9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44" name="Freeform 119"/>
            <p:cNvSpPr>
              <a:spLocks/>
            </p:cNvSpPr>
            <p:nvPr userDrawn="1"/>
          </p:nvSpPr>
          <p:spPr bwMode="auto">
            <a:xfrm>
              <a:off x="3357016" y="4807588"/>
              <a:ext cx="104805" cy="69870"/>
            </a:xfrm>
            <a:custGeom>
              <a:avLst/>
              <a:gdLst>
                <a:gd name="T0" fmla="*/ 2 w 33"/>
                <a:gd name="T1" fmla="*/ 5 h 22"/>
                <a:gd name="T2" fmla="*/ 16 w 33"/>
                <a:gd name="T3" fmla="*/ 12 h 22"/>
                <a:gd name="T4" fmla="*/ 24 w 33"/>
                <a:gd name="T5" fmla="*/ 20 h 22"/>
                <a:gd name="T6" fmla="*/ 2 w 33"/>
                <a:gd name="T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22">
                  <a:moveTo>
                    <a:pt x="2" y="5"/>
                  </a:moveTo>
                  <a:cubicBezTo>
                    <a:pt x="0" y="17"/>
                    <a:pt x="11" y="10"/>
                    <a:pt x="16" y="12"/>
                  </a:cubicBezTo>
                  <a:cubicBezTo>
                    <a:pt x="18" y="13"/>
                    <a:pt x="18" y="22"/>
                    <a:pt x="24" y="20"/>
                  </a:cubicBezTo>
                  <a:cubicBezTo>
                    <a:pt x="33" y="6"/>
                    <a:pt x="7" y="0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45" name="Freeform 120"/>
            <p:cNvSpPr>
              <a:spLocks/>
            </p:cNvSpPr>
            <p:nvPr userDrawn="1"/>
          </p:nvSpPr>
          <p:spPr bwMode="auto">
            <a:xfrm>
              <a:off x="3484663" y="4802213"/>
              <a:ext cx="84650" cy="107492"/>
            </a:xfrm>
            <a:custGeom>
              <a:avLst/>
              <a:gdLst>
                <a:gd name="T0" fmla="*/ 16 w 27"/>
                <a:gd name="T1" fmla="*/ 14 h 34"/>
                <a:gd name="T2" fmla="*/ 21 w 27"/>
                <a:gd name="T3" fmla="*/ 3 h 34"/>
                <a:gd name="T4" fmla="*/ 11 w 27"/>
                <a:gd name="T5" fmla="*/ 18 h 34"/>
                <a:gd name="T6" fmla="*/ 5 w 27"/>
                <a:gd name="T7" fmla="*/ 22 h 34"/>
                <a:gd name="T8" fmla="*/ 21 w 27"/>
                <a:gd name="T9" fmla="*/ 22 h 34"/>
                <a:gd name="T10" fmla="*/ 27 w 27"/>
                <a:gd name="T11" fmla="*/ 33 h 34"/>
                <a:gd name="T12" fmla="*/ 27 w 27"/>
                <a:gd name="T13" fmla="*/ 18 h 34"/>
                <a:gd name="T14" fmla="*/ 16 w 27"/>
                <a:gd name="T15" fmla="*/ 1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34">
                  <a:moveTo>
                    <a:pt x="16" y="14"/>
                  </a:moveTo>
                  <a:cubicBezTo>
                    <a:pt x="21" y="15"/>
                    <a:pt x="22" y="10"/>
                    <a:pt x="21" y="3"/>
                  </a:cubicBezTo>
                  <a:cubicBezTo>
                    <a:pt x="12" y="0"/>
                    <a:pt x="17" y="17"/>
                    <a:pt x="11" y="18"/>
                  </a:cubicBezTo>
                  <a:cubicBezTo>
                    <a:pt x="7" y="18"/>
                    <a:pt x="0" y="19"/>
                    <a:pt x="5" y="22"/>
                  </a:cubicBezTo>
                  <a:cubicBezTo>
                    <a:pt x="14" y="20"/>
                    <a:pt x="16" y="30"/>
                    <a:pt x="21" y="22"/>
                  </a:cubicBezTo>
                  <a:cubicBezTo>
                    <a:pt x="22" y="27"/>
                    <a:pt x="21" y="34"/>
                    <a:pt x="27" y="33"/>
                  </a:cubicBezTo>
                  <a:cubicBezTo>
                    <a:pt x="27" y="28"/>
                    <a:pt x="27" y="23"/>
                    <a:pt x="27" y="18"/>
                  </a:cubicBezTo>
                  <a:cubicBezTo>
                    <a:pt x="23" y="9"/>
                    <a:pt x="19" y="25"/>
                    <a:pt x="1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46" name="Freeform 121"/>
            <p:cNvSpPr>
              <a:spLocks/>
            </p:cNvSpPr>
            <p:nvPr userDrawn="1"/>
          </p:nvSpPr>
          <p:spPr bwMode="auto">
            <a:xfrm>
              <a:off x="3585437" y="4823711"/>
              <a:ext cx="34935" cy="53746"/>
            </a:xfrm>
            <a:custGeom>
              <a:avLst/>
              <a:gdLst>
                <a:gd name="T0" fmla="*/ 0 w 11"/>
                <a:gd name="T1" fmla="*/ 0 h 17"/>
                <a:gd name="T2" fmla="*/ 3 w 11"/>
                <a:gd name="T3" fmla="*/ 7 h 17"/>
                <a:gd name="T4" fmla="*/ 11 w 11"/>
                <a:gd name="T5" fmla="*/ 15 h 17"/>
                <a:gd name="T6" fmla="*/ 0 w 11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7">
                  <a:moveTo>
                    <a:pt x="0" y="0"/>
                  </a:moveTo>
                  <a:cubicBezTo>
                    <a:pt x="1" y="3"/>
                    <a:pt x="0" y="7"/>
                    <a:pt x="3" y="7"/>
                  </a:cubicBezTo>
                  <a:cubicBezTo>
                    <a:pt x="7" y="7"/>
                    <a:pt x="5" y="17"/>
                    <a:pt x="11" y="15"/>
                  </a:cubicBezTo>
                  <a:cubicBezTo>
                    <a:pt x="11" y="5"/>
                    <a:pt x="7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47" name="Freeform 122"/>
            <p:cNvSpPr>
              <a:spLocks/>
            </p:cNvSpPr>
            <p:nvPr userDrawn="1"/>
          </p:nvSpPr>
          <p:spPr bwMode="auto">
            <a:xfrm>
              <a:off x="3569313" y="4849241"/>
              <a:ext cx="41653" cy="57777"/>
            </a:xfrm>
            <a:custGeom>
              <a:avLst/>
              <a:gdLst>
                <a:gd name="T0" fmla="*/ 2 w 13"/>
                <a:gd name="T1" fmla="*/ 3 h 18"/>
                <a:gd name="T2" fmla="*/ 13 w 13"/>
                <a:gd name="T3" fmla="*/ 10 h 18"/>
                <a:gd name="T4" fmla="*/ 2 w 13"/>
                <a:gd name="T5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2" y="3"/>
                  </a:moveTo>
                  <a:cubicBezTo>
                    <a:pt x="0" y="11"/>
                    <a:pt x="12" y="18"/>
                    <a:pt x="13" y="10"/>
                  </a:cubicBezTo>
                  <a:cubicBezTo>
                    <a:pt x="8" y="10"/>
                    <a:pt x="10" y="0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48" name="Freeform 123"/>
            <p:cNvSpPr>
              <a:spLocks/>
            </p:cNvSpPr>
            <p:nvPr userDrawn="1"/>
          </p:nvSpPr>
          <p:spPr bwMode="auto">
            <a:xfrm>
              <a:off x="3692929" y="4881488"/>
              <a:ext cx="22842" cy="47028"/>
            </a:xfrm>
            <a:custGeom>
              <a:avLst/>
              <a:gdLst>
                <a:gd name="T0" fmla="*/ 1 w 7"/>
                <a:gd name="T1" fmla="*/ 0 h 15"/>
                <a:gd name="T2" fmla="*/ 4 w 7"/>
                <a:gd name="T3" fmla="*/ 15 h 15"/>
                <a:gd name="T4" fmla="*/ 1 w 7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5">
                  <a:moveTo>
                    <a:pt x="1" y="0"/>
                  </a:moveTo>
                  <a:cubicBezTo>
                    <a:pt x="2" y="6"/>
                    <a:pt x="0" y="14"/>
                    <a:pt x="4" y="15"/>
                  </a:cubicBezTo>
                  <a:cubicBezTo>
                    <a:pt x="7" y="10"/>
                    <a:pt x="7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49" name="Freeform 124"/>
            <p:cNvSpPr>
              <a:spLocks/>
            </p:cNvSpPr>
            <p:nvPr userDrawn="1"/>
          </p:nvSpPr>
          <p:spPr bwMode="auto">
            <a:xfrm>
              <a:off x="6318424" y="5769642"/>
              <a:ext cx="16124" cy="37622"/>
            </a:xfrm>
            <a:custGeom>
              <a:avLst/>
              <a:gdLst>
                <a:gd name="T0" fmla="*/ 0 w 5"/>
                <a:gd name="T1" fmla="*/ 1 h 12"/>
                <a:gd name="T2" fmla="*/ 0 w 5"/>
                <a:gd name="T3" fmla="*/ 9 h 12"/>
                <a:gd name="T4" fmla="*/ 5 w 5"/>
                <a:gd name="T5" fmla="*/ 12 h 12"/>
                <a:gd name="T6" fmla="*/ 0 w 5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2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3" y="12"/>
                    <a:pt x="5" y="12"/>
                  </a:cubicBezTo>
                  <a:cubicBezTo>
                    <a:pt x="5" y="7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50" name="Freeform 125"/>
            <p:cNvSpPr>
              <a:spLocks/>
            </p:cNvSpPr>
            <p:nvPr userDrawn="1"/>
          </p:nvSpPr>
          <p:spPr bwMode="auto">
            <a:xfrm>
              <a:off x="6753768" y="5832794"/>
              <a:ext cx="47028" cy="69870"/>
            </a:xfrm>
            <a:custGeom>
              <a:avLst/>
              <a:gdLst>
                <a:gd name="T0" fmla="*/ 2 w 15"/>
                <a:gd name="T1" fmla="*/ 0 h 22"/>
                <a:gd name="T2" fmla="*/ 2 w 15"/>
                <a:gd name="T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2">
                  <a:moveTo>
                    <a:pt x="2" y="0"/>
                  </a:moveTo>
                  <a:cubicBezTo>
                    <a:pt x="0" y="22"/>
                    <a:pt x="15" y="2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51" name="Freeform 126"/>
            <p:cNvSpPr>
              <a:spLocks/>
            </p:cNvSpPr>
            <p:nvPr userDrawn="1"/>
          </p:nvSpPr>
          <p:spPr bwMode="auto">
            <a:xfrm>
              <a:off x="7911995" y="5820701"/>
              <a:ext cx="47028" cy="126303"/>
            </a:xfrm>
            <a:custGeom>
              <a:avLst/>
              <a:gdLst>
                <a:gd name="T0" fmla="*/ 0 w 15"/>
                <a:gd name="T1" fmla="*/ 30 h 40"/>
                <a:gd name="T2" fmla="*/ 11 w 15"/>
                <a:gd name="T3" fmla="*/ 37 h 40"/>
                <a:gd name="T4" fmla="*/ 6 w 15"/>
                <a:gd name="T5" fmla="*/ 26 h 40"/>
                <a:gd name="T6" fmla="*/ 8 w 15"/>
                <a:gd name="T7" fmla="*/ 15 h 40"/>
                <a:gd name="T8" fmla="*/ 14 w 15"/>
                <a:gd name="T9" fmla="*/ 11 h 40"/>
                <a:gd name="T10" fmla="*/ 0 w 15"/>
                <a:gd name="T11" fmla="*/ 3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40">
                  <a:moveTo>
                    <a:pt x="0" y="30"/>
                  </a:moveTo>
                  <a:cubicBezTo>
                    <a:pt x="6" y="30"/>
                    <a:pt x="4" y="40"/>
                    <a:pt x="11" y="37"/>
                  </a:cubicBezTo>
                  <a:cubicBezTo>
                    <a:pt x="12" y="30"/>
                    <a:pt x="8" y="30"/>
                    <a:pt x="6" y="26"/>
                  </a:cubicBezTo>
                  <a:cubicBezTo>
                    <a:pt x="10" y="27"/>
                    <a:pt x="7" y="18"/>
                    <a:pt x="8" y="15"/>
                  </a:cubicBezTo>
                  <a:cubicBezTo>
                    <a:pt x="10" y="13"/>
                    <a:pt x="15" y="16"/>
                    <a:pt x="14" y="11"/>
                  </a:cubicBezTo>
                  <a:cubicBezTo>
                    <a:pt x="5" y="0"/>
                    <a:pt x="2" y="19"/>
                    <a:pt x="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52" name="Freeform 127"/>
            <p:cNvSpPr>
              <a:spLocks/>
            </p:cNvSpPr>
            <p:nvPr userDrawn="1"/>
          </p:nvSpPr>
          <p:spPr bwMode="auto">
            <a:xfrm>
              <a:off x="6912318" y="5846230"/>
              <a:ext cx="40310" cy="34935"/>
            </a:xfrm>
            <a:custGeom>
              <a:avLst/>
              <a:gdLst>
                <a:gd name="T0" fmla="*/ 1 w 13"/>
                <a:gd name="T1" fmla="*/ 7 h 11"/>
                <a:gd name="T2" fmla="*/ 3 w 13"/>
                <a:gd name="T3" fmla="*/ 11 h 11"/>
                <a:gd name="T4" fmla="*/ 9 w 13"/>
                <a:gd name="T5" fmla="*/ 11 h 11"/>
                <a:gd name="T6" fmla="*/ 1 w 13"/>
                <a:gd name="T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1" y="7"/>
                  </a:moveTo>
                  <a:cubicBezTo>
                    <a:pt x="2" y="7"/>
                    <a:pt x="4" y="7"/>
                    <a:pt x="3" y="11"/>
                  </a:cubicBezTo>
                  <a:cubicBezTo>
                    <a:pt x="5" y="11"/>
                    <a:pt x="7" y="11"/>
                    <a:pt x="9" y="11"/>
                  </a:cubicBezTo>
                  <a:cubicBezTo>
                    <a:pt x="13" y="2"/>
                    <a:pt x="0" y="0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53" name="Freeform 128"/>
            <p:cNvSpPr>
              <a:spLocks/>
            </p:cNvSpPr>
            <p:nvPr userDrawn="1"/>
          </p:nvSpPr>
          <p:spPr bwMode="auto">
            <a:xfrm>
              <a:off x="7280479" y="5839512"/>
              <a:ext cx="56433" cy="67183"/>
            </a:xfrm>
            <a:custGeom>
              <a:avLst/>
              <a:gdLst>
                <a:gd name="T0" fmla="*/ 0 w 18"/>
                <a:gd name="T1" fmla="*/ 13 h 21"/>
                <a:gd name="T2" fmla="*/ 14 w 18"/>
                <a:gd name="T3" fmla="*/ 20 h 21"/>
                <a:gd name="T4" fmla="*/ 0 w 18"/>
                <a:gd name="T5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cubicBezTo>
                    <a:pt x="6" y="14"/>
                    <a:pt x="7" y="21"/>
                    <a:pt x="14" y="20"/>
                  </a:cubicBezTo>
                  <a:cubicBezTo>
                    <a:pt x="18" y="4"/>
                    <a:pt x="2" y="0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54" name="Freeform 129"/>
            <p:cNvSpPr>
              <a:spLocks/>
            </p:cNvSpPr>
            <p:nvPr userDrawn="1"/>
          </p:nvSpPr>
          <p:spPr bwMode="auto">
            <a:xfrm>
              <a:off x="7365129" y="5855636"/>
              <a:ext cx="41653" cy="34935"/>
            </a:xfrm>
            <a:custGeom>
              <a:avLst/>
              <a:gdLst>
                <a:gd name="T0" fmla="*/ 0 w 13"/>
                <a:gd name="T1" fmla="*/ 8 h 11"/>
                <a:gd name="T2" fmla="*/ 6 w 13"/>
                <a:gd name="T3" fmla="*/ 11 h 11"/>
                <a:gd name="T4" fmla="*/ 0 w 13"/>
                <a:gd name="T5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8"/>
                  </a:moveTo>
                  <a:cubicBezTo>
                    <a:pt x="3" y="8"/>
                    <a:pt x="4" y="11"/>
                    <a:pt x="6" y="11"/>
                  </a:cubicBezTo>
                  <a:cubicBezTo>
                    <a:pt x="13" y="4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55" name="Freeform 130"/>
            <p:cNvSpPr>
              <a:spLocks/>
            </p:cNvSpPr>
            <p:nvPr userDrawn="1"/>
          </p:nvSpPr>
          <p:spPr bwMode="auto">
            <a:xfrm>
              <a:off x="8921078" y="1980544"/>
              <a:ext cx="72557" cy="142427"/>
            </a:xfrm>
            <a:custGeom>
              <a:avLst/>
              <a:gdLst>
                <a:gd name="T0" fmla="*/ 21 w 23"/>
                <a:gd name="T1" fmla="*/ 30 h 45"/>
                <a:gd name="T2" fmla="*/ 16 w 23"/>
                <a:gd name="T3" fmla="*/ 8 h 45"/>
                <a:gd name="T4" fmla="*/ 2 w 23"/>
                <a:gd name="T5" fmla="*/ 4 h 45"/>
                <a:gd name="T6" fmla="*/ 13 w 23"/>
                <a:gd name="T7" fmla="*/ 19 h 45"/>
                <a:gd name="T8" fmla="*/ 13 w 23"/>
                <a:gd name="T9" fmla="*/ 30 h 45"/>
                <a:gd name="T10" fmla="*/ 5 w 23"/>
                <a:gd name="T11" fmla="*/ 23 h 45"/>
                <a:gd name="T12" fmla="*/ 16 w 23"/>
                <a:gd name="T13" fmla="*/ 45 h 45"/>
                <a:gd name="T14" fmla="*/ 21 w 23"/>
                <a:gd name="T15" fmla="*/ 3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45">
                  <a:moveTo>
                    <a:pt x="21" y="30"/>
                  </a:moveTo>
                  <a:cubicBezTo>
                    <a:pt x="23" y="21"/>
                    <a:pt x="18" y="10"/>
                    <a:pt x="16" y="8"/>
                  </a:cubicBezTo>
                  <a:cubicBezTo>
                    <a:pt x="12" y="20"/>
                    <a:pt x="9" y="0"/>
                    <a:pt x="2" y="4"/>
                  </a:cubicBezTo>
                  <a:cubicBezTo>
                    <a:pt x="0" y="17"/>
                    <a:pt x="12" y="11"/>
                    <a:pt x="13" y="19"/>
                  </a:cubicBezTo>
                  <a:cubicBezTo>
                    <a:pt x="14" y="24"/>
                    <a:pt x="18" y="28"/>
                    <a:pt x="13" y="30"/>
                  </a:cubicBezTo>
                  <a:cubicBezTo>
                    <a:pt x="9" y="30"/>
                    <a:pt x="11" y="21"/>
                    <a:pt x="5" y="23"/>
                  </a:cubicBezTo>
                  <a:cubicBezTo>
                    <a:pt x="6" y="35"/>
                    <a:pt x="7" y="45"/>
                    <a:pt x="16" y="45"/>
                  </a:cubicBezTo>
                  <a:cubicBezTo>
                    <a:pt x="11" y="36"/>
                    <a:pt x="22" y="26"/>
                    <a:pt x="2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56" name="Freeform 131"/>
            <p:cNvSpPr>
              <a:spLocks/>
            </p:cNvSpPr>
            <p:nvPr userDrawn="1"/>
          </p:nvSpPr>
          <p:spPr bwMode="auto">
            <a:xfrm>
              <a:off x="2601884" y="2917069"/>
              <a:ext cx="72557" cy="154520"/>
            </a:xfrm>
            <a:custGeom>
              <a:avLst/>
              <a:gdLst>
                <a:gd name="T0" fmla="*/ 17 w 23"/>
                <a:gd name="T1" fmla="*/ 31 h 49"/>
                <a:gd name="T2" fmla="*/ 12 w 23"/>
                <a:gd name="T3" fmla="*/ 46 h 49"/>
                <a:gd name="T4" fmla="*/ 17 w 23"/>
                <a:gd name="T5" fmla="*/ 35 h 49"/>
                <a:gd name="T6" fmla="*/ 22 w 23"/>
                <a:gd name="T7" fmla="*/ 28 h 49"/>
                <a:gd name="T8" fmla="*/ 17 w 23"/>
                <a:gd name="T9" fmla="*/ 16 h 49"/>
                <a:gd name="T10" fmla="*/ 12 w 23"/>
                <a:gd name="T11" fmla="*/ 2 h 49"/>
                <a:gd name="T12" fmla="*/ 4 w 23"/>
                <a:gd name="T13" fmla="*/ 9 h 49"/>
                <a:gd name="T14" fmla="*/ 1 w 23"/>
                <a:gd name="T15" fmla="*/ 13 h 49"/>
                <a:gd name="T16" fmla="*/ 9 w 23"/>
                <a:gd name="T17" fmla="*/ 20 h 49"/>
                <a:gd name="T18" fmla="*/ 1 w 23"/>
                <a:gd name="T19" fmla="*/ 20 h 49"/>
                <a:gd name="T20" fmla="*/ 6 w 23"/>
                <a:gd name="T21" fmla="*/ 28 h 49"/>
                <a:gd name="T22" fmla="*/ 17 w 23"/>
                <a:gd name="T23" fmla="*/ 3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9">
                  <a:moveTo>
                    <a:pt x="17" y="31"/>
                  </a:moveTo>
                  <a:cubicBezTo>
                    <a:pt x="13" y="34"/>
                    <a:pt x="12" y="39"/>
                    <a:pt x="12" y="46"/>
                  </a:cubicBezTo>
                  <a:cubicBezTo>
                    <a:pt x="19" y="49"/>
                    <a:pt x="15" y="40"/>
                    <a:pt x="17" y="35"/>
                  </a:cubicBezTo>
                  <a:cubicBezTo>
                    <a:pt x="18" y="32"/>
                    <a:pt x="23" y="32"/>
                    <a:pt x="22" y="28"/>
                  </a:cubicBezTo>
                  <a:cubicBezTo>
                    <a:pt x="15" y="29"/>
                    <a:pt x="19" y="22"/>
                    <a:pt x="17" y="16"/>
                  </a:cubicBezTo>
                  <a:cubicBezTo>
                    <a:pt x="16" y="13"/>
                    <a:pt x="7" y="9"/>
                    <a:pt x="12" y="2"/>
                  </a:cubicBezTo>
                  <a:cubicBezTo>
                    <a:pt x="6" y="0"/>
                    <a:pt x="6" y="7"/>
                    <a:pt x="4" y="9"/>
                  </a:cubicBezTo>
                  <a:cubicBezTo>
                    <a:pt x="2" y="9"/>
                    <a:pt x="0" y="10"/>
                    <a:pt x="1" y="13"/>
                  </a:cubicBezTo>
                  <a:cubicBezTo>
                    <a:pt x="5" y="13"/>
                    <a:pt x="10" y="12"/>
                    <a:pt x="9" y="20"/>
                  </a:cubicBezTo>
                  <a:cubicBezTo>
                    <a:pt x="6" y="20"/>
                    <a:pt x="3" y="14"/>
                    <a:pt x="1" y="20"/>
                  </a:cubicBezTo>
                  <a:cubicBezTo>
                    <a:pt x="4" y="21"/>
                    <a:pt x="5" y="24"/>
                    <a:pt x="6" y="28"/>
                  </a:cubicBezTo>
                  <a:cubicBezTo>
                    <a:pt x="13" y="27"/>
                    <a:pt x="15" y="21"/>
                    <a:pt x="1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57" name="Freeform 132"/>
            <p:cNvSpPr>
              <a:spLocks/>
            </p:cNvSpPr>
            <p:nvPr userDrawn="1"/>
          </p:nvSpPr>
          <p:spPr bwMode="auto">
            <a:xfrm>
              <a:off x="4563615" y="1735999"/>
              <a:ext cx="37622" cy="47028"/>
            </a:xfrm>
            <a:custGeom>
              <a:avLst/>
              <a:gdLst>
                <a:gd name="T0" fmla="*/ 12 w 12"/>
                <a:gd name="T1" fmla="*/ 0 h 15"/>
                <a:gd name="T2" fmla="*/ 1 w 12"/>
                <a:gd name="T3" fmla="*/ 4 h 15"/>
                <a:gd name="T4" fmla="*/ 12 w 1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12" y="0"/>
                  </a:moveTo>
                  <a:cubicBezTo>
                    <a:pt x="7" y="3"/>
                    <a:pt x="0" y="1"/>
                    <a:pt x="1" y="4"/>
                  </a:cubicBezTo>
                  <a:cubicBezTo>
                    <a:pt x="3" y="6"/>
                    <a:pt x="12" y="15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58" name="Freeform 133"/>
            <p:cNvSpPr>
              <a:spLocks/>
            </p:cNvSpPr>
            <p:nvPr userDrawn="1"/>
          </p:nvSpPr>
          <p:spPr bwMode="auto">
            <a:xfrm>
              <a:off x="7891841" y="1729281"/>
              <a:ext cx="99430" cy="76588"/>
            </a:xfrm>
            <a:custGeom>
              <a:avLst/>
              <a:gdLst>
                <a:gd name="T0" fmla="*/ 28 w 31"/>
                <a:gd name="T1" fmla="*/ 17 h 24"/>
                <a:gd name="T2" fmla="*/ 28 w 31"/>
                <a:gd name="T3" fmla="*/ 2 h 24"/>
                <a:gd name="T4" fmla="*/ 20 w 31"/>
                <a:gd name="T5" fmla="*/ 13 h 24"/>
                <a:gd name="T6" fmla="*/ 12 w 31"/>
                <a:gd name="T7" fmla="*/ 2 h 24"/>
                <a:gd name="T8" fmla="*/ 1 w 31"/>
                <a:gd name="T9" fmla="*/ 6 h 24"/>
                <a:gd name="T10" fmla="*/ 4 w 31"/>
                <a:gd name="T11" fmla="*/ 21 h 24"/>
                <a:gd name="T12" fmla="*/ 28 w 31"/>
                <a:gd name="T13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4">
                  <a:moveTo>
                    <a:pt x="28" y="17"/>
                  </a:moveTo>
                  <a:cubicBezTo>
                    <a:pt x="28" y="12"/>
                    <a:pt x="28" y="7"/>
                    <a:pt x="28" y="2"/>
                  </a:cubicBezTo>
                  <a:cubicBezTo>
                    <a:pt x="17" y="0"/>
                    <a:pt x="31" y="12"/>
                    <a:pt x="20" y="13"/>
                  </a:cubicBezTo>
                  <a:cubicBezTo>
                    <a:pt x="17" y="10"/>
                    <a:pt x="19" y="0"/>
                    <a:pt x="12" y="2"/>
                  </a:cubicBezTo>
                  <a:cubicBezTo>
                    <a:pt x="12" y="24"/>
                    <a:pt x="11" y="1"/>
                    <a:pt x="1" y="6"/>
                  </a:cubicBezTo>
                  <a:cubicBezTo>
                    <a:pt x="0" y="13"/>
                    <a:pt x="4" y="14"/>
                    <a:pt x="4" y="21"/>
                  </a:cubicBezTo>
                  <a:cubicBezTo>
                    <a:pt x="16" y="17"/>
                    <a:pt x="20" y="11"/>
                    <a:pt x="2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59" name="Freeform 134"/>
            <p:cNvSpPr>
              <a:spLocks/>
            </p:cNvSpPr>
            <p:nvPr userDrawn="1"/>
          </p:nvSpPr>
          <p:spPr bwMode="auto">
            <a:xfrm>
              <a:off x="8168633" y="1726594"/>
              <a:ext cx="104805" cy="110179"/>
            </a:xfrm>
            <a:custGeom>
              <a:avLst/>
              <a:gdLst>
                <a:gd name="T0" fmla="*/ 5 w 33"/>
                <a:gd name="T1" fmla="*/ 18 h 35"/>
                <a:gd name="T2" fmla="*/ 32 w 33"/>
                <a:gd name="T3" fmla="*/ 10 h 35"/>
                <a:gd name="T4" fmla="*/ 24 w 33"/>
                <a:gd name="T5" fmla="*/ 18 h 35"/>
                <a:gd name="T6" fmla="*/ 0 w 33"/>
                <a:gd name="T7" fmla="*/ 7 h 35"/>
                <a:gd name="T8" fmla="*/ 5 w 33"/>
                <a:gd name="T9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5">
                  <a:moveTo>
                    <a:pt x="5" y="18"/>
                  </a:moveTo>
                  <a:cubicBezTo>
                    <a:pt x="10" y="7"/>
                    <a:pt x="33" y="35"/>
                    <a:pt x="32" y="10"/>
                  </a:cubicBezTo>
                  <a:cubicBezTo>
                    <a:pt x="27" y="9"/>
                    <a:pt x="27" y="15"/>
                    <a:pt x="24" y="18"/>
                  </a:cubicBezTo>
                  <a:cubicBezTo>
                    <a:pt x="17" y="9"/>
                    <a:pt x="4" y="0"/>
                    <a:pt x="0" y="7"/>
                  </a:cubicBezTo>
                  <a:cubicBezTo>
                    <a:pt x="5" y="7"/>
                    <a:pt x="2" y="17"/>
                    <a:pt x="5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60" name="Freeform 135"/>
            <p:cNvSpPr>
              <a:spLocks/>
            </p:cNvSpPr>
            <p:nvPr userDrawn="1"/>
          </p:nvSpPr>
          <p:spPr bwMode="auto">
            <a:xfrm>
              <a:off x="4878030" y="1748092"/>
              <a:ext cx="79275" cy="48371"/>
            </a:xfrm>
            <a:custGeom>
              <a:avLst/>
              <a:gdLst>
                <a:gd name="T0" fmla="*/ 18 w 25"/>
                <a:gd name="T1" fmla="*/ 3 h 15"/>
                <a:gd name="T2" fmla="*/ 5 w 25"/>
                <a:gd name="T3" fmla="*/ 0 h 15"/>
                <a:gd name="T4" fmla="*/ 13 w 25"/>
                <a:gd name="T5" fmla="*/ 11 h 15"/>
                <a:gd name="T6" fmla="*/ 18 w 25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5">
                  <a:moveTo>
                    <a:pt x="18" y="3"/>
                  </a:moveTo>
                  <a:cubicBezTo>
                    <a:pt x="16" y="14"/>
                    <a:pt x="9" y="0"/>
                    <a:pt x="5" y="0"/>
                  </a:cubicBezTo>
                  <a:cubicBezTo>
                    <a:pt x="0" y="13"/>
                    <a:pt x="14" y="2"/>
                    <a:pt x="13" y="11"/>
                  </a:cubicBezTo>
                  <a:cubicBezTo>
                    <a:pt x="18" y="15"/>
                    <a:pt x="25" y="5"/>
                    <a:pt x="1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61" name="Freeform 136"/>
            <p:cNvSpPr>
              <a:spLocks/>
            </p:cNvSpPr>
            <p:nvPr userDrawn="1"/>
          </p:nvSpPr>
          <p:spPr bwMode="auto">
            <a:xfrm>
              <a:off x="4804129" y="1773622"/>
              <a:ext cx="146458" cy="73901"/>
            </a:xfrm>
            <a:custGeom>
              <a:avLst/>
              <a:gdLst>
                <a:gd name="T0" fmla="*/ 3 w 46"/>
                <a:gd name="T1" fmla="*/ 18 h 23"/>
                <a:gd name="T2" fmla="*/ 14 w 46"/>
                <a:gd name="T3" fmla="*/ 18 h 23"/>
                <a:gd name="T4" fmla="*/ 33 w 46"/>
                <a:gd name="T5" fmla="*/ 15 h 23"/>
                <a:gd name="T6" fmla="*/ 33 w 46"/>
                <a:gd name="T7" fmla="*/ 14 h 23"/>
                <a:gd name="T8" fmla="*/ 33 w 46"/>
                <a:gd name="T9" fmla="*/ 15 h 23"/>
                <a:gd name="T10" fmla="*/ 44 w 46"/>
                <a:gd name="T11" fmla="*/ 14 h 23"/>
                <a:gd name="T12" fmla="*/ 36 w 46"/>
                <a:gd name="T13" fmla="*/ 3 h 23"/>
                <a:gd name="T14" fmla="*/ 3 w 46"/>
                <a:gd name="T15" fmla="*/ 7 h 23"/>
                <a:gd name="T16" fmla="*/ 3 w 46"/>
                <a:gd name="T17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23">
                  <a:moveTo>
                    <a:pt x="3" y="18"/>
                  </a:moveTo>
                  <a:cubicBezTo>
                    <a:pt x="11" y="16"/>
                    <a:pt x="11" y="13"/>
                    <a:pt x="14" y="18"/>
                  </a:cubicBezTo>
                  <a:cubicBezTo>
                    <a:pt x="17" y="23"/>
                    <a:pt x="30" y="17"/>
                    <a:pt x="33" y="15"/>
                  </a:cubicBezTo>
                  <a:cubicBezTo>
                    <a:pt x="32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5"/>
                  </a:cubicBezTo>
                  <a:cubicBezTo>
                    <a:pt x="34" y="17"/>
                    <a:pt x="46" y="22"/>
                    <a:pt x="44" y="14"/>
                  </a:cubicBezTo>
                  <a:cubicBezTo>
                    <a:pt x="41" y="10"/>
                    <a:pt x="34" y="13"/>
                    <a:pt x="36" y="3"/>
                  </a:cubicBezTo>
                  <a:cubicBezTo>
                    <a:pt x="29" y="14"/>
                    <a:pt x="7" y="0"/>
                    <a:pt x="3" y="7"/>
                  </a:cubicBezTo>
                  <a:cubicBezTo>
                    <a:pt x="16" y="8"/>
                    <a:pt x="0" y="8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62" name="Freeform 137"/>
            <p:cNvSpPr>
              <a:spLocks/>
            </p:cNvSpPr>
            <p:nvPr userDrawn="1"/>
          </p:nvSpPr>
          <p:spPr bwMode="auto">
            <a:xfrm>
              <a:off x="4953274" y="1726594"/>
              <a:ext cx="486402" cy="151833"/>
            </a:xfrm>
            <a:custGeom>
              <a:avLst/>
              <a:gdLst>
                <a:gd name="T0" fmla="*/ 7 w 153"/>
                <a:gd name="T1" fmla="*/ 25 h 48"/>
                <a:gd name="T2" fmla="*/ 13 w 153"/>
                <a:gd name="T3" fmla="*/ 22 h 48"/>
                <a:gd name="T4" fmla="*/ 32 w 153"/>
                <a:gd name="T5" fmla="*/ 29 h 48"/>
                <a:gd name="T6" fmla="*/ 37 w 153"/>
                <a:gd name="T7" fmla="*/ 33 h 48"/>
                <a:gd name="T8" fmla="*/ 37 w 153"/>
                <a:gd name="T9" fmla="*/ 36 h 48"/>
                <a:gd name="T10" fmla="*/ 69 w 153"/>
                <a:gd name="T11" fmla="*/ 40 h 48"/>
                <a:gd name="T12" fmla="*/ 94 w 153"/>
                <a:gd name="T13" fmla="*/ 40 h 48"/>
                <a:gd name="T14" fmla="*/ 104 w 153"/>
                <a:gd name="T15" fmla="*/ 36 h 48"/>
                <a:gd name="T16" fmla="*/ 115 w 153"/>
                <a:gd name="T17" fmla="*/ 36 h 48"/>
                <a:gd name="T18" fmla="*/ 115 w 153"/>
                <a:gd name="T19" fmla="*/ 33 h 48"/>
                <a:gd name="T20" fmla="*/ 123 w 153"/>
                <a:gd name="T21" fmla="*/ 36 h 48"/>
                <a:gd name="T22" fmla="*/ 115 w 153"/>
                <a:gd name="T23" fmla="*/ 40 h 48"/>
                <a:gd name="T24" fmla="*/ 131 w 153"/>
                <a:gd name="T25" fmla="*/ 36 h 48"/>
                <a:gd name="T26" fmla="*/ 139 w 153"/>
                <a:gd name="T27" fmla="*/ 40 h 48"/>
                <a:gd name="T28" fmla="*/ 150 w 153"/>
                <a:gd name="T29" fmla="*/ 40 h 48"/>
                <a:gd name="T30" fmla="*/ 153 w 153"/>
                <a:gd name="T31" fmla="*/ 33 h 48"/>
                <a:gd name="T32" fmla="*/ 142 w 153"/>
                <a:gd name="T33" fmla="*/ 33 h 48"/>
                <a:gd name="T34" fmla="*/ 145 w 153"/>
                <a:gd name="T35" fmla="*/ 22 h 48"/>
                <a:gd name="T36" fmla="*/ 126 w 153"/>
                <a:gd name="T37" fmla="*/ 33 h 48"/>
                <a:gd name="T38" fmla="*/ 131 w 153"/>
                <a:gd name="T39" fmla="*/ 18 h 48"/>
                <a:gd name="T40" fmla="*/ 118 w 153"/>
                <a:gd name="T41" fmla="*/ 22 h 48"/>
                <a:gd name="T42" fmla="*/ 118 w 153"/>
                <a:gd name="T43" fmla="*/ 25 h 48"/>
                <a:gd name="T44" fmla="*/ 112 w 153"/>
                <a:gd name="T45" fmla="*/ 18 h 48"/>
                <a:gd name="T46" fmla="*/ 107 w 153"/>
                <a:gd name="T47" fmla="*/ 25 h 48"/>
                <a:gd name="T48" fmla="*/ 104 w 153"/>
                <a:gd name="T49" fmla="*/ 18 h 48"/>
                <a:gd name="T50" fmla="*/ 102 w 153"/>
                <a:gd name="T51" fmla="*/ 25 h 48"/>
                <a:gd name="T52" fmla="*/ 102 w 153"/>
                <a:gd name="T53" fmla="*/ 18 h 48"/>
                <a:gd name="T54" fmla="*/ 88 w 153"/>
                <a:gd name="T55" fmla="*/ 29 h 48"/>
                <a:gd name="T56" fmla="*/ 91 w 153"/>
                <a:gd name="T57" fmla="*/ 10 h 48"/>
                <a:gd name="T58" fmla="*/ 72 w 153"/>
                <a:gd name="T59" fmla="*/ 18 h 48"/>
                <a:gd name="T60" fmla="*/ 75 w 153"/>
                <a:gd name="T61" fmla="*/ 18 h 48"/>
                <a:gd name="T62" fmla="*/ 83 w 153"/>
                <a:gd name="T63" fmla="*/ 14 h 48"/>
                <a:gd name="T64" fmla="*/ 85 w 153"/>
                <a:gd name="T65" fmla="*/ 25 h 48"/>
                <a:gd name="T66" fmla="*/ 32 w 153"/>
                <a:gd name="T67" fmla="*/ 25 h 48"/>
                <a:gd name="T68" fmla="*/ 24 w 153"/>
                <a:gd name="T69" fmla="*/ 18 h 48"/>
                <a:gd name="T70" fmla="*/ 21 w 153"/>
                <a:gd name="T71" fmla="*/ 10 h 48"/>
                <a:gd name="T72" fmla="*/ 13 w 153"/>
                <a:gd name="T73" fmla="*/ 18 h 48"/>
                <a:gd name="T74" fmla="*/ 7 w 153"/>
                <a:gd name="T75" fmla="*/ 2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3" h="48">
                  <a:moveTo>
                    <a:pt x="7" y="25"/>
                  </a:moveTo>
                  <a:cubicBezTo>
                    <a:pt x="8" y="22"/>
                    <a:pt x="10" y="21"/>
                    <a:pt x="13" y="22"/>
                  </a:cubicBezTo>
                  <a:cubicBezTo>
                    <a:pt x="12" y="34"/>
                    <a:pt x="27" y="35"/>
                    <a:pt x="32" y="29"/>
                  </a:cubicBezTo>
                  <a:cubicBezTo>
                    <a:pt x="29" y="39"/>
                    <a:pt x="37" y="33"/>
                    <a:pt x="37" y="33"/>
                  </a:cubicBezTo>
                  <a:cubicBezTo>
                    <a:pt x="37" y="33"/>
                    <a:pt x="37" y="36"/>
                    <a:pt x="37" y="36"/>
                  </a:cubicBezTo>
                  <a:cubicBezTo>
                    <a:pt x="46" y="38"/>
                    <a:pt x="64" y="39"/>
                    <a:pt x="69" y="40"/>
                  </a:cubicBezTo>
                  <a:cubicBezTo>
                    <a:pt x="84" y="43"/>
                    <a:pt x="84" y="41"/>
                    <a:pt x="94" y="40"/>
                  </a:cubicBezTo>
                  <a:cubicBezTo>
                    <a:pt x="99" y="39"/>
                    <a:pt x="101" y="40"/>
                    <a:pt x="104" y="36"/>
                  </a:cubicBezTo>
                  <a:cubicBezTo>
                    <a:pt x="106" y="35"/>
                    <a:pt x="113" y="37"/>
                    <a:pt x="115" y="36"/>
                  </a:cubicBezTo>
                  <a:cubicBezTo>
                    <a:pt x="115" y="36"/>
                    <a:pt x="115" y="33"/>
                    <a:pt x="115" y="33"/>
                  </a:cubicBezTo>
                  <a:cubicBezTo>
                    <a:pt x="116" y="31"/>
                    <a:pt x="124" y="34"/>
                    <a:pt x="123" y="36"/>
                  </a:cubicBezTo>
                  <a:cubicBezTo>
                    <a:pt x="120" y="37"/>
                    <a:pt x="115" y="36"/>
                    <a:pt x="115" y="40"/>
                  </a:cubicBezTo>
                  <a:cubicBezTo>
                    <a:pt x="121" y="48"/>
                    <a:pt x="126" y="39"/>
                    <a:pt x="131" y="36"/>
                  </a:cubicBezTo>
                  <a:cubicBezTo>
                    <a:pt x="136" y="43"/>
                    <a:pt x="136" y="36"/>
                    <a:pt x="139" y="40"/>
                  </a:cubicBezTo>
                  <a:cubicBezTo>
                    <a:pt x="141" y="43"/>
                    <a:pt x="148" y="38"/>
                    <a:pt x="150" y="40"/>
                  </a:cubicBezTo>
                  <a:cubicBezTo>
                    <a:pt x="151" y="37"/>
                    <a:pt x="150" y="33"/>
                    <a:pt x="153" y="33"/>
                  </a:cubicBezTo>
                  <a:cubicBezTo>
                    <a:pt x="148" y="26"/>
                    <a:pt x="149" y="33"/>
                    <a:pt x="142" y="33"/>
                  </a:cubicBezTo>
                  <a:cubicBezTo>
                    <a:pt x="137" y="24"/>
                    <a:pt x="143" y="29"/>
                    <a:pt x="145" y="22"/>
                  </a:cubicBezTo>
                  <a:cubicBezTo>
                    <a:pt x="135" y="18"/>
                    <a:pt x="130" y="40"/>
                    <a:pt x="126" y="33"/>
                  </a:cubicBezTo>
                  <a:cubicBezTo>
                    <a:pt x="122" y="21"/>
                    <a:pt x="134" y="30"/>
                    <a:pt x="131" y="18"/>
                  </a:cubicBezTo>
                  <a:cubicBezTo>
                    <a:pt x="123" y="19"/>
                    <a:pt x="121" y="15"/>
                    <a:pt x="118" y="22"/>
                  </a:cubicBezTo>
                  <a:cubicBezTo>
                    <a:pt x="118" y="22"/>
                    <a:pt x="122" y="24"/>
                    <a:pt x="118" y="25"/>
                  </a:cubicBezTo>
                  <a:cubicBezTo>
                    <a:pt x="118" y="25"/>
                    <a:pt x="114" y="17"/>
                    <a:pt x="112" y="18"/>
                  </a:cubicBezTo>
                  <a:cubicBezTo>
                    <a:pt x="111" y="18"/>
                    <a:pt x="112" y="30"/>
                    <a:pt x="107" y="25"/>
                  </a:cubicBezTo>
                  <a:cubicBezTo>
                    <a:pt x="106" y="22"/>
                    <a:pt x="107" y="18"/>
                    <a:pt x="104" y="18"/>
                  </a:cubicBezTo>
                  <a:cubicBezTo>
                    <a:pt x="104" y="20"/>
                    <a:pt x="104" y="26"/>
                    <a:pt x="102" y="25"/>
                  </a:cubicBezTo>
                  <a:cubicBezTo>
                    <a:pt x="101" y="25"/>
                    <a:pt x="102" y="18"/>
                    <a:pt x="102" y="18"/>
                  </a:cubicBezTo>
                  <a:cubicBezTo>
                    <a:pt x="96" y="14"/>
                    <a:pt x="96" y="25"/>
                    <a:pt x="88" y="29"/>
                  </a:cubicBezTo>
                  <a:cubicBezTo>
                    <a:pt x="89" y="25"/>
                    <a:pt x="99" y="15"/>
                    <a:pt x="91" y="10"/>
                  </a:cubicBezTo>
                  <a:cubicBezTo>
                    <a:pt x="87" y="22"/>
                    <a:pt x="73" y="0"/>
                    <a:pt x="72" y="18"/>
                  </a:cubicBezTo>
                  <a:cubicBezTo>
                    <a:pt x="75" y="19"/>
                    <a:pt x="78" y="22"/>
                    <a:pt x="75" y="18"/>
                  </a:cubicBezTo>
                  <a:cubicBezTo>
                    <a:pt x="75" y="14"/>
                    <a:pt x="79" y="14"/>
                    <a:pt x="83" y="14"/>
                  </a:cubicBezTo>
                  <a:cubicBezTo>
                    <a:pt x="83" y="19"/>
                    <a:pt x="84" y="22"/>
                    <a:pt x="85" y="25"/>
                  </a:cubicBezTo>
                  <a:cubicBezTo>
                    <a:pt x="61" y="26"/>
                    <a:pt x="50" y="22"/>
                    <a:pt x="32" y="25"/>
                  </a:cubicBezTo>
                  <a:cubicBezTo>
                    <a:pt x="28" y="24"/>
                    <a:pt x="27" y="19"/>
                    <a:pt x="24" y="18"/>
                  </a:cubicBezTo>
                  <a:cubicBezTo>
                    <a:pt x="23" y="24"/>
                    <a:pt x="20" y="18"/>
                    <a:pt x="21" y="10"/>
                  </a:cubicBezTo>
                  <a:cubicBezTo>
                    <a:pt x="16" y="9"/>
                    <a:pt x="16" y="15"/>
                    <a:pt x="13" y="18"/>
                  </a:cubicBezTo>
                  <a:cubicBezTo>
                    <a:pt x="14" y="8"/>
                    <a:pt x="0" y="26"/>
                    <a:pt x="7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63" name="Freeform 138"/>
            <p:cNvSpPr>
              <a:spLocks/>
            </p:cNvSpPr>
            <p:nvPr userDrawn="1"/>
          </p:nvSpPr>
          <p:spPr bwMode="auto">
            <a:xfrm>
              <a:off x="5439676" y="1792433"/>
              <a:ext cx="116898" cy="67183"/>
            </a:xfrm>
            <a:custGeom>
              <a:avLst/>
              <a:gdLst>
                <a:gd name="T0" fmla="*/ 24 w 37"/>
                <a:gd name="T1" fmla="*/ 15 h 21"/>
                <a:gd name="T2" fmla="*/ 35 w 37"/>
                <a:gd name="T3" fmla="*/ 19 h 21"/>
                <a:gd name="T4" fmla="*/ 37 w 37"/>
                <a:gd name="T5" fmla="*/ 4 h 21"/>
                <a:gd name="T6" fmla="*/ 16 w 37"/>
                <a:gd name="T7" fmla="*/ 12 h 21"/>
                <a:gd name="T8" fmla="*/ 10 w 37"/>
                <a:gd name="T9" fmla="*/ 8 h 21"/>
                <a:gd name="T10" fmla="*/ 8 w 37"/>
                <a:gd name="T11" fmla="*/ 12 h 21"/>
                <a:gd name="T12" fmla="*/ 0 w 37"/>
                <a:gd name="T13" fmla="*/ 12 h 21"/>
                <a:gd name="T14" fmla="*/ 0 w 37"/>
                <a:gd name="T15" fmla="*/ 19 h 21"/>
                <a:gd name="T16" fmla="*/ 24 w 37"/>
                <a:gd name="T1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21">
                  <a:moveTo>
                    <a:pt x="24" y="15"/>
                  </a:moveTo>
                  <a:cubicBezTo>
                    <a:pt x="28" y="16"/>
                    <a:pt x="29" y="21"/>
                    <a:pt x="35" y="19"/>
                  </a:cubicBezTo>
                  <a:cubicBezTo>
                    <a:pt x="34" y="13"/>
                    <a:pt x="35" y="8"/>
                    <a:pt x="37" y="4"/>
                  </a:cubicBezTo>
                  <a:cubicBezTo>
                    <a:pt x="27" y="0"/>
                    <a:pt x="22" y="10"/>
                    <a:pt x="16" y="12"/>
                  </a:cubicBezTo>
                  <a:cubicBezTo>
                    <a:pt x="13" y="12"/>
                    <a:pt x="13" y="8"/>
                    <a:pt x="10" y="8"/>
                  </a:cubicBezTo>
                  <a:cubicBezTo>
                    <a:pt x="11" y="8"/>
                    <a:pt x="9" y="11"/>
                    <a:pt x="8" y="12"/>
                  </a:cubicBezTo>
                  <a:cubicBezTo>
                    <a:pt x="7" y="12"/>
                    <a:pt x="0" y="12"/>
                    <a:pt x="0" y="12"/>
                  </a:cubicBezTo>
                  <a:cubicBezTo>
                    <a:pt x="0" y="12"/>
                    <a:pt x="0" y="19"/>
                    <a:pt x="0" y="19"/>
                  </a:cubicBezTo>
                  <a:cubicBezTo>
                    <a:pt x="7" y="19"/>
                    <a:pt x="15" y="14"/>
                    <a:pt x="2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64" name="Freeform 139"/>
            <p:cNvSpPr>
              <a:spLocks/>
            </p:cNvSpPr>
            <p:nvPr userDrawn="1"/>
          </p:nvSpPr>
          <p:spPr bwMode="auto">
            <a:xfrm>
              <a:off x="9003041" y="1796464"/>
              <a:ext cx="149145" cy="139740"/>
            </a:xfrm>
            <a:custGeom>
              <a:avLst/>
              <a:gdLst>
                <a:gd name="T0" fmla="*/ 36 w 47"/>
                <a:gd name="T1" fmla="*/ 11 h 44"/>
                <a:gd name="T2" fmla="*/ 36 w 47"/>
                <a:gd name="T3" fmla="*/ 3 h 44"/>
                <a:gd name="T4" fmla="*/ 25 w 47"/>
                <a:gd name="T5" fmla="*/ 0 h 44"/>
                <a:gd name="T6" fmla="*/ 22 w 47"/>
                <a:gd name="T7" fmla="*/ 18 h 44"/>
                <a:gd name="T8" fmla="*/ 9 w 47"/>
                <a:gd name="T9" fmla="*/ 18 h 44"/>
                <a:gd name="T10" fmla="*/ 6 w 47"/>
                <a:gd name="T11" fmla="*/ 18 h 44"/>
                <a:gd name="T12" fmla="*/ 14 w 47"/>
                <a:gd name="T13" fmla="*/ 44 h 44"/>
                <a:gd name="T14" fmla="*/ 19 w 47"/>
                <a:gd name="T15" fmla="*/ 26 h 44"/>
                <a:gd name="T16" fmla="*/ 30 w 47"/>
                <a:gd name="T17" fmla="*/ 29 h 44"/>
                <a:gd name="T18" fmla="*/ 46 w 47"/>
                <a:gd name="T19" fmla="*/ 18 h 44"/>
                <a:gd name="T20" fmla="*/ 36 w 47"/>
                <a:gd name="T21" fmla="*/ 1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44">
                  <a:moveTo>
                    <a:pt x="36" y="11"/>
                  </a:moveTo>
                  <a:cubicBezTo>
                    <a:pt x="35" y="9"/>
                    <a:pt x="36" y="4"/>
                    <a:pt x="36" y="3"/>
                  </a:cubicBezTo>
                  <a:cubicBezTo>
                    <a:pt x="33" y="0"/>
                    <a:pt x="26" y="5"/>
                    <a:pt x="25" y="0"/>
                  </a:cubicBezTo>
                  <a:cubicBezTo>
                    <a:pt x="17" y="6"/>
                    <a:pt x="28" y="18"/>
                    <a:pt x="22" y="18"/>
                  </a:cubicBezTo>
                  <a:cubicBezTo>
                    <a:pt x="22" y="10"/>
                    <a:pt x="15" y="23"/>
                    <a:pt x="9" y="18"/>
                  </a:cubicBezTo>
                  <a:cubicBezTo>
                    <a:pt x="9" y="16"/>
                    <a:pt x="7" y="14"/>
                    <a:pt x="6" y="18"/>
                  </a:cubicBezTo>
                  <a:cubicBezTo>
                    <a:pt x="18" y="21"/>
                    <a:pt x="0" y="42"/>
                    <a:pt x="14" y="44"/>
                  </a:cubicBezTo>
                  <a:cubicBezTo>
                    <a:pt x="19" y="44"/>
                    <a:pt x="9" y="25"/>
                    <a:pt x="19" y="26"/>
                  </a:cubicBezTo>
                  <a:cubicBezTo>
                    <a:pt x="20" y="31"/>
                    <a:pt x="26" y="29"/>
                    <a:pt x="30" y="29"/>
                  </a:cubicBezTo>
                  <a:cubicBezTo>
                    <a:pt x="26" y="14"/>
                    <a:pt x="47" y="29"/>
                    <a:pt x="46" y="18"/>
                  </a:cubicBezTo>
                  <a:cubicBezTo>
                    <a:pt x="44" y="16"/>
                    <a:pt x="36" y="15"/>
                    <a:pt x="3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65" name="Freeform 140"/>
            <p:cNvSpPr>
              <a:spLocks/>
            </p:cNvSpPr>
            <p:nvPr userDrawn="1"/>
          </p:nvSpPr>
          <p:spPr bwMode="auto">
            <a:xfrm>
              <a:off x="5772902" y="1805869"/>
              <a:ext cx="40310" cy="41653"/>
            </a:xfrm>
            <a:custGeom>
              <a:avLst/>
              <a:gdLst>
                <a:gd name="T0" fmla="*/ 13 w 13"/>
                <a:gd name="T1" fmla="*/ 4 h 13"/>
                <a:gd name="T2" fmla="*/ 0 w 13"/>
                <a:gd name="T3" fmla="*/ 4 h 13"/>
                <a:gd name="T4" fmla="*/ 13 w 13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13" y="4"/>
                  </a:moveTo>
                  <a:cubicBezTo>
                    <a:pt x="8" y="2"/>
                    <a:pt x="0" y="0"/>
                    <a:pt x="0" y="4"/>
                  </a:cubicBezTo>
                  <a:cubicBezTo>
                    <a:pt x="1" y="6"/>
                    <a:pt x="12" y="13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66" name="Freeform 141"/>
            <p:cNvSpPr>
              <a:spLocks/>
            </p:cNvSpPr>
            <p:nvPr userDrawn="1"/>
          </p:nvSpPr>
          <p:spPr bwMode="auto">
            <a:xfrm>
              <a:off x="8429301" y="1770934"/>
              <a:ext cx="30904" cy="104805"/>
            </a:xfrm>
            <a:custGeom>
              <a:avLst/>
              <a:gdLst>
                <a:gd name="T0" fmla="*/ 10 w 10"/>
                <a:gd name="T1" fmla="*/ 30 h 33"/>
                <a:gd name="T2" fmla="*/ 4 w 10"/>
                <a:gd name="T3" fmla="*/ 19 h 33"/>
                <a:gd name="T4" fmla="*/ 10 w 10"/>
                <a:gd name="T5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33">
                  <a:moveTo>
                    <a:pt x="10" y="30"/>
                  </a:moveTo>
                  <a:cubicBezTo>
                    <a:pt x="10" y="22"/>
                    <a:pt x="6" y="22"/>
                    <a:pt x="4" y="19"/>
                  </a:cubicBezTo>
                  <a:cubicBezTo>
                    <a:pt x="0" y="0"/>
                    <a:pt x="1" y="33"/>
                    <a:pt x="1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67" name="Freeform 142"/>
            <p:cNvSpPr>
              <a:spLocks/>
            </p:cNvSpPr>
            <p:nvPr userDrawn="1"/>
          </p:nvSpPr>
          <p:spPr bwMode="auto">
            <a:xfrm>
              <a:off x="8485735" y="1817962"/>
              <a:ext cx="25529" cy="67183"/>
            </a:xfrm>
            <a:custGeom>
              <a:avLst/>
              <a:gdLst>
                <a:gd name="T0" fmla="*/ 5 w 8"/>
                <a:gd name="T1" fmla="*/ 7 h 21"/>
                <a:gd name="T2" fmla="*/ 8 w 8"/>
                <a:gd name="T3" fmla="*/ 0 h 21"/>
                <a:gd name="T4" fmla="*/ 2 w 8"/>
                <a:gd name="T5" fmla="*/ 7 h 21"/>
                <a:gd name="T6" fmla="*/ 5 w 8"/>
                <a:gd name="T7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1">
                  <a:moveTo>
                    <a:pt x="5" y="7"/>
                  </a:moveTo>
                  <a:cubicBezTo>
                    <a:pt x="7" y="7"/>
                    <a:pt x="8" y="4"/>
                    <a:pt x="8" y="0"/>
                  </a:cubicBezTo>
                  <a:cubicBezTo>
                    <a:pt x="4" y="0"/>
                    <a:pt x="5" y="6"/>
                    <a:pt x="2" y="7"/>
                  </a:cubicBezTo>
                  <a:cubicBezTo>
                    <a:pt x="0" y="21"/>
                    <a:pt x="7" y="21"/>
                    <a:pt x="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68" name="Freeform 143"/>
            <p:cNvSpPr>
              <a:spLocks/>
            </p:cNvSpPr>
            <p:nvPr userDrawn="1"/>
          </p:nvSpPr>
          <p:spPr bwMode="auto">
            <a:xfrm>
              <a:off x="8651004" y="1817962"/>
              <a:ext cx="142427" cy="139740"/>
            </a:xfrm>
            <a:custGeom>
              <a:avLst/>
              <a:gdLst>
                <a:gd name="T0" fmla="*/ 9 w 45"/>
                <a:gd name="T1" fmla="*/ 37 h 44"/>
                <a:gd name="T2" fmla="*/ 20 w 45"/>
                <a:gd name="T3" fmla="*/ 33 h 44"/>
                <a:gd name="T4" fmla="*/ 17 w 45"/>
                <a:gd name="T5" fmla="*/ 30 h 44"/>
                <a:gd name="T6" fmla="*/ 31 w 45"/>
                <a:gd name="T7" fmla="*/ 30 h 44"/>
                <a:gd name="T8" fmla="*/ 36 w 45"/>
                <a:gd name="T9" fmla="*/ 44 h 44"/>
                <a:gd name="T10" fmla="*/ 36 w 45"/>
                <a:gd name="T11" fmla="*/ 0 h 44"/>
                <a:gd name="T12" fmla="*/ 17 w 45"/>
                <a:gd name="T13" fmla="*/ 22 h 44"/>
                <a:gd name="T14" fmla="*/ 1 w 45"/>
                <a:gd name="T15" fmla="*/ 19 h 44"/>
                <a:gd name="T16" fmla="*/ 9 w 45"/>
                <a:gd name="T17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44">
                  <a:moveTo>
                    <a:pt x="9" y="37"/>
                  </a:moveTo>
                  <a:cubicBezTo>
                    <a:pt x="10" y="24"/>
                    <a:pt x="21" y="44"/>
                    <a:pt x="20" y="33"/>
                  </a:cubicBezTo>
                  <a:cubicBezTo>
                    <a:pt x="19" y="33"/>
                    <a:pt x="17" y="33"/>
                    <a:pt x="17" y="30"/>
                  </a:cubicBezTo>
                  <a:cubicBezTo>
                    <a:pt x="20" y="19"/>
                    <a:pt x="26" y="32"/>
                    <a:pt x="31" y="30"/>
                  </a:cubicBezTo>
                  <a:cubicBezTo>
                    <a:pt x="30" y="38"/>
                    <a:pt x="32" y="43"/>
                    <a:pt x="36" y="44"/>
                  </a:cubicBezTo>
                  <a:cubicBezTo>
                    <a:pt x="29" y="30"/>
                    <a:pt x="45" y="15"/>
                    <a:pt x="36" y="0"/>
                  </a:cubicBezTo>
                  <a:cubicBezTo>
                    <a:pt x="26" y="1"/>
                    <a:pt x="24" y="15"/>
                    <a:pt x="17" y="22"/>
                  </a:cubicBezTo>
                  <a:cubicBezTo>
                    <a:pt x="8" y="21"/>
                    <a:pt x="11" y="12"/>
                    <a:pt x="1" y="19"/>
                  </a:cubicBezTo>
                  <a:cubicBezTo>
                    <a:pt x="0" y="30"/>
                    <a:pt x="5" y="34"/>
                    <a:pt x="9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69" name="Freeform 144"/>
            <p:cNvSpPr>
              <a:spLocks/>
            </p:cNvSpPr>
            <p:nvPr userDrawn="1"/>
          </p:nvSpPr>
          <p:spPr bwMode="auto">
            <a:xfrm>
              <a:off x="5568667" y="1917392"/>
              <a:ext cx="48371" cy="30904"/>
            </a:xfrm>
            <a:custGeom>
              <a:avLst/>
              <a:gdLst>
                <a:gd name="T0" fmla="*/ 10 w 15"/>
                <a:gd name="T1" fmla="*/ 6 h 10"/>
                <a:gd name="T2" fmla="*/ 15 w 15"/>
                <a:gd name="T3" fmla="*/ 10 h 10"/>
                <a:gd name="T4" fmla="*/ 10 w 15"/>
                <a:gd name="T5" fmla="*/ 2 h 10"/>
                <a:gd name="T6" fmla="*/ 10 w 15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0">
                  <a:moveTo>
                    <a:pt x="10" y="6"/>
                  </a:moveTo>
                  <a:cubicBezTo>
                    <a:pt x="10" y="9"/>
                    <a:pt x="12" y="10"/>
                    <a:pt x="15" y="10"/>
                  </a:cubicBezTo>
                  <a:cubicBezTo>
                    <a:pt x="15" y="5"/>
                    <a:pt x="10" y="6"/>
                    <a:pt x="10" y="2"/>
                  </a:cubicBezTo>
                  <a:cubicBezTo>
                    <a:pt x="0" y="0"/>
                    <a:pt x="0" y="9"/>
                    <a:pt x="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70" name="Freeform 145"/>
            <p:cNvSpPr>
              <a:spLocks/>
            </p:cNvSpPr>
            <p:nvPr userDrawn="1"/>
          </p:nvSpPr>
          <p:spPr bwMode="auto">
            <a:xfrm>
              <a:off x="6854541" y="1948296"/>
              <a:ext cx="92712" cy="158551"/>
            </a:xfrm>
            <a:custGeom>
              <a:avLst/>
              <a:gdLst>
                <a:gd name="T0" fmla="*/ 14 w 29"/>
                <a:gd name="T1" fmla="*/ 40 h 50"/>
                <a:gd name="T2" fmla="*/ 5 w 29"/>
                <a:gd name="T3" fmla="*/ 33 h 50"/>
                <a:gd name="T4" fmla="*/ 27 w 29"/>
                <a:gd name="T5" fmla="*/ 37 h 50"/>
                <a:gd name="T6" fmla="*/ 19 w 29"/>
                <a:gd name="T7" fmla="*/ 22 h 50"/>
                <a:gd name="T8" fmla="*/ 19 w 29"/>
                <a:gd name="T9" fmla="*/ 7 h 50"/>
                <a:gd name="T10" fmla="*/ 5 w 29"/>
                <a:gd name="T11" fmla="*/ 0 h 50"/>
                <a:gd name="T12" fmla="*/ 3 w 29"/>
                <a:gd name="T13" fmla="*/ 14 h 50"/>
                <a:gd name="T14" fmla="*/ 11 w 29"/>
                <a:gd name="T15" fmla="*/ 26 h 50"/>
                <a:gd name="T16" fmla="*/ 3 w 29"/>
                <a:gd name="T17" fmla="*/ 18 h 50"/>
                <a:gd name="T18" fmla="*/ 14 w 29"/>
                <a:gd name="T19" fmla="*/ 4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50">
                  <a:moveTo>
                    <a:pt x="14" y="40"/>
                  </a:moveTo>
                  <a:cubicBezTo>
                    <a:pt x="10" y="39"/>
                    <a:pt x="7" y="36"/>
                    <a:pt x="5" y="33"/>
                  </a:cubicBezTo>
                  <a:cubicBezTo>
                    <a:pt x="13" y="30"/>
                    <a:pt x="19" y="29"/>
                    <a:pt x="27" y="37"/>
                  </a:cubicBezTo>
                  <a:cubicBezTo>
                    <a:pt x="29" y="25"/>
                    <a:pt x="20" y="29"/>
                    <a:pt x="19" y="22"/>
                  </a:cubicBezTo>
                  <a:cubicBezTo>
                    <a:pt x="19" y="17"/>
                    <a:pt x="19" y="12"/>
                    <a:pt x="19" y="7"/>
                  </a:cubicBezTo>
                  <a:cubicBezTo>
                    <a:pt x="10" y="10"/>
                    <a:pt x="11" y="1"/>
                    <a:pt x="5" y="0"/>
                  </a:cubicBezTo>
                  <a:cubicBezTo>
                    <a:pt x="6" y="6"/>
                    <a:pt x="5" y="11"/>
                    <a:pt x="3" y="14"/>
                  </a:cubicBezTo>
                  <a:cubicBezTo>
                    <a:pt x="10" y="12"/>
                    <a:pt x="12" y="16"/>
                    <a:pt x="11" y="26"/>
                  </a:cubicBezTo>
                  <a:cubicBezTo>
                    <a:pt x="7" y="25"/>
                    <a:pt x="6" y="19"/>
                    <a:pt x="3" y="18"/>
                  </a:cubicBezTo>
                  <a:cubicBezTo>
                    <a:pt x="0" y="32"/>
                    <a:pt x="8" y="50"/>
                    <a:pt x="14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71" name="Freeform 146"/>
            <p:cNvSpPr>
              <a:spLocks/>
            </p:cNvSpPr>
            <p:nvPr userDrawn="1"/>
          </p:nvSpPr>
          <p:spPr bwMode="auto">
            <a:xfrm>
              <a:off x="6385607" y="1989949"/>
              <a:ext cx="56433" cy="47028"/>
            </a:xfrm>
            <a:custGeom>
              <a:avLst/>
              <a:gdLst>
                <a:gd name="T0" fmla="*/ 6 w 18"/>
                <a:gd name="T1" fmla="*/ 13 h 15"/>
                <a:gd name="T2" fmla="*/ 14 w 18"/>
                <a:gd name="T3" fmla="*/ 1 h 15"/>
                <a:gd name="T4" fmla="*/ 6 w 18"/>
                <a:gd name="T5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6" y="13"/>
                  </a:moveTo>
                  <a:cubicBezTo>
                    <a:pt x="4" y="4"/>
                    <a:pt x="18" y="15"/>
                    <a:pt x="14" y="1"/>
                  </a:cubicBezTo>
                  <a:cubicBezTo>
                    <a:pt x="8" y="0"/>
                    <a:pt x="0" y="11"/>
                    <a:pt x="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72" name="Freeform 147"/>
            <p:cNvSpPr>
              <a:spLocks/>
            </p:cNvSpPr>
            <p:nvPr userDrawn="1"/>
          </p:nvSpPr>
          <p:spPr bwMode="auto">
            <a:xfrm>
              <a:off x="7387971" y="2204934"/>
              <a:ext cx="47028" cy="48371"/>
            </a:xfrm>
            <a:custGeom>
              <a:avLst/>
              <a:gdLst>
                <a:gd name="T0" fmla="*/ 15 w 15"/>
                <a:gd name="T1" fmla="*/ 0 h 15"/>
                <a:gd name="T2" fmla="*/ 1 w 15"/>
                <a:gd name="T3" fmla="*/ 0 h 15"/>
                <a:gd name="T4" fmla="*/ 15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5" y="0"/>
                  </a:moveTo>
                  <a:cubicBezTo>
                    <a:pt x="8" y="0"/>
                    <a:pt x="7" y="7"/>
                    <a:pt x="1" y="0"/>
                  </a:cubicBezTo>
                  <a:cubicBezTo>
                    <a:pt x="0" y="15"/>
                    <a:pt x="14" y="5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73" name="Freeform 148"/>
            <p:cNvSpPr>
              <a:spLocks/>
            </p:cNvSpPr>
            <p:nvPr userDrawn="1"/>
          </p:nvSpPr>
          <p:spPr bwMode="auto">
            <a:xfrm>
              <a:off x="3808483" y="3544555"/>
              <a:ext cx="44341" cy="57777"/>
            </a:xfrm>
            <a:custGeom>
              <a:avLst/>
              <a:gdLst>
                <a:gd name="T0" fmla="*/ 11 w 14"/>
                <a:gd name="T1" fmla="*/ 3 h 18"/>
                <a:gd name="T2" fmla="*/ 13 w 14"/>
                <a:gd name="T3" fmla="*/ 0 h 18"/>
                <a:gd name="T4" fmla="*/ 0 w 14"/>
                <a:gd name="T5" fmla="*/ 14 h 18"/>
                <a:gd name="T6" fmla="*/ 11 w 14"/>
                <a:gd name="T7" fmla="*/ 18 h 18"/>
                <a:gd name="T8" fmla="*/ 11 w 14"/>
                <a:gd name="T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8">
                  <a:moveTo>
                    <a:pt x="11" y="3"/>
                  </a:moveTo>
                  <a:cubicBezTo>
                    <a:pt x="11" y="7"/>
                    <a:pt x="14" y="6"/>
                    <a:pt x="13" y="0"/>
                  </a:cubicBezTo>
                  <a:cubicBezTo>
                    <a:pt x="7" y="2"/>
                    <a:pt x="0" y="3"/>
                    <a:pt x="0" y="14"/>
                  </a:cubicBezTo>
                  <a:cubicBezTo>
                    <a:pt x="5" y="14"/>
                    <a:pt x="8" y="15"/>
                    <a:pt x="11" y="18"/>
                  </a:cubicBezTo>
                  <a:cubicBezTo>
                    <a:pt x="13" y="11"/>
                    <a:pt x="3" y="6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74" name="Freeform 149"/>
            <p:cNvSpPr>
              <a:spLocks/>
            </p:cNvSpPr>
            <p:nvPr userDrawn="1"/>
          </p:nvSpPr>
          <p:spPr bwMode="auto">
            <a:xfrm>
              <a:off x="2630100" y="3649360"/>
              <a:ext cx="79275" cy="48371"/>
            </a:xfrm>
            <a:custGeom>
              <a:avLst/>
              <a:gdLst>
                <a:gd name="T0" fmla="*/ 5 w 25"/>
                <a:gd name="T1" fmla="*/ 11 h 15"/>
                <a:gd name="T2" fmla="*/ 0 w 25"/>
                <a:gd name="T3" fmla="*/ 7 h 15"/>
                <a:gd name="T4" fmla="*/ 5 w 25"/>
                <a:gd name="T5" fmla="*/ 15 h 15"/>
                <a:gd name="T6" fmla="*/ 5 w 25"/>
                <a:gd name="T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5">
                  <a:moveTo>
                    <a:pt x="5" y="11"/>
                  </a:moveTo>
                  <a:cubicBezTo>
                    <a:pt x="4" y="10"/>
                    <a:pt x="2" y="0"/>
                    <a:pt x="0" y="7"/>
                  </a:cubicBezTo>
                  <a:cubicBezTo>
                    <a:pt x="3" y="8"/>
                    <a:pt x="4" y="11"/>
                    <a:pt x="5" y="15"/>
                  </a:cubicBezTo>
                  <a:cubicBezTo>
                    <a:pt x="25" y="12"/>
                    <a:pt x="12" y="15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75" name="Freeform 150"/>
            <p:cNvSpPr>
              <a:spLocks/>
            </p:cNvSpPr>
            <p:nvPr userDrawn="1"/>
          </p:nvSpPr>
          <p:spPr bwMode="auto">
            <a:xfrm>
              <a:off x="3074849" y="4150542"/>
              <a:ext cx="44341" cy="108836"/>
            </a:xfrm>
            <a:custGeom>
              <a:avLst/>
              <a:gdLst>
                <a:gd name="T0" fmla="*/ 5 w 14"/>
                <a:gd name="T1" fmla="*/ 27 h 34"/>
                <a:gd name="T2" fmla="*/ 2 w 14"/>
                <a:gd name="T3" fmla="*/ 19 h 34"/>
                <a:gd name="T4" fmla="*/ 11 w 14"/>
                <a:gd name="T5" fmla="*/ 19 h 34"/>
                <a:gd name="T6" fmla="*/ 8 w 14"/>
                <a:gd name="T7" fmla="*/ 1 h 34"/>
                <a:gd name="T8" fmla="*/ 2 w 14"/>
                <a:gd name="T9" fmla="*/ 5 h 34"/>
                <a:gd name="T10" fmla="*/ 0 w 14"/>
                <a:gd name="T11" fmla="*/ 23 h 34"/>
                <a:gd name="T12" fmla="*/ 5 w 14"/>
                <a:gd name="T1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34">
                  <a:moveTo>
                    <a:pt x="5" y="27"/>
                  </a:moveTo>
                  <a:cubicBezTo>
                    <a:pt x="5" y="23"/>
                    <a:pt x="3" y="22"/>
                    <a:pt x="2" y="19"/>
                  </a:cubicBezTo>
                  <a:cubicBezTo>
                    <a:pt x="5" y="19"/>
                    <a:pt x="8" y="19"/>
                    <a:pt x="11" y="19"/>
                  </a:cubicBezTo>
                  <a:cubicBezTo>
                    <a:pt x="9" y="14"/>
                    <a:pt x="14" y="0"/>
                    <a:pt x="8" y="1"/>
                  </a:cubicBezTo>
                  <a:cubicBezTo>
                    <a:pt x="7" y="4"/>
                    <a:pt x="6" y="5"/>
                    <a:pt x="2" y="5"/>
                  </a:cubicBezTo>
                  <a:cubicBezTo>
                    <a:pt x="3" y="13"/>
                    <a:pt x="2" y="19"/>
                    <a:pt x="0" y="23"/>
                  </a:cubicBezTo>
                  <a:cubicBezTo>
                    <a:pt x="4" y="23"/>
                    <a:pt x="3" y="34"/>
                    <a:pt x="5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76" name="Freeform 151"/>
            <p:cNvSpPr>
              <a:spLocks/>
            </p:cNvSpPr>
            <p:nvPr userDrawn="1"/>
          </p:nvSpPr>
          <p:spPr bwMode="auto">
            <a:xfrm>
              <a:off x="3096347" y="4173384"/>
              <a:ext cx="67183" cy="85994"/>
            </a:xfrm>
            <a:custGeom>
              <a:avLst/>
              <a:gdLst>
                <a:gd name="T0" fmla="*/ 12 w 21"/>
                <a:gd name="T1" fmla="*/ 1 h 27"/>
                <a:gd name="T2" fmla="*/ 6 w 21"/>
                <a:gd name="T3" fmla="*/ 9 h 27"/>
                <a:gd name="T4" fmla="*/ 6 w 21"/>
                <a:gd name="T5" fmla="*/ 16 h 27"/>
                <a:gd name="T6" fmla="*/ 1 w 21"/>
                <a:gd name="T7" fmla="*/ 20 h 27"/>
                <a:gd name="T8" fmla="*/ 9 w 21"/>
                <a:gd name="T9" fmla="*/ 16 h 27"/>
                <a:gd name="T10" fmla="*/ 20 w 21"/>
                <a:gd name="T11" fmla="*/ 16 h 27"/>
                <a:gd name="T12" fmla="*/ 12 w 21"/>
                <a:gd name="T13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7">
                  <a:moveTo>
                    <a:pt x="12" y="1"/>
                  </a:moveTo>
                  <a:cubicBezTo>
                    <a:pt x="14" y="9"/>
                    <a:pt x="8" y="6"/>
                    <a:pt x="6" y="9"/>
                  </a:cubicBezTo>
                  <a:cubicBezTo>
                    <a:pt x="5" y="10"/>
                    <a:pt x="7" y="15"/>
                    <a:pt x="6" y="16"/>
                  </a:cubicBezTo>
                  <a:cubicBezTo>
                    <a:pt x="5" y="18"/>
                    <a:pt x="0" y="15"/>
                    <a:pt x="1" y="20"/>
                  </a:cubicBezTo>
                  <a:cubicBezTo>
                    <a:pt x="7" y="27"/>
                    <a:pt x="4" y="19"/>
                    <a:pt x="9" y="16"/>
                  </a:cubicBezTo>
                  <a:cubicBezTo>
                    <a:pt x="13" y="16"/>
                    <a:pt x="16" y="16"/>
                    <a:pt x="20" y="16"/>
                  </a:cubicBezTo>
                  <a:cubicBezTo>
                    <a:pt x="21" y="7"/>
                    <a:pt x="19" y="0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77" name="Freeform 152"/>
            <p:cNvSpPr>
              <a:spLocks/>
            </p:cNvSpPr>
            <p:nvPr userDrawn="1"/>
          </p:nvSpPr>
          <p:spPr bwMode="auto">
            <a:xfrm>
              <a:off x="2874645" y="4319842"/>
              <a:ext cx="44341" cy="100774"/>
            </a:xfrm>
            <a:custGeom>
              <a:avLst/>
              <a:gdLst>
                <a:gd name="T0" fmla="*/ 12 w 14"/>
                <a:gd name="T1" fmla="*/ 3 h 32"/>
                <a:gd name="T2" fmla="*/ 6 w 14"/>
                <a:gd name="T3" fmla="*/ 18 h 32"/>
                <a:gd name="T4" fmla="*/ 9 w 14"/>
                <a:gd name="T5" fmla="*/ 15 h 32"/>
                <a:gd name="T6" fmla="*/ 12 w 14"/>
                <a:gd name="T7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2">
                  <a:moveTo>
                    <a:pt x="12" y="3"/>
                  </a:moveTo>
                  <a:cubicBezTo>
                    <a:pt x="5" y="0"/>
                    <a:pt x="0" y="16"/>
                    <a:pt x="6" y="18"/>
                  </a:cubicBezTo>
                  <a:cubicBezTo>
                    <a:pt x="7" y="16"/>
                    <a:pt x="7" y="14"/>
                    <a:pt x="9" y="15"/>
                  </a:cubicBezTo>
                  <a:cubicBezTo>
                    <a:pt x="14" y="32"/>
                    <a:pt x="7" y="7"/>
                    <a:pt x="1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78" name="Freeform 153"/>
            <p:cNvSpPr>
              <a:spLocks/>
            </p:cNvSpPr>
            <p:nvPr userDrawn="1"/>
          </p:nvSpPr>
          <p:spPr bwMode="auto">
            <a:xfrm>
              <a:off x="2767153" y="4376275"/>
              <a:ext cx="60464" cy="48371"/>
            </a:xfrm>
            <a:custGeom>
              <a:avLst/>
              <a:gdLst>
                <a:gd name="T0" fmla="*/ 5 w 19"/>
                <a:gd name="T1" fmla="*/ 11 h 15"/>
                <a:gd name="T2" fmla="*/ 0 w 19"/>
                <a:gd name="T3" fmla="*/ 15 h 15"/>
                <a:gd name="T4" fmla="*/ 11 w 19"/>
                <a:gd name="T5" fmla="*/ 15 h 15"/>
                <a:gd name="T6" fmla="*/ 16 w 19"/>
                <a:gd name="T7" fmla="*/ 0 h 15"/>
                <a:gd name="T8" fmla="*/ 5 w 19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5" y="11"/>
                  </a:moveTo>
                  <a:cubicBezTo>
                    <a:pt x="7" y="10"/>
                    <a:pt x="0" y="7"/>
                    <a:pt x="0" y="15"/>
                  </a:cubicBezTo>
                  <a:cubicBezTo>
                    <a:pt x="4" y="15"/>
                    <a:pt x="7" y="15"/>
                    <a:pt x="11" y="15"/>
                  </a:cubicBezTo>
                  <a:cubicBezTo>
                    <a:pt x="8" y="3"/>
                    <a:pt x="19" y="12"/>
                    <a:pt x="16" y="0"/>
                  </a:cubicBezTo>
                  <a:cubicBezTo>
                    <a:pt x="9" y="2"/>
                    <a:pt x="10" y="7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79" name="Freeform 154"/>
            <p:cNvSpPr>
              <a:spLocks/>
            </p:cNvSpPr>
            <p:nvPr userDrawn="1"/>
          </p:nvSpPr>
          <p:spPr bwMode="auto">
            <a:xfrm>
              <a:off x="2842397" y="4360151"/>
              <a:ext cx="92712" cy="155864"/>
            </a:xfrm>
            <a:custGeom>
              <a:avLst/>
              <a:gdLst>
                <a:gd name="T0" fmla="*/ 16 w 29"/>
                <a:gd name="T1" fmla="*/ 27 h 49"/>
                <a:gd name="T2" fmla="*/ 11 w 29"/>
                <a:gd name="T3" fmla="*/ 13 h 49"/>
                <a:gd name="T4" fmla="*/ 0 w 29"/>
                <a:gd name="T5" fmla="*/ 13 h 49"/>
                <a:gd name="T6" fmla="*/ 8 w 29"/>
                <a:gd name="T7" fmla="*/ 31 h 49"/>
                <a:gd name="T8" fmla="*/ 6 w 29"/>
                <a:gd name="T9" fmla="*/ 46 h 49"/>
                <a:gd name="T10" fmla="*/ 14 w 29"/>
                <a:gd name="T11" fmla="*/ 31 h 49"/>
                <a:gd name="T12" fmla="*/ 24 w 29"/>
                <a:gd name="T13" fmla="*/ 27 h 49"/>
                <a:gd name="T14" fmla="*/ 27 w 29"/>
                <a:gd name="T15" fmla="*/ 31 h 49"/>
                <a:gd name="T16" fmla="*/ 16 w 29"/>
                <a:gd name="T17" fmla="*/ 2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49">
                  <a:moveTo>
                    <a:pt x="16" y="27"/>
                  </a:moveTo>
                  <a:cubicBezTo>
                    <a:pt x="11" y="21"/>
                    <a:pt x="14" y="16"/>
                    <a:pt x="11" y="13"/>
                  </a:cubicBezTo>
                  <a:cubicBezTo>
                    <a:pt x="9" y="27"/>
                    <a:pt x="1" y="0"/>
                    <a:pt x="0" y="13"/>
                  </a:cubicBezTo>
                  <a:cubicBezTo>
                    <a:pt x="4" y="17"/>
                    <a:pt x="4" y="27"/>
                    <a:pt x="8" y="31"/>
                  </a:cubicBezTo>
                  <a:cubicBezTo>
                    <a:pt x="9" y="38"/>
                    <a:pt x="8" y="43"/>
                    <a:pt x="6" y="46"/>
                  </a:cubicBezTo>
                  <a:cubicBezTo>
                    <a:pt x="18" y="49"/>
                    <a:pt x="9" y="32"/>
                    <a:pt x="14" y="31"/>
                  </a:cubicBezTo>
                  <a:cubicBezTo>
                    <a:pt x="19" y="39"/>
                    <a:pt x="21" y="32"/>
                    <a:pt x="24" y="27"/>
                  </a:cubicBezTo>
                  <a:cubicBezTo>
                    <a:pt x="25" y="30"/>
                    <a:pt x="25" y="32"/>
                    <a:pt x="27" y="31"/>
                  </a:cubicBezTo>
                  <a:cubicBezTo>
                    <a:pt x="29" y="18"/>
                    <a:pt x="18" y="25"/>
                    <a:pt x="1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80" name="Freeform 155"/>
            <p:cNvSpPr>
              <a:spLocks/>
            </p:cNvSpPr>
            <p:nvPr userDrawn="1"/>
          </p:nvSpPr>
          <p:spPr bwMode="auto">
            <a:xfrm>
              <a:off x="3156812" y="4385681"/>
              <a:ext cx="57777" cy="216328"/>
            </a:xfrm>
            <a:custGeom>
              <a:avLst/>
              <a:gdLst>
                <a:gd name="T0" fmla="*/ 11 w 18"/>
                <a:gd name="T1" fmla="*/ 12 h 68"/>
                <a:gd name="T2" fmla="*/ 1 w 18"/>
                <a:gd name="T3" fmla="*/ 12 h 68"/>
                <a:gd name="T4" fmla="*/ 3 w 18"/>
                <a:gd name="T5" fmla="*/ 16 h 68"/>
                <a:gd name="T6" fmla="*/ 1 w 18"/>
                <a:gd name="T7" fmla="*/ 27 h 68"/>
                <a:gd name="T8" fmla="*/ 9 w 18"/>
                <a:gd name="T9" fmla="*/ 19 h 68"/>
                <a:gd name="T10" fmla="*/ 11 w 18"/>
                <a:gd name="T11" fmla="*/ 38 h 68"/>
                <a:gd name="T12" fmla="*/ 6 w 18"/>
                <a:gd name="T13" fmla="*/ 60 h 68"/>
                <a:gd name="T14" fmla="*/ 6 w 18"/>
                <a:gd name="T15" fmla="*/ 68 h 68"/>
                <a:gd name="T16" fmla="*/ 14 w 18"/>
                <a:gd name="T17" fmla="*/ 56 h 68"/>
                <a:gd name="T18" fmla="*/ 14 w 18"/>
                <a:gd name="T19" fmla="*/ 34 h 68"/>
                <a:gd name="T20" fmla="*/ 11 w 18"/>
                <a:gd name="T21" fmla="*/ 1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68">
                  <a:moveTo>
                    <a:pt x="11" y="12"/>
                  </a:moveTo>
                  <a:cubicBezTo>
                    <a:pt x="9" y="26"/>
                    <a:pt x="2" y="0"/>
                    <a:pt x="1" y="12"/>
                  </a:cubicBezTo>
                  <a:cubicBezTo>
                    <a:pt x="2" y="12"/>
                    <a:pt x="4" y="13"/>
                    <a:pt x="3" y="16"/>
                  </a:cubicBezTo>
                  <a:cubicBezTo>
                    <a:pt x="3" y="20"/>
                    <a:pt x="0" y="21"/>
                    <a:pt x="1" y="27"/>
                  </a:cubicBezTo>
                  <a:cubicBezTo>
                    <a:pt x="6" y="28"/>
                    <a:pt x="6" y="22"/>
                    <a:pt x="9" y="19"/>
                  </a:cubicBezTo>
                  <a:cubicBezTo>
                    <a:pt x="8" y="28"/>
                    <a:pt x="9" y="34"/>
                    <a:pt x="11" y="38"/>
                  </a:cubicBezTo>
                  <a:cubicBezTo>
                    <a:pt x="5" y="38"/>
                    <a:pt x="6" y="50"/>
                    <a:pt x="6" y="60"/>
                  </a:cubicBezTo>
                  <a:cubicBezTo>
                    <a:pt x="6" y="64"/>
                    <a:pt x="2" y="66"/>
                    <a:pt x="6" y="68"/>
                  </a:cubicBezTo>
                  <a:cubicBezTo>
                    <a:pt x="9" y="64"/>
                    <a:pt x="11" y="60"/>
                    <a:pt x="14" y="56"/>
                  </a:cubicBezTo>
                  <a:cubicBezTo>
                    <a:pt x="12" y="46"/>
                    <a:pt x="12" y="45"/>
                    <a:pt x="14" y="34"/>
                  </a:cubicBezTo>
                  <a:cubicBezTo>
                    <a:pt x="9" y="25"/>
                    <a:pt x="18" y="19"/>
                    <a:pt x="1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81" name="Freeform 156"/>
            <p:cNvSpPr>
              <a:spLocks/>
            </p:cNvSpPr>
            <p:nvPr userDrawn="1"/>
          </p:nvSpPr>
          <p:spPr bwMode="auto">
            <a:xfrm>
              <a:off x="2709376" y="4439427"/>
              <a:ext cx="57777" cy="118241"/>
            </a:xfrm>
            <a:custGeom>
              <a:avLst/>
              <a:gdLst>
                <a:gd name="T0" fmla="*/ 7 w 18"/>
                <a:gd name="T1" fmla="*/ 2 h 37"/>
                <a:gd name="T2" fmla="*/ 2 w 18"/>
                <a:gd name="T3" fmla="*/ 17 h 37"/>
                <a:gd name="T4" fmla="*/ 10 w 18"/>
                <a:gd name="T5" fmla="*/ 32 h 37"/>
                <a:gd name="T6" fmla="*/ 13 w 18"/>
                <a:gd name="T7" fmla="*/ 36 h 37"/>
                <a:gd name="T8" fmla="*/ 15 w 18"/>
                <a:gd name="T9" fmla="*/ 17 h 37"/>
                <a:gd name="T10" fmla="*/ 15 w 18"/>
                <a:gd name="T11" fmla="*/ 10 h 37"/>
                <a:gd name="T12" fmla="*/ 18 w 18"/>
                <a:gd name="T13" fmla="*/ 10 h 37"/>
                <a:gd name="T14" fmla="*/ 7 w 18"/>
                <a:gd name="T15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37">
                  <a:moveTo>
                    <a:pt x="7" y="2"/>
                  </a:moveTo>
                  <a:cubicBezTo>
                    <a:pt x="11" y="12"/>
                    <a:pt x="11" y="28"/>
                    <a:pt x="2" y="17"/>
                  </a:cubicBezTo>
                  <a:cubicBezTo>
                    <a:pt x="0" y="29"/>
                    <a:pt x="11" y="22"/>
                    <a:pt x="10" y="32"/>
                  </a:cubicBezTo>
                  <a:cubicBezTo>
                    <a:pt x="7" y="32"/>
                    <a:pt x="8" y="37"/>
                    <a:pt x="13" y="36"/>
                  </a:cubicBezTo>
                  <a:cubicBezTo>
                    <a:pt x="12" y="27"/>
                    <a:pt x="13" y="21"/>
                    <a:pt x="15" y="17"/>
                  </a:cubicBezTo>
                  <a:cubicBezTo>
                    <a:pt x="13" y="17"/>
                    <a:pt x="12" y="11"/>
                    <a:pt x="15" y="10"/>
                  </a:cubicBezTo>
                  <a:cubicBezTo>
                    <a:pt x="15" y="12"/>
                    <a:pt x="18" y="14"/>
                    <a:pt x="18" y="10"/>
                  </a:cubicBezTo>
                  <a:cubicBezTo>
                    <a:pt x="13" y="10"/>
                    <a:pt x="15" y="0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82" name="Freeform 157"/>
            <p:cNvSpPr>
              <a:spLocks/>
            </p:cNvSpPr>
            <p:nvPr userDrawn="1"/>
          </p:nvSpPr>
          <p:spPr bwMode="auto">
            <a:xfrm>
              <a:off x="3214589" y="4446145"/>
              <a:ext cx="30904" cy="60464"/>
            </a:xfrm>
            <a:custGeom>
              <a:avLst/>
              <a:gdLst>
                <a:gd name="T0" fmla="*/ 10 w 10"/>
                <a:gd name="T1" fmla="*/ 15 h 19"/>
                <a:gd name="T2" fmla="*/ 2 w 10"/>
                <a:gd name="T3" fmla="*/ 0 h 19"/>
                <a:gd name="T4" fmla="*/ 2 w 10"/>
                <a:gd name="T5" fmla="*/ 19 h 19"/>
                <a:gd name="T6" fmla="*/ 7 w 10"/>
                <a:gd name="T7" fmla="*/ 19 h 19"/>
                <a:gd name="T8" fmla="*/ 10 w 10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9">
                  <a:moveTo>
                    <a:pt x="10" y="15"/>
                  </a:moveTo>
                  <a:cubicBezTo>
                    <a:pt x="2" y="17"/>
                    <a:pt x="7" y="1"/>
                    <a:pt x="2" y="0"/>
                  </a:cubicBezTo>
                  <a:cubicBezTo>
                    <a:pt x="0" y="12"/>
                    <a:pt x="7" y="12"/>
                    <a:pt x="2" y="19"/>
                  </a:cubicBezTo>
                  <a:cubicBezTo>
                    <a:pt x="3" y="19"/>
                    <a:pt x="5" y="19"/>
                    <a:pt x="7" y="19"/>
                  </a:cubicBezTo>
                  <a:cubicBezTo>
                    <a:pt x="9" y="19"/>
                    <a:pt x="10" y="18"/>
                    <a:pt x="1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83" name="Freeform 158"/>
            <p:cNvSpPr>
              <a:spLocks/>
            </p:cNvSpPr>
            <p:nvPr userDrawn="1"/>
          </p:nvSpPr>
          <p:spPr bwMode="auto">
            <a:xfrm>
              <a:off x="2998261" y="4427334"/>
              <a:ext cx="92712" cy="100774"/>
            </a:xfrm>
            <a:custGeom>
              <a:avLst/>
              <a:gdLst>
                <a:gd name="T0" fmla="*/ 21 w 29"/>
                <a:gd name="T1" fmla="*/ 25 h 32"/>
                <a:gd name="T2" fmla="*/ 2 w 29"/>
                <a:gd name="T3" fmla="*/ 14 h 32"/>
                <a:gd name="T4" fmla="*/ 5 w 29"/>
                <a:gd name="T5" fmla="*/ 21 h 32"/>
                <a:gd name="T6" fmla="*/ 0 w 29"/>
                <a:gd name="T7" fmla="*/ 25 h 32"/>
                <a:gd name="T8" fmla="*/ 13 w 29"/>
                <a:gd name="T9" fmla="*/ 18 h 32"/>
                <a:gd name="T10" fmla="*/ 16 w 29"/>
                <a:gd name="T11" fmla="*/ 32 h 32"/>
                <a:gd name="T12" fmla="*/ 29 w 29"/>
                <a:gd name="T13" fmla="*/ 32 h 32"/>
                <a:gd name="T14" fmla="*/ 29 w 29"/>
                <a:gd name="T15" fmla="*/ 14 h 32"/>
                <a:gd name="T16" fmla="*/ 19 w 29"/>
                <a:gd name="T17" fmla="*/ 10 h 32"/>
                <a:gd name="T18" fmla="*/ 21 w 29"/>
                <a:gd name="T19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2">
                  <a:moveTo>
                    <a:pt x="21" y="25"/>
                  </a:moveTo>
                  <a:cubicBezTo>
                    <a:pt x="15" y="24"/>
                    <a:pt x="11" y="0"/>
                    <a:pt x="2" y="14"/>
                  </a:cubicBezTo>
                  <a:cubicBezTo>
                    <a:pt x="4" y="15"/>
                    <a:pt x="5" y="17"/>
                    <a:pt x="5" y="21"/>
                  </a:cubicBezTo>
                  <a:cubicBezTo>
                    <a:pt x="3" y="22"/>
                    <a:pt x="0" y="21"/>
                    <a:pt x="0" y="25"/>
                  </a:cubicBezTo>
                  <a:cubicBezTo>
                    <a:pt x="9" y="21"/>
                    <a:pt x="8" y="26"/>
                    <a:pt x="13" y="18"/>
                  </a:cubicBezTo>
                  <a:cubicBezTo>
                    <a:pt x="13" y="24"/>
                    <a:pt x="14" y="29"/>
                    <a:pt x="16" y="32"/>
                  </a:cubicBezTo>
                  <a:cubicBezTo>
                    <a:pt x="22" y="32"/>
                    <a:pt x="24" y="25"/>
                    <a:pt x="29" y="32"/>
                  </a:cubicBezTo>
                  <a:cubicBezTo>
                    <a:pt x="29" y="26"/>
                    <a:pt x="29" y="20"/>
                    <a:pt x="29" y="14"/>
                  </a:cubicBezTo>
                  <a:cubicBezTo>
                    <a:pt x="25" y="14"/>
                    <a:pt x="21" y="13"/>
                    <a:pt x="19" y="10"/>
                  </a:cubicBezTo>
                  <a:cubicBezTo>
                    <a:pt x="15" y="19"/>
                    <a:pt x="29" y="22"/>
                    <a:pt x="21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84" name="Freeform 159"/>
            <p:cNvSpPr>
              <a:spLocks/>
            </p:cNvSpPr>
            <p:nvPr userDrawn="1"/>
          </p:nvSpPr>
          <p:spPr bwMode="auto">
            <a:xfrm>
              <a:off x="2970044" y="4494517"/>
              <a:ext cx="53746" cy="84650"/>
            </a:xfrm>
            <a:custGeom>
              <a:avLst/>
              <a:gdLst>
                <a:gd name="T0" fmla="*/ 9 w 17"/>
                <a:gd name="T1" fmla="*/ 19 h 27"/>
                <a:gd name="T2" fmla="*/ 17 w 17"/>
                <a:gd name="T3" fmla="*/ 19 h 27"/>
                <a:gd name="T4" fmla="*/ 9 w 17"/>
                <a:gd name="T5" fmla="*/ 15 h 27"/>
                <a:gd name="T6" fmla="*/ 0 w 17"/>
                <a:gd name="T7" fmla="*/ 19 h 27"/>
                <a:gd name="T8" fmla="*/ 9 w 17"/>
                <a:gd name="T9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7">
                  <a:moveTo>
                    <a:pt x="9" y="19"/>
                  </a:moveTo>
                  <a:cubicBezTo>
                    <a:pt x="9" y="27"/>
                    <a:pt x="16" y="27"/>
                    <a:pt x="17" y="19"/>
                  </a:cubicBezTo>
                  <a:cubicBezTo>
                    <a:pt x="12" y="16"/>
                    <a:pt x="3" y="0"/>
                    <a:pt x="9" y="15"/>
                  </a:cubicBezTo>
                  <a:cubicBezTo>
                    <a:pt x="5" y="16"/>
                    <a:pt x="1" y="14"/>
                    <a:pt x="0" y="19"/>
                  </a:cubicBezTo>
                  <a:cubicBezTo>
                    <a:pt x="4" y="20"/>
                    <a:pt x="5" y="23"/>
                    <a:pt x="9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85" name="Freeform 160"/>
            <p:cNvSpPr>
              <a:spLocks/>
            </p:cNvSpPr>
            <p:nvPr userDrawn="1"/>
          </p:nvSpPr>
          <p:spPr bwMode="auto">
            <a:xfrm>
              <a:off x="2979450" y="4636944"/>
              <a:ext cx="57777" cy="126303"/>
            </a:xfrm>
            <a:custGeom>
              <a:avLst/>
              <a:gdLst>
                <a:gd name="T0" fmla="*/ 8 w 18"/>
                <a:gd name="T1" fmla="*/ 25 h 40"/>
                <a:gd name="T2" fmla="*/ 6 w 18"/>
                <a:gd name="T3" fmla="*/ 0 h 40"/>
                <a:gd name="T4" fmla="*/ 0 w 18"/>
                <a:gd name="T5" fmla="*/ 18 h 40"/>
                <a:gd name="T6" fmla="*/ 6 w 18"/>
                <a:gd name="T7" fmla="*/ 40 h 40"/>
                <a:gd name="T8" fmla="*/ 14 w 18"/>
                <a:gd name="T9" fmla="*/ 40 h 40"/>
                <a:gd name="T10" fmla="*/ 8 w 18"/>
                <a:gd name="T11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0">
                  <a:moveTo>
                    <a:pt x="8" y="25"/>
                  </a:moveTo>
                  <a:cubicBezTo>
                    <a:pt x="7" y="19"/>
                    <a:pt x="14" y="6"/>
                    <a:pt x="6" y="0"/>
                  </a:cubicBezTo>
                  <a:cubicBezTo>
                    <a:pt x="3" y="12"/>
                    <a:pt x="14" y="21"/>
                    <a:pt x="0" y="18"/>
                  </a:cubicBezTo>
                  <a:cubicBezTo>
                    <a:pt x="1" y="31"/>
                    <a:pt x="12" y="25"/>
                    <a:pt x="6" y="40"/>
                  </a:cubicBezTo>
                  <a:cubicBezTo>
                    <a:pt x="8" y="40"/>
                    <a:pt x="11" y="40"/>
                    <a:pt x="14" y="40"/>
                  </a:cubicBezTo>
                  <a:cubicBezTo>
                    <a:pt x="18" y="31"/>
                    <a:pt x="9" y="32"/>
                    <a:pt x="8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86" name="Freeform 161"/>
            <p:cNvSpPr>
              <a:spLocks/>
            </p:cNvSpPr>
            <p:nvPr userDrawn="1"/>
          </p:nvSpPr>
          <p:spPr bwMode="auto">
            <a:xfrm>
              <a:off x="3046632" y="4667848"/>
              <a:ext cx="91368" cy="118241"/>
            </a:xfrm>
            <a:custGeom>
              <a:avLst/>
              <a:gdLst>
                <a:gd name="T0" fmla="*/ 25 w 29"/>
                <a:gd name="T1" fmla="*/ 19 h 37"/>
                <a:gd name="T2" fmla="*/ 9 w 29"/>
                <a:gd name="T3" fmla="*/ 15 h 37"/>
                <a:gd name="T4" fmla="*/ 1 w 29"/>
                <a:gd name="T5" fmla="*/ 23 h 37"/>
                <a:gd name="T6" fmla="*/ 11 w 29"/>
                <a:gd name="T7" fmla="*/ 34 h 37"/>
                <a:gd name="T8" fmla="*/ 17 w 29"/>
                <a:gd name="T9" fmla="*/ 27 h 37"/>
                <a:gd name="T10" fmla="*/ 25 w 29"/>
                <a:gd name="T11" fmla="*/ 30 h 37"/>
                <a:gd name="T12" fmla="*/ 25 w 29"/>
                <a:gd name="T13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37">
                  <a:moveTo>
                    <a:pt x="25" y="19"/>
                  </a:moveTo>
                  <a:cubicBezTo>
                    <a:pt x="19" y="36"/>
                    <a:pt x="14" y="0"/>
                    <a:pt x="9" y="15"/>
                  </a:cubicBezTo>
                  <a:cubicBezTo>
                    <a:pt x="17" y="23"/>
                    <a:pt x="0" y="9"/>
                    <a:pt x="1" y="23"/>
                  </a:cubicBezTo>
                  <a:cubicBezTo>
                    <a:pt x="8" y="22"/>
                    <a:pt x="3" y="37"/>
                    <a:pt x="11" y="34"/>
                  </a:cubicBezTo>
                  <a:cubicBezTo>
                    <a:pt x="15" y="34"/>
                    <a:pt x="14" y="28"/>
                    <a:pt x="17" y="27"/>
                  </a:cubicBezTo>
                  <a:cubicBezTo>
                    <a:pt x="17" y="31"/>
                    <a:pt x="21" y="31"/>
                    <a:pt x="25" y="30"/>
                  </a:cubicBezTo>
                  <a:cubicBezTo>
                    <a:pt x="24" y="24"/>
                    <a:pt x="29" y="21"/>
                    <a:pt x="2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87" name="Freeform 162"/>
            <p:cNvSpPr>
              <a:spLocks/>
            </p:cNvSpPr>
            <p:nvPr userDrawn="1"/>
          </p:nvSpPr>
          <p:spPr bwMode="auto">
            <a:xfrm>
              <a:off x="3191747" y="4753841"/>
              <a:ext cx="79275" cy="67183"/>
            </a:xfrm>
            <a:custGeom>
              <a:avLst/>
              <a:gdLst>
                <a:gd name="T0" fmla="*/ 0 w 25"/>
                <a:gd name="T1" fmla="*/ 11 h 21"/>
                <a:gd name="T2" fmla="*/ 14 w 25"/>
                <a:gd name="T3" fmla="*/ 18 h 21"/>
                <a:gd name="T4" fmla="*/ 25 w 25"/>
                <a:gd name="T5" fmla="*/ 7 h 21"/>
                <a:gd name="T6" fmla="*/ 14 w 25"/>
                <a:gd name="T7" fmla="*/ 11 h 21"/>
                <a:gd name="T8" fmla="*/ 0 w 25"/>
                <a:gd name="T9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1">
                  <a:moveTo>
                    <a:pt x="0" y="11"/>
                  </a:moveTo>
                  <a:cubicBezTo>
                    <a:pt x="9" y="8"/>
                    <a:pt x="6" y="21"/>
                    <a:pt x="14" y="18"/>
                  </a:cubicBezTo>
                  <a:cubicBezTo>
                    <a:pt x="18" y="14"/>
                    <a:pt x="22" y="12"/>
                    <a:pt x="25" y="7"/>
                  </a:cubicBezTo>
                  <a:cubicBezTo>
                    <a:pt x="20" y="7"/>
                    <a:pt x="19" y="11"/>
                    <a:pt x="14" y="11"/>
                  </a:cubicBezTo>
                  <a:cubicBezTo>
                    <a:pt x="11" y="11"/>
                    <a:pt x="2" y="0"/>
                    <a:pt x="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88" name="Freeform 163"/>
            <p:cNvSpPr>
              <a:spLocks/>
            </p:cNvSpPr>
            <p:nvPr userDrawn="1"/>
          </p:nvSpPr>
          <p:spPr bwMode="auto">
            <a:xfrm>
              <a:off x="3030508" y="3239546"/>
              <a:ext cx="69870" cy="64495"/>
            </a:xfrm>
            <a:custGeom>
              <a:avLst/>
              <a:gdLst>
                <a:gd name="T0" fmla="*/ 19 w 22"/>
                <a:gd name="T1" fmla="*/ 0 h 20"/>
                <a:gd name="T2" fmla="*/ 3 w 22"/>
                <a:gd name="T3" fmla="*/ 0 h 20"/>
                <a:gd name="T4" fmla="*/ 0 w 22"/>
                <a:gd name="T5" fmla="*/ 11 h 20"/>
                <a:gd name="T6" fmla="*/ 22 w 22"/>
                <a:gd name="T7" fmla="*/ 18 h 20"/>
                <a:gd name="T8" fmla="*/ 19 w 22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0">
                  <a:moveTo>
                    <a:pt x="19" y="0"/>
                  </a:moveTo>
                  <a:cubicBezTo>
                    <a:pt x="14" y="0"/>
                    <a:pt x="9" y="0"/>
                    <a:pt x="3" y="0"/>
                  </a:cubicBezTo>
                  <a:cubicBezTo>
                    <a:pt x="3" y="5"/>
                    <a:pt x="2" y="8"/>
                    <a:pt x="0" y="11"/>
                  </a:cubicBezTo>
                  <a:cubicBezTo>
                    <a:pt x="6" y="15"/>
                    <a:pt x="11" y="20"/>
                    <a:pt x="22" y="18"/>
                  </a:cubicBezTo>
                  <a:cubicBezTo>
                    <a:pt x="21" y="5"/>
                    <a:pt x="15" y="13"/>
                    <a:pt x="1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89" name="Freeform 164"/>
            <p:cNvSpPr>
              <a:spLocks/>
            </p:cNvSpPr>
            <p:nvPr userDrawn="1"/>
          </p:nvSpPr>
          <p:spPr bwMode="auto">
            <a:xfrm>
              <a:off x="3116502" y="4325216"/>
              <a:ext cx="44341" cy="64495"/>
            </a:xfrm>
            <a:custGeom>
              <a:avLst/>
              <a:gdLst>
                <a:gd name="T0" fmla="*/ 6 w 14"/>
                <a:gd name="T1" fmla="*/ 1 h 20"/>
                <a:gd name="T2" fmla="*/ 3 w 14"/>
                <a:gd name="T3" fmla="*/ 20 h 20"/>
                <a:gd name="T4" fmla="*/ 14 w 14"/>
                <a:gd name="T5" fmla="*/ 20 h 20"/>
                <a:gd name="T6" fmla="*/ 6 w 14"/>
                <a:gd name="T7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0">
                  <a:moveTo>
                    <a:pt x="6" y="1"/>
                  </a:moveTo>
                  <a:cubicBezTo>
                    <a:pt x="0" y="9"/>
                    <a:pt x="8" y="13"/>
                    <a:pt x="3" y="20"/>
                  </a:cubicBezTo>
                  <a:cubicBezTo>
                    <a:pt x="7" y="20"/>
                    <a:pt x="10" y="20"/>
                    <a:pt x="14" y="20"/>
                  </a:cubicBezTo>
                  <a:cubicBezTo>
                    <a:pt x="14" y="9"/>
                    <a:pt x="14" y="0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90" name="Freeform 165"/>
            <p:cNvSpPr>
              <a:spLocks/>
            </p:cNvSpPr>
            <p:nvPr userDrawn="1"/>
          </p:nvSpPr>
          <p:spPr bwMode="auto">
            <a:xfrm>
              <a:off x="7714479" y="2323175"/>
              <a:ext cx="4031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91" name="Freeform 166"/>
            <p:cNvSpPr>
              <a:spLocks/>
            </p:cNvSpPr>
            <p:nvPr userDrawn="1"/>
          </p:nvSpPr>
          <p:spPr bwMode="auto">
            <a:xfrm>
              <a:off x="2783277" y="4115607"/>
              <a:ext cx="56433" cy="51059"/>
            </a:xfrm>
            <a:custGeom>
              <a:avLst/>
              <a:gdLst>
                <a:gd name="T0" fmla="*/ 11 w 18"/>
                <a:gd name="T1" fmla="*/ 8 h 16"/>
                <a:gd name="T2" fmla="*/ 14 w 18"/>
                <a:gd name="T3" fmla="*/ 16 h 16"/>
                <a:gd name="T4" fmla="*/ 6 w 18"/>
                <a:gd name="T5" fmla="*/ 5 h 16"/>
                <a:gd name="T6" fmla="*/ 6 w 18"/>
                <a:gd name="T7" fmla="*/ 1 h 16"/>
                <a:gd name="T8" fmla="*/ 0 w 18"/>
                <a:gd name="T9" fmla="*/ 1 h 16"/>
                <a:gd name="T10" fmla="*/ 11 w 1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6">
                  <a:moveTo>
                    <a:pt x="11" y="8"/>
                  </a:moveTo>
                  <a:cubicBezTo>
                    <a:pt x="12" y="11"/>
                    <a:pt x="11" y="16"/>
                    <a:pt x="14" y="16"/>
                  </a:cubicBezTo>
                  <a:cubicBezTo>
                    <a:pt x="18" y="2"/>
                    <a:pt x="9" y="7"/>
                    <a:pt x="6" y="5"/>
                  </a:cubicBezTo>
                  <a:cubicBezTo>
                    <a:pt x="5" y="4"/>
                    <a:pt x="6" y="1"/>
                    <a:pt x="6" y="1"/>
                  </a:cubicBezTo>
                  <a:cubicBezTo>
                    <a:pt x="5" y="0"/>
                    <a:pt x="1" y="2"/>
                    <a:pt x="0" y="1"/>
                  </a:cubicBezTo>
                  <a:cubicBezTo>
                    <a:pt x="2" y="6"/>
                    <a:pt x="6" y="8"/>
                    <a:pt x="1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92" name="Freeform 167"/>
            <p:cNvSpPr>
              <a:spLocks/>
            </p:cNvSpPr>
            <p:nvPr userDrawn="1"/>
          </p:nvSpPr>
          <p:spPr bwMode="auto">
            <a:xfrm>
              <a:off x="3414793" y="2509943"/>
              <a:ext cx="2687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93" name="Freeform 168"/>
            <p:cNvSpPr>
              <a:spLocks noEditPoints="1"/>
            </p:cNvSpPr>
            <p:nvPr userDrawn="1"/>
          </p:nvSpPr>
          <p:spPr bwMode="auto">
            <a:xfrm>
              <a:off x="2541419" y="1687628"/>
              <a:ext cx="6608080" cy="4310435"/>
            </a:xfrm>
            <a:custGeom>
              <a:avLst/>
              <a:gdLst>
                <a:gd name="T0" fmla="*/ 1924 w 2082"/>
                <a:gd name="T1" fmla="*/ 100 h 1358"/>
                <a:gd name="T2" fmla="*/ 1692 w 2082"/>
                <a:gd name="T3" fmla="*/ 41 h 1358"/>
                <a:gd name="T4" fmla="*/ 1606 w 2082"/>
                <a:gd name="T5" fmla="*/ 174 h 1358"/>
                <a:gd name="T6" fmla="*/ 1364 w 2082"/>
                <a:gd name="T7" fmla="*/ 145 h 1358"/>
                <a:gd name="T8" fmla="*/ 1063 w 2082"/>
                <a:gd name="T9" fmla="*/ 100 h 1358"/>
                <a:gd name="T10" fmla="*/ 738 w 2082"/>
                <a:gd name="T11" fmla="*/ 78 h 1358"/>
                <a:gd name="T12" fmla="*/ 356 w 2082"/>
                <a:gd name="T13" fmla="*/ 22 h 1358"/>
                <a:gd name="T14" fmla="*/ 17 w 2082"/>
                <a:gd name="T15" fmla="*/ 333 h 1358"/>
                <a:gd name="T16" fmla="*/ 36 w 2082"/>
                <a:gd name="T17" fmla="*/ 751 h 1358"/>
                <a:gd name="T18" fmla="*/ 176 w 2082"/>
                <a:gd name="T19" fmla="*/ 662 h 1358"/>
                <a:gd name="T20" fmla="*/ 243 w 2082"/>
                <a:gd name="T21" fmla="*/ 884 h 1358"/>
                <a:gd name="T22" fmla="*/ 698 w 2082"/>
                <a:gd name="T23" fmla="*/ 1210 h 1358"/>
                <a:gd name="T24" fmla="*/ 1101 w 2082"/>
                <a:gd name="T25" fmla="*/ 1287 h 1358"/>
                <a:gd name="T26" fmla="*/ 1480 w 2082"/>
                <a:gd name="T27" fmla="*/ 1317 h 1358"/>
                <a:gd name="T28" fmla="*/ 1881 w 2082"/>
                <a:gd name="T29" fmla="*/ 1350 h 1358"/>
                <a:gd name="T30" fmla="*/ 189 w 2082"/>
                <a:gd name="T31" fmla="*/ 644 h 1358"/>
                <a:gd name="T32" fmla="*/ 146 w 2082"/>
                <a:gd name="T33" fmla="*/ 403 h 1358"/>
                <a:gd name="T34" fmla="*/ 111 w 2082"/>
                <a:gd name="T35" fmla="*/ 599 h 1358"/>
                <a:gd name="T36" fmla="*/ 135 w 2082"/>
                <a:gd name="T37" fmla="*/ 485 h 1358"/>
                <a:gd name="T38" fmla="*/ 165 w 2082"/>
                <a:gd name="T39" fmla="*/ 267 h 1358"/>
                <a:gd name="T40" fmla="*/ 74 w 2082"/>
                <a:gd name="T41" fmla="*/ 218 h 1358"/>
                <a:gd name="T42" fmla="*/ 130 w 2082"/>
                <a:gd name="T43" fmla="*/ 659 h 1358"/>
                <a:gd name="T44" fmla="*/ 157 w 2082"/>
                <a:gd name="T45" fmla="*/ 448 h 1358"/>
                <a:gd name="T46" fmla="*/ 447 w 2082"/>
                <a:gd name="T47" fmla="*/ 648 h 1358"/>
                <a:gd name="T48" fmla="*/ 353 w 2082"/>
                <a:gd name="T49" fmla="*/ 755 h 1358"/>
                <a:gd name="T50" fmla="*/ 267 w 2082"/>
                <a:gd name="T51" fmla="*/ 537 h 1358"/>
                <a:gd name="T52" fmla="*/ 246 w 2082"/>
                <a:gd name="T53" fmla="*/ 448 h 1358"/>
                <a:gd name="T54" fmla="*/ 386 w 2082"/>
                <a:gd name="T55" fmla="*/ 307 h 1358"/>
                <a:gd name="T56" fmla="*/ 375 w 2082"/>
                <a:gd name="T57" fmla="*/ 311 h 1358"/>
                <a:gd name="T58" fmla="*/ 321 w 2082"/>
                <a:gd name="T59" fmla="*/ 570 h 1358"/>
                <a:gd name="T60" fmla="*/ 316 w 2082"/>
                <a:gd name="T61" fmla="*/ 385 h 1358"/>
                <a:gd name="T62" fmla="*/ 294 w 2082"/>
                <a:gd name="T63" fmla="*/ 699 h 1358"/>
                <a:gd name="T64" fmla="*/ 351 w 2082"/>
                <a:gd name="T65" fmla="*/ 651 h 1358"/>
                <a:gd name="T66" fmla="*/ 412 w 2082"/>
                <a:gd name="T67" fmla="*/ 614 h 1358"/>
                <a:gd name="T68" fmla="*/ 353 w 2082"/>
                <a:gd name="T69" fmla="*/ 307 h 1358"/>
                <a:gd name="T70" fmla="*/ 275 w 2082"/>
                <a:gd name="T71" fmla="*/ 178 h 1358"/>
                <a:gd name="T72" fmla="*/ 230 w 2082"/>
                <a:gd name="T73" fmla="*/ 163 h 1358"/>
                <a:gd name="T74" fmla="*/ 254 w 2082"/>
                <a:gd name="T75" fmla="*/ 670 h 1358"/>
                <a:gd name="T76" fmla="*/ 308 w 2082"/>
                <a:gd name="T77" fmla="*/ 762 h 1358"/>
                <a:gd name="T78" fmla="*/ 496 w 2082"/>
                <a:gd name="T79" fmla="*/ 807 h 1358"/>
                <a:gd name="T80" fmla="*/ 918 w 2082"/>
                <a:gd name="T81" fmla="*/ 1235 h 1358"/>
                <a:gd name="T82" fmla="*/ 1176 w 2082"/>
                <a:gd name="T83" fmla="*/ 1217 h 1358"/>
                <a:gd name="T84" fmla="*/ 1260 w 2082"/>
                <a:gd name="T85" fmla="*/ 237 h 1358"/>
                <a:gd name="T86" fmla="*/ 1319 w 2082"/>
                <a:gd name="T87" fmla="*/ 196 h 1358"/>
                <a:gd name="T88" fmla="*/ 1566 w 2082"/>
                <a:gd name="T89" fmla="*/ 263 h 1358"/>
                <a:gd name="T90" fmla="*/ 1448 w 2082"/>
                <a:gd name="T91" fmla="*/ 167 h 1358"/>
                <a:gd name="T92" fmla="*/ 1367 w 2082"/>
                <a:gd name="T93" fmla="*/ 599 h 1358"/>
                <a:gd name="T94" fmla="*/ 1415 w 2082"/>
                <a:gd name="T95" fmla="*/ 1306 h 1358"/>
                <a:gd name="T96" fmla="*/ 1467 w 2082"/>
                <a:gd name="T97" fmla="*/ 640 h 1358"/>
                <a:gd name="T98" fmla="*/ 1553 w 2082"/>
                <a:gd name="T99" fmla="*/ 1291 h 1358"/>
                <a:gd name="T100" fmla="*/ 2055 w 2082"/>
                <a:gd name="T101" fmla="*/ 562 h 1358"/>
                <a:gd name="T102" fmla="*/ 1996 w 2082"/>
                <a:gd name="T103" fmla="*/ 537 h 1358"/>
                <a:gd name="T104" fmla="*/ 1948 w 2082"/>
                <a:gd name="T105" fmla="*/ 178 h 1358"/>
                <a:gd name="T106" fmla="*/ 1918 w 2082"/>
                <a:gd name="T107" fmla="*/ 71 h 1358"/>
                <a:gd name="T108" fmla="*/ 1840 w 2082"/>
                <a:gd name="T109" fmla="*/ 170 h 1358"/>
                <a:gd name="T110" fmla="*/ 1738 w 2082"/>
                <a:gd name="T111" fmla="*/ 1265 h 1358"/>
                <a:gd name="T112" fmla="*/ 1730 w 2082"/>
                <a:gd name="T113" fmla="*/ 603 h 1358"/>
                <a:gd name="T114" fmla="*/ 1666 w 2082"/>
                <a:gd name="T115" fmla="*/ 215 h 1358"/>
                <a:gd name="T116" fmla="*/ 1746 w 2082"/>
                <a:gd name="T117" fmla="*/ 1295 h 1358"/>
                <a:gd name="T118" fmla="*/ 1811 w 2082"/>
                <a:gd name="T119" fmla="*/ 1254 h 1358"/>
                <a:gd name="T120" fmla="*/ 1848 w 2082"/>
                <a:gd name="T121" fmla="*/ 215 h 1358"/>
                <a:gd name="T122" fmla="*/ 1899 w 2082"/>
                <a:gd name="T123" fmla="*/ 1199 h 1358"/>
                <a:gd name="T124" fmla="*/ 2039 w 2082"/>
                <a:gd name="T125" fmla="*/ 1306 h 1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82" h="1358">
                  <a:moveTo>
                    <a:pt x="2050" y="100"/>
                  </a:moveTo>
                  <a:cubicBezTo>
                    <a:pt x="2048" y="103"/>
                    <a:pt x="2053" y="115"/>
                    <a:pt x="2045" y="119"/>
                  </a:cubicBezTo>
                  <a:cubicBezTo>
                    <a:pt x="2041" y="120"/>
                    <a:pt x="2037" y="118"/>
                    <a:pt x="2034" y="119"/>
                  </a:cubicBezTo>
                  <a:cubicBezTo>
                    <a:pt x="2032" y="131"/>
                    <a:pt x="2045" y="123"/>
                    <a:pt x="2042" y="137"/>
                  </a:cubicBezTo>
                  <a:cubicBezTo>
                    <a:pt x="2047" y="138"/>
                    <a:pt x="2047" y="132"/>
                    <a:pt x="2050" y="130"/>
                  </a:cubicBezTo>
                  <a:cubicBezTo>
                    <a:pt x="2050" y="133"/>
                    <a:pt x="2050" y="137"/>
                    <a:pt x="2050" y="141"/>
                  </a:cubicBezTo>
                  <a:cubicBezTo>
                    <a:pt x="2057" y="143"/>
                    <a:pt x="2071" y="136"/>
                    <a:pt x="2074" y="145"/>
                  </a:cubicBezTo>
                  <a:cubicBezTo>
                    <a:pt x="2074" y="147"/>
                    <a:pt x="2074" y="152"/>
                    <a:pt x="2072" y="152"/>
                  </a:cubicBezTo>
                  <a:cubicBezTo>
                    <a:pt x="2067" y="151"/>
                    <a:pt x="2062" y="141"/>
                    <a:pt x="2058" y="145"/>
                  </a:cubicBezTo>
                  <a:cubicBezTo>
                    <a:pt x="2057" y="146"/>
                    <a:pt x="2059" y="153"/>
                    <a:pt x="2055" y="152"/>
                  </a:cubicBezTo>
                  <a:cubicBezTo>
                    <a:pt x="2053" y="144"/>
                    <a:pt x="2049" y="139"/>
                    <a:pt x="2039" y="141"/>
                  </a:cubicBezTo>
                  <a:cubicBezTo>
                    <a:pt x="2041" y="153"/>
                    <a:pt x="2037" y="158"/>
                    <a:pt x="2037" y="167"/>
                  </a:cubicBezTo>
                  <a:cubicBezTo>
                    <a:pt x="2048" y="170"/>
                    <a:pt x="2047" y="157"/>
                    <a:pt x="2053" y="152"/>
                  </a:cubicBezTo>
                  <a:cubicBezTo>
                    <a:pt x="2050" y="162"/>
                    <a:pt x="2057" y="162"/>
                    <a:pt x="2055" y="170"/>
                  </a:cubicBezTo>
                  <a:cubicBezTo>
                    <a:pt x="2059" y="171"/>
                    <a:pt x="2062" y="171"/>
                    <a:pt x="2061" y="178"/>
                  </a:cubicBezTo>
                  <a:cubicBezTo>
                    <a:pt x="2057" y="172"/>
                    <a:pt x="2050" y="170"/>
                    <a:pt x="2045" y="167"/>
                  </a:cubicBezTo>
                  <a:cubicBezTo>
                    <a:pt x="2042" y="172"/>
                    <a:pt x="2043" y="181"/>
                    <a:pt x="2034" y="178"/>
                  </a:cubicBezTo>
                  <a:cubicBezTo>
                    <a:pt x="2038" y="165"/>
                    <a:pt x="2033" y="151"/>
                    <a:pt x="2037" y="137"/>
                  </a:cubicBezTo>
                  <a:cubicBezTo>
                    <a:pt x="2032" y="137"/>
                    <a:pt x="2034" y="128"/>
                    <a:pt x="2029" y="130"/>
                  </a:cubicBezTo>
                  <a:cubicBezTo>
                    <a:pt x="2028" y="137"/>
                    <a:pt x="2032" y="137"/>
                    <a:pt x="2034" y="141"/>
                  </a:cubicBezTo>
                  <a:cubicBezTo>
                    <a:pt x="2028" y="144"/>
                    <a:pt x="2032" y="154"/>
                    <a:pt x="2031" y="159"/>
                  </a:cubicBezTo>
                  <a:cubicBezTo>
                    <a:pt x="2031" y="160"/>
                    <a:pt x="2029" y="160"/>
                    <a:pt x="2029" y="163"/>
                  </a:cubicBezTo>
                  <a:cubicBezTo>
                    <a:pt x="2028" y="168"/>
                    <a:pt x="2028" y="171"/>
                    <a:pt x="2026" y="174"/>
                  </a:cubicBezTo>
                  <a:cubicBezTo>
                    <a:pt x="2023" y="180"/>
                    <a:pt x="2024" y="190"/>
                    <a:pt x="2020" y="193"/>
                  </a:cubicBezTo>
                  <a:cubicBezTo>
                    <a:pt x="2013" y="185"/>
                    <a:pt x="2023" y="171"/>
                    <a:pt x="2026" y="167"/>
                  </a:cubicBezTo>
                  <a:cubicBezTo>
                    <a:pt x="2027" y="155"/>
                    <a:pt x="2019" y="157"/>
                    <a:pt x="2018" y="148"/>
                  </a:cubicBezTo>
                  <a:cubicBezTo>
                    <a:pt x="2021" y="148"/>
                    <a:pt x="2022" y="153"/>
                    <a:pt x="2026" y="152"/>
                  </a:cubicBezTo>
                  <a:cubicBezTo>
                    <a:pt x="2029" y="152"/>
                    <a:pt x="2029" y="142"/>
                    <a:pt x="2026" y="141"/>
                  </a:cubicBezTo>
                  <a:cubicBezTo>
                    <a:pt x="2026" y="156"/>
                    <a:pt x="2022" y="141"/>
                    <a:pt x="2020" y="137"/>
                  </a:cubicBezTo>
                  <a:cubicBezTo>
                    <a:pt x="2012" y="140"/>
                    <a:pt x="2015" y="140"/>
                    <a:pt x="2007" y="137"/>
                  </a:cubicBezTo>
                  <a:cubicBezTo>
                    <a:pt x="2000" y="144"/>
                    <a:pt x="2009" y="172"/>
                    <a:pt x="2002" y="178"/>
                  </a:cubicBezTo>
                  <a:cubicBezTo>
                    <a:pt x="1999" y="168"/>
                    <a:pt x="1995" y="172"/>
                    <a:pt x="1999" y="167"/>
                  </a:cubicBezTo>
                  <a:cubicBezTo>
                    <a:pt x="2001" y="164"/>
                    <a:pt x="1990" y="162"/>
                    <a:pt x="1991" y="159"/>
                  </a:cubicBezTo>
                  <a:cubicBezTo>
                    <a:pt x="1990" y="153"/>
                    <a:pt x="1995" y="150"/>
                    <a:pt x="1991" y="148"/>
                  </a:cubicBezTo>
                  <a:cubicBezTo>
                    <a:pt x="1991" y="150"/>
                    <a:pt x="1989" y="152"/>
                    <a:pt x="1988" y="148"/>
                  </a:cubicBezTo>
                  <a:cubicBezTo>
                    <a:pt x="1994" y="147"/>
                    <a:pt x="1995" y="141"/>
                    <a:pt x="1999" y="137"/>
                  </a:cubicBezTo>
                  <a:cubicBezTo>
                    <a:pt x="2000" y="143"/>
                    <a:pt x="2002" y="136"/>
                    <a:pt x="2007" y="137"/>
                  </a:cubicBezTo>
                  <a:cubicBezTo>
                    <a:pt x="2009" y="134"/>
                    <a:pt x="2008" y="129"/>
                    <a:pt x="2010" y="126"/>
                  </a:cubicBezTo>
                  <a:cubicBezTo>
                    <a:pt x="2010" y="126"/>
                    <a:pt x="2012" y="126"/>
                    <a:pt x="2012" y="126"/>
                  </a:cubicBezTo>
                  <a:cubicBezTo>
                    <a:pt x="2013" y="121"/>
                    <a:pt x="2010" y="118"/>
                    <a:pt x="2010" y="115"/>
                  </a:cubicBezTo>
                  <a:cubicBezTo>
                    <a:pt x="2010" y="115"/>
                    <a:pt x="2013" y="114"/>
                    <a:pt x="2012" y="111"/>
                  </a:cubicBezTo>
                  <a:cubicBezTo>
                    <a:pt x="2012" y="111"/>
                    <a:pt x="2007" y="109"/>
                    <a:pt x="2007" y="108"/>
                  </a:cubicBezTo>
                  <a:cubicBezTo>
                    <a:pt x="2007" y="113"/>
                    <a:pt x="2007" y="120"/>
                    <a:pt x="2002" y="119"/>
                  </a:cubicBezTo>
                  <a:cubicBezTo>
                    <a:pt x="2001" y="112"/>
                    <a:pt x="2005" y="111"/>
                    <a:pt x="2004" y="104"/>
                  </a:cubicBezTo>
                  <a:cubicBezTo>
                    <a:pt x="2001" y="104"/>
                    <a:pt x="1998" y="106"/>
                    <a:pt x="1996" y="108"/>
                  </a:cubicBezTo>
                  <a:cubicBezTo>
                    <a:pt x="2003" y="102"/>
                    <a:pt x="1993" y="95"/>
                    <a:pt x="1988" y="96"/>
                  </a:cubicBezTo>
                  <a:cubicBezTo>
                    <a:pt x="1985" y="98"/>
                    <a:pt x="1986" y="102"/>
                    <a:pt x="1983" y="104"/>
                  </a:cubicBezTo>
                  <a:cubicBezTo>
                    <a:pt x="1983" y="99"/>
                    <a:pt x="1984" y="96"/>
                    <a:pt x="1986" y="93"/>
                  </a:cubicBezTo>
                  <a:cubicBezTo>
                    <a:pt x="1982" y="93"/>
                    <a:pt x="1978" y="93"/>
                    <a:pt x="1975" y="93"/>
                  </a:cubicBezTo>
                  <a:cubicBezTo>
                    <a:pt x="1974" y="97"/>
                    <a:pt x="1975" y="103"/>
                    <a:pt x="1972" y="104"/>
                  </a:cubicBezTo>
                  <a:cubicBezTo>
                    <a:pt x="1969" y="104"/>
                    <a:pt x="1970" y="97"/>
                    <a:pt x="1967" y="96"/>
                  </a:cubicBezTo>
                  <a:cubicBezTo>
                    <a:pt x="1967" y="97"/>
                    <a:pt x="1960" y="104"/>
                    <a:pt x="1956" y="100"/>
                  </a:cubicBezTo>
                  <a:cubicBezTo>
                    <a:pt x="1955" y="90"/>
                    <a:pt x="1948" y="87"/>
                    <a:pt x="1940" y="85"/>
                  </a:cubicBezTo>
                  <a:cubicBezTo>
                    <a:pt x="1939" y="93"/>
                    <a:pt x="1943" y="93"/>
                    <a:pt x="1945" y="96"/>
                  </a:cubicBezTo>
                  <a:cubicBezTo>
                    <a:pt x="1936" y="90"/>
                    <a:pt x="1937" y="97"/>
                    <a:pt x="1932" y="104"/>
                  </a:cubicBezTo>
                  <a:cubicBezTo>
                    <a:pt x="1930" y="93"/>
                    <a:pt x="1936" y="93"/>
                    <a:pt x="1934" y="82"/>
                  </a:cubicBezTo>
                  <a:cubicBezTo>
                    <a:pt x="1924" y="83"/>
                    <a:pt x="1936" y="98"/>
                    <a:pt x="1924" y="100"/>
                  </a:cubicBezTo>
                  <a:cubicBezTo>
                    <a:pt x="1928" y="88"/>
                    <a:pt x="1922" y="81"/>
                    <a:pt x="1924" y="63"/>
                  </a:cubicBezTo>
                  <a:cubicBezTo>
                    <a:pt x="1920" y="64"/>
                    <a:pt x="1915" y="60"/>
                    <a:pt x="1916" y="56"/>
                  </a:cubicBezTo>
                  <a:cubicBezTo>
                    <a:pt x="1916" y="56"/>
                    <a:pt x="1920" y="54"/>
                    <a:pt x="1918" y="52"/>
                  </a:cubicBezTo>
                  <a:cubicBezTo>
                    <a:pt x="1914" y="48"/>
                    <a:pt x="1902" y="50"/>
                    <a:pt x="1905" y="52"/>
                  </a:cubicBezTo>
                  <a:cubicBezTo>
                    <a:pt x="1908" y="54"/>
                    <a:pt x="1910" y="57"/>
                    <a:pt x="1910" y="63"/>
                  </a:cubicBezTo>
                  <a:cubicBezTo>
                    <a:pt x="1905" y="59"/>
                    <a:pt x="1897" y="69"/>
                    <a:pt x="1905" y="71"/>
                  </a:cubicBezTo>
                  <a:cubicBezTo>
                    <a:pt x="1905" y="67"/>
                    <a:pt x="1910" y="66"/>
                    <a:pt x="1910" y="71"/>
                  </a:cubicBezTo>
                  <a:cubicBezTo>
                    <a:pt x="1909" y="76"/>
                    <a:pt x="1906" y="80"/>
                    <a:pt x="1902" y="82"/>
                  </a:cubicBezTo>
                  <a:cubicBezTo>
                    <a:pt x="1896" y="73"/>
                    <a:pt x="1893" y="76"/>
                    <a:pt x="1886" y="82"/>
                  </a:cubicBezTo>
                  <a:cubicBezTo>
                    <a:pt x="1884" y="95"/>
                    <a:pt x="1889" y="100"/>
                    <a:pt x="1891" y="108"/>
                  </a:cubicBezTo>
                  <a:cubicBezTo>
                    <a:pt x="1888" y="112"/>
                    <a:pt x="1881" y="109"/>
                    <a:pt x="1878" y="104"/>
                  </a:cubicBezTo>
                  <a:cubicBezTo>
                    <a:pt x="1881" y="102"/>
                    <a:pt x="1884" y="99"/>
                    <a:pt x="1883" y="93"/>
                  </a:cubicBezTo>
                  <a:cubicBezTo>
                    <a:pt x="1877" y="93"/>
                    <a:pt x="1875" y="100"/>
                    <a:pt x="1873" y="89"/>
                  </a:cubicBezTo>
                  <a:cubicBezTo>
                    <a:pt x="1871" y="83"/>
                    <a:pt x="1876" y="67"/>
                    <a:pt x="1870" y="67"/>
                  </a:cubicBezTo>
                  <a:cubicBezTo>
                    <a:pt x="1870" y="84"/>
                    <a:pt x="1861" y="97"/>
                    <a:pt x="1862" y="111"/>
                  </a:cubicBezTo>
                  <a:cubicBezTo>
                    <a:pt x="1862" y="119"/>
                    <a:pt x="1874" y="123"/>
                    <a:pt x="1865" y="130"/>
                  </a:cubicBezTo>
                  <a:cubicBezTo>
                    <a:pt x="1854" y="127"/>
                    <a:pt x="1867" y="117"/>
                    <a:pt x="1856" y="115"/>
                  </a:cubicBezTo>
                  <a:cubicBezTo>
                    <a:pt x="1852" y="121"/>
                    <a:pt x="1857" y="147"/>
                    <a:pt x="1848" y="156"/>
                  </a:cubicBezTo>
                  <a:cubicBezTo>
                    <a:pt x="1850" y="144"/>
                    <a:pt x="1844" y="145"/>
                    <a:pt x="1846" y="133"/>
                  </a:cubicBezTo>
                  <a:cubicBezTo>
                    <a:pt x="1855" y="137"/>
                    <a:pt x="1850" y="122"/>
                    <a:pt x="1851" y="115"/>
                  </a:cubicBezTo>
                  <a:cubicBezTo>
                    <a:pt x="1842" y="117"/>
                    <a:pt x="1840" y="91"/>
                    <a:pt x="1846" y="85"/>
                  </a:cubicBezTo>
                  <a:cubicBezTo>
                    <a:pt x="1849" y="86"/>
                    <a:pt x="1852" y="105"/>
                    <a:pt x="1856" y="93"/>
                  </a:cubicBezTo>
                  <a:cubicBezTo>
                    <a:pt x="1850" y="85"/>
                    <a:pt x="1863" y="96"/>
                    <a:pt x="1865" y="89"/>
                  </a:cubicBezTo>
                  <a:cubicBezTo>
                    <a:pt x="1865" y="79"/>
                    <a:pt x="1863" y="68"/>
                    <a:pt x="1867" y="63"/>
                  </a:cubicBezTo>
                  <a:cubicBezTo>
                    <a:pt x="1862" y="62"/>
                    <a:pt x="1861" y="67"/>
                    <a:pt x="1856" y="67"/>
                  </a:cubicBezTo>
                  <a:cubicBezTo>
                    <a:pt x="1853" y="67"/>
                    <a:pt x="1852" y="59"/>
                    <a:pt x="1848" y="60"/>
                  </a:cubicBezTo>
                  <a:cubicBezTo>
                    <a:pt x="1847" y="60"/>
                    <a:pt x="1847" y="65"/>
                    <a:pt x="1843" y="63"/>
                  </a:cubicBezTo>
                  <a:cubicBezTo>
                    <a:pt x="1843" y="63"/>
                    <a:pt x="1843" y="57"/>
                    <a:pt x="1843" y="56"/>
                  </a:cubicBezTo>
                  <a:cubicBezTo>
                    <a:pt x="1837" y="57"/>
                    <a:pt x="1832" y="60"/>
                    <a:pt x="1827" y="63"/>
                  </a:cubicBezTo>
                  <a:cubicBezTo>
                    <a:pt x="1827" y="57"/>
                    <a:pt x="1827" y="50"/>
                    <a:pt x="1822" y="52"/>
                  </a:cubicBezTo>
                  <a:cubicBezTo>
                    <a:pt x="1821" y="56"/>
                    <a:pt x="1822" y="63"/>
                    <a:pt x="1819" y="63"/>
                  </a:cubicBezTo>
                  <a:cubicBezTo>
                    <a:pt x="1817" y="57"/>
                    <a:pt x="1816" y="65"/>
                    <a:pt x="1813" y="67"/>
                  </a:cubicBezTo>
                  <a:cubicBezTo>
                    <a:pt x="1810" y="55"/>
                    <a:pt x="1818" y="58"/>
                    <a:pt x="1819" y="52"/>
                  </a:cubicBezTo>
                  <a:cubicBezTo>
                    <a:pt x="1810" y="55"/>
                    <a:pt x="1813" y="55"/>
                    <a:pt x="1808" y="48"/>
                  </a:cubicBezTo>
                  <a:cubicBezTo>
                    <a:pt x="1809" y="54"/>
                    <a:pt x="1798" y="61"/>
                    <a:pt x="1797" y="52"/>
                  </a:cubicBezTo>
                  <a:cubicBezTo>
                    <a:pt x="1796" y="44"/>
                    <a:pt x="1808" y="57"/>
                    <a:pt x="1800" y="48"/>
                  </a:cubicBezTo>
                  <a:cubicBezTo>
                    <a:pt x="1798" y="36"/>
                    <a:pt x="1792" y="64"/>
                    <a:pt x="1792" y="48"/>
                  </a:cubicBezTo>
                  <a:cubicBezTo>
                    <a:pt x="1792" y="43"/>
                    <a:pt x="1783" y="41"/>
                    <a:pt x="1778" y="41"/>
                  </a:cubicBezTo>
                  <a:cubicBezTo>
                    <a:pt x="1778" y="45"/>
                    <a:pt x="1779" y="51"/>
                    <a:pt x="1776" y="52"/>
                  </a:cubicBezTo>
                  <a:cubicBezTo>
                    <a:pt x="1778" y="34"/>
                    <a:pt x="1767" y="40"/>
                    <a:pt x="1765" y="41"/>
                  </a:cubicBezTo>
                  <a:cubicBezTo>
                    <a:pt x="1756" y="44"/>
                    <a:pt x="1758" y="34"/>
                    <a:pt x="1752" y="37"/>
                  </a:cubicBezTo>
                  <a:cubicBezTo>
                    <a:pt x="1750" y="38"/>
                    <a:pt x="1752" y="46"/>
                    <a:pt x="1749" y="45"/>
                  </a:cubicBezTo>
                  <a:cubicBezTo>
                    <a:pt x="1748" y="40"/>
                    <a:pt x="1749" y="34"/>
                    <a:pt x="1746" y="34"/>
                  </a:cubicBezTo>
                  <a:cubicBezTo>
                    <a:pt x="1744" y="42"/>
                    <a:pt x="1729" y="44"/>
                    <a:pt x="1727" y="30"/>
                  </a:cubicBezTo>
                  <a:cubicBezTo>
                    <a:pt x="1728" y="24"/>
                    <a:pt x="1734" y="27"/>
                    <a:pt x="1735" y="22"/>
                  </a:cubicBezTo>
                  <a:cubicBezTo>
                    <a:pt x="1735" y="23"/>
                    <a:pt x="1731" y="19"/>
                    <a:pt x="1735" y="19"/>
                  </a:cubicBezTo>
                  <a:cubicBezTo>
                    <a:pt x="1741" y="16"/>
                    <a:pt x="1741" y="27"/>
                    <a:pt x="1744" y="26"/>
                  </a:cubicBezTo>
                  <a:cubicBezTo>
                    <a:pt x="1744" y="26"/>
                    <a:pt x="1749" y="14"/>
                    <a:pt x="1749" y="22"/>
                  </a:cubicBezTo>
                  <a:cubicBezTo>
                    <a:pt x="1749" y="28"/>
                    <a:pt x="1755" y="27"/>
                    <a:pt x="1757" y="30"/>
                  </a:cubicBezTo>
                  <a:cubicBezTo>
                    <a:pt x="1757" y="26"/>
                    <a:pt x="1757" y="19"/>
                    <a:pt x="1760" y="19"/>
                  </a:cubicBezTo>
                  <a:cubicBezTo>
                    <a:pt x="1759" y="25"/>
                    <a:pt x="1763" y="29"/>
                    <a:pt x="1765" y="22"/>
                  </a:cubicBezTo>
                  <a:cubicBezTo>
                    <a:pt x="1751" y="5"/>
                    <a:pt x="1742" y="19"/>
                    <a:pt x="1725" y="11"/>
                  </a:cubicBezTo>
                  <a:cubicBezTo>
                    <a:pt x="1719" y="18"/>
                    <a:pt x="1724" y="25"/>
                    <a:pt x="1725" y="34"/>
                  </a:cubicBezTo>
                  <a:cubicBezTo>
                    <a:pt x="1716" y="39"/>
                    <a:pt x="1713" y="35"/>
                    <a:pt x="1703" y="34"/>
                  </a:cubicBezTo>
                  <a:cubicBezTo>
                    <a:pt x="1703" y="37"/>
                    <a:pt x="1703" y="40"/>
                    <a:pt x="1700" y="41"/>
                  </a:cubicBezTo>
                  <a:cubicBezTo>
                    <a:pt x="1698" y="42"/>
                    <a:pt x="1698" y="38"/>
                    <a:pt x="1698" y="37"/>
                  </a:cubicBezTo>
                  <a:cubicBezTo>
                    <a:pt x="1695" y="36"/>
                    <a:pt x="1694" y="41"/>
                    <a:pt x="1692" y="41"/>
                  </a:cubicBezTo>
                  <a:cubicBezTo>
                    <a:pt x="1693" y="41"/>
                    <a:pt x="1691" y="38"/>
                    <a:pt x="1690" y="37"/>
                  </a:cubicBezTo>
                  <a:cubicBezTo>
                    <a:pt x="1687" y="36"/>
                    <a:pt x="1684" y="38"/>
                    <a:pt x="1682" y="37"/>
                  </a:cubicBezTo>
                  <a:cubicBezTo>
                    <a:pt x="1681" y="40"/>
                    <a:pt x="1682" y="45"/>
                    <a:pt x="1679" y="45"/>
                  </a:cubicBezTo>
                  <a:cubicBezTo>
                    <a:pt x="1676" y="36"/>
                    <a:pt x="1666" y="51"/>
                    <a:pt x="1666" y="34"/>
                  </a:cubicBezTo>
                  <a:cubicBezTo>
                    <a:pt x="1670" y="34"/>
                    <a:pt x="1675" y="34"/>
                    <a:pt x="1679" y="34"/>
                  </a:cubicBezTo>
                  <a:cubicBezTo>
                    <a:pt x="1680" y="18"/>
                    <a:pt x="1672" y="29"/>
                    <a:pt x="1671" y="22"/>
                  </a:cubicBezTo>
                  <a:cubicBezTo>
                    <a:pt x="1673" y="22"/>
                    <a:pt x="1674" y="22"/>
                    <a:pt x="1674" y="19"/>
                  </a:cubicBezTo>
                  <a:cubicBezTo>
                    <a:pt x="1665" y="23"/>
                    <a:pt x="1657" y="20"/>
                    <a:pt x="1652" y="22"/>
                  </a:cubicBezTo>
                  <a:cubicBezTo>
                    <a:pt x="1651" y="23"/>
                    <a:pt x="1648" y="29"/>
                    <a:pt x="1647" y="30"/>
                  </a:cubicBezTo>
                  <a:cubicBezTo>
                    <a:pt x="1644" y="32"/>
                    <a:pt x="1641" y="30"/>
                    <a:pt x="1639" y="34"/>
                  </a:cubicBezTo>
                  <a:cubicBezTo>
                    <a:pt x="1636" y="38"/>
                    <a:pt x="1638" y="46"/>
                    <a:pt x="1636" y="52"/>
                  </a:cubicBezTo>
                  <a:cubicBezTo>
                    <a:pt x="1635" y="55"/>
                    <a:pt x="1629" y="55"/>
                    <a:pt x="1628" y="60"/>
                  </a:cubicBezTo>
                  <a:cubicBezTo>
                    <a:pt x="1640" y="53"/>
                    <a:pt x="1641" y="69"/>
                    <a:pt x="1644" y="71"/>
                  </a:cubicBezTo>
                  <a:cubicBezTo>
                    <a:pt x="1649" y="73"/>
                    <a:pt x="1655" y="66"/>
                    <a:pt x="1660" y="74"/>
                  </a:cubicBezTo>
                  <a:cubicBezTo>
                    <a:pt x="1647" y="75"/>
                    <a:pt x="1648" y="95"/>
                    <a:pt x="1633" y="93"/>
                  </a:cubicBezTo>
                  <a:cubicBezTo>
                    <a:pt x="1633" y="98"/>
                    <a:pt x="1633" y="103"/>
                    <a:pt x="1633" y="108"/>
                  </a:cubicBezTo>
                  <a:cubicBezTo>
                    <a:pt x="1637" y="108"/>
                    <a:pt x="1643" y="106"/>
                    <a:pt x="1644" y="111"/>
                  </a:cubicBezTo>
                  <a:cubicBezTo>
                    <a:pt x="1644" y="115"/>
                    <a:pt x="1646" y="116"/>
                    <a:pt x="1647" y="119"/>
                  </a:cubicBezTo>
                  <a:cubicBezTo>
                    <a:pt x="1642" y="122"/>
                    <a:pt x="1637" y="125"/>
                    <a:pt x="1631" y="126"/>
                  </a:cubicBezTo>
                  <a:cubicBezTo>
                    <a:pt x="1629" y="139"/>
                    <a:pt x="1641" y="132"/>
                    <a:pt x="1641" y="141"/>
                  </a:cubicBezTo>
                  <a:cubicBezTo>
                    <a:pt x="1649" y="136"/>
                    <a:pt x="1647" y="141"/>
                    <a:pt x="1652" y="141"/>
                  </a:cubicBezTo>
                  <a:cubicBezTo>
                    <a:pt x="1652" y="141"/>
                    <a:pt x="1653" y="138"/>
                    <a:pt x="1655" y="137"/>
                  </a:cubicBezTo>
                  <a:cubicBezTo>
                    <a:pt x="1657" y="137"/>
                    <a:pt x="1660" y="138"/>
                    <a:pt x="1660" y="141"/>
                  </a:cubicBezTo>
                  <a:cubicBezTo>
                    <a:pt x="1654" y="143"/>
                    <a:pt x="1646" y="144"/>
                    <a:pt x="1647" y="156"/>
                  </a:cubicBezTo>
                  <a:cubicBezTo>
                    <a:pt x="1654" y="158"/>
                    <a:pt x="1664" y="145"/>
                    <a:pt x="1668" y="156"/>
                  </a:cubicBezTo>
                  <a:cubicBezTo>
                    <a:pt x="1657" y="155"/>
                    <a:pt x="1652" y="162"/>
                    <a:pt x="1652" y="178"/>
                  </a:cubicBezTo>
                  <a:cubicBezTo>
                    <a:pt x="1663" y="184"/>
                    <a:pt x="1653" y="162"/>
                    <a:pt x="1660" y="163"/>
                  </a:cubicBezTo>
                  <a:cubicBezTo>
                    <a:pt x="1666" y="165"/>
                    <a:pt x="1678" y="158"/>
                    <a:pt x="1679" y="167"/>
                  </a:cubicBezTo>
                  <a:cubicBezTo>
                    <a:pt x="1678" y="179"/>
                    <a:pt x="1663" y="178"/>
                    <a:pt x="1663" y="185"/>
                  </a:cubicBezTo>
                  <a:cubicBezTo>
                    <a:pt x="1662" y="195"/>
                    <a:pt x="1655" y="189"/>
                    <a:pt x="1655" y="196"/>
                  </a:cubicBezTo>
                  <a:cubicBezTo>
                    <a:pt x="1661" y="199"/>
                    <a:pt x="1656" y="217"/>
                    <a:pt x="1657" y="226"/>
                  </a:cubicBezTo>
                  <a:cubicBezTo>
                    <a:pt x="1644" y="218"/>
                    <a:pt x="1654" y="243"/>
                    <a:pt x="1647" y="244"/>
                  </a:cubicBezTo>
                  <a:cubicBezTo>
                    <a:pt x="1648" y="231"/>
                    <a:pt x="1642" y="234"/>
                    <a:pt x="1641" y="230"/>
                  </a:cubicBezTo>
                  <a:cubicBezTo>
                    <a:pt x="1641" y="229"/>
                    <a:pt x="1646" y="230"/>
                    <a:pt x="1647" y="230"/>
                  </a:cubicBezTo>
                  <a:cubicBezTo>
                    <a:pt x="1648" y="228"/>
                    <a:pt x="1643" y="223"/>
                    <a:pt x="1644" y="222"/>
                  </a:cubicBezTo>
                  <a:cubicBezTo>
                    <a:pt x="1643" y="209"/>
                    <a:pt x="1637" y="235"/>
                    <a:pt x="1636" y="222"/>
                  </a:cubicBezTo>
                  <a:cubicBezTo>
                    <a:pt x="1636" y="208"/>
                    <a:pt x="1640" y="201"/>
                    <a:pt x="1644" y="193"/>
                  </a:cubicBezTo>
                  <a:cubicBezTo>
                    <a:pt x="1642" y="193"/>
                    <a:pt x="1640" y="192"/>
                    <a:pt x="1639" y="193"/>
                  </a:cubicBezTo>
                  <a:cubicBezTo>
                    <a:pt x="1635" y="194"/>
                    <a:pt x="1637" y="196"/>
                    <a:pt x="1636" y="200"/>
                  </a:cubicBezTo>
                  <a:cubicBezTo>
                    <a:pt x="1636" y="200"/>
                    <a:pt x="1633" y="200"/>
                    <a:pt x="1633" y="200"/>
                  </a:cubicBezTo>
                  <a:cubicBezTo>
                    <a:pt x="1632" y="203"/>
                    <a:pt x="1634" y="211"/>
                    <a:pt x="1633" y="215"/>
                  </a:cubicBezTo>
                  <a:cubicBezTo>
                    <a:pt x="1633" y="219"/>
                    <a:pt x="1630" y="220"/>
                    <a:pt x="1631" y="226"/>
                  </a:cubicBezTo>
                  <a:cubicBezTo>
                    <a:pt x="1631" y="231"/>
                    <a:pt x="1635" y="233"/>
                    <a:pt x="1633" y="241"/>
                  </a:cubicBezTo>
                  <a:cubicBezTo>
                    <a:pt x="1628" y="234"/>
                    <a:pt x="1627" y="240"/>
                    <a:pt x="1620" y="241"/>
                  </a:cubicBezTo>
                  <a:cubicBezTo>
                    <a:pt x="1620" y="231"/>
                    <a:pt x="1608" y="237"/>
                    <a:pt x="1612" y="222"/>
                  </a:cubicBezTo>
                  <a:cubicBezTo>
                    <a:pt x="1615" y="223"/>
                    <a:pt x="1617" y="227"/>
                    <a:pt x="1623" y="226"/>
                  </a:cubicBezTo>
                  <a:cubicBezTo>
                    <a:pt x="1622" y="215"/>
                    <a:pt x="1623" y="213"/>
                    <a:pt x="1628" y="218"/>
                  </a:cubicBezTo>
                  <a:cubicBezTo>
                    <a:pt x="1625" y="212"/>
                    <a:pt x="1629" y="201"/>
                    <a:pt x="1630" y="200"/>
                  </a:cubicBezTo>
                  <a:cubicBezTo>
                    <a:pt x="1629" y="199"/>
                    <a:pt x="1624" y="199"/>
                    <a:pt x="1625" y="196"/>
                  </a:cubicBezTo>
                  <a:cubicBezTo>
                    <a:pt x="1627" y="193"/>
                    <a:pt x="1637" y="199"/>
                    <a:pt x="1633" y="189"/>
                  </a:cubicBezTo>
                  <a:cubicBezTo>
                    <a:pt x="1629" y="189"/>
                    <a:pt x="1624" y="189"/>
                    <a:pt x="1620" y="189"/>
                  </a:cubicBezTo>
                  <a:cubicBezTo>
                    <a:pt x="1620" y="202"/>
                    <a:pt x="1621" y="215"/>
                    <a:pt x="1614" y="218"/>
                  </a:cubicBezTo>
                  <a:cubicBezTo>
                    <a:pt x="1614" y="211"/>
                    <a:pt x="1607" y="224"/>
                    <a:pt x="1606" y="211"/>
                  </a:cubicBezTo>
                  <a:cubicBezTo>
                    <a:pt x="1612" y="210"/>
                    <a:pt x="1618" y="210"/>
                    <a:pt x="1617" y="200"/>
                  </a:cubicBezTo>
                  <a:cubicBezTo>
                    <a:pt x="1612" y="198"/>
                    <a:pt x="1601" y="205"/>
                    <a:pt x="1601" y="196"/>
                  </a:cubicBezTo>
                  <a:cubicBezTo>
                    <a:pt x="1602" y="191"/>
                    <a:pt x="1605" y="189"/>
                    <a:pt x="1604" y="182"/>
                  </a:cubicBezTo>
                  <a:cubicBezTo>
                    <a:pt x="1590" y="179"/>
                    <a:pt x="1607" y="180"/>
                    <a:pt x="1606" y="174"/>
                  </a:cubicBezTo>
                  <a:cubicBezTo>
                    <a:pt x="1603" y="174"/>
                    <a:pt x="1599" y="175"/>
                    <a:pt x="1598" y="170"/>
                  </a:cubicBezTo>
                  <a:cubicBezTo>
                    <a:pt x="1610" y="173"/>
                    <a:pt x="1596" y="163"/>
                    <a:pt x="1604" y="163"/>
                  </a:cubicBezTo>
                  <a:cubicBezTo>
                    <a:pt x="1606" y="176"/>
                    <a:pt x="1618" y="182"/>
                    <a:pt x="1612" y="196"/>
                  </a:cubicBezTo>
                  <a:cubicBezTo>
                    <a:pt x="1622" y="199"/>
                    <a:pt x="1615" y="179"/>
                    <a:pt x="1617" y="170"/>
                  </a:cubicBezTo>
                  <a:cubicBezTo>
                    <a:pt x="1618" y="169"/>
                    <a:pt x="1624" y="171"/>
                    <a:pt x="1623" y="167"/>
                  </a:cubicBezTo>
                  <a:cubicBezTo>
                    <a:pt x="1621" y="167"/>
                    <a:pt x="1619" y="166"/>
                    <a:pt x="1620" y="163"/>
                  </a:cubicBezTo>
                  <a:cubicBezTo>
                    <a:pt x="1617" y="163"/>
                    <a:pt x="1617" y="160"/>
                    <a:pt x="1614" y="159"/>
                  </a:cubicBezTo>
                  <a:cubicBezTo>
                    <a:pt x="1613" y="164"/>
                    <a:pt x="1612" y="168"/>
                    <a:pt x="1609" y="170"/>
                  </a:cubicBezTo>
                  <a:cubicBezTo>
                    <a:pt x="1614" y="153"/>
                    <a:pt x="1602" y="159"/>
                    <a:pt x="1598" y="152"/>
                  </a:cubicBezTo>
                  <a:cubicBezTo>
                    <a:pt x="1598" y="147"/>
                    <a:pt x="1614" y="147"/>
                    <a:pt x="1604" y="141"/>
                  </a:cubicBezTo>
                  <a:cubicBezTo>
                    <a:pt x="1602" y="152"/>
                    <a:pt x="1600" y="135"/>
                    <a:pt x="1596" y="137"/>
                  </a:cubicBezTo>
                  <a:cubicBezTo>
                    <a:pt x="1596" y="143"/>
                    <a:pt x="1588" y="139"/>
                    <a:pt x="1588" y="145"/>
                  </a:cubicBezTo>
                  <a:cubicBezTo>
                    <a:pt x="1590" y="148"/>
                    <a:pt x="1597" y="146"/>
                    <a:pt x="1596" y="156"/>
                  </a:cubicBezTo>
                  <a:cubicBezTo>
                    <a:pt x="1579" y="151"/>
                    <a:pt x="1596" y="170"/>
                    <a:pt x="1588" y="174"/>
                  </a:cubicBezTo>
                  <a:cubicBezTo>
                    <a:pt x="1584" y="174"/>
                    <a:pt x="1582" y="168"/>
                    <a:pt x="1580" y="174"/>
                  </a:cubicBezTo>
                  <a:cubicBezTo>
                    <a:pt x="1591" y="170"/>
                    <a:pt x="1585" y="192"/>
                    <a:pt x="1585" y="193"/>
                  </a:cubicBezTo>
                  <a:cubicBezTo>
                    <a:pt x="1585" y="194"/>
                    <a:pt x="1592" y="192"/>
                    <a:pt x="1590" y="196"/>
                  </a:cubicBezTo>
                  <a:cubicBezTo>
                    <a:pt x="1583" y="199"/>
                    <a:pt x="1588" y="217"/>
                    <a:pt x="1580" y="218"/>
                  </a:cubicBezTo>
                  <a:cubicBezTo>
                    <a:pt x="1574" y="217"/>
                    <a:pt x="1574" y="208"/>
                    <a:pt x="1569" y="207"/>
                  </a:cubicBezTo>
                  <a:cubicBezTo>
                    <a:pt x="1568" y="210"/>
                    <a:pt x="1569" y="215"/>
                    <a:pt x="1566" y="215"/>
                  </a:cubicBezTo>
                  <a:cubicBezTo>
                    <a:pt x="1564" y="204"/>
                    <a:pt x="1570" y="205"/>
                    <a:pt x="1569" y="196"/>
                  </a:cubicBezTo>
                  <a:cubicBezTo>
                    <a:pt x="1564" y="198"/>
                    <a:pt x="1560" y="183"/>
                    <a:pt x="1566" y="182"/>
                  </a:cubicBezTo>
                  <a:cubicBezTo>
                    <a:pt x="1566" y="188"/>
                    <a:pt x="1569" y="190"/>
                    <a:pt x="1574" y="189"/>
                  </a:cubicBezTo>
                  <a:cubicBezTo>
                    <a:pt x="1573" y="199"/>
                    <a:pt x="1575" y="205"/>
                    <a:pt x="1582" y="204"/>
                  </a:cubicBezTo>
                  <a:cubicBezTo>
                    <a:pt x="1581" y="191"/>
                    <a:pt x="1575" y="199"/>
                    <a:pt x="1580" y="185"/>
                  </a:cubicBezTo>
                  <a:cubicBezTo>
                    <a:pt x="1568" y="190"/>
                    <a:pt x="1575" y="170"/>
                    <a:pt x="1569" y="167"/>
                  </a:cubicBezTo>
                  <a:cubicBezTo>
                    <a:pt x="1565" y="181"/>
                    <a:pt x="1568" y="156"/>
                    <a:pt x="1563" y="159"/>
                  </a:cubicBezTo>
                  <a:cubicBezTo>
                    <a:pt x="1558" y="172"/>
                    <a:pt x="1554" y="153"/>
                    <a:pt x="1547" y="156"/>
                  </a:cubicBezTo>
                  <a:cubicBezTo>
                    <a:pt x="1550" y="161"/>
                    <a:pt x="1548" y="171"/>
                    <a:pt x="1550" y="174"/>
                  </a:cubicBezTo>
                  <a:cubicBezTo>
                    <a:pt x="1552" y="177"/>
                    <a:pt x="1557" y="177"/>
                    <a:pt x="1558" y="182"/>
                  </a:cubicBezTo>
                  <a:cubicBezTo>
                    <a:pt x="1554" y="182"/>
                    <a:pt x="1553" y="188"/>
                    <a:pt x="1550" y="189"/>
                  </a:cubicBezTo>
                  <a:cubicBezTo>
                    <a:pt x="1547" y="176"/>
                    <a:pt x="1530" y="182"/>
                    <a:pt x="1523" y="174"/>
                  </a:cubicBezTo>
                  <a:cubicBezTo>
                    <a:pt x="1522" y="177"/>
                    <a:pt x="1521" y="178"/>
                    <a:pt x="1518" y="178"/>
                  </a:cubicBezTo>
                  <a:cubicBezTo>
                    <a:pt x="1518" y="166"/>
                    <a:pt x="1510" y="187"/>
                    <a:pt x="1510" y="174"/>
                  </a:cubicBezTo>
                  <a:cubicBezTo>
                    <a:pt x="1510" y="169"/>
                    <a:pt x="1514" y="168"/>
                    <a:pt x="1515" y="163"/>
                  </a:cubicBezTo>
                  <a:cubicBezTo>
                    <a:pt x="1504" y="168"/>
                    <a:pt x="1506" y="156"/>
                    <a:pt x="1502" y="152"/>
                  </a:cubicBezTo>
                  <a:cubicBezTo>
                    <a:pt x="1501" y="156"/>
                    <a:pt x="1501" y="161"/>
                    <a:pt x="1496" y="159"/>
                  </a:cubicBezTo>
                  <a:cubicBezTo>
                    <a:pt x="1498" y="156"/>
                    <a:pt x="1502" y="146"/>
                    <a:pt x="1493" y="148"/>
                  </a:cubicBezTo>
                  <a:cubicBezTo>
                    <a:pt x="1485" y="147"/>
                    <a:pt x="1500" y="159"/>
                    <a:pt x="1491" y="159"/>
                  </a:cubicBezTo>
                  <a:cubicBezTo>
                    <a:pt x="1489" y="154"/>
                    <a:pt x="1487" y="150"/>
                    <a:pt x="1483" y="148"/>
                  </a:cubicBezTo>
                  <a:cubicBezTo>
                    <a:pt x="1483" y="164"/>
                    <a:pt x="1458" y="151"/>
                    <a:pt x="1450" y="156"/>
                  </a:cubicBezTo>
                  <a:cubicBezTo>
                    <a:pt x="1450" y="152"/>
                    <a:pt x="1450" y="148"/>
                    <a:pt x="1450" y="145"/>
                  </a:cubicBezTo>
                  <a:cubicBezTo>
                    <a:pt x="1445" y="143"/>
                    <a:pt x="1445" y="151"/>
                    <a:pt x="1442" y="152"/>
                  </a:cubicBezTo>
                  <a:cubicBezTo>
                    <a:pt x="1438" y="154"/>
                    <a:pt x="1433" y="151"/>
                    <a:pt x="1429" y="152"/>
                  </a:cubicBezTo>
                  <a:cubicBezTo>
                    <a:pt x="1428" y="150"/>
                    <a:pt x="1430" y="142"/>
                    <a:pt x="1429" y="141"/>
                  </a:cubicBezTo>
                  <a:cubicBezTo>
                    <a:pt x="1425" y="137"/>
                    <a:pt x="1406" y="140"/>
                    <a:pt x="1391" y="137"/>
                  </a:cubicBezTo>
                  <a:cubicBezTo>
                    <a:pt x="1388" y="137"/>
                    <a:pt x="1388" y="134"/>
                    <a:pt x="1383" y="133"/>
                  </a:cubicBezTo>
                  <a:cubicBezTo>
                    <a:pt x="1375" y="133"/>
                    <a:pt x="1377" y="140"/>
                    <a:pt x="1373" y="133"/>
                  </a:cubicBezTo>
                  <a:cubicBezTo>
                    <a:pt x="1370" y="130"/>
                    <a:pt x="1351" y="133"/>
                    <a:pt x="1354" y="137"/>
                  </a:cubicBezTo>
                  <a:cubicBezTo>
                    <a:pt x="1355" y="144"/>
                    <a:pt x="1366" y="137"/>
                    <a:pt x="1367" y="145"/>
                  </a:cubicBezTo>
                  <a:cubicBezTo>
                    <a:pt x="1362" y="152"/>
                    <a:pt x="1368" y="161"/>
                    <a:pt x="1367" y="163"/>
                  </a:cubicBezTo>
                  <a:cubicBezTo>
                    <a:pt x="1367" y="164"/>
                    <a:pt x="1362" y="162"/>
                    <a:pt x="1362" y="163"/>
                  </a:cubicBezTo>
                  <a:cubicBezTo>
                    <a:pt x="1361" y="164"/>
                    <a:pt x="1362" y="170"/>
                    <a:pt x="1362" y="170"/>
                  </a:cubicBezTo>
                  <a:cubicBezTo>
                    <a:pt x="1359" y="172"/>
                    <a:pt x="1354" y="170"/>
                    <a:pt x="1354" y="167"/>
                  </a:cubicBezTo>
                  <a:cubicBezTo>
                    <a:pt x="1357" y="166"/>
                    <a:pt x="1360" y="166"/>
                    <a:pt x="1359" y="159"/>
                  </a:cubicBezTo>
                  <a:cubicBezTo>
                    <a:pt x="1352" y="162"/>
                    <a:pt x="1349" y="158"/>
                    <a:pt x="1351" y="148"/>
                  </a:cubicBezTo>
                  <a:cubicBezTo>
                    <a:pt x="1354" y="153"/>
                    <a:pt x="1364" y="154"/>
                    <a:pt x="1364" y="145"/>
                  </a:cubicBezTo>
                  <a:cubicBezTo>
                    <a:pt x="1352" y="148"/>
                    <a:pt x="1351" y="136"/>
                    <a:pt x="1346" y="130"/>
                  </a:cubicBezTo>
                  <a:cubicBezTo>
                    <a:pt x="1345" y="135"/>
                    <a:pt x="1347" y="138"/>
                    <a:pt x="1348" y="141"/>
                  </a:cubicBezTo>
                  <a:cubicBezTo>
                    <a:pt x="1345" y="141"/>
                    <a:pt x="1342" y="143"/>
                    <a:pt x="1340" y="145"/>
                  </a:cubicBezTo>
                  <a:cubicBezTo>
                    <a:pt x="1339" y="140"/>
                    <a:pt x="1332" y="144"/>
                    <a:pt x="1329" y="141"/>
                  </a:cubicBezTo>
                  <a:cubicBezTo>
                    <a:pt x="1328" y="139"/>
                    <a:pt x="1330" y="132"/>
                    <a:pt x="1327" y="133"/>
                  </a:cubicBezTo>
                  <a:cubicBezTo>
                    <a:pt x="1322" y="151"/>
                    <a:pt x="1306" y="131"/>
                    <a:pt x="1297" y="141"/>
                  </a:cubicBezTo>
                  <a:cubicBezTo>
                    <a:pt x="1297" y="136"/>
                    <a:pt x="1298" y="133"/>
                    <a:pt x="1300" y="130"/>
                  </a:cubicBezTo>
                  <a:cubicBezTo>
                    <a:pt x="1291" y="132"/>
                    <a:pt x="1293" y="117"/>
                    <a:pt x="1286" y="126"/>
                  </a:cubicBezTo>
                  <a:cubicBezTo>
                    <a:pt x="1287" y="121"/>
                    <a:pt x="1285" y="118"/>
                    <a:pt x="1284" y="115"/>
                  </a:cubicBezTo>
                  <a:cubicBezTo>
                    <a:pt x="1283" y="112"/>
                    <a:pt x="1284" y="108"/>
                    <a:pt x="1281" y="108"/>
                  </a:cubicBezTo>
                  <a:cubicBezTo>
                    <a:pt x="1281" y="117"/>
                    <a:pt x="1280" y="123"/>
                    <a:pt x="1276" y="126"/>
                  </a:cubicBezTo>
                  <a:cubicBezTo>
                    <a:pt x="1268" y="131"/>
                    <a:pt x="1262" y="116"/>
                    <a:pt x="1260" y="126"/>
                  </a:cubicBezTo>
                  <a:cubicBezTo>
                    <a:pt x="1262" y="127"/>
                    <a:pt x="1263" y="129"/>
                    <a:pt x="1262" y="133"/>
                  </a:cubicBezTo>
                  <a:cubicBezTo>
                    <a:pt x="1255" y="133"/>
                    <a:pt x="1248" y="133"/>
                    <a:pt x="1241" y="133"/>
                  </a:cubicBezTo>
                  <a:cubicBezTo>
                    <a:pt x="1248" y="120"/>
                    <a:pt x="1234" y="134"/>
                    <a:pt x="1225" y="130"/>
                  </a:cubicBezTo>
                  <a:cubicBezTo>
                    <a:pt x="1225" y="109"/>
                    <a:pt x="1222" y="127"/>
                    <a:pt x="1219" y="126"/>
                  </a:cubicBezTo>
                  <a:cubicBezTo>
                    <a:pt x="1217" y="125"/>
                    <a:pt x="1220" y="119"/>
                    <a:pt x="1217" y="119"/>
                  </a:cubicBezTo>
                  <a:cubicBezTo>
                    <a:pt x="1216" y="119"/>
                    <a:pt x="1216" y="126"/>
                    <a:pt x="1214" y="126"/>
                  </a:cubicBezTo>
                  <a:cubicBezTo>
                    <a:pt x="1213" y="126"/>
                    <a:pt x="1211" y="117"/>
                    <a:pt x="1208" y="119"/>
                  </a:cubicBezTo>
                  <a:cubicBezTo>
                    <a:pt x="1208" y="122"/>
                    <a:pt x="1208" y="126"/>
                    <a:pt x="1206" y="126"/>
                  </a:cubicBezTo>
                  <a:cubicBezTo>
                    <a:pt x="1205" y="122"/>
                    <a:pt x="1206" y="116"/>
                    <a:pt x="1203" y="115"/>
                  </a:cubicBezTo>
                  <a:cubicBezTo>
                    <a:pt x="1197" y="120"/>
                    <a:pt x="1207" y="124"/>
                    <a:pt x="1200" y="126"/>
                  </a:cubicBezTo>
                  <a:cubicBezTo>
                    <a:pt x="1197" y="125"/>
                    <a:pt x="1197" y="120"/>
                    <a:pt x="1198" y="115"/>
                  </a:cubicBezTo>
                  <a:cubicBezTo>
                    <a:pt x="1190" y="116"/>
                    <a:pt x="1179" y="112"/>
                    <a:pt x="1179" y="122"/>
                  </a:cubicBezTo>
                  <a:cubicBezTo>
                    <a:pt x="1182" y="123"/>
                    <a:pt x="1187" y="122"/>
                    <a:pt x="1187" y="126"/>
                  </a:cubicBezTo>
                  <a:cubicBezTo>
                    <a:pt x="1182" y="126"/>
                    <a:pt x="1178" y="126"/>
                    <a:pt x="1173" y="126"/>
                  </a:cubicBezTo>
                  <a:cubicBezTo>
                    <a:pt x="1170" y="121"/>
                    <a:pt x="1172" y="105"/>
                    <a:pt x="1165" y="115"/>
                  </a:cubicBezTo>
                  <a:cubicBezTo>
                    <a:pt x="1169" y="103"/>
                    <a:pt x="1161" y="106"/>
                    <a:pt x="1160" y="100"/>
                  </a:cubicBezTo>
                  <a:cubicBezTo>
                    <a:pt x="1164" y="100"/>
                    <a:pt x="1170" y="101"/>
                    <a:pt x="1171" y="96"/>
                  </a:cubicBezTo>
                  <a:cubicBezTo>
                    <a:pt x="1163" y="97"/>
                    <a:pt x="1168" y="78"/>
                    <a:pt x="1160" y="78"/>
                  </a:cubicBezTo>
                  <a:cubicBezTo>
                    <a:pt x="1157" y="87"/>
                    <a:pt x="1168" y="93"/>
                    <a:pt x="1160" y="96"/>
                  </a:cubicBezTo>
                  <a:cubicBezTo>
                    <a:pt x="1158" y="94"/>
                    <a:pt x="1145" y="88"/>
                    <a:pt x="1144" y="96"/>
                  </a:cubicBezTo>
                  <a:cubicBezTo>
                    <a:pt x="1147" y="100"/>
                    <a:pt x="1151" y="101"/>
                    <a:pt x="1157" y="100"/>
                  </a:cubicBezTo>
                  <a:cubicBezTo>
                    <a:pt x="1161" y="105"/>
                    <a:pt x="1161" y="118"/>
                    <a:pt x="1155" y="119"/>
                  </a:cubicBezTo>
                  <a:cubicBezTo>
                    <a:pt x="1154" y="112"/>
                    <a:pt x="1145" y="98"/>
                    <a:pt x="1141" y="108"/>
                  </a:cubicBezTo>
                  <a:cubicBezTo>
                    <a:pt x="1144" y="109"/>
                    <a:pt x="1145" y="112"/>
                    <a:pt x="1147" y="115"/>
                  </a:cubicBezTo>
                  <a:cubicBezTo>
                    <a:pt x="1149" y="118"/>
                    <a:pt x="1152" y="119"/>
                    <a:pt x="1155" y="122"/>
                  </a:cubicBezTo>
                  <a:cubicBezTo>
                    <a:pt x="1156" y="123"/>
                    <a:pt x="1154" y="128"/>
                    <a:pt x="1155" y="130"/>
                  </a:cubicBezTo>
                  <a:cubicBezTo>
                    <a:pt x="1156" y="132"/>
                    <a:pt x="1161" y="129"/>
                    <a:pt x="1160" y="133"/>
                  </a:cubicBezTo>
                  <a:cubicBezTo>
                    <a:pt x="1155" y="134"/>
                    <a:pt x="1162" y="140"/>
                    <a:pt x="1157" y="141"/>
                  </a:cubicBezTo>
                  <a:cubicBezTo>
                    <a:pt x="1151" y="135"/>
                    <a:pt x="1147" y="142"/>
                    <a:pt x="1144" y="137"/>
                  </a:cubicBezTo>
                  <a:cubicBezTo>
                    <a:pt x="1140" y="131"/>
                    <a:pt x="1131" y="142"/>
                    <a:pt x="1131" y="141"/>
                  </a:cubicBezTo>
                  <a:cubicBezTo>
                    <a:pt x="1134" y="132"/>
                    <a:pt x="1120" y="129"/>
                    <a:pt x="1128" y="126"/>
                  </a:cubicBezTo>
                  <a:cubicBezTo>
                    <a:pt x="1134" y="127"/>
                    <a:pt x="1139" y="134"/>
                    <a:pt x="1141" y="122"/>
                  </a:cubicBezTo>
                  <a:cubicBezTo>
                    <a:pt x="1134" y="123"/>
                    <a:pt x="1132" y="117"/>
                    <a:pt x="1133" y="108"/>
                  </a:cubicBezTo>
                  <a:cubicBezTo>
                    <a:pt x="1124" y="111"/>
                    <a:pt x="1113" y="109"/>
                    <a:pt x="1098" y="104"/>
                  </a:cubicBezTo>
                  <a:cubicBezTo>
                    <a:pt x="1092" y="109"/>
                    <a:pt x="1102" y="113"/>
                    <a:pt x="1096" y="115"/>
                  </a:cubicBezTo>
                  <a:cubicBezTo>
                    <a:pt x="1091" y="115"/>
                    <a:pt x="1086" y="114"/>
                    <a:pt x="1087" y="122"/>
                  </a:cubicBezTo>
                  <a:cubicBezTo>
                    <a:pt x="1097" y="123"/>
                    <a:pt x="1095" y="117"/>
                    <a:pt x="1098" y="122"/>
                  </a:cubicBezTo>
                  <a:cubicBezTo>
                    <a:pt x="1099" y="123"/>
                    <a:pt x="1103" y="122"/>
                    <a:pt x="1104" y="122"/>
                  </a:cubicBezTo>
                  <a:cubicBezTo>
                    <a:pt x="1109" y="123"/>
                    <a:pt x="1123" y="119"/>
                    <a:pt x="1122" y="130"/>
                  </a:cubicBezTo>
                  <a:cubicBezTo>
                    <a:pt x="1119" y="130"/>
                    <a:pt x="1120" y="136"/>
                    <a:pt x="1117" y="137"/>
                  </a:cubicBezTo>
                  <a:cubicBezTo>
                    <a:pt x="1117" y="135"/>
                    <a:pt x="1117" y="132"/>
                    <a:pt x="1117" y="130"/>
                  </a:cubicBezTo>
                  <a:cubicBezTo>
                    <a:pt x="1104" y="125"/>
                    <a:pt x="1081" y="135"/>
                    <a:pt x="1085" y="108"/>
                  </a:cubicBezTo>
                  <a:cubicBezTo>
                    <a:pt x="1079" y="105"/>
                    <a:pt x="1073" y="95"/>
                    <a:pt x="1071" y="108"/>
                  </a:cubicBezTo>
                  <a:cubicBezTo>
                    <a:pt x="1076" y="105"/>
                    <a:pt x="1083" y="115"/>
                    <a:pt x="1077" y="115"/>
                  </a:cubicBezTo>
                  <a:cubicBezTo>
                    <a:pt x="1069" y="112"/>
                    <a:pt x="1070" y="101"/>
                    <a:pt x="1063" y="100"/>
                  </a:cubicBezTo>
                  <a:cubicBezTo>
                    <a:pt x="1063" y="100"/>
                    <a:pt x="1063" y="106"/>
                    <a:pt x="1061" y="104"/>
                  </a:cubicBezTo>
                  <a:cubicBezTo>
                    <a:pt x="1059" y="103"/>
                    <a:pt x="1060" y="94"/>
                    <a:pt x="1058" y="93"/>
                  </a:cubicBezTo>
                  <a:cubicBezTo>
                    <a:pt x="1055" y="91"/>
                    <a:pt x="1050" y="94"/>
                    <a:pt x="1047" y="93"/>
                  </a:cubicBezTo>
                  <a:cubicBezTo>
                    <a:pt x="1048" y="102"/>
                    <a:pt x="1043" y="104"/>
                    <a:pt x="1039" y="108"/>
                  </a:cubicBezTo>
                  <a:cubicBezTo>
                    <a:pt x="1041" y="93"/>
                    <a:pt x="1031" y="110"/>
                    <a:pt x="1028" y="111"/>
                  </a:cubicBezTo>
                  <a:cubicBezTo>
                    <a:pt x="1028" y="111"/>
                    <a:pt x="1029" y="104"/>
                    <a:pt x="1028" y="104"/>
                  </a:cubicBezTo>
                  <a:cubicBezTo>
                    <a:pt x="1025" y="99"/>
                    <a:pt x="1017" y="111"/>
                    <a:pt x="1020" y="115"/>
                  </a:cubicBezTo>
                  <a:cubicBezTo>
                    <a:pt x="1031" y="116"/>
                    <a:pt x="1046" y="111"/>
                    <a:pt x="1050" y="122"/>
                  </a:cubicBezTo>
                  <a:cubicBezTo>
                    <a:pt x="1039" y="118"/>
                    <a:pt x="1033" y="124"/>
                    <a:pt x="1018" y="122"/>
                  </a:cubicBezTo>
                  <a:cubicBezTo>
                    <a:pt x="1015" y="105"/>
                    <a:pt x="1020" y="94"/>
                    <a:pt x="1012" y="89"/>
                  </a:cubicBezTo>
                  <a:cubicBezTo>
                    <a:pt x="1008" y="103"/>
                    <a:pt x="1014" y="113"/>
                    <a:pt x="1009" y="119"/>
                  </a:cubicBezTo>
                  <a:cubicBezTo>
                    <a:pt x="1007" y="114"/>
                    <a:pt x="1008" y="111"/>
                    <a:pt x="1007" y="104"/>
                  </a:cubicBezTo>
                  <a:cubicBezTo>
                    <a:pt x="1006" y="101"/>
                    <a:pt x="1004" y="101"/>
                    <a:pt x="1004" y="100"/>
                  </a:cubicBezTo>
                  <a:cubicBezTo>
                    <a:pt x="1003" y="97"/>
                    <a:pt x="1007" y="95"/>
                    <a:pt x="1007" y="93"/>
                  </a:cubicBezTo>
                  <a:cubicBezTo>
                    <a:pt x="1006" y="90"/>
                    <a:pt x="999" y="89"/>
                    <a:pt x="1001" y="82"/>
                  </a:cubicBezTo>
                  <a:cubicBezTo>
                    <a:pt x="1005" y="81"/>
                    <a:pt x="1009" y="82"/>
                    <a:pt x="1009" y="78"/>
                  </a:cubicBezTo>
                  <a:cubicBezTo>
                    <a:pt x="1006" y="78"/>
                    <a:pt x="1002" y="78"/>
                    <a:pt x="999" y="78"/>
                  </a:cubicBezTo>
                  <a:cubicBezTo>
                    <a:pt x="999" y="84"/>
                    <a:pt x="998" y="89"/>
                    <a:pt x="996" y="93"/>
                  </a:cubicBezTo>
                  <a:cubicBezTo>
                    <a:pt x="998" y="94"/>
                    <a:pt x="1008" y="103"/>
                    <a:pt x="1001" y="104"/>
                  </a:cubicBezTo>
                  <a:cubicBezTo>
                    <a:pt x="993" y="107"/>
                    <a:pt x="998" y="92"/>
                    <a:pt x="991" y="93"/>
                  </a:cubicBezTo>
                  <a:cubicBezTo>
                    <a:pt x="982" y="104"/>
                    <a:pt x="968" y="88"/>
                    <a:pt x="966" y="96"/>
                  </a:cubicBezTo>
                  <a:cubicBezTo>
                    <a:pt x="970" y="98"/>
                    <a:pt x="972" y="100"/>
                    <a:pt x="975" y="104"/>
                  </a:cubicBezTo>
                  <a:cubicBezTo>
                    <a:pt x="972" y="107"/>
                    <a:pt x="974" y="111"/>
                    <a:pt x="972" y="122"/>
                  </a:cubicBezTo>
                  <a:cubicBezTo>
                    <a:pt x="970" y="124"/>
                    <a:pt x="959" y="131"/>
                    <a:pt x="958" y="122"/>
                  </a:cubicBezTo>
                  <a:cubicBezTo>
                    <a:pt x="958" y="115"/>
                    <a:pt x="962" y="115"/>
                    <a:pt x="964" y="111"/>
                  </a:cubicBezTo>
                  <a:cubicBezTo>
                    <a:pt x="959" y="110"/>
                    <a:pt x="965" y="105"/>
                    <a:pt x="961" y="104"/>
                  </a:cubicBezTo>
                  <a:cubicBezTo>
                    <a:pt x="959" y="113"/>
                    <a:pt x="952" y="91"/>
                    <a:pt x="950" y="108"/>
                  </a:cubicBezTo>
                  <a:cubicBezTo>
                    <a:pt x="952" y="108"/>
                    <a:pt x="956" y="108"/>
                    <a:pt x="956" y="111"/>
                  </a:cubicBezTo>
                  <a:cubicBezTo>
                    <a:pt x="951" y="111"/>
                    <a:pt x="947" y="109"/>
                    <a:pt x="945" y="104"/>
                  </a:cubicBezTo>
                  <a:cubicBezTo>
                    <a:pt x="947" y="95"/>
                    <a:pt x="949" y="87"/>
                    <a:pt x="940" y="85"/>
                  </a:cubicBezTo>
                  <a:cubicBezTo>
                    <a:pt x="937" y="99"/>
                    <a:pt x="947" y="108"/>
                    <a:pt x="937" y="111"/>
                  </a:cubicBezTo>
                  <a:cubicBezTo>
                    <a:pt x="935" y="94"/>
                    <a:pt x="924" y="96"/>
                    <a:pt x="918" y="108"/>
                  </a:cubicBezTo>
                  <a:cubicBezTo>
                    <a:pt x="917" y="99"/>
                    <a:pt x="919" y="93"/>
                    <a:pt x="921" y="89"/>
                  </a:cubicBezTo>
                  <a:cubicBezTo>
                    <a:pt x="912" y="83"/>
                    <a:pt x="904" y="87"/>
                    <a:pt x="894" y="89"/>
                  </a:cubicBezTo>
                  <a:cubicBezTo>
                    <a:pt x="890" y="84"/>
                    <a:pt x="890" y="75"/>
                    <a:pt x="894" y="71"/>
                  </a:cubicBezTo>
                  <a:cubicBezTo>
                    <a:pt x="890" y="71"/>
                    <a:pt x="887" y="71"/>
                    <a:pt x="883" y="71"/>
                  </a:cubicBezTo>
                  <a:cubicBezTo>
                    <a:pt x="881" y="82"/>
                    <a:pt x="892" y="75"/>
                    <a:pt x="889" y="89"/>
                  </a:cubicBezTo>
                  <a:cubicBezTo>
                    <a:pt x="875" y="87"/>
                    <a:pt x="875" y="90"/>
                    <a:pt x="867" y="82"/>
                  </a:cubicBezTo>
                  <a:cubicBezTo>
                    <a:pt x="865" y="94"/>
                    <a:pt x="858" y="80"/>
                    <a:pt x="856" y="82"/>
                  </a:cubicBezTo>
                  <a:cubicBezTo>
                    <a:pt x="854" y="83"/>
                    <a:pt x="856" y="95"/>
                    <a:pt x="851" y="93"/>
                  </a:cubicBezTo>
                  <a:cubicBezTo>
                    <a:pt x="853" y="81"/>
                    <a:pt x="847" y="81"/>
                    <a:pt x="843" y="78"/>
                  </a:cubicBezTo>
                  <a:cubicBezTo>
                    <a:pt x="841" y="96"/>
                    <a:pt x="839" y="103"/>
                    <a:pt x="843" y="115"/>
                  </a:cubicBezTo>
                  <a:cubicBezTo>
                    <a:pt x="838" y="115"/>
                    <a:pt x="834" y="115"/>
                    <a:pt x="829" y="115"/>
                  </a:cubicBezTo>
                  <a:cubicBezTo>
                    <a:pt x="829" y="109"/>
                    <a:pt x="829" y="103"/>
                    <a:pt x="827" y="100"/>
                  </a:cubicBezTo>
                  <a:cubicBezTo>
                    <a:pt x="829" y="94"/>
                    <a:pt x="840" y="101"/>
                    <a:pt x="837" y="89"/>
                  </a:cubicBezTo>
                  <a:cubicBezTo>
                    <a:pt x="830" y="90"/>
                    <a:pt x="826" y="88"/>
                    <a:pt x="827" y="78"/>
                  </a:cubicBezTo>
                  <a:cubicBezTo>
                    <a:pt x="818" y="75"/>
                    <a:pt x="823" y="91"/>
                    <a:pt x="813" y="85"/>
                  </a:cubicBezTo>
                  <a:cubicBezTo>
                    <a:pt x="817" y="72"/>
                    <a:pt x="806" y="62"/>
                    <a:pt x="802" y="71"/>
                  </a:cubicBezTo>
                  <a:cubicBezTo>
                    <a:pt x="808" y="70"/>
                    <a:pt x="811" y="74"/>
                    <a:pt x="810" y="82"/>
                  </a:cubicBezTo>
                  <a:cubicBezTo>
                    <a:pt x="807" y="85"/>
                    <a:pt x="801" y="85"/>
                    <a:pt x="797" y="89"/>
                  </a:cubicBezTo>
                  <a:cubicBezTo>
                    <a:pt x="797" y="82"/>
                    <a:pt x="797" y="74"/>
                    <a:pt x="797" y="67"/>
                  </a:cubicBezTo>
                  <a:cubicBezTo>
                    <a:pt x="784" y="67"/>
                    <a:pt x="795" y="82"/>
                    <a:pt x="789" y="85"/>
                  </a:cubicBezTo>
                  <a:cubicBezTo>
                    <a:pt x="776" y="81"/>
                    <a:pt x="771" y="88"/>
                    <a:pt x="765" y="78"/>
                  </a:cubicBezTo>
                  <a:cubicBezTo>
                    <a:pt x="758" y="79"/>
                    <a:pt x="755" y="84"/>
                    <a:pt x="746" y="82"/>
                  </a:cubicBezTo>
                  <a:cubicBezTo>
                    <a:pt x="746" y="78"/>
                    <a:pt x="744" y="77"/>
                    <a:pt x="743" y="74"/>
                  </a:cubicBezTo>
                  <a:cubicBezTo>
                    <a:pt x="744" y="70"/>
                    <a:pt x="747" y="67"/>
                    <a:pt x="741" y="67"/>
                  </a:cubicBezTo>
                  <a:cubicBezTo>
                    <a:pt x="732" y="66"/>
                    <a:pt x="747" y="78"/>
                    <a:pt x="738" y="78"/>
                  </a:cubicBezTo>
                  <a:cubicBezTo>
                    <a:pt x="733" y="78"/>
                    <a:pt x="736" y="66"/>
                    <a:pt x="730" y="67"/>
                  </a:cubicBezTo>
                  <a:cubicBezTo>
                    <a:pt x="729" y="71"/>
                    <a:pt x="727" y="73"/>
                    <a:pt x="724" y="74"/>
                  </a:cubicBezTo>
                  <a:cubicBezTo>
                    <a:pt x="718" y="57"/>
                    <a:pt x="687" y="71"/>
                    <a:pt x="681" y="52"/>
                  </a:cubicBezTo>
                  <a:cubicBezTo>
                    <a:pt x="691" y="55"/>
                    <a:pt x="692" y="44"/>
                    <a:pt x="700" y="45"/>
                  </a:cubicBezTo>
                  <a:cubicBezTo>
                    <a:pt x="700" y="48"/>
                    <a:pt x="700" y="52"/>
                    <a:pt x="700" y="56"/>
                  </a:cubicBezTo>
                  <a:cubicBezTo>
                    <a:pt x="707" y="55"/>
                    <a:pt x="710" y="49"/>
                    <a:pt x="714" y="45"/>
                  </a:cubicBezTo>
                  <a:cubicBezTo>
                    <a:pt x="710" y="41"/>
                    <a:pt x="707" y="34"/>
                    <a:pt x="703" y="30"/>
                  </a:cubicBezTo>
                  <a:cubicBezTo>
                    <a:pt x="702" y="34"/>
                    <a:pt x="700" y="38"/>
                    <a:pt x="698" y="41"/>
                  </a:cubicBezTo>
                  <a:cubicBezTo>
                    <a:pt x="697" y="31"/>
                    <a:pt x="693" y="46"/>
                    <a:pt x="687" y="41"/>
                  </a:cubicBezTo>
                  <a:cubicBezTo>
                    <a:pt x="687" y="35"/>
                    <a:pt x="680" y="38"/>
                    <a:pt x="681" y="30"/>
                  </a:cubicBezTo>
                  <a:cubicBezTo>
                    <a:pt x="673" y="25"/>
                    <a:pt x="679" y="42"/>
                    <a:pt x="671" y="37"/>
                  </a:cubicBezTo>
                  <a:cubicBezTo>
                    <a:pt x="667" y="38"/>
                    <a:pt x="668" y="30"/>
                    <a:pt x="665" y="30"/>
                  </a:cubicBezTo>
                  <a:cubicBezTo>
                    <a:pt x="664" y="30"/>
                    <a:pt x="664" y="36"/>
                    <a:pt x="660" y="34"/>
                  </a:cubicBezTo>
                  <a:cubicBezTo>
                    <a:pt x="659" y="33"/>
                    <a:pt x="660" y="27"/>
                    <a:pt x="660" y="26"/>
                  </a:cubicBezTo>
                  <a:cubicBezTo>
                    <a:pt x="646" y="29"/>
                    <a:pt x="636" y="25"/>
                    <a:pt x="630" y="15"/>
                  </a:cubicBezTo>
                  <a:cubicBezTo>
                    <a:pt x="631" y="22"/>
                    <a:pt x="627" y="22"/>
                    <a:pt x="625" y="26"/>
                  </a:cubicBezTo>
                  <a:cubicBezTo>
                    <a:pt x="626" y="26"/>
                    <a:pt x="628" y="29"/>
                    <a:pt x="625" y="30"/>
                  </a:cubicBezTo>
                  <a:cubicBezTo>
                    <a:pt x="625" y="26"/>
                    <a:pt x="621" y="24"/>
                    <a:pt x="625" y="22"/>
                  </a:cubicBezTo>
                  <a:cubicBezTo>
                    <a:pt x="626" y="18"/>
                    <a:pt x="629" y="15"/>
                    <a:pt x="622" y="15"/>
                  </a:cubicBezTo>
                  <a:cubicBezTo>
                    <a:pt x="618" y="15"/>
                    <a:pt x="621" y="25"/>
                    <a:pt x="617" y="26"/>
                  </a:cubicBezTo>
                  <a:cubicBezTo>
                    <a:pt x="608" y="12"/>
                    <a:pt x="600" y="36"/>
                    <a:pt x="593" y="34"/>
                  </a:cubicBezTo>
                  <a:cubicBezTo>
                    <a:pt x="591" y="33"/>
                    <a:pt x="590" y="22"/>
                    <a:pt x="587" y="22"/>
                  </a:cubicBezTo>
                  <a:cubicBezTo>
                    <a:pt x="587" y="28"/>
                    <a:pt x="588" y="36"/>
                    <a:pt x="585" y="37"/>
                  </a:cubicBezTo>
                  <a:cubicBezTo>
                    <a:pt x="584" y="33"/>
                    <a:pt x="580" y="33"/>
                    <a:pt x="577" y="34"/>
                  </a:cubicBezTo>
                  <a:cubicBezTo>
                    <a:pt x="578" y="24"/>
                    <a:pt x="571" y="26"/>
                    <a:pt x="568" y="22"/>
                  </a:cubicBezTo>
                  <a:cubicBezTo>
                    <a:pt x="568" y="26"/>
                    <a:pt x="566" y="27"/>
                    <a:pt x="566" y="30"/>
                  </a:cubicBezTo>
                  <a:cubicBezTo>
                    <a:pt x="566" y="34"/>
                    <a:pt x="570" y="36"/>
                    <a:pt x="566" y="37"/>
                  </a:cubicBezTo>
                  <a:cubicBezTo>
                    <a:pt x="565" y="32"/>
                    <a:pt x="562" y="30"/>
                    <a:pt x="563" y="22"/>
                  </a:cubicBezTo>
                  <a:cubicBezTo>
                    <a:pt x="557" y="30"/>
                    <a:pt x="548" y="16"/>
                    <a:pt x="542" y="26"/>
                  </a:cubicBezTo>
                  <a:cubicBezTo>
                    <a:pt x="544" y="30"/>
                    <a:pt x="547" y="34"/>
                    <a:pt x="550" y="37"/>
                  </a:cubicBezTo>
                  <a:cubicBezTo>
                    <a:pt x="541" y="38"/>
                    <a:pt x="542" y="26"/>
                    <a:pt x="531" y="30"/>
                  </a:cubicBezTo>
                  <a:cubicBezTo>
                    <a:pt x="528" y="24"/>
                    <a:pt x="527" y="18"/>
                    <a:pt x="520" y="19"/>
                  </a:cubicBezTo>
                  <a:cubicBezTo>
                    <a:pt x="519" y="16"/>
                    <a:pt x="520" y="12"/>
                    <a:pt x="517" y="11"/>
                  </a:cubicBezTo>
                  <a:cubicBezTo>
                    <a:pt x="519" y="29"/>
                    <a:pt x="509" y="18"/>
                    <a:pt x="515" y="26"/>
                  </a:cubicBezTo>
                  <a:cubicBezTo>
                    <a:pt x="516" y="28"/>
                    <a:pt x="517" y="34"/>
                    <a:pt x="515" y="34"/>
                  </a:cubicBezTo>
                  <a:cubicBezTo>
                    <a:pt x="510" y="32"/>
                    <a:pt x="513" y="19"/>
                    <a:pt x="504" y="22"/>
                  </a:cubicBezTo>
                  <a:cubicBezTo>
                    <a:pt x="501" y="29"/>
                    <a:pt x="512" y="35"/>
                    <a:pt x="504" y="37"/>
                  </a:cubicBezTo>
                  <a:cubicBezTo>
                    <a:pt x="500" y="33"/>
                    <a:pt x="503" y="19"/>
                    <a:pt x="496" y="19"/>
                  </a:cubicBezTo>
                  <a:cubicBezTo>
                    <a:pt x="497" y="29"/>
                    <a:pt x="486" y="10"/>
                    <a:pt x="485" y="22"/>
                  </a:cubicBezTo>
                  <a:cubicBezTo>
                    <a:pt x="489" y="25"/>
                    <a:pt x="492" y="28"/>
                    <a:pt x="493" y="34"/>
                  </a:cubicBezTo>
                  <a:cubicBezTo>
                    <a:pt x="487" y="29"/>
                    <a:pt x="483" y="43"/>
                    <a:pt x="482" y="34"/>
                  </a:cubicBezTo>
                  <a:cubicBezTo>
                    <a:pt x="482" y="29"/>
                    <a:pt x="487" y="30"/>
                    <a:pt x="488" y="26"/>
                  </a:cubicBezTo>
                  <a:cubicBezTo>
                    <a:pt x="488" y="26"/>
                    <a:pt x="482" y="22"/>
                    <a:pt x="482" y="19"/>
                  </a:cubicBezTo>
                  <a:cubicBezTo>
                    <a:pt x="483" y="17"/>
                    <a:pt x="489" y="15"/>
                    <a:pt x="488" y="11"/>
                  </a:cubicBezTo>
                  <a:cubicBezTo>
                    <a:pt x="479" y="8"/>
                    <a:pt x="484" y="24"/>
                    <a:pt x="477" y="22"/>
                  </a:cubicBezTo>
                  <a:cubicBezTo>
                    <a:pt x="467" y="27"/>
                    <a:pt x="462" y="15"/>
                    <a:pt x="458" y="22"/>
                  </a:cubicBezTo>
                  <a:cubicBezTo>
                    <a:pt x="459" y="22"/>
                    <a:pt x="462" y="26"/>
                    <a:pt x="458" y="26"/>
                  </a:cubicBezTo>
                  <a:cubicBezTo>
                    <a:pt x="459" y="16"/>
                    <a:pt x="441" y="31"/>
                    <a:pt x="445" y="15"/>
                  </a:cubicBezTo>
                  <a:cubicBezTo>
                    <a:pt x="440" y="14"/>
                    <a:pt x="439" y="20"/>
                    <a:pt x="437" y="22"/>
                  </a:cubicBezTo>
                  <a:cubicBezTo>
                    <a:pt x="435" y="18"/>
                    <a:pt x="434" y="14"/>
                    <a:pt x="431" y="11"/>
                  </a:cubicBezTo>
                  <a:cubicBezTo>
                    <a:pt x="425" y="29"/>
                    <a:pt x="405" y="19"/>
                    <a:pt x="399" y="30"/>
                  </a:cubicBezTo>
                  <a:cubicBezTo>
                    <a:pt x="397" y="25"/>
                    <a:pt x="393" y="23"/>
                    <a:pt x="388" y="22"/>
                  </a:cubicBezTo>
                  <a:cubicBezTo>
                    <a:pt x="388" y="18"/>
                    <a:pt x="388" y="14"/>
                    <a:pt x="383" y="15"/>
                  </a:cubicBezTo>
                  <a:cubicBezTo>
                    <a:pt x="378" y="18"/>
                    <a:pt x="379" y="29"/>
                    <a:pt x="372" y="30"/>
                  </a:cubicBezTo>
                  <a:cubicBezTo>
                    <a:pt x="372" y="26"/>
                    <a:pt x="370" y="26"/>
                    <a:pt x="367" y="26"/>
                  </a:cubicBezTo>
                  <a:cubicBezTo>
                    <a:pt x="364" y="26"/>
                    <a:pt x="365" y="23"/>
                    <a:pt x="364" y="22"/>
                  </a:cubicBezTo>
                  <a:cubicBezTo>
                    <a:pt x="362" y="21"/>
                    <a:pt x="359" y="23"/>
                    <a:pt x="356" y="22"/>
                  </a:cubicBezTo>
                  <a:cubicBezTo>
                    <a:pt x="354" y="22"/>
                    <a:pt x="352" y="19"/>
                    <a:pt x="351" y="19"/>
                  </a:cubicBezTo>
                  <a:cubicBezTo>
                    <a:pt x="349" y="19"/>
                    <a:pt x="348" y="30"/>
                    <a:pt x="343" y="26"/>
                  </a:cubicBezTo>
                  <a:cubicBezTo>
                    <a:pt x="342" y="21"/>
                    <a:pt x="344" y="13"/>
                    <a:pt x="340" y="11"/>
                  </a:cubicBezTo>
                  <a:cubicBezTo>
                    <a:pt x="339" y="14"/>
                    <a:pt x="340" y="19"/>
                    <a:pt x="337" y="19"/>
                  </a:cubicBezTo>
                  <a:cubicBezTo>
                    <a:pt x="333" y="23"/>
                    <a:pt x="333" y="20"/>
                    <a:pt x="329" y="19"/>
                  </a:cubicBezTo>
                  <a:cubicBezTo>
                    <a:pt x="324" y="17"/>
                    <a:pt x="321" y="23"/>
                    <a:pt x="318" y="22"/>
                  </a:cubicBezTo>
                  <a:cubicBezTo>
                    <a:pt x="317" y="22"/>
                    <a:pt x="317" y="18"/>
                    <a:pt x="313" y="19"/>
                  </a:cubicBezTo>
                  <a:cubicBezTo>
                    <a:pt x="311" y="19"/>
                    <a:pt x="312" y="23"/>
                    <a:pt x="308" y="22"/>
                  </a:cubicBezTo>
                  <a:cubicBezTo>
                    <a:pt x="307" y="22"/>
                    <a:pt x="303" y="15"/>
                    <a:pt x="302" y="15"/>
                  </a:cubicBezTo>
                  <a:cubicBezTo>
                    <a:pt x="288" y="21"/>
                    <a:pt x="275" y="26"/>
                    <a:pt x="265" y="15"/>
                  </a:cubicBezTo>
                  <a:cubicBezTo>
                    <a:pt x="265" y="21"/>
                    <a:pt x="253" y="23"/>
                    <a:pt x="251" y="22"/>
                  </a:cubicBezTo>
                  <a:cubicBezTo>
                    <a:pt x="249" y="22"/>
                    <a:pt x="249" y="19"/>
                    <a:pt x="249" y="19"/>
                  </a:cubicBezTo>
                  <a:cubicBezTo>
                    <a:pt x="243" y="18"/>
                    <a:pt x="234" y="31"/>
                    <a:pt x="235" y="15"/>
                  </a:cubicBezTo>
                  <a:cubicBezTo>
                    <a:pt x="225" y="18"/>
                    <a:pt x="215" y="19"/>
                    <a:pt x="205" y="22"/>
                  </a:cubicBezTo>
                  <a:cubicBezTo>
                    <a:pt x="202" y="22"/>
                    <a:pt x="201" y="18"/>
                    <a:pt x="200" y="15"/>
                  </a:cubicBezTo>
                  <a:cubicBezTo>
                    <a:pt x="195" y="12"/>
                    <a:pt x="195" y="21"/>
                    <a:pt x="189" y="22"/>
                  </a:cubicBezTo>
                  <a:cubicBezTo>
                    <a:pt x="189" y="22"/>
                    <a:pt x="187" y="18"/>
                    <a:pt x="184" y="19"/>
                  </a:cubicBezTo>
                  <a:cubicBezTo>
                    <a:pt x="184" y="19"/>
                    <a:pt x="184" y="22"/>
                    <a:pt x="184" y="22"/>
                  </a:cubicBezTo>
                  <a:cubicBezTo>
                    <a:pt x="182" y="25"/>
                    <a:pt x="166" y="23"/>
                    <a:pt x="165" y="22"/>
                  </a:cubicBezTo>
                  <a:cubicBezTo>
                    <a:pt x="161" y="21"/>
                    <a:pt x="162" y="19"/>
                    <a:pt x="160" y="22"/>
                  </a:cubicBezTo>
                  <a:cubicBezTo>
                    <a:pt x="158" y="26"/>
                    <a:pt x="145" y="22"/>
                    <a:pt x="144" y="22"/>
                  </a:cubicBezTo>
                  <a:cubicBezTo>
                    <a:pt x="140" y="24"/>
                    <a:pt x="140" y="26"/>
                    <a:pt x="138" y="22"/>
                  </a:cubicBezTo>
                  <a:cubicBezTo>
                    <a:pt x="138" y="22"/>
                    <a:pt x="134" y="23"/>
                    <a:pt x="133" y="22"/>
                  </a:cubicBezTo>
                  <a:cubicBezTo>
                    <a:pt x="123" y="21"/>
                    <a:pt x="120" y="19"/>
                    <a:pt x="114" y="19"/>
                  </a:cubicBezTo>
                  <a:cubicBezTo>
                    <a:pt x="110" y="18"/>
                    <a:pt x="111" y="23"/>
                    <a:pt x="109" y="19"/>
                  </a:cubicBezTo>
                  <a:cubicBezTo>
                    <a:pt x="108" y="18"/>
                    <a:pt x="104" y="19"/>
                    <a:pt x="103" y="19"/>
                  </a:cubicBezTo>
                  <a:cubicBezTo>
                    <a:pt x="99" y="17"/>
                    <a:pt x="97" y="16"/>
                    <a:pt x="95" y="19"/>
                  </a:cubicBezTo>
                  <a:cubicBezTo>
                    <a:pt x="95" y="19"/>
                    <a:pt x="91" y="19"/>
                    <a:pt x="90" y="19"/>
                  </a:cubicBezTo>
                  <a:cubicBezTo>
                    <a:pt x="80" y="19"/>
                    <a:pt x="79" y="14"/>
                    <a:pt x="76" y="19"/>
                  </a:cubicBezTo>
                  <a:cubicBezTo>
                    <a:pt x="74" y="23"/>
                    <a:pt x="64" y="15"/>
                    <a:pt x="63" y="15"/>
                  </a:cubicBezTo>
                  <a:cubicBezTo>
                    <a:pt x="55" y="13"/>
                    <a:pt x="48" y="12"/>
                    <a:pt x="39" y="11"/>
                  </a:cubicBezTo>
                  <a:cubicBezTo>
                    <a:pt x="39" y="7"/>
                    <a:pt x="42" y="6"/>
                    <a:pt x="41" y="0"/>
                  </a:cubicBezTo>
                  <a:cubicBezTo>
                    <a:pt x="28" y="7"/>
                    <a:pt x="16" y="24"/>
                    <a:pt x="12" y="37"/>
                  </a:cubicBezTo>
                  <a:cubicBezTo>
                    <a:pt x="11" y="39"/>
                    <a:pt x="9" y="43"/>
                    <a:pt x="9" y="45"/>
                  </a:cubicBezTo>
                  <a:cubicBezTo>
                    <a:pt x="9" y="48"/>
                    <a:pt x="7" y="47"/>
                    <a:pt x="7" y="48"/>
                  </a:cubicBezTo>
                  <a:cubicBezTo>
                    <a:pt x="4" y="56"/>
                    <a:pt x="5" y="69"/>
                    <a:pt x="4" y="78"/>
                  </a:cubicBezTo>
                  <a:cubicBezTo>
                    <a:pt x="4" y="78"/>
                    <a:pt x="2" y="79"/>
                    <a:pt x="1" y="82"/>
                  </a:cubicBezTo>
                  <a:cubicBezTo>
                    <a:pt x="0" y="85"/>
                    <a:pt x="2" y="89"/>
                    <a:pt x="1" y="93"/>
                  </a:cubicBezTo>
                  <a:cubicBezTo>
                    <a:pt x="18" y="99"/>
                    <a:pt x="3" y="124"/>
                    <a:pt x="4" y="141"/>
                  </a:cubicBezTo>
                  <a:cubicBezTo>
                    <a:pt x="9" y="138"/>
                    <a:pt x="8" y="146"/>
                    <a:pt x="9" y="148"/>
                  </a:cubicBezTo>
                  <a:cubicBezTo>
                    <a:pt x="12" y="151"/>
                    <a:pt x="18" y="149"/>
                    <a:pt x="17" y="156"/>
                  </a:cubicBezTo>
                  <a:cubicBezTo>
                    <a:pt x="15" y="156"/>
                    <a:pt x="14" y="156"/>
                    <a:pt x="12" y="156"/>
                  </a:cubicBezTo>
                  <a:cubicBezTo>
                    <a:pt x="15" y="172"/>
                    <a:pt x="3" y="168"/>
                    <a:pt x="4" y="182"/>
                  </a:cubicBezTo>
                  <a:cubicBezTo>
                    <a:pt x="7" y="182"/>
                    <a:pt x="11" y="181"/>
                    <a:pt x="12" y="185"/>
                  </a:cubicBezTo>
                  <a:cubicBezTo>
                    <a:pt x="13" y="199"/>
                    <a:pt x="19" y="203"/>
                    <a:pt x="15" y="215"/>
                  </a:cubicBezTo>
                  <a:cubicBezTo>
                    <a:pt x="20" y="212"/>
                    <a:pt x="18" y="220"/>
                    <a:pt x="20" y="222"/>
                  </a:cubicBezTo>
                  <a:cubicBezTo>
                    <a:pt x="21" y="224"/>
                    <a:pt x="26" y="222"/>
                    <a:pt x="25" y="226"/>
                  </a:cubicBezTo>
                  <a:cubicBezTo>
                    <a:pt x="25" y="232"/>
                    <a:pt x="26" y="237"/>
                    <a:pt x="28" y="241"/>
                  </a:cubicBezTo>
                  <a:cubicBezTo>
                    <a:pt x="25" y="241"/>
                    <a:pt x="23" y="241"/>
                    <a:pt x="20" y="241"/>
                  </a:cubicBezTo>
                  <a:cubicBezTo>
                    <a:pt x="23" y="252"/>
                    <a:pt x="22" y="255"/>
                    <a:pt x="17" y="263"/>
                  </a:cubicBezTo>
                  <a:cubicBezTo>
                    <a:pt x="22" y="264"/>
                    <a:pt x="24" y="257"/>
                    <a:pt x="25" y="263"/>
                  </a:cubicBezTo>
                  <a:cubicBezTo>
                    <a:pt x="24" y="268"/>
                    <a:pt x="20" y="270"/>
                    <a:pt x="15" y="270"/>
                  </a:cubicBezTo>
                  <a:cubicBezTo>
                    <a:pt x="12" y="282"/>
                    <a:pt x="22" y="278"/>
                    <a:pt x="23" y="285"/>
                  </a:cubicBezTo>
                  <a:cubicBezTo>
                    <a:pt x="14" y="288"/>
                    <a:pt x="18" y="297"/>
                    <a:pt x="15" y="300"/>
                  </a:cubicBezTo>
                  <a:cubicBezTo>
                    <a:pt x="7" y="310"/>
                    <a:pt x="12" y="294"/>
                    <a:pt x="7" y="292"/>
                  </a:cubicBezTo>
                  <a:cubicBezTo>
                    <a:pt x="1" y="306"/>
                    <a:pt x="12" y="313"/>
                    <a:pt x="15" y="322"/>
                  </a:cubicBezTo>
                  <a:cubicBezTo>
                    <a:pt x="16" y="325"/>
                    <a:pt x="9" y="334"/>
                    <a:pt x="17" y="333"/>
                  </a:cubicBezTo>
                  <a:cubicBezTo>
                    <a:pt x="18" y="329"/>
                    <a:pt x="17" y="323"/>
                    <a:pt x="20" y="322"/>
                  </a:cubicBezTo>
                  <a:cubicBezTo>
                    <a:pt x="19" y="334"/>
                    <a:pt x="25" y="335"/>
                    <a:pt x="23" y="348"/>
                  </a:cubicBezTo>
                  <a:cubicBezTo>
                    <a:pt x="22" y="352"/>
                    <a:pt x="6" y="352"/>
                    <a:pt x="15" y="355"/>
                  </a:cubicBezTo>
                  <a:cubicBezTo>
                    <a:pt x="23" y="357"/>
                    <a:pt x="26" y="347"/>
                    <a:pt x="28" y="359"/>
                  </a:cubicBezTo>
                  <a:cubicBezTo>
                    <a:pt x="25" y="358"/>
                    <a:pt x="23" y="353"/>
                    <a:pt x="23" y="363"/>
                  </a:cubicBezTo>
                  <a:cubicBezTo>
                    <a:pt x="31" y="367"/>
                    <a:pt x="29" y="357"/>
                    <a:pt x="33" y="355"/>
                  </a:cubicBezTo>
                  <a:cubicBezTo>
                    <a:pt x="34" y="363"/>
                    <a:pt x="43" y="359"/>
                    <a:pt x="44" y="366"/>
                  </a:cubicBezTo>
                  <a:cubicBezTo>
                    <a:pt x="39" y="374"/>
                    <a:pt x="45" y="374"/>
                    <a:pt x="47" y="381"/>
                  </a:cubicBezTo>
                  <a:cubicBezTo>
                    <a:pt x="43" y="380"/>
                    <a:pt x="42" y="377"/>
                    <a:pt x="39" y="381"/>
                  </a:cubicBezTo>
                  <a:cubicBezTo>
                    <a:pt x="41" y="369"/>
                    <a:pt x="33" y="376"/>
                    <a:pt x="33" y="381"/>
                  </a:cubicBezTo>
                  <a:cubicBezTo>
                    <a:pt x="40" y="382"/>
                    <a:pt x="43" y="388"/>
                    <a:pt x="47" y="392"/>
                  </a:cubicBezTo>
                  <a:cubicBezTo>
                    <a:pt x="42" y="392"/>
                    <a:pt x="38" y="392"/>
                    <a:pt x="33" y="392"/>
                  </a:cubicBezTo>
                  <a:cubicBezTo>
                    <a:pt x="31" y="404"/>
                    <a:pt x="41" y="399"/>
                    <a:pt x="39" y="411"/>
                  </a:cubicBezTo>
                  <a:cubicBezTo>
                    <a:pt x="45" y="416"/>
                    <a:pt x="50" y="400"/>
                    <a:pt x="52" y="411"/>
                  </a:cubicBezTo>
                  <a:cubicBezTo>
                    <a:pt x="49" y="411"/>
                    <a:pt x="46" y="412"/>
                    <a:pt x="47" y="418"/>
                  </a:cubicBezTo>
                  <a:cubicBezTo>
                    <a:pt x="47" y="423"/>
                    <a:pt x="51" y="422"/>
                    <a:pt x="52" y="426"/>
                  </a:cubicBezTo>
                  <a:cubicBezTo>
                    <a:pt x="46" y="425"/>
                    <a:pt x="42" y="427"/>
                    <a:pt x="41" y="433"/>
                  </a:cubicBezTo>
                  <a:cubicBezTo>
                    <a:pt x="45" y="434"/>
                    <a:pt x="44" y="439"/>
                    <a:pt x="44" y="444"/>
                  </a:cubicBezTo>
                  <a:cubicBezTo>
                    <a:pt x="52" y="450"/>
                    <a:pt x="56" y="439"/>
                    <a:pt x="58" y="455"/>
                  </a:cubicBezTo>
                  <a:cubicBezTo>
                    <a:pt x="48" y="458"/>
                    <a:pt x="46" y="451"/>
                    <a:pt x="41" y="448"/>
                  </a:cubicBezTo>
                  <a:cubicBezTo>
                    <a:pt x="45" y="457"/>
                    <a:pt x="31" y="459"/>
                    <a:pt x="39" y="463"/>
                  </a:cubicBezTo>
                  <a:cubicBezTo>
                    <a:pt x="39" y="458"/>
                    <a:pt x="46" y="458"/>
                    <a:pt x="47" y="463"/>
                  </a:cubicBezTo>
                  <a:cubicBezTo>
                    <a:pt x="36" y="459"/>
                    <a:pt x="51" y="487"/>
                    <a:pt x="36" y="485"/>
                  </a:cubicBezTo>
                  <a:cubicBezTo>
                    <a:pt x="38" y="499"/>
                    <a:pt x="44" y="506"/>
                    <a:pt x="47" y="518"/>
                  </a:cubicBezTo>
                  <a:cubicBezTo>
                    <a:pt x="39" y="526"/>
                    <a:pt x="47" y="532"/>
                    <a:pt x="39" y="537"/>
                  </a:cubicBezTo>
                  <a:cubicBezTo>
                    <a:pt x="40" y="534"/>
                    <a:pt x="36" y="533"/>
                    <a:pt x="36" y="533"/>
                  </a:cubicBezTo>
                  <a:cubicBezTo>
                    <a:pt x="36" y="530"/>
                    <a:pt x="39" y="528"/>
                    <a:pt x="39" y="529"/>
                  </a:cubicBezTo>
                  <a:cubicBezTo>
                    <a:pt x="38" y="525"/>
                    <a:pt x="36" y="520"/>
                    <a:pt x="36" y="518"/>
                  </a:cubicBezTo>
                  <a:cubicBezTo>
                    <a:pt x="36" y="518"/>
                    <a:pt x="41" y="517"/>
                    <a:pt x="41" y="514"/>
                  </a:cubicBezTo>
                  <a:cubicBezTo>
                    <a:pt x="42" y="511"/>
                    <a:pt x="37" y="508"/>
                    <a:pt x="36" y="507"/>
                  </a:cubicBezTo>
                  <a:cubicBezTo>
                    <a:pt x="31" y="519"/>
                    <a:pt x="41" y="530"/>
                    <a:pt x="28" y="533"/>
                  </a:cubicBezTo>
                  <a:cubicBezTo>
                    <a:pt x="28" y="539"/>
                    <a:pt x="28" y="545"/>
                    <a:pt x="28" y="551"/>
                  </a:cubicBezTo>
                  <a:cubicBezTo>
                    <a:pt x="38" y="557"/>
                    <a:pt x="29" y="535"/>
                    <a:pt x="39" y="540"/>
                  </a:cubicBezTo>
                  <a:cubicBezTo>
                    <a:pt x="34" y="547"/>
                    <a:pt x="38" y="550"/>
                    <a:pt x="39" y="559"/>
                  </a:cubicBezTo>
                  <a:cubicBezTo>
                    <a:pt x="37" y="560"/>
                    <a:pt x="34" y="559"/>
                    <a:pt x="33" y="562"/>
                  </a:cubicBezTo>
                  <a:cubicBezTo>
                    <a:pt x="37" y="572"/>
                    <a:pt x="41" y="556"/>
                    <a:pt x="44" y="566"/>
                  </a:cubicBezTo>
                  <a:cubicBezTo>
                    <a:pt x="39" y="564"/>
                    <a:pt x="36" y="583"/>
                    <a:pt x="41" y="585"/>
                  </a:cubicBezTo>
                  <a:cubicBezTo>
                    <a:pt x="45" y="579"/>
                    <a:pt x="46" y="569"/>
                    <a:pt x="52" y="566"/>
                  </a:cubicBezTo>
                  <a:cubicBezTo>
                    <a:pt x="57" y="573"/>
                    <a:pt x="50" y="579"/>
                    <a:pt x="47" y="585"/>
                  </a:cubicBezTo>
                  <a:cubicBezTo>
                    <a:pt x="44" y="585"/>
                    <a:pt x="44" y="588"/>
                    <a:pt x="41" y="588"/>
                  </a:cubicBezTo>
                  <a:cubicBezTo>
                    <a:pt x="35" y="593"/>
                    <a:pt x="31" y="579"/>
                    <a:pt x="31" y="588"/>
                  </a:cubicBezTo>
                  <a:cubicBezTo>
                    <a:pt x="34" y="598"/>
                    <a:pt x="52" y="589"/>
                    <a:pt x="49" y="607"/>
                  </a:cubicBezTo>
                  <a:cubicBezTo>
                    <a:pt x="46" y="602"/>
                    <a:pt x="38" y="604"/>
                    <a:pt x="39" y="614"/>
                  </a:cubicBezTo>
                  <a:cubicBezTo>
                    <a:pt x="49" y="609"/>
                    <a:pt x="45" y="622"/>
                    <a:pt x="47" y="625"/>
                  </a:cubicBezTo>
                  <a:cubicBezTo>
                    <a:pt x="48" y="627"/>
                    <a:pt x="53" y="625"/>
                    <a:pt x="52" y="629"/>
                  </a:cubicBezTo>
                  <a:cubicBezTo>
                    <a:pt x="50" y="649"/>
                    <a:pt x="39" y="636"/>
                    <a:pt x="33" y="648"/>
                  </a:cubicBezTo>
                  <a:cubicBezTo>
                    <a:pt x="42" y="647"/>
                    <a:pt x="35" y="663"/>
                    <a:pt x="36" y="670"/>
                  </a:cubicBezTo>
                  <a:cubicBezTo>
                    <a:pt x="36" y="670"/>
                    <a:pt x="41" y="671"/>
                    <a:pt x="41" y="673"/>
                  </a:cubicBezTo>
                  <a:cubicBezTo>
                    <a:pt x="42" y="678"/>
                    <a:pt x="37" y="679"/>
                    <a:pt x="39" y="684"/>
                  </a:cubicBezTo>
                  <a:cubicBezTo>
                    <a:pt x="41" y="685"/>
                    <a:pt x="42" y="688"/>
                    <a:pt x="41" y="692"/>
                  </a:cubicBezTo>
                  <a:cubicBezTo>
                    <a:pt x="46" y="692"/>
                    <a:pt x="51" y="691"/>
                    <a:pt x="49" y="699"/>
                  </a:cubicBezTo>
                  <a:cubicBezTo>
                    <a:pt x="46" y="699"/>
                    <a:pt x="46" y="695"/>
                    <a:pt x="41" y="696"/>
                  </a:cubicBezTo>
                  <a:cubicBezTo>
                    <a:pt x="45" y="707"/>
                    <a:pt x="37" y="705"/>
                    <a:pt x="36" y="710"/>
                  </a:cubicBezTo>
                  <a:cubicBezTo>
                    <a:pt x="40" y="712"/>
                    <a:pt x="43" y="716"/>
                    <a:pt x="44" y="721"/>
                  </a:cubicBezTo>
                  <a:cubicBezTo>
                    <a:pt x="39" y="722"/>
                    <a:pt x="36" y="721"/>
                    <a:pt x="33" y="718"/>
                  </a:cubicBezTo>
                  <a:cubicBezTo>
                    <a:pt x="31" y="730"/>
                    <a:pt x="36" y="732"/>
                    <a:pt x="39" y="736"/>
                  </a:cubicBezTo>
                  <a:cubicBezTo>
                    <a:pt x="31" y="730"/>
                    <a:pt x="31" y="752"/>
                    <a:pt x="36" y="751"/>
                  </a:cubicBezTo>
                  <a:cubicBezTo>
                    <a:pt x="38" y="733"/>
                    <a:pt x="37" y="755"/>
                    <a:pt x="41" y="755"/>
                  </a:cubicBezTo>
                  <a:cubicBezTo>
                    <a:pt x="40" y="748"/>
                    <a:pt x="49" y="736"/>
                    <a:pt x="49" y="744"/>
                  </a:cubicBezTo>
                  <a:cubicBezTo>
                    <a:pt x="49" y="751"/>
                    <a:pt x="42" y="748"/>
                    <a:pt x="44" y="759"/>
                  </a:cubicBezTo>
                  <a:cubicBezTo>
                    <a:pt x="47" y="757"/>
                    <a:pt x="53" y="769"/>
                    <a:pt x="47" y="770"/>
                  </a:cubicBezTo>
                  <a:cubicBezTo>
                    <a:pt x="50" y="760"/>
                    <a:pt x="38" y="753"/>
                    <a:pt x="36" y="762"/>
                  </a:cubicBezTo>
                  <a:cubicBezTo>
                    <a:pt x="42" y="763"/>
                    <a:pt x="42" y="772"/>
                    <a:pt x="39" y="777"/>
                  </a:cubicBezTo>
                  <a:cubicBezTo>
                    <a:pt x="44" y="781"/>
                    <a:pt x="48" y="766"/>
                    <a:pt x="49" y="777"/>
                  </a:cubicBezTo>
                  <a:cubicBezTo>
                    <a:pt x="51" y="791"/>
                    <a:pt x="38" y="783"/>
                    <a:pt x="36" y="792"/>
                  </a:cubicBezTo>
                  <a:cubicBezTo>
                    <a:pt x="39" y="792"/>
                    <a:pt x="39" y="798"/>
                    <a:pt x="39" y="803"/>
                  </a:cubicBezTo>
                  <a:cubicBezTo>
                    <a:pt x="44" y="807"/>
                    <a:pt x="50" y="809"/>
                    <a:pt x="52" y="818"/>
                  </a:cubicBezTo>
                  <a:cubicBezTo>
                    <a:pt x="48" y="814"/>
                    <a:pt x="46" y="814"/>
                    <a:pt x="44" y="821"/>
                  </a:cubicBezTo>
                  <a:cubicBezTo>
                    <a:pt x="46" y="828"/>
                    <a:pt x="57" y="821"/>
                    <a:pt x="58" y="829"/>
                  </a:cubicBezTo>
                  <a:cubicBezTo>
                    <a:pt x="58" y="837"/>
                    <a:pt x="57" y="843"/>
                    <a:pt x="52" y="844"/>
                  </a:cubicBezTo>
                  <a:cubicBezTo>
                    <a:pt x="52" y="839"/>
                    <a:pt x="56" y="838"/>
                    <a:pt x="55" y="832"/>
                  </a:cubicBezTo>
                  <a:cubicBezTo>
                    <a:pt x="47" y="831"/>
                    <a:pt x="49" y="839"/>
                    <a:pt x="44" y="840"/>
                  </a:cubicBezTo>
                  <a:cubicBezTo>
                    <a:pt x="45" y="840"/>
                    <a:pt x="42" y="833"/>
                    <a:pt x="41" y="832"/>
                  </a:cubicBezTo>
                  <a:cubicBezTo>
                    <a:pt x="39" y="831"/>
                    <a:pt x="37" y="838"/>
                    <a:pt x="36" y="840"/>
                  </a:cubicBezTo>
                  <a:cubicBezTo>
                    <a:pt x="39" y="841"/>
                    <a:pt x="42" y="845"/>
                    <a:pt x="41" y="851"/>
                  </a:cubicBezTo>
                  <a:cubicBezTo>
                    <a:pt x="45" y="852"/>
                    <a:pt x="49" y="845"/>
                    <a:pt x="49" y="851"/>
                  </a:cubicBezTo>
                  <a:cubicBezTo>
                    <a:pt x="49" y="852"/>
                    <a:pt x="47" y="858"/>
                    <a:pt x="47" y="858"/>
                  </a:cubicBezTo>
                  <a:cubicBezTo>
                    <a:pt x="55" y="864"/>
                    <a:pt x="56" y="859"/>
                    <a:pt x="63" y="858"/>
                  </a:cubicBezTo>
                  <a:cubicBezTo>
                    <a:pt x="62" y="864"/>
                    <a:pt x="67" y="868"/>
                    <a:pt x="68" y="862"/>
                  </a:cubicBezTo>
                  <a:cubicBezTo>
                    <a:pt x="64" y="862"/>
                    <a:pt x="73" y="838"/>
                    <a:pt x="66" y="832"/>
                  </a:cubicBezTo>
                  <a:cubicBezTo>
                    <a:pt x="76" y="835"/>
                    <a:pt x="67" y="801"/>
                    <a:pt x="79" y="818"/>
                  </a:cubicBezTo>
                  <a:cubicBezTo>
                    <a:pt x="81" y="807"/>
                    <a:pt x="75" y="808"/>
                    <a:pt x="76" y="799"/>
                  </a:cubicBezTo>
                  <a:cubicBezTo>
                    <a:pt x="70" y="800"/>
                    <a:pt x="66" y="798"/>
                    <a:pt x="66" y="792"/>
                  </a:cubicBezTo>
                  <a:cubicBezTo>
                    <a:pt x="71" y="792"/>
                    <a:pt x="65" y="787"/>
                    <a:pt x="66" y="784"/>
                  </a:cubicBezTo>
                  <a:cubicBezTo>
                    <a:pt x="66" y="783"/>
                    <a:pt x="71" y="785"/>
                    <a:pt x="71" y="784"/>
                  </a:cubicBezTo>
                  <a:cubicBezTo>
                    <a:pt x="73" y="780"/>
                    <a:pt x="69" y="763"/>
                    <a:pt x="76" y="766"/>
                  </a:cubicBezTo>
                  <a:cubicBezTo>
                    <a:pt x="70" y="760"/>
                    <a:pt x="77" y="755"/>
                    <a:pt x="76" y="751"/>
                  </a:cubicBezTo>
                  <a:cubicBezTo>
                    <a:pt x="76" y="749"/>
                    <a:pt x="64" y="739"/>
                    <a:pt x="74" y="736"/>
                  </a:cubicBezTo>
                  <a:cubicBezTo>
                    <a:pt x="77" y="741"/>
                    <a:pt x="86" y="739"/>
                    <a:pt x="90" y="744"/>
                  </a:cubicBezTo>
                  <a:cubicBezTo>
                    <a:pt x="88" y="735"/>
                    <a:pt x="86" y="726"/>
                    <a:pt x="95" y="725"/>
                  </a:cubicBezTo>
                  <a:cubicBezTo>
                    <a:pt x="92" y="739"/>
                    <a:pt x="100" y="756"/>
                    <a:pt x="106" y="744"/>
                  </a:cubicBezTo>
                  <a:cubicBezTo>
                    <a:pt x="102" y="741"/>
                    <a:pt x="101" y="739"/>
                    <a:pt x="103" y="736"/>
                  </a:cubicBezTo>
                  <a:cubicBezTo>
                    <a:pt x="104" y="736"/>
                    <a:pt x="96" y="719"/>
                    <a:pt x="103" y="721"/>
                  </a:cubicBezTo>
                  <a:cubicBezTo>
                    <a:pt x="107" y="735"/>
                    <a:pt x="113" y="734"/>
                    <a:pt x="109" y="751"/>
                  </a:cubicBezTo>
                  <a:cubicBezTo>
                    <a:pt x="113" y="751"/>
                    <a:pt x="117" y="752"/>
                    <a:pt x="119" y="755"/>
                  </a:cubicBezTo>
                  <a:cubicBezTo>
                    <a:pt x="119" y="746"/>
                    <a:pt x="114" y="739"/>
                    <a:pt x="122" y="736"/>
                  </a:cubicBezTo>
                  <a:cubicBezTo>
                    <a:pt x="122" y="752"/>
                    <a:pt x="124" y="745"/>
                    <a:pt x="128" y="740"/>
                  </a:cubicBezTo>
                  <a:cubicBezTo>
                    <a:pt x="125" y="764"/>
                    <a:pt x="138" y="764"/>
                    <a:pt x="149" y="770"/>
                  </a:cubicBezTo>
                  <a:cubicBezTo>
                    <a:pt x="149" y="765"/>
                    <a:pt x="150" y="761"/>
                    <a:pt x="154" y="762"/>
                  </a:cubicBezTo>
                  <a:cubicBezTo>
                    <a:pt x="155" y="758"/>
                    <a:pt x="155" y="753"/>
                    <a:pt x="160" y="755"/>
                  </a:cubicBezTo>
                  <a:cubicBezTo>
                    <a:pt x="163" y="767"/>
                    <a:pt x="151" y="758"/>
                    <a:pt x="154" y="770"/>
                  </a:cubicBezTo>
                  <a:cubicBezTo>
                    <a:pt x="158" y="769"/>
                    <a:pt x="164" y="771"/>
                    <a:pt x="165" y="766"/>
                  </a:cubicBezTo>
                  <a:cubicBezTo>
                    <a:pt x="161" y="766"/>
                    <a:pt x="165" y="762"/>
                    <a:pt x="165" y="762"/>
                  </a:cubicBezTo>
                  <a:cubicBezTo>
                    <a:pt x="165" y="760"/>
                    <a:pt x="162" y="756"/>
                    <a:pt x="163" y="755"/>
                  </a:cubicBezTo>
                  <a:cubicBezTo>
                    <a:pt x="163" y="751"/>
                    <a:pt x="168" y="752"/>
                    <a:pt x="168" y="744"/>
                  </a:cubicBezTo>
                  <a:cubicBezTo>
                    <a:pt x="168" y="744"/>
                    <a:pt x="165" y="744"/>
                    <a:pt x="165" y="744"/>
                  </a:cubicBezTo>
                  <a:cubicBezTo>
                    <a:pt x="163" y="741"/>
                    <a:pt x="161" y="721"/>
                    <a:pt x="168" y="729"/>
                  </a:cubicBezTo>
                  <a:cubicBezTo>
                    <a:pt x="169" y="715"/>
                    <a:pt x="157" y="719"/>
                    <a:pt x="160" y="703"/>
                  </a:cubicBezTo>
                  <a:cubicBezTo>
                    <a:pt x="166" y="702"/>
                    <a:pt x="171" y="699"/>
                    <a:pt x="176" y="696"/>
                  </a:cubicBezTo>
                  <a:cubicBezTo>
                    <a:pt x="176" y="691"/>
                    <a:pt x="176" y="686"/>
                    <a:pt x="176" y="681"/>
                  </a:cubicBezTo>
                  <a:cubicBezTo>
                    <a:pt x="165" y="683"/>
                    <a:pt x="174" y="672"/>
                    <a:pt x="173" y="670"/>
                  </a:cubicBezTo>
                  <a:cubicBezTo>
                    <a:pt x="173" y="667"/>
                    <a:pt x="168" y="666"/>
                    <a:pt x="168" y="662"/>
                  </a:cubicBezTo>
                  <a:cubicBezTo>
                    <a:pt x="167" y="658"/>
                    <a:pt x="168" y="652"/>
                    <a:pt x="170" y="651"/>
                  </a:cubicBezTo>
                  <a:cubicBezTo>
                    <a:pt x="174" y="653"/>
                    <a:pt x="173" y="659"/>
                    <a:pt x="176" y="662"/>
                  </a:cubicBezTo>
                  <a:cubicBezTo>
                    <a:pt x="175" y="661"/>
                    <a:pt x="177" y="658"/>
                    <a:pt x="178" y="658"/>
                  </a:cubicBezTo>
                  <a:cubicBezTo>
                    <a:pt x="177" y="659"/>
                    <a:pt x="188" y="675"/>
                    <a:pt x="187" y="662"/>
                  </a:cubicBezTo>
                  <a:cubicBezTo>
                    <a:pt x="184" y="661"/>
                    <a:pt x="183" y="655"/>
                    <a:pt x="181" y="651"/>
                  </a:cubicBezTo>
                  <a:cubicBezTo>
                    <a:pt x="177" y="641"/>
                    <a:pt x="184" y="646"/>
                    <a:pt x="181" y="636"/>
                  </a:cubicBezTo>
                  <a:cubicBezTo>
                    <a:pt x="181" y="634"/>
                    <a:pt x="176" y="634"/>
                    <a:pt x="176" y="629"/>
                  </a:cubicBezTo>
                  <a:cubicBezTo>
                    <a:pt x="176" y="629"/>
                    <a:pt x="181" y="626"/>
                    <a:pt x="181" y="625"/>
                  </a:cubicBezTo>
                  <a:cubicBezTo>
                    <a:pt x="184" y="619"/>
                    <a:pt x="180" y="610"/>
                    <a:pt x="184" y="607"/>
                  </a:cubicBezTo>
                  <a:cubicBezTo>
                    <a:pt x="177" y="609"/>
                    <a:pt x="174" y="605"/>
                    <a:pt x="176" y="596"/>
                  </a:cubicBezTo>
                  <a:cubicBezTo>
                    <a:pt x="181" y="595"/>
                    <a:pt x="182" y="600"/>
                    <a:pt x="187" y="599"/>
                  </a:cubicBezTo>
                  <a:cubicBezTo>
                    <a:pt x="187" y="597"/>
                    <a:pt x="187" y="592"/>
                    <a:pt x="189" y="592"/>
                  </a:cubicBezTo>
                  <a:cubicBezTo>
                    <a:pt x="189" y="597"/>
                    <a:pt x="190" y="606"/>
                    <a:pt x="192" y="599"/>
                  </a:cubicBezTo>
                  <a:cubicBezTo>
                    <a:pt x="191" y="591"/>
                    <a:pt x="193" y="586"/>
                    <a:pt x="197" y="585"/>
                  </a:cubicBezTo>
                  <a:cubicBezTo>
                    <a:pt x="195" y="598"/>
                    <a:pt x="197" y="594"/>
                    <a:pt x="195" y="607"/>
                  </a:cubicBezTo>
                  <a:cubicBezTo>
                    <a:pt x="202" y="604"/>
                    <a:pt x="193" y="624"/>
                    <a:pt x="200" y="622"/>
                  </a:cubicBezTo>
                  <a:cubicBezTo>
                    <a:pt x="206" y="611"/>
                    <a:pt x="195" y="608"/>
                    <a:pt x="200" y="603"/>
                  </a:cubicBezTo>
                  <a:cubicBezTo>
                    <a:pt x="208" y="613"/>
                    <a:pt x="210" y="635"/>
                    <a:pt x="200" y="644"/>
                  </a:cubicBezTo>
                  <a:cubicBezTo>
                    <a:pt x="197" y="640"/>
                    <a:pt x="191" y="640"/>
                    <a:pt x="184" y="640"/>
                  </a:cubicBezTo>
                  <a:cubicBezTo>
                    <a:pt x="185" y="650"/>
                    <a:pt x="187" y="658"/>
                    <a:pt x="192" y="662"/>
                  </a:cubicBezTo>
                  <a:cubicBezTo>
                    <a:pt x="187" y="664"/>
                    <a:pt x="193" y="667"/>
                    <a:pt x="192" y="673"/>
                  </a:cubicBezTo>
                  <a:cubicBezTo>
                    <a:pt x="185" y="673"/>
                    <a:pt x="184" y="666"/>
                    <a:pt x="181" y="677"/>
                  </a:cubicBezTo>
                  <a:cubicBezTo>
                    <a:pt x="188" y="675"/>
                    <a:pt x="175" y="694"/>
                    <a:pt x="184" y="696"/>
                  </a:cubicBezTo>
                  <a:cubicBezTo>
                    <a:pt x="188" y="691"/>
                    <a:pt x="184" y="676"/>
                    <a:pt x="195" y="681"/>
                  </a:cubicBezTo>
                  <a:cubicBezTo>
                    <a:pt x="194" y="668"/>
                    <a:pt x="199" y="665"/>
                    <a:pt x="203" y="659"/>
                  </a:cubicBezTo>
                  <a:cubicBezTo>
                    <a:pt x="207" y="661"/>
                    <a:pt x="202" y="677"/>
                    <a:pt x="211" y="673"/>
                  </a:cubicBezTo>
                  <a:cubicBezTo>
                    <a:pt x="212" y="667"/>
                    <a:pt x="207" y="664"/>
                    <a:pt x="211" y="662"/>
                  </a:cubicBezTo>
                  <a:cubicBezTo>
                    <a:pt x="213" y="663"/>
                    <a:pt x="216" y="662"/>
                    <a:pt x="216" y="666"/>
                  </a:cubicBezTo>
                  <a:cubicBezTo>
                    <a:pt x="212" y="668"/>
                    <a:pt x="216" y="680"/>
                    <a:pt x="211" y="681"/>
                  </a:cubicBezTo>
                  <a:cubicBezTo>
                    <a:pt x="205" y="679"/>
                    <a:pt x="206" y="670"/>
                    <a:pt x="200" y="677"/>
                  </a:cubicBezTo>
                  <a:cubicBezTo>
                    <a:pt x="199" y="691"/>
                    <a:pt x="201" y="701"/>
                    <a:pt x="205" y="707"/>
                  </a:cubicBezTo>
                  <a:cubicBezTo>
                    <a:pt x="199" y="706"/>
                    <a:pt x="197" y="700"/>
                    <a:pt x="195" y="710"/>
                  </a:cubicBezTo>
                  <a:cubicBezTo>
                    <a:pt x="202" y="714"/>
                    <a:pt x="191" y="722"/>
                    <a:pt x="195" y="733"/>
                  </a:cubicBezTo>
                  <a:cubicBezTo>
                    <a:pt x="200" y="736"/>
                    <a:pt x="204" y="722"/>
                    <a:pt x="205" y="733"/>
                  </a:cubicBezTo>
                  <a:cubicBezTo>
                    <a:pt x="200" y="731"/>
                    <a:pt x="200" y="738"/>
                    <a:pt x="197" y="740"/>
                  </a:cubicBezTo>
                  <a:cubicBezTo>
                    <a:pt x="196" y="740"/>
                    <a:pt x="194" y="741"/>
                    <a:pt x="195" y="744"/>
                  </a:cubicBezTo>
                  <a:cubicBezTo>
                    <a:pt x="203" y="747"/>
                    <a:pt x="208" y="728"/>
                    <a:pt x="211" y="736"/>
                  </a:cubicBezTo>
                  <a:cubicBezTo>
                    <a:pt x="204" y="742"/>
                    <a:pt x="210" y="762"/>
                    <a:pt x="211" y="770"/>
                  </a:cubicBezTo>
                  <a:cubicBezTo>
                    <a:pt x="211" y="779"/>
                    <a:pt x="211" y="789"/>
                    <a:pt x="211" y="799"/>
                  </a:cubicBezTo>
                  <a:cubicBezTo>
                    <a:pt x="201" y="797"/>
                    <a:pt x="199" y="806"/>
                    <a:pt x="189" y="803"/>
                  </a:cubicBezTo>
                  <a:cubicBezTo>
                    <a:pt x="188" y="817"/>
                    <a:pt x="206" y="804"/>
                    <a:pt x="200" y="825"/>
                  </a:cubicBezTo>
                  <a:cubicBezTo>
                    <a:pt x="209" y="826"/>
                    <a:pt x="206" y="811"/>
                    <a:pt x="214" y="810"/>
                  </a:cubicBezTo>
                  <a:cubicBezTo>
                    <a:pt x="218" y="823"/>
                    <a:pt x="214" y="823"/>
                    <a:pt x="214" y="840"/>
                  </a:cubicBezTo>
                  <a:cubicBezTo>
                    <a:pt x="208" y="837"/>
                    <a:pt x="203" y="852"/>
                    <a:pt x="208" y="851"/>
                  </a:cubicBezTo>
                  <a:cubicBezTo>
                    <a:pt x="209" y="847"/>
                    <a:pt x="212" y="847"/>
                    <a:pt x="216" y="847"/>
                  </a:cubicBezTo>
                  <a:cubicBezTo>
                    <a:pt x="210" y="855"/>
                    <a:pt x="219" y="859"/>
                    <a:pt x="214" y="866"/>
                  </a:cubicBezTo>
                  <a:cubicBezTo>
                    <a:pt x="223" y="869"/>
                    <a:pt x="216" y="849"/>
                    <a:pt x="224" y="851"/>
                  </a:cubicBezTo>
                  <a:cubicBezTo>
                    <a:pt x="227" y="854"/>
                    <a:pt x="225" y="865"/>
                    <a:pt x="232" y="862"/>
                  </a:cubicBezTo>
                  <a:cubicBezTo>
                    <a:pt x="229" y="850"/>
                    <a:pt x="241" y="859"/>
                    <a:pt x="238" y="847"/>
                  </a:cubicBezTo>
                  <a:cubicBezTo>
                    <a:pt x="229" y="843"/>
                    <a:pt x="236" y="859"/>
                    <a:pt x="227" y="855"/>
                  </a:cubicBezTo>
                  <a:cubicBezTo>
                    <a:pt x="231" y="840"/>
                    <a:pt x="220" y="847"/>
                    <a:pt x="219" y="840"/>
                  </a:cubicBezTo>
                  <a:cubicBezTo>
                    <a:pt x="222" y="837"/>
                    <a:pt x="226" y="835"/>
                    <a:pt x="232" y="836"/>
                  </a:cubicBezTo>
                  <a:cubicBezTo>
                    <a:pt x="233" y="831"/>
                    <a:pt x="231" y="822"/>
                    <a:pt x="235" y="821"/>
                  </a:cubicBezTo>
                  <a:cubicBezTo>
                    <a:pt x="239" y="830"/>
                    <a:pt x="243" y="815"/>
                    <a:pt x="246" y="825"/>
                  </a:cubicBezTo>
                  <a:cubicBezTo>
                    <a:pt x="242" y="834"/>
                    <a:pt x="247" y="832"/>
                    <a:pt x="243" y="836"/>
                  </a:cubicBezTo>
                  <a:cubicBezTo>
                    <a:pt x="242" y="837"/>
                    <a:pt x="243" y="842"/>
                    <a:pt x="243" y="844"/>
                  </a:cubicBezTo>
                  <a:cubicBezTo>
                    <a:pt x="240" y="853"/>
                    <a:pt x="245" y="849"/>
                    <a:pt x="243" y="858"/>
                  </a:cubicBezTo>
                  <a:cubicBezTo>
                    <a:pt x="243" y="861"/>
                    <a:pt x="235" y="862"/>
                    <a:pt x="238" y="869"/>
                  </a:cubicBezTo>
                  <a:cubicBezTo>
                    <a:pt x="241" y="872"/>
                    <a:pt x="243" y="877"/>
                    <a:pt x="243" y="884"/>
                  </a:cubicBezTo>
                  <a:cubicBezTo>
                    <a:pt x="240" y="885"/>
                    <a:pt x="239" y="879"/>
                    <a:pt x="238" y="884"/>
                  </a:cubicBezTo>
                  <a:cubicBezTo>
                    <a:pt x="241" y="885"/>
                    <a:pt x="241" y="890"/>
                    <a:pt x="240" y="895"/>
                  </a:cubicBezTo>
                  <a:cubicBezTo>
                    <a:pt x="237" y="896"/>
                    <a:pt x="233" y="895"/>
                    <a:pt x="232" y="899"/>
                  </a:cubicBezTo>
                  <a:cubicBezTo>
                    <a:pt x="238" y="898"/>
                    <a:pt x="234" y="912"/>
                    <a:pt x="235" y="918"/>
                  </a:cubicBezTo>
                  <a:cubicBezTo>
                    <a:pt x="245" y="916"/>
                    <a:pt x="249" y="907"/>
                    <a:pt x="251" y="895"/>
                  </a:cubicBezTo>
                  <a:cubicBezTo>
                    <a:pt x="249" y="894"/>
                    <a:pt x="246" y="895"/>
                    <a:pt x="246" y="892"/>
                  </a:cubicBezTo>
                  <a:cubicBezTo>
                    <a:pt x="254" y="879"/>
                    <a:pt x="238" y="856"/>
                    <a:pt x="254" y="855"/>
                  </a:cubicBezTo>
                  <a:cubicBezTo>
                    <a:pt x="255" y="866"/>
                    <a:pt x="249" y="868"/>
                    <a:pt x="251" y="881"/>
                  </a:cubicBezTo>
                  <a:cubicBezTo>
                    <a:pt x="256" y="879"/>
                    <a:pt x="257" y="886"/>
                    <a:pt x="259" y="888"/>
                  </a:cubicBezTo>
                  <a:cubicBezTo>
                    <a:pt x="265" y="875"/>
                    <a:pt x="267" y="899"/>
                    <a:pt x="273" y="899"/>
                  </a:cubicBezTo>
                  <a:cubicBezTo>
                    <a:pt x="273" y="895"/>
                    <a:pt x="277" y="894"/>
                    <a:pt x="278" y="899"/>
                  </a:cubicBezTo>
                  <a:cubicBezTo>
                    <a:pt x="283" y="911"/>
                    <a:pt x="268" y="914"/>
                    <a:pt x="275" y="918"/>
                  </a:cubicBezTo>
                  <a:cubicBezTo>
                    <a:pt x="276" y="909"/>
                    <a:pt x="287" y="916"/>
                    <a:pt x="292" y="914"/>
                  </a:cubicBezTo>
                  <a:cubicBezTo>
                    <a:pt x="291" y="919"/>
                    <a:pt x="293" y="922"/>
                    <a:pt x="294" y="925"/>
                  </a:cubicBezTo>
                  <a:cubicBezTo>
                    <a:pt x="304" y="925"/>
                    <a:pt x="310" y="931"/>
                    <a:pt x="313" y="940"/>
                  </a:cubicBezTo>
                  <a:cubicBezTo>
                    <a:pt x="312" y="940"/>
                    <a:pt x="310" y="943"/>
                    <a:pt x="313" y="943"/>
                  </a:cubicBezTo>
                  <a:cubicBezTo>
                    <a:pt x="314" y="937"/>
                    <a:pt x="319" y="941"/>
                    <a:pt x="321" y="943"/>
                  </a:cubicBezTo>
                  <a:cubicBezTo>
                    <a:pt x="323" y="945"/>
                    <a:pt x="325" y="946"/>
                    <a:pt x="326" y="947"/>
                  </a:cubicBezTo>
                  <a:cubicBezTo>
                    <a:pt x="329" y="949"/>
                    <a:pt x="332" y="954"/>
                    <a:pt x="335" y="954"/>
                  </a:cubicBezTo>
                  <a:cubicBezTo>
                    <a:pt x="334" y="954"/>
                    <a:pt x="335" y="948"/>
                    <a:pt x="337" y="951"/>
                  </a:cubicBezTo>
                  <a:cubicBezTo>
                    <a:pt x="339" y="953"/>
                    <a:pt x="336" y="958"/>
                    <a:pt x="340" y="958"/>
                  </a:cubicBezTo>
                  <a:cubicBezTo>
                    <a:pt x="344" y="959"/>
                    <a:pt x="345" y="969"/>
                    <a:pt x="345" y="973"/>
                  </a:cubicBezTo>
                  <a:cubicBezTo>
                    <a:pt x="364" y="976"/>
                    <a:pt x="367" y="1002"/>
                    <a:pt x="388" y="1003"/>
                  </a:cubicBezTo>
                  <a:cubicBezTo>
                    <a:pt x="391" y="1008"/>
                    <a:pt x="394" y="1015"/>
                    <a:pt x="396" y="1017"/>
                  </a:cubicBezTo>
                  <a:cubicBezTo>
                    <a:pt x="400" y="1021"/>
                    <a:pt x="406" y="1018"/>
                    <a:pt x="410" y="1021"/>
                  </a:cubicBezTo>
                  <a:cubicBezTo>
                    <a:pt x="411" y="1022"/>
                    <a:pt x="411" y="1028"/>
                    <a:pt x="412" y="1028"/>
                  </a:cubicBezTo>
                  <a:cubicBezTo>
                    <a:pt x="415" y="1030"/>
                    <a:pt x="418" y="1028"/>
                    <a:pt x="421" y="1028"/>
                  </a:cubicBezTo>
                  <a:cubicBezTo>
                    <a:pt x="421" y="1029"/>
                    <a:pt x="420" y="1032"/>
                    <a:pt x="421" y="1032"/>
                  </a:cubicBezTo>
                  <a:cubicBezTo>
                    <a:pt x="421" y="1033"/>
                    <a:pt x="428" y="1035"/>
                    <a:pt x="429" y="1036"/>
                  </a:cubicBezTo>
                  <a:cubicBezTo>
                    <a:pt x="433" y="1040"/>
                    <a:pt x="436" y="1038"/>
                    <a:pt x="442" y="1040"/>
                  </a:cubicBezTo>
                  <a:cubicBezTo>
                    <a:pt x="442" y="1040"/>
                    <a:pt x="443" y="1043"/>
                    <a:pt x="445" y="1043"/>
                  </a:cubicBezTo>
                  <a:cubicBezTo>
                    <a:pt x="448" y="1044"/>
                    <a:pt x="450" y="1046"/>
                    <a:pt x="453" y="1047"/>
                  </a:cubicBezTo>
                  <a:cubicBezTo>
                    <a:pt x="460" y="1049"/>
                    <a:pt x="461" y="1051"/>
                    <a:pt x="464" y="1058"/>
                  </a:cubicBezTo>
                  <a:cubicBezTo>
                    <a:pt x="469" y="1058"/>
                    <a:pt x="474" y="1058"/>
                    <a:pt x="480" y="1058"/>
                  </a:cubicBezTo>
                  <a:cubicBezTo>
                    <a:pt x="480" y="1065"/>
                    <a:pt x="481" y="1064"/>
                    <a:pt x="485" y="1065"/>
                  </a:cubicBezTo>
                  <a:cubicBezTo>
                    <a:pt x="486" y="1066"/>
                    <a:pt x="489" y="1069"/>
                    <a:pt x="488" y="1069"/>
                  </a:cubicBezTo>
                  <a:cubicBezTo>
                    <a:pt x="491" y="1069"/>
                    <a:pt x="495" y="1065"/>
                    <a:pt x="496" y="1065"/>
                  </a:cubicBezTo>
                  <a:cubicBezTo>
                    <a:pt x="496" y="1066"/>
                    <a:pt x="495" y="1072"/>
                    <a:pt x="496" y="1073"/>
                  </a:cubicBezTo>
                  <a:cubicBezTo>
                    <a:pt x="497" y="1074"/>
                    <a:pt x="500" y="1072"/>
                    <a:pt x="501" y="1073"/>
                  </a:cubicBezTo>
                  <a:cubicBezTo>
                    <a:pt x="502" y="1073"/>
                    <a:pt x="505" y="1077"/>
                    <a:pt x="504" y="1077"/>
                  </a:cubicBezTo>
                  <a:cubicBezTo>
                    <a:pt x="507" y="1077"/>
                    <a:pt x="511" y="1072"/>
                    <a:pt x="512" y="1073"/>
                  </a:cubicBezTo>
                  <a:cubicBezTo>
                    <a:pt x="514" y="1074"/>
                    <a:pt x="515" y="1082"/>
                    <a:pt x="517" y="1084"/>
                  </a:cubicBezTo>
                  <a:cubicBezTo>
                    <a:pt x="526" y="1087"/>
                    <a:pt x="523" y="1074"/>
                    <a:pt x="531" y="1077"/>
                  </a:cubicBezTo>
                  <a:cubicBezTo>
                    <a:pt x="532" y="1087"/>
                    <a:pt x="545" y="1082"/>
                    <a:pt x="542" y="1099"/>
                  </a:cubicBezTo>
                  <a:cubicBezTo>
                    <a:pt x="550" y="1098"/>
                    <a:pt x="553" y="1105"/>
                    <a:pt x="563" y="1102"/>
                  </a:cubicBezTo>
                  <a:cubicBezTo>
                    <a:pt x="565" y="1112"/>
                    <a:pt x="571" y="1117"/>
                    <a:pt x="574" y="1125"/>
                  </a:cubicBezTo>
                  <a:cubicBezTo>
                    <a:pt x="576" y="1129"/>
                    <a:pt x="574" y="1129"/>
                    <a:pt x="577" y="1132"/>
                  </a:cubicBezTo>
                  <a:cubicBezTo>
                    <a:pt x="577" y="1133"/>
                    <a:pt x="576" y="1138"/>
                    <a:pt x="577" y="1139"/>
                  </a:cubicBezTo>
                  <a:cubicBezTo>
                    <a:pt x="577" y="1140"/>
                    <a:pt x="579" y="1139"/>
                    <a:pt x="579" y="1139"/>
                  </a:cubicBezTo>
                  <a:cubicBezTo>
                    <a:pt x="580" y="1140"/>
                    <a:pt x="579" y="1145"/>
                    <a:pt x="579" y="1147"/>
                  </a:cubicBezTo>
                  <a:cubicBezTo>
                    <a:pt x="580" y="1148"/>
                    <a:pt x="584" y="1149"/>
                    <a:pt x="585" y="1151"/>
                  </a:cubicBezTo>
                  <a:cubicBezTo>
                    <a:pt x="586" y="1154"/>
                    <a:pt x="585" y="1159"/>
                    <a:pt x="587" y="1162"/>
                  </a:cubicBezTo>
                  <a:cubicBezTo>
                    <a:pt x="589" y="1165"/>
                    <a:pt x="593" y="1163"/>
                    <a:pt x="595" y="1165"/>
                  </a:cubicBezTo>
                  <a:cubicBezTo>
                    <a:pt x="599" y="1169"/>
                    <a:pt x="603" y="1175"/>
                    <a:pt x="606" y="1180"/>
                  </a:cubicBezTo>
                  <a:cubicBezTo>
                    <a:pt x="611" y="1186"/>
                    <a:pt x="614" y="1193"/>
                    <a:pt x="617" y="1199"/>
                  </a:cubicBezTo>
                  <a:cubicBezTo>
                    <a:pt x="634" y="1201"/>
                    <a:pt x="644" y="1194"/>
                    <a:pt x="660" y="1195"/>
                  </a:cubicBezTo>
                  <a:cubicBezTo>
                    <a:pt x="670" y="1210"/>
                    <a:pt x="684" y="1205"/>
                    <a:pt x="698" y="1210"/>
                  </a:cubicBezTo>
                  <a:cubicBezTo>
                    <a:pt x="699" y="1210"/>
                    <a:pt x="702" y="1216"/>
                    <a:pt x="703" y="1217"/>
                  </a:cubicBezTo>
                  <a:cubicBezTo>
                    <a:pt x="706" y="1218"/>
                    <a:pt x="710" y="1216"/>
                    <a:pt x="714" y="1217"/>
                  </a:cubicBezTo>
                  <a:cubicBezTo>
                    <a:pt x="714" y="1217"/>
                    <a:pt x="714" y="1220"/>
                    <a:pt x="716" y="1221"/>
                  </a:cubicBezTo>
                  <a:cubicBezTo>
                    <a:pt x="720" y="1222"/>
                    <a:pt x="722" y="1222"/>
                    <a:pt x="724" y="1225"/>
                  </a:cubicBezTo>
                  <a:cubicBezTo>
                    <a:pt x="730" y="1230"/>
                    <a:pt x="736" y="1226"/>
                    <a:pt x="743" y="1228"/>
                  </a:cubicBezTo>
                  <a:cubicBezTo>
                    <a:pt x="744" y="1228"/>
                    <a:pt x="747" y="1235"/>
                    <a:pt x="749" y="1235"/>
                  </a:cubicBezTo>
                  <a:cubicBezTo>
                    <a:pt x="752" y="1237"/>
                    <a:pt x="755" y="1232"/>
                    <a:pt x="757" y="1232"/>
                  </a:cubicBezTo>
                  <a:cubicBezTo>
                    <a:pt x="756" y="1232"/>
                    <a:pt x="758" y="1235"/>
                    <a:pt x="759" y="1235"/>
                  </a:cubicBezTo>
                  <a:cubicBezTo>
                    <a:pt x="763" y="1237"/>
                    <a:pt x="765" y="1238"/>
                    <a:pt x="767" y="1239"/>
                  </a:cubicBezTo>
                  <a:cubicBezTo>
                    <a:pt x="775" y="1242"/>
                    <a:pt x="773" y="1245"/>
                    <a:pt x="778" y="1247"/>
                  </a:cubicBezTo>
                  <a:cubicBezTo>
                    <a:pt x="777" y="1246"/>
                    <a:pt x="780" y="1243"/>
                    <a:pt x="781" y="1243"/>
                  </a:cubicBezTo>
                  <a:cubicBezTo>
                    <a:pt x="784" y="1242"/>
                    <a:pt x="788" y="1245"/>
                    <a:pt x="789" y="1247"/>
                  </a:cubicBezTo>
                  <a:cubicBezTo>
                    <a:pt x="795" y="1255"/>
                    <a:pt x="799" y="1246"/>
                    <a:pt x="805" y="1247"/>
                  </a:cubicBezTo>
                  <a:cubicBezTo>
                    <a:pt x="805" y="1247"/>
                    <a:pt x="806" y="1250"/>
                    <a:pt x="808" y="1250"/>
                  </a:cubicBezTo>
                  <a:cubicBezTo>
                    <a:pt x="809" y="1251"/>
                    <a:pt x="812" y="1250"/>
                    <a:pt x="813" y="1250"/>
                  </a:cubicBezTo>
                  <a:cubicBezTo>
                    <a:pt x="813" y="1251"/>
                    <a:pt x="813" y="1254"/>
                    <a:pt x="813" y="1254"/>
                  </a:cubicBezTo>
                  <a:cubicBezTo>
                    <a:pt x="817" y="1256"/>
                    <a:pt x="823" y="1255"/>
                    <a:pt x="827" y="1258"/>
                  </a:cubicBezTo>
                  <a:cubicBezTo>
                    <a:pt x="827" y="1255"/>
                    <a:pt x="827" y="1250"/>
                    <a:pt x="829" y="1250"/>
                  </a:cubicBezTo>
                  <a:cubicBezTo>
                    <a:pt x="835" y="1258"/>
                    <a:pt x="835" y="1249"/>
                    <a:pt x="840" y="1247"/>
                  </a:cubicBezTo>
                  <a:cubicBezTo>
                    <a:pt x="840" y="1252"/>
                    <a:pt x="840" y="1257"/>
                    <a:pt x="840" y="1261"/>
                  </a:cubicBezTo>
                  <a:cubicBezTo>
                    <a:pt x="845" y="1263"/>
                    <a:pt x="845" y="1256"/>
                    <a:pt x="848" y="1254"/>
                  </a:cubicBezTo>
                  <a:cubicBezTo>
                    <a:pt x="849" y="1258"/>
                    <a:pt x="851" y="1260"/>
                    <a:pt x="854" y="1261"/>
                  </a:cubicBezTo>
                  <a:cubicBezTo>
                    <a:pt x="854" y="1257"/>
                    <a:pt x="853" y="1251"/>
                    <a:pt x="856" y="1250"/>
                  </a:cubicBezTo>
                  <a:cubicBezTo>
                    <a:pt x="864" y="1260"/>
                    <a:pt x="866" y="1254"/>
                    <a:pt x="878" y="1258"/>
                  </a:cubicBezTo>
                  <a:cubicBezTo>
                    <a:pt x="878" y="1262"/>
                    <a:pt x="878" y="1266"/>
                    <a:pt x="883" y="1265"/>
                  </a:cubicBezTo>
                  <a:cubicBezTo>
                    <a:pt x="884" y="1253"/>
                    <a:pt x="888" y="1263"/>
                    <a:pt x="897" y="1258"/>
                  </a:cubicBezTo>
                  <a:cubicBezTo>
                    <a:pt x="896" y="1264"/>
                    <a:pt x="899" y="1267"/>
                    <a:pt x="902" y="1269"/>
                  </a:cubicBezTo>
                  <a:cubicBezTo>
                    <a:pt x="904" y="1263"/>
                    <a:pt x="905" y="1269"/>
                    <a:pt x="907" y="1265"/>
                  </a:cubicBezTo>
                  <a:cubicBezTo>
                    <a:pt x="911" y="1260"/>
                    <a:pt x="921" y="1269"/>
                    <a:pt x="921" y="1269"/>
                  </a:cubicBezTo>
                  <a:cubicBezTo>
                    <a:pt x="923" y="1268"/>
                    <a:pt x="926" y="1255"/>
                    <a:pt x="931" y="1261"/>
                  </a:cubicBezTo>
                  <a:cubicBezTo>
                    <a:pt x="930" y="1276"/>
                    <a:pt x="940" y="1266"/>
                    <a:pt x="945" y="1265"/>
                  </a:cubicBezTo>
                  <a:cubicBezTo>
                    <a:pt x="948" y="1265"/>
                    <a:pt x="949" y="1269"/>
                    <a:pt x="953" y="1269"/>
                  </a:cubicBezTo>
                  <a:cubicBezTo>
                    <a:pt x="952" y="1269"/>
                    <a:pt x="955" y="1265"/>
                    <a:pt x="956" y="1265"/>
                  </a:cubicBezTo>
                  <a:cubicBezTo>
                    <a:pt x="968" y="1258"/>
                    <a:pt x="952" y="1267"/>
                    <a:pt x="953" y="1258"/>
                  </a:cubicBezTo>
                  <a:cubicBezTo>
                    <a:pt x="957" y="1258"/>
                    <a:pt x="959" y="1256"/>
                    <a:pt x="961" y="1254"/>
                  </a:cubicBezTo>
                  <a:cubicBezTo>
                    <a:pt x="966" y="1259"/>
                    <a:pt x="961" y="1276"/>
                    <a:pt x="969" y="1276"/>
                  </a:cubicBezTo>
                  <a:cubicBezTo>
                    <a:pt x="968" y="1266"/>
                    <a:pt x="984" y="1279"/>
                    <a:pt x="983" y="1269"/>
                  </a:cubicBezTo>
                  <a:cubicBezTo>
                    <a:pt x="980" y="1268"/>
                    <a:pt x="978" y="1265"/>
                    <a:pt x="977" y="1261"/>
                  </a:cubicBezTo>
                  <a:cubicBezTo>
                    <a:pt x="990" y="1261"/>
                    <a:pt x="987" y="1259"/>
                    <a:pt x="999" y="1254"/>
                  </a:cubicBezTo>
                  <a:cubicBezTo>
                    <a:pt x="999" y="1260"/>
                    <a:pt x="998" y="1268"/>
                    <a:pt x="1001" y="1269"/>
                  </a:cubicBezTo>
                  <a:cubicBezTo>
                    <a:pt x="1002" y="1264"/>
                    <a:pt x="1002" y="1260"/>
                    <a:pt x="1007" y="1261"/>
                  </a:cubicBezTo>
                  <a:cubicBezTo>
                    <a:pt x="1007" y="1269"/>
                    <a:pt x="999" y="1266"/>
                    <a:pt x="1001" y="1276"/>
                  </a:cubicBezTo>
                  <a:cubicBezTo>
                    <a:pt x="1010" y="1279"/>
                    <a:pt x="1007" y="1267"/>
                    <a:pt x="1012" y="1265"/>
                  </a:cubicBezTo>
                  <a:cubicBezTo>
                    <a:pt x="1016" y="1264"/>
                    <a:pt x="1016" y="1272"/>
                    <a:pt x="1018" y="1273"/>
                  </a:cubicBezTo>
                  <a:cubicBezTo>
                    <a:pt x="1023" y="1275"/>
                    <a:pt x="1027" y="1266"/>
                    <a:pt x="1031" y="1269"/>
                  </a:cubicBezTo>
                  <a:cubicBezTo>
                    <a:pt x="1037" y="1273"/>
                    <a:pt x="1028" y="1282"/>
                    <a:pt x="1034" y="1280"/>
                  </a:cubicBezTo>
                  <a:cubicBezTo>
                    <a:pt x="1036" y="1279"/>
                    <a:pt x="1040" y="1267"/>
                    <a:pt x="1042" y="1265"/>
                  </a:cubicBezTo>
                  <a:cubicBezTo>
                    <a:pt x="1037" y="1264"/>
                    <a:pt x="1035" y="1271"/>
                    <a:pt x="1034" y="1265"/>
                  </a:cubicBezTo>
                  <a:cubicBezTo>
                    <a:pt x="1037" y="1255"/>
                    <a:pt x="1046" y="1268"/>
                    <a:pt x="1050" y="1269"/>
                  </a:cubicBezTo>
                  <a:cubicBezTo>
                    <a:pt x="1050" y="1254"/>
                    <a:pt x="1054" y="1269"/>
                    <a:pt x="1058" y="1269"/>
                  </a:cubicBezTo>
                  <a:cubicBezTo>
                    <a:pt x="1059" y="1269"/>
                    <a:pt x="1059" y="1263"/>
                    <a:pt x="1063" y="1265"/>
                  </a:cubicBezTo>
                  <a:cubicBezTo>
                    <a:pt x="1063" y="1265"/>
                    <a:pt x="1066" y="1269"/>
                    <a:pt x="1066" y="1269"/>
                  </a:cubicBezTo>
                  <a:cubicBezTo>
                    <a:pt x="1072" y="1275"/>
                    <a:pt x="1069" y="1268"/>
                    <a:pt x="1077" y="1269"/>
                  </a:cubicBezTo>
                  <a:cubicBezTo>
                    <a:pt x="1071" y="1277"/>
                    <a:pt x="1078" y="1277"/>
                    <a:pt x="1082" y="1273"/>
                  </a:cubicBezTo>
                  <a:cubicBezTo>
                    <a:pt x="1080" y="1284"/>
                    <a:pt x="1086" y="1284"/>
                    <a:pt x="1090" y="1287"/>
                  </a:cubicBezTo>
                  <a:cubicBezTo>
                    <a:pt x="1090" y="1281"/>
                    <a:pt x="1092" y="1278"/>
                    <a:pt x="1096" y="1276"/>
                  </a:cubicBezTo>
                  <a:cubicBezTo>
                    <a:pt x="1096" y="1282"/>
                    <a:pt x="1095" y="1289"/>
                    <a:pt x="1101" y="1287"/>
                  </a:cubicBezTo>
                  <a:cubicBezTo>
                    <a:pt x="1101" y="1281"/>
                    <a:pt x="1100" y="1276"/>
                    <a:pt x="1098" y="1273"/>
                  </a:cubicBezTo>
                  <a:cubicBezTo>
                    <a:pt x="1102" y="1273"/>
                    <a:pt x="1104" y="1271"/>
                    <a:pt x="1106" y="1269"/>
                  </a:cubicBezTo>
                  <a:cubicBezTo>
                    <a:pt x="1109" y="1274"/>
                    <a:pt x="1110" y="1284"/>
                    <a:pt x="1114" y="1287"/>
                  </a:cubicBezTo>
                  <a:cubicBezTo>
                    <a:pt x="1119" y="1280"/>
                    <a:pt x="1115" y="1278"/>
                    <a:pt x="1114" y="1269"/>
                  </a:cubicBezTo>
                  <a:cubicBezTo>
                    <a:pt x="1117" y="1275"/>
                    <a:pt x="1124" y="1269"/>
                    <a:pt x="1128" y="1273"/>
                  </a:cubicBezTo>
                  <a:cubicBezTo>
                    <a:pt x="1130" y="1274"/>
                    <a:pt x="1128" y="1285"/>
                    <a:pt x="1133" y="1284"/>
                  </a:cubicBezTo>
                  <a:cubicBezTo>
                    <a:pt x="1134" y="1279"/>
                    <a:pt x="1133" y="1273"/>
                    <a:pt x="1136" y="1273"/>
                  </a:cubicBezTo>
                  <a:cubicBezTo>
                    <a:pt x="1136" y="1277"/>
                    <a:pt x="1140" y="1277"/>
                    <a:pt x="1144" y="1276"/>
                  </a:cubicBezTo>
                  <a:cubicBezTo>
                    <a:pt x="1143" y="1284"/>
                    <a:pt x="1148" y="1284"/>
                    <a:pt x="1149" y="1287"/>
                  </a:cubicBezTo>
                  <a:cubicBezTo>
                    <a:pt x="1147" y="1288"/>
                    <a:pt x="1146" y="1290"/>
                    <a:pt x="1147" y="1295"/>
                  </a:cubicBezTo>
                  <a:cubicBezTo>
                    <a:pt x="1157" y="1295"/>
                    <a:pt x="1158" y="1280"/>
                    <a:pt x="1163" y="1273"/>
                  </a:cubicBezTo>
                  <a:cubicBezTo>
                    <a:pt x="1166" y="1273"/>
                    <a:pt x="1170" y="1273"/>
                    <a:pt x="1173" y="1273"/>
                  </a:cubicBezTo>
                  <a:cubicBezTo>
                    <a:pt x="1173" y="1282"/>
                    <a:pt x="1174" y="1288"/>
                    <a:pt x="1181" y="1287"/>
                  </a:cubicBezTo>
                  <a:cubicBezTo>
                    <a:pt x="1182" y="1282"/>
                    <a:pt x="1181" y="1274"/>
                    <a:pt x="1184" y="1273"/>
                  </a:cubicBezTo>
                  <a:cubicBezTo>
                    <a:pt x="1184" y="1277"/>
                    <a:pt x="1188" y="1274"/>
                    <a:pt x="1190" y="1276"/>
                  </a:cubicBezTo>
                  <a:cubicBezTo>
                    <a:pt x="1190" y="1277"/>
                    <a:pt x="1189" y="1283"/>
                    <a:pt x="1190" y="1284"/>
                  </a:cubicBezTo>
                  <a:cubicBezTo>
                    <a:pt x="1195" y="1287"/>
                    <a:pt x="1202" y="1281"/>
                    <a:pt x="1208" y="1280"/>
                  </a:cubicBezTo>
                  <a:cubicBezTo>
                    <a:pt x="1218" y="1287"/>
                    <a:pt x="1208" y="1278"/>
                    <a:pt x="1214" y="1276"/>
                  </a:cubicBezTo>
                  <a:cubicBezTo>
                    <a:pt x="1221" y="1282"/>
                    <a:pt x="1207" y="1306"/>
                    <a:pt x="1222" y="1306"/>
                  </a:cubicBezTo>
                  <a:cubicBezTo>
                    <a:pt x="1223" y="1300"/>
                    <a:pt x="1219" y="1287"/>
                    <a:pt x="1225" y="1287"/>
                  </a:cubicBezTo>
                  <a:cubicBezTo>
                    <a:pt x="1229" y="1301"/>
                    <a:pt x="1233" y="1282"/>
                    <a:pt x="1235" y="1280"/>
                  </a:cubicBezTo>
                  <a:cubicBezTo>
                    <a:pt x="1236" y="1281"/>
                    <a:pt x="1234" y="1290"/>
                    <a:pt x="1235" y="1291"/>
                  </a:cubicBezTo>
                  <a:cubicBezTo>
                    <a:pt x="1244" y="1297"/>
                    <a:pt x="1256" y="1287"/>
                    <a:pt x="1249" y="1306"/>
                  </a:cubicBezTo>
                  <a:cubicBezTo>
                    <a:pt x="1262" y="1313"/>
                    <a:pt x="1253" y="1289"/>
                    <a:pt x="1260" y="1287"/>
                  </a:cubicBezTo>
                  <a:cubicBezTo>
                    <a:pt x="1260" y="1291"/>
                    <a:pt x="1260" y="1295"/>
                    <a:pt x="1260" y="1298"/>
                  </a:cubicBezTo>
                  <a:cubicBezTo>
                    <a:pt x="1268" y="1302"/>
                    <a:pt x="1263" y="1286"/>
                    <a:pt x="1270" y="1287"/>
                  </a:cubicBezTo>
                  <a:cubicBezTo>
                    <a:pt x="1275" y="1289"/>
                    <a:pt x="1277" y="1282"/>
                    <a:pt x="1278" y="1287"/>
                  </a:cubicBezTo>
                  <a:cubicBezTo>
                    <a:pt x="1276" y="1292"/>
                    <a:pt x="1275" y="1297"/>
                    <a:pt x="1276" y="1306"/>
                  </a:cubicBezTo>
                  <a:cubicBezTo>
                    <a:pt x="1285" y="1306"/>
                    <a:pt x="1280" y="1287"/>
                    <a:pt x="1289" y="1287"/>
                  </a:cubicBezTo>
                  <a:cubicBezTo>
                    <a:pt x="1289" y="1294"/>
                    <a:pt x="1291" y="1300"/>
                    <a:pt x="1294" y="1302"/>
                  </a:cubicBezTo>
                  <a:cubicBezTo>
                    <a:pt x="1296" y="1295"/>
                    <a:pt x="1295" y="1286"/>
                    <a:pt x="1303" y="1287"/>
                  </a:cubicBezTo>
                  <a:cubicBezTo>
                    <a:pt x="1304" y="1295"/>
                    <a:pt x="1299" y="1312"/>
                    <a:pt x="1305" y="1313"/>
                  </a:cubicBezTo>
                  <a:cubicBezTo>
                    <a:pt x="1309" y="1311"/>
                    <a:pt x="1306" y="1299"/>
                    <a:pt x="1311" y="1298"/>
                  </a:cubicBezTo>
                  <a:cubicBezTo>
                    <a:pt x="1316" y="1300"/>
                    <a:pt x="1316" y="1293"/>
                    <a:pt x="1319" y="1291"/>
                  </a:cubicBezTo>
                  <a:cubicBezTo>
                    <a:pt x="1322" y="1291"/>
                    <a:pt x="1325" y="1289"/>
                    <a:pt x="1327" y="1287"/>
                  </a:cubicBezTo>
                  <a:cubicBezTo>
                    <a:pt x="1328" y="1296"/>
                    <a:pt x="1319" y="1291"/>
                    <a:pt x="1319" y="1298"/>
                  </a:cubicBezTo>
                  <a:cubicBezTo>
                    <a:pt x="1326" y="1309"/>
                    <a:pt x="1327" y="1291"/>
                    <a:pt x="1338" y="1295"/>
                  </a:cubicBezTo>
                  <a:cubicBezTo>
                    <a:pt x="1342" y="1297"/>
                    <a:pt x="1337" y="1312"/>
                    <a:pt x="1343" y="1313"/>
                  </a:cubicBezTo>
                  <a:cubicBezTo>
                    <a:pt x="1353" y="1295"/>
                    <a:pt x="1338" y="1295"/>
                    <a:pt x="1338" y="1284"/>
                  </a:cubicBezTo>
                  <a:cubicBezTo>
                    <a:pt x="1345" y="1284"/>
                    <a:pt x="1350" y="1288"/>
                    <a:pt x="1348" y="1302"/>
                  </a:cubicBezTo>
                  <a:cubicBezTo>
                    <a:pt x="1352" y="1302"/>
                    <a:pt x="1355" y="1302"/>
                    <a:pt x="1359" y="1302"/>
                  </a:cubicBezTo>
                  <a:cubicBezTo>
                    <a:pt x="1359" y="1290"/>
                    <a:pt x="1353" y="1284"/>
                    <a:pt x="1364" y="1284"/>
                  </a:cubicBezTo>
                  <a:cubicBezTo>
                    <a:pt x="1363" y="1297"/>
                    <a:pt x="1367" y="1305"/>
                    <a:pt x="1375" y="1306"/>
                  </a:cubicBezTo>
                  <a:cubicBezTo>
                    <a:pt x="1376" y="1300"/>
                    <a:pt x="1374" y="1292"/>
                    <a:pt x="1378" y="1291"/>
                  </a:cubicBezTo>
                  <a:cubicBezTo>
                    <a:pt x="1383" y="1292"/>
                    <a:pt x="1380" y="1300"/>
                    <a:pt x="1383" y="1295"/>
                  </a:cubicBezTo>
                  <a:cubicBezTo>
                    <a:pt x="1385" y="1292"/>
                    <a:pt x="1388" y="1292"/>
                    <a:pt x="1391" y="1291"/>
                  </a:cubicBezTo>
                  <a:cubicBezTo>
                    <a:pt x="1387" y="1304"/>
                    <a:pt x="1400" y="1293"/>
                    <a:pt x="1399" y="1302"/>
                  </a:cubicBezTo>
                  <a:cubicBezTo>
                    <a:pt x="1398" y="1309"/>
                    <a:pt x="1389" y="1305"/>
                    <a:pt x="1391" y="1317"/>
                  </a:cubicBezTo>
                  <a:cubicBezTo>
                    <a:pt x="1399" y="1320"/>
                    <a:pt x="1397" y="1310"/>
                    <a:pt x="1402" y="1309"/>
                  </a:cubicBezTo>
                  <a:cubicBezTo>
                    <a:pt x="1403" y="1314"/>
                    <a:pt x="1406" y="1314"/>
                    <a:pt x="1410" y="1313"/>
                  </a:cubicBezTo>
                  <a:cubicBezTo>
                    <a:pt x="1411" y="1318"/>
                    <a:pt x="1414" y="1321"/>
                    <a:pt x="1418" y="1321"/>
                  </a:cubicBezTo>
                  <a:cubicBezTo>
                    <a:pt x="1422" y="1307"/>
                    <a:pt x="1414" y="1301"/>
                    <a:pt x="1424" y="1295"/>
                  </a:cubicBezTo>
                  <a:cubicBezTo>
                    <a:pt x="1423" y="1303"/>
                    <a:pt x="1424" y="1309"/>
                    <a:pt x="1426" y="1313"/>
                  </a:cubicBezTo>
                  <a:cubicBezTo>
                    <a:pt x="1441" y="1318"/>
                    <a:pt x="1443" y="1304"/>
                    <a:pt x="1450" y="1298"/>
                  </a:cubicBezTo>
                  <a:cubicBezTo>
                    <a:pt x="1449" y="1312"/>
                    <a:pt x="1447" y="1315"/>
                    <a:pt x="1456" y="1321"/>
                  </a:cubicBezTo>
                  <a:cubicBezTo>
                    <a:pt x="1456" y="1313"/>
                    <a:pt x="1463" y="1313"/>
                    <a:pt x="1469" y="1313"/>
                  </a:cubicBezTo>
                  <a:cubicBezTo>
                    <a:pt x="1465" y="1324"/>
                    <a:pt x="1481" y="1323"/>
                    <a:pt x="1480" y="1317"/>
                  </a:cubicBezTo>
                  <a:cubicBezTo>
                    <a:pt x="1471" y="1314"/>
                    <a:pt x="1477" y="1305"/>
                    <a:pt x="1480" y="1302"/>
                  </a:cubicBezTo>
                  <a:cubicBezTo>
                    <a:pt x="1483" y="1299"/>
                    <a:pt x="1487" y="1307"/>
                    <a:pt x="1491" y="1306"/>
                  </a:cubicBezTo>
                  <a:cubicBezTo>
                    <a:pt x="1492" y="1305"/>
                    <a:pt x="1493" y="1298"/>
                    <a:pt x="1496" y="1298"/>
                  </a:cubicBezTo>
                  <a:cubicBezTo>
                    <a:pt x="1497" y="1298"/>
                    <a:pt x="1496" y="1305"/>
                    <a:pt x="1496" y="1306"/>
                  </a:cubicBezTo>
                  <a:cubicBezTo>
                    <a:pt x="1498" y="1309"/>
                    <a:pt x="1507" y="1304"/>
                    <a:pt x="1510" y="1306"/>
                  </a:cubicBezTo>
                  <a:cubicBezTo>
                    <a:pt x="1511" y="1313"/>
                    <a:pt x="1511" y="1322"/>
                    <a:pt x="1518" y="1321"/>
                  </a:cubicBezTo>
                  <a:cubicBezTo>
                    <a:pt x="1520" y="1309"/>
                    <a:pt x="1513" y="1309"/>
                    <a:pt x="1512" y="1302"/>
                  </a:cubicBezTo>
                  <a:cubicBezTo>
                    <a:pt x="1520" y="1305"/>
                    <a:pt x="1519" y="1297"/>
                    <a:pt x="1526" y="1298"/>
                  </a:cubicBezTo>
                  <a:cubicBezTo>
                    <a:pt x="1525" y="1309"/>
                    <a:pt x="1536" y="1302"/>
                    <a:pt x="1536" y="1309"/>
                  </a:cubicBezTo>
                  <a:cubicBezTo>
                    <a:pt x="1536" y="1316"/>
                    <a:pt x="1537" y="1321"/>
                    <a:pt x="1539" y="1324"/>
                  </a:cubicBezTo>
                  <a:cubicBezTo>
                    <a:pt x="1548" y="1321"/>
                    <a:pt x="1551" y="1313"/>
                    <a:pt x="1558" y="1324"/>
                  </a:cubicBezTo>
                  <a:cubicBezTo>
                    <a:pt x="1558" y="1321"/>
                    <a:pt x="1560" y="1320"/>
                    <a:pt x="1561" y="1317"/>
                  </a:cubicBezTo>
                  <a:cubicBezTo>
                    <a:pt x="1561" y="1313"/>
                    <a:pt x="1557" y="1311"/>
                    <a:pt x="1561" y="1309"/>
                  </a:cubicBezTo>
                  <a:cubicBezTo>
                    <a:pt x="1569" y="1304"/>
                    <a:pt x="1570" y="1313"/>
                    <a:pt x="1577" y="1306"/>
                  </a:cubicBezTo>
                  <a:cubicBezTo>
                    <a:pt x="1582" y="1313"/>
                    <a:pt x="1575" y="1313"/>
                    <a:pt x="1577" y="1324"/>
                  </a:cubicBezTo>
                  <a:cubicBezTo>
                    <a:pt x="1582" y="1325"/>
                    <a:pt x="1582" y="1319"/>
                    <a:pt x="1585" y="1317"/>
                  </a:cubicBezTo>
                  <a:cubicBezTo>
                    <a:pt x="1590" y="1317"/>
                    <a:pt x="1588" y="1307"/>
                    <a:pt x="1596" y="1309"/>
                  </a:cubicBezTo>
                  <a:cubicBezTo>
                    <a:pt x="1596" y="1331"/>
                    <a:pt x="1611" y="1299"/>
                    <a:pt x="1612" y="1309"/>
                  </a:cubicBezTo>
                  <a:cubicBezTo>
                    <a:pt x="1611" y="1317"/>
                    <a:pt x="1606" y="1319"/>
                    <a:pt x="1606" y="1328"/>
                  </a:cubicBezTo>
                  <a:cubicBezTo>
                    <a:pt x="1616" y="1329"/>
                    <a:pt x="1616" y="1317"/>
                    <a:pt x="1625" y="1317"/>
                  </a:cubicBezTo>
                  <a:cubicBezTo>
                    <a:pt x="1625" y="1322"/>
                    <a:pt x="1630" y="1320"/>
                    <a:pt x="1631" y="1324"/>
                  </a:cubicBezTo>
                  <a:cubicBezTo>
                    <a:pt x="1622" y="1328"/>
                    <a:pt x="1628" y="1333"/>
                    <a:pt x="1631" y="1339"/>
                  </a:cubicBezTo>
                  <a:cubicBezTo>
                    <a:pt x="1636" y="1339"/>
                    <a:pt x="1644" y="1332"/>
                    <a:pt x="1644" y="1332"/>
                  </a:cubicBezTo>
                  <a:cubicBezTo>
                    <a:pt x="1644" y="1332"/>
                    <a:pt x="1644" y="1339"/>
                    <a:pt x="1644" y="1339"/>
                  </a:cubicBezTo>
                  <a:cubicBezTo>
                    <a:pt x="1652" y="1336"/>
                    <a:pt x="1652" y="1336"/>
                    <a:pt x="1660" y="1324"/>
                  </a:cubicBezTo>
                  <a:cubicBezTo>
                    <a:pt x="1661" y="1329"/>
                    <a:pt x="1661" y="1333"/>
                    <a:pt x="1666" y="1332"/>
                  </a:cubicBezTo>
                  <a:cubicBezTo>
                    <a:pt x="1666" y="1327"/>
                    <a:pt x="1666" y="1323"/>
                    <a:pt x="1671" y="1324"/>
                  </a:cubicBezTo>
                  <a:cubicBezTo>
                    <a:pt x="1672" y="1320"/>
                    <a:pt x="1674" y="1316"/>
                    <a:pt x="1676" y="1313"/>
                  </a:cubicBezTo>
                  <a:cubicBezTo>
                    <a:pt x="1678" y="1320"/>
                    <a:pt x="1673" y="1336"/>
                    <a:pt x="1682" y="1332"/>
                  </a:cubicBezTo>
                  <a:cubicBezTo>
                    <a:pt x="1680" y="1318"/>
                    <a:pt x="1684" y="1312"/>
                    <a:pt x="1687" y="1306"/>
                  </a:cubicBezTo>
                  <a:cubicBezTo>
                    <a:pt x="1684" y="1304"/>
                    <a:pt x="1681" y="1302"/>
                    <a:pt x="1679" y="1298"/>
                  </a:cubicBezTo>
                  <a:cubicBezTo>
                    <a:pt x="1691" y="1301"/>
                    <a:pt x="1683" y="1284"/>
                    <a:pt x="1687" y="1284"/>
                  </a:cubicBezTo>
                  <a:cubicBezTo>
                    <a:pt x="1691" y="1285"/>
                    <a:pt x="1692" y="1288"/>
                    <a:pt x="1695" y="1284"/>
                  </a:cubicBezTo>
                  <a:cubicBezTo>
                    <a:pt x="1695" y="1290"/>
                    <a:pt x="1696" y="1295"/>
                    <a:pt x="1698" y="1298"/>
                  </a:cubicBezTo>
                  <a:cubicBezTo>
                    <a:pt x="1693" y="1298"/>
                    <a:pt x="1691" y="1301"/>
                    <a:pt x="1690" y="1306"/>
                  </a:cubicBezTo>
                  <a:cubicBezTo>
                    <a:pt x="1698" y="1306"/>
                    <a:pt x="1706" y="1306"/>
                    <a:pt x="1714" y="1306"/>
                  </a:cubicBezTo>
                  <a:cubicBezTo>
                    <a:pt x="1719" y="1315"/>
                    <a:pt x="1719" y="1332"/>
                    <a:pt x="1725" y="1339"/>
                  </a:cubicBezTo>
                  <a:cubicBezTo>
                    <a:pt x="1735" y="1342"/>
                    <a:pt x="1735" y="1331"/>
                    <a:pt x="1744" y="1332"/>
                  </a:cubicBezTo>
                  <a:cubicBezTo>
                    <a:pt x="1744" y="1337"/>
                    <a:pt x="1742" y="1340"/>
                    <a:pt x="1741" y="1343"/>
                  </a:cubicBezTo>
                  <a:cubicBezTo>
                    <a:pt x="1751" y="1347"/>
                    <a:pt x="1749" y="1334"/>
                    <a:pt x="1757" y="1335"/>
                  </a:cubicBezTo>
                  <a:cubicBezTo>
                    <a:pt x="1759" y="1342"/>
                    <a:pt x="1766" y="1342"/>
                    <a:pt x="1770" y="1347"/>
                  </a:cubicBezTo>
                  <a:cubicBezTo>
                    <a:pt x="1776" y="1344"/>
                    <a:pt x="1770" y="1326"/>
                    <a:pt x="1776" y="1324"/>
                  </a:cubicBezTo>
                  <a:cubicBezTo>
                    <a:pt x="1776" y="1330"/>
                    <a:pt x="1775" y="1338"/>
                    <a:pt x="1778" y="1339"/>
                  </a:cubicBezTo>
                  <a:cubicBezTo>
                    <a:pt x="1780" y="1335"/>
                    <a:pt x="1782" y="1332"/>
                    <a:pt x="1787" y="1332"/>
                  </a:cubicBezTo>
                  <a:cubicBezTo>
                    <a:pt x="1792" y="1337"/>
                    <a:pt x="1802" y="1326"/>
                    <a:pt x="1811" y="1324"/>
                  </a:cubicBezTo>
                  <a:cubicBezTo>
                    <a:pt x="1811" y="1329"/>
                    <a:pt x="1811" y="1334"/>
                    <a:pt x="1811" y="1339"/>
                  </a:cubicBezTo>
                  <a:cubicBezTo>
                    <a:pt x="1813" y="1339"/>
                    <a:pt x="1816" y="1339"/>
                    <a:pt x="1819" y="1339"/>
                  </a:cubicBezTo>
                  <a:cubicBezTo>
                    <a:pt x="1826" y="1334"/>
                    <a:pt x="1813" y="1320"/>
                    <a:pt x="1819" y="1317"/>
                  </a:cubicBezTo>
                  <a:cubicBezTo>
                    <a:pt x="1824" y="1321"/>
                    <a:pt x="1828" y="1327"/>
                    <a:pt x="1832" y="1332"/>
                  </a:cubicBezTo>
                  <a:cubicBezTo>
                    <a:pt x="1832" y="1337"/>
                    <a:pt x="1828" y="1335"/>
                    <a:pt x="1827" y="1339"/>
                  </a:cubicBezTo>
                  <a:cubicBezTo>
                    <a:pt x="1832" y="1342"/>
                    <a:pt x="1835" y="1348"/>
                    <a:pt x="1840" y="1350"/>
                  </a:cubicBezTo>
                  <a:cubicBezTo>
                    <a:pt x="1840" y="1339"/>
                    <a:pt x="1850" y="1346"/>
                    <a:pt x="1854" y="1343"/>
                  </a:cubicBezTo>
                  <a:cubicBezTo>
                    <a:pt x="1855" y="1342"/>
                    <a:pt x="1858" y="1337"/>
                    <a:pt x="1859" y="1335"/>
                  </a:cubicBezTo>
                  <a:cubicBezTo>
                    <a:pt x="1861" y="1333"/>
                    <a:pt x="1861" y="1328"/>
                    <a:pt x="1865" y="1328"/>
                  </a:cubicBezTo>
                  <a:cubicBezTo>
                    <a:pt x="1864" y="1337"/>
                    <a:pt x="1859" y="1340"/>
                    <a:pt x="1867" y="1343"/>
                  </a:cubicBezTo>
                  <a:cubicBezTo>
                    <a:pt x="1867" y="1334"/>
                    <a:pt x="1869" y="1327"/>
                    <a:pt x="1873" y="1324"/>
                  </a:cubicBezTo>
                  <a:cubicBezTo>
                    <a:pt x="1877" y="1331"/>
                    <a:pt x="1874" y="1347"/>
                    <a:pt x="1881" y="1350"/>
                  </a:cubicBezTo>
                  <a:cubicBezTo>
                    <a:pt x="1877" y="1329"/>
                    <a:pt x="1890" y="1349"/>
                    <a:pt x="1891" y="1339"/>
                  </a:cubicBezTo>
                  <a:cubicBezTo>
                    <a:pt x="1888" y="1338"/>
                    <a:pt x="1887" y="1335"/>
                    <a:pt x="1886" y="1332"/>
                  </a:cubicBezTo>
                  <a:cubicBezTo>
                    <a:pt x="1891" y="1332"/>
                    <a:pt x="1894" y="1331"/>
                    <a:pt x="1897" y="1328"/>
                  </a:cubicBezTo>
                  <a:cubicBezTo>
                    <a:pt x="1899" y="1340"/>
                    <a:pt x="1899" y="1336"/>
                    <a:pt x="1894" y="1343"/>
                  </a:cubicBezTo>
                  <a:cubicBezTo>
                    <a:pt x="1904" y="1347"/>
                    <a:pt x="1902" y="1334"/>
                    <a:pt x="1910" y="1335"/>
                  </a:cubicBezTo>
                  <a:cubicBezTo>
                    <a:pt x="1904" y="1343"/>
                    <a:pt x="1911" y="1347"/>
                    <a:pt x="1913" y="1354"/>
                  </a:cubicBezTo>
                  <a:cubicBezTo>
                    <a:pt x="1917" y="1354"/>
                    <a:pt x="1919" y="1352"/>
                    <a:pt x="1921" y="1350"/>
                  </a:cubicBezTo>
                  <a:cubicBezTo>
                    <a:pt x="1921" y="1344"/>
                    <a:pt x="1928" y="1348"/>
                    <a:pt x="1929" y="1343"/>
                  </a:cubicBezTo>
                  <a:cubicBezTo>
                    <a:pt x="1925" y="1343"/>
                    <a:pt x="1929" y="1340"/>
                    <a:pt x="1929" y="1339"/>
                  </a:cubicBezTo>
                  <a:cubicBezTo>
                    <a:pt x="1929" y="1334"/>
                    <a:pt x="1928" y="1331"/>
                    <a:pt x="1926" y="1328"/>
                  </a:cubicBezTo>
                  <a:cubicBezTo>
                    <a:pt x="1930" y="1329"/>
                    <a:pt x="1936" y="1327"/>
                    <a:pt x="1937" y="1332"/>
                  </a:cubicBezTo>
                  <a:cubicBezTo>
                    <a:pt x="1934" y="1332"/>
                    <a:pt x="1931" y="1333"/>
                    <a:pt x="1932" y="1339"/>
                  </a:cubicBezTo>
                  <a:cubicBezTo>
                    <a:pt x="1938" y="1348"/>
                    <a:pt x="1939" y="1333"/>
                    <a:pt x="1945" y="1332"/>
                  </a:cubicBezTo>
                  <a:cubicBezTo>
                    <a:pt x="1949" y="1336"/>
                    <a:pt x="1946" y="1350"/>
                    <a:pt x="1953" y="1350"/>
                  </a:cubicBezTo>
                  <a:cubicBezTo>
                    <a:pt x="1954" y="1346"/>
                    <a:pt x="1953" y="1340"/>
                    <a:pt x="1956" y="1339"/>
                  </a:cubicBezTo>
                  <a:cubicBezTo>
                    <a:pt x="1956" y="1344"/>
                    <a:pt x="1961" y="1343"/>
                    <a:pt x="1961" y="1347"/>
                  </a:cubicBezTo>
                  <a:cubicBezTo>
                    <a:pt x="1962" y="1351"/>
                    <a:pt x="1965" y="1354"/>
                    <a:pt x="1969" y="1354"/>
                  </a:cubicBezTo>
                  <a:cubicBezTo>
                    <a:pt x="1973" y="1353"/>
                    <a:pt x="1973" y="1349"/>
                    <a:pt x="1975" y="1347"/>
                  </a:cubicBezTo>
                  <a:cubicBezTo>
                    <a:pt x="1975" y="1345"/>
                    <a:pt x="1980" y="1339"/>
                    <a:pt x="1980" y="1339"/>
                  </a:cubicBezTo>
                  <a:cubicBezTo>
                    <a:pt x="1982" y="1333"/>
                    <a:pt x="1976" y="1330"/>
                    <a:pt x="1980" y="1328"/>
                  </a:cubicBezTo>
                  <a:cubicBezTo>
                    <a:pt x="1988" y="1331"/>
                    <a:pt x="1984" y="1349"/>
                    <a:pt x="1994" y="1350"/>
                  </a:cubicBezTo>
                  <a:cubicBezTo>
                    <a:pt x="1995" y="1345"/>
                    <a:pt x="1998" y="1341"/>
                    <a:pt x="2002" y="1339"/>
                  </a:cubicBezTo>
                  <a:cubicBezTo>
                    <a:pt x="2002" y="1334"/>
                    <a:pt x="2001" y="1325"/>
                    <a:pt x="2004" y="1324"/>
                  </a:cubicBezTo>
                  <a:cubicBezTo>
                    <a:pt x="2008" y="1326"/>
                    <a:pt x="2010" y="1329"/>
                    <a:pt x="2010" y="1335"/>
                  </a:cubicBezTo>
                  <a:cubicBezTo>
                    <a:pt x="2018" y="1342"/>
                    <a:pt x="2021" y="1322"/>
                    <a:pt x="2023" y="1332"/>
                  </a:cubicBezTo>
                  <a:cubicBezTo>
                    <a:pt x="2019" y="1335"/>
                    <a:pt x="2019" y="1344"/>
                    <a:pt x="2018" y="1350"/>
                  </a:cubicBezTo>
                  <a:cubicBezTo>
                    <a:pt x="2025" y="1351"/>
                    <a:pt x="2029" y="1357"/>
                    <a:pt x="2037" y="1358"/>
                  </a:cubicBezTo>
                  <a:cubicBezTo>
                    <a:pt x="2046" y="1349"/>
                    <a:pt x="2032" y="1329"/>
                    <a:pt x="2037" y="1328"/>
                  </a:cubicBezTo>
                  <a:cubicBezTo>
                    <a:pt x="2047" y="1331"/>
                    <a:pt x="2040" y="1341"/>
                    <a:pt x="2045" y="1347"/>
                  </a:cubicBezTo>
                  <a:cubicBezTo>
                    <a:pt x="2046" y="1342"/>
                    <a:pt x="2048" y="1338"/>
                    <a:pt x="2050" y="1335"/>
                  </a:cubicBezTo>
                  <a:cubicBezTo>
                    <a:pt x="2057" y="1340"/>
                    <a:pt x="2043" y="1351"/>
                    <a:pt x="2055" y="1350"/>
                  </a:cubicBezTo>
                  <a:cubicBezTo>
                    <a:pt x="2056" y="1345"/>
                    <a:pt x="2075" y="1337"/>
                    <a:pt x="2079" y="1335"/>
                  </a:cubicBezTo>
                  <a:cubicBezTo>
                    <a:pt x="2079" y="68"/>
                    <a:pt x="2079" y="68"/>
                    <a:pt x="2079" y="68"/>
                  </a:cubicBezTo>
                  <a:cubicBezTo>
                    <a:pt x="2079" y="68"/>
                    <a:pt x="2061" y="100"/>
                    <a:pt x="2061" y="100"/>
                  </a:cubicBezTo>
                  <a:cubicBezTo>
                    <a:pt x="2059" y="102"/>
                    <a:pt x="2052" y="98"/>
                    <a:pt x="2050" y="100"/>
                  </a:cubicBezTo>
                  <a:close/>
                  <a:moveTo>
                    <a:pt x="28" y="300"/>
                  </a:moveTo>
                  <a:cubicBezTo>
                    <a:pt x="24" y="315"/>
                    <a:pt x="23" y="298"/>
                    <a:pt x="17" y="296"/>
                  </a:cubicBezTo>
                  <a:cubicBezTo>
                    <a:pt x="22" y="283"/>
                    <a:pt x="21" y="305"/>
                    <a:pt x="28" y="300"/>
                  </a:cubicBezTo>
                  <a:close/>
                  <a:moveTo>
                    <a:pt x="17" y="318"/>
                  </a:moveTo>
                  <a:cubicBezTo>
                    <a:pt x="15" y="316"/>
                    <a:pt x="24" y="315"/>
                    <a:pt x="25" y="315"/>
                  </a:cubicBezTo>
                  <a:cubicBezTo>
                    <a:pt x="25" y="315"/>
                    <a:pt x="25" y="311"/>
                    <a:pt x="25" y="311"/>
                  </a:cubicBezTo>
                  <a:cubicBezTo>
                    <a:pt x="35" y="313"/>
                    <a:pt x="21" y="323"/>
                    <a:pt x="17" y="318"/>
                  </a:cubicBezTo>
                  <a:close/>
                  <a:moveTo>
                    <a:pt x="31" y="311"/>
                  </a:moveTo>
                  <a:cubicBezTo>
                    <a:pt x="32" y="307"/>
                    <a:pt x="43" y="299"/>
                    <a:pt x="36" y="296"/>
                  </a:cubicBezTo>
                  <a:cubicBezTo>
                    <a:pt x="44" y="282"/>
                    <a:pt x="44" y="321"/>
                    <a:pt x="31" y="311"/>
                  </a:cubicBezTo>
                  <a:close/>
                  <a:moveTo>
                    <a:pt x="39" y="352"/>
                  </a:moveTo>
                  <a:cubicBezTo>
                    <a:pt x="40" y="347"/>
                    <a:pt x="42" y="344"/>
                    <a:pt x="47" y="344"/>
                  </a:cubicBezTo>
                  <a:cubicBezTo>
                    <a:pt x="46" y="349"/>
                    <a:pt x="43" y="352"/>
                    <a:pt x="39" y="352"/>
                  </a:cubicBezTo>
                  <a:close/>
                  <a:moveTo>
                    <a:pt x="41" y="215"/>
                  </a:moveTo>
                  <a:cubicBezTo>
                    <a:pt x="45" y="216"/>
                    <a:pt x="47" y="220"/>
                    <a:pt x="47" y="226"/>
                  </a:cubicBezTo>
                  <a:cubicBezTo>
                    <a:pt x="44" y="224"/>
                    <a:pt x="41" y="221"/>
                    <a:pt x="41" y="215"/>
                  </a:cubicBezTo>
                  <a:close/>
                  <a:moveTo>
                    <a:pt x="41" y="677"/>
                  </a:moveTo>
                  <a:cubicBezTo>
                    <a:pt x="43" y="675"/>
                    <a:pt x="49" y="681"/>
                    <a:pt x="49" y="681"/>
                  </a:cubicBezTo>
                  <a:cubicBezTo>
                    <a:pt x="53" y="694"/>
                    <a:pt x="36" y="684"/>
                    <a:pt x="41" y="677"/>
                  </a:cubicBezTo>
                  <a:close/>
                  <a:moveTo>
                    <a:pt x="189" y="644"/>
                  </a:moveTo>
                  <a:cubicBezTo>
                    <a:pt x="194" y="643"/>
                    <a:pt x="194" y="647"/>
                    <a:pt x="197" y="648"/>
                  </a:cubicBezTo>
                  <a:cubicBezTo>
                    <a:pt x="198" y="655"/>
                    <a:pt x="185" y="653"/>
                    <a:pt x="189" y="644"/>
                  </a:cubicBezTo>
                  <a:close/>
                  <a:moveTo>
                    <a:pt x="192" y="337"/>
                  </a:moveTo>
                  <a:cubicBezTo>
                    <a:pt x="191" y="343"/>
                    <a:pt x="184" y="340"/>
                    <a:pt x="187" y="352"/>
                  </a:cubicBezTo>
                  <a:cubicBezTo>
                    <a:pt x="180" y="351"/>
                    <a:pt x="180" y="342"/>
                    <a:pt x="184" y="337"/>
                  </a:cubicBezTo>
                  <a:cubicBezTo>
                    <a:pt x="176" y="325"/>
                    <a:pt x="165" y="336"/>
                    <a:pt x="154" y="329"/>
                  </a:cubicBezTo>
                  <a:cubicBezTo>
                    <a:pt x="156" y="332"/>
                    <a:pt x="157" y="335"/>
                    <a:pt x="157" y="341"/>
                  </a:cubicBezTo>
                  <a:cubicBezTo>
                    <a:pt x="165" y="336"/>
                    <a:pt x="169" y="339"/>
                    <a:pt x="170" y="352"/>
                  </a:cubicBezTo>
                  <a:cubicBezTo>
                    <a:pt x="167" y="350"/>
                    <a:pt x="166" y="345"/>
                    <a:pt x="163" y="344"/>
                  </a:cubicBezTo>
                  <a:cubicBezTo>
                    <a:pt x="161" y="352"/>
                    <a:pt x="168" y="350"/>
                    <a:pt x="168" y="355"/>
                  </a:cubicBezTo>
                  <a:cubicBezTo>
                    <a:pt x="171" y="356"/>
                    <a:pt x="170" y="363"/>
                    <a:pt x="173" y="363"/>
                  </a:cubicBezTo>
                  <a:cubicBezTo>
                    <a:pt x="172" y="371"/>
                    <a:pt x="158" y="362"/>
                    <a:pt x="160" y="374"/>
                  </a:cubicBezTo>
                  <a:cubicBezTo>
                    <a:pt x="156" y="373"/>
                    <a:pt x="158" y="365"/>
                    <a:pt x="157" y="359"/>
                  </a:cubicBezTo>
                  <a:cubicBezTo>
                    <a:pt x="161" y="359"/>
                    <a:pt x="164" y="359"/>
                    <a:pt x="168" y="359"/>
                  </a:cubicBezTo>
                  <a:cubicBezTo>
                    <a:pt x="168" y="353"/>
                    <a:pt x="162" y="358"/>
                    <a:pt x="160" y="355"/>
                  </a:cubicBezTo>
                  <a:cubicBezTo>
                    <a:pt x="157" y="353"/>
                    <a:pt x="162" y="337"/>
                    <a:pt x="152" y="344"/>
                  </a:cubicBezTo>
                  <a:cubicBezTo>
                    <a:pt x="153" y="331"/>
                    <a:pt x="149" y="325"/>
                    <a:pt x="144" y="322"/>
                  </a:cubicBezTo>
                  <a:cubicBezTo>
                    <a:pt x="144" y="318"/>
                    <a:pt x="149" y="320"/>
                    <a:pt x="149" y="315"/>
                  </a:cubicBezTo>
                  <a:cubicBezTo>
                    <a:pt x="149" y="307"/>
                    <a:pt x="139" y="313"/>
                    <a:pt x="135" y="311"/>
                  </a:cubicBezTo>
                  <a:cubicBezTo>
                    <a:pt x="135" y="318"/>
                    <a:pt x="139" y="319"/>
                    <a:pt x="138" y="326"/>
                  </a:cubicBezTo>
                  <a:cubicBezTo>
                    <a:pt x="136" y="323"/>
                    <a:pt x="131" y="320"/>
                    <a:pt x="130" y="326"/>
                  </a:cubicBezTo>
                  <a:cubicBezTo>
                    <a:pt x="123" y="323"/>
                    <a:pt x="135" y="316"/>
                    <a:pt x="133" y="307"/>
                  </a:cubicBezTo>
                  <a:cubicBezTo>
                    <a:pt x="144" y="301"/>
                    <a:pt x="153" y="317"/>
                    <a:pt x="154" y="311"/>
                  </a:cubicBezTo>
                  <a:cubicBezTo>
                    <a:pt x="163" y="315"/>
                    <a:pt x="151" y="321"/>
                    <a:pt x="152" y="326"/>
                  </a:cubicBezTo>
                  <a:cubicBezTo>
                    <a:pt x="160" y="328"/>
                    <a:pt x="160" y="319"/>
                    <a:pt x="168" y="322"/>
                  </a:cubicBezTo>
                  <a:cubicBezTo>
                    <a:pt x="171" y="316"/>
                    <a:pt x="163" y="315"/>
                    <a:pt x="163" y="315"/>
                  </a:cubicBezTo>
                  <a:cubicBezTo>
                    <a:pt x="162" y="309"/>
                    <a:pt x="171" y="313"/>
                    <a:pt x="170" y="307"/>
                  </a:cubicBezTo>
                  <a:cubicBezTo>
                    <a:pt x="171" y="297"/>
                    <a:pt x="154" y="310"/>
                    <a:pt x="154" y="300"/>
                  </a:cubicBezTo>
                  <a:cubicBezTo>
                    <a:pt x="151" y="298"/>
                    <a:pt x="140" y="304"/>
                    <a:pt x="141" y="296"/>
                  </a:cubicBezTo>
                  <a:cubicBezTo>
                    <a:pt x="145" y="296"/>
                    <a:pt x="150" y="296"/>
                    <a:pt x="154" y="296"/>
                  </a:cubicBezTo>
                  <a:cubicBezTo>
                    <a:pt x="159" y="296"/>
                    <a:pt x="160" y="301"/>
                    <a:pt x="165" y="300"/>
                  </a:cubicBezTo>
                  <a:cubicBezTo>
                    <a:pt x="169" y="298"/>
                    <a:pt x="165" y="297"/>
                    <a:pt x="165" y="292"/>
                  </a:cubicBezTo>
                  <a:cubicBezTo>
                    <a:pt x="168" y="293"/>
                    <a:pt x="170" y="292"/>
                    <a:pt x="170" y="289"/>
                  </a:cubicBezTo>
                  <a:cubicBezTo>
                    <a:pt x="176" y="289"/>
                    <a:pt x="171" y="297"/>
                    <a:pt x="170" y="296"/>
                  </a:cubicBezTo>
                  <a:cubicBezTo>
                    <a:pt x="173" y="308"/>
                    <a:pt x="177" y="297"/>
                    <a:pt x="187" y="304"/>
                  </a:cubicBezTo>
                  <a:cubicBezTo>
                    <a:pt x="186" y="309"/>
                    <a:pt x="180" y="307"/>
                    <a:pt x="176" y="307"/>
                  </a:cubicBezTo>
                  <a:cubicBezTo>
                    <a:pt x="172" y="310"/>
                    <a:pt x="172" y="319"/>
                    <a:pt x="170" y="326"/>
                  </a:cubicBezTo>
                  <a:cubicBezTo>
                    <a:pt x="181" y="328"/>
                    <a:pt x="179" y="301"/>
                    <a:pt x="189" y="315"/>
                  </a:cubicBezTo>
                  <a:cubicBezTo>
                    <a:pt x="191" y="320"/>
                    <a:pt x="182" y="316"/>
                    <a:pt x="181" y="318"/>
                  </a:cubicBezTo>
                  <a:cubicBezTo>
                    <a:pt x="180" y="323"/>
                    <a:pt x="188" y="320"/>
                    <a:pt x="189" y="322"/>
                  </a:cubicBezTo>
                  <a:cubicBezTo>
                    <a:pt x="192" y="325"/>
                    <a:pt x="187" y="338"/>
                    <a:pt x="192" y="337"/>
                  </a:cubicBezTo>
                  <a:close/>
                  <a:moveTo>
                    <a:pt x="189" y="422"/>
                  </a:moveTo>
                  <a:cubicBezTo>
                    <a:pt x="190" y="425"/>
                    <a:pt x="178" y="426"/>
                    <a:pt x="173" y="422"/>
                  </a:cubicBezTo>
                  <a:cubicBezTo>
                    <a:pt x="171" y="420"/>
                    <a:pt x="181" y="416"/>
                    <a:pt x="181" y="418"/>
                  </a:cubicBezTo>
                  <a:cubicBezTo>
                    <a:pt x="180" y="412"/>
                    <a:pt x="176" y="418"/>
                    <a:pt x="173" y="415"/>
                  </a:cubicBezTo>
                  <a:cubicBezTo>
                    <a:pt x="173" y="414"/>
                    <a:pt x="172" y="408"/>
                    <a:pt x="170" y="411"/>
                  </a:cubicBezTo>
                  <a:cubicBezTo>
                    <a:pt x="170" y="411"/>
                    <a:pt x="170" y="415"/>
                    <a:pt x="170" y="415"/>
                  </a:cubicBezTo>
                  <a:cubicBezTo>
                    <a:pt x="168" y="414"/>
                    <a:pt x="166" y="412"/>
                    <a:pt x="163" y="411"/>
                  </a:cubicBezTo>
                  <a:cubicBezTo>
                    <a:pt x="159" y="410"/>
                    <a:pt x="157" y="407"/>
                    <a:pt x="154" y="407"/>
                  </a:cubicBezTo>
                  <a:cubicBezTo>
                    <a:pt x="152" y="407"/>
                    <a:pt x="151" y="414"/>
                    <a:pt x="152" y="415"/>
                  </a:cubicBezTo>
                  <a:cubicBezTo>
                    <a:pt x="148" y="414"/>
                    <a:pt x="151" y="409"/>
                    <a:pt x="149" y="407"/>
                  </a:cubicBezTo>
                  <a:cubicBezTo>
                    <a:pt x="146" y="405"/>
                    <a:pt x="137" y="416"/>
                    <a:pt x="138" y="403"/>
                  </a:cubicBezTo>
                  <a:cubicBezTo>
                    <a:pt x="131" y="406"/>
                    <a:pt x="134" y="405"/>
                    <a:pt x="128" y="403"/>
                  </a:cubicBezTo>
                  <a:cubicBezTo>
                    <a:pt x="123" y="402"/>
                    <a:pt x="113" y="406"/>
                    <a:pt x="117" y="396"/>
                  </a:cubicBezTo>
                  <a:cubicBezTo>
                    <a:pt x="124" y="396"/>
                    <a:pt x="122" y="402"/>
                    <a:pt x="128" y="396"/>
                  </a:cubicBezTo>
                  <a:cubicBezTo>
                    <a:pt x="127" y="392"/>
                    <a:pt x="123" y="393"/>
                    <a:pt x="119" y="392"/>
                  </a:cubicBezTo>
                  <a:cubicBezTo>
                    <a:pt x="123" y="376"/>
                    <a:pt x="130" y="393"/>
                    <a:pt x="133" y="400"/>
                  </a:cubicBezTo>
                  <a:cubicBezTo>
                    <a:pt x="137" y="403"/>
                    <a:pt x="141" y="396"/>
                    <a:pt x="141" y="396"/>
                  </a:cubicBezTo>
                  <a:cubicBezTo>
                    <a:pt x="144" y="396"/>
                    <a:pt x="145" y="403"/>
                    <a:pt x="146" y="403"/>
                  </a:cubicBezTo>
                  <a:cubicBezTo>
                    <a:pt x="147" y="404"/>
                    <a:pt x="158" y="393"/>
                    <a:pt x="160" y="403"/>
                  </a:cubicBezTo>
                  <a:cubicBezTo>
                    <a:pt x="162" y="403"/>
                    <a:pt x="162" y="400"/>
                    <a:pt x="165" y="400"/>
                  </a:cubicBezTo>
                  <a:cubicBezTo>
                    <a:pt x="162" y="396"/>
                    <a:pt x="164" y="386"/>
                    <a:pt x="157" y="389"/>
                  </a:cubicBezTo>
                  <a:cubicBezTo>
                    <a:pt x="159" y="385"/>
                    <a:pt x="163" y="385"/>
                    <a:pt x="163" y="378"/>
                  </a:cubicBezTo>
                  <a:cubicBezTo>
                    <a:pt x="167" y="378"/>
                    <a:pt x="171" y="378"/>
                    <a:pt x="176" y="378"/>
                  </a:cubicBezTo>
                  <a:cubicBezTo>
                    <a:pt x="176" y="386"/>
                    <a:pt x="174" y="389"/>
                    <a:pt x="168" y="389"/>
                  </a:cubicBezTo>
                  <a:cubicBezTo>
                    <a:pt x="167" y="398"/>
                    <a:pt x="173" y="397"/>
                    <a:pt x="170" y="407"/>
                  </a:cubicBezTo>
                  <a:cubicBezTo>
                    <a:pt x="174" y="408"/>
                    <a:pt x="175" y="406"/>
                    <a:pt x="176" y="403"/>
                  </a:cubicBezTo>
                  <a:cubicBezTo>
                    <a:pt x="183" y="412"/>
                    <a:pt x="183" y="408"/>
                    <a:pt x="192" y="411"/>
                  </a:cubicBezTo>
                  <a:cubicBezTo>
                    <a:pt x="192" y="414"/>
                    <a:pt x="189" y="414"/>
                    <a:pt x="187" y="415"/>
                  </a:cubicBezTo>
                  <a:cubicBezTo>
                    <a:pt x="186" y="419"/>
                    <a:pt x="187" y="421"/>
                    <a:pt x="189" y="422"/>
                  </a:cubicBezTo>
                  <a:close/>
                  <a:moveTo>
                    <a:pt x="168" y="440"/>
                  </a:moveTo>
                  <a:cubicBezTo>
                    <a:pt x="169" y="447"/>
                    <a:pt x="153" y="447"/>
                    <a:pt x="157" y="437"/>
                  </a:cubicBezTo>
                  <a:cubicBezTo>
                    <a:pt x="162" y="436"/>
                    <a:pt x="163" y="441"/>
                    <a:pt x="168" y="440"/>
                  </a:cubicBezTo>
                  <a:close/>
                  <a:moveTo>
                    <a:pt x="152" y="444"/>
                  </a:moveTo>
                  <a:cubicBezTo>
                    <a:pt x="149" y="438"/>
                    <a:pt x="142" y="443"/>
                    <a:pt x="138" y="440"/>
                  </a:cubicBezTo>
                  <a:cubicBezTo>
                    <a:pt x="136" y="439"/>
                    <a:pt x="137" y="433"/>
                    <a:pt x="133" y="433"/>
                  </a:cubicBezTo>
                  <a:cubicBezTo>
                    <a:pt x="130" y="433"/>
                    <a:pt x="131" y="428"/>
                    <a:pt x="130" y="426"/>
                  </a:cubicBezTo>
                  <a:cubicBezTo>
                    <a:pt x="127" y="426"/>
                    <a:pt x="128" y="432"/>
                    <a:pt x="128" y="437"/>
                  </a:cubicBezTo>
                  <a:cubicBezTo>
                    <a:pt x="122" y="435"/>
                    <a:pt x="116" y="435"/>
                    <a:pt x="117" y="426"/>
                  </a:cubicBezTo>
                  <a:cubicBezTo>
                    <a:pt x="109" y="425"/>
                    <a:pt x="111" y="432"/>
                    <a:pt x="106" y="426"/>
                  </a:cubicBezTo>
                  <a:cubicBezTo>
                    <a:pt x="109" y="409"/>
                    <a:pt x="114" y="425"/>
                    <a:pt x="119" y="426"/>
                  </a:cubicBezTo>
                  <a:cubicBezTo>
                    <a:pt x="124" y="426"/>
                    <a:pt x="125" y="421"/>
                    <a:pt x="130" y="422"/>
                  </a:cubicBezTo>
                  <a:cubicBezTo>
                    <a:pt x="133" y="430"/>
                    <a:pt x="138" y="435"/>
                    <a:pt x="146" y="437"/>
                  </a:cubicBezTo>
                  <a:cubicBezTo>
                    <a:pt x="153" y="438"/>
                    <a:pt x="145" y="420"/>
                    <a:pt x="154" y="426"/>
                  </a:cubicBezTo>
                  <a:cubicBezTo>
                    <a:pt x="157" y="430"/>
                    <a:pt x="157" y="433"/>
                    <a:pt x="152" y="433"/>
                  </a:cubicBezTo>
                  <a:cubicBezTo>
                    <a:pt x="155" y="438"/>
                    <a:pt x="153" y="439"/>
                    <a:pt x="152" y="444"/>
                  </a:cubicBezTo>
                  <a:close/>
                  <a:moveTo>
                    <a:pt x="141" y="518"/>
                  </a:moveTo>
                  <a:cubicBezTo>
                    <a:pt x="138" y="525"/>
                    <a:pt x="131" y="526"/>
                    <a:pt x="128" y="533"/>
                  </a:cubicBezTo>
                  <a:cubicBezTo>
                    <a:pt x="122" y="531"/>
                    <a:pt x="125" y="519"/>
                    <a:pt x="117" y="522"/>
                  </a:cubicBezTo>
                  <a:cubicBezTo>
                    <a:pt x="116" y="515"/>
                    <a:pt x="129" y="516"/>
                    <a:pt x="125" y="525"/>
                  </a:cubicBezTo>
                  <a:cubicBezTo>
                    <a:pt x="131" y="526"/>
                    <a:pt x="133" y="522"/>
                    <a:pt x="133" y="514"/>
                  </a:cubicBezTo>
                  <a:cubicBezTo>
                    <a:pt x="132" y="510"/>
                    <a:pt x="118" y="506"/>
                    <a:pt x="119" y="511"/>
                  </a:cubicBezTo>
                  <a:cubicBezTo>
                    <a:pt x="111" y="508"/>
                    <a:pt x="122" y="503"/>
                    <a:pt x="119" y="496"/>
                  </a:cubicBezTo>
                  <a:cubicBezTo>
                    <a:pt x="123" y="501"/>
                    <a:pt x="131" y="500"/>
                    <a:pt x="138" y="500"/>
                  </a:cubicBezTo>
                  <a:cubicBezTo>
                    <a:pt x="143" y="509"/>
                    <a:pt x="135" y="513"/>
                    <a:pt x="141" y="518"/>
                  </a:cubicBezTo>
                  <a:close/>
                  <a:moveTo>
                    <a:pt x="133" y="559"/>
                  </a:moveTo>
                  <a:cubicBezTo>
                    <a:pt x="135" y="545"/>
                    <a:pt x="145" y="579"/>
                    <a:pt x="133" y="574"/>
                  </a:cubicBezTo>
                  <a:cubicBezTo>
                    <a:pt x="129" y="565"/>
                    <a:pt x="140" y="560"/>
                    <a:pt x="133" y="559"/>
                  </a:cubicBezTo>
                  <a:close/>
                  <a:moveTo>
                    <a:pt x="130" y="533"/>
                  </a:moveTo>
                  <a:cubicBezTo>
                    <a:pt x="138" y="534"/>
                    <a:pt x="136" y="547"/>
                    <a:pt x="141" y="551"/>
                  </a:cubicBezTo>
                  <a:cubicBezTo>
                    <a:pt x="138" y="559"/>
                    <a:pt x="130" y="542"/>
                    <a:pt x="130" y="533"/>
                  </a:cubicBezTo>
                  <a:close/>
                  <a:moveTo>
                    <a:pt x="125" y="540"/>
                  </a:moveTo>
                  <a:cubicBezTo>
                    <a:pt x="123" y="539"/>
                    <a:pt x="118" y="542"/>
                    <a:pt x="117" y="540"/>
                  </a:cubicBezTo>
                  <a:cubicBezTo>
                    <a:pt x="112" y="531"/>
                    <a:pt x="134" y="538"/>
                    <a:pt x="128" y="548"/>
                  </a:cubicBezTo>
                  <a:cubicBezTo>
                    <a:pt x="126" y="550"/>
                    <a:pt x="125" y="540"/>
                    <a:pt x="125" y="540"/>
                  </a:cubicBezTo>
                  <a:close/>
                  <a:moveTo>
                    <a:pt x="125" y="574"/>
                  </a:moveTo>
                  <a:cubicBezTo>
                    <a:pt x="123" y="574"/>
                    <a:pt x="121" y="568"/>
                    <a:pt x="122" y="566"/>
                  </a:cubicBezTo>
                  <a:cubicBezTo>
                    <a:pt x="126" y="553"/>
                    <a:pt x="127" y="573"/>
                    <a:pt x="125" y="574"/>
                  </a:cubicBezTo>
                  <a:close/>
                  <a:moveTo>
                    <a:pt x="125" y="611"/>
                  </a:moveTo>
                  <a:cubicBezTo>
                    <a:pt x="124" y="615"/>
                    <a:pt x="122" y="613"/>
                    <a:pt x="122" y="611"/>
                  </a:cubicBezTo>
                  <a:cubicBezTo>
                    <a:pt x="120" y="612"/>
                    <a:pt x="117" y="614"/>
                    <a:pt x="117" y="618"/>
                  </a:cubicBezTo>
                  <a:cubicBezTo>
                    <a:pt x="110" y="616"/>
                    <a:pt x="116" y="604"/>
                    <a:pt x="122" y="607"/>
                  </a:cubicBezTo>
                  <a:cubicBezTo>
                    <a:pt x="122" y="610"/>
                    <a:pt x="123" y="610"/>
                    <a:pt x="125" y="611"/>
                  </a:cubicBezTo>
                  <a:close/>
                  <a:moveTo>
                    <a:pt x="111" y="599"/>
                  </a:moveTo>
                  <a:cubicBezTo>
                    <a:pt x="112" y="592"/>
                    <a:pt x="123" y="600"/>
                    <a:pt x="125" y="603"/>
                  </a:cubicBezTo>
                  <a:cubicBezTo>
                    <a:pt x="133" y="608"/>
                    <a:pt x="114" y="602"/>
                    <a:pt x="111" y="599"/>
                  </a:cubicBezTo>
                  <a:close/>
                  <a:moveTo>
                    <a:pt x="93" y="592"/>
                  </a:moveTo>
                  <a:cubicBezTo>
                    <a:pt x="95" y="592"/>
                    <a:pt x="95" y="597"/>
                    <a:pt x="95" y="599"/>
                  </a:cubicBezTo>
                  <a:cubicBezTo>
                    <a:pt x="97" y="594"/>
                    <a:pt x="106" y="599"/>
                    <a:pt x="106" y="592"/>
                  </a:cubicBezTo>
                  <a:cubicBezTo>
                    <a:pt x="109" y="593"/>
                    <a:pt x="109" y="599"/>
                    <a:pt x="106" y="599"/>
                  </a:cubicBezTo>
                  <a:cubicBezTo>
                    <a:pt x="99" y="598"/>
                    <a:pt x="104" y="614"/>
                    <a:pt x="95" y="611"/>
                  </a:cubicBezTo>
                  <a:cubicBezTo>
                    <a:pt x="96" y="602"/>
                    <a:pt x="90" y="603"/>
                    <a:pt x="93" y="592"/>
                  </a:cubicBezTo>
                  <a:close/>
                  <a:moveTo>
                    <a:pt x="93" y="389"/>
                  </a:moveTo>
                  <a:cubicBezTo>
                    <a:pt x="100" y="389"/>
                    <a:pt x="98" y="404"/>
                    <a:pt x="90" y="403"/>
                  </a:cubicBezTo>
                  <a:cubicBezTo>
                    <a:pt x="92" y="400"/>
                    <a:pt x="93" y="395"/>
                    <a:pt x="93" y="389"/>
                  </a:cubicBezTo>
                  <a:close/>
                  <a:moveTo>
                    <a:pt x="87" y="315"/>
                  </a:moveTo>
                  <a:cubicBezTo>
                    <a:pt x="87" y="312"/>
                    <a:pt x="87" y="310"/>
                    <a:pt x="87" y="307"/>
                  </a:cubicBezTo>
                  <a:cubicBezTo>
                    <a:pt x="89" y="308"/>
                    <a:pt x="90" y="306"/>
                    <a:pt x="90" y="304"/>
                  </a:cubicBezTo>
                  <a:cubicBezTo>
                    <a:pt x="95" y="302"/>
                    <a:pt x="94" y="320"/>
                    <a:pt x="87" y="315"/>
                  </a:cubicBezTo>
                  <a:close/>
                  <a:moveTo>
                    <a:pt x="122" y="352"/>
                  </a:moveTo>
                  <a:cubicBezTo>
                    <a:pt x="119" y="355"/>
                    <a:pt x="115" y="357"/>
                    <a:pt x="109" y="355"/>
                  </a:cubicBezTo>
                  <a:cubicBezTo>
                    <a:pt x="109" y="353"/>
                    <a:pt x="109" y="350"/>
                    <a:pt x="109" y="348"/>
                  </a:cubicBezTo>
                  <a:cubicBezTo>
                    <a:pt x="111" y="349"/>
                    <a:pt x="111" y="346"/>
                    <a:pt x="111" y="344"/>
                  </a:cubicBezTo>
                  <a:cubicBezTo>
                    <a:pt x="114" y="345"/>
                    <a:pt x="113" y="352"/>
                    <a:pt x="117" y="352"/>
                  </a:cubicBezTo>
                  <a:cubicBezTo>
                    <a:pt x="119" y="352"/>
                    <a:pt x="119" y="350"/>
                    <a:pt x="119" y="348"/>
                  </a:cubicBezTo>
                  <a:cubicBezTo>
                    <a:pt x="121" y="342"/>
                    <a:pt x="122" y="348"/>
                    <a:pt x="122" y="352"/>
                  </a:cubicBezTo>
                  <a:close/>
                  <a:moveTo>
                    <a:pt x="125" y="381"/>
                  </a:moveTo>
                  <a:cubicBezTo>
                    <a:pt x="115" y="380"/>
                    <a:pt x="118" y="372"/>
                    <a:pt x="119" y="363"/>
                  </a:cubicBezTo>
                  <a:cubicBezTo>
                    <a:pt x="123" y="366"/>
                    <a:pt x="123" y="375"/>
                    <a:pt x="125" y="381"/>
                  </a:cubicBezTo>
                  <a:close/>
                  <a:moveTo>
                    <a:pt x="106" y="318"/>
                  </a:moveTo>
                  <a:cubicBezTo>
                    <a:pt x="109" y="315"/>
                    <a:pt x="107" y="305"/>
                    <a:pt x="114" y="307"/>
                  </a:cubicBezTo>
                  <a:cubicBezTo>
                    <a:pt x="115" y="315"/>
                    <a:pt x="112" y="319"/>
                    <a:pt x="106" y="318"/>
                  </a:cubicBezTo>
                  <a:close/>
                  <a:moveTo>
                    <a:pt x="109" y="363"/>
                  </a:moveTo>
                  <a:cubicBezTo>
                    <a:pt x="110" y="369"/>
                    <a:pt x="117" y="366"/>
                    <a:pt x="114" y="378"/>
                  </a:cubicBezTo>
                  <a:cubicBezTo>
                    <a:pt x="102" y="376"/>
                    <a:pt x="110" y="370"/>
                    <a:pt x="106" y="359"/>
                  </a:cubicBezTo>
                  <a:cubicBezTo>
                    <a:pt x="108" y="358"/>
                    <a:pt x="109" y="360"/>
                    <a:pt x="109" y="363"/>
                  </a:cubicBezTo>
                  <a:close/>
                  <a:moveTo>
                    <a:pt x="114" y="407"/>
                  </a:moveTo>
                  <a:cubicBezTo>
                    <a:pt x="110" y="407"/>
                    <a:pt x="105" y="407"/>
                    <a:pt x="101" y="407"/>
                  </a:cubicBezTo>
                  <a:cubicBezTo>
                    <a:pt x="103" y="394"/>
                    <a:pt x="101" y="398"/>
                    <a:pt x="103" y="385"/>
                  </a:cubicBezTo>
                  <a:cubicBezTo>
                    <a:pt x="106" y="386"/>
                    <a:pt x="106" y="392"/>
                    <a:pt x="106" y="396"/>
                  </a:cubicBezTo>
                  <a:cubicBezTo>
                    <a:pt x="112" y="397"/>
                    <a:pt x="104" y="379"/>
                    <a:pt x="114" y="385"/>
                  </a:cubicBezTo>
                  <a:cubicBezTo>
                    <a:pt x="109" y="392"/>
                    <a:pt x="113" y="398"/>
                    <a:pt x="114" y="407"/>
                  </a:cubicBezTo>
                  <a:close/>
                  <a:moveTo>
                    <a:pt x="106" y="352"/>
                  </a:moveTo>
                  <a:cubicBezTo>
                    <a:pt x="102" y="368"/>
                    <a:pt x="95" y="334"/>
                    <a:pt x="106" y="341"/>
                  </a:cubicBezTo>
                  <a:cubicBezTo>
                    <a:pt x="104" y="344"/>
                    <a:pt x="102" y="351"/>
                    <a:pt x="106" y="352"/>
                  </a:cubicBezTo>
                  <a:close/>
                  <a:moveTo>
                    <a:pt x="103" y="433"/>
                  </a:moveTo>
                  <a:cubicBezTo>
                    <a:pt x="104" y="439"/>
                    <a:pt x="107" y="443"/>
                    <a:pt x="103" y="448"/>
                  </a:cubicBezTo>
                  <a:cubicBezTo>
                    <a:pt x="98" y="444"/>
                    <a:pt x="100" y="435"/>
                    <a:pt x="98" y="429"/>
                  </a:cubicBezTo>
                  <a:cubicBezTo>
                    <a:pt x="96" y="425"/>
                    <a:pt x="92" y="426"/>
                    <a:pt x="93" y="418"/>
                  </a:cubicBezTo>
                  <a:cubicBezTo>
                    <a:pt x="96" y="419"/>
                    <a:pt x="97" y="417"/>
                    <a:pt x="98" y="415"/>
                  </a:cubicBezTo>
                  <a:cubicBezTo>
                    <a:pt x="102" y="417"/>
                    <a:pt x="102" y="426"/>
                    <a:pt x="103" y="433"/>
                  </a:cubicBezTo>
                  <a:close/>
                  <a:moveTo>
                    <a:pt x="109" y="440"/>
                  </a:moveTo>
                  <a:cubicBezTo>
                    <a:pt x="111" y="440"/>
                    <a:pt x="114" y="440"/>
                    <a:pt x="117" y="440"/>
                  </a:cubicBezTo>
                  <a:cubicBezTo>
                    <a:pt x="117" y="447"/>
                    <a:pt x="112" y="455"/>
                    <a:pt x="114" y="459"/>
                  </a:cubicBezTo>
                  <a:cubicBezTo>
                    <a:pt x="115" y="461"/>
                    <a:pt x="117" y="456"/>
                    <a:pt x="117" y="455"/>
                  </a:cubicBezTo>
                  <a:cubicBezTo>
                    <a:pt x="117" y="454"/>
                    <a:pt x="121" y="457"/>
                    <a:pt x="119" y="459"/>
                  </a:cubicBezTo>
                  <a:cubicBezTo>
                    <a:pt x="115" y="464"/>
                    <a:pt x="120" y="463"/>
                    <a:pt x="117" y="474"/>
                  </a:cubicBezTo>
                  <a:cubicBezTo>
                    <a:pt x="111" y="475"/>
                    <a:pt x="108" y="473"/>
                    <a:pt x="109" y="466"/>
                  </a:cubicBezTo>
                  <a:cubicBezTo>
                    <a:pt x="104" y="468"/>
                    <a:pt x="106" y="478"/>
                    <a:pt x="98" y="474"/>
                  </a:cubicBezTo>
                  <a:cubicBezTo>
                    <a:pt x="103" y="465"/>
                    <a:pt x="104" y="463"/>
                    <a:pt x="95" y="459"/>
                  </a:cubicBezTo>
                  <a:cubicBezTo>
                    <a:pt x="96" y="456"/>
                    <a:pt x="104" y="448"/>
                    <a:pt x="103" y="455"/>
                  </a:cubicBezTo>
                  <a:cubicBezTo>
                    <a:pt x="112" y="452"/>
                    <a:pt x="104" y="447"/>
                    <a:pt x="109" y="440"/>
                  </a:cubicBezTo>
                  <a:close/>
                  <a:moveTo>
                    <a:pt x="135" y="485"/>
                  </a:moveTo>
                  <a:cubicBezTo>
                    <a:pt x="138" y="498"/>
                    <a:pt x="121" y="492"/>
                    <a:pt x="119" y="489"/>
                  </a:cubicBezTo>
                  <a:cubicBezTo>
                    <a:pt x="121" y="484"/>
                    <a:pt x="130" y="491"/>
                    <a:pt x="135" y="485"/>
                  </a:cubicBezTo>
                  <a:close/>
                  <a:moveTo>
                    <a:pt x="128" y="463"/>
                  </a:moveTo>
                  <a:cubicBezTo>
                    <a:pt x="128" y="456"/>
                    <a:pt x="134" y="461"/>
                    <a:pt x="135" y="452"/>
                  </a:cubicBezTo>
                  <a:cubicBezTo>
                    <a:pt x="139" y="452"/>
                    <a:pt x="137" y="455"/>
                    <a:pt x="135" y="455"/>
                  </a:cubicBezTo>
                  <a:cubicBezTo>
                    <a:pt x="133" y="469"/>
                    <a:pt x="135" y="473"/>
                    <a:pt x="133" y="481"/>
                  </a:cubicBezTo>
                  <a:cubicBezTo>
                    <a:pt x="127" y="482"/>
                    <a:pt x="123" y="480"/>
                    <a:pt x="122" y="474"/>
                  </a:cubicBezTo>
                  <a:cubicBezTo>
                    <a:pt x="121" y="466"/>
                    <a:pt x="127" y="468"/>
                    <a:pt x="128" y="463"/>
                  </a:cubicBezTo>
                  <a:close/>
                  <a:moveTo>
                    <a:pt x="111" y="507"/>
                  </a:moveTo>
                  <a:cubicBezTo>
                    <a:pt x="106" y="509"/>
                    <a:pt x="104" y="504"/>
                    <a:pt x="101" y="503"/>
                  </a:cubicBezTo>
                  <a:cubicBezTo>
                    <a:pt x="101" y="499"/>
                    <a:pt x="106" y="500"/>
                    <a:pt x="109" y="500"/>
                  </a:cubicBezTo>
                  <a:cubicBezTo>
                    <a:pt x="109" y="495"/>
                    <a:pt x="109" y="490"/>
                    <a:pt x="109" y="485"/>
                  </a:cubicBezTo>
                  <a:cubicBezTo>
                    <a:pt x="113" y="473"/>
                    <a:pt x="111" y="501"/>
                    <a:pt x="111" y="507"/>
                  </a:cubicBezTo>
                  <a:close/>
                  <a:moveTo>
                    <a:pt x="109" y="544"/>
                  </a:moveTo>
                  <a:cubicBezTo>
                    <a:pt x="103" y="544"/>
                    <a:pt x="105" y="534"/>
                    <a:pt x="98" y="537"/>
                  </a:cubicBezTo>
                  <a:cubicBezTo>
                    <a:pt x="90" y="526"/>
                    <a:pt x="110" y="542"/>
                    <a:pt x="109" y="533"/>
                  </a:cubicBezTo>
                  <a:cubicBezTo>
                    <a:pt x="113" y="534"/>
                    <a:pt x="108" y="538"/>
                    <a:pt x="109" y="544"/>
                  </a:cubicBezTo>
                  <a:close/>
                  <a:moveTo>
                    <a:pt x="101" y="585"/>
                  </a:moveTo>
                  <a:cubicBezTo>
                    <a:pt x="98" y="596"/>
                    <a:pt x="98" y="574"/>
                    <a:pt x="93" y="577"/>
                  </a:cubicBezTo>
                  <a:cubicBezTo>
                    <a:pt x="95" y="566"/>
                    <a:pt x="100" y="581"/>
                    <a:pt x="101" y="585"/>
                  </a:cubicBezTo>
                  <a:close/>
                  <a:moveTo>
                    <a:pt x="93" y="492"/>
                  </a:moveTo>
                  <a:cubicBezTo>
                    <a:pt x="101" y="479"/>
                    <a:pt x="102" y="503"/>
                    <a:pt x="93" y="492"/>
                  </a:cubicBezTo>
                  <a:close/>
                  <a:moveTo>
                    <a:pt x="111" y="607"/>
                  </a:moveTo>
                  <a:cubicBezTo>
                    <a:pt x="110" y="611"/>
                    <a:pt x="108" y="614"/>
                    <a:pt x="103" y="614"/>
                  </a:cubicBezTo>
                  <a:cubicBezTo>
                    <a:pt x="104" y="610"/>
                    <a:pt x="107" y="607"/>
                    <a:pt x="111" y="607"/>
                  </a:cubicBezTo>
                  <a:close/>
                  <a:moveTo>
                    <a:pt x="106" y="581"/>
                  </a:moveTo>
                  <a:cubicBezTo>
                    <a:pt x="106" y="577"/>
                    <a:pt x="111" y="578"/>
                    <a:pt x="114" y="577"/>
                  </a:cubicBezTo>
                  <a:cubicBezTo>
                    <a:pt x="114" y="567"/>
                    <a:pt x="110" y="570"/>
                    <a:pt x="114" y="562"/>
                  </a:cubicBezTo>
                  <a:cubicBezTo>
                    <a:pt x="123" y="565"/>
                    <a:pt x="111" y="586"/>
                    <a:pt x="117" y="585"/>
                  </a:cubicBezTo>
                  <a:cubicBezTo>
                    <a:pt x="114" y="596"/>
                    <a:pt x="108" y="583"/>
                    <a:pt x="106" y="581"/>
                  </a:cubicBezTo>
                  <a:close/>
                  <a:moveTo>
                    <a:pt x="128" y="352"/>
                  </a:moveTo>
                  <a:cubicBezTo>
                    <a:pt x="130" y="348"/>
                    <a:pt x="128" y="338"/>
                    <a:pt x="135" y="341"/>
                  </a:cubicBezTo>
                  <a:cubicBezTo>
                    <a:pt x="133" y="344"/>
                    <a:pt x="135" y="354"/>
                    <a:pt x="128" y="352"/>
                  </a:cubicBezTo>
                  <a:close/>
                  <a:moveTo>
                    <a:pt x="135" y="355"/>
                  </a:moveTo>
                  <a:cubicBezTo>
                    <a:pt x="135" y="358"/>
                    <a:pt x="135" y="360"/>
                    <a:pt x="135" y="363"/>
                  </a:cubicBezTo>
                  <a:cubicBezTo>
                    <a:pt x="134" y="363"/>
                    <a:pt x="132" y="363"/>
                    <a:pt x="130" y="363"/>
                  </a:cubicBezTo>
                  <a:cubicBezTo>
                    <a:pt x="130" y="360"/>
                    <a:pt x="130" y="358"/>
                    <a:pt x="130" y="355"/>
                  </a:cubicBezTo>
                  <a:cubicBezTo>
                    <a:pt x="132" y="355"/>
                    <a:pt x="134" y="355"/>
                    <a:pt x="135" y="355"/>
                  </a:cubicBezTo>
                  <a:close/>
                  <a:moveTo>
                    <a:pt x="141" y="333"/>
                  </a:moveTo>
                  <a:cubicBezTo>
                    <a:pt x="147" y="335"/>
                    <a:pt x="143" y="353"/>
                    <a:pt x="141" y="355"/>
                  </a:cubicBezTo>
                  <a:cubicBezTo>
                    <a:pt x="133" y="351"/>
                    <a:pt x="144" y="343"/>
                    <a:pt x="141" y="333"/>
                  </a:cubicBezTo>
                  <a:close/>
                  <a:moveTo>
                    <a:pt x="138" y="363"/>
                  </a:moveTo>
                  <a:cubicBezTo>
                    <a:pt x="139" y="358"/>
                    <a:pt x="143" y="360"/>
                    <a:pt x="146" y="359"/>
                  </a:cubicBezTo>
                  <a:cubicBezTo>
                    <a:pt x="149" y="359"/>
                    <a:pt x="148" y="355"/>
                    <a:pt x="149" y="352"/>
                  </a:cubicBezTo>
                  <a:cubicBezTo>
                    <a:pt x="155" y="350"/>
                    <a:pt x="154" y="357"/>
                    <a:pt x="154" y="363"/>
                  </a:cubicBezTo>
                  <a:cubicBezTo>
                    <a:pt x="150" y="370"/>
                    <a:pt x="148" y="360"/>
                    <a:pt x="138" y="363"/>
                  </a:cubicBezTo>
                  <a:close/>
                  <a:moveTo>
                    <a:pt x="149" y="378"/>
                  </a:moveTo>
                  <a:cubicBezTo>
                    <a:pt x="161" y="379"/>
                    <a:pt x="146" y="399"/>
                    <a:pt x="149" y="378"/>
                  </a:cubicBezTo>
                  <a:close/>
                  <a:moveTo>
                    <a:pt x="184" y="389"/>
                  </a:moveTo>
                  <a:cubicBezTo>
                    <a:pt x="185" y="396"/>
                    <a:pt x="172" y="394"/>
                    <a:pt x="176" y="385"/>
                  </a:cubicBezTo>
                  <a:cubicBezTo>
                    <a:pt x="180" y="384"/>
                    <a:pt x="181" y="388"/>
                    <a:pt x="184" y="389"/>
                  </a:cubicBezTo>
                  <a:close/>
                  <a:moveTo>
                    <a:pt x="160" y="263"/>
                  </a:moveTo>
                  <a:cubicBezTo>
                    <a:pt x="157" y="263"/>
                    <a:pt x="147" y="266"/>
                    <a:pt x="146" y="259"/>
                  </a:cubicBezTo>
                  <a:cubicBezTo>
                    <a:pt x="146" y="256"/>
                    <a:pt x="147" y="252"/>
                    <a:pt x="149" y="252"/>
                  </a:cubicBezTo>
                  <a:cubicBezTo>
                    <a:pt x="150" y="252"/>
                    <a:pt x="151" y="259"/>
                    <a:pt x="152" y="259"/>
                  </a:cubicBezTo>
                  <a:cubicBezTo>
                    <a:pt x="158" y="261"/>
                    <a:pt x="162" y="258"/>
                    <a:pt x="168" y="259"/>
                  </a:cubicBezTo>
                  <a:cubicBezTo>
                    <a:pt x="167" y="260"/>
                    <a:pt x="166" y="266"/>
                    <a:pt x="165" y="267"/>
                  </a:cubicBezTo>
                  <a:cubicBezTo>
                    <a:pt x="161" y="269"/>
                    <a:pt x="161" y="263"/>
                    <a:pt x="160" y="263"/>
                  </a:cubicBezTo>
                  <a:close/>
                  <a:moveTo>
                    <a:pt x="149" y="278"/>
                  </a:moveTo>
                  <a:cubicBezTo>
                    <a:pt x="148" y="276"/>
                    <a:pt x="156" y="267"/>
                    <a:pt x="160" y="274"/>
                  </a:cubicBezTo>
                  <a:cubicBezTo>
                    <a:pt x="161" y="277"/>
                    <a:pt x="151" y="280"/>
                    <a:pt x="149" y="278"/>
                  </a:cubicBezTo>
                  <a:close/>
                  <a:moveTo>
                    <a:pt x="189" y="263"/>
                  </a:moveTo>
                  <a:cubicBezTo>
                    <a:pt x="187" y="266"/>
                    <a:pt x="188" y="273"/>
                    <a:pt x="184" y="274"/>
                  </a:cubicBezTo>
                  <a:cubicBezTo>
                    <a:pt x="185" y="280"/>
                    <a:pt x="192" y="277"/>
                    <a:pt x="189" y="289"/>
                  </a:cubicBezTo>
                  <a:cubicBezTo>
                    <a:pt x="181" y="292"/>
                    <a:pt x="186" y="276"/>
                    <a:pt x="176" y="281"/>
                  </a:cubicBezTo>
                  <a:cubicBezTo>
                    <a:pt x="177" y="277"/>
                    <a:pt x="179" y="274"/>
                    <a:pt x="184" y="274"/>
                  </a:cubicBezTo>
                  <a:cubicBezTo>
                    <a:pt x="183" y="267"/>
                    <a:pt x="185" y="262"/>
                    <a:pt x="189" y="263"/>
                  </a:cubicBezTo>
                  <a:close/>
                  <a:moveTo>
                    <a:pt x="176" y="267"/>
                  </a:moveTo>
                  <a:cubicBezTo>
                    <a:pt x="176" y="264"/>
                    <a:pt x="179" y="263"/>
                    <a:pt x="179" y="259"/>
                  </a:cubicBezTo>
                  <a:cubicBezTo>
                    <a:pt x="178" y="256"/>
                    <a:pt x="175" y="256"/>
                    <a:pt x="173" y="255"/>
                  </a:cubicBezTo>
                  <a:cubicBezTo>
                    <a:pt x="174" y="251"/>
                    <a:pt x="178" y="250"/>
                    <a:pt x="179" y="244"/>
                  </a:cubicBezTo>
                  <a:cubicBezTo>
                    <a:pt x="187" y="245"/>
                    <a:pt x="184" y="267"/>
                    <a:pt x="176" y="267"/>
                  </a:cubicBezTo>
                  <a:close/>
                  <a:moveTo>
                    <a:pt x="176" y="170"/>
                  </a:moveTo>
                  <a:cubicBezTo>
                    <a:pt x="173" y="183"/>
                    <a:pt x="171" y="172"/>
                    <a:pt x="163" y="174"/>
                  </a:cubicBezTo>
                  <a:cubicBezTo>
                    <a:pt x="165" y="168"/>
                    <a:pt x="172" y="165"/>
                    <a:pt x="176" y="170"/>
                  </a:cubicBezTo>
                  <a:close/>
                  <a:moveTo>
                    <a:pt x="90" y="226"/>
                  </a:moveTo>
                  <a:cubicBezTo>
                    <a:pt x="90" y="223"/>
                    <a:pt x="90" y="221"/>
                    <a:pt x="90" y="218"/>
                  </a:cubicBezTo>
                  <a:cubicBezTo>
                    <a:pt x="98" y="225"/>
                    <a:pt x="99" y="216"/>
                    <a:pt x="111" y="218"/>
                  </a:cubicBezTo>
                  <a:cubicBezTo>
                    <a:pt x="117" y="219"/>
                    <a:pt x="117" y="225"/>
                    <a:pt x="125" y="222"/>
                  </a:cubicBezTo>
                  <a:cubicBezTo>
                    <a:pt x="128" y="221"/>
                    <a:pt x="135" y="218"/>
                    <a:pt x="141" y="226"/>
                  </a:cubicBezTo>
                  <a:cubicBezTo>
                    <a:pt x="142" y="228"/>
                    <a:pt x="158" y="224"/>
                    <a:pt x="165" y="226"/>
                  </a:cubicBezTo>
                  <a:cubicBezTo>
                    <a:pt x="171" y="227"/>
                    <a:pt x="184" y="227"/>
                    <a:pt x="181" y="241"/>
                  </a:cubicBezTo>
                  <a:cubicBezTo>
                    <a:pt x="178" y="240"/>
                    <a:pt x="180" y="233"/>
                    <a:pt x="176" y="233"/>
                  </a:cubicBezTo>
                  <a:cubicBezTo>
                    <a:pt x="172" y="234"/>
                    <a:pt x="174" y="243"/>
                    <a:pt x="173" y="248"/>
                  </a:cubicBezTo>
                  <a:cubicBezTo>
                    <a:pt x="163" y="239"/>
                    <a:pt x="175" y="252"/>
                    <a:pt x="168" y="255"/>
                  </a:cubicBezTo>
                  <a:cubicBezTo>
                    <a:pt x="160" y="259"/>
                    <a:pt x="166" y="248"/>
                    <a:pt x="165" y="248"/>
                  </a:cubicBezTo>
                  <a:cubicBezTo>
                    <a:pt x="164" y="247"/>
                    <a:pt x="158" y="255"/>
                    <a:pt x="154" y="252"/>
                  </a:cubicBezTo>
                  <a:cubicBezTo>
                    <a:pt x="154" y="246"/>
                    <a:pt x="146" y="250"/>
                    <a:pt x="146" y="244"/>
                  </a:cubicBezTo>
                  <a:cubicBezTo>
                    <a:pt x="144" y="247"/>
                    <a:pt x="142" y="251"/>
                    <a:pt x="141" y="255"/>
                  </a:cubicBezTo>
                  <a:cubicBezTo>
                    <a:pt x="132" y="249"/>
                    <a:pt x="129" y="242"/>
                    <a:pt x="133" y="226"/>
                  </a:cubicBezTo>
                  <a:cubicBezTo>
                    <a:pt x="131" y="226"/>
                    <a:pt x="129" y="226"/>
                    <a:pt x="128" y="226"/>
                  </a:cubicBezTo>
                  <a:cubicBezTo>
                    <a:pt x="124" y="227"/>
                    <a:pt x="125" y="233"/>
                    <a:pt x="128" y="233"/>
                  </a:cubicBezTo>
                  <a:cubicBezTo>
                    <a:pt x="127" y="237"/>
                    <a:pt x="124" y="236"/>
                    <a:pt x="122" y="237"/>
                  </a:cubicBezTo>
                  <a:cubicBezTo>
                    <a:pt x="125" y="249"/>
                    <a:pt x="122" y="245"/>
                    <a:pt x="122" y="259"/>
                  </a:cubicBezTo>
                  <a:cubicBezTo>
                    <a:pt x="118" y="256"/>
                    <a:pt x="118" y="247"/>
                    <a:pt x="117" y="241"/>
                  </a:cubicBezTo>
                  <a:cubicBezTo>
                    <a:pt x="112" y="242"/>
                    <a:pt x="110" y="249"/>
                    <a:pt x="103" y="248"/>
                  </a:cubicBezTo>
                  <a:cubicBezTo>
                    <a:pt x="101" y="231"/>
                    <a:pt x="108" y="240"/>
                    <a:pt x="114" y="241"/>
                  </a:cubicBezTo>
                  <a:cubicBezTo>
                    <a:pt x="116" y="231"/>
                    <a:pt x="109" y="234"/>
                    <a:pt x="106" y="230"/>
                  </a:cubicBezTo>
                  <a:cubicBezTo>
                    <a:pt x="99" y="228"/>
                    <a:pt x="103" y="243"/>
                    <a:pt x="98" y="244"/>
                  </a:cubicBezTo>
                  <a:cubicBezTo>
                    <a:pt x="84" y="246"/>
                    <a:pt x="104" y="223"/>
                    <a:pt x="87" y="230"/>
                  </a:cubicBezTo>
                  <a:cubicBezTo>
                    <a:pt x="87" y="226"/>
                    <a:pt x="88" y="226"/>
                    <a:pt x="90" y="226"/>
                  </a:cubicBezTo>
                  <a:close/>
                  <a:moveTo>
                    <a:pt x="58" y="407"/>
                  </a:moveTo>
                  <a:cubicBezTo>
                    <a:pt x="67" y="405"/>
                    <a:pt x="58" y="424"/>
                    <a:pt x="55" y="418"/>
                  </a:cubicBezTo>
                  <a:cubicBezTo>
                    <a:pt x="55" y="418"/>
                    <a:pt x="57" y="411"/>
                    <a:pt x="58" y="411"/>
                  </a:cubicBezTo>
                  <a:cubicBezTo>
                    <a:pt x="58" y="411"/>
                    <a:pt x="57" y="407"/>
                    <a:pt x="58" y="407"/>
                  </a:cubicBezTo>
                  <a:close/>
                  <a:moveTo>
                    <a:pt x="55" y="433"/>
                  </a:moveTo>
                  <a:cubicBezTo>
                    <a:pt x="54" y="425"/>
                    <a:pt x="59" y="426"/>
                    <a:pt x="63" y="426"/>
                  </a:cubicBezTo>
                  <a:cubicBezTo>
                    <a:pt x="62" y="430"/>
                    <a:pt x="60" y="433"/>
                    <a:pt x="55" y="433"/>
                  </a:cubicBezTo>
                  <a:close/>
                  <a:moveTo>
                    <a:pt x="60" y="655"/>
                  </a:moveTo>
                  <a:cubicBezTo>
                    <a:pt x="60" y="649"/>
                    <a:pt x="60" y="643"/>
                    <a:pt x="60" y="636"/>
                  </a:cubicBezTo>
                  <a:cubicBezTo>
                    <a:pt x="69" y="631"/>
                    <a:pt x="69" y="661"/>
                    <a:pt x="60" y="655"/>
                  </a:cubicBezTo>
                  <a:close/>
                  <a:moveTo>
                    <a:pt x="71" y="244"/>
                  </a:moveTo>
                  <a:cubicBezTo>
                    <a:pt x="75" y="239"/>
                    <a:pt x="75" y="230"/>
                    <a:pt x="66" y="233"/>
                  </a:cubicBezTo>
                  <a:cubicBezTo>
                    <a:pt x="68" y="228"/>
                    <a:pt x="73" y="226"/>
                    <a:pt x="74" y="218"/>
                  </a:cubicBezTo>
                  <a:cubicBezTo>
                    <a:pt x="77" y="218"/>
                    <a:pt x="75" y="224"/>
                    <a:pt x="76" y="226"/>
                  </a:cubicBezTo>
                  <a:cubicBezTo>
                    <a:pt x="80" y="233"/>
                    <a:pt x="89" y="230"/>
                    <a:pt x="90" y="241"/>
                  </a:cubicBezTo>
                  <a:cubicBezTo>
                    <a:pt x="88" y="233"/>
                    <a:pt x="80" y="243"/>
                    <a:pt x="79" y="237"/>
                  </a:cubicBezTo>
                  <a:cubicBezTo>
                    <a:pt x="76" y="239"/>
                    <a:pt x="76" y="246"/>
                    <a:pt x="71" y="244"/>
                  </a:cubicBezTo>
                  <a:close/>
                  <a:moveTo>
                    <a:pt x="93" y="721"/>
                  </a:moveTo>
                  <a:cubicBezTo>
                    <a:pt x="93" y="712"/>
                    <a:pt x="87" y="712"/>
                    <a:pt x="82" y="710"/>
                  </a:cubicBezTo>
                  <a:cubicBezTo>
                    <a:pt x="83" y="703"/>
                    <a:pt x="92" y="707"/>
                    <a:pt x="90" y="696"/>
                  </a:cubicBezTo>
                  <a:cubicBezTo>
                    <a:pt x="93" y="700"/>
                    <a:pt x="99" y="700"/>
                    <a:pt x="106" y="699"/>
                  </a:cubicBezTo>
                  <a:cubicBezTo>
                    <a:pt x="106" y="714"/>
                    <a:pt x="102" y="721"/>
                    <a:pt x="93" y="721"/>
                  </a:cubicBezTo>
                  <a:close/>
                  <a:moveTo>
                    <a:pt x="106" y="692"/>
                  </a:moveTo>
                  <a:cubicBezTo>
                    <a:pt x="104" y="692"/>
                    <a:pt x="102" y="692"/>
                    <a:pt x="101" y="692"/>
                  </a:cubicBezTo>
                  <a:cubicBezTo>
                    <a:pt x="101" y="689"/>
                    <a:pt x="101" y="687"/>
                    <a:pt x="101" y="684"/>
                  </a:cubicBezTo>
                  <a:cubicBezTo>
                    <a:pt x="102" y="684"/>
                    <a:pt x="104" y="684"/>
                    <a:pt x="106" y="684"/>
                  </a:cubicBezTo>
                  <a:cubicBezTo>
                    <a:pt x="106" y="687"/>
                    <a:pt x="106" y="689"/>
                    <a:pt x="106" y="692"/>
                  </a:cubicBezTo>
                  <a:close/>
                  <a:moveTo>
                    <a:pt x="109" y="677"/>
                  </a:moveTo>
                  <a:cubicBezTo>
                    <a:pt x="101" y="677"/>
                    <a:pt x="98" y="669"/>
                    <a:pt x="93" y="666"/>
                  </a:cubicBezTo>
                  <a:cubicBezTo>
                    <a:pt x="92" y="672"/>
                    <a:pt x="95" y="673"/>
                    <a:pt x="98" y="673"/>
                  </a:cubicBezTo>
                  <a:cubicBezTo>
                    <a:pt x="95" y="685"/>
                    <a:pt x="86" y="673"/>
                    <a:pt x="90" y="662"/>
                  </a:cubicBezTo>
                  <a:cubicBezTo>
                    <a:pt x="82" y="663"/>
                    <a:pt x="83" y="678"/>
                    <a:pt x="79" y="655"/>
                  </a:cubicBezTo>
                  <a:cubicBezTo>
                    <a:pt x="87" y="665"/>
                    <a:pt x="97" y="649"/>
                    <a:pt x="101" y="662"/>
                  </a:cubicBezTo>
                  <a:cubicBezTo>
                    <a:pt x="103" y="662"/>
                    <a:pt x="103" y="659"/>
                    <a:pt x="106" y="659"/>
                  </a:cubicBezTo>
                  <a:cubicBezTo>
                    <a:pt x="106" y="652"/>
                    <a:pt x="97" y="656"/>
                    <a:pt x="95" y="651"/>
                  </a:cubicBezTo>
                  <a:cubicBezTo>
                    <a:pt x="97" y="649"/>
                    <a:pt x="106" y="640"/>
                    <a:pt x="98" y="636"/>
                  </a:cubicBezTo>
                  <a:cubicBezTo>
                    <a:pt x="96" y="634"/>
                    <a:pt x="105" y="634"/>
                    <a:pt x="106" y="636"/>
                  </a:cubicBezTo>
                  <a:cubicBezTo>
                    <a:pt x="107" y="637"/>
                    <a:pt x="105" y="643"/>
                    <a:pt x="106" y="644"/>
                  </a:cubicBezTo>
                  <a:cubicBezTo>
                    <a:pt x="108" y="645"/>
                    <a:pt x="112" y="643"/>
                    <a:pt x="114" y="644"/>
                  </a:cubicBezTo>
                  <a:cubicBezTo>
                    <a:pt x="115" y="648"/>
                    <a:pt x="109" y="646"/>
                    <a:pt x="109" y="648"/>
                  </a:cubicBezTo>
                  <a:cubicBezTo>
                    <a:pt x="106" y="657"/>
                    <a:pt x="115" y="669"/>
                    <a:pt x="109" y="677"/>
                  </a:cubicBezTo>
                  <a:close/>
                  <a:moveTo>
                    <a:pt x="163" y="736"/>
                  </a:moveTo>
                  <a:cubicBezTo>
                    <a:pt x="160" y="749"/>
                    <a:pt x="157" y="732"/>
                    <a:pt x="154" y="733"/>
                  </a:cubicBezTo>
                  <a:cubicBezTo>
                    <a:pt x="150" y="739"/>
                    <a:pt x="155" y="742"/>
                    <a:pt x="152" y="755"/>
                  </a:cubicBezTo>
                  <a:cubicBezTo>
                    <a:pt x="149" y="755"/>
                    <a:pt x="150" y="750"/>
                    <a:pt x="149" y="747"/>
                  </a:cubicBezTo>
                  <a:cubicBezTo>
                    <a:pt x="149" y="739"/>
                    <a:pt x="144" y="737"/>
                    <a:pt x="146" y="725"/>
                  </a:cubicBezTo>
                  <a:cubicBezTo>
                    <a:pt x="149" y="726"/>
                    <a:pt x="151" y="724"/>
                    <a:pt x="152" y="721"/>
                  </a:cubicBezTo>
                  <a:cubicBezTo>
                    <a:pt x="156" y="726"/>
                    <a:pt x="158" y="732"/>
                    <a:pt x="163" y="736"/>
                  </a:cubicBezTo>
                  <a:close/>
                  <a:moveTo>
                    <a:pt x="173" y="688"/>
                  </a:moveTo>
                  <a:cubicBezTo>
                    <a:pt x="172" y="693"/>
                    <a:pt x="170" y="696"/>
                    <a:pt x="165" y="696"/>
                  </a:cubicBezTo>
                  <a:cubicBezTo>
                    <a:pt x="159" y="695"/>
                    <a:pt x="161" y="690"/>
                    <a:pt x="157" y="688"/>
                  </a:cubicBezTo>
                  <a:cubicBezTo>
                    <a:pt x="153" y="690"/>
                    <a:pt x="158" y="693"/>
                    <a:pt x="157" y="699"/>
                  </a:cubicBezTo>
                  <a:cubicBezTo>
                    <a:pt x="148" y="700"/>
                    <a:pt x="151" y="685"/>
                    <a:pt x="144" y="684"/>
                  </a:cubicBezTo>
                  <a:cubicBezTo>
                    <a:pt x="135" y="692"/>
                    <a:pt x="148" y="702"/>
                    <a:pt x="154" y="703"/>
                  </a:cubicBezTo>
                  <a:cubicBezTo>
                    <a:pt x="153" y="706"/>
                    <a:pt x="151" y="710"/>
                    <a:pt x="154" y="710"/>
                  </a:cubicBezTo>
                  <a:cubicBezTo>
                    <a:pt x="153" y="721"/>
                    <a:pt x="149" y="707"/>
                    <a:pt x="144" y="710"/>
                  </a:cubicBezTo>
                  <a:cubicBezTo>
                    <a:pt x="140" y="711"/>
                    <a:pt x="146" y="729"/>
                    <a:pt x="144" y="740"/>
                  </a:cubicBezTo>
                  <a:cubicBezTo>
                    <a:pt x="135" y="736"/>
                    <a:pt x="139" y="748"/>
                    <a:pt x="138" y="755"/>
                  </a:cubicBezTo>
                  <a:cubicBezTo>
                    <a:pt x="136" y="766"/>
                    <a:pt x="135" y="748"/>
                    <a:pt x="135" y="744"/>
                  </a:cubicBezTo>
                  <a:cubicBezTo>
                    <a:pt x="134" y="735"/>
                    <a:pt x="140" y="736"/>
                    <a:pt x="138" y="725"/>
                  </a:cubicBezTo>
                  <a:cubicBezTo>
                    <a:pt x="126" y="722"/>
                    <a:pt x="142" y="735"/>
                    <a:pt x="130" y="733"/>
                  </a:cubicBezTo>
                  <a:cubicBezTo>
                    <a:pt x="129" y="723"/>
                    <a:pt x="131" y="719"/>
                    <a:pt x="138" y="721"/>
                  </a:cubicBezTo>
                  <a:cubicBezTo>
                    <a:pt x="138" y="712"/>
                    <a:pt x="138" y="704"/>
                    <a:pt x="144" y="703"/>
                  </a:cubicBezTo>
                  <a:cubicBezTo>
                    <a:pt x="140" y="696"/>
                    <a:pt x="130" y="700"/>
                    <a:pt x="125" y="696"/>
                  </a:cubicBezTo>
                  <a:cubicBezTo>
                    <a:pt x="119" y="698"/>
                    <a:pt x="122" y="718"/>
                    <a:pt x="130" y="714"/>
                  </a:cubicBezTo>
                  <a:cubicBezTo>
                    <a:pt x="129" y="719"/>
                    <a:pt x="127" y="722"/>
                    <a:pt x="122" y="721"/>
                  </a:cubicBezTo>
                  <a:cubicBezTo>
                    <a:pt x="123" y="729"/>
                    <a:pt x="118" y="729"/>
                    <a:pt x="114" y="729"/>
                  </a:cubicBezTo>
                  <a:cubicBezTo>
                    <a:pt x="115" y="694"/>
                    <a:pt x="115" y="674"/>
                    <a:pt x="117" y="644"/>
                  </a:cubicBezTo>
                  <a:cubicBezTo>
                    <a:pt x="128" y="642"/>
                    <a:pt x="124" y="657"/>
                    <a:pt x="119" y="662"/>
                  </a:cubicBezTo>
                  <a:cubicBezTo>
                    <a:pt x="122" y="673"/>
                    <a:pt x="123" y="654"/>
                    <a:pt x="130" y="659"/>
                  </a:cubicBezTo>
                  <a:cubicBezTo>
                    <a:pt x="132" y="670"/>
                    <a:pt x="127" y="672"/>
                    <a:pt x="128" y="681"/>
                  </a:cubicBezTo>
                  <a:cubicBezTo>
                    <a:pt x="123" y="679"/>
                    <a:pt x="122" y="684"/>
                    <a:pt x="122" y="688"/>
                  </a:cubicBezTo>
                  <a:cubicBezTo>
                    <a:pt x="132" y="706"/>
                    <a:pt x="130" y="664"/>
                    <a:pt x="138" y="677"/>
                  </a:cubicBezTo>
                  <a:cubicBezTo>
                    <a:pt x="139" y="670"/>
                    <a:pt x="135" y="669"/>
                    <a:pt x="135" y="662"/>
                  </a:cubicBezTo>
                  <a:cubicBezTo>
                    <a:pt x="135" y="652"/>
                    <a:pt x="127" y="654"/>
                    <a:pt x="128" y="644"/>
                  </a:cubicBezTo>
                  <a:cubicBezTo>
                    <a:pt x="133" y="637"/>
                    <a:pt x="132" y="646"/>
                    <a:pt x="141" y="644"/>
                  </a:cubicBezTo>
                  <a:cubicBezTo>
                    <a:pt x="141" y="651"/>
                    <a:pt x="141" y="659"/>
                    <a:pt x="141" y="666"/>
                  </a:cubicBezTo>
                  <a:cubicBezTo>
                    <a:pt x="149" y="669"/>
                    <a:pt x="144" y="653"/>
                    <a:pt x="154" y="659"/>
                  </a:cubicBezTo>
                  <a:cubicBezTo>
                    <a:pt x="153" y="654"/>
                    <a:pt x="151" y="651"/>
                    <a:pt x="146" y="651"/>
                  </a:cubicBezTo>
                  <a:cubicBezTo>
                    <a:pt x="146" y="645"/>
                    <a:pt x="151" y="642"/>
                    <a:pt x="146" y="640"/>
                  </a:cubicBezTo>
                  <a:cubicBezTo>
                    <a:pt x="152" y="634"/>
                    <a:pt x="150" y="637"/>
                    <a:pt x="149" y="618"/>
                  </a:cubicBezTo>
                  <a:cubicBezTo>
                    <a:pt x="153" y="618"/>
                    <a:pt x="156" y="618"/>
                    <a:pt x="160" y="618"/>
                  </a:cubicBezTo>
                  <a:cubicBezTo>
                    <a:pt x="158" y="623"/>
                    <a:pt x="156" y="627"/>
                    <a:pt x="154" y="633"/>
                  </a:cubicBezTo>
                  <a:cubicBezTo>
                    <a:pt x="158" y="638"/>
                    <a:pt x="165" y="640"/>
                    <a:pt x="163" y="655"/>
                  </a:cubicBezTo>
                  <a:cubicBezTo>
                    <a:pt x="159" y="654"/>
                    <a:pt x="161" y="648"/>
                    <a:pt x="157" y="648"/>
                  </a:cubicBezTo>
                  <a:cubicBezTo>
                    <a:pt x="151" y="652"/>
                    <a:pt x="160" y="668"/>
                    <a:pt x="160" y="677"/>
                  </a:cubicBezTo>
                  <a:cubicBezTo>
                    <a:pt x="157" y="677"/>
                    <a:pt x="155" y="678"/>
                    <a:pt x="154" y="681"/>
                  </a:cubicBezTo>
                  <a:cubicBezTo>
                    <a:pt x="159" y="694"/>
                    <a:pt x="166" y="679"/>
                    <a:pt x="173" y="688"/>
                  </a:cubicBezTo>
                  <a:close/>
                  <a:moveTo>
                    <a:pt x="173" y="648"/>
                  </a:moveTo>
                  <a:cubicBezTo>
                    <a:pt x="170" y="648"/>
                    <a:pt x="172" y="643"/>
                    <a:pt x="170" y="640"/>
                  </a:cubicBezTo>
                  <a:cubicBezTo>
                    <a:pt x="168" y="633"/>
                    <a:pt x="164" y="631"/>
                    <a:pt x="168" y="625"/>
                  </a:cubicBezTo>
                  <a:cubicBezTo>
                    <a:pt x="175" y="630"/>
                    <a:pt x="176" y="637"/>
                    <a:pt x="173" y="648"/>
                  </a:cubicBezTo>
                  <a:close/>
                  <a:moveTo>
                    <a:pt x="189" y="577"/>
                  </a:moveTo>
                  <a:cubicBezTo>
                    <a:pt x="185" y="575"/>
                    <a:pt x="183" y="572"/>
                    <a:pt x="179" y="570"/>
                  </a:cubicBezTo>
                  <a:cubicBezTo>
                    <a:pt x="173" y="587"/>
                    <a:pt x="189" y="575"/>
                    <a:pt x="187" y="588"/>
                  </a:cubicBezTo>
                  <a:cubicBezTo>
                    <a:pt x="182" y="592"/>
                    <a:pt x="178" y="577"/>
                    <a:pt x="176" y="588"/>
                  </a:cubicBezTo>
                  <a:cubicBezTo>
                    <a:pt x="169" y="584"/>
                    <a:pt x="176" y="569"/>
                    <a:pt x="176" y="562"/>
                  </a:cubicBezTo>
                  <a:cubicBezTo>
                    <a:pt x="176" y="556"/>
                    <a:pt x="174" y="550"/>
                    <a:pt x="170" y="548"/>
                  </a:cubicBezTo>
                  <a:cubicBezTo>
                    <a:pt x="163" y="553"/>
                    <a:pt x="173" y="552"/>
                    <a:pt x="173" y="562"/>
                  </a:cubicBezTo>
                  <a:cubicBezTo>
                    <a:pt x="173" y="563"/>
                    <a:pt x="168" y="562"/>
                    <a:pt x="168" y="562"/>
                  </a:cubicBezTo>
                  <a:cubicBezTo>
                    <a:pt x="166" y="567"/>
                    <a:pt x="171" y="583"/>
                    <a:pt x="168" y="588"/>
                  </a:cubicBezTo>
                  <a:cubicBezTo>
                    <a:pt x="166" y="588"/>
                    <a:pt x="165" y="585"/>
                    <a:pt x="163" y="585"/>
                  </a:cubicBezTo>
                  <a:cubicBezTo>
                    <a:pt x="164" y="596"/>
                    <a:pt x="159" y="599"/>
                    <a:pt x="157" y="607"/>
                  </a:cubicBezTo>
                  <a:cubicBezTo>
                    <a:pt x="160" y="617"/>
                    <a:pt x="182" y="602"/>
                    <a:pt x="179" y="622"/>
                  </a:cubicBezTo>
                  <a:cubicBezTo>
                    <a:pt x="164" y="624"/>
                    <a:pt x="163" y="609"/>
                    <a:pt x="149" y="611"/>
                  </a:cubicBezTo>
                  <a:cubicBezTo>
                    <a:pt x="143" y="611"/>
                    <a:pt x="143" y="620"/>
                    <a:pt x="144" y="629"/>
                  </a:cubicBezTo>
                  <a:cubicBezTo>
                    <a:pt x="138" y="629"/>
                    <a:pt x="140" y="619"/>
                    <a:pt x="133" y="622"/>
                  </a:cubicBezTo>
                  <a:cubicBezTo>
                    <a:pt x="133" y="616"/>
                    <a:pt x="134" y="608"/>
                    <a:pt x="130" y="607"/>
                  </a:cubicBezTo>
                  <a:cubicBezTo>
                    <a:pt x="131" y="601"/>
                    <a:pt x="138" y="606"/>
                    <a:pt x="138" y="599"/>
                  </a:cubicBezTo>
                  <a:cubicBezTo>
                    <a:pt x="137" y="584"/>
                    <a:pt x="128" y="591"/>
                    <a:pt x="119" y="592"/>
                  </a:cubicBezTo>
                  <a:cubicBezTo>
                    <a:pt x="120" y="569"/>
                    <a:pt x="146" y="603"/>
                    <a:pt x="141" y="577"/>
                  </a:cubicBezTo>
                  <a:cubicBezTo>
                    <a:pt x="146" y="578"/>
                    <a:pt x="147" y="584"/>
                    <a:pt x="146" y="592"/>
                  </a:cubicBezTo>
                  <a:cubicBezTo>
                    <a:pt x="150" y="592"/>
                    <a:pt x="153" y="592"/>
                    <a:pt x="157" y="592"/>
                  </a:cubicBezTo>
                  <a:cubicBezTo>
                    <a:pt x="159" y="579"/>
                    <a:pt x="147" y="586"/>
                    <a:pt x="146" y="577"/>
                  </a:cubicBezTo>
                  <a:cubicBezTo>
                    <a:pt x="145" y="566"/>
                    <a:pt x="155" y="570"/>
                    <a:pt x="160" y="566"/>
                  </a:cubicBezTo>
                  <a:cubicBezTo>
                    <a:pt x="160" y="570"/>
                    <a:pt x="160" y="574"/>
                    <a:pt x="160" y="577"/>
                  </a:cubicBezTo>
                  <a:cubicBezTo>
                    <a:pt x="163" y="577"/>
                    <a:pt x="162" y="573"/>
                    <a:pt x="163" y="570"/>
                  </a:cubicBezTo>
                  <a:cubicBezTo>
                    <a:pt x="164" y="566"/>
                    <a:pt x="164" y="563"/>
                    <a:pt x="165" y="551"/>
                  </a:cubicBezTo>
                  <a:cubicBezTo>
                    <a:pt x="165" y="550"/>
                    <a:pt x="165" y="545"/>
                    <a:pt x="165" y="544"/>
                  </a:cubicBezTo>
                  <a:cubicBezTo>
                    <a:pt x="170" y="539"/>
                    <a:pt x="162" y="533"/>
                    <a:pt x="168" y="525"/>
                  </a:cubicBezTo>
                  <a:cubicBezTo>
                    <a:pt x="169" y="516"/>
                    <a:pt x="153" y="529"/>
                    <a:pt x="157" y="514"/>
                  </a:cubicBezTo>
                  <a:cubicBezTo>
                    <a:pt x="152" y="514"/>
                    <a:pt x="151" y="519"/>
                    <a:pt x="146" y="518"/>
                  </a:cubicBezTo>
                  <a:cubicBezTo>
                    <a:pt x="144" y="510"/>
                    <a:pt x="141" y="504"/>
                    <a:pt x="141" y="492"/>
                  </a:cubicBezTo>
                  <a:cubicBezTo>
                    <a:pt x="143" y="495"/>
                    <a:pt x="145" y="499"/>
                    <a:pt x="146" y="503"/>
                  </a:cubicBezTo>
                  <a:cubicBezTo>
                    <a:pt x="157" y="503"/>
                    <a:pt x="143" y="482"/>
                    <a:pt x="154" y="492"/>
                  </a:cubicBezTo>
                  <a:cubicBezTo>
                    <a:pt x="155" y="482"/>
                    <a:pt x="148" y="482"/>
                    <a:pt x="141" y="481"/>
                  </a:cubicBezTo>
                  <a:cubicBezTo>
                    <a:pt x="136" y="456"/>
                    <a:pt x="158" y="468"/>
                    <a:pt x="157" y="448"/>
                  </a:cubicBezTo>
                  <a:cubicBezTo>
                    <a:pt x="162" y="447"/>
                    <a:pt x="163" y="452"/>
                    <a:pt x="168" y="452"/>
                  </a:cubicBezTo>
                  <a:cubicBezTo>
                    <a:pt x="175" y="453"/>
                    <a:pt x="166" y="431"/>
                    <a:pt x="173" y="433"/>
                  </a:cubicBezTo>
                  <a:cubicBezTo>
                    <a:pt x="186" y="433"/>
                    <a:pt x="171" y="442"/>
                    <a:pt x="179" y="444"/>
                  </a:cubicBezTo>
                  <a:cubicBezTo>
                    <a:pt x="180" y="445"/>
                    <a:pt x="183" y="443"/>
                    <a:pt x="184" y="444"/>
                  </a:cubicBezTo>
                  <a:cubicBezTo>
                    <a:pt x="189" y="449"/>
                    <a:pt x="186" y="458"/>
                    <a:pt x="192" y="463"/>
                  </a:cubicBezTo>
                  <a:cubicBezTo>
                    <a:pt x="185" y="475"/>
                    <a:pt x="186" y="447"/>
                    <a:pt x="179" y="448"/>
                  </a:cubicBezTo>
                  <a:cubicBezTo>
                    <a:pt x="176" y="448"/>
                    <a:pt x="177" y="452"/>
                    <a:pt x="176" y="455"/>
                  </a:cubicBezTo>
                  <a:cubicBezTo>
                    <a:pt x="170" y="455"/>
                    <a:pt x="165" y="455"/>
                    <a:pt x="160" y="455"/>
                  </a:cubicBezTo>
                  <a:cubicBezTo>
                    <a:pt x="157" y="458"/>
                    <a:pt x="157" y="464"/>
                    <a:pt x="152" y="463"/>
                  </a:cubicBezTo>
                  <a:cubicBezTo>
                    <a:pt x="157" y="470"/>
                    <a:pt x="157" y="466"/>
                    <a:pt x="154" y="477"/>
                  </a:cubicBezTo>
                  <a:cubicBezTo>
                    <a:pt x="161" y="477"/>
                    <a:pt x="159" y="464"/>
                    <a:pt x="163" y="459"/>
                  </a:cubicBezTo>
                  <a:cubicBezTo>
                    <a:pt x="168" y="452"/>
                    <a:pt x="171" y="466"/>
                    <a:pt x="173" y="466"/>
                  </a:cubicBezTo>
                  <a:cubicBezTo>
                    <a:pt x="177" y="467"/>
                    <a:pt x="179" y="455"/>
                    <a:pt x="184" y="463"/>
                  </a:cubicBezTo>
                  <a:cubicBezTo>
                    <a:pt x="186" y="474"/>
                    <a:pt x="181" y="476"/>
                    <a:pt x="181" y="485"/>
                  </a:cubicBezTo>
                  <a:cubicBezTo>
                    <a:pt x="188" y="482"/>
                    <a:pt x="201" y="475"/>
                    <a:pt x="200" y="492"/>
                  </a:cubicBezTo>
                  <a:cubicBezTo>
                    <a:pt x="188" y="487"/>
                    <a:pt x="193" y="505"/>
                    <a:pt x="184" y="503"/>
                  </a:cubicBezTo>
                  <a:cubicBezTo>
                    <a:pt x="184" y="500"/>
                    <a:pt x="184" y="496"/>
                    <a:pt x="184" y="492"/>
                  </a:cubicBezTo>
                  <a:cubicBezTo>
                    <a:pt x="180" y="493"/>
                    <a:pt x="183" y="503"/>
                    <a:pt x="179" y="503"/>
                  </a:cubicBezTo>
                  <a:cubicBezTo>
                    <a:pt x="179" y="514"/>
                    <a:pt x="191" y="508"/>
                    <a:pt x="195" y="514"/>
                  </a:cubicBezTo>
                  <a:cubicBezTo>
                    <a:pt x="194" y="519"/>
                    <a:pt x="190" y="518"/>
                    <a:pt x="187" y="518"/>
                  </a:cubicBezTo>
                  <a:cubicBezTo>
                    <a:pt x="187" y="525"/>
                    <a:pt x="187" y="533"/>
                    <a:pt x="187" y="540"/>
                  </a:cubicBezTo>
                  <a:cubicBezTo>
                    <a:pt x="174" y="544"/>
                    <a:pt x="191" y="528"/>
                    <a:pt x="181" y="525"/>
                  </a:cubicBezTo>
                  <a:cubicBezTo>
                    <a:pt x="177" y="529"/>
                    <a:pt x="178" y="541"/>
                    <a:pt x="176" y="548"/>
                  </a:cubicBezTo>
                  <a:cubicBezTo>
                    <a:pt x="174" y="558"/>
                    <a:pt x="181" y="555"/>
                    <a:pt x="181" y="562"/>
                  </a:cubicBezTo>
                  <a:cubicBezTo>
                    <a:pt x="180" y="572"/>
                    <a:pt x="192" y="565"/>
                    <a:pt x="189" y="577"/>
                  </a:cubicBezTo>
                  <a:close/>
                  <a:moveTo>
                    <a:pt x="168" y="607"/>
                  </a:moveTo>
                  <a:cubicBezTo>
                    <a:pt x="160" y="604"/>
                    <a:pt x="165" y="601"/>
                    <a:pt x="165" y="592"/>
                  </a:cubicBezTo>
                  <a:cubicBezTo>
                    <a:pt x="168" y="593"/>
                    <a:pt x="167" y="599"/>
                    <a:pt x="170" y="599"/>
                  </a:cubicBezTo>
                  <a:cubicBezTo>
                    <a:pt x="176" y="599"/>
                    <a:pt x="168" y="604"/>
                    <a:pt x="168" y="607"/>
                  </a:cubicBezTo>
                  <a:close/>
                  <a:moveTo>
                    <a:pt x="149" y="525"/>
                  </a:moveTo>
                  <a:cubicBezTo>
                    <a:pt x="152" y="525"/>
                    <a:pt x="154" y="525"/>
                    <a:pt x="157" y="525"/>
                  </a:cubicBezTo>
                  <a:cubicBezTo>
                    <a:pt x="162" y="532"/>
                    <a:pt x="159" y="547"/>
                    <a:pt x="160" y="559"/>
                  </a:cubicBezTo>
                  <a:cubicBezTo>
                    <a:pt x="151" y="556"/>
                    <a:pt x="148" y="551"/>
                    <a:pt x="152" y="566"/>
                  </a:cubicBezTo>
                  <a:cubicBezTo>
                    <a:pt x="137" y="563"/>
                    <a:pt x="147" y="547"/>
                    <a:pt x="149" y="537"/>
                  </a:cubicBezTo>
                  <a:cubicBezTo>
                    <a:pt x="150" y="533"/>
                    <a:pt x="145" y="530"/>
                    <a:pt x="149" y="525"/>
                  </a:cubicBezTo>
                  <a:close/>
                  <a:moveTo>
                    <a:pt x="189" y="566"/>
                  </a:moveTo>
                  <a:cubicBezTo>
                    <a:pt x="185" y="563"/>
                    <a:pt x="181" y="561"/>
                    <a:pt x="181" y="551"/>
                  </a:cubicBezTo>
                  <a:cubicBezTo>
                    <a:pt x="183" y="554"/>
                    <a:pt x="189" y="557"/>
                    <a:pt x="189" y="551"/>
                  </a:cubicBezTo>
                  <a:cubicBezTo>
                    <a:pt x="196" y="552"/>
                    <a:pt x="190" y="564"/>
                    <a:pt x="189" y="566"/>
                  </a:cubicBezTo>
                  <a:close/>
                  <a:moveTo>
                    <a:pt x="195" y="548"/>
                  </a:moveTo>
                  <a:cubicBezTo>
                    <a:pt x="187" y="544"/>
                    <a:pt x="198" y="536"/>
                    <a:pt x="195" y="525"/>
                  </a:cubicBezTo>
                  <a:cubicBezTo>
                    <a:pt x="201" y="533"/>
                    <a:pt x="200" y="541"/>
                    <a:pt x="195" y="548"/>
                  </a:cubicBezTo>
                  <a:close/>
                  <a:moveTo>
                    <a:pt x="205" y="525"/>
                  </a:moveTo>
                  <a:cubicBezTo>
                    <a:pt x="202" y="525"/>
                    <a:pt x="205" y="514"/>
                    <a:pt x="200" y="514"/>
                  </a:cubicBezTo>
                  <a:cubicBezTo>
                    <a:pt x="200" y="511"/>
                    <a:pt x="201" y="511"/>
                    <a:pt x="203" y="511"/>
                  </a:cubicBezTo>
                  <a:cubicBezTo>
                    <a:pt x="205" y="511"/>
                    <a:pt x="206" y="511"/>
                    <a:pt x="208" y="511"/>
                  </a:cubicBezTo>
                  <a:cubicBezTo>
                    <a:pt x="208" y="517"/>
                    <a:pt x="205" y="519"/>
                    <a:pt x="205" y="525"/>
                  </a:cubicBezTo>
                  <a:close/>
                  <a:moveTo>
                    <a:pt x="208" y="285"/>
                  </a:moveTo>
                  <a:cubicBezTo>
                    <a:pt x="201" y="280"/>
                    <a:pt x="216" y="258"/>
                    <a:pt x="208" y="285"/>
                  </a:cubicBezTo>
                  <a:close/>
                  <a:moveTo>
                    <a:pt x="458" y="803"/>
                  </a:moveTo>
                  <a:cubicBezTo>
                    <a:pt x="458" y="809"/>
                    <a:pt x="442" y="796"/>
                    <a:pt x="445" y="814"/>
                  </a:cubicBezTo>
                  <a:cubicBezTo>
                    <a:pt x="440" y="822"/>
                    <a:pt x="445" y="790"/>
                    <a:pt x="447" y="784"/>
                  </a:cubicBezTo>
                  <a:cubicBezTo>
                    <a:pt x="456" y="788"/>
                    <a:pt x="447" y="799"/>
                    <a:pt x="458" y="803"/>
                  </a:cubicBezTo>
                  <a:close/>
                  <a:moveTo>
                    <a:pt x="453" y="655"/>
                  </a:moveTo>
                  <a:cubicBezTo>
                    <a:pt x="457" y="642"/>
                    <a:pt x="458" y="662"/>
                    <a:pt x="456" y="662"/>
                  </a:cubicBezTo>
                  <a:cubicBezTo>
                    <a:pt x="454" y="663"/>
                    <a:pt x="452" y="657"/>
                    <a:pt x="453" y="655"/>
                  </a:cubicBezTo>
                  <a:close/>
                  <a:moveTo>
                    <a:pt x="447" y="648"/>
                  </a:moveTo>
                  <a:cubicBezTo>
                    <a:pt x="455" y="651"/>
                    <a:pt x="446" y="659"/>
                    <a:pt x="447" y="666"/>
                  </a:cubicBezTo>
                  <a:cubicBezTo>
                    <a:pt x="448" y="670"/>
                    <a:pt x="451" y="669"/>
                    <a:pt x="453" y="670"/>
                  </a:cubicBezTo>
                  <a:cubicBezTo>
                    <a:pt x="452" y="679"/>
                    <a:pt x="444" y="671"/>
                    <a:pt x="442" y="670"/>
                  </a:cubicBezTo>
                  <a:cubicBezTo>
                    <a:pt x="439" y="670"/>
                    <a:pt x="440" y="674"/>
                    <a:pt x="439" y="677"/>
                  </a:cubicBezTo>
                  <a:cubicBezTo>
                    <a:pt x="435" y="677"/>
                    <a:pt x="430" y="677"/>
                    <a:pt x="426" y="677"/>
                  </a:cubicBezTo>
                  <a:cubicBezTo>
                    <a:pt x="427" y="671"/>
                    <a:pt x="434" y="674"/>
                    <a:pt x="431" y="662"/>
                  </a:cubicBezTo>
                  <a:cubicBezTo>
                    <a:pt x="434" y="665"/>
                    <a:pt x="437" y="666"/>
                    <a:pt x="442" y="666"/>
                  </a:cubicBezTo>
                  <a:cubicBezTo>
                    <a:pt x="448" y="665"/>
                    <a:pt x="443" y="650"/>
                    <a:pt x="447" y="648"/>
                  </a:cubicBezTo>
                  <a:close/>
                  <a:moveTo>
                    <a:pt x="423" y="799"/>
                  </a:moveTo>
                  <a:cubicBezTo>
                    <a:pt x="418" y="798"/>
                    <a:pt x="410" y="807"/>
                    <a:pt x="410" y="792"/>
                  </a:cubicBezTo>
                  <a:cubicBezTo>
                    <a:pt x="404" y="793"/>
                    <a:pt x="401" y="791"/>
                    <a:pt x="402" y="784"/>
                  </a:cubicBezTo>
                  <a:cubicBezTo>
                    <a:pt x="399" y="784"/>
                    <a:pt x="400" y="789"/>
                    <a:pt x="399" y="792"/>
                  </a:cubicBezTo>
                  <a:cubicBezTo>
                    <a:pt x="392" y="787"/>
                    <a:pt x="399" y="772"/>
                    <a:pt x="407" y="777"/>
                  </a:cubicBezTo>
                  <a:cubicBezTo>
                    <a:pt x="407" y="782"/>
                    <a:pt x="407" y="787"/>
                    <a:pt x="410" y="788"/>
                  </a:cubicBezTo>
                  <a:cubicBezTo>
                    <a:pt x="416" y="783"/>
                    <a:pt x="408" y="780"/>
                    <a:pt x="412" y="773"/>
                  </a:cubicBezTo>
                  <a:cubicBezTo>
                    <a:pt x="415" y="770"/>
                    <a:pt x="407" y="761"/>
                    <a:pt x="410" y="751"/>
                  </a:cubicBezTo>
                  <a:cubicBezTo>
                    <a:pt x="412" y="750"/>
                    <a:pt x="412" y="753"/>
                    <a:pt x="412" y="755"/>
                  </a:cubicBezTo>
                  <a:cubicBezTo>
                    <a:pt x="413" y="759"/>
                    <a:pt x="415" y="757"/>
                    <a:pt x="415" y="755"/>
                  </a:cubicBezTo>
                  <a:cubicBezTo>
                    <a:pt x="419" y="756"/>
                    <a:pt x="417" y="764"/>
                    <a:pt x="418" y="770"/>
                  </a:cubicBezTo>
                  <a:cubicBezTo>
                    <a:pt x="419" y="774"/>
                    <a:pt x="427" y="776"/>
                    <a:pt x="423" y="784"/>
                  </a:cubicBezTo>
                  <a:cubicBezTo>
                    <a:pt x="432" y="783"/>
                    <a:pt x="435" y="781"/>
                    <a:pt x="442" y="784"/>
                  </a:cubicBezTo>
                  <a:cubicBezTo>
                    <a:pt x="439" y="789"/>
                    <a:pt x="439" y="798"/>
                    <a:pt x="437" y="803"/>
                  </a:cubicBezTo>
                  <a:cubicBezTo>
                    <a:pt x="434" y="801"/>
                    <a:pt x="425" y="806"/>
                    <a:pt x="423" y="803"/>
                  </a:cubicBezTo>
                  <a:cubicBezTo>
                    <a:pt x="423" y="803"/>
                    <a:pt x="423" y="799"/>
                    <a:pt x="423" y="799"/>
                  </a:cubicBezTo>
                  <a:close/>
                  <a:moveTo>
                    <a:pt x="388" y="792"/>
                  </a:moveTo>
                  <a:cubicBezTo>
                    <a:pt x="385" y="790"/>
                    <a:pt x="384" y="785"/>
                    <a:pt x="380" y="784"/>
                  </a:cubicBezTo>
                  <a:cubicBezTo>
                    <a:pt x="378" y="787"/>
                    <a:pt x="378" y="793"/>
                    <a:pt x="372" y="792"/>
                  </a:cubicBezTo>
                  <a:cubicBezTo>
                    <a:pt x="376" y="787"/>
                    <a:pt x="377" y="770"/>
                    <a:pt x="370" y="770"/>
                  </a:cubicBezTo>
                  <a:cubicBezTo>
                    <a:pt x="367" y="773"/>
                    <a:pt x="364" y="777"/>
                    <a:pt x="361" y="781"/>
                  </a:cubicBezTo>
                  <a:cubicBezTo>
                    <a:pt x="356" y="779"/>
                    <a:pt x="356" y="775"/>
                    <a:pt x="359" y="770"/>
                  </a:cubicBezTo>
                  <a:cubicBezTo>
                    <a:pt x="351" y="769"/>
                    <a:pt x="353" y="776"/>
                    <a:pt x="348" y="770"/>
                  </a:cubicBezTo>
                  <a:cubicBezTo>
                    <a:pt x="349" y="765"/>
                    <a:pt x="353" y="764"/>
                    <a:pt x="353" y="759"/>
                  </a:cubicBezTo>
                  <a:cubicBezTo>
                    <a:pt x="357" y="764"/>
                    <a:pt x="359" y="770"/>
                    <a:pt x="359" y="755"/>
                  </a:cubicBezTo>
                  <a:cubicBezTo>
                    <a:pt x="367" y="752"/>
                    <a:pt x="362" y="767"/>
                    <a:pt x="370" y="766"/>
                  </a:cubicBezTo>
                  <a:cubicBezTo>
                    <a:pt x="373" y="765"/>
                    <a:pt x="373" y="755"/>
                    <a:pt x="370" y="755"/>
                  </a:cubicBezTo>
                  <a:cubicBezTo>
                    <a:pt x="373" y="750"/>
                    <a:pt x="373" y="742"/>
                    <a:pt x="372" y="733"/>
                  </a:cubicBezTo>
                  <a:cubicBezTo>
                    <a:pt x="383" y="730"/>
                    <a:pt x="373" y="757"/>
                    <a:pt x="386" y="751"/>
                  </a:cubicBezTo>
                  <a:cubicBezTo>
                    <a:pt x="383" y="755"/>
                    <a:pt x="385" y="765"/>
                    <a:pt x="378" y="762"/>
                  </a:cubicBezTo>
                  <a:cubicBezTo>
                    <a:pt x="384" y="771"/>
                    <a:pt x="380" y="772"/>
                    <a:pt x="383" y="781"/>
                  </a:cubicBezTo>
                  <a:cubicBezTo>
                    <a:pt x="386" y="778"/>
                    <a:pt x="386" y="772"/>
                    <a:pt x="391" y="773"/>
                  </a:cubicBezTo>
                  <a:cubicBezTo>
                    <a:pt x="398" y="782"/>
                    <a:pt x="387" y="780"/>
                    <a:pt x="388" y="792"/>
                  </a:cubicBezTo>
                  <a:close/>
                  <a:moveTo>
                    <a:pt x="345" y="740"/>
                  </a:moveTo>
                  <a:cubicBezTo>
                    <a:pt x="346" y="740"/>
                    <a:pt x="344" y="746"/>
                    <a:pt x="343" y="744"/>
                  </a:cubicBezTo>
                  <a:cubicBezTo>
                    <a:pt x="340" y="739"/>
                    <a:pt x="339" y="743"/>
                    <a:pt x="335" y="740"/>
                  </a:cubicBezTo>
                  <a:cubicBezTo>
                    <a:pt x="334" y="740"/>
                    <a:pt x="335" y="734"/>
                    <a:pt x="335" y="733"/>
                  </a:cubicBezTo>
                  <a:cubicBezTo>
                    <a:pt x="332" y="727"/>
                    <a:pt x="326" y="732"/>
                    <a:pt x="321" y="733"/>
                  </a:cubicBezTo>
                  <a:cubicBezTo>
                    <a:pt x="321" y="723"/>
                    <a:pt x="316" y="721"/>
                    <a:pt x="321" y="714"/>
                  </a:cubicBezTo>
                  <a:cubicBezTo>
                    <a:pt x="325" y="713"/>
                    <a:pt x="322" y="723"/>
                    <a:pt x="324" y="725"/>
                  </a:cubicBezTo>
                  <a:cubicBezTo>
                    <a:pt x="327" y="729"/>
                    <a:pt x="331" y="718"/>
                    <a:pt x="335" y="721"/>
                  </a:cubicBezTo>
                  <a:cubicBezTo>
                    <a:pt x="335" y="725"/>
                    <a:pt x="335" y="729"/>
                    <a:pt x="335" y="733"/>
                  </a:cubicBezTo>
                  <a:cubicBezTo>
                    <a:pt x="341" y="731"/>
                    <a:pt x="345" y="727"/>
                    <a:pt x="353" y="729"/>
                  </a:cubicBezTo>
                  <a:cubicBezTo>
                    <a:pt x="353" y="725"/>
                    <a:pt x="348" y="726"/>
                    <a:pt x="345" y="725"/>
                  </a:cubicBezTo>
                  <a:cubicBezTo>
                    <a:pt x="349" y="720"/>
                    <a:pt x="356" y="720"/>
                    <a:pt x="356" y="710"/>
                  </a:cubicBezTo>
                  <a:cubicBezTo>
                    <a:pt x="360" y="711"/>
                    <a:pt x="357" y="721"/>
                    <a:pt x="361" y="721"/>
                  </a:cubicBezTo>
                  <a:cubicBezTo>
                    <a:pt x="356" y="729"/>
                    <a:pt x="357" y="723"/>
                    <a:pt x="359" y="736"/>
                  </a:cubicBezTo>
                  <a:cubicBezTo>
                    <a:pt x="359" y="741"/>
                    <a:pt x="358" y="746"/>
                    <a:pt x="359" y="751"/>
                  </a:cubicBezTo>
                  <a:cubicBezTo>
                    <a:pt x="356" y="751"/>
                    <a:pt x="354" y="752"/>
                    <a:pt x="353" y="755"/>
                  </a:cubicBezTo>
                  <a:cubicBezTo>
                    <a:pt x="346" y="754"/>
                    <a:pt x="357" y="748"/>
                    <a:pt x="353" y="740"/>
                  </a:cubicBezTo>
                  <a:cubicBezTo>
                    <a:pt x="358" y="727"/>
                    <a:pt x="336" y="740"/>
                    <a:pt x="345" y="740"/>
                  </a:cubicBezTo>
                  <a:close/>
                  <a:moveTo>
                    <a:pt x="332" y="747"/>
                  </a:moveTo>
                  <a:cubicBezTo>
                    <a:pt x="337" y="748"/>
                    <a:pt x="345" y="744"/>
                    <a:pt x="343" y="755"/>
                  </a:cubicBezTo>
                  <a:cubicBezTo>
                    <a:pt x="340" y="755"/>
                    <a:pt x="340" y="753"/>
                    <a:pt x="340" y="751"/>
                  </a:cubicBezTo>
                  <a:cubicBezTo>
                    <a:pt x="337" y="751"/>
                    <a:pt x="338" y="756"/>
                    <a:pt x="337" y="759"/>
                  </a:cubicBezTo>
                  <a:cubicBezTo>
                    <a:pt x="335" y="758"/>
                    <a:pt x="335" y="755"/>
                    <a:pt x="332" y="755"/>
                  </a:cubicBezTo>
                  <a:cubicBezTo>
                    <a:pt x="332" y="752"/>
                    <a:pt x="332" y="750"/>
                    <a:pt x="332" y="747"/>
                  </a:cubicBezTo>
                  <a:close/>
                  <a:moveTo>
                    <a:pt x="326" y="744"/>
                  </a:moveTo>
                  <a:cubicBezTo>
                    <a:pt x="326" y="741"/>
                    <a:pt x="326" y="739"/>
                    <a:pt x="326" y="736"/>
                  </a:cubicBezTo>
                  <a:cubicBezTo>
                    <a:pt x="328" y="736"/>
                    <a:pt x="330" y="736"/>
                    <a:pt x="332" y="736"/>
                  </a:cubicBezTo>
                  <a:cubicBezTo>
                    <a:pt x="332" y="739"/>
                    <a:pt x="332" y="741"/>
                    <a:pt x="332" y="744"/>
                  </a:cubicBezTo>
                  <a:cubicBezTo>
                    <a:pt x="330" y="744"/>
                    <a:pt x="328" y="744"/>
                    <a:pt x="326" y="744"/>
                  </a:cubicBezTo>
                  <a:close/>
                  <a:moveTo>
                    <a:pt x="297" y="607"/>
                  </a:moveTo>
                  <a:cubicBezTo>
                    <a:pt x="296" y="598"/>
                    <a:pt x="309" y="609"/>
                    <a:pt x="305" y="596"/>
                  </a:cubicBezTo>
                  <a:cubicBezTo>
                    <a:pt x="309" y="598"/>
                    <a:pt x="312" y="601"/>
                    <a:pt x="316" y="603"/>
                  </a:cubicBezTo>
                  <a:cubicBezTo>
                    <a:pt x="317" y="607"/>
                    <a:pt x="311" y="605"/>
                    <a:pt x="310" y="607"/>
                  </a:cubicBezTo>
                  <a:cubicBezTo>
                    <a:pt x="310" y="609"/>
                    <a:pt x="314" y="613"/>
                    <a:pt x="313" y="618"/>
                  </a:cubicBezTo>
                  <a:cubicBezTo>
                    <a:pt x="313" y="619"/>
                    <a:pt x="310" y="618"/>
                    <a:pt x="310" y="622"/>
                  </a:cubicBezTo>
                  <a:cubicBezTo>
                    <a:pt x="310" y="635"/>
                    <a:pt x="315" y="658"/>
                    <a:pt x="302" y="655"/>
                  </a:cubicBezTo>
                  <a:cubicBezTo>
                    <a:pt x="303" y="651"/>
                    <a:pt x="308" y="652"/>
                    <a:pt x="308" y="648"/>
                  </a:cubicBezTo>
                  <a:cubicBezTo>
                    <a:pt x="306" y="644"/>
                    <a:pt x="301" y="644"/>
                    <a:pt x="302" y="636"/>
                  </a:cubicBezTo>
                  <a:cubicBezTo>
                    <a:pt x="302" y="635"/>
                    <a:pt x="305" y="631"/>
                    <a:pt x="305" y="633"/>
                  </a:cubicBezTo>
                  <a:cubicBezTo>
                    <a:pt x="305" y="625"/>
                    <a:pt x="296" y="624"/>
                    <a:pt x="300" y="614"/>
                  </a:cubicBezTo>
                  <a:cubicBezTo>
                    <a:pt x="302" y="617"/>
                    <a:pt x="304" y="621"/>
                    <a:pt x="305" y="625"/>
                  </a:cubicBezTo>
                  <a:cubicBezTo>
                    <a:pt x="313" y="619"/>
                    <a:pt x="305" y="604"/>
                    <a:pt x="297" y="607"/>
                  </a:cubicBezTo>
                  <a:close/>
                  <a:moveTo>
                    <a:pt x="289" y="562"/>
                  </a:moveTo>
                  <a:cubicBezTo>
                    <a:pt x="284" y="562"/>
                    <a:pt x="283" y="567"/>
                    <a:pt x="278" y="566"/>
                  </a:cubicBezTo>
                  <a:cubicBezTo>
                    <a:pt x="276" y="558"/>
                    <a:pt x="286" y="554"/>
                    <a:pt x="275" y="555"/>
                  </a:cubicBezTo>
                  <a:cubicBezTo>
                    <a:pt x="279" y="541"/>
                    <a:pt x="293" y="558"/>
                    <a:pt x="286" y="537"/>
                  </a:cubicBezTo>
                  <a:cubicBezTo>
                    <a:pt x="281" y="542"/>
                    <a:pt x="280" y="540"/>
                    <a:pt x="281" y="529"/>
                  </a:cubicBezTo>
                  <a:cubicBezTo>
                    <a:pt x="276" y="529"/>
                    <a:pt x="272" y="529"/>
                    <a:pt x="267" y="529"/>
                  </a:cubicBezTo>
                  <a:cubicBezTo>
                    <a:pt x="268" y="518"/>
                    <a:pt x="277" y="524"/>
                    <a:pt x="281" y="529"/>
                  </a:cubicBezTo>
                  <a:cubicBezTo>
                    <a:pt x="287" y="528"/>
                    <a:pt x="291" y="523"/>
                    <a:pt x="300" y="525"/>
                  </a:cubicBezTo>
                  <a:cubicBezTo>
                    <a:pt x="300" y="531"/>
                    <a:pt x="284" y="531"/>
                    <a:pt x="297" y="533"/>
                  </a:cubicBezTo>
                  <a:cubicBezTo>
                    <a:pt x="291" y="548"/>
                    <a:pt x="294" y="552"/>
                    <a:pt x="292" y="570"/>
                  </a:cubicBezTo>
                  <a:cubicBezTo>
                    <a:pt x="296" y="571"/>
                    <a:pt x="297" y="567"/>
                    <a:pt x="297" y="562"/>
                  </a:cubicBezTo>
                  <a:cubicBezTo>
                    <a:pt x="300" y="562"/>
                    <a:pt x="302" y="563"/>
                    <a:pt x="302" y="566"/>
                  </a:cubicBezTo>
                  <a:cubicBezTo>
                    <a:pt x="308" y="565"/>
                    <a:pt x="303" y="550"/>
                    <a:pt x="308" y="548"/>
                  </a:cubicBezTo>
                  <a:cubicBezTo>
                    <a:pt x="313" y="548"/>
                    <a:pt x="308" y="559"/>
                    <a:pt x="310" y="562"/>
                  </a:cubicBezTo>
                  <a:cubicBezTo>
                    <a:pt x="311" y="565"/>
                    <a:pt x="313" y="560"/>
                    <a:pt x="313" y="559"/>
                  </a:cubicBezTo>
                  <a:cubicBezTo>
                    <a:pt x="313" y="558"/>
                    <a:pt x="318" y="560"/>
                    <a:pt x="316" y="562"/>
                  </a:cubicBezTo>
                  <a:cubicBezTo>
                    <a:pt x="311" y="567"/>
                    <a:pt x="319" y="566"/>
                    <a:pt x="313" y="585"/>
                  </a:cubicBezTo>
                  <a:cubicBezTo>
                    <a:pt x="316" y="582"/>
                    <a:pt x="316" y="576"/>
                    <a:pt x="321" y="577"/>
                  </a:cubicBezTo>
                  <a:cubicBezTo>
                    <a:pt x="321" y="583"/>
                    <a:pt x="321" y="590"/>
                    <a:pt x="321" y="596"/>
                  </a:cubicBezTo>
                  <a:cubicBezTo>
                    <a:pt x="318" y="596"/>
                    <a:pt x="319" y="591"/>
                    <a:pt x="318" y="588"/>
                  </a:cubicBezTo>
                  <a:cubicBezTo>
                    <a:pt x="315" y="588"/>
                    <a:pt x="314" y="589"/>
                    <a:pt x="313" y="592"/>
                  </a:cubicBezTo>
                  <a:cubicBezTo>
                    <a:pt x="311" y="588"/>
                    <a:pt x="301" y="577"/>
                    <a:pt x="300" y="585"/>
                  </a:cubicBezTo>
                  <a:cubicBezTo>
                    <a:pt x="291" y="581"/>
                    <a:pt x="303" y="577"/>
                    <a:pt x="302" y="574"/>
                  </a:cubicBezTo>
                  <a:cubicBezTo>
                    <a:pt x="300" y="568"/>
                    <a:pt x="281" y="577"/>
                    <a:pt x="289" y="562"/>
                  </a:cubicBezTo>
                  <a:close/>
                  <a:moveTo>
                    <a:pt x="292" y="625"/>
                  </a:moveTo>
                  <a:cubicBezTo>
                    <a:pt x="284" y="626"/>
                    <a:pt x="285" y="615"/>
                    <a:pt x="281" y="611"/>
                  </a:cubicBezTo>
                  <a:cubicBezTo>
                    <a:pt x="277" y="615"/>
                    <a:pt x="274" y="615"/>
                    <a:pt x="270" y="611"/>
                  </a:cubicBezTo>
                  <a:cubicBezTo>
                    <a:pt x="270" y="606"/>
                    <a:pt x="270" y="601"/>
                    <a:pt x="270" y="596"/>
                  </a:cubicBezTo>
                  <a:cubicBezTo>
                    <a:pt x="270" y="591"/>
                    <a:pt x="273" y="588"/>
                    <a:pt x="273" y="585"/>
                  </a:cubicBezTo>
                  <a:cubicBezTo>
                    <a:pt x="272" y="579"/>
                    <a:pt x="268" y="575"/>
                    <a:pt x="267" y="570"/>
                  </a:cubicBezTo>
                  <a:cubicBezTo>
                    <a:pt x="267" y="560"/>
                    <a:pt x="271" y="550"/>
                    <a:pt x="267" y="537"/>
                  </a:cubicBezTo>
                  <a:cubicBezTo>
                    <a:pt x="270" y="538"/>
                    <a:pt x="272" y="540"/>
                    <a:pt x="273" y="544"/>
                  </a:cubicBezTo>
                  <a:cubicBezTo>
                    <a:pt x="272" y="543"/>
                    <a:pt x="269" y="546"/>
                    <a:pt x="270" y="548"/>
                  </a:cubicBezTo>
                  <a:cubicBezTo>
                    <a:pt x="272" y="550"/>
                    <a:pt x="274" y="557"/>
                    <a:pt x="273" y="574"/>
                  </a:cubicBezTo>
                  <a:cubicBezTo>
                    <a:pt x="273" y="578"/>
                    <a:pt x="275" y="576"/>
                    <a:pt x="275" y="574"/>
                  </a:cubicBezTo>
                  <a:cubicBezTo>
                    <a:pt x="283" y="571"/>
                    <a:pt x="273" y="591"/>
                    <a:pt x="281" y="588"/>
                  </a:cubicBezTo>
                  <a:cubicBezTo>
                    <a:pt x="280" y="597"/>
                    <a:pt x="280" y="606"/>
                    <a:pt x="283" y="611"/>
                  </a:cubicBezTo>
                  <a:cubicBezTo>
                    <a:pt x="287" y="609"/>
                    <a:pt x="286" y="601"/>
                    <a:pt x="286" y="596"/>
                  </a:cubicBezTo>
                  <a:cubicBezTo>
                    <a:pt x="289" y="598"/>
                    <a:pt x="289" y="604"/>
                    <a:pt x="294" y="603"/>
                  </a:cubicBezTo>
                  <a:cubicBezTo>
                    <a:pt x="294" y="612"/>
                    <a:pt x="290" y="614"/>
                    <a:pt x="292" y="625"/>
                  </a:cubicBezTo>
                  <a:close/>
                  <a:moveTo>
                    <a:pt x="283" y="644"/>
                  </a:moveTo>
                  <a:cubicBezTo>
                    <a:pt x="283" y="648"/>
                    <a:pt x="278" y="646"/>
                    <a:pt x="278" y="651"/>
                  </a:cubicBezTo>
                  <a:cubicBezTo>
                    <a:pt x="275" y="651"/>
                    <a:pt x="277" y="648"/>
                    <a:pt x="278" y="648"/>
                  </a:cubicBezTo>
                  <a:cubicBezTo>
                    <a:pt x="274" y="637"/>
                    <a:pt x="276" y="643"/>
                    <a:pt x="283" y="644"/>
                  </a:cubicBezTo>
                  <a:close/>
                  <a:moveTo>
                    <a:pt x="270" y="618"/>
                  </a:moveTo>
                  <a:cubicBezTo>
                    <a:pt x="274" y="617"/>
                    <a:pt x="275" y="621"/>
                    <a:pt x="278" y="622"/>
                  </a:cubicBezTo>
                  <a:cubicBezTo>
                    <a:pt x="279" y="629"/>
                    <a:pt x="266" y="627"/>
                    <a:pt x="270" y="618"/>
                  </a:cubicBezTo>
                  <a:close/>
                  <a:moveTo>
                    <a:pt x="273" y="636"/>
                  </a:moveTo>
                  <a:cubicBezTo>
                    <a:pt x="273" y="635"/>
                    <a:pt x="270" y="648"/>
                    <a:pt x="270" y="648"/>
                  </a:cubicBezTo>
                  <a:cubicBezTo>
                    <a:pt x="268" y="650"/>
                    <a:pt x="269" y="635"/>
                    <a:pt x="267" y="629"/>
                  </a:cubicBezTo>
                  <a:cubicBezTo>
                    <a:pt x="272" y="628"/>
                    <a:pt x="273" y="632"/>
                    <a:pt x="273" y="636"/>
                  </a:cubicBezTo>
                  <a:close/>
                  <a:moveTo>
                    <a:pt x="232" y="470"/>
                  </a:moveTo>
                  <a:cubicBezTo>
                    <a:pt x="227" y="469"/>
                    <a:pt x="230" y="456"/>
                    <a:pt x="224" y="455"/>
                  </a:cubicBezTo>
                  <a:cubicBezTo>
                    <a:pt x="216" y="446"/>
                    <a:pt x="232" y="459"/>
                    <a:pt x="230" y="452"/>
                  </a:cubicBezTo>
                  <a:cubicBezTo>
                    <a:pt x="235" y="451"/>
                    <a:pt x="231" y="465"/>
                    <a:pt x="232" y="470"/>
                  </a:cubicBezTo>
                  <a:close/>
                  <a:moveTo>
                    <a:pt x="232" y="581"/>
                  </a:moveTo>
                  <a:cubicBezTo>
                    <a:pt x="228" y="578"/>
                    <a:pt x="229" y="569"/>
                    <a:pt x="227" y="562"/>
                  </a:cubicBezTo>
                  <a:cubicBezTo>
                    <a:pt x="233" y="563"/>
                    <a:pt x="233" y="572"/>
                    <a:pt x="232" y="581"/>
                  </a:cubicBezTo>
                  <a:close/>
                  <a:moveTo>
                    <a:pt x="214" y="751"/>
                  </a:moveTo>
                  <a:cubicBezTo>
                    <a:pt x="213" y="741"/>
                    <a:pt x="215" y="735"/>
                    <a:pt x="222" y="736"/>
                  </a:cubicBezTo>
                  <a:cubicBezTo>
                    <a:pt x="222" y="746"/>
                    <a:pt x="221" y="752"/>
                    <a:pt x="214" y="751"/>
                  </a:cubicBezTo>
                  <a:close/>
                  <a:moveTo>
                    <a:pt x="219" y="766"/>
                  </a:moveTo>
                  <a:cubicBezTo>
                    <a:pt x="218" y="767"/>
                    <a:pt x="216" y="757"/>
                    <a:pt x="214" y="759"/>
                  </a:cubicBezTo>
                  <a:cubicBezTo>
                    <a:pt x="218" y="746"/>
                    <a:pt x="221" y="763"/>
                    <a:pt x="219" y="766"/>
                  </a:cubicBezTo>
                  <a:close/>
                  <a:moveTo>
                    <a:pt x="224" y="537"/>
                  </a:moveTo>
                  <a:cubicBezTo>
                    <a:pt x="223" y="538"/>
                    <a:pt x="221" y="527"/>
                    <a:pt x="219" y="529"/>
                  </a:cubicBezTo>
                  <a:cubicBezTo>
                    <a:pt x="224" y="517"/>
                    <a:pt x="226" y="534"/>
                    <a:pt x="224" y="537"/>
                  </a:cubicBezTo>
                  <a:close/>
                  <a:moveTo>
                    <a:pt x="224" y="381"/>
                  </a:moveTo>
                  <a:cubicBezTo>
                    <a:pt x="224" y="378"/>
                    <a:pt x="224" y="374"/>
                    <a:pt x="224" y="370"/>
                  </a:cubicBezTo>
                  <a:cubicBezTo>
                    <a:pt x="232" y="365"/>
                    <a:pt x="232" y="387"/>
                    <a:pt x="224" y="381"/>
                  </a:cubicBezTo>
                  <a:close/>
                  <a:moveTo>
                    <a:pt x="230" y="392"/>
                  </a:moveTo>
                  <a:cubicBezTo>
                    <a:pt x="220" y="384"/>
                    <a:pt x="242" y="388"/>
                    <a:pt x="235" y="370"/>
                  </a:cubicBezTo>
                  <a:cubicBezTo>
                    <a:pt x="237" y="372"/>
                    <a:pt x="239" y="374"/>
                    <a:pt x="243" y="374"/>
                  </a:cubicBezTo>
                  <a:cubicBezTo>
                    <a:pt x="240" y="378"/>
                    <a:pt x="235" y="381"/>
                    <a:pt x="238" y="392"/>
                  </a:cubicBezTo>
                  <a:cubicBezTo>
                    <a:pt x="233" y="393"/>
                    <a:pt x="231" y="386"/>
                    <a:pt x="230" y="392"/>
                  </a:cubicBezTo>
                  <a:close/>
                  <a:moveTo>
                    <a:pt x="249" y="433"/>
                  </a:moveTo>
                  <a:cubicBezTo>
                    <a:pt x="248" y="437"/>
                    <a:pt x="245" y="436"/>
                    <a:pt x="243" y="437"/>
                  </a:cubicBezTo>
                  <a:cubicBezTo>
                    <a:pt x="240" y="432"/>
                    <a:pt x="242" y="431"/>
                    <a:pt x="243" y="426"/>
                  </a:cubicBezTo>
                  <a:cubicBezTo>
                    <a:pt x="246" y="427"/>
                    <a:pt x="245" y="433"/>
                    <a:pt x="249" y="433"/>
                  </a:cubicBezTo>
                  <a:close/>
                  <a:moveTo>
                    <a:pt x="235" y="477"/>
                  </a:moveTo>
                  <a:cubicBezTo>
                    <a:pt x="239" y="478"/>
                    <a:pt x="236" y="488"/>
                    <a:pt x="240" y="489"/>
                  </a:cubicBezTo>
                  <a:cubicBezTo>
                    <a:pt x="237" y="500"/>
                    <a:pt x="233" y="485"/>
                    <a:pt x="235" y="477"/>
                  </a:cubicBezTo>
                  <a:close/>
                  <a:moveTo>
                    <a:pt x="238" y="466"/>
                  </a:moveTo>
                  <a:cubicBezTo>
                    <a:pt x="238" y="456"/>
                    <a:pt x="252" y="459"/>
                    <a:pt x="251" y="470"/>
                  </a:cubicBezTo>
                  <a:cubicBezTo>
                    <a:pt x="246" y="462"/>
                    <a:pt x="243" y="473"/>
                    <a:pt x="238" y="466"/>
                  </a:cubicBezTo>
                  <a:close/>
                  <a:moveTo>
                    <a:pt x="254" y="533"/>
                  </a:moveTo>
                  <a:cubicBezTo>
                    <a:pt x="248" y="545"/>
                    <a:pt x="243" y="520"/>
                    <a:pt x="254" y="533"/>
                  </a:cubicBezTo>
                  <a:close/>
                  <a:moveTo>
                    <a:pt x="246" y="448"/>
                  </a:moveTo>
                  <a:cubicBezTo>
                    <a:pt x="246" y="444"/>
                    <a:pt x="251" y="445"/>
                    <a:pt x="254" y="444"/>
                  </a:cubicBezTo>
                  <a:cubicBezTo>
                    <a:pt x="256" y="448"/>
                    <a:pt x="257" y="454"/>
                    <a:pt x="257" y="463"/>
                  </a:cubicBezTo>
                  <a:cubicBezTo>
                    <a:pt x="252" y="459"/>
                    <a:pt x="252" y="449"/>
                    <a:pt x="246" y="448"/>
                  </a:cubicBezTo>
                  <a:close/>
                  <a:moveTo>
                    <a:pt x="254" y="437"/>
                  </a:moveTo>
                  <a:cubicBezTo>
                    <a:pt x="254" y="434"/>
                    <a:pt x="253" y="433"/>
                    <a:pt x="251" y="433"/>
                  </a:cubicBezTo>
                  <a:cubicBezTo>
                    <a:pt x="251" y="429"/>
                    <a:pt x="254" y="430"/>
                    <a:pt x="257" y="429"/>
                  </a:cubicBezTo>
                  <a:cubicBezTo>
                    <a:pt x="255" y="426"/>
                    <a:pt x="254" y="423"/>
                    <a:pt x="251" y="422"/>
                  </a:cubicBezTo>
                  <a:cubicBezTo>
                    <a:pt x="252" y="418"/>
                    <a:pt x="256" y="419"/>
                    <a:pt x="259" y="418"/>
                  </a:cubicBezTo>
                  <a:cubicBezTo>
                    <a:pt x="259" y="424"/>
                    <a:pt x="259" y="431"/>
                    <a:pt x="259" y="437"/>
                  </a:cubicBezTo>
                  <a:cubicBezTo>
                    <a:pt x="257" y="437"/>
                    <a:pt x="256" y="437"/>
                    <a:pt x="254" y="437"/>
                  </a:cubicBezTo>
                  <a:close/>
                  <a:moveTo>
                    <a:pt x="259" y="359"/>
                  </a:moveTo>
                  <a:cubicBezTo>
                    <a:pt x="251" y="360"/>
                    <a:pt x="254" y="347"/>
                    <a:pt x="251" y="341"/>
                  </a:cubicBezTo>
                  <a:cubicBezTo>
                    <a:pt x="254" y="346"/>
                    <a:pt x="259" y="350"/>
                    <a:pt x="259" y="359"/>
                  </a:cubicBezTo>
                  <a:close/>
                  <a:moveTo>
                    <a:pt x="254" y="329"/>
                  </a:moveTo>
                  <a:cubicBezTo>
                    <a:pt x="253" y="320"/>
                    <a:pt x="258" y="318"/>
                    <a:pt x="259" y="311"/>
                  </a:cubicBezTo>
                  <a:cubicBezTo>
                    <a:pt x="264" y="312"/>
                    <a:pt x="260" y="332"/>
                    <a:pt x="254" y="329"/>
                  </a:cubicBezTo>
                  <a:close/>
                  <a:moveTo>
                    <a:pt x="259" y="448"/>
                  </a:moveTo>
                  <a:cubicBezTo>
                    <a:pt x="267" y="434"/>
                    <a:pt x="268" y="459"/>
                    <a:pt x="259" y="448"/>
                  </a:cubicBezTo>
                  <a:close/>
                  <a:moveTo>
                    <a:pt x="265" y="437"/>
                  </a:moveTo>
                  <a:cubicBezTo>
                    <a:pt x="264" y="432"/>
                    <a:pt x="265" y="430"/>
                    <a:pt x="267" y="429"/>
                  </a:cubicBezTo>
                  <a:cubicBezTo>
                    <a:pt x="259" y="417"/>
                    <a:pt x="276" y="429"/>
                    <a:pt x="267" y="418"/>
                  </a:cubicBezTo>
                  <a:cubicBezTo>
                    <a:pt x="270" y="407"/>
                    <a:pt x="275" y="422"/>
                    <a:pt x="278" y="422"/>
                  </a:cubicBezTo>
                  <a:cubicBezTo>
                    <a:pt x="279" y="429"/>
                    <a:pt x="263" y="430"/>
                    <a:pt x="273" y="437"/>
                  </a:cubicBezTo>
                  <a:cubicBezTo>
                    <a:pt x="272" y="442"/>
                    <a:pt x="269" y="435"/>
                    <a:pt x="265" y="437"/>
                  </a:cubicBezTo>
                  <a:close/>
                  <a:moveTo>
                    <a:pt x="294" y="270"/>
                  </a:moveTo>
                  <a:cubicBezTo>
                    <a:pt x="289" y="267"/>
                    <a:pt x="293" y="246"/>
                    <a:pt x="300" y="248"/>
                  </a:cubicBezTo>
                  <a:cubicBezTo>
                    <a:pt x="298" y="256"/>
                    <a:pt x="293" y="259"/>
                    <a:pt x="294" y="270"/>
                  </a:cubicBezTo>
                  <a:close/>
                  <a:moveTo>
                    <a:pt x="294" y="296"/>
                  </a:moveTo>
                  <a:cubicBezTo>
                    <a:pt x="292" y="296"/>
                    <a:pt x="289" y="296"/>
                    <a:pt x="286" y="296"/>
                  </a:cubicBezTo>
                  <a:cubicBezTo>
                    <a:pt x="286" y="294"/>
                    <a:pt x="286" y="291"/>
                    <a:pt x="286" y="289"/>
                  </a:cubicBezTo>
                  <a:cubicBezTo>
                    <a:pt x="292" y="288"/>
                    <a:pt x="295" y="290"/>
                    <a:pt x="294" y="296"/>
                  </a:cubicBezTo>
                  <a:close/>
                  <a:moveTo>
                    <a:pt x="294" y="333"/>
                  </a:moveTo>
                  <a:cubicBezTo>
                    <a:pt x="291" y="332"/>
                    <a:pt x="292" y="324"/>
                    <a:pt x="292" y="318"/>
                  </a:cubicBezTo>
                  <a:cubicBezTo>
                    <a:pt x="302" y="317"/>
                    <a:pt x="293" y="326"/>
                    <a:pt x="294" y="333"/>
                  </a:cubicBezTo>
                  <a:close/>
                  <a:moveTo>
                    <a:pt x="294" y="389"/>
                  </a:moveTo>
                  <a:cubicBezTo>
                    <a:pt x="297" y="390"/>
                    <a:pt x="296" y="396"/>
                    <a:pt x="300" y="396"/>
                  </a:cubicBezTo>
                  <a:cubicBezTo>
                    <a:pt x="297" y="401"/>
                    <a:pt x="292" y="403"/>
                    <a:pt x="292" y="411"/>
                  </a:cubicBezTo>
                  <a:cubicBezTo>
                    <a:pt x="284" y="406"/>
                    <a:pt x="296" y="398"/>
                    <a:pt x="294" y="389"/>
                  </a:cubicBezTo>
                  <a:close/>
                  <a:moveTo>
                    <a:pt x="343" y="248"/>
                  </a:moveTo>
                  <a:cubicBezTo>
                    <a:pt x="347" y="242"/>
                    <a:pt x="351" y="250"/>
                    <a:pt x="361" y="244"/>
                  </a:cubicBezTo>
                  <a:cubicBezTo>
                    <a:pt x="365" y="249"/>
                    <a:pt x="364" y="257"/>
                    <a:pt x="364" y="267"/>
                  </a:cubicBezTo>
                  <a:cubicBezTo>
                    <a:pt x="355" y="262"/>
                    <a:pt x="362" y="279"/>
                    <a:pt x="353" y="274"/>
                  </a:cubicBezTo>
                  <a:cubicBezTo>
                    <a:pt x="351" y="261"/>
                    <a:pt x="356" y="258"/>
                    <a:pt x="361" y="255"/>
                  </a:cubicBezTo>
                  <a:cubicBezTo>
                    <a:pt x="359" y="240"/>
                    <a:pt x="348" y="259"/>
                    <a:pt x="343" y="248"/>
                  </a:cubicBezTo>
                  <a:close/>
                  <a:moveTo>
                    <a:pt x="348" y="300"/>
                  </a:moveTo>
                  <a:cubicBezTo>
                    <a:pt x="344" y="297"/>
                    <a:pt x="338" y="297"/>
                    <a:pt x="340" y="285"/>
                  </a:cubicBezTo>
                  <a:cubicBezTo>
                    <a:pt x="342" y="284"/>
                    <a:pt x="342" y="286"/>
                    <a:pt x="343" y="289"/>
                  </a:cubicBezTo>
                  <a:cubicBezTo>
                    <a:pt x="344" y="293"/>
                    <a:pt x="349" y="293"/>
                    <a:pt x="348" y="300"/>
                  </a:cubicBezTo>
                  <a:close/>
                  <a:moveTo>
                    <a:pt x="383" y="263"/>
                  </a:moveTo>
                  <a:cubicBezTo>
                    <a:pt x="388" y="264"/>
                    <a:pt x="388" y="273"/>
                    <a:pt x="394" y="274"/>
                  </a:cubicBezTo>
                  <a:cubicBezTo>
                    <a:pt x="393" y="279"/>
                    <a:pt x="388" y="278"/>
                    <a:pt x="388" y="274"/>
                  </a:cubicBezTo>
                  <a:cubicBezTo>
                    <a:pt x="386" y="274"/>
                    <a:pt x="386" y="279"/>
                    <a:pt x="386" y="281"/>
                  </a:cubicBezTo>
                  <a:cubicBezTo>
                    <a:pt x="377" y="278"/>
                    <a:pt x="384" y="274"/>
                    <a:pt x="383" y="263"/>
                  </a:cubicBezTo>
                  <a:close/>
                  <a:moveTo>
                    <a:pt x="386" y="333"/>
                  </a:moveTo>
                  <a:cubicBezTo>
                    <a:pt x="381" y="330"/>
                    <a:pt x="379" y="320"/>
                    <a:pt x="383" y="315"/>
                  </a:cubicBezTo>
                  <a:cubicBezTo>
                    <a:pt x="389" y="314"/>
                    <a:pt x="384" y="328"/>
                    <a:pt x="386" y="333"/>
                  </a:cubicBezTo>
                  <a:close/>
                  <a:moveTo>
                    <a:pt x="386" y="307"/>
                  </a:moveTo>
                  <a:cubicBezTo>
                    <a:pt x="378" y="299"/>
                    <a:pt x="384" y="297"/>
                    <a:pt x="380" y="285"/>
                  </a:cubicBezTo>
                  <a:cubicBezTo>
                    <a:pt x="387" y="285"/>
                    <a:pt x="386" y="297"/>
                    <a:pt x="386" y="307"/>
                  </a:cubicBezTo>
                  <a:close/>
                  <a:moveTo>
                    <a:pt x="388" y="489"/>
                  </a:moveTo>
                  <a:cubicBezTo>
                    <a:pt x="389" y="489"/>
                    <a:pt x="388" y="496"/>
                    <a:pt x="388" y="496"/>
                  </a:cubicBezTo>
                  <a:cubicBezTo>
                    <a:pt x="390" y="496"/>
                    <a:pt x="393" y="491"/>
                    <a:pt x="394" y="489"/>
                  </a:cubicBezTo>
                  <a:cubicBezTo>
                    <a:pt x="395" y="487"/>
                    <a:pt x="397" y="495"/>
                    <a:pt x="396" y="496"/>
                  </a:cubicBezTo>
                  <a:cubicBezTo>
                    <a:pt x="396" y="497"/>
                    <a:pt x="391" y="495"/>
                    <a:pt x="391" y="496"/>
                  </a:cubicBezTo>
                  <a:cubicBezTo>
                    <a:pt x="389" y="502"/>
                    <a:pt x="392" y="510"/>
                    <a:pt x="383" y="511"/>
                  </a:cubicBezTo>
                  <a:cubicBezTo>
                    <a:pt x="379" y="520"/>
                    <a:pt x="389" y="519"/>
                    <a:pt x="391" y="522"/>
                  </a:cubicBezTo>
                  <a:cubicBezTo>
                    <a:pt x="393" y="526"/>
                    <a:pt x="389" y="536"/>
                    <a:pt x="396" y="533"/>
                  </a:cubicBezTo>
                  <a:cubicBezTo>
                    <a:pt x="398" y="544"/>
                    <a:pt x="391" y="545"/>
                    <a:pt x="383" y="544"/>
                  </a:cubicBezTo>
                  <a:cubicBezTo>
                    <a:pt x="381" y="537"/>
                    <a:pt x="386" y="534"/>
                    <a:pt x="386" y="529"/>
                  </a:cubicBezTo>
                  <a:cubicBezTo>
                    <a:pt x="384" y="522"/>
                    <a:pt x="380" y="526"/>
                    <a:pt x="378" y="522"/>
                  </a:cubicBezTo>
                  <a:cubicBezTo>
                    <a:pt x="376" y="519"/>
                    <a:pt x="380" y="513"/>
                    <a:pt x="380" y="514"/>
                  </a:cubicBezTo>
                  <a:cubicBezTo>
                    <a:pt x="375" y="506"/>
                    <a:pt x="375" y="505"/>
                    <a:pt x="367" y="507"/>
                  </a:cubicBezTo>
                  <a:cubicBezTo>
                    <a:pt x="366" y="499"/>
                    <a:pt x="369" y="497"/>
                    <a:pt x="370" y="492"/>
                  </a:cubicBezTo>
                  <a:cubicBezTo>
                    <a:pt x="375" y="493"/>
                    <a:pt x="371" y="504"/>
                    <a:pt x="378" y="503"/>
                  </a:cubicBezTo>
                  <a:cubicBezTo>
                    <a:pt x="380" y="504"/>
                    <a:pt x="380" y="502"/>
                    <a:pt x="380" y="500"/>
                  </a:cubicBezTo>
                  <a:cubicBezTo>
                    <a:pt x="380" y="496"/>
                    <a:pt x="377" y="497"/>
                    <a:pt x="375" y="496"/>
                  </a:cubicBezTo>
                  <a:cubicBezTo>
                    <a:pt x="374" y="492"/>
                    <a:pt x="376" y="488"/>
                    <a:pt x="378" y="489"/>
                  </a:cubicBezTo>
                  <a:cubicBezTo>
                    <a:pt x="378" y="489"/>
                    <a:pt x="380" y="496"/>
                    <a:pt x="380" y="496"/>
                  </a:cubicBezTo>
                  <a:cubicBezTo>
                    <a:pt x="381" y="496"/>
                    <a:pt x="385" y="484"/>
                    <a:pt x="388" y="489"/>
                  </a:cubicBezTo>
                  <a:close/>
                  <a:moveTo>
                    <a:pt x="404" y="296"/>
                  </a:moveTo>
                  <a:cubicBezTo>
                    <a:pt x="406" y="299"/>
                    <a:pt x="394" y="307"/>
                    <a:pt x="396" y="300"/>
                  </a:cubicBezTo>
                  <a:cubicBezTo>
                    <a:pt x="397" y="299"/>
                    <a:pt x="402" y="293"/>
                    <a:pt x="404" y="296"/>
                  </a:cubicBezTo>
                  <a:close/>
                  <a:moveTo>
                    <a:pt x="396" y="278"/>
                  </a:moveTo>
                  <a:cubicBezTo>
                    <a:pt x="397" y="275"/>
                    <a:pt x="399" y="274"/>
                    <a:pt x="399" y="270"/>
                  </a:cubicBezTo>
                  <a:cubicBezTo>
                    <a:pt x="401" y="271"/>
                    <a:pt x="402" y="274"/>
                    <a:pt x="404" y="274"/>
                  </a:cubicBezTo>
                  <a:cubicBezTo>
                    <a:pt x="404" y="277"/>
                    <a:pt x="402" y="278"/>
                    <a:pt x="402" y="281"/>
                  </a:cubicBezTo>
                  <a:cubicBezTo>
                    <a:pt x="400" y="281"/>
                    <a:pt x="399" y="278"/>
                    <a:pt x="396" y="278"/>
                  </a:cubicBezTo>
                  <a:close/>
                  <a:moveTo>
                    <a:pt x="421" y="525"/>
                  </a:moveTo>
                  <a:cubicBezTo>
                    <a:pt x="422" y="534"/>
                    <a:pt x="416" y="534"/>
                    <a:pt x="418" y="544"/>
                  </a:cubicBezTo>
                  <a:cubicBezTo>
                    <a:pt x="412" y="539"/>
                    <a:pt x="410" y="546"/>
                    <a:pt x="402" y="540"/>
                  </a:cubicBezTo>
                  <a:cubicBezTo>
                    <a:pt x="404" y="537"/>
                    <a:pt x="405" y="532"/>
                    <a:pt x="404" y="525"/>
                  </a:cubicBezTo>
                  <a:cubicBezTo>
                    <a:pt x="410" y="528"/>
                    <a:pt x="410" y="531"/>
                    <a:pt x="407" y="537"/>
                  </a:cubicBezTo>
                  <a:cubicBezTo>
                    <a:pt x="419" y="543"/>
                    <a:pt x="411" y="522"/>
                    <a:pt x="421" y="525"/>
                  </a:cubicBezTo>
                  <a:close/>
                  <a:moveTo>
                    <a:pt x="410" y="285"/>
                  </a:moveTo>
                  <a:cubicBezTo>
                    <a:pt x="422" y="287"/>
                    <a:pt x="407" y="307"/>
                    <a:pt x="410" y="285"/>
                  </a:cubicBezTo>
                  <a:close/>
                  <a:moveTo>
                    <a:pt x="412" y="281"/>
                  </a:moveTo>
                  <a:cubicBezTo>
                    <a:pt x="412" y="279"/>
                    <a:pt x="412" y="276"/>
                    <a:pt x="412" y="274"/>
                  </a:cubicBezTo>
                  <a:cubicBezTo>
                    <a:pt x="414" y="274"/>
                    <a:pt x="416" y="274"/>
                    <a:pt x="418" y="274"/>
                  </a:cubicBezTo>
                  <a:cubicBezTo>
                    <a:pt x="418" y="276"/>
                    <a:pt x="418" y="279"/>
                    <a:pt x="418" y="281"/>
                  </a:cubicBezTo>
                  <a:cubicBezTo>
                    <a:pt x="416" y="281"/>
                    <a:pt x="414" y="281"/>
                    <a:pt x="412" y="281"/>
                  </a:cubicBezTo>
                  <a:close/>
                  <a:moveTo>
                    <a:pt x="396" y="500"/>
                  </a:moveTo>
                  <a:cubicBezTo>
                    <a:pt x="403" y="501"/>
                    <a:pt x="403" y="509"/>
                    <a:pt x="399" y="514"/>
                  </a:cubicBezTo>
                  <a:cubicBezTo>
                    <a:pt x="395" y="513"/>
                    <a:pt x="397" y="505"/>
                    <a:pt x="396" y="500"/>
                  </a:cubicBezTo>
                  <a:close/>
                  <a:moveTo>
                    <a:pt x="351" y="489"/>
                  </a:moveTo>
                  <a:cubicBezTo>
                    <a:pt x="352" y="483"/>
                    <a:pt x="356" y="482"/>
                    <a:pt x="361" y="481"/>
                  </a:cubicBezTo>
                  <a:cubicBezTo>
                    <a:pt x="363" y="490"/>
                    <a:pt x="368" y="509"/>
                    <a:pt x="356" y="507"/>
                  </a:cubicBezTo>
                  <a:cubicBezTo>
                    <a:pt x="356" y="503"/>
                    <a:pt x="356" y="500"/>
                    <a:pt x="356" y="496"/>
                  </a:cubicBezTo>
                  <a:cubicBezTo>
                    <a:pt x="359" y="496"/>
                    <a:pt x="358" y="500"/>
                    <a:pt x="359" y="503"/>
                  </a:cubicBezTo>
                  <a:cubicBezTo>
                    <a:pt x="367" y="498"/>
                    <a:pt x="357" y="487"/>
                    <a:pt x="351" y="489"/>
                  </a:cubicBezTo>
                  <a:close/>
                  <a:moveTo>
                    <a:pt x="364" y="285"/>
                  </a:moveTo>
                  <a:cubicBezTo>
                    <a:pt x="363" y="279"/>
                    <a:pt x="379" y="280"/>
                    <a:pt x="372" y="289"/>
                  </a:cubicBezTo>
                  <a:cubicBezTo>
                    <a:pt x="373" y="287"/>
                    <a:pt x="364" y="285"/>
                    <a:pt x="364" y="285"/>
                  </a:cubicBezTo>
                  <a:close/>
                  <a:moveTo>
                    <a:pt x="372" y="296"/>
                  </a:moveTo>
                  <a:cubicBezTo>
                    <a:pt x="372" y="303"/>
                    <a:pt x="375" y="304"/>
                    <a:pt x="375" y="311"/>
                  </a:cubicBezTo>
                  <a:cubicBezTo>
                    <a:pt x="372" y="311"/>
                    <a:pt x="373" y="306"/>
                    <a:pt x="372" y="304"/>
                  </a:cubicBezTo>
                  <a:cubicBezTo>
                    <a:pt x="370" y="303"/>
                    <a:pt x="370" y="305"/>
                    <a:pt x="370" y="307"/>
                  </a:cubicBezTo>
                  <a:cubicBezTo>
                    <a:pt x="368" y="314"/>
                    <a:pt x="365" y="303"/>
                    <a:pt x="370" y="304"/>
                  </a:cubicBezTo>
                  <a:cubicBezTo>
                    <a:pt x="371" y="295"/>
                    <a:pt x="357" y="306"/>
                    <a:pt x="361" y="292"/>
                  </a:cubicBezTo>
                  <a:cubicBezTo>
                    <a:pt x="364" y="295"/>
                    <a:pt x="367" y="296"/>
                    <a:pt x="372" y="296"/>
                  </a:cubicBezTo>
                  <a:close/>
                  <a:moveTo>
                    <a:pt x="375" y="533"/>
                  </a:moveTo>
                  <a:cubicBezTo>
                    <a:pt x="367" y="548"/>
                    <a:pt x="368" y="521"/>
                    <a:pt x="361" y="522"/>
                  </a:cubicBezTo>
                  <a:cubicBezTo>
                    <a:pt x="363" y="511"/>
                    <a:pt x="367" y="525"/>
                    <a:pt x="372" y="522"/>
                  </a:cubicBezTo>
                  <a:cubicBezTo>
                    <a:pt x="372" y="527"/>
                    <a:pt x="372" y="532"/>
                    <a:pt x="375" y="533"/>
                  </a:cubicBezTo>
                  <a:close/>
                  <a:moveTo>
                    <a:pt x="364" y="474"/>
                  </a:moveTo>
                  <a:cubicBezTo>
                    <a:pt x="361" y="473"/>
                    <a:pt x="362" y="467"/>
                    <a:pt x="361" y="463"/>
                  </a:cubicBezTo>
                  <a:cubicBezTo>
                    <a:pt x="366" y="461"/>
                    <a:pt x="367" y="465"/>
                    <a:pt x="367" y="470"/>
                  </a:cubicBezTo>
                  <a:cubicBezTo>
                    <a:pt x="365" y="469"/>
                    <a:pt x="364" y="471"/>
                    <a:pt x="364" y="474"/>
                  </a:cubicBezTo>
                  <a:close/>
                  <a:moveTo>
                    <a:pt x="364" y="344"/>
                  </a:moveTo>
                  <a:cubicBezTo>
                    <a:pt x="363" y="336"/>
                    <a:pt x="369" y="339"/>
                    <a:pt x="370" y="333"/>
                  </a:cubicBezTo>
                  <a:cubicBezTo>
                    <a:pt x="373" y="334"/>
                    <a:pt x="372" y="340"/>
                    <a:pt x="372" y="344"/>
                  </a:cubicBezTo>
                  <a:cubicBezTo>
                    <a:pt x="370" y="344"/>
                    <a:pt x="367" y="344"/>
                    <a:pt x="364" y="344"/>
                  </a:cubicBezTo>
                  <a:close/>
                  <a:moveTo>
                    <a:pt x="361" y="555"/>
                  </a:moveTo>
                  <a:cubicBezTo>
                    <a:pt x="368" y="551"/>
                    <a:pt x="379" y="549"/>
                    <a:pt x="378" y="566"/>
                  </a:cubicBezTo>
                  <a:cubicBezTo>
                    <a:pt x="373" y="561"/>
                    <a:pt x="360" y="567"/>
                    <a:pt x="361" y="555"/>
                  </a:cubicBezTo>
                  <a:close/>
                  <a:moveTo>
                    <a:pt x="364" y="274"/>
                  </a:moveTo>
                  <a:cubicBezTo>
                    <a:pt x="366" y="269"/>
                    <a:pt x="370" y="267"/>
                    <a:pt x="375" y="267"/>
                  </a:cubicBezTo>
                  <a:cubicBezTo>
                    <a:pt x="378" y="278"/>
                    <a:pt x="369" y="273"/>
                    <a:pt x="364" y="274"/>
                  </a:cubicBezTo>
                  <a:close/>
                  <a:moveTo>
                    <a:pt x="353" y="363"/>
                  </a:moveTo>
                  <a:cubicBezTo>
                    <a:pt x="352" y="364"/>
                    <a:pt x="350" y="353"/>
                    <a:pt x="348" y="355"/>
                  </a:cubicBezTo>
                  <a:cubicBezTo>
                    <a:pt x="353" y="343"/>
                    <a:pt x="355" y="360"/>
                    <a:pt x="353" y="363"/>
                  </a:cubicBezTo>
                  <a:close/>
                  <a:moveTo>
                    <a:pt x="351" y="459"/>
                  </a:moveTo>
                  <a:cubicBezTo>
                    <a:pt x="351" y="463"/>
                    <a:pt x="351" y="466"/>
                    <a:pt x="351" y="470"/>
                  </a:cubicBezTo>
                  <a:cubicBezTo>
                    <a:pt x="348" y="470"/>
                    <a:pt x="349" y="465"/>
                    <a:pt x="348" y="463"/>
                  </a:cubicBezTo>
                  <a:cubicBezTo>
                    <a:pt x="346" y="466"/>
                    <a:pt x="341" y="465"/>
                    <a:pt x="337" y="459"/>
                  </a:cubicBezTo>
                  <a:cubicBezTo>
                    <a:pt x="336" y="456"/>
                    <a:pt x="334" y="454"/>
                    <a:pt x="335" y="448"/>
                  </a:cubicBezTo>
                  <a:cubicBezTo>
                    <a:pt x="337" y="451"/>
                    <a:pt x="339" y="454"/>
                    <a:pt x="340" y="459"/>
                  </a:cubicBezTo>
                  <a:cubicBezTo>
                    <a:pt x="344" y="459"/>
                    <a:pt x="347" y="459"/>
                    <a:pt x="351" y="459"/>
                  </a:cubicBezTo>
                  <a:close/>
                  <a:moveTo>
                    <a:pt x="340" y="559"/>
                  </a:moveTo>
                  <a:cubicBezTo>
                    <a:pt x="347" y="549"/>
                    <a:pt x="345" y="570"/>
                    <a:pt x="343" y="574"/>
                  </a:cubicBezTo>
                  <a:cubicBezTo>
                    <a:pt x="336" y="572"/>
                    <a:pt x="336" y="564"/>
                    <a:pt x="343" y="562"/>
                  </a:cubicBezTo>
                  <a:cubicBezTo>
                    <a:pt x="343" y="559"/>
                    <a:pt x="342" y="559"/>
                    <a:pt x="340" y="559"/>
                  </a:cubicBezTo>
                  <a:close/>
                  <a:moveTo>
                    <a:pt x="335" y="522"/>
                  </a:moveTo>
                  <a:cubicBezTo>
                    <a:pt x="334" y="521"/>
                    <a:pt x="335" y="518"/>
                    <a:pt x="335" y="518"/>
                  </a:cubicBezTo>
                  <a:cubicBezTo>
                    <a:pt x="332" y="517"/>
                    <a:pt x="320" y="521"/>
                    <a:pt x="324" y="511"/>
                  </a:cubicBezTo>
                  <a:cubicBezTo>
                    <a:pt x="334" y="513"/>
                    <a:pt x="331" y="517"/>
                    <a:pt x="329" y="503"/>
                  </a:cubicBezTo>
                  <a:cubicBezTo>
                    <a:pt x="332" y="503"/>
                    <a:pt x="335" y="503"/>
                    <a:pt x="337" y="503"/>
                  </a:cubicBezTo>
                  <a:cubicBezTo>
                    <a:pt x="334" y="516"/>
                    <a:pt x="336" y="519"/>
                    <a:pt x="345" y="514"/>
                  </a:cubicBezTo>
                  <a:cubicBezTo>
                    <a:pt x="347" y="517"/>
                    <a:pt x="338" y="528"/>
                    <a:pt x="335" y="522"/>
                  </a:cubicBezTo>
                  <a:close/>
                  <a:moveTo>
                    <a:pt x="324" y="707"/>
                  </a:moveTo>
                  <a:cubicBezTo>
                    <a:pt x="320" y="705"/>
                    <a:pt x="325" y="702"/>
                    <a:pt x="324" y="696"/>
                  </a:cubicBezTo>
                  <a:cubicBezTo>
                    <a:pt x="332" y="698"/>
                    <a:pt x="329" y="698"/>
                    <a:pt x="337" y="696"/>
                  </a:cubicBezTo>
                  <a:cubicBezTo>
                    <a:pt x="338" y="706"/>
                    <a:pt x="338" y="716"/>
                    <a:pt x="329" y="714"/>
                  </a:cubicBezTo>
                  <a:cubicBezTo>
                    <a:pt x="329" y="710"/>
                    <a:pt x="329" y="707"/>
                    <a:pt x="329" y="703"/>
                  </a:cubicBezTo>
                  <a:cubicBezTo>
                    <a:pt x="326" y="702"/>
                    <a:pt x="324" y="704"/>
                    <a:pt x="324" y="707"/>
                  </a:cubicBezTo>
                  <a:close/>
                  <a:moveTo>
                    <a:pt x="316" y="644"/>
                  </a:moveTo>
                  <a:cubicBezTo>
                    <a:pt x="322" y="632"/>
                    <a:pt x="323" y="658"/>
                    <a:pt x="324" y="666"/>
                  </a:cubicBezTo>
                  <a:cubicBezTo>
                    <a:pt x="308" y="668"/>
                    <a:pt x="324" y="649"/>
                    <a:pt x="316" y="644"/>
                  </a:cubicBezTo>
                  <a:close/>
                  <a:moveTo>
                    <a:pt x="335" y="562"/>
                  </a:moveTo>
                  <a:cubicBezTo>
                    <a:pt x="335" y="571"/>
                    <a:pt x="335" y="580"/>
                    <a:pt x="335" y="588"/>
                  </a:cubicBezTo>
                  <a:cubicBezTo>
                    <a:pt x="331" y="589"/>
                    <a:pt x="325" y="578"/>
                    <a:pt x="332" y="577"/>
                  </a:cubicBezTo>
                  <a:cubicBezTo>
                    <a:pt x="329" y="573"/>
                    <a:pt x="326" y="577"/>
                    <a:pt x="321" y="570"/>
                  </a:cubicBezTo>
                  <a:cubicBezTo>
                    <a:pt x="322" y="560"/>
                    <a:pt x="326" y="575"/>
                    <a:pt x="332" y="570"/>
                  </a:cubicBezTo>
                  <a:cubicBezTo>
                    <a:pt x="329" y="565"/>
                    <a:pt x="330" y="562"/>
                    <a:pt x="335" y="562"/>
                  </a:cubicBezTo>
                  <a:close/>
                  <a:moveTo>
                    <a:pt x="324" y="618"/>
                  </a:moveTo>
                  <a:cubicBezTo>
                    <a:pt x="327" y="616"/>
                    <a:pt x="327" y="609"/>
                    <a:pt x="332" y="611"/>
                  </a:cubicBezTo>
                  <a:cubicBezTo>
                    <a:pt x="333" y="620"/>
                    <a:pt x="326" y="620"/>
                    <a:pt x="321" y="622"/>
                  </a:cubicBezTo>
                  <a:cubicBezTo>
                    <a:pt x="321" y="618"/>
                    <a:pt x="322" y="618"/>
                    <a:pt x="324" y="618"/>
                  </a:cubicBezTo>
                  <a:close/>
                  <a:moveTo>
                    <a:pt x="337" y="677"/>
                  </a:moveTo>
                  <a:cubicBezTo>
                    <a:pt x="329" y="691"/>
                    <a:pt x="328" y="666"/>
                    <a:pt x="337" y="677"/>
                  </a:cubicBezTo>
                  <a:close/>
                  <a:moveTo>
                    <a:pt x="326" y="670"/>
                  </a:moveTo>
                  <a:cubicBezTo>
                    <a:pt x="326" y="662"/>
                    <a:pt x="327" y="658"/>
                    <a:pt x="332" y="659"/>
                  </a:cubicBezTo>
                  <a:cubicBezTo>
                    <a:pt x="332" y="652"/>
                    <a:pt x="332" y="646"/>
                    <a:pt x="332" y="640"/>
                  </a:cubicBezTo>
                  <a:cubicBezTo>
                    <a:pt x="341" y="642"/>
                    <a:pt x="339" y="675"/>
                    <a:pt x="326" y="670"/>
                  </a:cubicBezTo>
                  <a:close/>
                  <a:moveTo>
                    <a:pt x="326" y="555"/>
                  </a:moveTo>
                  <a:cubicBezTo>
                    <a:pt x="326" y="555"/>
                    <a:pt x="330" y="548"/>
                    <a:pt x="329" y="548"/>
                  </a:cubicBezTo>
                  <a:cubicBezTo>
                    <a:pt x="325" y="546"/>
                    <a:pt x="325" y="551"/>
                    <a:pt x="324" y="551"/>
                  </a:cubicBezTo>
                  <a:cubicBezTo>
                    <a:pt x="322" y="552"/>
                    <a:pt x="319" y="545"/>
                    <a:pt x="318" y="551"/>
                  </a:cubicBezTo>
                  <a:cubicBezTo>
                    <a:pt x="314" y="550"/>
                    <a:pt x="319" y="548"/>
                    <a:pt x="318" y="544"/>
                  </a:cubicBezTo>
                  <a:cubicBezTo>
                    <a:pt x="319" y="541"/>
                    <a:pt x="317" y="540"/>
                    <a:pt x="316" y="540"/>
                  </a:cubicBezTo>
                  <a:cubicBezTo>
                    <a:pt x="309" y="535"/>
                    <a:pt x="333" y="541"/>
                    <a:pt x="337" y="544"/>
                  </a:cubicBezTo>
                  <a:cubicBezTo>
                    <a:pt x="335" y="547"/>
                    <a:pt x="333" y="554"/>
                    <a:pt x="337" y="555"/>
                  </a:cubicBezTo>
                  <a:cubicBezTo>
                    <a:pt x="341" y="561"/>
                    <a:pt x="326" y="554"/>
                    <a:pt x="326" y="555"/>
                  </a:cubicBezTo>
                  <a:close/>
                  <a:moveTo>
                    <a:pt x="313" y="463"/>
                  </a:moveTo>
                  <a:cubicBezTo>
                    <a:pt x="313" y="463"/>
                    <a:pt x="318" y="467"/>
                    <a:pt x="318" y="466"/>
                  </a:cubicBezTo>
                  <a:cubicBezTo>
                    <a:pt x="318" y="467"/>
                    <a:pt x="312" y="474"/>
                    <a:pt x="313" y="474"/>
                  </a:cubicBezTo>
                  <a:cubicBezTo>
                    <a:pt x="309" y="473"/>
                    <a:pt x="313" y="471"/>
                    <a:pt x="313" y="470"/>
                  </a:cubicBezTo>
                  <a:cubicBezTo>
                    <a:pt x="314" y="469"/>
                    <a:pt x="312" y="463"/>
                    <a:pt x="313" y="463"/>
                  </a:cubicBezTo>
                  <a:close/>
                  <a:moveTo>
                    <a:pt x="345" y="492"/>
                  </a:moveTo>
                  <a:cubicBezTo>
                    <a:pt x="350" y="491"/>
                    <a:pt x="350" y="495"/>
                    <a:pt x="351" y="500"/>
                  </a:cubicBezTo>
                  <a:cubicBezTo>
                    <a:pt x="348" y="499"/>
                    <a:pt x="348" y="501"/>
                    <a:pt x="348" y="503"/>
                  </a:cubicBezTo>
                  <a:cubicBezTo>
                    <a:pt x="345" y="503"/>
                    <a:pt x="346" y="497"/>
                    <a:pt x="345" y="492"/>
                  </a:cubicBezTo>
                  <a:close/>
                  <a:moveTo>
                    <a:pt x="343" y="422"/>
                  </a:moveTo>
                  <a:cubicBezTo>
                    <a:pt x="337" y="422"/>
                    <a:pt x="339" y="412"/>
                    <a:pt x="332" y="415"/>
                  </a:cubicBezTo>
                  <a:cubicBezTo>
                    <a:pt x="334" y="406"/>
                    <a:pt x="345" y="413"/>
                    <a:pt x="343" y="422"/>
                  </a:cubicBezTo>
                  <a:close/>
                  <a:moveTo>
                    <a:pt x="340" y="477"/>
                  </a:moveTo>
                  <a:cubicBezTo>
                    <a:pt x="340" y="478"/>
                    <a:pt x="340" y="481"/>
                    <a:pt x="340" y="481"/>
                  </a:cubicBezTo>
                  <a:cubicBezTo>
                    <a:pt x="343" y="483"/>
                    <a:pt x="346" y="481"/>
                    <a:pt x="345" y="489"/>
                  </a:cubicBezTo>
                  <a:cubicBezTo>
                    <a:pt x="341" y="490"/>
                    <a:pt x="340" y="486"/>
                    <a:pt x="340" y="481"/>
                  </a:cubicBezTo>
                  <a:cubicBezTo>
                    <a:pt x="337" y="481"/>
                    <a:pt x="338" y="486"/>
                    <a:pt x="337" y="489"/>
                  </a:cubicBezTo>
                  <a:cubicBezTo>
                    <a:pt x="333" y="487"/>
                    <a:pt x="332" y="491"/>
                    <a:pt x="332" y="496"/>
                  </a:cubicBezTo>
                  <a:cubicBezTo>
                    <a:pt x="329" y="495"/>
                    <a:pt x="330" y="489"/>
                    <a:pt x="329" y="485"/>
                  </a:cubicBezTo>
                  <a:cubicBezTo>
                    <a:pt x="326" y="485"/>
                    <a:pt x="324" y="485"/>
                    <a:pt x="321" y="485"/>
                  </a:cubicBezTo>
                  <a:cubicBezTo>
                    <a:pt x="320" y="482"/>
                    <a:pt x="337" y="476"/>
                    <a:pt x="340" y="477"/>
                  </a:cubicBezTo>
                  <a:close/>
                  <a:moveTo>
                    <a:pt x="332" y="466"/>
                  </a:moveTo>
                  <a:cubicBezTo>
                    <a:pt x="326" y="477"/>
                    <a:pt x="323" y="454"/>
                    <a:pt x="324" y="444"/>
                  </a:cubicBezTo>
                  <a:cubicBezTo>
                    <a:pt x="327" y="447"/>
                    <a:pt x="327" y="453"/>
                    <a:pt x="332" y="452"/>
                  </a:cubicBezTo>
                  <a:cubicBezTo>
                    <a:pt x="331" y="454"/>
                    <a:pt x="325" y="466"/>
                    <a:pt x="332" y="466"/>
                  </a:cubicBezTo>
                  <a:close/>
                  <a:moveTo>
                    <a:pt x="329" y="411"/>
                  </a:moveTo>
                  <a:cubicBezTo>
                    <a:pt x="326" y="411"/>
                    <a:pt x="327" y="418"/>
                    <a:pt x="326" y="422"/>
                  </a:cubicBezTo>
                  <a:cubicBezTo>
                    <a:pt x="323" y="421"/>
                    <a:pt x="322" y="423"/>
                    <a:pt x="321" y="426"/>
                  </a:cubicBezTo>
                  <a:cubicBezTo>
                    <a:pt x="315" y="425"/>
                    <a:pt x="321" y="413"/>
                    <a:pt x="324" y="415"/>
                  </a:cubicBezTo>
                  <a:cubicBezTo>
                    <a:pt x="324" y="407"/>
                    <a:pt x="324" y="400"/>
                    <a:pt x="324" y="392"/>
                  </a:cubicBezTo>
                  <a:cubicBezTo>
                    <a:pt x="328" y="395"/>
                    <a:pt x="328" y="404"/>
                    <a:pt x="329" y="411"/>
                  </a:cubicBezTo>
                  <a:close/>
                  <a:moveTo>
                    <a:pt x="324" y="344"/>
                  </a:moveTo>
                  <a:cubicBezTo>
                    <a:pt x="328" y="343"/>
                    <a:pt x="329" y="347"/>
                    <a:pt x="329" y="352"/>
                  </a:cubicBezTo>
                  <a:cubicBezTo>
                    <a:pt x="327" y="351"/>
                    <a:pt x="327" y="353"/>
                    <a:pt x="326" y="355"/>
                  </a:cubicBezTo>
                  <a:cubicBezTo>
                    <a:pt x="323" y="355"/>
                    <a:pt x="324" y="349"/>
                    <a:pt x="324" y="344"/>
                  </a:cubicBezTo>
                  <a:close/>
                  <a:moveTo>
                    <a:pt x="316" y="385"/>
                  </a:moveTo>
                  <a:cubicBezTo>
                    <a:pt x="316" y="381"/>
                    <a:pt x="321" y="382"/>
                    <a:pt x="321" y="378"/>
                  </a:cubicBezTo>
                  <a:cubicBezTo>
                    <a:pt x="324" y="378"/>
                    <a:pt x="323" y="382"/>
                    <a:pt x="324" y="385"/>
                  </a:cubicBezTo>
                  <a:cubicBezTo>
                    <a:pt x="320" y="389"/>
                    <a:pt x="320" y="386"/>
                    <a:pt x="316" y="385"/>
                  </a:cubicBezTo>
                  <a:close/>
                  <a:moveTo>
                    <a:pt x="321" y="352"/>
                  </a:moveTo>
                  <a:cubicBezTo>
                    <a:pt x="318" y="354"/>
                    <a:pt x="319" y="348"/>
                    <a:pt x="318" y="348"/>
                  </a:cubicBezTo>
                  <a:cubicBezTo>
                    <a:pt x="317" y="347"/>
                    <a:pt x="311" y="349"/>
                    <a:pt x="310" y="348"/>
                  </a:cubicBezTo>
                  <a:cubicBezTo>
                    <a:pt x="307" y="343"/>
                    <a:pt x="323" y="336"/>
                    <a:pt x="321" y="352"/>
                  </a:cubicBezTo>
                  <a:close/>
                  <a:moveTo>
                    <a:pt x="310" y="537"/>
                  </a:moveTo>
                  <a:cubicBezTo>
                    <a:pt x="312" y="551"/>
                    <a:pt x="297" y="551"/>
                    <a:pt x="300" y="537"/>
                  </a:cubicBezTo>
                  <a:cubicBezTo>
                    <a:pt x="305" y="530"/>
                    <a:pt x="303" y="537"/>
                    <a:pt x="310" y="537"/>
                  </a:cubicBezTo>
                  <a:close/>
                  <a:moveTo>
                    <a:pt x="286" y="496"/>
                  </a:moveTo>
                  <a:cubicBezTo>
                    <a:pt x="285" y="489"/>
                    <a:pt x="284" y="493"/>
                    <a:pt x="286" y="481"/>
                  </a:cubicBezTo>
                  <a:cubicBezTo>
                    <a:pt x="293" y="485"/>
                    <a:pt x="293" y="499"/>
                    <a:pt x="286" y="503"/>
                  </a:cubicBezTo>
                  <a:cubicBezTo>
                    <a:pt x="281" y="512"/>
                    <a:pt x="287" y="503"/>
                    <a:pt x="286" y="496"/>
                  </a:cubicBezTo>
                  <a:close/>
                  <a:moveTo>
                    <a:pt x="286" y="466"/>
                  </a:moveTo>
                  <a:cubicBezTo>
                    <a:pt x="286" y="461"/>
                    <a:pt x="286" y="456"/>
                    <a:pt x="286" y="452"/>
                  </a:cubicBezTo>
                  <a:cubicBezTo>
                    <a:pt x="284" y="452"/>
                    <a:pt x="283" y="452"/>
                    <a:pt x="281" y="452"/>
                  </a:cubicBezTo>
                  <a:cubicBezTo>
                    <a:pt x="281" y="447"/>
                    <a:pt x="286" y="448"/>
                    <a:pt x="289" y="448"/>
                  </a:cubicBezTo>
                  <a:cubicBezTo>
                    <a:pt x="289" y="453"/>
                    <a:pt x="289" y="458"/>
                    <a:pt x="289" y="463"/>
                  </a:cubicBezTo>
                  <a:cubicBezTo>
                    <a:pt x="292" y="462"/>
                    <a:pt x="291" y="456"/>
                    <a:pt x="292" y="452"/>
                  </a:cubicBezTo>
                  <a:cubicBezTo>
                    <a:pt x="299" y="456"/>
                    <a:pt x="300" y="464"/>
                    <a:pt x="297" y="474"/>
                  </a:cubicBezTo>
                  <a:cubicBezTo>
                    <a:pt x="293" y="472"/>
                    <a:pt x="295" y="462"/>
                    <a:pt x="286" y="466"/>
                  </a:cubicBezTo>
                  <a:close/>
                  <a:moveTo>
                    <a:pt x="289" y="344"/>
                  </a:moveTo>
                  <a:cubicBezTo>
                    <a:pt x="283" y="356"/>
                    <a:pt x="278" y="331"/>
                    <a:pt x="289" y="344"/>
                  </a:cubicBezTo>
                  <a:close/>
                  <a:moveTo>
                    <a:pt x="286" y="326"/>
                  </a:moveTo>
                  <a:cubicBezTo>
                    <a:pt x="281" y="325"/>
                    <a:pt x="280" y="319"/>
                    <a:pt x="281" y="311"/>
                  </a:cubicBezTo>
                  <a:cubicBezTo>
                    <a:pt x="286" y="312"/>
                    <a:pt x="287" y="317"/>
                    <a:pt x="286" y="326"/>
                  </a:cubicBezTo>
                  <a:close/>
                  <a:moveTo>
                    <a:pt x="281" y="500"/>
                  </a:moveTo>
                  <a:cubicBezTo>
                    <a:pt x="271" y="494"/>
                    <a:pt x="277" y="485"/>
                    <a:pt x="278" y="481"/>
                  </a:cubicBezTo>
                  <a:cubicBezTo>
                    <a:pt x="279" y="478"/>
                    <a:pt x="281" y="479"/>
                    <a:pt x="281" y="481"/>
                  </a:cubicBezTo>
                  <a:cubicBezTo>
                    <a:pt x="280" y="488"/>
                    <a:pt x="279" y="486"/>
                    <a:pt x="281" y="500"/>
                  </a:cubicBezTo>
                  <a:close/>
                  <a:moveTo>
                    <a:pt x="270" y="366"/>
                  </a:moveTo>
                  <a:cubicBezTo>
                    <a:pt x="264" y="367"/>
                    <a:pt x="269" y="353"/>
                    <a:pt x="267" y="348"/>
                  </a:cubicBezTo>
                  <a:cubicBezTo>
                    <a:pt x="271" y="352"/>
                    <a:pt x="274" y="352"/>
                    <a:pt x="275" y="344"/>
                  </a:cubicBezTo>
                  <a:cubicBezTo>
                    <a:pt x="286" y="354"/>
                    <a:pt x="267" y="355"/>
                    <a:pt x="270" y="366"/>
                  </a:cubicBezTo>
                  <a:close/>
                  <a:moveTo>
                    <a:pt x="270" y="389"/>
                  </a:moveTo>
                  <a:cubicBezTo>
                    <a:pt x="280" y="400"/>
                    <a:pt x="262" y="401"/>
                    <a:pt x="270" y="389"/>
                  </a:cubicBezTo>
                  <a:close/>
                  <a:moveTo>
                    <a:pt x="270" y="452"/>
                  </a:moveTo>
                  <a:cubicBezTo>
                    <a:pt x="277" y="452"/>
                    <a:pt x="283" y="460"/>
                    <a:pt x="278" y="466"/>
                  </a:cubicBezTo>
                  <a:cubicBezTo>
                    <a:pt x="271" y="467"/>
                    <a:pt x="269" y="461"/>
                    <a:pt x="270" y="452"/>
                  </a:cubicBezTo>
                  <a:close/>
                  <a:moveTo>
                    <a:pt x="278" y="315"/>
                  </a:moveTo>
                  <a:cubicBezTo>
                    <a:pt x="274" y="323"/>
                    <a:pt x="270" y="307"/>
                    <a:pt x="270" y="322"/>
                  </a:cubicBezTo>
                  <a:cubicBezTo>
                    <a:pt x="258" y="316"/>
                    <a:pt x="280" y="308"/>
                    <a:pt x="270" y="304"/>
                  </a:cubicBezTo>
                  <a:cubicBezTo>
                    <a:pt x="272" y="297"/>
                    <a:pt x="275" y="303"/>
                    <a:pt x="278" y="304"/>
                  </a:cubicBezTo>
                  <a:cubicBezTo>
                    <a:pt x="280" y="290"/>
                    <a:pt x="269" y="294"/>
                    <a:pt x="265" y="289"/>
                  </a:cubicBezTo>
                  <a:cubicBezTo>
                    <a:pt x="265" y="280"/>
                    <a:pt x="271" y="291"/>
                    <a:pt x="273" y="289"/>
                  </a:cubicBezTo>
                  <a:cubicBezTo>
                    <a:pt x="276" y="285"/>
                    <a:pt x="274" y="289"/>
                    <a:pt x="283" y="289"/>
                  </a:cubicBezTo>
                  <a:cubicBezTo>
                    <a:pt x="284" y="300"/>
                    <a:pt x="276" y="301"/>
                    <a:pt x="278" y="315"/>
                  </a:cubicBezTo>
                  <a:close/>
                  <a:moveTo>
                    <a:pt x="305" y="696"/>
                  </a:moveTo>
                  <a:cubicBezTo>
                    <a:pt x="314" y="700"/>
                    <a:pt x="305" y="707"/>
                    <a:pt x="310" y="718"/>
                  </a:cubicBezTo>
                  <a:cubicBezTo>
                    <a:pt x="308" y="715"/>
                    <a:pt x="304" y="714"/>
                    <a:pt x="300" y="714"/>
                  </a:cubicBezTo>
                  <a:cubicBezTo>
                    <a:pt x="297" y="702"/>
                    <a:pt x="304" y="703"/>
                    <a:pt x="305" y="696"/>
                  </a:cubicBezTo>
                  <a:close/>
                  <a:moveTo>
                    <a:pt x="294" y="699"/>
                  </a:moveTo>
                  <a:cubicBezTo>
                    <a:pt x="294" y="697"/>
                    <a:pt x="294" y="694"/>
                    <a:pt x="294" y="692"/>
                  </a:cubicBezTo>
                  <a:cubicBezTo>
                    <a:pt x="296" y="692"/>
                    <a:pt x="298" y="692"/>
                    <a:pt x="300" y="692"/>
                  </a:cubicBezTo>
                  <a:cubicBezTo>
                    <a:pt x="300" y="694"/>
                    <a:pt x="300" y="697"/>
                    <a:pt x="300" y="699"/>
                  </a:cubicBezTo>
                  <a:cubicBezTo>
                    <a:pt x="298" y="699"/>
                    <a:pt x="296" y="699"/>
                    <a:pt x="294" y="699"/>
                  </a:cubicBezTo>
                  <a:close/>
                  <a:moveTo>
                    <a:pt x="316" y="721"/>
                  </a:moveTo>
                  <a:cubicBezTo>
                    <a:pt x="311" y="724"/>
                    <a:pt x="316" y="740"/>
                    <a:pt x="308" y="736"/>
                  </a:cubicBezTo>
                  <a:cubicBezTo>
                    <a:pt x="307" y="727"/>
                    <a:pt x="309" y="720"/>
                    <a:pt x="316" y="721"/>
                  </a:cubicBezTo>
                  <a:close/>
                  <a:moveTo>
                    <a:pt x="316" y="751"/>
                  </a:moveTo>
                  <a:cubicBezTo>
                    <a:pt x="324" y="737"/>
                    <a:pt x="325" y="762"/>
                    <a:pt x="316" y="751"/>
                  </a:cubicBezTo>
                  <a:close/>
                  <a:moveTo>
                    <a:pt x="351" y="681"/>
                  </a:moveTo>
                  <a:cubicBezTo>
                    <a:pt x="353" y="689"/>
                    <a:pt x="341" y="689"/>
                    <a:pt x="343" y="681"/>
                  </a:cubicBezTo>
                  <a:cubicBezTo>
                    <a:pt x="344" y="676"/>
                    <a:pt x="350" y="678"/>
                    <a:pt x="351" y="681"/>
                  </a:cubicBezTo>
                  <a:close/>
                  <a:moveTo>
                    <a:pt x="351" y="662"/>
                  </a:moveTo>
                  <a:cubicBezTo>
                    <a:pt x="356" y="670"/>
                    <a:pt x="359" y="680"/>
                    <a:pt x="367" y="684"/>
                  </a:cubicBezTo>
                  <a:cubicBezTo>
                    <a:pt x="365" y="687"/>
                    <a:pt x="364" y="691"/>
                    <a:pt x="364" y="696"/>
                  </a:cubicBezTo>
                  <a:cubicBezTo>
                    <a:pt x="361" y="696"/>
                    <a:pt x="363" y="690"/>
                    <a:pt x="361" y="688"/>
                  </a:cubicBezTo>
                  <a:cubicBezTo>
                    <a:pt x="357" y="680"/>
                    <a:pt x="349" y="678"/>
                    <a:pt x="351" y="662"/>
                  </a:cubicBezTo>
                  <a:close/>
                  <a:moveTo>
                    <a:pt x="348" y="718"/>
                  </a:moveTo>
                  <a:cubicBezTo>
                    <a:pt x="342" y="717"/>
                    <a:pt x="342" y="708"/>
                    <a:pt x="345" y="703"/>
                  </a:cubicBezTo>
                  <a:cubicBezTo>
                    <a:pt x="349" y="704"/>
                    <a:pt x="347" y="712"/>
                    <a:pt x="348" y="718"/>
                  </a:cubicBezTo>
                  <a:close/>
                  <a:moveTo>
                    <a:pt x="388" y="755"/>
                  </a:moveTo>
                  <a:cubicBezTo>
                    <a:pt x="389" y="750"/>
                    <a:pt x="396" y="752"/>
                    <a:pt x="396" y="755"/>
                  </a:cubicBezTo>
                  <a:cubicBezTo>
                    <a:pt x="399" y="763"/>
                    <a:pt x="387" y="763"/>
                    <a:pt x="388" y="755"/>
                  </a:cubicBezTo>
                  <a:close/>
                  <a:moveTo>
                    <a:pt x="399" y="684"/>
                  </a:moveTo>
                  <a:cubicBezTo>
                    <a:pt x="405" y="687"/>
                    <a:pt x="407" y="696"/>
                    <a:pt x="410" y="703"/>
                  </a:cubicBezTo>
                  <a:cubicBezTo>
                    <a:pt x="408" y="709"/>
                    <a:pt x="407" y="703"/>
                    <a:pt x="407" y="699"/>
                  </a:cubicBezTo>
                  <a:cubicBezTo>
                    <a:pt x="403" y="698"/>
                    <a:pt x="403" y="703"/>
                    <a:pt x="399" y="703"/>
                  </a:cubicBezTo>
                  <a:cubicBezTo>
                    <a:pt x="395" y="701"/>
                    <a:pt x="399" y="699"/>
                    <a:pt x="402" y="699"/>
                  </a:cubicBezTo>
                  <a:cubicBezTo>
                    <a:pt x="402" y="693"/>
                    <a:pt x="398" y="692"/>
                    <a:pt x="399" y="684"/>
                  </a:cubicBezTo>
                  <a:close/>
                  <a:moveTo>
                    <a:pt x="412" y="696"/>
                  </a:moveTo>
                  <a:cubicBezTo>
                    <a:pt x="412" y="692"/>
                    <a:pt x="412" y="688"/>
                    <a:pt x="412" y="684"/>
                  </a:cubicBezTo>
                  <a:cubicBezTo>
                    <a:pt x="416" y="686"/>
                    <a:pt x="417" y="691"/>
                    <a:pt x="421" y="692"/>
                  </a:cubicBezTo>
                  <a:cubicBezTo>
                    <a:pt x="421" y="695"/>
                    <a:pt x="420" y="695"/>
                    <a:pt x="418" y="696"/>
                  </a:cubicBezTo>
                  <a:cubicBezTo>
                    <a:pt x="416" y="696"/>
                    <a:pt x="414" y="696"/>
                    <a:pt x="412" y="696"/>
                  </a:cubicBezTo>
                  <a:close/>
                  <a:moveTo>
                    <a:pt x="439" y="692"/>
                  </a:moveTo>
                  <a:cubicBezTo>
                    <a:pt x="436" y="691"/>
                    <a:pt x="438" y="685"/>
                    <a:pt x="434" y="684"/>
                  </a:cubicBezTo>
                  <a:cubicBezTo>
                    <a:pt x="435" y="680"/>
                    <a:pt x="439" y="681"/>
                    <a:pt x="442" y="681"/>
                  </a:cubicBezTo>
                  <a:cubicBezTo>
                    <a:pt x="443" y="687"/>
                    <a:pt x="440" y="687"/>
                    <a:pt x="439" y="692"/>
                  </a:cubicBezTo>
                  <a:close/>
                  <a:moveTo>
                    <a:pt x="439" y="581"/>
                  </a:moveTo>
                  <a:cubicBezTo>
                    <a:pt x="442" y="582"/>
                    <a:pt x="441" y="588"/>
                    <a:pt x="445" y="588"/>
                  </a:cubicBezTo>
                  <a:cubicBezTo>
                    <a:pt x="444" y="599"/>
                    <a:pt x="436" y="589"/>
                    <a:pt x="439" y="581"/>
                  </a:cubicBezTo>
                  <a:close/>
                  <a:moveTo>
                    <a:pt x="439" y="655"/>
                  </a:moveTo>
                  <a:cubicBezTo>
                    <a:pt x="438" y="666"/>
                    <a:pt x="434" y="651"/>
                    <a:pt x="429" y="655"/>
                  </a:cubicBezTo>
                  <a:cubicBezTo>
                    <a:pt x="424" y="657"/>
                    <a:pt x="427" y="668"/>
                    <a:pt x="423" y="673"/>
                  </a:cubicBezTo>
                  <a:cubicBezTo>
                    <a:pt x="422" y="676"/>
                    <a:pt x="416" y="682"/>
                    <a:pt x="412" y="681"/>
                  </a:cubicBezTo>
                  <a:cubicBezTo>
                    <a:pt x="410" y="666"/>
                    <a:pt x="397" y="665"/>
                    <a:pt x="399" y="644"/>
                  </a:cubicBezTo>
                  <a:cubicBezTo>
                    <a:pt x="393" y="644"/>
                    <a:pt x="393" y="653"/>
                    <a:pt x="394" y="662"/>
                  </a:cubicBezTo>
                  <a:cubicBezTo>
                    <a:pt x="395" y="671"/>
                    <a:pt x="398" y="658"/>
                    <a:pt x="402" y="666"/>
                  </a:cubicBezTo>
                  <a:cubicBezTo>
                    <a:pt x="396" y="674"/>
                    <a:pt x="392" y="680"/>
                    <a:pt x="383" y="673"/>
                  </a:cubicBezTo>
                  <a:cubicBezTo>
                    <a:pt x="386" y="686"/>
                    <a:pt x="389" y="687"/>
                    <a:pt x="383" y="699"/>
                  </a:cubicBezTo>
                  <a:cubicBezTo>
                    <a:pt x="380" y="695"/>
                    <a:pt x="373" y="695"/>
                    <a:pt x="367" y="696"/>
                  </a:cubicBezTo>
                  <a:cubicBezTo>
                    <a:pt x="367" y="689"/>
                    <a:pt x="371" y="687"/>
                    <a:pt x="378" y="688"/>
                  </a:cubicBezTo>
                  <a:cubicBezTo>
                    <a:pt x="379" y="682"/>
                    <a:pt x="371" y="683"/>
                    <a:pt x="370" y="681"/>
                  </a:cubicBezTo>
                  <a:cubicBezTo>
                    <a:pt x="369" y="680"/>
                    <a:pt x="372" y="675"/>
                    <a:pt x="372" y="673"/>
                  </a:cubicBezTo>
                  <a:cubicBezTo>
                    <a:pt x="372" y="672"/>
                    <a:pt x="370" y="661"/>
                    <a:pt x="367" y="659"/>
                  </a:cubicBezTo>
                  <a:cubicBezTo>
                    <a:pt x="361" y="658"/>
                    <a:pt x="366" y="672"/>
                    <a:pt x="364" y="677"/>
                  </a:cubicBezTo>
                  <a:cubicBezTo>
                    <a:pt x="362" y="677"/>
                    <a:pt x="356" y="665"/>
                    <a:pt x="361" y="666"/>
                  </a:cubicBezTo>
                  <a:cubicBezTo>
                    <a:pt x="361" y="658"/>
                    <a:pt x="354" y="659"/>
                    <a:pt x="351" y="655"/>
                  </a:cubicBezTo>
                  <a:cubicBezTo>
                    <a:pt x="345" y="655"/>
                    <a:pt x="345" y="664"/>
                    <a:pt x="345" y="673"/>
                  </a:cubicBezTo>
                  <a:cubicBezTo>
                    <a:pt x="335" y="670"/>
                    <a:pt x="346" y="658"/>
                    <a:pt x="343" y="644"/>
                  </a:cubicBezTo>
                  <a:cubicBezTo>
                    <a:pt x="345" y="646"/>
                    <a:pt x="345" y="652"/>
                    <a:pt x="351" y="651"/>
                  </a:cubicBezTo>
                  <a:cubicBezTo>
                    <a:pt x="360" y="653"/>
                    <a:pt x="351" y="633"/>
                    <a:pt x="351" y="633"/>
                  </a:cubicBezTo>
                  <a:cubicBezTo>
                    <a:pt x="348" y="632"/>
                    <a:pt x="347" y="645"/>
                    <a:pt x="345" y="636"/>
                  </a:cubicBezTo>
                  <a:cubicBezTo>
                    <a:pt x="345" y="634"/>
                    <a:pt x="346" y="631"/>
                    <a:pt x="345" y="629"/>
                  </a:cubicBezTo>
                  <a:cubicBezTo>
                    <a:pt x="343" y="623"/>
                    <a:pt x="335" y="621"/>
                    <a:pt x="340" y="611"/>
                  </a:cubicBezTo>
                  <a:cubicBezTo>
                    <a:pt x="342" y="603"/>
                    <a:pt x="344" y="615"/>
                    <a:pt x="340" y="614"/>
                  </a:cubicBezTo>
                  <a:cubicBezTo>
                    <a:pt x="336" y="622"/>
                    <a:pt x="347" y="618"/>
                    <a:pt x="351" y="622"/>
                  </a:cubicBezTo>
                  <a:cubicBezTo>
                    <a:pt x="352" y="623"/>
                    <a:pt x="360" y="639"/>
                    <a:pt x="359" y="618"/>
                  </a:cubicBezTo>
                  <a:cubicBezTo>
                    <a:pt x="365" y="625"/>
                    <a:pt x="364" y="640"/>
                    <a:pt x="364" y="655"/>
                  </a:cubicBezTo>
                  <a:cubicBezTo>
                    <a:pt x="368" y="656"/>
                    <a:pt x="369" y="651"/>
                    <a:pt x="372" y="651"/>
                  </a:cubicBezTo>
                  <a:cubicBezTo>
                    <a:pt x="371" y="645"/>
                    <a:pt x="364" y="648"/>
                    <a:pt x="367" y="636"/>
                  </a:cubicBezTo>
                  <a:cubicBezTo>
                    <a:pt x="370" y="636"/>
                    <a:pt x="372" y="636"/>
                    <a:pt x="375" y="636"/>
                  </a:cubicBezTo>
                  <a:cubicBezTo>
                    <a:pt x="374" y="632"/>
                    <a:pt x="371" y="629"/>
                    <a:pt x="367" y="629"/>
                  </a:cubicBezTo>
                  <a:cubicBezTo>
                    <a:pt x="365" y="624"/>
                    <a:pt x="377" y="620"/>
                    <a:pt x="370" y="618"/>
                  </a:cubicBezTo>
                  <a:cubicBezTo>
                    <a:pt x="372" y="606"/>
                    <a:pt x="375" y="622"/>
                    <a:pt x="378" y="622"/>
                  </a:cubicBezTo>
                  <a:cubicBezTo>
                    <a:pt x="378" y="652"/>
                    <a:pt x="373" y="658"/>
                    <a:pt x="378" y="681"/>
                  </a:cubicBezTo>
                  <a:cubicBezTo>
                    <a:pt x="386" y="678"/>
                    <a:pt x="375" y="653"/>
                    <a:pt x="380" y="648"/>
                  </a:cubicBezTo>
                  <a:cubicBezTo>
                    <a:pt x="384" y="643"/>
                    <a:pt x="377" y="638"/>
                    <a:pt x="383" y="629"/>
                  </a:cubicBezTo>
                  <a:cubicBezTo>
                    <a:pt x="390" y="634"/>
                    <a:pt x="391" y="637"/>
                    <a:pt x="388" y="648"/>
                  </a:cubicBezTo>
                  <a:cubicBezTo>
                    <a:pt x="399" y="651"/>
                    <a:pt x="392" y="630"/>
                    <a:pt x="402" y="633"/>
                  </a:cubicBezTo>
                  <a:cubicBezTo>
                    <a:pt x="402" y="622"/>
                    <a:pt x="395" y="620"/>
                    <a:pt x="394" y="611"/>
                  </a:cubicBezTo>
                  <a:cubicBezTo>
                    <a:pt x="391" y="612"/>
                    <a:pt x="387" y="617"/>
                    <a:pt x="391" y="618"/>
                  </a:cubicBezTo>
                  <a:cubicBezTo>
                    <a:pt x="389" y="624"/>
                    <a:pt x="385" y="620"/>
                    <a:pt x="386" y="614"/>
                  </a:cubicBezTo>
                  <a:cubicBezTo>
                    <a:pt x="383" y="610"/>
                    <a:pt x="376" y="613"/>
                    <a:pt x="378" y="603"/>
                  </a:cubicBezTo>
                  <a:cubicBezTo>
                    <a:pt x="370" y="603"/>
                    <a:pt x="363" y="603"/>
                    <a:pt x="356" y="603"/>
                  </a:cubicBezTo>
                  <a:cubicBezTo>
                    <a:pt x="358" y="607"/>
                    <a:pt x="361" y="609"/>
                    <a:pt x="364" y="611"/>
                  </a:cubicBezTo>
                  <a:cubicBezTo>
                    <a:pt x="364" y="624"/>
                    <a:pt x="355" y="603"/>
                    <a:pt x="356" y="614"/>
                  </a:cubicBezTo>
                  <a:cubicBezTo>
                    <a:pt x="349" y="614"/>
                    <a:pt x="353" y="598"/>
                    <a:pt x="343" y="603"/>
                  </a:cubicBezTo>
                  <a:cubicBezTo>
                    <a:pt x="340" y="598"/>
                    <a:pt x="345" y="593"/>
                    <a:pt x="345" y="592"/>
                  </a:cubicBezTo>
                  <a:cubicBezTo>
                    <a:pt x="345" y="585"/>
                    <a:pt x="336" y="584"/>
                    <a:pt x="343" y="581"/>
                  </a:cubicBezTo>
                  <a:cubicBezTo>
                    <a:pt x="352" y="577"/>
                    <a:pt x="347" y="592"/>
                    <a:pt x="348" y="599"/>
                  </a:cubicBezTo>
                  <a:cubicBezTo>
                    <a:pt x="355" y="599"/>
                    <a:pt x="352" y="586"/>
                    <a:pt x="356" y="581"/>
                  </a:cubicBezTo>
                  <a:cubicBezTo>
                    <a:pt x="357" y="577"/>
                    <a:pt x="352" y="579"/>
                    <a:pt x="351" y="577"/>
                  </a:cubicBezTo>
                  <a:cubicBezTo>
                    <a:pt x="349" y="574"/>
                    <a:pt x="353" y="565"/>
                    <a:pt x="348" y="566"/>
                  </a:cubicBezTo>
                  <a:cubicBezTo>
                    <a:pt x="350" y="562"/>
                    <a:pt x="354" y="562"/>
                    <a:pt x="353" y="555"/>
                  </a:cubicBezTo>
                  <a:cubicBezTo>
                    <a:pt x="360" y="556"/>
                    <a:pt x="354" y="568"/>
                    <a:pt x="353" y="570"/>
                  </a:cubicBezTo>
                  <a:cubicBezTo>
                    <a:pt x="353" y="578"/>
                    <a:pt x="363" y="572"/>
                    <a:pt x="367" y="574"/>
                  </a:cubicBezTo>
                  <a:cubicBezTo>
                    <a:pt x="365" y="585"/>
                    <a:pt x="372" y="587"/>
                    <a:pt x="370" y="599"/>
                  </a:cubicBezTo>
                  <a:cubicBezTo>
                    <a:pt x="384" y="595"/>
                    <a:pt x="371" y="585"/>
                    <a:pt x="372" y="570"/>
                  </a:cubicBezTo>
                  <a:cubicBezTo>
                    <a:pt x="376" y="571"/>
                    <a:pt x="376" y="576"/>
                    <a:pt x="380" y="577"/>
                  </a:cubicBezTo>
                  <a:cubicBezTo>
                    <a:pt x="386" y="578"/>
                    <a:pt x="382" y="564"/>
                    <a:pt x="383" y="559"/>
                  </a:cubicBezTo>
                  <a:cubicBezTo>
                    <a:pt x="390" y="562"/>
                    <a:pt x="390" y="554"/>
                    <a:pt x="396" y="555"/>
                  </a:cubicBezTo>
                  <a:cubicBezTo>
                    <a:pt x="397" y="570"/>
                    <a:pt x="403" y="555"/>
                    <a:pt x="410" y="562"/>
                  </a:cubicBezTo>
                  <a:cubicBezTo>
                    <a:pt x="409" y="567"/>
                    <a:pt x="405" y="568"/>
                    <a:pt x="404" y="574"/>
                  </a:cubicBezTo>
                  <a:cubicBezTo>
                    <a:pt x="413" y="576"/>
                    <a:pt x="410" y="563"/>
                    <a:pt x="418" y="566"/>
                  </a:cubicBezTo>
                  <a:cubicBezTo>
                    <a:pt x="419" y="574"/>
                    <a:pt x="426" y="573"/>
                    <a:pt x="421" y="581"/>
                  </a:cubicBezTo>
                  <a:cubicBezTo>
                    <a:pt x="417" y="580"/>
                    <a:pt x="420" y="570"/>
                    <a:pt x="415" y="570"/>
                  </a:cubicBezTo>
                  <a:cubicBezTo>
                    <a:pt x="412" y="571"/>
                    <a:pt x="412" y="577"/>
                    <a:pt x="415" y="577"/>
                  </a:cubicBezTo>
                  <a:cubicBezTo>
                    <a:pt x="415" y="582"/>
                    <a:pt x="415" y="588"/>
                    <a:pt x="418" y="588"/>
                  </a:cubicBezTo>
                  <a:cubicBezTo>
                    <a:pt x="416" y="600"/>
                    <a:pt x="416" y="595"/>
                    <a:pt x="418" y="607"/>
                  </a:cubicBezTo>
                  <a:cubicBezTo>
                    <a:pt x="424" y="609"/>
                    <a:pt x="423" y="602"/>
                    <a:pt x="423" y="596"/>
                  </a:cubicBezTo>
                  <a:cubicBezTo>
                    <a:pt x="426" y="596"/>
                    <a:pt x="426" y="602"/>
                    <a:pt x="426" y="607"/>
                  </a:cubicBezTo>
                  <a:cubicBezTo>
                    <a:pt x="426" y="614"/>
                    <a:pt x="433" y="612"/>
                    <a:pt x="431" y="622"/>
                  </a:cubicBezTo>
                  <a:cubicBezTo>
                    <a:pt x="429" y="620"/>
                    <a:pt x="427" y="618"/>
                    <a:pt x="423" y="618"/>
                  </a:cubicBezTo>
                  <a:cubicBezTo>
                    <a:pt x="416" y="617"/>
                    <a:pt x="427" y="642"/>
                    <a:pt x="415" y="636"/>
                  </a:cubicBezTo>
                  <a:cubicBezTo>
                    <a:pt x="418" y="630"/>
                    <a:pt x="416" y="618"/>
                    <a:pt x="421" y="614"/>
                  </a:cubicBezTo>
                  <a:cubicBezTo>
                    <a:pt x="419" y="611"/>
                    <a:pt x="416" y="609"/>
                    <a:pt x="412" y="607"/>
                  </a:cubicBezTo>
                  <a:cubicBezTo>
                    <a:pt x="407" y="607"/>
                    <a:pt x="412" y="615"/>
                    <a:pt x="412" y="614"/>
                  </a:cubicBezTo>
                  <a:cubicBezTo>
                    <a:pt x="411" y="620"/>
                    <a:pt x="400" y="622"/>
                    <a:pt x="410" y="625"/>
                  </a:cubicBezTo>
                  <a:cubicBezTo>
                    <a:pt x="409" y="629"/>
                    <a:pt x="404" y="628"/>
                    <a:pt x="404" y="633"/>
                  </a:cubicBezTo>
                  <a:cubicBezTo>
                    <a:pt x="405" y="637"/>
                    <a:pt x="409" y="636"/>
                    <a:pt x="412" y="636"/>
                  </a:cubicBezTo>
                  <a:cubicBezTo>
                    <a:pt x="414" y="644"/>
                    <a:pt x="409" y="643"/>
                    <a:pt x="404" y="644"/>
                  </a:cubicBezTo>
                  <a:cubicBezTo>
                    <a:pt x="400" y="653"/>
                    <a:pt x="411" y="651"/>
                    <a:pt x="412" y="655"/>
                  </a:cubicBezTo>
                  <a:cubicBezTo>
                    <a:pt x="415" y="662"/>
                    <a:pt x="408" y="669"/>
                    <a:pt x="415" y="673"/>
                  </a:cubicBezTo>
                  <a:cubicBezTo>
                    <a:pt x="420" y="668"/>
                    <a:pt x="415" y="648"/>
                    <a:pt x="421" y="636"/>
                  </a:cubicBezTo>
                  <a:cubicBezTo>
                    <a:pt x="422" y="638"/>
                    <a:pt x="429" y="651"/>
                    <a:pt x="431" y="640"/>
                  </a:cubicBezTo>
                  <a:cubicBezTo>
                    <a:pt x="437" y="641"/>
                    <a:pt x="432" y="657"/>
                    <a:pt x="439" y="655"/>
                  </a:cubicBezTo>
                  <a:close/>
                  <a:moveTo>
                    <a:pt x="426" y="570"/>
                  </a:moveTo>
                  <a:cubicBezTo>
                    <a:pt x="434" y="566"/>
                    <a:pt x="439" y="597"/>
                    <a:pt x="429" y="596"/>
                  </a:cubicBezTo>
                  <a:cubicBezTo>
                    <a:pt x="427" y="592"/>
                    <a:pt x="431" y="593"/>
                    <a:pt x="431" y="592"/>
                  </a:cubicBezTo>
                  <a:cubicBezTo>
                    <a:pt x="432" y="587"/>
                    <a:pt x="426" y="591"/>
                    <a:pt x="426" y="588"/>
                  </a:cubicBezTo>
                  <a:cubicBezTo>
                    <a:pt x="425" y="583"/>
                    <a:pt x="427" y="576"/>
                    <a:pt x="426" y="570"/>
                  </a:cubicBezTo>
                  <a:close/>
                  <a:moveTo>
                    <a:pt x="437" y="285"/>
                  </a:moveTo>
                  <a:cubicBezTo>
                    <a:pt x="435" y="284"/>
                    <a:pt x="434" y="281"/>
                    <a:pt x="431" y="281"/>
                  </a:cubicBezTo>
                  <a:cubicBezTo>
                    <a:pt x="427" y="283"/>
                    <a:pt x="435" y="294"/>
                    <a:pt x="423" y="292"/>
                  </a:cubicBezTo>
                  <a:cubicBezTo>
                    <a:pt x="425" y="290"/>
                    <a:pt x="427" y="282"/>
                    <a:pt x="423" y="281"/>
                  </a:cubicBezTo>
                  <a:cubicBezTo>
                    <a:pt x="423" y="275"/>
                    <a:pt x="441" y="274"/>
                    <a:pt x="437" y="285"/>
                  </a:cubicBezTo>
                  <a:close/>
                  <a:moveTo>
                    <a:pt x="426" y="30"/>
                  </a:moveTo>
                  <a:cubicBezTo>
                    <a:pt x="426" y="26"/>
                    <a:pt x="426" y="26"/>
                    <a:pt x="426" y="26"/>
                  </a:cubicBezTo>
                  <a:cubicBezTo>
                    <a:pt x="436" y="28"/>
                    <a:pt x="421" y="38"/>
                    <a:pt x="418" y="34"/>
                  </a:cubicBezTo>
                  <a:cubicBezTo>
                    <a:pt x="416" y="31"/>
                    <a:pt x="425" y="30"/>
                    <a:pt x="426" y="30"/>
                  </a:cubicBezTo>
                  <a:close/>
                  <a:moveTo>
                    <a:pt x="407" y="174"/>
                  </a:moveTo>
                  <a:cubicBezTo>
                    <a:pt x="413" y="173"/>
                    <a:pt x="422" y="196"/>
                    <a:pt x="410" y="196"/>
                  </a:cubicBezTo>
                  <a:cubicBezTo>
                    <a:pt x="410" y="193"/>
                    <a:pt x="412" y="193"/>
                    <a:pt x="412" y="189"/>
                  </a:cubicBezTo>
                  <a:cubicBezTo>
                    <a:pt x="410" y="183"/>
                    <a:pt x="404" y="184"/>
                    <a:pt x="399" y="182"/>
                  </a:cubicBezTo>
                  <a:cubicBezTo>
                    <a:pt x="400" y="176"/>
                    <a:pt x="407" y="180"/>
                    <a:pt x="407" y="174"/>
                  </a:cubicBezTo>
                  <a:close/>
                  <a:moveTo>
                    <a:pt x="415" y="252"/>
                  </a:moveTo>
                  <a:cubicBezTo>
                    <a:pt x="415" y="258"/>
                    <a:pt x="413" y="262"/>
                    <a:pt x="410" y="263"/>
                  </a:cubicBezTo>
                  <a:cubicBezTo>
                    <a:pt x="411" y="263"/>
                    <a:pt x="400" y="260"/>
                    <a:pt x="399" y="259"/>
                  </a:cubicBezTo>
                  <a:cubicBezTo>
                    <a:pt x="399" y="259"/>
                    <a:pt x="399" y="256"/>
                    <a:pt x="399" y="255"/>
                  </a:cubicBezTo>
                  <a:cubicBezTo>
                    <a:pt x="396" y="253"/>
                    <a:pt x="393" y="255"/>
                    <a:pt x="394" y="248"/>
                  </a:cubicBezTo>
                  <a:cubicBezTo>
                    <a:pt x="402" y="251"/>
                    <a:pt x="405" y="259"/>
                    <a:pt x="415" y="252"/>
                  </a:cubicBezTo>
                  <a:close/>
                  <a:moveTo>
                    <a:pt x="394" y="185"/>
                  </a:moveTo>
                  <a:cubicBezTo>
                    <a:pt x="391" y="182"/>
                    <a:pt x="388" y="181"/>
                    <a:pt x="383" y="182"/>
                  </a:cubicBezTo>
                  <a:cubicBezTo>
                    <a:pt x="382" y="175"/>
                    <a:pt x="398" y="175"/>
                    <a:pt x="394" y="185"/>
                  </a:cubicBezTo>
                  <a:close/>
                  <a:moveTo>
                    <a:pt x="391" y="248"/>
                  </a:moveTo>
                  <a:cubicBezTo>
                    <a:pt x="389" y="256"/>
                    <a:pt x="374" y="252"/>
                    <a:pt x="372" y="248"/>
                  </a:cubicBezTo>
                  <a:cubicBezTo>
                    <a:pt x="373" y="244"/>
                    <a:pt x="375" y="246"/>
                    <a:pt x="375" y="248"/>
                  </a:cubicBezTo>
                  <a:cubicBezTo>
                    <a:pt x="384" y="251"/>
                    <a:pt x="386" y="241"/>
                    <a:pt x="391" y="248"/>
                  </a:cubicBezTo>
                  <a:close/>
                  <a:moveTo>
                    <a:pt x="340" y="174"/>
                  </a:moveTo>
                  <a:cubicBezTo>
                    <a:pt x="350" y="177"/>
                    <a:pt x="339" y="185"/>
                    <a:pt x="345" y="193"/>
                  </a:cubicBezTo>
                  <a:cubicBezTo>
                    <a:pt x="355" y="195"/>
                    <a:pt x="361" y="181"/>
                    <a:pt x="367" y="189"/>
                  </a:cubicBezTo>
                  <a:cubicBezTo>
                    <a:pt x="367" y="185"/>
                    <a:pt x="366" y="182"/>
                    <a:pt x="364" y="182"/>
                  </a:cubicBezTo>
                  <a:cubicBezTo>
                    <a:pt x="362" y="171"/>
                    <a:pt x="377" y="184"/>
                    <a:pt x="375" y="174"/>
                  </a:cubicBezTo>
                  <a:cubicBezTo>
                    <a:pt x="380" y="177"/>
                    <a:pt x="373" y="200"/>
                    <a:pt x="370" y="204"/>
                  </a:cubicBezTo>
                  <a:cubicBezTo>
                    <a:pt x="368" y="205"/>
                    <a:pt x="367" y="208"/>
                    <a:pt x="364" y="207"/>
                  </a:cubicBezTo>
                  <a:cubicBezTo>
                    <a:pt x="370" y="200"/>
                    <a:pt x="364" y="195"/>
                    <a:pt x="359" y="193"/>
                  </a:cubicBezTo>
                  <a:cubicBezTo>
                    <a:pt x="355" y="191"/>
                    <a:pt x="357" y="199"/>
                    <a:pt x="356" y="200"/>
                  </a:cubicBezTo>
                  <a:cubicBezTo>
                    <a:pt x="352" y="203"/>
                    <a:pt x="345" y="198"/>
                    <a:pt x="340" y="200"/>
                  </a:cubicBezTo>
                  <a:cubicBezTo>
                    <a:pt x="335" y="191"/>
                    <a:pt x="333" y="182"/>
                    <a:pt x="340" y="174"/>
                  </a:cubicBezTo>
                  <a:close/>
                  <a:moveTo>
                    <a:pt x="340" y="300"/>
                  </a:moveTo>
                  <a:cubicBezTo>
                    <a:pt x="339" y="307"/>
                    <a:pt x="334" y="309"/>
                    <a:pt x="335" y="318"/>
                  </a:cubicBezTo>
                  <a:cubicBezTo>
                    <a:pt x="335" y="328"/>
                    <a:pt x="339" y="313"/>
                    <a:pt x="345" y="318"/>
                  </a:cubicBezTo>
                  <a:cubicBezTo>
                    <a:pt x="346" y="312"/>
                    <a:pt x="343" y="311"/>
                    <a:pt x="340" y="311"/>
                  </a:cubicBezTo>
                  <a:cubicBezTo>
                    <a:pt x="340" y="303"/>
                    <a:pt x="349" y="309"/>
                    <a:pt x="353" y="307"/>
                  </a:cubicBezTo>
                  <a:cubicBezTo>
                    <a:pt x="357" y="317"/>
                    <a:pt x="343" y="319"/>
                    <a:pt x="351" y="322"/>
                  </a:cubicBezTo>
                  <a:cubicBezTo>
                    <a:pt x="350" y="326"/>
                    <a:pt x="348" y="324"/>
                    <a:pt x="348" y="322"/>
                  </a:cubicBezTo>
                  <a:cubicBezTo>
                    <a:pt x="340" y="319"/>
                    <a:pt x="340" y="328"/>
                    <a:pt x="332" y="326"/>
                  </a:cubicBezTo>
                  <a:cubicBezTo>
                    <a:pt x="328" y="316"/>
                    <a:pt x="333" y="314"/>
                    <a:pt x="329" y="311"/>
                  </a:cubicBezTo>
                  <a:cubicBezTo>
                    <a:pt x="330" y="307"/>
                    <a:pt x="335" y="308"/>
                    <a:pt x="335" y="304"/>
                  </a:cubicBezTo>
                  <a:cubicBezTo>
                    <a:pt x="335" y="300"/>
                    <a:pt x="338" y="301"/>
                    <a:pt x="340" y="300"/>
                  </a:cubicBezTo>
                  <a:close/>
                  <a:moveTo>
                    <a:pt x="335" y="296"/>
                  </a:moveTo>
                  <a:cubicBezTo>
                    <a:pt x="331" y="294"/>
                    <a:pt x="330" y="288"/>
                    <a:pt x="329" y="281"/>
                  </a:cubicBezTo>
                  <a:cubicBezTo>
                    <a:pt x="334" y="282"/>
                    <a:pt x="335" y="288"/>
                    <a:pt x="335" y="296"/>
                  </a:cubicBezTo>
                  <a:close/>
                  <a:moveTo>
                    <a:pt x="324" y="163"/>
                  </a:moveTo>
                  <a:cubicBezTo>
                    <a:pt x="324" y="170"/>
                    <a:pt x="324" y="178"/>
                    <a:pt x="324" y="185"/>
                  </a:cubicBezTo>
                  <a:cubicBezTo>
                    <a:pt x="327" y="183"/>
                    <a:pt x="327" y="177"/>
                    <a:pt x="332" y="178"/>
                  </a:cubicBezTo>
                  <a:cubicBezTo>
                    <a:pt x="334" y="193"/>
                    <a:pt x="313" y="206"/>
                    <a:pt x="313" y="185"/>
                  </a:cubicBezTo>
                  <a:cubicBezTo>
                    <a:pt x="316" y="185"/>
                    <a:pt x="315" y="190"/>
                    <a:pt x="316" y="193"/>
                  </a:cubicBezTo>
                  <a:cubicBezTo>
                    <a:pt x="321" y="194"/>
                    <a:pt x="320" y="176"/>
                    <a:pt x="313" y="182"/>
                  </a:cubicBezTo>
                  <a:cubicBezTo>
                    <a:pt x="320" y="172"/>
                    <a:pt x="310" y="170"/>
                    <a:pt x="310" y="159"/>
                  </a:cubicBezTo>
                  <a:cubicBezTo>
                    <a:pt x="315" y="152"/>
                    <a:pt x="318" y="161"/>
                    <a:pt x="324" y="163"/>
                  </a:cubicBezTo>
                  <a:close/>
                  <a:moveTo>
                    <a:pt x="308" y="241"/>
                  </a:moveTo>
                  <a:cubicBezTo>
                    <a:pt x="316" y="246"/>
                    <a:pt x="318" y="237"/>
                    <a:pt x="321" y="248"/>
                  </a:cubicBezTo>
                  <a:cubicBezTo>
                    <a:pt x="323" y="246"/>
                    <a:pt x="326" y="244"/>
                    <a:pt x="329" y="244"/>
                  </a:cubicBezTo>
                  <a:cubicBezTo>
                    <a:pt x="330" y="248"/>
                    <a:pt x="328" y="248"/>
                    <a:pt x="326" y="248"/>
                  </a:cubicBezTo>
                  <a:cubicBezTo>
                    <a:pt x="319" y="255"/>
                    <a:pt x="326" y="266"/>
                    <a:pt x="326" y="274"/>
                  </a:cubicBezTo>
                  <a:cubicBezTo>
                    <a:pt x="327" y="282"/>
                    <a:pt x="324" y="291"/>
                    <a:pt x="326" y="296"/>
                  </a:cubicBezTo>
                  <a:cubicBezTo>
                    <a:pt x="323" y="296"/>
                    <a:pt x="319" y="296"/>
                    <a:pt x="318" y="300"/>
                  </a:cubicBezTo>
                  <a:cubicBezTo>
                    <a:pt x="312" y="292"/>
                    <a:pt x="326" y="281"/>
                    <a:pt x="321" y="263"/>
                  </a:cubicBezTo>
                  <a:cubicBezTo>
                    <a:pt x="321" y="266"/>
                    <a:pt x="307" y="266"/>
                    <a:pt x="313" y="259"/>
                  </a:cubicBezTo>
                  <a:cubicBezTo>
                    <a:pt x="313" y="259"/>
                    <a:pt x="318" y="260"/>
                    <a:pt x="318" y="259"/>
                  </a:cubicBezTo>
                  <a:cubicBezTo>
                    <a:pt x="318" y="258"/>
                    <a:pt x="314" y="249"/>
                    <a:pt x="313" y="248"/>
                  </a:cubicBezTo>
                  <a:cubicBezTo>
                    <a:pt x="311" y="247"/>
                    <a:pt x="309" y="251"/>
                    <a:pt x="310" y="252"/>
                  </a:cubicBezTo>
                  <a:cubicBezTo>
                    <a:pt x="314" y="256"/>
                    <a:pt x="310" y="255"/>
                    <a:pt x="308" y="252"/>
                  </a:cubicBezTo>
                  <a:cubicBezTo>
                    <a:pt x="305" y="248"/>
                    <a:pt x="308" y="249"/>
                    <a:pt x="308" y="241"/>
                  </a:cubicBezTo>
                  <a:close/>
                  <a:moveTo>
                    <a:pt x="308" y="270"/>
                  </a:moveTo>
                  <a:cubicBezTo>
                    <a:pt x="308" y="261"/>
                    <a:pt x="312" y="275"/>
                    <a:pt x="318" y="270"/>
                  </a:cubicBezTo>
                  <a:cubicBezTo>
                    <a:pt x="317" y="278"/>
                    <a:pt x="313" y="282"/>
                    <a:pt x="310" y="289"/>
                  </a:cubicBezTo>
                  <a:cubicBezTo>
                    <a:pt x="305" y="287"/>
                    <a:pt x="312" y="273"/>
                    <a:pt x="308" y="270"/>
                  </a:cubicBezTo>
                  <a:close/>
                  <a:moveTo>
                    <a:pt x="313" y="311"/>
                  </a:moveTo>
                  <a:cubicBezTo>
                    <a:pt x="318" y="310"/>
                    <a:pt x="321" y="312"/>
                    <a:pt x="321" y="318"/>
                  </a:cubicBezTo>
                  <a:cubicBezTo>
                    <a:pt x="316" y="317"/>
                    <a:pt x="309" y="317"/>
                    <a:pt x="310" y="307"/>
                  </a:cubicBezTo>
                  <a:cubicBezTo>
                    <a:pt x="303" y="306"/>
                    <a:pt x="313" y="328"/>
                    <a:pt x="302" y="322"/>
                  </a:cubicBezTo>
                  <a:cubicBezTo>
                    <a:pt x="303" y="313"/>
                    <a:pt x="303" y="304"/>
                    <a:pt x="297" y="304"/>
                  </a:cubicBezTo>
                  <a:cubicBezTo>
                    <a:pt x="293" y="305"/>
                    <a:pt x="298" y="308"/>
                    <a:pt x="297" y="315"/>
                  </a:cubicBezTo>
                  <a:cubicBezTo>
                    <a:pt x="289" y="318"/>
                    <a:pt x="292" y="306"/>
                    <a:pt x="292" y="300"/>
                  </a:cubicBezTo>
                  <a:cubicBezTo>
                    <a:pt x="299" y="295"/>
                    <a:pt x="306" y="311"/>
                    <a:pt x="305" y="296"/>
                  </a:cubicBezTo>
                  <a:cubicBezTo>
                    <a:pt x="312" y="295"/>
                    <a:pt x="312" y="304"/>
                    <a:pt x="313" y="311"/>
                  </a:cubicBezTo>
                  <a:close/>
                  <a:moveTo>
                    <a:pt x="292" y="159"/>
                  </a:moveTo>
                  <a:cubicBezTo>
                    <a:pt x="297" y="166"/>
                    <a:pt x="296" y="157"/>
                    <a:pt x="305" y="159"/>
                  </a:cubicBezTo>
                  <a:cubicBezTo>
                    <a:pt x="307" y="167"/>
                    <a:pt x="289" y="173"/>
                    <a:pt x="292" y="159"/>
                  </a:cubicBezTo>
                  <a:close/>
                  <a:moveTo>
                    <a:pt x="286" y="174"/>
                  </a:moveTo>
                  <a:cubicBezTo>
                    <a:pt x="293" y="173"/>
                    <a:pt x="292" y="181"/>
                    <a:pt x="300" y="178"/>
                  </a:cubicBezTo>
                  <a:cubicBezTo>
                    <a:pt x="298" y="181"/>
                    <a:pt x="297" y="184"/>
                    <a:pt x="297" y="189"/>
                  </a:cubicBezTo>
                  <a:cubicBezTo>
                    <a:pt x="293" y="185"/>
                    <a:pt x="285" y="186"/>
                    <a:pt x="286" y="174"/>
                  </a:cubicBezTo>
                  <a:close/>
                  <a:moveTo>
                    <a:pt x="289" y="255"/>
                  </a:moveTo>
                  <a:cubicBezTo>
                    <a:pt x="287" y="255"/>
                    <a:pt x="286" y="252"/>
                    <a:pt x="283" y="252"/>
                  </a:cubicBezTo>
                  <a:cubicBezTo>
                    <a:pt x="283" y="249"/>
                    <a:pt x="283" y="247"/>
                    <a:pt x="283" y="244"/>
                  </a:cubicBezTo>
                  <a:cubicBezTo>
                    <a:pt x="289" y="243"/>
                    <a:pt x="289" y="250"/>
                    <a:pt x="289" y="255"/>
                  </a:cubicBezTo>
                  <a:close/>
                  <a:moveTo>
                    <a:pt x="283" y="189"/>
                  </a:moveTo>
                  <a:cubicBezTo>
                    <a:pt x="278" y="188"/>
                    <a:pt x="282" y="177"/>
                    <a:pt x="275" y="178"/>
                  </a:cubicBezTo>
                  <a:cubicBezTo>
                    <a:pt x="279" y="167"/>
                    <a:pt x="287" y="178"/>
                    <a:pt x="283" y="189"/>
                  </a:cubicBezTo>
                  <a:close/>
                  <a:moveTo>
                    <a:pt x="278" y="248"/>
                  </a:moveTo>
                  <a:cubicBezTo>
                    <a:pt x="274" y="246"/>
                    <a:pt x="273" y="240"/>
                    <a:pt x="273" y="233"/>
                  </a:cubicBezTo>
                  <a:cubicBezTo>
                    <a:pt x="277" y="234"/>
                    <a:pt x="279" y="240"/>
                    <a:pt x="278" y="248"/>
                  </a:cubicBezTo>
                  <a:close/>
                  <a:moveTo>
                    <a:pt x="267" y="174"/>
                  </a:moveTo>
                  <a:cubicBezTo>
                    <a:pt x="269" y="174"/>
                    <a:pt x="271" y="174"/>
                    <a:pt x="273" y="174"/>
                  </a:cubicBezTo>
                  <a:cubicBezTo>
                    <a:pt x="273" y="177"/>
                    <a:pt x="273" y="179"/>
                    <a:pt x="273" y="182"/>
                  </a:cubicBezTo>
                  <a:cubicBezTo>
                    <a:pt x="271" y="182"/>
                    <a:pt x="269" y="182"/>
                    <a:pt x="267" y="182"/>
                  </a:cubicBezTo>
                  <a:cubicBezTo>
                    <a:pt x="267" y="179"/>
                    <a:pt x="267" y="177"/>
                    <a:pt x="267" y="174"/>
                  </a:cubicBezTo>
                  <a:close/>
                  <a:moveTo>
                    <a:pt x="276" y="259"/>
                  </a:moveTo>
                  <a:cubicBezTo>
                    <a:pt x="277" y="257"/>
                    <a:pt x="279" y="253"/>
                    <a:pt x="278" y="252"/>
                  </a:cubicBezTo>
                  <a:cubicBezTo>
                    <a:pt x="281" y="254"/>
                    <a:pt x="279" y="256"/>
                    <a:pt x="281" y="259"/>
                  </a:cubicBezTo>
                  <a:cubicBezTo>
                    <a:pt x="283" y="262"/>
                    <a:pt x="289" y="264"/>
                    <a:pt x="286" y="278"/>
                  </a:cubicBezTo>
                  <a:cubicBezTo>
                    <a:pt x="284" y="284"/>
                    <a:pt x="283" y="275"/>
                    <a:pt x="283" y="270"/>
                  </a:cubicBezTo>
                  <a:cubicBezTo>
                    <a:pt x="284" y="266"/>
                    <a:pt x="275" y="260"/>
                    <a:pt x="270" y="259"/>
                  </a:cubicBezTo>
                  <a:cubicBezTo>
                    <a:pt x="268" y="259"/>
                    <a:pt x="265" y="266"/>
                    <a:pt x="265" y="259"/>
                  </a:cubicBezTo>
                  <a:cubicBezTo>
                    <a:pt x="257" y="254"/>
                    <a:pt x="274" y="257"/>
                    <a:pt x="276" y="259"/>
                  </a:cubicBezTo>
                  <a:close/>
                  <a:moveTo>
                    <a:pt x="259" y="237"/>
                  </a:moveTo>
                  <a:cubicBezTo>
                    <a:pt x="263" y="238"/>
                    <a:pt x="260" y="248"/>
                    <a:pt x="265" y="248"/>
                  </a:cubicBezTo>
                  <a:cubicBezTo>
                    <a:pt x="264" y="257"/>
                    <a:pt x="257" y="245"/>
                    <a:pt x="259" y="237"/>
                  </a:cubicBezTo>
                  <a:close/>
                  <a:moveTo>
                    <a:pt x="257" y="270"/>
                  </a:moveTo>
                  <a:cubicBezTo>
                    <a:pt x="250" y="282"/>
                    <a:pt x="261" y="262"/>
                    <a:pt x="254" y="263"/>
                  </a:cubicBezTo>
                  <a:cubicBezTo>
                    <a:pt x="255" y="249"/>
                    <a:pt x="265" y="271"/>
                    <a:pt x="257" y="270"/>
                  </a:cubicBezTo>
                  <a:close/>
                  <a:moveTo>
                    <a:pt x="251" y="174"/>
                  </a:moveTo>
                  <a:cubicBezTo>
                    <a:pt x="253" y="174"/>
                    <a:pt x="255" y="174"/>
                    <a:pt x="257" y="174"/>
                  </a:cubicBezTo>
                  <a:cubicBezTo>
                    <a:pt x="257" y="177"/>
                    <a:pt x="257" y="179"/>
                    <a:pt x="257" y="182"/>
                  </a:cubicBezTo>
                  <a:cubicBezTo>
                    <a:pt x="255" y="182"/>
                    <a:pt x="253" y="182"/>
                    <a:pt x="251" y="182"/>
                  </a:cubicBezTo>
                  <a:cubicBezTo>
                    <a:pt x="251" y="179"/>
                    <a:pt x="251" y="177"/>
                    <a:pt x="251" y="174"/>
                  </a:cubicBezTo>
                  <a:close/>
                  <a:moveTo>
                    <a:pt x="249" y="289"/>
                  </a:moveTo>
                  <a:cubicBezTo>
                    <a:pt x="251" y="289"/>
                    <a:pt x="251" y="284"/>
                    <a:pt x="251" y="281"/>
                  </a:cubicBezTo>
                  <a:cubicBezTo>
                    <a:pt x="253" y="283"/>
                    <a:pt x="257" y="285"/>
                    <a:pt x="257" y="289"/>
                  </a:cubicBezTo>
                  <a:cubicBezTo>
                    <a:pt x="256" y="289"/>
                    <a:pt x="251" y="293"/>
                    <a:pt x="251" y="292"/>
                  </a:cubicBezTo>
                  <a:cubicBezTo>
                    <a:pt x="251" y="299"/>
                    <a:pt x="257" y="302"/>
                    <a:pt x="254" y="311"/>
                  </a:cubicBezTo>
                  <a:cubicBezTo>
                    <a:pt x="241" y="308"/>
                    <a:pt x="251" y="297"/>
                    <a:pt x="246" y="285"/>
                  </a:cubicBezTo>
                  <a:cubicBezTo>
                    <a:pt x="248" y="284"/>
                    <a:pt x="248" y="286"/>
                    <a:pt x="249" y="289"/>
                  </a:cubicBezTo>
                  <a:close/>
                  <a:moveTo>
                    <a:pt x="243" y="274"/>
                  </a:moveTo>
                  <a:cubicBezTo>
                    <a:pt x="240" y="279"/>
                    <a:pt x="242" y="275"/>
                    <a:pt x="240" y="270"/>
                  </a:cubicBezTo>
                  <a:cubicBezTo>
                    <a:pt x="240" y="270"/>
                    <a:pt x="238" y="270"/>
                    <a:pt x="238" y="270"/>
                  </a:cubicBezTo>
                  <a:cubicBezTo>
                    <a:pt x="238" y="265"/>
                    <a:pt x="240" y="270"/>
                    <a:pt x="240" y="270"/>
                  </a:cubicBezTo>
                  <a:cubicBezTo>
                    <a:pt x="245" y="273"/>
                    <a:pt x="246" y="271"/>
                    <a:pt x="243" y="274"/>
                  </a:cubicBezTo>
                  <a:close/>
                  <a:moveTo>
                    <a:pt x="227" y="304"/>
                  </a:moveTo>
                  <a:cubicBezTo>
                    <a:pt x="226" y="296"/>
                    <a:pt x="239" y="298"/>
                    <a:pt x="235" y="307"/>
                  </a:cubicBezTo>
                  <a:cubicBezTo>
                    <a:pt x="233" y="307"/>
                    <a:pt x="231" y="307"/>
                    <a:pt x="230" y="307"/>
                  </a:cubicBezTo>
                  <a:cubicBezTo>
                    <a:pt x="230" y="304"/>
                    <a:pt x="229" y="304"/>
                    <a:pt x="227" y="304"/>
                  </a:cubicBezTo>
                  <a:close/>
                  <a:moveTo>
                    <a:pt x="235" y="278"/>
                  </a:moveTo>
                  <a:cubicBezTo>
                    <a:pt x="238" y="279"/>
                    <a:pt x="237" y="285"/>
                    <a:pt x="240" y="285"/>
                  </a:cubicBezTo>
                  <a:cubicBezTo>
                    <a:pt x="239" y="295"/>
                    <a:pt x="232" y="285"/>
                    <a:pt x="235" y="278"/>
                  </a:cubicBezTo>
                  <a:close/>
                  <a:moveTo>
                    <a:pt x="235" y="244"/>
                  </a:moveTo>
                  <a:cubicBezTo>
                    <a:pt x="238" y="245"/>
                    <a:pt x="237" y="252"/>
                    <a:pt x="240" y="252"/>
                  </a:cubicBezTo>
                  <a:cubicBezTo>
                    <a:pt x="240" y="255"/>
                    <a:pt x="237" y="255"/>
                    <a:pt x="235" y="255"/>
                  </a:cubicBezTo>
                  <a:cubicBezTo>
                    <a:pt x="235" y="259"/>
                    <a:pt x="236" y="259"/>
                    <a:pt x="238" y="259"/>
                  </a:cubicBezTo>
                  <a:cubicBezTo>
                    <a:pt x="237" y="268"/>
                    <a:pt x="231" y="255"/>
                    <a:pt x="227" y="255"/>
                  </a:cubicBezTo>
                  <a:cubicBezTo>
                    <a:pt x="227" y="251"/>
                    <a:pt x="230" y="253"/>
                    <a:pt x="230" y="255"/>
                  </a:cubicBezTo>
                  <a:cubicBezTo>
                    <a:pt x="232" y="253"/>
                    <a:pt x="234" y="249"/>
                    <a:pt x="235" y="244"/>
                  </a:cubicBezTo>
                  <a:close/>
                  <a:moveTo>
                    <a:pt x="230" y="163"/>
                  </a:moveTo>
                  <a:cubicBezTo>
                    <a:pt x="231" y="162"/>
                    <a:pt x="222" y="159"/>
                    <a:pt x="222" y="159"/>
                  </a:cubicBezTo>
                  <a:cubicBezTo>
                    <a:pt x="221" y="153"/>
                    <a:pt x="236" y="154"/>
                    <a:pt x="230" y="163"/>
                  </a:cubicBezTo>
                  <a:close/>
                  <a:moveTo>
                    <a:pt x="222" y="244"/>
                  </a:moveTo>
                  <a:cubicBezTo>
                    <a:pt x="218" y="243"/>
                    <a:pt x="216" y="240"/>
                    <a:pt x="216" y="233"/>
                  </a:cubicBezTo>
                  <a:cubicBezTo>
                    <a:pt x="219" y="235"/>
                    <a:pt x="222" y="238"/>
                    <a:pt x="222" y="244"/>
                  </a:cubicBezTo>
                  <a:close/>
                  <a:moveTo>
                    <a:pt x="214" y="270"/>
                  </a:moveTo>
                  <a:cubicBezTo>
                    <a:pt x="212" y="260"/>
                    <a:pt x="226" y="273"/>
                    <a:pt x="224" y="263"/>
                  </a:cubicBezTo>
                  <a:cubicBezTo>
                    <a:pt x="230" y="265"/>
                    <a:pt x="220" y="277"/>
                    <a:pt x="222" y="285"/>
                  </a:cubicBezTo>
                  <a:cubicBezTo>
                    <a:pt x="221" y="299"/>
                    <a:pt x="215" y="274"/>
                    <a:pt x="222" y="278"/>
                  </a:cubicBezTo>
                  <a:cubicBezTo>
                    <a:pt x="220" y="274"/>
                    <a:pt x="217" y="272"/>
                    <a:pt x="214" y="270"/>
                  </a:cubicBezTo>
                  <a:close/>
                  <a:moveTo>
                    <a:pt x="216" y="337"/>
                  </a:moveTo>
                  <a:cubicBezTo>
                    <a:pt x="216" y="326"/>
                    <a:pt x="218" y="334"/>
                    <a:pt x="222" y="333"/>
                  </a:cubicBezTo>
                  <a:cubicBezTo>
                    <a:pt x="223" y="333"/>
                    <a:pt x="234" y="322"/>
                    <a:pt x="232" y="337"/>
                  </a:cubicBezTo>
                  <a:cubicBezTo>
                    <a:pt x="238" y="339"/>
                    <a:pt x="242" y="319"/>
                    <a:pt x="232" y="322"/>
                  </a:cubicBezTo>
                  <a:cubicBezTo>
                    <a:pt x="232" y="318"/>
                    <a:pt x="232" y="315"/>
                    <a:pt x="232" y="311"/>
                  </a:cubicBezTo>
                  <a:cubicBezTo>
                    <a:pt x="236" y="315"/>
                    <a:pt x="238" y="321"/>
                    <a:pt x="240" y="326"/>
                  </a:cubicBezTo>
                  <a:cubicBezTo>
                    <a:pt x="241" y="332"/>
                    <a:pt x="238" y="332"/>
                    <a:pt x="238" y="337"/>
                  </a:cubicBezTo>
                  <a:cubicBezTo>
                    <a:pt x="237" y="349"/>
                    <a:pt x="242" y="368"/>
                    <a:pt x="232" y="366"/>
                  </a:cubicBezTo>
                  <a:cubicBezTo>
                    <a:pt x="235" y="356"/>
                    <a:pt x="235" y="351"/>
                    <a:pt x="232" y="341"/>
                  </a:cubicBezTo>
                  <a:cubicBezTo>
                    <a:pt x="226" y="339"/>
                    <a:pt x="234" y="357"/>
                    <a:pt x="224" y="352"/>
                  </a:cubicBezTo>
                  <a:cubicBezTo>
                    <a:pt x="224" y="346"/>
                    <a:pt x="227" y="345"/>
                    <a:pt x="227" y="341"/>
                  </a:cubicBezTo>
                  <a:cubicBezTo>
                    <a:pt x="226" y="328"/>
                    <a:pt x="215" y="347"/>
                    <a:pt x="216" y="337"/>
                  </a:cubicBezTo>
                  <a:close/>
                  <a:moveTo>
                    <a:pt x="211" y="703"/>
                  </a:moveTo>
                  <a:cubicBezTo>
                    <a:pt x="210" y="696"/>
                    <a:pt x="203" y="696"/>
                    <a:pt x="205" y="684"/>
                  </a:cubicBezTo>
                  <a:cubicBezTo>
                    <a:pt x="208" y="684"/>
                    <a:pt x="211" y="684"/>
                    <a:pt x="214" y="684"/>
                  </a:cubicBezTo>
                  <a:cubicBezTo>
                    <a:pt x="216" y="693"/>
                    <a:pt x="215" y="705"/>
                    <a:pt x="222" y="707"/>
                  </a:cubicBezTo>
                  <a:cubicBezTo>
                    <a:pt x="221" y="712"/>
                    <a:pt x="215" y="710"/>
                    <a:pt x="211" y="710"/>
                  </a:cubicBezTo>
                  <a:cubicBezTo>
                    <a:pt x="209" y="707"/>
                    <a:pt x="208" y="704"/>
                    <a:pt x="211" y="703"/>
                  </a:cubicBezTo>
                  <a:close/>
                  <a:moveTo>
                    <a:pt x="214" y="795"/>
                  </a:moveTo>
                  <a:cubicBezTo>
                    <a:pt x="224" y="806"/>
                    <a:pt x="204" y="810"/>
                    <a:pt x="214" y="795"/>
                  </a:cubicBezTo>
                  <a:close/>
                  <a:moveTo>
                    <a:pt x="214" y="788"/>
                  </a:moveTo>
                  <a:cubicBezTo>
                    <a:pt x="212" y="779"/>
                    <a:pt x="218" y="780"/>
                    <a:pt x="216" y="770"/>
                  </a:cubicBezTo>
                  <a:cubicBezTo>
                    <a:pt x="219" y="772"/>
                    <a:pt x="222" y="774"/>
                    <a:pt x="227" y="773"/>
                  </a:cubicBezTo>
                  <a:cubicBezTo>
                    <a:pt x="227" y="777"/>
                    <a:pt x="224" y="776"/>
                    <a:pt x="222" y="777"/>
                  </a:cubicBezTo>
                  <a:cubicBezTo>
                    <a:pt x="221" y="783"/>
                    <a:pt x="224" y="784"/>
                    <a:pt x="227" y="784"/>
                  </a:cubicBezTo>
                  <a:cubicBezTo>
                    <a:pt x="228" y="790"/>
                    <a:pt x="216" y="793"/>
                    <a:pt x="224" y="795"/>
                  </a:cubicBezTo>
                  <a:cubicBezTo>
                    <a:pt x="222" y="806"/>
                    <a:pt x="218" y="787"/>
                    <a:pt x="214" y="788"/>
                  </a:cubicBezTo>
                  <a:close/>
                  <a:moveTo>
                    <a:pt x="227" y="832"/>
                  </a:moveTo>
                  <a:cubicBezTo>
                    <a:pt x="217" y="831"/>
                    <a:pt x="220" y="823"/>
                    <a:pt x="222" y="814"/>
                  </a:cubicBezTo>
                  <a:cubicBezTo>
                    <a:pt x="227" y="814"/>
                    <a:pt x="227" y="823"/>
                    <a:pt x="227" y="832"/>
                  </a:cubicBezTo>
                  <a:close/>
                  <a:moveTo>
                    <a:pt x="227" y="640"/>
                  </a:moveTo>
                  <a:cubicBezTo>
                    <a:pt x="230" y="629"/>
                    <a:pt x="236" y="642"/>
                    <a:pt x="238" y="644"/>
                  </a:cubicBezTo>
                  <a:cubicBezTo>
                    <a:pt x="237" y="653"/>
                    <a:pt x="231" y="640"/>
                    <a:pt x="227" y="640"/>
                  </a:cubicBezTo>
                  <a:close/>
                  <a:moveTo>
                    <a:pt x="232" y="559"/>
                  </a:moveTo>
                  <a:cubicBezTo>
                    <a:pt x="235" y="549"/>
                    <a:pt x="238" y="567"/>
                    <a:pt x="243" y="566"/>
                  </a:cubicBezTo>
                  <a:cubicBezTo>
                    <a:pt x="238" y="579"/>
                    <a:pt x="238" y="557"/>
                    <a:pt x="232" y="559"/>
                  </a:cubicBezTo>
                  <a:close/>
                  <a:moveTo>
                    <a:pt x="240" y="692"/>
                  </a:moveTo>
                  <a:cubicBezTo>
                    <a:pt x="243" y="689"/>
                    <a:pt x="243" y="684"/>
                    <a:pt x="243" y="677"/>
                  </a:cubicBezTo>
                  <a:cubicBezTo>
                    <a:pt x="248" y="676"/>
                    <a:pt x="248" y="698"/>
                    <a:pt x="240" y="692"/>
                  </a:cubicBezTo>
                  <a:close/>
                  <a:moveTo>
                    <a:pt x="246" y="592"/>
                  </a:moveTo>
                  <a:cubicBezTo>
                    <a:pt x="245" y="594"/>
                    <a:pt x="238" y="582"/>
                    <a:pt x="243" y="577"/>
                  </a:cubicBezTo>
                  <a:cubicBezTo>
                    <a:pt x="245" y="576"/>
                    <a:pt x="248" y="590"/>
                    <a:pt x="246" y="592"/>
                  </a:cubicBezTo>
                  <a:close/>
                  <a:moveTo>
                    <a:pt x="238" y="555"/>
                  </a:moveTo>
                  <a:cubicBezTo>
                    <a:pt x="238" y="547"/>
                    <a:pt x="250" y="554"/>
                    <a:pt x="249" y="544"/>
                  </a:cubicBezTo>
                  <a:cubicBezTo>
                    <a:pt x="252" y="550"/>
                    <a:pt x="264" y="545"/>
                    <a:pt x="267" y="551"/>
                  </a:cubicBezTo>
                  <a:cubicBezTo>
                    <a:pt x="262" y="560"/>
                    <a:pt x="249" y="542"/>
                    <a:pt x="249" y="562"/>
                  </a:cubicBezTo>
                  <a:cubicBezTo>
                    <a:pt x="244" y="561"/>
                    <a:pt x="246" y="551"/>
                    <a:pt x="238" y="555"/>
                  </a:cubicBezTo>
                  <a:close/>
                  <a:moveTo>
                    <a:pt x="249" y="651"/>
                  </a:moveTo>
                  <a:cubicBezTo>
                    <a:pt x="258" y="647"/>
                    <a:pt x="253" y="663"/>
                    <a:pt x="254" y="670"/>
                  </a:cubicBezTo>
                  <a:cubicBezTo>
                    <a:pt x="245" y="665"/>
                    <a:pt x="253" y="662"/>
                    <a:pt x="249" y="651"/>
                  </a:cubicBezTo>
                  <a:close/>
                  <a:moveTo>
                    <a:pt x="254" y="847"/>
                  </a:moveTo>
                  <a:cubicBezTo>
                    <a:pt x="250" y="846"/>
                    <a:pt x="252" y="838"/>
                    <a:pt x="251" y="832"/>
                  </a:cubicBezTo>
                  <a:cubicBezTo>
                    <a:pt x="262" y="831"/>
                    <a:pt x="253" y="840"/>
                    <a:pt x="254" y="847"/>
                  </a:cubicBezTo>
                  <a:close/>
                  <a:moveTo>
                    <a:pt x="262" y="633"/>
                  </a:moveTo>
                  <a:cubicBezTo>
                    <a:pt x="250" y="627"/>
                    <a:pt x="264" y="620"/>
                    <a:pt x="262" y="607"/>
                  </a:cubicBezTo>
                  <a:cubicBezTo>
                    <a:pt x="255" y="606"/>
                    <a:pt x="254" y="613"/>
                    <a:pt x="251" y="618"/>
                  </a:cubicBezTo>
                  <a:cubicBezTo>
                    <a:pt x="247" y="616"/>
                    <a:pt x="251" y="615"/>
                    <a:pt x="251" y="611"/>
                  </a:cubicBezTo>
                  <a:cubicBezTo>
                    <a:pt x="250" y="605"/>
                    <a:pt x="254" y="604"/>
                    <a:pt x="254" y="599"/>
                  </a:cubicBezTo>
                  <a:cubicBezTo>
                    <a:pt x="251" y="594"/>
                    <a:pt x="249" y="579"/>
                    <a:pt x="251" y="570"/>
                  </a:cubicBezTo>
                  <a:cubicBezTo>
                    <a:pt x="251" y="569"/>
                    <a:pt x="254" y="570"/>
                    <a:pt x="254" y="566"/>
                  </a:cubicBezTo>
                  <a:cubicBezTo>
                    <a:pt x="254" y="560"/>
                    <a:pt x="255" y="559"/>
                    <a:pt x="259" y="559"/>
                  </a:cubicBezTo>
                  <a:cubicBezTo>
                    <a:pt x="260" y="566"/>
                    <a:pt x="257" y="569"/>
                    <a:pt x="257" y="574"/>
                  </a:cubicBezTo>
                  <a:cubicBezTo>
                    <a:pt x="258" y="582"/>
                    <a:pt x="261" y="569"/>
                    <a:pt x="265" y="577"/>
                  </a:cubicBezTo>
                  <a:cubicBezTo>
                    <a:pt x="261" y="589"/>
                    <a:pt x="265" y="592"/>
                    <a:pt x="262" y="599"/>
                  </a:cubicBezTo>
                  <a:cubicBezTo>
                    <a:pt x="260" y="611"/>
                    <a:pt x="269" y="607"/>
                    <a:pt x="267" y="618"/>
                  </a:cubicBezTo>
                  <a:cubicBezTo>
                    <a:pt x="258" y="618"/>
                    <a:pt x="267" y="623"/>
                    <a:pt x="262" y="633"/>
                  </a:cubicBezTo>
                  <a:close/>
                  <a:moveTo>
                    <a:pt x="265" y="666"/>
                  </a:moveTo>
                  <a:cubicBezTo>
                    <a:pt x="269" y="667"/>
                    <a:pt x="270" y="662"/>
                    <a:pt x="275" y="662"/>
                  </a:cubicBezTo>
                  <a:cubicBezTo>
                    <a:pt x="273" y="664"/>
                    <a:pt x="264" y="682"/>
                    <a:pt x="265" y="666"/>
                  </a:cubicBezTo>
                  <a:close/>
                  <a:moveTo>
                    <a:pt x="278" y="766"/>
                  </a:moveTo>
                  <a:cubicBezTo>
                    <a:pt x="273" y="766"/>
                    <a:pt x="272" y="761"/>
                    <a:pt x="267" y="762"/>
                  </a:cubicBezTo>
                  <a:cubicBezTo>
                    <a:pt x="268" y="758"/>
                    <a:pt x="273" y="758"/>
                    <a:pt x="273" y="762"/>
                  </a:cubicBezTo>
                  <a:cubicBezTo>
                    <a:pt x="275" y="761"/>
                    <a:pt x="278" y="759"/>
                    <a:pt x="278" y="755"/>
                  </a:cubicBezTo>
                  <a:cubicBezTo>
                    <a:pt x="283" y="745"/>
                    <a:pt x="278" y="761"/>
                    <a:pt x="278" y="766"/>
                  </a:cubicBezTo>
                  <a:close/>
                  <a:moveTo>
                    <a:pt x="275" y="721"/>
                  </a:moveTo>
                  <a:cubicBezTo>
                    <a:pt x="275" y="717"/>
                    <a:pt x="280" y="716"/>
                    <a:pt x="281" y="714"/>
                  </a:cubicBezTo>
                  <a:cubicBezTo>
                    <a:pt x="282" y="710"/>
                    <a:pt x="272" y="697"/>
                    <a:pt x="283" y="699"/>
                  </a:cubicBezTo>
                  <a:cubicBezTo>
                    <a:pt x="283" y="702"/>
                    <a:pt x="281" y="703"/>
                    <a:pt x="281" y="707"/>
                  </a:cubicBezTo>
                  <a:cubicBezTo>
                    <a:pt x="279" y="713"/>
                    <a:pt x="288" y="712"/>
                    <a:pt x="289" y="714"/>
                  </a:cubicBezTo>
                  <a:cubicBezTo>
                    <a:pt x="290" y="718"/>
                    <a:pt x="284" y="717"/>
                    <a:pt x="283" y="718"/>
                  </a:cubicBezTo>
                  <a:cubicBezTo>
                    <a:pt x="282" y="723"/>
                    <a:pt x="292" y="724"/>
                    <a:pt x="289" y="733"/>
                  </a:cubicBezTo>
                  <a:cubicBezTo>
                    <a:pt x="279" y="737"/>
                    <a:pt x="285" y="719"/>
                    <a:pt x="275" y="721"/>
                  </a:cubicBezTo>
                  <a:close/>
                  <a:moveTo>
                    <a:pt x="281" y="766"/>
                  </a:moveTo>
                  <a:cubicBezTo>
                    <a:pt x="281" y="759"/>
                    <a:pt x="288" y="761"/>
                    <a:pt x="286" y="751"/>
                  </a:cubicBezTo>
                  <a:cubicBezTo>
                    <a:pt x="292" y="753"/>
                    <a:pt x="290" y="773"/>
                    <a:pt x="281" y="766"/>
                  </a:cubicBezTo>
                  <a:close/>
                  <a:moveTo>
                    <a:pt x="286" y="648"/>
                  </a:moveTo>
                  <a:cubicBezTo>
                    <a:pt x="286" y="643"/>
                    <a:pt x="286" y="638"/>
                    <a:pt x="286" y="633"/>
                  </a:cubicBezTo>
                  <a:cubicBezTo>
                    <a:pt x="289" y="634"/>
                    <a:pt x="291" y="636"/>
                    <a:pt x="292" y="640"/>
                  </a:cubicBezTo>
                  <a:cubicBezTo>
                    <a:pt x="294" y="640"/>
                    <a:pt x="294" y="636"/>
                    <a:pt x="294" y="633"/>
                  </a:cubicBezTo>
                  <a:cubicBezTo>
                    <a:pt x="304" y="636"/>
                    <a:pt x="296" y="650"/>
                    <a:pt x="286" y="648"/>
                  </a:cubicBezTo>
                  <a:close/>
                  <a:moveTo>
                    <a:pt x="297" y="777"/>
                  </a:moveTo>
                  <a:cubicBezTo>
                    <a:pt x="298" y="784"/>
                    <a:pt x="296" y="789"/>
                    <a:pt x="292" y="788"/>
                  </a:cubicBezTo>
                  <a:cubicBezTo>
                    <a:pt x="292" y="782"/>
                    <a:pt x="292" y="776"/>
                    <a:pt x="292" y="770"/>
                  </a:cubicBezTo>
                  <a:cubicBezTo>
                    <a:pt x="294" y="772"/>
                    <a:pt x="299" y="775"/>
                    <a:pt x="300" y="770"/>
                  </a:cubicBezTo>
                  <a:cubicBezTo>
                    <a:pt x="304" y="772"/>
                    <a:pt x="301" y="778"/>
                    <a:pt x="297" y="777"/>
                  </a:cubicBezTo>
                  <a:close/>
                  <a:moveTo>
                    <a:pt x="300" y="755"/>
                  </a:moveTo>
                  <a:cubicBezTo>
                    <a:pt x="300" y="755"/>
                    <a:pt x="300" y="750"/>
                    <a:pt x="302" y="751"/>
                  </a:cubicBezTo>
                  <a:cubicBezTo>
                    <a:pt x="300" y="751"/>
                    <a:pt x="306" y="756"/>
                    <a:pt x="305" y="755"/>
                  </a:cubicBezTo>
                  <a:cubicBezTo>
                    <a:pt x="307" y="759"/>
                    <a:pt x="286" y="756"/>
                    <a:pt x="300" y="755"/>
                  </a:cubicBezTo>
                  <a:close/>
                  <a:moveTo>
                    <a:pt x="361" y="825"/>
                  </a:moveTo>
                  <a:cubicBezTo>
                    <a:pt x="360" y="824"/>
                    <a:pt x="355" y="827"/>
                    <a:pt x="353" y="825"/>
                  </a:cubicBezTo>
                  <a:cubicBezTo>
                    <a:pt x="353" y="824"/>
                    <a:pt x="354" y="818"/>
                    <a:pt x="353" y="818"/>
                  </a:cubicBezTo>
                  <a:cubicBezTo>
                    <a:pt x="348" y="814"/>
                    <a:pt x="338" y="818"/>
                    <a:pt x="337" y="807"/>
                  </a:cubicBezTo>
                  <a:cubicBezTo>
                    <a:pt x="325" y="808"/>
                    <a:pt x="318" y="804"/>
                    <a:pt x="316" y="792"/>
                  </a:cubicBezTo>
                  <a:cubicBezTo>
                    <a:pt x="312" y="796"/>
                    <a:pt x="309" y="796"/>
                    <a:pt x="305" y="792"/>
                  </a:cubicBezTo>
                  <a:cubicBezTo>
                    <a:pt x="304" y="780"/>
                    <a:pt x="310" y="776"/>
                    <a:pt x="308" y="762"/>
                  </a:cubicBezTo>
                  <a:cubicBezTo>
                    <a:pt x="311" y="748"/>
                    <a:pt x="310" y="801"/>
                    <a:pt x="316" y="773"/>
                  </a:cubicBezTo>
                  <a:cubicBezTo>
                    <a:pt x="325" y="774"/>
                    <a:pt x="309" y="789"/>
                    <a:pt x="318" y="792"/>
                  </a:cubicBezTo>
                  <a:cubicBezTo>
                    <a:pt x="322" y="787"/>
                    <a:pt x="322" y="778"/>
                    <a:pt x="326" y="773"/>
                  </a:cubicBezTo>
                  <a:cubicBezTo>
                    <a:pt x="326" y="771"/>
                    <a:pt x="326" y="768"/>
                    <a:pt x="326" y="766"/>
                  </a:cubicBezTo>
                  <a:cubicBezTo>
                    <a:pt x="330" y="766"/>
                    <a:pt x="329" y="773"/>
                    <a:pt x="329" y="777"/>
                  </a:cubicBezTo>
                  <a:cubicBezTo>
                    <a:pt x="329" y="781"/>
                    <a:pt x="333" y="779"/>
                    <a:pt x="335" y="781"/>
                  </a:cubicBezTo>
                  <a:cubicBezTo>
                    <a:pt x="337" y="785"/>
                    <a:pt x="334" y="793"/>
                    <a:pt x="337" y="795"/>
                  </a:cubicBezTo>
                  <a:cubicBezTo>
                    <a:pt x="342" y="794"/>
                    <a:pt x="339" y="781"/>
                    <a:pt x="348" y="784"/>
                  </a:cubicBezTo>
                  <a:cubicBezTo>
                    <a:pt x="347" y="789"/>
                    <a:pt x="343" y="790"/>
                    <a:pt x="343" y="795"/>
                  </a:cubicBezTo>
                  <a:cubicBezTo>
                    <a:pt x="343" y="803"/>
                    <a:pt x="352" y="791"/>
                    <a:pt x="359" y="795"/>
                  </a:cubicBezTo>
                  <a:cubicBezTo>
                    <a:pt x="359" y="813"/>
                    <a:pt x="366" y="808"/>
                    <a:pt x="361" y="825"/>
                  </a:cubicBezTo>
                  <a:close/>
                  <a:moveTo>
                    <a:pt x="415" y="851"/>
                  </a:moveTo>
                  <a:cubicBezTo>
                    <a:pt x="407" y="853"/>
                    <a:pt x="414" y="833"/>
                    <a:pt x="404" y="836"/>
                  </a:cubicBezTo>
                  <a:cubicBezTo>
                    <a:pt x="400" y="838"/>
                    <a:pt x="405" y="841"/>
                    <a:pt x="404" y="847"/>
                  </a:cubicBezTo>
                  <a:cubicBezTo>
                    <a:pt x="399" y="847"/>
                    <a:pt x="401" y="840"/>
                    <a:pt x="399" y="836"/>
                  </a:cubicBezTo>
                  <a:cubicBezTo>
                    <a:pt x="396" y="830"/>
                    <a:pt x="395" y="830"/>
                    <a:pt x="391" y="825"/>
                  </a:cubicBezTo>
                  <a:cubicBezTo>
                    <a:pt x="387" y="828"/>
                    <a:pt x="392" y="831"/>
                    <a:pt x="388" y="840"/>
                  </a:cubicBezTo>
                  <a:cubicBezTo>
                    <a:pt x="386" y="840"/>
                    <a:pt x="386" y="835"/>
                    <a:pt x="386" y="832"/>
                  </a:cubicBezTo>
                  <a:cubicBezTo>
                    <a:pt x="378" y="829"/>
                    <a:pt x="379" y="838"/>
                    <a:pt x="372" y="836"/>
                  </a:cubicBezTo>
                  <a:cubicBezTo>
                    <a:pt x="371" y="835"/>
                    <a:pt x="368" y="818"/>
                    <a:pt x="367" y="829"/>
                  </a:cubicBezTo>
                  <a:cubicBezTo>
                    <a:pt x="361" y="830"/>
                    <a:pt x="367" y="818"/>
                    <a:pt x="370" y="818"/>
                  </a:cubicBezTo>
                  <a:cubicBezTo>
                    <a:pt x="367" y="809"/>
                    <a:pt x="365" y="798"/>
                    <a:pt x="378" y="795"/>
                  </a:cubicBezTo>
                  <a:cubicBezTo>
                    <a:pt x="376" y="803"/>
                    <a:pt x="383" y="804"/>
                    <a:pt x="383" y="799"/>
                  </a:cubicBezTo>
                  <a:cubicBezTo>
                    <a:pt x="388" y="802"/>
                    <a:pt x="383" y="806"/>
                    <a:pt x="383" y="810"/>
                  </a:cubicBezTo>
                  <a:cubicBezTo>
                    <a:pt x="386" y="817"/>
                    <a:pt x="386" y="807"/>
                    <a:pt x="391" y="814"/>
                  </a:cubicBezTo>
                  <a:cubicBezTo>
                    <a:pt x="397" y="822"/>
                    <a:pt x="394" y="802"/>
                    <a:pt x="402" y="807"/>
                  </a:cubicBezTo>
                  <a:cubicBezTo>
                    <a:pt x="403" y="816"/>
                    <a:pt x="403" y="827"/>
                    <a:pt x="407" y="832"/>
                  </a:cubicBezTo>
                  <a:cubicBezTo>
                    <a:pt x="415" y="832"/>
                    <a:pt x="401" y="822"/>
                    <a:pt x="412" y="825"/>
                  </a:cubicBezTo>
                  <a:cubicBezTo>
                    <a:pt x="410" y="838"/>
                    <a:pt x="417" y="839"/>
                    <a:pt x="415" y="851"/>
                  </a:cubicBezTo>
                  <a:close/>
                  <a:moveTo>
                    <a:pt x="466" y="866"/>
                  </a:moveTo>
                  <a:cubicBezTo>
                    <a:pt x="465" y="863"/>
                    <a:pt x="475" y="860"/>
                    <a:pt x="477" y="862"/>
                  </a:cubicBezTo>
                  <a:cubicBezTo>
                    <a:pt x="478" y="864"/>
                    <a:pt x="470" y="873"/>
                    <a:pt x="466" y="866"/>
                  </a:cubicBezTo>
                  <a:close/>
                  <a:moveTo>
                    <a:pt x="485" y="807"/>
                  </a:moveTo>
                  <a:cubicBezTo>
                    <a:pt x="482" y="797"/>
                    <a:pt x="477" y="818"/>
                    <a:pt x="472" y="818"/>
                  </a:cubicBezTo>
                  <a:cubicBezTo>
                    <a:pt x="468" y="837"/>
                    <a:pt x="482" y="845"/>
                    <a:pt x="474" y="858"/>
                  </a:cubicBezTo>
                  <a:cubicBezTo>
                    <a:pt x="469" y="858"/>
                    <a:pt x="473" y="846"/>
                    <a:pt x="469" y="844"/>
                  </a:cubicBezTo>
                  <a:cubicBezTo>
                    <a:pt x="464" y="843"/>
                    <a:pt x="468" y="855"/>
                    <a:pt x="466" y="858"/>
                  </a:cubicBezTo>
                  <a:cubicBezTo>
                    <a:pt x="466" y="859"/>
                    <a:pt x="454" y="847"/>
                    <a:pt x="458" y="862"/>
                  </a:cubicBezTo>
                  <a:cubicBezTo>
                    <a:pt x="451" y="866"/>
                    <a:pt x="445" y="851"/>
                    <a:pt x="442" y="862"/>
                  </a:cubicBezTo>
                  <a:cubicBezTo>
                    <a:pt x="438" y="857"/>
                    <a:pt x="439" y="844"/>
                    <a:pt x="431" y="844"/>
                  </a:cubicBezTo>
                  <a:cubicBezTo>
                    <a:pt x="428" y="844"/>
                    <a:pt x="429" y="851"/>
                    <a:pt x="431" y="851"/>
                  </a:cubicBezTo>
                  <a:cubicBezTo>
                    <a:pt x="430" y="862"/>
                    <a:pt x="418" y="849"/>
                    <a:pt x="418" y="847"/>
                  </a:cubicBezTo>
                  <a:cubicBezTo>
                    <a:pt x="418" y="845"/>
                    <a:pt x="426" y="835"/>
                    <a:pt x="415" y="836"/>
                  </a:cubicBezTo>
                  <a:cubicBezTo>
                    <a:pt x="415" y="829"/>
                    <a:pt x="419" y="828"/>
                    <a:pt x="418" y="821"/>
                  </a:cubicBezTo>
                  <a:cubicBezTo>
                    <a:pt x="428" y="819"/>
                    <a:pt x="430" y="827"/>
                    <a:pt x="429" y="840"/>
                  </a:cubicBezTo>
                  <a:cubicBezTo>
                    <a:pt x="431" y="838"/>
                    <a:pt x="433" y="836"/>
                    <a:pt x="437" y="836"/>
                  </a:cubicBezTo>
                  <a:cubicBezTo>
                    <a:pt x="437" y="830"/>
                    <a:pt x="435" y="827"/>
                    <a:pt x="431" y="825"/>
                  </a:cubicBezTo>
                  <a:cubicBezTo>
                    <a:pt x="431" y="814"/>
                    <a:pt x="439" y="834"/>
                    <a:pt x="439" y="821"/>
                  </a:cubicBezTo>
                  <a:cubicBezTo>
                    <a:pt x="444" y="822"/>
                    <a:pt x="441" y="834"/>
                    <a:pt x="445" y="836"/>
                  </a:cubicBezTo>
                  <a:cubicBezTo>
                    <a:pt x="447" y="834"/>
                    <a:pt x="448" y="828"/>
                    <a:pt x="453" y="829"/>
                  </a:cubicBezTo>
                  <a:cubicBezTo>
                    <a:pt x="455" y="839"/>
                    <a:pt x="447" y="836"/>
                    <a:pt x="447" y="844"/>
                  </a:cubicBezTo>
                  <a:cubicBezTo>
                    <a:pt x="450" y="855"/>
                    <a:pt x="455" y="832"/>
                    <a:pt x="458" y="836"/>
                  </a:cubicBezTo>
                  <a:cubicBezTo>
                    <a:pt x="462" y="842"/>
                    <a:pt x="461" y="833"/>
                    <a:pt x="469" y="832"/>
                  </a:cubicBezTo>
                  <a:cubicBezTo>
                    <a:pt x="470" y="824"/>
                    <a:pt x="464" y="824"/>
                    <a:pt x="466" y="814"/>
                  </a:cubicBezTo>
                  <a:cubicBezTo>
                    <a:pt x="475" y="817"/>
                    <a:pt x="471" y="804"/>
                    <a:pt x="480" y="807"/>
                  </a:cubicBezTo>
                  <a:cubicBezTo>
                    <a:pt x="479" y="802"/>
                    <a:pt x="475" y="803"/>
                    <a:pt x="472" y="803"/>
                  </a:cubicBezTo>
                  <a:cubicBezTo>
                    <a:pt x="478" y="789"/>
                    <a:pt x="490" y="800"/>
                    <a:pt x="496" y="807"/>
                  </a:cubicBezTo>
                  <a:cubicBezTo>
                    <a:pt x="497" y="820"/>
                    <a:pt x="478" y="810"/>
                    <a:pt x="485" y="807"/>
                  </a:cubicBezTo>
                  <a:close/>
                  <a:moveTo>
                    <a:pt x="493" y="858"/>
                  </a:moveTo>
                  <a:cubicBezTo>
                    <a:pt x="490" y="857"/>
                    <a:pt x="488" y="854"/>
                    <a:pt x="488" y="847"/>
                  </a:cubicBezTo>
                  <a:cubicBezTo>
                    <a:pt x="491" y="849"/>
                    <a:pt x="493" y="852"/>
                    <a:pt x="493" y="858"/>
                  </a:cubicBezTo>
                  <a:close/>
                  <a:moveTo>
                    <a:pt x="501" y="877"/>
                  </a:moveTo>
                  <a:cubicBezTo>
                    <a:pt x="499" y="877"/>
                    <a:pt x="499" y="872"/>
                    <a:pt x="499" y="869"/>
                  </a:cubicBezTo>
                  <a:cubicBezTo>
                    <a:pt x="494" y="869"/>
                    <a:pt x="493" y="874"/>
                    <a:pt x="488" y="873"/>
                  </a:cubicBezTo>
                  <a:cubicBezTo>
                    <a:pt x="488" y="869"/>
                    <a:pt x="488" y="866"/>
                    <a:pt x="488" y="862"/>
                  </a:cubicBezTo>
                  <a:cubicBezTo>
                    <a:pt x="492" y="867"/>
                    <a:pt x="510" y="865"/>
                    <a:pt x="501" y="877"/>
                  </a:cubicBezTo>
                  <a:close/>
                  <a:moveTo>
                    <a:pt x="590" y="45"/>
                  </a:moveTo>
                  <a:cubicBezTo>
                    <a:pt x="589" y="30"/>
                    <a:pt x="606" y="42"/>
                    <a:pt x="606" y="30"/>
                  </a:cubicBezTo>
                  <a:cubicBezTo>
                    <a:pt x="613" y="35"/>
                    <a:pt x="593" y="53"/>
                    <a:pt x="590" y="45"/>
                  </a:cubicBezTo>
                  <a:close/>
                  <a:moveTo>
                    <a:pt x="612" y="137"/>
                  </a:moveTo>
                  <a:cubicBezTo>
                    <a:pt x="609" y="136"/>
                    <a:pt x="609" y="133"/>
                    <a:pt x="606" y="133"/>
                  </a:cubicBezTo>
                  <a:cubicBezTo>
                    <a:pt x="606" y="125"/>
                    <a:pt x="619" y="130"/>
                    <a:pt x="612" y="137"/>
                  </a:cubicBezTo>
                  <a:close/>
                  <a:moveTo>
                    <a:pt x="636" y="126"/>
                  </a:moveTo>
                  <a:cubicBezTo>
                    <a:pt x="647" y="128"/>
                    <a:pt x="633" y="147"/>
                    <a:pt x="636" y="126"/>
                  </a:cubicBezTo>
                  <a:close/>
                  <a:moveTo>
                    <a:pt x="644" y="137"/>
                  </a:moveTo>
                  <a:cubicBezTo>
                    <a:pt x="645" y="127"/>
                    <a:pt x="658" y="120"/>
                    <a:pt x="657" y="137"/>
                  </a:cubicBezTo>
                  <a:cubicBezTo>
                    <a:pt x="652" y="144"/>
                    <a:pt x="652" y="135"/>
                    <a:pt x="644" y="137"/>
                  </a:cubicBezTo>
                  <a:close/>
                  <a:moveTo>
                    <a:pt x="708" y="137"/>
                  </a:moveTo>
                  <a:cubicBezTo>
                    <a:pt x="703" y="138"/>
                    <a:pt x="700" y="136"/>
                    <a:pt x="700" y="130"/>
                  </a:cubicBezTo>
                  <a:cubicBezTo>
                    <a:pt x="704" y="126"/>
                    <a:pt x="707" y="133"/>
                    <a:pt x="708" y="133"/>
                  </a:cubicBezTo>
                  <a:cubicBezTo>
                    <a:pt x="713" y="134"/>
                    <a:pt x="715" y="127"/>
                    <a:pt x="716" y="133"/>
                  </a:cubicBezTo>
                  <a:cubicBezTo>
                    <a:pt x="718" y="146"/>
                    <a:pt x="711" y="139"/>
                    <a:pt x="708" y="137"/>
                  </a:cubicBezTo>
                  <a:close/>
                  <a:moveTo>
                    <a:pt x="716" y="100"/>
                  </a:moveTo>
                  <a:cubicBezTo>
                    <a:pt x="719" y="100"/>
                    <a:pt x="722" y="100"/>
                    <a:pt x="724" y="100"/>
                  </a:cubicBezTo>
                  <a:cubicBezTo>
                    <a:pt x="723" y="111"/>
                    <a:pt x="696" y="99"/>
                    <a:pt x="716" y="100"/>
                  </a:cubicBezTo>
                  <a:close/>
                  <a:moveTo>
                    <a:pt x="792" y="115"/>
                  </a:moveTo>
                  <a:cubicBezTo>
                    <a:pt x="786" y="114"/>
                    <a:pt x="786" y="106"/>
                    <a:pt x="786" y="96"/>
                  </a:cubicBezTo>
                  <a:cubicBezTo>
                    <a:pt x="791" y="96"/>
                    <a:pt x="795" y="96"/>
                    <a:pt x="800" y="96"/>
                  </a:cubicBezTo>
                  <a:cubicBezTo>
                    <a:pt x="797" y="103"/>
                    <a:pt x="793" y="107"/>
                    <a:pt x="792" y="115"/>
                  </a:cubicBezTo>
                  <a:close/>
                  <a:moveTo>
                    <a:pt x="816" y="111"/>
                  </a:moveTo>
                  <a:cubicBezTo>
                    <a:pt x="812" y="108"/>
                    <a:pt x="810" y="102"/>
                    <a:pt x="810" y="93"/>
                  </a:cubicBezTo>
                  <a:cubicBezTo>
                    <a:pt x="815" y="90"/>
                    <a:pt x="820" y="87"/>
                    <a:pt x="827" y="85"/>
                  </a:cubicBezTo>
                  <a:cubicBezTo>
                    <a:pt x="830" y="104"/>
                    <a:pt x="818" y="101"/>
                    <a:pt x="816" y="111"/>
                  </a:cubicBezTo>
                  <a:close/>
                  <a:moveTo>
                    <a:pt x="827" y="126"/>
                  </a:moveTo>
                  <a:cubicBezTo>
                    <a:pt x="827" y="121"/>
                    <a:pt x="835" y="125"/>
                    <a:pt x="835" y="119"/>
                  </a:cubicBezTo>
                  <a:cubicBezTo>
                    <a:pt x="843" y="123"/>
                    <a:pt x="829" y="134"/>
                    <a:pt x="827" y="126"/>
                  </a:cubicBezTo>
                  <a:close/>
                  <a:moveTo>
                    <a:pt x="870" y="152"/>
                  </a:moveTo>
                  <a:cubicBezTo>
                    <a:pt x="867" y="153"/>
                    <a:pt x="865" y="157"/>
                    <a:pt x="862" y="156"/>
                  </a:cubicBezTo>
                  <a:cubicBezTo>
                    <a:pt x="861" y="156"/>
                    <a:pt x="861" y="152"/>
                    <a:pt x="859" y="152"/>
                  </a:cubicBezTo>
                  <a:cubicBezTo>
                    <a:pt x="857" y="152"/>
                    <a:pt x="855" y="147"/>
                    <a:pt x="851" y="148"/>
                  </a:cubicBezTo>
                  <a:cubicBezTo>
                    <a:pt x="853" y="142"/>
                    <a:pt x="873" y="142"/>
                    <a:pt x="875" y="148"/>
                  </a:cubicBezTo>
                  <a:cubicBezTo>
                    <a:pt x="875" y="159"/>
                    <a:pt x="873" y="151"/>
                    <a:pt x="870" y="152"/>
                  </a:cubicBezTo>
                  <a:close/>
                  <a:moveTo>
                    <a:pt x="859" y="133"/>
                  </a:moveTo>
                  <a:cubicBezTo>
                    <a:pt x="859" y="128"/>
                    <a:pt x="859" y="123"/>
                    <a:pt x="856" y="122"/>
                  </a:cubicBezTo>
                  <a:cubicBezTo>
                    <a:pt x="860" y="114"/>
                    <a:pt x="871" y="127"/>
                    <a:pt x="878" y="126"/>
                  </a:cubicBezTo>
                  <a:cubicBezTo>
                    <a:pt x="872" y="133"/>
                    <a:pt x="867" y="138"/>
                    <a:pt x="859" y="133"/>
                  </a:cubicBezTo>
                  <a:close/>
                  <a:moveTo>
                    <a:pt x="886" y="104"/>
                  </a:moveTo>
                  <a:cubicBezTo>
                    <a:pt x="884" y="104"/>
                    <a:pt x="882" y="104"/>
                    <a:pt x="880" y="104"/>
                  </a:cubicBezTo>
                  <a:cubicBezTo>
                    <a:pt x="880" y="101"/>
                    <a:pt x="880" y="99"/>
                    <a:pt x="880" y="96"/>
                  </a:cubicBezTo>
                  <a:cubicBezTo>
                    <a:pt x="882" y="96"/>
                    <a:pt x="884" y="96"/>
                    <a:pt x="886" y="96"/>
                  </a:cubicBezTo>
                  <a:cubicBezTo>
                    <a:pt x="886" y="99"/>
                    <a:pt x="886" y="101"/>
                    <a:pt x="886" y="104"/>
                  </a:cubicBezTo>
                  <a:close/>
                  <a:moveTo>
                    <a:pt x="913" y="1239"/>
                  </a:moveTo>
                  <a:cubicBezTo>
                    <a:pt x="909" y="1234"/>
                    <a:pt x="912" y="1233"/>
                    <a:pt x="913" y="1228"/>
                  </a:cubicBezTo>
                  <a:cubicBezTo>
                    <a:pt x="916" y="1229"/>
                    <a:pt x="914" y="1235"/>
                    <a:pt x="918" y="1235"/>
                  </a:cubicBezTo>
                  <a:cubicBezTo>
                    <a:pt x="918" y="1239"/>
                    <a:pt x="915" y="1238"/>
                    <a:pt x="913" y="1239"/>
                  </a:cubicBezTo>
                  <a:close/>
                  <a:moveTo>
                    <a:pt x="926" y="119"/>
                  </a:moveTo>
                  <a:cubicBezTo>
                    <a:pt x="923" y="118"/>
                    <a:pt x="924" y="112"/>
                    <a:pt x="923" y="108"/>
                  </a:cubicBezTo>
                  <a:cubicBezTo>
                    <a:pt x="926" y="108"/>
                    <a:pt x="929" y="108"/>
                    <a:pt x="931" y="108"/>
                  </a:cubicBezTo>
                  <a:cubicBezTo>
                    <a:pt x="931" y="112"/>
                    <a:pt x="927" y="113"/>
                    <a:pt x="926" y="119"/>
                  </a:cubicBezTo>
                  <a:close/>
                  <a:moveTo>
                    <a:pt x="931" y="673"/>
                  </a:moveTo>
                  <a:cubicBezTo>
                    <a:pt x="928" y="672"/>
                    <a:pt x="929" y="664"/>
                    <a:pt x="929" y="659"/>
                  </a:cubicBezTo>
                  <a:cubicBezTo>
                    <a:pt x="935" y="660"/>
                    <a:pt x="935" y="668"/>
                    <a:pt x="931" y="673"/>
                  </a:cubicBezTo>
                  <a:close/>
                  <a:moveTo>
                    <a:pt x="956" y="385"/>
                  </a:moveTo>
                  <a:cubicBezTo>
                    <a:pt x="954" y="385"/>
                    <a:pt x="952" y="385"/>
                    <a:pt x="950" y="385"/>
                  </a:cubicBezTo>
                  <a:cubicBezTo>
                    <a:pt x="951" y="382"/>
                    <a:pt x="949" y="381"/>
                    <a:pt x="948" y="381"/>
                  </a:cubicBezTo>
                  <a:cubicBezTo>
                    <a:pt x="947" y="374"/>
                    <a:pt x="960" y="376"/>
                    <a:pt x="956" y="385"/>
                  </a:cubicBezTo>
                  <a:close/>
                  <a:moveTo>
                    <a:pt x="977" y="111"/>
                  </a:moveTo>
                  <a:cubicBezTo>
                    <a:pt x="977" y="108"/>
                    <a:pt x="977" y="104"/>
                    <a:pt x="977" y="100"/>
                  </a:cubicBezTo>
                  <a:cubicBezTo>
                    <a:pt x="980" y="100"/>
                    <a:pt x="983" y="100"/>
                    <a:pt x="985" y="100"/>
                  </a:cubicBezTo>
                  <a:cubicBezTo>
                    <a:pt x="982" y="104"/>
                    <a:pt x="984" y="114"/>
                    <a:pt x="977" y="111"/>
                  </a:cubicBezTo>
                  <a:close/>
                  <a:moveTo>
                    <a:pt x="993" y="688"/>
                  </a:moveTo>
                  <a:cubicBezTo>
                    <a:pt x="993" y="684"/>
                    <a:pt x="993" y="681"/>
                    <a:pt x="993" y="677"/>
                  </a:cubicBezTo>
                  <a:cubicBezTo>
                    <a:pt x="1001" y="672"/>
                    <a:pt x="1001" y="694"/>
                    <a:pt x="993" y="688"/>
                  </a:cubicBezTo>
                  <a:close/>
                  <a:moveTo>
                    <a:pt x="1009" y="1254"/>
                  </a:moveTo>
                  <a:cubicBezTo>
                    <a:pt x="1008" y="1254"/>
                    <a:pt x="1006" y="1254"/>
                    <a:pt x="1004" y="1254"/>
                  </a:cubicBezTo>
                  <a:cubicBezTo>
                    <a:pt x="1003" y="1244"/>
                    <a:pt x="1005" y="1238"/>
                    <a:pt x="1012" y="1239"/>
                  </a:cubicBezTo>
                  <a:cubicBezTo>
                    <a:pt x="1010" y="1242"/>
                    <a:pt x="1008" y="1249"/>
                    <a:pt x="1012" y="1250"/>
                  </a:cubicBezTo>
                  <a:cubicBezTo>
                    <a:pt x="1013" y="1254"/>
                    <a:pt x="1011" y="1254"/>
                    <a:pt x="1009" y="1254"/>
                  </a:cubicBezTo>
                  <a:close/>
                  <a:moveTo>
                    <a:pt x="1039" y="145"/>
                  </a:moveTo>
                  <a:cubicBezTo>
                    <a:pt x="1031" y="158"/>
                    <a:pt x="1030" y="133"/>
                    <a:pt x="1039" y="145"/>
                  </a:cubicBezTo>
                  <a:close/>
                  <a:moveTo>
                    <a:pt x="1074" y="133"/>
                  </a:moveTo>
                  <a:cubicBezTo>
                    <a:pt x="1071" y="132"/>
                    <a:pt x="1068" y="129"/>
                    <a:pt x="1069" y="122"/>
                  </a:cubicBezTo>
                  <a:cubicBezTo>
                    <a:pt x="1071" y="123"/>
                    <a:pt x="1071" y="121"/>
                    <a:pt x="1071" y="119"/>
                  </a:cubicBezTo>
                  <a:cubicBezTo>
                    <a:pt x="1074" y="121"/>
                    <a:pt x="1076" y="123"/>
                    <a:pt x="1079" y="122"/>
                  </a:cubicBezTo>
                  <a:cubicBezTo>
                    <a:pt x="1078" y="126"/>
                    <a:pt x="1073" y="126"/>
                    <a:pt x="1074" y="133"/>
                  </a:cubicBezTo>
                  <a:close/>
                  <a:moveTo>
                    <a:pt x="1085" y="640"/>
                  </a:moveTo>
                  <a:cubicBezTo>
                    <a:pt x="1083" y="640"/>
                    <a:pt x="1081" y="640"/>
                    <a:pt x="1079" y="640"/>
                  </a:cubicBezTo>
                  <a:cubicBezTo>
                    <a:pt x="1079" y="638"/>
                    <a:pt x="1079" y="635"/>
                    <a:pt x="1079" y="633"/>
                  </a:cubicBezTo>
                  <a:cubicBezTo>
                    <a:pt x="1081" y="633"/>
                    <a:pt x="1083" y="633"/>
                    <a:pt x="1085" y="633"/>
                  </a:cubicBezTo>
                  <a:cubicBezTo>
                    <a:pt x="1085" y="635"/>
                    <a:pt x="1085" y="638"/>
                    <a:pt x="1085" y="640"/>
                  </a:cubicBezTo>
                  <a:close/>
                  <a:moveTo>
                    <a:pt x="1096" y="1254"/>
                  </a:moveTo>
                  <a:cubicBezTo>
                    <a:pt x="1094" y="1254"/>
                    <a:pt x="1092" y="1254"/>
                    <a:pt x="1090" y="1254"/>
                  </a:cubicBezTo>
                  <a:cubicBezTo>
                    <a:pt x="1090" y="1252"/>
                    <a:pt x="1090" y="1249"/>
                    <a:pt x="1090" y="1247"/>
                  </a:cubicBezTo>
                  <a:cubicBezTo>
                    <a:pt x="1092" y="1247"/>
                    <a:pt x="1094" y="1247"/>
                    <a:pt x="1096" y="1247"/>
                  </a:cubicBezTo>
                  <a:cubicBezTo>
                    <a:pt x="1096" y="1249"/>
                    <a:pt x="1096" y="1252"/>
                    <a:pt x="1096" y="1254"/>
                  </a:cubicBezTo>
                  <a:close/>
                  <a:moveTo>
                    <a:pt x="1101" y="170"/>
                  </a:moveTo>
                  <a:cubicBezTo>
                    <a:pt x="1109" y="167"/>
                    <a:pt x="1111" y="174"/>
                    <a:pt x="1114" y="178"/>
                  </a:cubicBezTo>
                  <a:cubicBezTo>
                    <a:pt x="1116" y="181"/>
                    <a:pt x="1098" y="181"/>
                    <a:pt x="1101" y="170"/>
                  </a:cubicBezTo>
                  <a:close/>
                  <a:moveTo>
                    <a:pt x="1117" y="119"/>
                  </a:moveTo>
                  <a:cubicBezTo>
                    <a:pt x="1117" y="115"/>
                    <a:pt x="1120" y="116"/>
                    <a:pt x="1122" y="115"/>
                  </a:cubicBezTo>
                  <a:cubicBezTo>
                    <a:pt x="1125" y="115"/>
                    <a:pt x="1128" y="115"/>
                    <a:pt x="1131" y="115"/>
                  </a:cubicBezTo>
                  <a:cubicBezTo>
                    <a:pt x="1131" y="123"/>
                    <a:pt x="1121" y="117"/>
                    <a:pt x="1117" y="119"/>
                  </a:cubicBezTo>
                  <a:close/>
                  <a:moveTo>
                    <a:pt x="1125" y="1265"/>
                  </a:moveTo>
                  <a:cubicBezTo>
                    <a:pt x="1118" y="1258"/>
                    <a:pt x="1128" y="1249"/>
                    <a:pt x="1122" y="1239"/>
                  </a:cubicBezTo>
                  <a:cubicBezTo>
                    <a:pt x="1135" y="1240"/>
                    <a:pt x="1123" y="1256"/>
                    <a:pt x="1125" y="1265"/>
                  </a:cubicBezTo>
                  <a:close/>
                  <a:moveTo>
                    <a:pt x="1147" y="178"/>
                  </a:moveTo>
                  <a:cubicBezTo>
                    <a:pt x="1140" y="190"/>
                    <a:pt x="1134" y="168"/>
                    <a:pt x="1147" y="178"/>
                  </a:cubicBezTo>
                  <a:close/>
                  <a:moveTo>
                    <a:pt x="1171" y="189"/>
                  </a:moveTo>
                  <a:cubicBezTo>
                    <a:pt x="1167" y="185"/>
                    <a:pt x="1161" y="185"/>
                    <a:pt x="1157" y="182"/>
                  </a:cubicBezTo>
                  <a:cubicBezTo>
                    <a:pt x="1159" y="174"/>
                    <a:pt x="1176" y="175"/>
                    <a:pt x="1171" y="189"/>
                  </a:cubicBezTo>
                  <a:close/>
                  <a:moveTo>
                    <a:pt x="1176" y="1217"/>
                  </a:moveTo>
                  <a:cubicBezTo>
                    <a:pt x="1176" y="1214"/>
                    <a:pt x="1181" y="1213"/>
                    <a:pt x="1184" y="1213"/>
                  </a:cubicBezTo>
                  <a:cubicBezTo>
                    <a:pt x="1183" y="1213"/>
                    <a:pt x="1190" y="1219"/>
                    <a:pt x="1190" y="1217"/>
                  </a:cubicBezTo>
                  <a:cubicBezTo>
                    <a:pt x="1192" y="1224"/>
                    <a:pt x="1181" y="1219"/>
                    <a:pt x="1176" y="1217"/>
                  </a:cubicBezTo>
                  <a:close/>
                  <a:moveTo>
                    <a:pt x="1187" y="592"/>
                  </a:moveTo>
                  <a:cubicBezTo>
                    <a:pt x="1190" y="580"/>
                    <a:pt x="1190" y="602"/>
                    <a:pt x="1190" y="607"/>
                  </a:cubicBezTo>
                  <a:cubicBezTo>
                    <a:pt x="1187" y="619"/>
                    <a:pt x="1187" y="597"/>
                    <a:pt x="1187" y="592"/>
                  </a:cubicBezTo>
                  <a:close/>
                  <a:moveTo>
                    <a:pt x="1192" y="577"/>
                  </a:moveTo>
                  <a:cubicBezTo>
                    <a:pt x="1191" y="577"/>
                    <a:pt x="1190" y="574"/>
                    <a:pt x="1190" y="574"/>
                  </a:cubicBezTo>
                  <a:cubicBezTo>
                    <a:pt x="1188" y="573"/>
                    <a:pt x="1186" y="576"/>
                    <a:pt x="1187" y="577"/>
                  </a:cubicBezTo>
                  <a:cubicBezTo>
                    <a:pt x="1185" y="575"/>
                    <a:pt x="1185" y="574"/>
                    <a:pt x="1187" y="574"/>
                  </a:cubicBezTo>
                  <a:cubicBezTo>
                    <a:pt x="1188" y="573"/>
                    <a:pt x="1189" y="569"/>
                    <a:pt x="1192" y="570"/>
                  </a:cubicBezTo>
                  <a:cubicBezTo>
                    <a:pt x="1192" y="570"/>
                    <a:pt x="1204" y="581"/>
                    <a:pt x="1192" y="577"/>
                  </a:cubicBezTo>
                  <a:close/>
                  <a:moveTo>
                    <a:pt x="1200" y="133"/>
                  </a:moveTo>
                  <a:cubicBezTo>
                    <a:pt x="1203" y="133"/>
                    <a:pt x="1203" y="137"/>
                    <a:pt x="1203" y="137"/>
                  </a:cubicBezTo>
                  <a:cubicBezTo>
                    <a:pt x="1207" y="137"/>
                    <a:pt x="1219" y="134"/>
                    <a:pt x="1217" y="145"/>
                  </a:cubicBezTo>
                  <a:cubicBezTo>
                    <a:pt x="1213" y="139"/>
                    <a:pt x="1205" y="141"/>
                    <a:pt x="1198" y="141"/>
                  </a:cubicBezTo>
                  <a:cubicBezTo>
                    <a:pt x="1199" y="141"/>
                    <a:pt x="1200" y="134"/>
                    <a:pt x="1200" y="133"/>
                  </a:cubicBezTo>
                  <a:close/>
                  <a:moveTo>
                    <a:pt x="1200" y="189"/>
                  </a:moveTo>
                  <a:cubicBezTo>
                    <a:pt x="1201" y="184"/>
                    <a:pt x="1207" y="186"/>
                    <a:pt x="1211" y="185"/>
                  </a:cubicBezTo>
                  <a:cubicBezTo>
                    <a:pt x="1210" y="194"/>
                    <a:pt x="1204" y="194"/>
                    <a:pt x="1200" y="189"/>
                  </a:cubicBezTo>
                  <a:close/>
                  <a:moveTo>
                    <a:pt x="1208" y="1269"/>
                  </a:moveTo>
                  <a:cubicBezTo>
                    <a:pt x="1205" y="1257"/>
                    <a:pt x="1213" y="1260"/>
                    <a:pt x="1214" y="1254"/>
                  </a:cubicBezTo>
                  <a:cubicBezTo>
                    <a:pt x="1217" y="1255"/>
                    <a:pt x="1216" y="1263"/>
                    <a:pt x="1217" y="1269"/>
                  </a:cubicBezTo>
                  <a:cubicBezTo>
                    <a:pt x="1214" y="1269"/>
                    <a:pt x="1211" y="1269"/>
                    <a:pt x="1208" y="1269"/>
                  </a:cubicBezTo>
                  <a:close/>
                  <a:moveTo>
                    <a:pt x="1214" y="237"/>
                  </a:moveTo>
                  <a:cubicBezTo>
                    <a:pt x="1213" y="243"/>
                    <a:pt x="1210" y="236"/>
                    <a:pt x="1206" y="237"/>
                  </a:cubicBezTo>
                  <a:cubicBezTo>
                    <a:pt x="1208" y="227"/>
                    <a:pt x="1202" y="227"/>
                    <a:pt x="1203" y="218"/>
                  </a:cubicBezTo>
                  <a:cubicBezTo>
                    <a:pt x="1206" y="217"/>
                    <a:pt x="1207" y="226"/>
                    <a:pt x="1208" y="226"/>
                  </a:cubicBezTo>
                  <a:cubicBezTo>
                    <a:pt x="1213" y="227"/>
                    <a:pt x="1215" y="211"/>
                    <a:pt x="1222" y="222"/>
                  </a:cubicBezTo>
                  <a:cubicBezTo>
                    <a:pt x="1220" y="227"/>
                    <a:pt x="1204" y="229"/>
                    <a:pt x="1214" y="237"/>
                  </a:cubicBezTo>
                  <a:close/>
                  <a:moveTo>
                    <a:pt x="1340" y="152"/>
                  </a:moveTo>
                  <a:cubicBezTo>
                    <a:pt x="1341" y="154"/>
                    <a:pt x="1333" y="158"/>
                    <a:pt x="1332" y="156"/>
                  </a:cubicBezTo>
                  <a:cubicBezTo>
                    <a:pt x="1332" y="155"/>
                    <a:pt x="1332" y="152"/>
                    <a:pt x="1332" y="152"/>
                  </a:cubicBezTo>
                  <a:cubicBezTo>
                    <a:pt x="1329" y="152"/>
                    <a:pt x="1324" y="159"/>
                    <a:pt x="1321" y="152"/>
                  </a:cubicBezTo>
                  <a:cubicBezTo>
                    <a:pt x="1323" y="144"/>
                    <a:pt x="1338" y="148"/>
                    <a:pt x="1340" y="152"/>
                  </a:cubicBezTo>
                  <a:close/>
                  <a:moveTo>
                    <a:pt x="1316" y="574"/>
                  </a:moveTo>
                  <a:cubicBezTo>
                    <a:pt x="1314" y="561"/>
                    <a:pt x="1320" y="559"/>
                    <a:pt x="1319" y="548"/>
                  </a:cubicBezTo>
                  <a:cubicBezTo>
                    <a:pt x="1328" y="549"/>
                    <a:pt x="1324" y="574"/>
                    <a:pt x="1316" y="574"/>
                  </a:cubicBezTo>
                  <a:close/>
                  <a:moveTo>
                    <a:pt x="1281" y="130"/>
                  </a:moveTo>
                  <a:cubicBezTo>
                    <a:pt x="1285" y="118"/>
                    <a:pt x="1285" y="140"/>
                    <a:pt x="1278" y="137"/>
                  </a:cubicBezTo>
                  <a:cubicBezTo>
                    <a:pt x="1273" y="134"/>
                    <a:pt x="1281" y="135"/>
                    <a:pt x="1281" y="130"/>
                  </a:cubicBezTo>
                  <a:close/>
                  <a:moveTo>
                    <a:pt x="1260" y="137"/>
                  </a:moveTo>
                  <a:cubicBezTo>
                    <a:pt x="1267" y="141"/>
                    <a:pt x="1273" y="146"/>
                    <a:pt x="1284" y="145"/>
                  </a:cubicBezTo>
                  <a:cubicBezTo>
                    <a:pt x="1286" y="157"/>
                    <a:pt x="1278" y="151"/>
                    <a:pt x="1276" y="148"/>
                  </a:cubicBezTo>
                  <a:cubicBezTo>
                    <a:pt x="1274" y="158"/>
                    <a:pt x="1277" y="162"/>
                    <a:pt x="1284" y="159"/>
                  </a:cubicBezTo>
                  <a:cubicBezTo>
                    <a:pt x="1294" y="168"/>
                    <a:pt x="1255" y="158"/>
                    <a:pt x="1265" y="167"/>
                  </a:cubicBezTo>
                  <a:cubicBezTo>
                    <a:pt x="1264" y="177"/>
                    <a:pt x="1256" y="167"/>
                    <a:pt x="1260" y="159"/>
                  </a:cubicBezTo>
                  <a:cubicBezTo>
                    <a:pt x="1257" y="159"/>
                    <a:pt x="1254" y="159"/>
                    <a:pt x="1251" y="159"/>
                  </a:cubicBezTo>
                  <a:cubicBezTo>
                    <a:pt x="1251" y="153"/>
                    <a:pt x="1268" y="153"/>
                    <a:pt x="1268" y="159"/>
                  </a:cubicBezTo>
                  <a:cubicBezTo>
                    <a:pt x="1270" y="157"/>
                    <a:pt x="1272" y="153"/>
                    <a:pt x="1273" y="148"/>
                  </a:cubicBezTo>
                  <a:cubicBezTo>
                    <a:pt x="1264" y="154"/>
                    <a:pt x="1261" y="150"/>
                    <a:pt x="1251" y="148"/>
                  </a:cubicBezTo>
                  <a:cubicBezTo>
                    <a:pt x="1247" y="135"/>
                    <a:pt x="1261" y="146"/>
                    <a:pt x="1260" y="137"/>
                  </a:cubicBezTo>
                  <a:close/>
                  <a:moveTo>
                    <a:pt x="1276" y="237"/>
                  </a:moveTo>
                  <a:cubicBezTo>
                    <a:pt x="1274" y="237"/>
                    <a:pt x="1272" y="237"/>
                    <a:pt x="1270" y="237"/>
                  </a:cubicBezTo>
                  <a:cubicBezTo>
                    <a:pt x="1270" y="231"/>
                    <a:pt x="1273" y="231"/>
                    <a:pt x="1273" y="226"/>
                  </a:cubicBezTo>
                  <a:cubicBezTo>
                    <a:pt x="1279" y="228"/>
                    <a:pt x="1279" y="232"/>
                    <a:pt x="1276" y="237"/>
                  </a:cubicBezTo>
                  <a:close/>
                  <a:moveTo>
                    <a:pt x="1260" y="237"/>
                  </a:moveTo>
                  <a:cubicBezTo>
                    <a:pt x="1255" y="238"/>
                    <a:pt x="1254" y="234"/>
                    <a:pt x="1254" y="230"/>
                  </a:cubicBezTo>
                  <a:cubicBezTo>
                    <a:pt x="1240" y="238"/>
                    <a:pt x="1262" y="214"/>
                    <a:pt x="1260" y="237"/>
                  </a:cubicBezTo>
                  <a:close/>
                  <a:moveTo>
                    <a:pt x="1254" y="614"/>
                  </a:moveTo>
                  <a:cubicBezTo>
                    <a:pt x="1248" y="625"/>
                    <a:pt x="1253" y="587"/>
                    <a:pt x="1254" y="581"/>
                  </a:cubicBezTo>
                  <a:cubicBezTo>
                    <a:pt x="1258" y="583"/>
                    <a:pt x="1259" y="586"/>
                    <a:pt x="1260" y="592"/>
                  </a:cubicBezTo>
                  <a:cubicBezTo>
                    <a:pt x="1260" y="600"/>
                    <a:pt x="1250" y="603"/>
                    <a:pt x="1254" y="614"/>
                  </a:cubicBezTo>
                  <a:close/>
                  <a:moveTo>
                    <a:pt x="1227" y="148"/>
                  </a:moveTo>
                  <a:cubicBezTo>
                    <a:pt x="1225" y="149"/>
                    <a:pt x="1225" y="147"/>
                    <a:pt x="1225" y="145"/>
                  </a:cubicBezTo>
                  <a:cubicBezTo>
                    <a:pt x="1225" y="142"/>
                    <a:pt x="1225" y="140"/>
                    <a:pt x="1225" y="137"/>
                  </a:cubicBezTo>
                  <a:cubicBezTo>
                    <a:pt x="1233" y="134"/>
                    <a:pt x="1234" y="141"/>
                    <a:pt x="1241" y="141"/>
                  </a:cubicBezTo>
                  <a:cubicBezTo>
                    <a:pt x="1239" y="145"/>
                    <a:pt x="1235" y="145"/>
                    <a:pt x="1235" y="152"/>
                  </a:cubicBezTo>
                  <a:cubicBezTo>
                    <a:pt x="1233" y="152"/>
                    <a:pt x="1230" y="136"/>
                    <a:pt x="1227" y="148"/>
                  </a:cubicBezTo>
                  <a:close/>
                  <a:moveTo>
                    <a:pt x="1230" y="588"/>
                  </a:moveTo>
                  <a:cubicBezTo>
                    <a:pt x="1229" y="580"/>
                    <a:pt x="1230" y="574"/>
                    <a:pt x="1233" y="570"/>
                  </a:cubicBezTo>
                  <a:cubicBezTo>
                    <a:pt x="1235" y="572"/>
                    <a:pt x="1237" y="574"/>
                    <a:pt x="1238" y="570"/>
                  </a:cubicBezTo>
                  <a:cubicBezTo>
                    <a:pt x="1244" y="574"/>
                    <a:pt x="1234" y="587"/>
                    <a:pt x="1238" y="599"/>
                  </a:cubicBezTo>
                  <a:cubicBezTo>
                    <a:pt x="1232" y="601"/>
                    <a:pt x="1240" y="583"/>
                    <a:pt x="1230" y="588"/>
                  </a:cubicBezTo>
                  <a:close/>
                  <a:moveTo>
                    <a:pt x="1238" y="1273"/>
                  </a:moveTo>
                  <a:cubicBezTo>
                    <a:pt x="1246" y="1259"/>
                    <a:pt x="1247" y="1284"/>
                    <a:pt x="1238" y="1273"/>
                  </a:cubicBezTo>
                  <a:close/>
                  <a:moveTo>
                    <a:pt x="1254" y="1239"/>
                  </a:moveTo>
                  <a:cubicBezTo>
                    <a:pt x="1257" y="1241"/>
                    <a:pt x="1260" y="1244"/>
                    <a:pt x="1260" y="1250"/>
                  </a:cubicBezTo>
                  <a:cubicBezTo>
                    <a:pt x="1256" y="1249"/>
                    <a:pt x="1254" y="1246"/>
                    <a:pt x="1254" y="1239"/>
                  </a:cubicBezTo>
                  <a:close/>
                  <a:moveTo>
                    <a:pt x="1260" y="1235"/>
                  </a:moveTo>
                  <a:cubicBezTo>
                    <a:pt x="1251" y="1233"/>
                    <a:pt x="1246" y="1228"/>
                    <a:pt x="1238" y="1225"/>
                  </a:cubicBezTo>
                  <a:cubicBezTo>
                    <a:pt x="1238" y="1215"/>
                    <a:pt x="1247" y="1223"/>
                    <a:pt x="1249" y="1225"/>
                  </a:cubicBezTo>
                  <a:cubicBezTo>
                    <a:pt x="1251" y="1224"/>
                    <a:pt x="1251" y="1220"/>
                    <a:pt x="1251" y="1217"/>
                  </a:cubicBezTo>
                  <a:cubicBezTo>
                    <a:pt x="1260" y="1215"/>
                    <a:pt x="1260" y="1225"/>
                    <a:pt x="1260" y="1235"/>
                  </a:cubicBezTo>
                  <a:close/>
                  <a:moveTo>
                    <a:pt x="1260" y="193"/>
                  </a:moveTo>
                  <a:cubicBezTo>
                    <a:pt x="1265" y="183"/>
                    <a:pt x="1269" y="196"/>
                    <a:pt x="1276" y="189"/>
                  </a:cubicBezTo>
                  <a:cubicBezTo>
                    <a:pt x="1278" y="203"/>
                    <a:pt x="1261" y="196"/>
                    <a:pt x="1260" y="193"/>
                  </a:cubicBezTo>
                  <a:close/>
                  <a:moveTo>
                    <a:pt x="1270" y="1261"/>
                  </a:moveTo>
                  <a:cubicBezTo>
                    <a:pt x="1274" y="1262"/>
                    <a:pt x="1271" y="1273"/>
                    <a:pt x="1276" y="1273"/>
                  </a:cubicBezTo>
                  <a:cubicBezTo>
                    <a:pt x="1274" y="1282"/>
                    <a:pt x="1268" y="1269"/>
                    <a:pt x="1270" y="1261"/>
                  </a:cubicBezTo>
                  <a:close/>
                  <a:moveTo>
                    <a:pt x="1284" y="1232"/>
                  </a:moveTo>
                  <a:cubicBezTo>
                    <a:pt x="1281" y="1228"/>
                    <a:pt x="1274" y="1231"/>
                    <a:pt x="1276" y="1221"/>
                  </a:cubicBezTo>
                  <a:cubicBezTo>
                    <a:pt x="1282" y="1220"/>
                    <a:pt x="1284" y="1224"/>
                    <a:pt x="1284" y="1232"/>
                  </a:cubicBezTo>
                  <a:close/>
                  <a:moveTo>
                    <a:pt x="1286" y="603"/>
                  </a:moveTo>
                  <a:cubicBezTo>
                    <a:pt x="1277" y="603"/>
                    <a:pt x="1292" y="591"/>
                    <a:pt x="1284" y="592"/>
                  </a:cubicBezTo>
                  <a:cubicBezTo>
                    <a:pt x="1290" y="581"/>
                    <a:pt x="1289" y="597"/>
                    <a:pt x="1286" y="603"/>
                  </a:cubicBezTo>
                  <a:close/>
                  <a:moveTo>
                    <a:pt x="1292" y="585"/>
                  </a:moveTo>
                  <a:cubicBezTo>
                    <a:pt x="1285" y="584"/>
                    <a:pt x="1286" y="572"/>
                    <a:pt x="1286" y="562"/>
                  </a:cubicBezTo>
                  <a:cubicBezTo>
                    <a:pt x="1296" y="559"/>
                    <a:pt x="1290" y="577"/>
                    <a:pt x="1292" y="585"/>
                  </a:cubicBezTo>
                  <a:close/>
                  <a:moveTo>
                    <a:pt x="1292" y="152"/>
                  </a:moveTo>
                  <a:cubicBezTo>
                    <a:pt x="1283" y="149"/>
                    <a:pt x="1317" y="141"/>
                    <a:pt x="1313" y="156"/>
                  </a:cubicBezTo>
                  <a:cubicBezTo>
                    <a:pt x="1309" y="150"/>
                    <a:pt x="1300" y="152"/>
                    <a:pt x="1292" y="152"/>
                  </a:cubicBezTo>
                  <a:close/>
                  <a:moveTo>
                    <a:pt x="1316" y="170"/>
                  </a:moveTo>
                  <a:cubicBezTo>
                    <a:pt x="1315" y="175"/>
                    <a:pt x="1313" y="178"/>
                    <a:pt x="1308" y="178"/>
                  </a:cubicBezTo>
                  <a:cubicBezTo>
                    <a:pt x="1309" y="173"/>
                    <a:pt x="1311" y="170"/>
                    <a:pt x="1316" y="170"/>
                  </a:cubicBezTo>
                  <a:close/>
                  <a:moveTo>
                    <a:pt x="1294" y="603"/>
                  </a:moveTo>
                  <a:cubicBezTo>
                    <a:pt x="1297" y="600"/>
                    <a:pt x="1297" y="595"/>
                    <a:pt x="1297" y="588"/>
                  </a:cubicBezTo>
                  <a:cubicBezTo>
                    <a:pt x="1305" y="589"/>
                    <a:pt x="1302" y="604"/>
                    <a:pt x="1294" y="603"/>
                  </a:cubicBezTo>
                  <a:close/>
                  <a:moveTo>
                    <a:pt x="1305" y="577"/>
                  </a:moveTo>
                  <a:cubicBezTo>
                    <a:pt x="1303" y="585"/>
                    <a:pt x="1304" y="585"/>
                    <a:pt x="1303" y="577"/>
                  </a:cubicBezTo>
                  <a:cubicBezTo>
                    <a:pt x="1303" y="569"/>
                    <a:pt x="1306" y="562"/>
                    <a:pt x="1308" y="555"/>
                  </a:cubicBezTo>
                  <a:cubicBezTo>
                    <a:pt x="1312" y="552"/>
                    <a:pt x="1308" y="570"/>
                    <a:pt x="1305" y="577"/>
                  </a:cubicBezTo>
                  <a:close/>
                  <a:moveTo>
                    <a:pt x="1300" y="200"/>
                  </a:moveTo>
                  <a:cubicBezTo>
                    <a:pt x="1301" y="192"/>
                    <a:pt x="1313" y="198"/>
                    <a:pt x="1319" y="196"/>
                  </a:cubicBezTo>
                  <a:cubicBezTo>
                    <a:pt x="1317" y="202"/>
                    <a:pt x="1315" y="206"/>
                    <a:pt x="1313" y="211"/>
                  </a:cubicBezTo>
                  <a:cubicBezTo>
                    <a:pt x="1306" y="211"/>
                    <a:pt x="1310" y="195"/>
                    <a:pt x="1300" y="200"/>
                  </a:cubicBezTo>
                  <a:close/>
                  <a:moveTo>
                    <a:pt x="1324" y="603"/>
                  </a:moveTo>
                  <a:cubicBezTo>
                    <a:pt x="1322" y="601"/>
                    <a:pt x="1317" y="597"/>
                    <a:pt x="1316" y="603"/>
                  </a:cubicBezTo>
                  <a:cubicBezTo>
                    <a:pt x="1313" y="602"/>
                    <a:pt x="1314" y="599"/>
                    <a:pt x="1316" y="599"/>
                  </a:cubicBezTo>
                  <a:cubicBezTo>
                    <a:pt x="1316" y="595"/>
                    <a:pt x="1315" y="593"/>
                    <a:pt x="1313" y="592"/>
                  </a:cubicBezTo>
                  <a:cubicBezTo>
                    <a:pt x="1316" y="582"/>
                    <a:pt x="1328" y="592"/>
                    <a:pt x="1324" y="603"/>
                  </a:cubicBezTo>
                  <a:close/>
                  <a:moveTo>
                    <a:pt x="1327" y="607"/>
                  </a:moveTo>
                  <a:cubicBezTo>
                    <a:pt x="1330" y="608"/>
                    <a:pt x="1329" y="614"/>
                    <a:pt x="1332" y="614"/>
                  </a:cubicBezTo>
                  <a:cubicBezTo>
                    <a:pt x="1331" y="624"/>
                    <a:pt x="1324" y="614"/>
                    <a:pt x="1327" y="607"/>
                  </a:cubicBezTo>
                  <a:close/>
                  <a:moveTo>
                    <a:pt x="1329" y="1235"/>
                  </a:moveTo>
                  <a:cubicBezTo>
                    <a:pt x="1329" y="1232"/>
                    <a:pt x="1329" y="1228"/>
                    <a:pt x="1329" y="1225"/>
                  </a:cubicBezTo>
                  <a:cubicBezTo>
                    <a:pt x="1337" y="1219"/>
                    <a:pt x="1337" y="1241"/>
                    <a:pt x="1329" y="1235"/>
                  </a:cubicBezTo>
                  <a:close/>
                  <a:moveTo>
                    <a:pt x="1329" y="555"/>
                  </a:moveTo>
                  <a:cubicBezTo>
                    <a:pt x="1329" y="551"/>
                    <a:pt x="1337" y="542"/>
                    <a:pt x="1338" y="551"/>
                  </a:cubicBezTo>
                  <a:cubicBezTo>
                    <a:pt x="1337" y="555"/>
                    <a:pt x="1339" y="555"/>
                    <a:pt x="1340" y="555"/>
                  </a:cubicBezTo>
                  <a:cubicBezTo>
                    <a:pt x="1338" y="566"/>
                    <a:pt x="1334" y="552"/>
                    <a:pt x="1329" y="555"/>
                  </a:cubicBezTo>
                  <a:close/>
                  <a:moveTo>
                    <a:pt x="1348" y="1232"/>
                  </a:moveTo>
                  <a:cubicBezTo>
                    <a:pt x="1348" y="1236"/>
                    <a:pt x="1349" y="1238"/>
                    <a:pt x="1351" y="1239"/>
                  </a:cubicBezTo>
                  <a:cubicBezTo>
                    <a:pt x="1346" y="1252"/>
                    <a:pt x="1347" y="1229"/>
                    <a:pt x="1338" y="1235"/>
                  </a:cubicBezTo>
                  <a:cubicBezTo>
                    <a:pt x="1338" y="1226"/>
                    <a:pt x="1347" y="1228"/>
                    <a:pt x="1354" y="1228"/>
                  </a:cubicBezTo>
                  <a:cubicBezTo>
                    <a:pt x="1354" y="1232"/>
                    <a:pt x="1350" y="1231"/>
                    <a:pt x="1348" y="1232"/>
                  </a:cubicBezTo>
                  <a:close/>
                  <a:moveTo>
                    <a:pt x="1628" y="326"/>
                  </a:moveTo>
                  <a:cubicBezTo>
                    <a:pt x="1627" y="327"/>
                    <a:pt x="1624" y="337"/>
                    <a:pt x="1623" y="337"/>
                  </a:cubicBezTo>
                  <a:cubicBezTo>
                    <a:pt x="1619" y="338"/>
                    <a:pt x="1619" y="324"/>
                    <a:pt x="1628" y="326"/>
                  </a:cubicBezTo>
                  <a:close/>
                  <a:moveTo>
                    <a:pt x="1628" y="1202"/>
                  </a:moveTo>
                  <a:cubicBezTo>
                    <a:pt x="1625" y="1201"/>
                    <a:pt x="1622" y="1198"/>
                    <a:pt x="1623" y="1191"/>
                  </a:cubicBezTo>
                  <a:cubicBezTo>
                    <a:pt x="1626" y="1193"/>
                    <a:pt x="1628" y="1196"/>
                    <a:pt x="1628" y="1202"/>
                  </a:cubicBezTo>
                  <a:close/>
                  <a:moveTo>
                    <a:pt x="1617" y="1235"/>
                  </a:moveTo>
                  <a:cubicBezTo>
                    <a:pt x="1611" y="1248"/>
                    <a:pt x="1604" y="1225"/>
                    <a:pt x="1617" y="1235"/>
                  </a:cubicBezTo>
                  <a:close/>
                  <a:moveTo>
                    <a:pt x="1609" y="1180"/>
                  </a:moveTo>
                  <a:cubicBezTo>
                    <a:pt x="1607" y="1179"/>
                    <a:pt x="1607" y="1182"/>
                    <a:pt x="1606" y="1184"/>
                  </a:cubicBezTo>
                  <a:cubicBezTo>
                    <a:pt x="1603" y="1183"/>
                    <a:pt x="1604" y="1177"/>
                    <a:pt x="1604" y="1173"/>
                  </a:cubicBezTo>
                  <a:cubicBezTo>
                    <a:pt x="1608" y="1171"/>
                    <a:pt x="1609" y="1176"/>
                    <a:pt x="1609" y="1180"/>
                  </a:cubicBezTo>
                  <a:close/>
                  <a:moveTo>
                    <a:pt x="1604" y="226"/>
                  </a:moveTo>
                  <a:cubicBezTo>
                    <a:pt x="1608" y="225"/>
                    <a:pt x="1608" y="247"/>
                    <a:pt x="1601" y="241"/>
                  </a:cubicBezTo>
                  <a:cubicBezTo>
                    <a:pt x="1600" y="233"/>
                    <a:pt x="1603" y="231"/>
                    <a:pt x="1604" y="226"/>
                  </a:cubicBezTo>
                  <a:close/>
                  <a:moveTo>
                    <a:pt x="1604" y="740"/>
                  </a:moveTo>
                  <a:cubicBezTo>
                    <a:pt x="1603" y="743"/>
                    <a:pt x="1605" y="743"/>
                    <a:pt x="1606" y="744"/>
                  </a:cubicBezTo>
                  <a:cubicBezTo>
                    <a:pt x="1605" y="755"/>
                    <a:pt x="1601" y="740"/>
                    <a:pt x="1596" y="744"/>
                  </a:cubicBezTo>
                  <a:cubicBezTo>
                    <a:pt x="1595" y="739"/>
                    <a:pt x="1603" y="731"/>
                    <a:pt x="1604" y="740"/>
                  </a:cubicBezTo>
                  <a:close/>
                  <a:moveTo>
                    <a:pt x="1593" y="551"/>
                  </a:moveTo>
                  <a:cubicBezTo>
                    <a:pt x="1599" y="553"/>
                    <a:pt x="1595" y="571"/>
                    <a:pt x="1593" y="574"/>
                  </a:cubicBezTo>
                  <a:cubicBezTo>
                    <a:pt x="1585" y="570"/>
                    <a:pt x="1594" y="558"/>
                    <a:pt x="1593" y="551"/>
                  </a:cubicBezTo>
                  <a:close/>
                  <a:moveTo>
                    <a:pt x="1588" y="611"/>
                  </a:moveTo>
                  <a:cubicBezTo>
                    <a:pt x="1589" y="600"/>
                    <a:pt x="1592" y="616"/>
                    <a:pt x="1596" y="614"/>
                  </a:cubicBezTo>
                  <a:cubicBezTo>
                    <a:pt x="1595" y="619"/>
                    <a:pt x="1591" y="617"/>
                    <a:pt x="1588" y="618"/>
                  </a:cubicBezTo>
                  <a:cubicBezTo>
                    <a:pt x="1587" y="615"/>
                    <a:pt x="1589" y="614"/>
                    <a:pt x="1590" y="614"/>
                  </a:cubicBezTo>
                  <a:cubicBezTo>
                    <a:pt x="1591" y="611"/>
                    <a:pt x="1589" y="611"/>
                    <a:pt x="1588" y="611"/>
                  </a:cubicBezTo>
                  <a:close/>
                  <a:moveTo>
                    <a:pt x="1593" y="636"/>
                  </a:moveTo>
                  <a:cubicBezTo>
                    <a:pt x="1593" y="639"/>
                    <a:pt x="1593" y="641"/>
                    <a:pt x="1593" y="644"/>
                  </a:cubicBezTo>
                  <a:cubicBezTo>
                    <a:pt x="1580" y="648"/>
                    <a:pt x="1588" y="624"/>
                    <a:pt x="1593" y="636"/>
                  </a:cubicBezTo>
                  <a:close/>
                  <a:moveTo>
                    <a:pt x="1580" y="577"/>
                  </a:moveTo>
                  <a:cubicBezTo>
                    <a:pt x="1581" y="567"/>
                    <a:pt x="1583" y="586"/>
                    <a:pt x="1582" y="588"/>
                  </a:cubicBezTo>
                  <a:cubicBezTo>
                    <a:pt x="1581" y="596"/>
                    <a:pt x="1577" y="591"/>
                    <a:pt x="1580" y="577"/>
                  </a:cubicBezTo>
                  <a:close/>
                  <a:moveTo>
                    <a:pt x="1577" y="263"/>
                  </a:moveTo>
                  <a:cubicBezTo>
                    <a:pt x="1575" y="274"/>
                    <a:pt x="1571" y="259"/>
                    <a:pt x="1566" y="263"/>
                  </a:cubicBezTo>
                  <a:cubicBezTo>
                    <a:pt x="1566" y="258"/>
                    <a:pt x="1566" y="252"/>
                    <a:pt x="1563" y="252"/>
                  </a:cubicBezTo>
                  <a:cubicBezTo>
                    <a:pt x="1565" y="245"/>
                    <a:pt x="1568" y="251"/>
                    <a:pt x="1569" y="252"/>
                  </a:cubicBezTo>
                  <a:cubicBezTo>
                    <a:pt x="1570" y="252"/>
                    <a:pt x="1573" y="251"/>
                    <a:pt x="1574" y="252"/>
                  </a:cubicBezTo>
                  <a:cubicBezTo>
                    <a:pt x="1574" y="252"/>
                    <a:pt x="1570" y="268"/>
                    <a:pt x="1577" y="263"/>
                  </a:cubicBezTo>
                  <a:close/>
                  <a:moveTo>
                    <a:pt x="1563" y="707"/>
                  </a:moveTo>
                  <a:cubicBezTo>
                    <a:pt x="1561" y="705"/>
                    <a:pt x="1561" y="704"/>
                    <a:pt x="1563" y="703"/>
                  </a:cubicBezTo>
                  <a:cubicBezTo>
                    <a:pt x="1564" y="703"/>
                    <a:pt x="1563" y="700"/>
                    <a:pt x="1563" y="699"/>
                  </a:cubicBezTo>
                  <a:cubicBezTo>
                    <a:pt x="1566" y="696"/>
                    <a:pt x="1570" y="704"/>
                    <a:pt x="1569" y="707"/>
                  </a:cubicBezTo>
                  <a:cubicBezTo>
                    <a:pt x="1567" y="710"/>
                    <a:pt x="1566" y="703"/>
                    <a:pt x="1566" y="703"/>
                  </a:cubicBezTo>
                  <a:cubicBezTo>
                    <a:pt x="1565" y="703"/>
                    <a:pt x="1562" y="706"/>
                    <a:pt x="1563" y="707"/>
                  </a:cubicBezTo>
                  <a:close/>
                  <a:moveTo>
                    <a:pt x="1566" y="640"/>
                  </a:moveTo>
                  <a:cubicBezTo>
                    <a:pt x="1564" y="640"/>
                    <a:pt x="1562" y="635"/>
                    <a:pt x="1558" y="636"/>
                  </a:cubicBezTo>
                  <a:cubicBezTo>
                    <a:pt x="1561" y="630"/>
                    <a:pt x="1569" y="630"/>
                    <a:pt x="1571" y="633"/>
                  </a:cubicBezTo>
                  <a:cubicBezTo>
                    <a:pt x="1573" y="634"/>
                    <a:pt x="1567" y="640"/>
                    <a:pt x="1566" y="640"/>
                  </a:cubicBezTo>
                  <a:close/>
                  <a:moveTo>
                    <a:pt x="1561" y="618"/>
                  </a:moveTo>
                  <a:cubicBezTo>
                    <a:pt x="1569" y="604"/>
                    <a:pt x="1570" y="629"/>
                    <a:pt x="1561" y="618"/>
                  </a:cubicBezTo>
                  <a:close/>
                  <a:moveTo>
                    <a:pt x="1569" y="599"/>
                  </a:moveTo>
                  <a:cubicBezTo>
                    <a:pt x="1569" y="594"/>
                    <a:pt x="1569" y="589"/>
                    <a:pt x="1566" y="588"/>
                  </a:cubicBezTo>
                  <a:cubicBezTo>
                    <a:pt x="1566" y="585"/>
                    <a:pt x="1567" y="585"/>
                    <a:pt x="1569" y="585"/>
                  </a:cubicBezTo>
                  <a:cubicBezTo>
                    <a:pt x="1571" y="585"/>
                    <a:pt x="1572" y="585"/>
                    <a:pt x="1574" y="585"/>
                  </a:cubicBezTo>
                  <a:cubicBezTo>
                    <a:pt x="1571" y="596"/>
                    <a:pt x="1573" y="594"/>
                    <a:pt x="1577" y="603"/>
                  </a:cubicBezTo>
                  <a:cubicBezTo>
                    <a:pt x="1574" y="616"/>
                    <a:pt x="1576" y="593"/>
                    <a:pt x="1569" y="599"/>
                  </a:cubicBezTo>
                  <a:close/>
                  <a:moveTo>
                    <a:pt x="1539" y="196"/>
                  </a:moveTo>
                  <a:cubicBezTo>
                    <a:pt x="1546" y="192"/>
                    <a:pt x="1550" y="207"/>
                    <a:pt x="1553" y="196"/>
                  </a:cubicBezTo>
                  <a:cubicBezTo>
                    <a:pt x="1556" y="198"/>
                    <a:pt x="1553" y="203"/>
                    <a:pt x="1550" y="204"/>
                  </a:cubicBezTo>
                  <a:cubicBezTo>
                    <a:pt x="1555" y="217"/>
                    <a:pt x="1557" y="197"/>
                    <a:pt x="1563" y="200"/>
                  </a:cubicBezTo>
                  <a:cubicBezTo>
                    <a:pt x="1561" y="203"/>
                    <a:pt x="1560" y="208"/>
                    <a:pt x="1561" y="215"/>
                  </a:cubicBezTo>
                  <a:cubicBezTo>
                    <a:pt x="1551" y="218"/>
                    <a:pt x="1548" y="211"/>
                    <a:pt x="1547" y="200"/>
                  </a:cubicBezTo>
                  <a:cubicBezTo>
                    <a:pt x="1537" y="195"/>
                    <a:pt x="1547" y="217"/>
                    <a:pt x="1536" y="211"/>
                  </a:cubicBezTo>
                  <a:cubicBezTo>
                    <a:pt x="1539" y="208"/>
                    <a:pt x="1539" y="203"/>
                    <a:pt x="1539" y="196"/>
                  </a:cubicBezTo>
                  <a:close/>
                  <a:moveTo>
                    <a:pt x="1571" y="222"/>
                  </a:moveTo>
                  <a:cubicBezTo>
                    <a:pt x="1571" y="227"/>
                    <a:pt x="1571" y="233"/>
                    <a:pt x="1574" y="233"/>
                  </a:cubicBezTo>
                  <a:cubicBezTo>
                    <a:pt x="1574" y="237"/>
                    <a:pt x="1571" y="236"/>
                    <a:pt x="1569" y="237"/>
                  </a:cubicBezTo>
                  <a:cubicBezTo>
                    <a:pt x="1566" y="239"/>
                    <a:pt x="1567" y="230"/>
                    <a:pt x="1566" y="230"/>
                  </a:cubicBezTo>
                  <a:cubicBezTo>
                    <a:pt x="1562" y="229"/>
                    <a:pt x="1558" y="234"/>
                    <a:pt x="1553" y="233"/>
                  </a:cubicBezTo>
                  <a:cubicBezTo>
                    <a:pt x="1553" y="233"/>
                    <a:pt x="1552" y="230"/>
                    <a:pt x="1550" y="230"/>
                  </a:cubicBezTo>
                  <a:cubicBezTo>
                    <a:pt x="1546" y="229"/>
                    <a:pt x="1537" y="229"/>
                    <a:pt x="1536" y="218"/>
                  </a:cubicBezTo>
                  <a:cubicBezTo>
                    <a:pt x="1548" y="219"/>
                    <a:pt x="1557" y="224"/>
                    <a:pt x="1571" y="222"/>
                  </a:cubicBezTo>
                  <a:close/>
                  <a:moveTo>
                    <a:pt x="1550" y="1221"/>
                  </a:moveTo>
                  <a:cubicBezTo>
                    <a:pt x="1554" y="1221"/>
                    <a:pt x="1551" y="1232"/>
                    <a:pt x="1555" y="1232"/>
                  </a:cubicBezTo>
                  <a:cubicBezTo>
                    <a:pt x="1554" y="1243"/>
                    <a:pt x="1550" y="1228"/>
                    <a:pt x="1545" y="1232"/>
                  </a:cubicBezTo>
                  <a:cubicBezTo>
                    <a:pt x="1545" y="1226"/>
                    <a:pt x="1545" y="1220"/>
                    <a:pt x="1545" y="1213"/>
                  </a:cubicBezTo>
                  <a:cubicBezTo>
                    <a:pt x="1548" y="1214"/>
                    <a:pt x="1546" y="1220"/>
                    <a:pt x="1550" y="1221"/>
                  </a:cubicBezTo>
                  <a:close/>
                  <a:moveTo>
                    <a:pt x="1528" y="200"/>
                  </a:moveTo>
                  <a:cubicBezTo>
                    <a:pt x="1523" y="202"/>
                    <a:pt x="1523" y="195"/>
                    <a:pt x="1523" y="189"/>
                  </a:cubicBezTo>
                  <a:cubicBezTo>
                    <a:pt x="1520" y="188"/>
                    <a:pt x="1518" y="190"/>
                    <a:pt x="1518" y="193"/>
                  </a:cubicBezTo>
                  <a:cubicBezTo>
                    <a:pt x="1508" y="182"/>
                    <a:pt x="1535" y="183"/>
                    <a:pt x="1528" y="200"/>
                  </a:cubicBezTo>
                  <a:close/>
                  <a:moveTo>
                    <a:pt x="1523" y="259"/>
                  </a:moveTo>
                  <a:cubicBezTo>
                    <a:pt x="1521" y="265"/>
                    <a:pt x="1519" y="271"/>
                    <a:pt x="1512" y="270"/>
                  </a:cubicBezTo>
                  <a:cubicBezTo>
                    <a:pt x="1514" y="263"/>
                    <a:pt x="1513" y="250"/>
                    <a:pt x="1523" y="259"/>
                  </a:cubicBezTo>
                  <a:close/>
                  <a:moveTo>
                    <a:pt x="1483" y="174"/>
                  </a:moveTo>
                  <a:cubicBezTo>
                    <a:pt x="1485" y="174"/>
                    <a:pt x="1486" y="174"/>
                    <a:pt x="1488" y="174"/>
                  </a:cubicBezTo>
                  <a:cubicBezTo>
                    <a:pt x="1489" y="185"/>
                    <a:pt x="1468" y="173"/>
                    <a:pt x="1483" y="174"/>
                  </a:cubicBezTo>
                  <a:close/>
                  <a:moveTo>
                    <a:pt x="1464" y="163"/>
                  </a:moveTo>
                  <a:cubicBezTo>
                    <a:pt x="1464" y="170"/>
                    <a:pt x="1467" y="171"/>
                    <a:pt x="1467" y="178"/>
                  </a:cubicBezTo>
                  <a:cubicBezTo>
                    <a:pt x="1463" y="178"/>
                    <a:pt x="1459" y="178"/>
                    <a:pt x="1456" y="178"/>
                  </a:cubicBezTo>
                  <a:cubicBezTo>
                    <a:pt x="1451" y="171"/>
                    <a:pt x="1460" y="165"/>
                    <a:pt x="1448" y="167"/>
                  </a:cubicBezTo>
                  <a:cubicBezTo>
                    <a:pt x="1440" y="161"/>
                    <a:pt x="1459" y="163"/>
                    <a:pt x="1464" y="163"/>
                  </a:cubicBezTo>
                  <a:close/>
                  <a:moveTo>
                    <a:pt x="1464" y="662"/>
                  </a:moveTo>
                  <a:cubicBezTo>
                    <a:pt x="1467" y="663"/>
                    <a:pt x="1466" y="670"/>
                    <a:pt x="1469" y="670"/>
                  </a:cubicBezTo>
                  <a:cubicBezTo>
                    <a:pt x="1470" y="673"/>
                    <a:pt x="1468" y="673"/>
                    <a:pt x="1467" y="673"/>
                  </a:cubicBezTo>
                  <a:cubicBezTo>
                    <a:pt x="1463" y="681"/>
                    <a:pt x="1467" y="670"/>
                    <a:pt x="1464" y="662"/>
                  </a:cubicBezTo>
                  <a:close/>
                  <a:moveTo>
                    <a:pt x="1445" y="562"/>
                  </a:moveTo>
                  <a:cubicBezTo>
                    <a:pt x="1444" y="561"/>
                    <a:pt x="1442" y="558"/>
                    <a:pt x="1445" y="562"/>
                  </a:cubicBezTo>
                  <a:cubicBezTo>
                    <a:pt x="1452" y="568"/>
                    <a:pt x="1449" y="572"/>
                    <a:pt x="1445" y="585"/>
                  </a:cubicBezTo>
                  <a:cubicBezTo>
                    <a:pt x="1442" y="584"/>
                    <a:pt x="1444" y="581"/>
                    <a:pt x="1445" y="581"/>
                  </a:cubicBezTo>
                  <a:cubicBezTo>
                    <a:pt x="1443" y="574"/>
                    <a:pt x="1440" y="580"/>
                    <a:pt x="1437" y="581"/>
                  </a:cubicBezTo>
                  <a:cubicBezTo>
                    <a:pt x="1431" y="589"/>
                    <a:pt x="1442" y="569"/>
                    <a:pt x="1448" y="570"/>
                  </a:cubicBezTo>
                  <a:cubicBezTo>
                    <a:pt x="1447" y="567"/>
                    <a:pt x="1445" y="566"/>
                    <a:pt x="1445" y="562"/>
                  </a:cubicBezTo>
                  <a:close/>
                  <a:moveTo>
                    <a:pt x="1442" y="1180"/>
                  </a:moveTo>
                  <a:cubicBezTo>
                    <a:pt x="1447" y="1185"/>
                    <a:pt x="1447" y="1195"/>
                    <a:pt x="1445" y="1199"/>
                  </a:cubicBezTo>
                  <a:cubicBezTo>
                    <a:pt x="1445" y="1199"/>
                    <a:pt x="1437" y="1189"/>
                    <a:pt x="1442" y="1180"/>
                  </a:cubicBezTo>
                  <a:close/>
                  <a:moveTo>
                    <a:pt x="1445" y="1228"/>
                  </a:moveTo>
                  <a:cubicBezTo>
                    <a:pt x="1443" y="1227"/>
                    <a:pt x="1443" y="1230"/>
                    <a:pt x="1442" y="1232"/>
                  </a:cubicBezTo>
                  <a:cubicBezTo>
                    <a:pt x="1439" y="1231"/>
                    <a:pt x="1440" y="1225"/>
                    <a:pt x="1440" y="1221"/>
                  </a:cubicBezTo>
                  <a:cubicBezTo>
                    <a:pt x="1444" y="1219"/>
                    <a:pt x="1445" y="1224"/>
                    <a:pt x="1445" y="1228"/>
                  </a:cubicBezTo>
                  <a:close/>
                  <a:moveTo>
                    <a:pt x="1440" y="644"/>
                  </a:moveTo>
                  <a:cubicBezTo>
                    <a:pt x="1444" y="637"/>
                    <a:pt x="1450" y="638"/>
                    <a:pt x="1453" y="640"/>
                  </a:cubicBezTo>
                  <a:cubicBezTo>
                    <a:pt x="1454" y="641"/>
                    <a:pt x="1447" y="651"/>
                    <a:pt x="1440" y="644"/>
                  </a:cubicBezTo>
                  <a:close/>
                  <a:moveTo>
                    <a:pt x="1450" y="270"/>
                  </a:moveTo>
                  <a:cubicBezTo>
                    <a:pt x="1449" y="259"/>
                    <a:pt x="1453" y="257"/>
                    <a:pt x="1453" y="248"/>
                  </a:cubicBezTo>
                  <a:cubicBezTo>
                    <a:pt x="1463" y="245"/>
                    <a:pt x="1456" y="258"/>
                    <a:pt x="1453" y="259"/>
                  </a:cubicBezTo>
                  <a:cubicBezTo>
                    <a:pt x="1455" y="267"/>
                    <a:pt x="1451" y="288"/>
                    <a:pt x="1450" y="270"/>
                  </a:cubicBezTo>
                  <a:close/>
                  <a:moveTo>
                    <a:pt x="1448" y="1210"/>
                  </a:moveTo>
                  <a:cubicBezTo>
                    <a:pt x="1452" y="1209"/>
                    <a:pt x="1452" y="1213"/>
                    <a:pt x="1456" y="1213"/>
                  </a:cubicBezTo>
                  <a:cubicBezTo>
                    <a:pt x="1457" y="1221"/>
                    <a:pt x="1444" y="1219"/>
                    <a:pt x="1448" y="1210"/>
                  </a:cubicBezTo>
                  <a:close/>
                  <a:moveTo>
                    <a:pt x="1450" y="1195"/>
                  </a:moveTo>
                  <a:cubicBezTo>
                    <a:pt x="1450" y="1190"/>
                    <a:pt x="1450" y="1185"/>
                    <a:pt x="1450" y="1180"/>
                  </a:cubicBezTo>
                  <a:cubicBezTo>
                    <a:pt x="1458" y="1173"/>
                    <a:pt x="1456" y="1196"/>
                    <a:pt x="1458" y="1184"/>
                  </a:cubicBezTo>
                  <a:cubicBezTo>
                    <a:pt x="1466" y="1188"/>
                    <a:pt x="1455" y="1196"/>
                    <a:pt x="1450" y="1195"/>
                  </a:cubicBezTo>
                  <a:close/>
                  <a:moveTo>
                    <a:pt x="1418" y="170"/>
                  </a:moveTo>
                  <a:cubicBezTo>
                    <a:pt x="1422" y="178"/>
                    <a:pt x="1402" y="180"/>
                    <a:pt x="1402" y="167"/>
                  </a:cubicBezTo>
                  <a:cubicBezTo>
                    <a:pt x="1405" y="171"/>
                    <a:pt x="1412" y="171"/>
                    <a:pt x="1418" y="170"/>
                  </a:cubicBezTo>
                  <a:close/>
                  <a:moveTo>
                    <a:pt x="1402" y="204"/>
                  </a:moveTo>
                  <a:cubicBezTo>
                    <a:pt x="1406" y="204"/>
                    <a:pt x="1409" y="204"/>
                    <a:pt x="1413" y="204"/>
                  </a:cubicBezTo>
                  <a:cubicBezTo>
                    <a:pt x="1413" y="213"/>
                    <a:pt x="1409" y="215"/>
                    <a:pt x="1407" y="222"/>
                  </a:cubicBezTo>
                  <a:cubicBezTo>
                    <a:pt x="1403" y="219"/>
                    <a:pt x="1402" y="213"/>
                    <a:pt x="1402" y="204"/>
                  </a:cubicBezTo>
                  <a:close/>
                  <a:moveTo>
                    <a:pt x="1413" y="566"/>
                  </a:moveTo>
                  <a:cubicBezTo>
                    <a:pt x="1404" y="581"/>
                    <a:pt x="1403" y="555"/>
                    <a:pt x="1405" y="544"/>
                  </a:cubicBezTo>
                  <a:cubicBezTo>
                    <a:pt x="1408" y="545"/>
                    <a:pt x="1410" y="543"/>
                    <a:pt x="1410" y="540"/>
                  </a:cubicBezTo>
                  <a:cubicBezTo>
                    <a:pt x="1420" y="544"/>
                    <a:pt x="1397" y="565"/>
                    <a:pt x="1413" y="566"/>
                  </a:cubicBezTo>
                  <a:close/>
                  <a:moveTo>
                    <a:pt x="1378" y="207"/>
                  </a:moveTo>
                  <a:cubicBezTo>
                    <a:pt x="1381" y="202"/>
                    <a:pt x="1389" y="204"/>
                    <a:pt x="1397" y="204"/>
                  </a:cubicBezTo>
                  <a:cubicBezTo>
                    <a:pt x="1389" y="213"/>
                    <a:pt x="1403" y="208"/>
                    <a:pt x="1399" y="222"/>
                  </a:cubicBezTo>
                  <a:cubicBezTo>
                    <a:pt x="1397" y="222"/>
                    <a:pt x="1397" y="218"/>
                    <a:pt x="1397" y="215"/>
                  </a:cubicBezTo>
                  <a:cubicBezTo>
                    <a:pt x="1393" y="220"/>
                    <a:pt x="1385" y="218"/>
                    <a:pt x="1378" y="218"/>
                  </a:cubicBezTo>
                  <a:cubicBezTo>
                    <a:pt x="1378" y="215"/>
                    <a:pt x="1378" y="211"/>
                    <a:pt x="1378" y="207"/>
                  </a:cubicBezTo>
                  <a:close/>
                  <a:moveTo>
                    <a:pt x="1359" y="562"/>
                  </a:moveTo>
                  <a:cubicBezTo>
                    <a:pt x="1365" y="561"/>
                    <a:pt x="1364" y="568"/>
                    <a:pt x="1364" y="574"/>
                  </a:cubicBezTo>
                  <a:cubicBezTo>
                    <a:pt x="1362" y="573"/>
                    <a:pt x="1362" y="570"/>
                    <a:pt x="1359" y="570"/>
                  </a:cubicBezTo>
                  <a:cubicBezTo>
                    <a:pt x="1359" y="567"/>
                    <a:pt x="1359" y="565"/>
                    <a:pt x="1359" y="562"/>
                  </a:cubicBezTo>
                  <a:close/>
                  <a:moveTo>
                    <a:pt x="1373" y="618"/>
                  </a:moveTo>
                  <a:cubicBezTo>
                    <a:pt x="1367" y="622"/>
                    <a:pt x="1377" y="595"/>
                    <a:pt x="1370" y="607"/>
                  </a:cubicBezTo>
                  <a:cubicBezTo>
                    <a:pt x="1367" y="607"/>
                    <a:pt x="1368" y="602"/>
                    <a:pt x="1367" y="599"/>
                  </a:cubicBezTo>
                  <a:cubicBezTo>
                    <a:pt x="1369" y="600"/>
                    <a:pt x="1370" y="598"/>
                    <a:pt x="1370" y="596"/>
                  </a:cubicBezTo>
                  <a:cubicBezTo>
                    <a:pt x="1375" y="599"/>
                    <a:pt x="1377" y="612"/>
                    <a:pt x="1373" y="618"/>
                  </a:cubicBezTo>
                  <a:close/>
                  <a:moveTo>
                    <a:pt x="1375" y="629"/>
                  </a:moveTo>
                  <a:cubicBezTo>
                    <a:pt x="1375" y="631"/>
                    <a:pt x="1375" y="634"/>
                    <a:pt x="1375" y="636"/>
                  </a:cubicBezTo>
                  <a:cubicBezTo>
                    <a:pt x="1373" y="636"/>
                    <a:pt x="1372" y="636"/>
                    <a:pt x="1370" y="636"/>
                  </a:cubicBezTo>
                  <a:cubicBezTo>
                    <a:pt x="1370" y="634"/>
                    <a:pt x="1370" y="631"/>
                    <a:pt x="1370" y="629"/>
                  </a:cubicBezTo>
                  <a:cubicBezTo>
                    <a:pt x="1372" y="629"/>
                    <a:pt x="1373" y="629"/>
                    <a:pt x="1375" y="629"/>
                  </a:cubicBezTo>
                  <a:close/>
                  <a:moveTo>
                    <a:pt x="1370" y="1235"/>
                  </a:moveTo>
                  <a:cubicBezTo>
                    <a:pt x="1366" y="1232"/>
                    <a:pt x="1359" y="1233"/>
                    <a:pt x="1362" y="1221"/>
                  </a:cubicBezTo>
                  <a:cubicBezTo>
                    <a:pt x="1364" y="1220"/>
                    <a:pt x="1364" y="1222"/>
                    <a:pt x="1364" y="1225"/>
                  </a:cubicBezTo>
                  <a:cubicBezTo>
                    <a:pt x="1366" y="1228"/>
                    <a:pt x="1371" y="1228"/>
                    <a:pt x="1370" y="1235"/>
                  </a:cubicBezTo>
                  <a:close/>
                  <a:moveTo>
                    <a:pt x="1356" y="1280"/>
                  </a:moveTo>
                  <a:cubicBezTo>
                    <a:pt x="1359" y="1275"/>
                    <a:pt x="1364" y="1273"/>
                    <a:pt x="1364" y="1265"/>
                  </a:cubicBezTo>
                  <a:cubicBezTo>
                    <a:pt x="1371" y="1264"/>
                    <a:pt x="1366" y="1279"/>
                    <a:pt x="1375" y="1276"/>
                  </a:cubicBezTo>
                  <a:cubicBezTo>
                    <a:pt x="1374" y="1285"/>
                    <a:pt x="1362" y="1278"/>
                    <a:pt x="1356" y="1280"/>
                  </a:cubicBezTo>
                  <a:close/>
                  <a:moveTo>
                    <a:pt x="1375" y="1239"/>
                  </a:moveTo>
                  <a:cubicBezTo>
                    <a:pt x="1370" y="1237"/>
                    <a:pt x="1375" y="1233"/>
                    <a:pt x="1375" y="1228"/>
                  </a:cubicBezTo>
                  <a:cubicBezTo>
                    <a:pt x="1380" y="1231"/>
                    <a:pt x="1376" y="1235"/>
                    <a:pt x="1375" y="1239"/>
                  </a:cubicBezTo>
                  <a:close/>
                  <a:moveTo>
                    <a:pt x="1378" y="255"/>
                  </a:moveTo>
                  <a:cubicBezTo>
                    <a:pt x="1369" y="255"/>
                    <a:pt x="1362" y="253"/>
                    <a:pt x="1362" y="241"/>
                  </a:cubicBezTo>
                  <a:cubicBezTo>
                    <a:pt x="1364" y="244"/>
                    <a:pt x="1379" y="249"/>
                    <a:pt x="1380" y="241"/>
                  </a:cubicBezTo>
                  <a:cubicBezTo>
                    <a:pt x="1392" y="245"/>
                    <a:pt x="1369" y="251"/>
                    <a:pt x="1380" y="255"/>
                  </a:cubicBezTo>
                  <a:cubicBezTo>
                    <a:pt x="1380" y="260"/>
                    <a:pt x="1378" y="258"/>
                    <a:pt x="1378" y="255"/>
                  </a:cubicBezTo>
                  <a:close/>
                  <a:moveTo>
                    <a:pt x="1383" y="562"/>
                  </a:moveTo>
                  <a:cubicBezTo>
                    <a:pt x="1380" y="587"/>
                    <a:pt x="1377" y="524"/>
                    <a:pt x="1383" y="562"/>
                  </a:cubicBezTo>
                  <a:close/>
                  <a:moveTo>
                    <a:pt x="1389" y="267"/>
                  </a:moveTo>
                  <a:cubicBezTo>
                    <a:pt x="1379" y="257"/>
                    <a:pt x="1398" y="256"/>
                    <a:pt x="1389" y="248"/>
                  </a:cubicBezTo>
                  <a:cubicBezTo>
                    <a:pt x="1391" y="242"/>
                    <a:pt x="1400" y="244"/>
                    <a:pt x="1405" y="241"/>
                  </a:cubicBezTo>
                  <a:cubicBezTo>
                    <a:pt x="1407" y="244"/>
                    <a:pt x="1406" y="251"/>
                    <a:pt x="1410" y="252"/>
                  </a:cubicBezTo>
                  <a:cubicBezTo>
                    <a:pt x="1409" y="256"/>
                    <a:pt x="1405" y="255"/>
                    <a:pt x="1405" y="252"/>
                  </a:cubicBezTo>
                  <a:cubicBezTo>
                    <a:pt x="1401" y="251"/>
                    <a:pt x="1404" y="261"/>
                    <a:pt x="1402" y="263"/>
                  </a:cubicBezTo>
                  <a:cubicBezTo>
                    <a:pt x="1400" y="266"/>
                    <a:pt x="1391" y="254"/>
                    <a:pt x="1391" y="267"/>
                  </a:cubicBezTo>
                  <a:cubicBezTo>
                    <a:pt x="1396" y="273"/>
                    <a:pt x="1401" y="265"/>
                    <a:pt x="1407" y="274"/>
                  </a:cubicBezTo>
                  <a:cubicBezTo>
                    <a:pt x="1407" y="278"/>
                    <a:pt x="1402" y="277"/>
                    <a:pt x="1402" y="281"/>
                  </a:cubicBezTo>
                  <a:cubicBezTo>
                    <a:pt x="1396" y="270"/>
                    <a:pt x="1400" y="280"/>
                    <a:pt x="1391" y="281"/>
                  </a:cubicBezTo>
                  <a:cubicBezTo>
                    <a:pt x="1399" y="273"/>
                    <a:pt x="1384" y="264"/>
                    <a:pt x="1383" y="278"/>
                  </a:cubicBezTo>
                  <a:cubicBezTo>
                    <a:pt x="1375" y="274"/>
                    <a:pt x="1386" y="268"/>
                    <a:pt x="1389" y="267"/>
                  </a:cubicBezTo>
                  <a:close/>
                  <a:moveTo>
                    <a:pt x="1389" y="555"/>
                  </a:moveTo>
                  <a:cubicBezTo>
                    <a:pt x="1390" y="550"/>
                    <a:pt x="1394" y="548"/>
                    <a:pt x="1399" y="548"/>
                  </a:cubicBezTo>
                  <a:cubicBezTo>
                    <a:pt x="1397" y="554"/>
                    <a:pt x="1393" y="562"/>
                    <a:pt x="1389" y="555"/>
                  </a:cubicBezTo>
                  <a:close/>
                  <a:moveTo>
                    <a:pt x="1399" y="577"/>
                  </a:moveTo>
                  <a:cubicBezTo>
                    <a:pt x="1396" y="576"/>
                    <a:pt x="1394" y="573"/>
                    <a:pt x="1394" y="566"/>
                  </a:cubicBezTo>
                  <a:cubicBezTo>
                    <a:pt x="1397" y="568"/>
                    <a:pt x="1399" y="571"/>
                    <a:pt x="1399" y="577"/>
                  </a:cubicBezTo>
                  <a:close/>
                  <a:moveTo>
                    <a:pt x="1389" y="1280"/>
                  </a:moveTo>
                  <a:cubicBezTo>
                    <a:pt x="1390" y="1280"/>
                    <a:pt x="1392" y="1280"/>
                    <a:pt x="1394" y="1280"/>
                  </a:cubicBezTo>
                  <a:cubicBezTo>
                    <a:pt x="1395" y="1290"/>
                    <a:pt x="1374" y="1279"/>
                    <a:pt x="1389" y="1280"/>
                  </a:cubicBezTo>
                  <a:close/>
                  <a:moveTo>
                    <a:pt x="1394" y="1250"/>
                  </a:moveTo>
                  <a:cubicBezTo>
                    <a:pt x="1391" y="1248"/>
                    <a:pt x="1391" y="1242"/>
                    <a:pt x="1386" y="1243"/>
                  </a:cubicBezTo>
                  <a:cubicBezTo>
                    <a:pt x="1388" y="1240"/>
                    <a:pt x="1390" y="1233"/>
                    <a:pt x="1386" y="1232"/>
                  </a:cubicBezTo>
                  <a:cubicBezTo>
                    <a:pt x="1387" y="1227"/>
                    <a:pt x="1394" y="1231"/>
                    <a:pt x="1394" y="1225"/>
                  </a:cubicBezTo>
                  <a:cubicBezTo>
                    <a:pt x="1400" y="1223"/>
                    <a:pt x="1397" y="1235"/>
                    <a:pt x="1402" y="1235"/>
                  </a:cubicBezTo>
                  <a:cubicBezTo>
                    <a:pt x="1401" y="1243"/>
                    <a:pt x="1390" y="1236"/>
                    <a:pt x="1394" y="1250"/>
                  </a:cubicBezTo>
                  <a:close/>
                  <a:moveTo>
                    <a:pt x="1402" y="577"/>
                  </a:moveTo>
                  <a:cubicBezTo>
                    <a:pt x="1404" y="567"/>
                    <a:pt x="1406" y="583"/>
                    <a:pt x="1410" y="581"/>
                  </a:cubicBezTo>
                  <a:cubicBezTo>
                    <a:pt x="1407" y="593"/>
                    <a:pt x="1405" y="577"/>
                    <a:pt x="1402" y="577"/>
                  </a:cubicBezTo>
                  <a:close/>
                  <a:moveTo>
                    <a:pt x="1405" y="1306"/>
                  </a:moveTo>
                  <a:cubicBezTo>
                    <a:pt x="1405" y="1297"/>
                    <a:pt x="1414" y="1305"/>
                    <a:pt x="1415" y="1306"/>
                  </a:cubicBezTo>
                  <a:cubicBezTo>
                    <a:pt x="1415" y="1315"/>
                    <a:pt x="1406" y="1307"/>
                    <a:pt x="1405" y="1306"/>
                  </a:cubicBezTo>
                  <a:close/>
                  <a:moveTo>
                    <a:pt x="1426" y="1247"/>
                  </a:moveTo>
                  <a:cubicBezTo>
                    <a:pt x="1422" y="1245"/>
                    <a:pt x="1424" y="1235"/>
                    <a:pt x="1415" y="1239"/>
                  </a:cubicBezTo>
                  <a:cubicBezTo>
                    <a:pt x="1415" y="1234"/>
                    <a:pt x="1415" y="1229"/>
                    <a:pt x="1415" y="1225"/>
                  </a:cubicBezTo>
                  <a:cubicBezTo>
                    <a:pt x="1421" y="1226"/>
                    <a:pt x="1420" y="1235"/>
                    <a:pt x="1429" y="1232"/>
                  </a:cubicBezTo>
                  <a:cubicBezTo>
                    <a:pt x="1430" y="1240"/>
                    <a:pt x="1427" y="1242"/>
                    <a:pt x="1426" y="1247"/>
                  </a:cubicBezTo>
                  <a:close/>
                  <a:moveTo>
                    <a:pt x="1421" y="1180"/>
                  </a:moveTo>
                  <a:cubicBezTo>
                    <a:pt x="1421" y="1183"/>
                    <a:pt x="1421" y="1185"/>
                    <a:pt x="1421" y="1187"/>
                  </a:cubicBezTo>
                  <a:cubicBezTo>
                    <a:pt x="1419" y="1187"/>
                    <a:pt x="1417" y="1187"/>
                    <a:pt x="1415" y="1187"/>
                  </a:cubicBezTo>
                  <a:cubicBezTo>
                    <a:pt x="1415" y="1185"/>
                    <a:pt x="1415" y="1183"/>
                    <a:pt x="1415" y="1180"/>
                  </a:cubicBezTo>
                  <a:cubicBezTo>
                    <a:pt x="1417" y="1180"/>
                    <a:pt x="1419" y="1180"/>
                    <a:pt x="1421" y="1180"/>
                  </a:cubicBezTo>
                  <a:close/>
                  <a:moveTo>
                    <a:pt x="1424" y="244"/>
                  </a:moveTo>
                  <a:cubicBezTo>
                    <a:pt x="1425" y="252"/>
                    <a:pt x="1422" y="254"/>
                    <a:pt x="1421" y="259"/>
                  </a:cubicBezTo>
                  <a:cubicBezTo>
                    <a:pt x="1413" y="259"/>
                    <a:pt x="1414" y="242"/>
                    <a:pt x="1424" y="244"/>
                  </a:cubicBezTo>
                  <a:close/>
                  <a:moveTo>
                    <a:pt x="1424" y="1180"/>
                  </a:moveTo>
                  <a:cubicBezTo>
                    <a:pt x="1424" y="1176"/>
                    <a:pt x="1424" y="1173"/>
                    <a:pt x="1424" y="1169"/>
                  </a:cubicBezTo>
                  <a:cubicBezTo>
                    <a:pt x="1431" y="1164"/>
                    <a:pt x="1431" y="1185"/>
                    <a:pt x="1424" y="1180"/>
                  </a:cubicBezTo>
                  <a:close/>
                  <a:moveTo>
                    <a:pt x="1421" y="289"/>
                  </a:moveTo>
                  <a:cubicBezTo>
                    <a:pt x="1420" y="282"/>
                    <a:pt x="1427" y="284"/>
                    <a:pt x="1429" y="281"/>
                  </a:cubicBezTo>
                  <a:cubicBezTo>
                    <a:pt x="1435" y="273"/>
                    <a:pt x="1430" y="288"/>
                    <a:pt x="1421" y="289"/>
                  </a:cubicBezTo>
                  <a:close/>
                  <a:moveTo>
                    <a:pt x="1421" y="270"/>
                  </a:moveTo>
                  <a:cubicBezTo>
                    <a:pt x="1423" y="267"/>
                    <a:pt x="1424" y="262"/>
                    <a:pt x="1424" y="255"/>
                  </a:cubicBezTo>
                  <a:cubicBezTo>
                    <a:pt x="1426" y="255"/>
                    <a:pt x="1429" y="255"/>
                    <a:pt x="1432" y="255"/>
                  </a:cubicBezTo>
                  <a:cubicBezTo>
                    <a:pt x="1428" y="261"/>
                    <a:pt x="1429" y="272"/>
                    <a:pt x="1421" y="270"/>
                  </a:cubicBezTo>
                  <a:close/>
                  <a:moveTo>
                    <a:pt x="1413" y="189"/>
                  </a:moveTo>
                  <a:cubicBezTo>
                    <a:pt x="1413" y="185"/>
                    <a:pt x="1416" y="186"/>
                    <a:pt x="1418" y="185"/>
                  </a:cubicBezTo>
                  <a:cubicBezTo>
                    <a:pt x="1425" y="187"/>
                    <a:pt x="1417" y="168"/>
                    <a:pt x="1426" y="174"/>
                  </a:cubicBezTo>
                  <a:cubicBezTo>
                    <a:pt x="1425" y="177"/>
                    <a:pt x="1423" y="180"/>
                    <a:pt x="1424" y="185"/>
                  </a:cubicBezTo>
                  <a:cubicBezTo>
                    <a:pt x="1436" y="183"/>
                    <a:pt x="1428" y="174"/>
                    <a:pt x="1429" y="159"/>
                  </a:cubicBezTo>
                  <a:cubicBezTo>
                    <a:pt x="1434" y="152"/>
                    <a:pt x="1434" y="162"/>
                    <a:pt x="1442" y="159"/>
                  </a:cubicBezTo>
                  <a:cubicBezTo>
                    <a:pt x="1442" y="165"/>
                    <a:pt x="1434" y="161"/>
                    <a:pt x="1434" y="167"/>
                  </a:cubicBezTo>
                  <a:cubicBezTo>
                    <a:pt x="1434" y="173"/>
                    <a:pt x="1448" y="163"/>
                    <a:pt x="1448" y="178"/>
                  </a:cubicBezTo>
                  <a:cubicBezTo>
                    <a:pt x="1444" y="182"/>
                    <a:pt x="1441" y="182"/>
                    <a:pt x="1440" y="174"/>
                  </a:cubicBezTo>
                  <a:cubicBezTo>
                    <a:pt x="1433" y="179"/>
                    <a:pt x="1431" y="182"/>
                    <a:pt x="1434" y="193"/>
                  </a:cubicBezTo>
                  <a:cubicBezTo>
                    <a:pt x="1426" y="193"/>
                    <a:pt x="1423" y="186"/>
                    <a:pt x="1413" y="189"/>
                  </a:cubicBezTo>
                  <a:close/>
                  <a:moveTo>
                    <a:pt x="1437" y="1295"/>
                  </a:moveTo>
                  <a:cubicBezTo>
                    <a:pt x="1434" y="1294"/>
                    <a:pt x="1435" y="1288"/>
                    <a:pt x="1434" y="1284"/>
                  </a:cubicBezTo>
                  <a:cubicBezTo>
                    <a:pt x="1439" y="1282"/>
                    <a:pt x="1439" y="1286"/>
                    <a:pt x="1440" y="1291"/>
                  </a:cubicBezTo>
                  <a:cubicBezTo>
                    <a:pt x="1437" y="1290"/>
                    <a:pt x="1437" y="1292"/>
                    <a:pt x="1437" y="1295"/>
                  </a:cubicBezTo>
                  <a:close/>
                  <a:moveTo>
                    <a:pt x="1445" y="1273"/>
                  </a:moveTo>
                  <a:cubicBezTo>
                    <a:pt x="1443" y="1273"/>
                    <a:pt x="1442" y="1273"/>
                    <a:pt x="1440" y="1273"/>
                  </a:cubicBezTo>
                  <a:cubicBezTo>
                    <a:pt x="1440" y="1270"/>
                    <a:pt x="1440" y="1268"/>
                    <a:pt x="1440" y="1265"/>
                  </a:cubicBezTo>
                  <a:cubicBezTo>
                    <a:pt x="1442" y="1265"/>
                    <a:pt x="1443" y="1265"/>
                    <a:pt x="1445" y="1265"/>
                  </a:cubicBezTo>
                  <a:cubicBezTo>
                    <a:pt x="1445" y="1268"/>
                    <a:pt x="1445" y="1270"/>
                    <a:pt x="1445" y="1273"/>
                  </a:cubicBezTo>
                  <a:close/>
                  <a:moveTo>
                    <a:pt x="1448" y="1254"/>
                  </a:moveTo>
                  <a:cubicBezTo>
                    <a:pt x="1444" y="1251"/>
                    <a:pt x="1439" y="1249"/>
                    <a:pt x="1440" y="1239"/>
                  </a:cubicBezTo>
                  <a:cubicBezTo>
                    <a:pt x="1444" y="1237"/>
                    <a:pt x="1454" y="1244"/>
                    <a:pt x="1453" y="1235"/>
                  </a:cubicBezTo>
                  <a:cubicBezTo>
                    <a:pt x="1451" y="1232"/>
                    <a:pt x="1447" y="1232"/>
                    <a:pt x="1448" y="1225"/>
                  </a:cubicBezTo>
                  <a:cubicBezTo>
                    <a:pt x="1450" y="1225"/>
                    <a:pt x="1453" y="1225"/>
                    <a:pt x="1456" y="1225"/>
                  </a:cubicBezTo>
                  <a:cubicBezTo>
                    <a:pt x="1452" y="1229"/>
                    <a:pt x="1454" y="1236"/>
                    <a:pt x="1458" y="1239"/>
                  </a:cubicBezTo>
                  <a:cubicBezTo>
                    <a:pt x="1460" y="1251"/>
                    <a:pt x="1445" y="1241"/>
                    <a:pt x="1448" y="1254"/>
                  </a:cubicBezTo>
                  <a:close/>
                  <a:moveTo>
                    <a:pt x="1458" y="1302"/>
                  </a:moveTo>
                  <a:cubicBezTo>
                    <a:pt x="1463" y="1294"/>
                    <a:pt x="1465" y="1305"/>
                    <a:pt x="1472" y="1298"/>
                  </a:cubicBezTo>
                  <a:cubicBezTo>
                    <a:pt x="1475" y="1312"/>
                    <a:pt x="1460" y="1305"/>
                    <a:pt x="1458" y="1302"/>
                  </a:cubicBezTo>
                  <a:close/>
                  <a:moveTo>
                    <a:pt x="1475" y="655"/>
                  </a:moveTo>
                  <a:cubicBezTo>
                    <a:pt x="1472" y="658"/>
                    <a:pt x="1470" y="652"/>
                    <a:pt x="1469" y="651"/>
                  </a:cubicBezTo>
                  <a:cubicBezTo>
                    <a:pt x="1469" y="651"/>
                    <a:pt x="1464" y="644"/>
                    <a:pt x="1467" y="640"/>
                  </a:cubicBezTo>
                  <a:cubicBezTo>
                    <a:pt x="1469" y="637"/>
                    <a:pt x="1469" y="650"/>
                    <a:pt x="1469" y="651"/>
                  </a:cubicBezTo>
                  <a:cubicBezTo>
                    <a:pt x="1469" y="651"/>
                    <a:pt x="1477" y="652"/>
                    <a:pt x="1475" y="655"/>
                  </a:cubicBezTo>
                  <a:close/>
                  <a:moveTo>
                    <a:pt x="1469" y="588"/>
                  </a:moveTo>
                  <a:cubicBezTo>
                    <a:pt x="1473" y="575"/>
                    <a:pt x="1474" y="595"/>
                    <a:pt x="1472" y="596"/>
                  </a:cubicBezTo>
                  <a:cubicBezTo>
                    <a:pt x="1470" y="596"/>
                    <a:pt x="1469" y="591"/>
                    <a:pt x="1469" y="588"/>
                  </a:cubicBezTo>
                  <a:close/>
                  <a:moveTo>
                    <a:pt x="1475" y="285"/>
                  </a:moveTo>
                  <a:cubicBezTo>
                    <a:pt x="1473" y="280"/>
                    <a:pt x="1468" y="276"/>
                    <a:pt x="1469" y="267"/>
                  </a:cubicBezTo>
                  <a:cubicBezTo>
                    <a:pt x="1472" y="267"/>
                    <a:pt x="1475" y="267"/>
                    <a:pt x="1477" y="267"/>
                  </a:cubicBezTo>
                  <a:cubicBezTo>
                    <a:pt x="1472" y="277"/>
                    <a:pt x="1483" y="284"/>
                    <a:pt x="1483" y="281"/>
                  </a:cubicBezTo>
                  <a:cubicBezTo>
                    <a:pt x="1483" y="285"/>
                    <a:pt x="1475" y="285"/>
                    <a:pt x="1477" y="292"/>
                  </a:cubicBezTo>
                  <a:cubicBezTo>
                    <a:pt x="1474" y="293"/>
                    <a:pt x="1476" y="288"/>
                    <a:pt x="1475" y="285"/>
                  </a:cubicBezTo>
                  <a:close/>
                  <a:moveTo>
                    <a:pt x="1480" y="699"/>
                  </a:moveTo>
                  <a:cubicBezTo>
                    <a:pt x="1480" y="695"/>
                    <a:pt x="1479" y="693"/>
                    <a:pt x="1477" y="692"/>
                  </a:cubicBezTo>
                  <a:cubicBezTo>
                    <a:pt x="1478" y="687"/>
                    <a:pt x="1483" y="688"/>
                    <a:pt x="1483" y="692"/>
                  </a:cubicBezTo>
                  <a:cubicBezTo>
                    <a:pt x="1485" y="693"/>
                    <a:pt x="1485" y="690"/>
                    <a:pt x="1485" y="688"/>
                  </a:cubicBezTo>
                  <a:cubicBezTo>
                    <a:pt x="1490" y="687"/>
                    <a:pt x="1486" y="703"/>
                    <a:pt x="1480" y="699"/>
                  </a:cubicBezTo>
                  <a:close/>
                  <a:moveTo>
                    <a:pt x="1493" y="1243"/>
                  </a:moveTo>
                  <a:cubicBezTo>
                    <a:pt x="1482" y="1245"/>
                    <a:pt x="1494" y="1235"/>
                    <a:pt x="1491" y="1225"/>
                  </a:cubicBezTo>
                  <a:cubicBezTo>
                    <a:pt x="1494" y="1226"/>
                    <a:pt x="1497" y="1245"/>
                    <a:pt x="1493" y="1243"/>
                  </a:cubicBezTo>
                  <a:close/>
                  <a:moveTo>
                    <a:pt x="1485" y="566"/>
                  </a:moveTo>
                  <a:cubicBezTo>
                    <a:pt x="1484" y="561"/>
                    <a:pt x="1496" y="557"/>
                    <a:pt x="1488" y="555"/>
                  </a:cubicBezTo>
                  <a:cubicBezTo>
                    <a:pt x="1499" y="541"/>
                    <a:pt x="1484" y="571"/>
                    <a:pt x="1496" y="566"/>
                  </a:cubicBezTo>
                  <a:cubicBezTo>
                    <a:pt x="1494" y="577"/>
                    <a:pt x="1490" y="563"/>
                    <a:pt x="1485" y="566"/>
                  </a:cubicBezTo>
                  <a:close/>
                  <a:moveTo>
                    <a:pt x="1491" y="182"/>
                  </a:moveTo>
                  <a:cubicBezTo>
                    <a:pt x="1491" y="179"/>
                    <a:pt x="1493" y="178"/>
                    <a:pt x="1493" y="174"/>
                  </a:cubicBezTo>
                  <a:cubicBezTo>
                    <a:pt x="1497" y="176"/>
                    <a:pt x="1499" y="179"/>
                    <a:pt x="1499" y="185"/>
                  </a:cubicBezTo>
                  <a:cubicBezTo>
                    <a:pt x="1494" y="186"/>
                    <a:pt x="1494" y="182"/>
                    <a:pt x="1491" y="182"/>
                  </a:cubicBezTo>
                  <a:close/>
                  <a:moveTo>
                    <a:pt x="1499" y="1221"/>
                  </a:moveTo>
                  <a:cubicBezTo>
                    <a:pt x="1494" y="1218"/>
                    <a:pt x="1498" y="1214"/>
                    <a:pt x="1499" y="1210"/>
                  </a:cubicBezTo>
                  <a:cubicBezTo>
                    <a:pt x="1504" y="1212"/>
                    <a:pt x="1499" y="1216"/>
                    <a:pt x="1499" y="1221"/>
                  </a:cubicBezTo>
                  <a:close/>
                  <a:moveTo>
                    <a:pt x="1496" y="170"/>
                  </a:moveTo>
                  <a:cubicBezTo>
                    <a:pt x="1495" y="165"/>
                    <a:pt x="1511" y="165"/>
                    <a:pt x="1504" y="174"/>
                  </a:cubicBezTo>
                  <a:cubicBezTo>
                    <a:pt x="1505" y="173"/>
                    <a:pt x="1496" y="170"/>
                    <a:pt x="1496" y="170"/>
                  </a:cubicBezTo>
                  <a:close/>
                  <a:moveTo>
                    <a:pt x="1504" y="651"/>
                  </a:moveTo>
                  <a:cubicBezTo>
                    <a:pt x="1506" y="648"/>
                    <a:pt x="1507" y="643"/>
                    <a:pt x="1507" y="636"/>
                  </a:cubicBezTo>
                  <a:cubicBezTo>
                    <a:pt x="1510" y="637"/>
                    <a:pt x="1512" y="636"/>
                    <a:pt x="1512" y="633"/>
                  </a:cubicBezTo>
                  <a:cubicBezTo>
                    <a:pt x="1516" y="634"/>
                    <a:pt x="1513" y="639"/>
                    <a:pt x="1510" y="640"/>
                  </a:cubicBezTo>
                  <a:cubicBezTo>
                    <a:pt x="1510" y="648"/>
                    <a:pt x="1509" y="652"/>
                    <a:pt x="1504" y="651"/>
                  </a:cubicBezTo>
                  <a:close/>
                  <a:moveTo>
                    <a:pt x="1515" y="1180"/>
                  </a:moveTo>
                  <a:cubicBezTo>
                    <a:pt x="1512" y="1178"/>
                    <a:pt x="1509" y="1175"/>
                    <a:pt x="1510" y="1169"/>
                  </a:cubicBezTo>
                  <a:cubicBezTo>
                    <a:pt x="1513" y="1171"/>
                    <a:pt x="1515" y="1174"/>
                    <a:pt x="1515" y="1180"/>
                  </a:cubicBezTo>
                  <a:close/>
                  <a:moveTo>
                    <a:pt x="1523" y="1291"/>
                  </a:moveTo>
                  <a:cubicBezTo>
                    <a:pt x="1518" y="1280"/>
                    <a:pt x="1511" y="1294"/>
                    <a:pt x="1510" y="1276"/>
                  </a:cubicBezTo>
                  <a:cubicBezTo>
                    <a:pt x="1522" y="1278"/>
                    <a:pt x="1514" y="1273"/>
                    <a:pt x="1515" y="1261"/>
                  </a:cubicBezTo>
                  <a:cubicBezTo>
                    <a:pt x="1522" y="1259"/>
                    <a:pt x="1520" y="1269"/>
                    <a:pt x="1526" y="1269"/>
                  </a:cubicBezTo>
                  <a:cubicBezTo>
                    <a:pt x="1525" y="1273"/>
                    <a:pt x="1523" y="1271"/>
                    <a:pt x="1523" y="1269"/>
                  </a:cubicBezTo>
                  <a:cubicBezTo>
                    <a:pt x="1520" y="1269"/>
                    <a:pt x="1521" y="1273"/>
                    <a:pt x="1520" y="1276"/>
                  </a:cubicBezTo>
                  <a:cubicBezTo>
                    <a:pt x="1523" y="1287"/>
                    <a:pt x="1532" y="1275"/>
                    <a:pt x="1536" y="1276"/>
                  </a:cubicBezTo>
                  <a:cubicBezTo>
                    <a:pt x="1538" y="1290"/>
                    <a:pt x="1524" y="1281"/>
                    <a:pt x="1523" y="1291"/>
                  </a:cubicBezTo>
                  <a:close/>
                  <a:moveTo>
                    <a:pt x="1534" y="230"/>
                  </a:moveTo>
                  <a:cubicBezTo>
                    <a:pt x="1536" y="230"/>
                    <a:pt x="1537" y="230"/>
                    <a:pt x="1539" y="230"/>
                  </a:cubicBezTo>
                  <a:cubicBezTo>
                    <a:pt x="1540" y="240"/>
                    <a:pt x="1519" y="229"/>
                    <a:pt x="1534" y="230"/>
                  </a:cubicBezTo>
                  <a:close/>
                  <a:moveTo>
                    <a:pt x="1553" y="1291"/>
                  </a:moveTo>
                  <a:cubicBezTo>
                    <a:pt x="1551" y="1291"/>
                    <a:pt x="1549" y="1291"/>
                    <a:pt x="1547" y="1291"/>
                  </a:cubicBezTo>
                  <a:cubicBezTo>
                    <a:pt x="1547" y="1289"/>
                    <a:pt x="1547" y="1286"/>
                    <a:pt x="1547" y="1284"/>
                  </a:cubicBezTo>
                  <a:cubicBezTo>
                    <a:pt x="1549" y="1284"/>
                    <a:pt x="1551" y="1284"/>
                    <a:pt x="1553" y="1284"/>
                  </a:cubicBezTo>
                  <a:cubicBezTo>
                    <a:pt x="1553" y="1286"/>
                    <a:pt x="1553" y="1289"/>
                    <a:pt x="1553" y="1291"/>
                  </a:cubicBezTo>
                  <a:close/>
                  <a:moveTo>
                    <a:pt x="1550" y="1276"/>
                  </a:moveTo>
                  <a:cubicBezTo>
                    <a:pt x="1548" y="1276"/>
                    <a:pt x="1547" y="1273"/>
                    <a:pt x="1545" y="1273"/>
                  </a:cubicBezTo>
                  <a:cubicBezTo>
                    <a:pt x="1545" y="1270"/>
                    <a:pt x="1547" y="1269"/>
                    <a:pt x="1547" y="1265"/>
                  </a:cubicBezTo>
                  <a:cubicBezTo>
                    <a:pt x="1549" y="1266"/>
                    <a:pt x="1550" y="1269"/>
                    <a:pt x="1553" y="1269"/>
                  </a:cubicBezTo>
                  <a:cubicBezTo>
                    <a:pt x="1552" y="1272"/>
                    <a:pt x="1550" y="1273"/>
                    <a:pt x="1550" y="1276"/>
                  </a:cubicBezTo>
                  <a:close/>
                  <a:moveTo>
                    <a:pt x="1555" y="1265"/>
                  </a:moveTo>
                  <a:cubicBezTo>
                    <a:pt x="1550" y="1266"/>
                    <a:pt x="1552" y="1257"/>
                    <a:pt x="1550" y="1254"/>
                  </a:cubicBezTo>
                  <a:cubicBezTo>
                    <a:pt x="1547" y="1251"/>
                    <a:pt x="1547" y="1254"/>
                    <a:pt x="1545" y="1250"/>
                  </a:cubicBezTo>
                  <a:cubicBezTo>
                    <a:pt x="1543" y="1247"/>
                    <a:pt x="1539" y="1246"/>
                    <a:pt x="1539" y="1239"/>
                  </a:cubicBezTo>
                  <a:cubicBezTo>
                    <a:pt x="1549" y="1240"/>
                    <a:pt x="1547" y="1243"/>
                    <a:pt x="1555" y="1239"/>
                  </a:cubicBezTo>
                  <a:cubicBezTo>
                    <a:pt x="1556" y="1250"/>
                    <a:pt x="1555" y="1252"/>
                    <a:pt x="1550" y="1247"/>
                  </a:cubicBezTo>
                  <a:cubicBezTo>
                    <a:pt x="1548" y="1258"/>
                    <a:pt x="1559" y="1251"/>
                    <a:pt x="1555" y="1265"/>
                  </a:cubicBezTo>
                  <a:close/>
                  <a:moveTo>
                    <a:pt x="1547" y="555"/>
                  </a:moveTo>
                  <a:cubicBezTo>
                    <a:pt x="1551" y="562"/>
                    <a:pt x="1556" y="568"/>
                    <a:pt x="1561" y="574"/>
                  </a:cubicBezTo>
                  <a:cubicBezTo>
                    <a:pt x="1558" y="579"/>
                    <a:pt x="1545" y="569"/>
                    <a:pt x="1547" y="555"/>
                  </a:cubicBezTo>
                  <a:close/>
                  <a:moveTo>
                    <a:pt x="1566" y="1243"/>
                  </a:moveTo>
                  <a:cubicBezTo>
                    <a:pt x="1560" y="1244"/>
                    <a:pt x="1563" y="1232"/>
                    <a:pt x="1558" y="1232"/>
                  </a:cubicBezTo>
                  <a:cubicBezTo>
                    <a:pt x="1558" y="1223"/>
                    <a:pt x="1567" y="1231"/>
                    <a:pt x="1569" y="1232"/>
                  </a:cubicBezTo>
                  <a:cubicBezTo>
                    <a:pt x="1567" y="1235"/>
                    <a:pt x="1566" y="1238"/>
                    <a:pt x="1566" y="1243"/>
                  </a:cubicBezTo>
                  <a:close/>
                  <a:moveTo>
                    <a:pt x="1561" y="1199"/>
                  </a:moveTo>
                  <a:cubicBezTo>
                    <a:pt x="1561" y="1195"/>
                    <a:pt x="1561" y="1191"/>
                    <a:pt x="1561" y="1187"/>
                  </a:cubicBezTo>
                  <a:cubicBezTo>
                    <a:pt x="1568" y="1185"/>
                    <a:pt x="1566" y="1195"/>
                    <a:pt x="1571" y="1195"/>
                  </a:cubicBezTo>
                  <a:cubicBezTo>
                    <a:pt x="1571" y="1200"/>
                    <a:pt x="1565" y="1198"/>
                    <a:pt x="1561" y="1199"/>
                  </a:cubicBezTo>
                  <a:close/>
                  <a:moveTo>
                    <a:pt x="1580" y="1250"/>
                  </a:moveTo>
                  <a:cubicBezTo>
                    <a:pt x="1577" y="1246"/>
                    <a:pt x="1570" y="1249"/>
                    <a:pt x="1571" y="1239"/>
                  </a:cubicBezTo>
                  <a:cubicBezTo>
                    <a:pt x="1574" y="1243"/>
                    <a:pt x="1581" y="1240"/>
                    <a:pt x="1580" y="1250"/>
                  </a:cubicBezTo>
                  <a:close/>
                  <a:moveTo>
                    <a:pt x="1577" y="640"/>
                  </a:moveTo>
                  <a:cubicBezTo>
                    <a:pt x="1577" y="638"/>
                    <a:pt x="1577" y="635"/>
                    <a:pt x="1577" y="633"/>
                  </a:cubicBezTo>
                  <a:cubicBezTo>
                    <a:pt x="1579" y="633"/>
                    <a:pt x="1580" y="633"/>
                    <a:pt x="1582" y="633"/>
                  </a:cubicBezTo>
                  <a:cubicBezTo>
                    <a:pt x="1582" y="635"/>
                    <a:pt x="1582" y="638"/>
                    <a:pt x="1582" y="640"/>
                  </a:cubicBezTo>
                  <a:cubicBezTo>
                    <a:pt x="1580" y="640"/>
                    <a:pt x="1579" y="640"/>
                    <a:pt x="1577" y="640"/>
                  </a:cubicBezTo>
                  <a:close/>
                  <a:moveTo>
                    <a:pt x="1598" y="1254"/>
                  </a:moveTo>
                  <a:cubicBezTo>
                    <a:pt x="1593" y="1257"/>
                    <a:pt x="1592" y="1248"/>
                    <a:pt x="1590" y="1247"/>
                  </a:cubicBezTo>
                  <a:cubicBezTo>
                    <a:pt x="1588" y="1246"/>
                    <a:pt x="1585" y="1252"/>
                    <a:pt x="1582" y="1247"/>
                  </a:cubicBezTo>
                  <a:cubicBezTo>
                    <a:pt x="1587" y="1239"/>
                    <a:pt x="1600" y="1236"/>
                    <a:pt x="1598" y="1254"/>
                  </a:cubicBezTo>
                  <a:close/>
                  <a:moveTo>
                    <a:pt x="1633" y="1291"/>
                  </a:moveTo>
                  <a:cubicBezTo>
                    <a:pt x="1625" y="1305"/>
                    <a:pt x="1624" y="1280"/>
                    <a:pt x="1633" y="1291"/>
                  </a:cubicBezTo>
                  <a:close/>
                  <a:moveTo>
                    <a:pt x="1628" y="1313"/>
                  </a:moveTo>
                  <a:cubicBezTo>
                    <a:pt x="1628" y="1308"/>
                    <a:pt x="1628" y="1303"/>
                    <a:pt x="1628" y="1298"/>
                  </a:cubicBezTo>
                  <a:cubicBezTo>
                    <a:pt x="1637" y="1298"/>
                    <a:pt x="1638" y="1316"/>
                    <a:pt x="1628" y="1313"/>
                  </a:cubicBezTo>
                  <a:close/>
                  <a:moveTo>
                    <a:pt x="1625" y="1250"/>
                  </a:moveTo>
                  <a:cubicBezTo>
                    <a:pt x="1617" y="1249"/>
                    <a:pt x="1607" y="1253"/>
                    <a:pt x="1601" y="1247"/>
                  </a:cubicBezTo>
                  <a:cubicBezTo>
                    <a:pt x="1602" y="1236"/>
                    <a:pt x="1609" y="1246"/>
                    <a:pt x="1612" y="1247"/>
                  </a:cubicBezTo>
                  <a:cubicBezTo>
                    <a:pt x="1614" y="1247"/>
                    <a:pt x="1615" y="1242"/>
                    <a:pt x="1617" y="1243"/>
                  </a:cubicBezTo>
                  <a:cubicBezTo>
                    <a:pt x="1618" y="1243"/>
                    <a:pt x="1617" y="1246"/>
                    <a:pt x="1620" y="1247"/>
                  </a:cubicBezTo>
                  <a:cubicBezTo>
                    <a:pt x="1625" y="1247"/>
                    <a:pt x="1629" y="1246"/>
                    <a:pt x="1636" y="1247"/>
                  </a:cubicBezTo>
                  <a:cubicBezTo>
                    <a:pt x="1638" y="1240"/>
                    <a:pt x="1638" y="1251"/>
                    <a:pt x="1641" y="1250"/>
                  </a:cubicBezTo>
                  <a:cubicBezTo>
                    <a:pt x="1639" y="1261"/>
                    <a:pt x="1631" y="1251"/>
                    <a:pt x="1625" y="1250"/>
                  </a:cubicBezTo>
                  <a:close/>
                  <a:moveTo>
                    <a:pt x="1641" y="588"/>
                  </a:moveTo>
                  <a:cubicBezTo>
                    <a:pt x="1641" y="595"/>
                    <a:pt x="1648" y="600"/>
                    <a:pt x="1639" y="599"/>
                  </a:cubicBezTo>
                  <a:cubicBezTo>
                    <a:pt x="1637" y="611"/>
                    <a:pt x="1644" y="611"/>
                    <a:pt x="1639" y="618"/>
                  </a:cubicBezTo>
                  <a:cubicBezTo>
                    <a:pt x="1627" y="611"/>
                    <a:pt x="1643" y="590"/>
                    <a:pt x="1641" y="574"/>
                  </a:cubicBezTo>
                  <a:cubicBezTo>
                    <a:pt x="1638" y="569"/>
                    <a:pt x="1641" y="572"/>
                    <a:pt x="1644" y="574"/>
                  </a:cubicBezTo>
                  <a:cubicBezTo>
                    <a:pt x="1646" y="581"/>
                    <a:pt x="1641" y="583"/>
                    <a:pt x="1641" y="588"/>
                  </a:cubicBezTo>
                  <a:close/>
                  <a:moveTo>
                    <a:pt x="2066" y="156"/>
                  </a:moveTo>
                  <a:cubicBezTo>
                    <a:pt x="2076" y="166"/>
                    <a:pt x="2060" y="179"/>
                    <a:pt x="2066" y="156"/>
                  </a:cubicBezTo>
                  <a:close/>
                  <a:moveTo>
                    <a:pt x="2055" y="562"/>
                  </a:moveTo>
                  <a:cubicBezTo>
                    <a:pt x="2055" y="562"/>
                    <a:pt x="2053" y="563"/>
                    <a:pt x="2053" y="562"/>
                  </a:cubicBezTo>
                  <a:cubicBezTo>
                    <a:pt x="2043" y="552"/>
                    <a:pt x="2062" y="561"/>
                    <a:pt x="2058" y="566"/>
                  </a:cubicBezTo>
                  <a:cubicBezTo>
                    <a:pt x="2057" y="568"/>
                    <a:pt x="2052" y="570"/>
                    <a:pt x="2053" y="566"/>
                  </a:cubicBezTo>
                  <a:cubicBezTo>
                    <a:pt x="2053" y="565"/>
                    <a:pt x="2056" y="566"/>
                    <a:pt x="2055" y="562"/>
                  </a:cubicBezTo>
                  <a:close/>
                  <a:moveTo>
                    <a:pt x="2034" y="296"/>
                  </a:moveTo>
                  <a:cubicBezTo>
                    <a:pt x="2038" y="296"/>
                    <a:pt x="2042" y="312"/>
                    <a:pt x="2042" y="296"/>
                  </a:cubicBezTo>
                  <a:cubicBezTo>
                    <a:pt x="2051" y="297"/>
                    <a:pt x="2042" y="306"/>
                    <a:pt x="2047" y="307"/>
                  </a:cubicBezTo>
                  <a:cubicBezTo>
                    <a:pt x="2047" y="312"/>
                    <a:pt x="2042" y="311"/>
                    <a:pt x="2042" y="307"/>
                  </a:cubicBezTo>
                  <a:cubicBezTo>
                    <a:pt x="2037" y="307"/>
                    <a:pt x="2036" y="312"/>
                    <a:pt x="2031" y="311"/>
                  </a:cubicBezTo>
                  <a:cubicBezTo>
                    <a:pt x="2031" y="304"/>
                    <a:pt x="2035" y="303"/>
                    <a:pt x="2034" y="296"/>
                  </a:cubicBezTo>
                  <a:close/>
                  <a:moveTo>
                    <a:pt x="2039" y="285"/>
                  </a:moveTo>
                  <a:cubicBezTo>
                    <a:pt x="2041" y="274"/>
                    <a:pt x="2045" y="289"/>
                    <a:pt x="2050" y="285"/>
                  </a:cubicBezTo>
                  <a:cubicBezTo>
                    <a:pt x="2050" y="294"/>
                    <a:pt x="2041" y="286"/>
                    <a:pt x="2039" y="285"/>
                  </a:cubicBezTo>
                  <a:close/>
                  <a:moveTo>
                    <a:pt x="2058" y="241"/>
                  </a:moveTo>
                  <a:cubicBezTo>
                    <a:pt x="2051" y="236"/>
                    <a:pt x="2066" y="214"/>
                    <a:pt x="2058" y="241"/>
                  </a:cubicBezTo>
                  <a:close/>
                  <a:moveTo>
                    <a:pt x="2050" y="174"/>
                  </a:moveTo>
                  <a:cubicBezTo>
                    <a:pt x="2060" y="185"/>
                    <a:pt x="2042" y="187"/>
                    <a:pt x="2050" y="174"/>
                  </a:cubicBezTo>
                  <a:close/>
                  <a:moveTo>
                    <a:pt x="2053" y="244"/>
                  </a:moveTo>
                  <a:cubicBezTo>
                    <a:pt x="2061" y="248"/>
                    <a:pt x="2052" y="257"/>
                    <a:pt x="2050" y="259"/>
                  </a:cubicBezTo>
                  <a:cubicBezTo>
                    <a:pt x="2047" y="259"/>
                    <a:pt x="2048" y="255"/>
                    <a:pt x="2047" y="252"/>
                  </a:cubicBezTo>
                  <a:cubicBezTo>
                    <a:pt x="2045" y="251"/>
                    <a:pt x="2045" y="253"/>
                    <a:pt x="2045" y="255"/>
                  </a:cubicBezTo>
                  <a:cubicBezTo>
                    <a:pt x="2042" y="256"/>
                    <a:pt x="2042" y="254"/>
                    <a:pt x="2042" y="252"/>
                  </a:cubicBezTo>
                  <a:cubicBezTo>
                    <a:pt x="2042" y="249"/>
                    <a:pt x="2042" y="247"/>
                    <a:pt x="2042" y="244"/>
                  </a:cubicBezTo>
                  <a:cubicBezTo>
                    <a:pt x="2047" y="241"/>
                    <a:pt x="2051" y="255"/>
                    <a:pt x="2053" y="244"/>
                  </a:cubicBezTo>
                  <a:close/>
                  <a:moveTo>
                    <a:pt x="2037" y="185"/>
                  </a:moveTo>
                  <a:cubicBezTo>
                    <a:pt x="2038" y="185"/>
                    <a:pt x="2040" y="185"/>
                    <a:pt x="2042" y="185"/>
                  </a:cubicBezTo>
                  <a:cubicBezTo>
                    <a:pt x="2042" y="188"/>
                    <a:pt x="2042" y="190"/>
                    <a:pt x="2042" y="193"/>
                  </a:cubicBezTo>
                  <a:cubicBezTo>
                    <a:pt x="2040" y="193"/>
                    <a:pt x="2038" y="193"/>
                    <a:pt x="2037" y="193"/>
                  </a:cubicBezTo>
                  <a:cubicBezTo>
                    <a:pt x="2037" y="190"/>
                    <a:pt x="2037" y="188"/>
                    <a:pt x="2037" y="185"/>
                  </a:cubicBezTo>
                  <a:close/>
                  <a:moveTo>
                    <a:pt x="2031" y="233"/>
                  </a:moveTo>
                  <a:cubicBezTo>
                    <a:pt x="2041" y="232"/>
                    <a:pt x="2035" y="253"/>
                    <a:pt x="2039" y="259"/>
                  </a:cubicBezTo>
                  <a:cubicBezTo>
                    <a:pt x="2029" y="262"/>
                    <a:pt x="2032" y="245"/>
                    <a:pt x="2031" y="233"/>
                  </a:cubicBezTo>
                  <a:close/>
                  <a:moveTo>
                    <a:pt x="2018" y="548"/>
                  </a:moveTo>
                  <a:cubicBezTo>
                    <a:pt x="2030" y="550"/>
                    <a:pt x="2016" y="570"/>
                    <a:pt x="2018" y="548"/>
                  </a:cubicBezTo>
                  <a:close/>
                  <a:moveTo>
                    <a:pt x="2020" y="1180"/>
                  </a:moveTo>
                  <a:cubicBezTo>
                    <a:pt x="2019" y="1187"/>
                    <a:pt x="2016" y="1181"/>
                    <a:pt x="2012" y="1180"/>
                  </a:cubicBezTo>
                  <a:cubicBezTo>
                    <a:pt x="2014" y="1173"/>
                    <a:pt x="2017" y="1180"/>
                    <a:pt x="2020" y="1180"/>
                  </a:cubicBezTo>
                  <a:close/>
                  <a:moveTo>
                    <a:pt x="2010" y="156"/>
                  </a:moveTo>
                  <a:cubicBezTo>
                    <a:pt x="2018" y="150"/>
                    <a:pt x="2018" y="172"/>
                    <a:pt x="2010" y="167"/>
                  </a:cubicBezTo>
                  <a:cubicBezTo>
                    <a:pt x="2010" y="163"/>
                    <a:pt x="2010" y="159"/>
                    <a:pt x="2010" y="156"/>
                  </a:cubicBezTo>
                  <a:close/>
                  <a:moveTo>
                    <a:pt x="2010" y="174"/>
                  </a:moveTo>
                  <a:cubicBezTo>
                    <a:pt x="2011" y="167"/>
                    <a:pt x="2013" y="176"/>
                    <a:pt x="2012" y="182"/>
                  </a:cubicBezTo>
                  <a:cubicBezTo>
                    <a:pt x="2011" y="189"/>
                    <a:pt x="2009" y="179"/>
                    <a:pt x="2010" y="174"/>
                  </a:cubicBezTo>
                  <a:close/>
                  <a:moveTo>
                    <a:pt x="2012" y="559"/>
                  </a:moveTo>
                  <a:cubicBezTo>
                    <a:pt x="2009" y="557"/>
                    <a:pt x="2007" y="554"/>
                    <a:pt x="2007" y="548"/>
                  </a:cubicBezTo>
                  <a:cubicBezTo>
                    <a:pt x="2010" y="549"/>
                    <a:pt x="2013" y="552"/>
                    <a:pt x="2012" y="559"/>
                  </a:cubicBezTo>
                  <a:close/>
                  <a:moveTo>
                    <a:pt x="2007" y="1187"/>
                  </a:moveTo>
                  <a:cubicBezTo>
                    <a:pt x="2019" y="1189"/>
                    <a:pt x="2004" y="1209"/>
                    <a:pt x="2007" y="1187"/>
                  </a:cubicBezTo>
                  <a:close/>
                  <a:moveTo>
                    <a:pt x="1991" y="182"/>
                  </a:moveTo>
                  <a:cubicBezTo>
                    <a:pt x="1995" y="172"/>
                    <a:pt x="2006" y="183"/>
                    <a:pt x="2004" y="193"/>
                  </a:cubicBezTo>
                  <a:cubicBezTo>
                    <a:pt x="1998" y="197"/>
                    <a:pt x="1993" y="182"/>
                    <a:pt x="1991" y="193"/>
                  </a:cubicBezTo>
                  <a:cubicBezTo>
                    <a:pt x="1988" y="192"/>
                    <a:pt x="1989" y="185"/>
                    <a:pt x="1986" y="185"/>
                  </a:cubicBezTo>
                  <a:cubicBezTo>
                    <a:pt x="1985" y="178"/>
                    <a:pt x="2004" y="189"/>
                    <a:pt x="1991" y="182"/>
                  </a:cubicBezTo>
                  <a:close/>
                  <a:moveTo>
                    <a:pt x="1996" y="537"/>
                  </a:moveTo>
                  <a:cubicBezTo>
                    <a:pt x="1995" y="544"/>
                    <a:pt x="1995" y="552"/>
                    <a:pt x="1988" y="551"/>
                  </a:cubicBezTo>
                  <a:cubicBezTo>
                    <a:pt x="1989" y="548"/>
                    <a:pt x="1991" y="545"/>
                    <a:pt x="1994" y="544"/>
                  </a:cubicBezTo>
                  <a:cubicBezTo>
                    <a:pt x="1991" y="539"/>
                    <a:pt x="1991" y="536"/>
                    <a:pt x="1996" y="537"/>
                  </a:cubicBezTo>
                  <a:close/>
                  <a:moveTo>
                    <a:pt x="1996" y="1169"/>
                  </a:moveTo>
                  <a:cubicBezTo>
                    <a:pt x="1999" y="1172"/>
                    <a:pt x="2000" y="1180"/>
                    <a:pt x="1996" y="1187"/>
                  </a:cubicBezTo>
                  <a:cubicBezTo>
                    <a:pt x="1990" y="1187"/>
                    <a:pt x="1995" y="1171"/>
                    <a:pt x="1996" y="1169"/>
                  </a:cubicBezTo>
                  <a:close/>
                  <a:moveTo>
                    <a:pt x="1996" y="211"/>
                  </a:moveTo>
                  <a:cubicBezTo>
                    <a:pt x="1990" y="213"/>
                    <a:pt x="1990" y="204"/>
                    <a:pt x="1983" y="207"/>
                  </a:cubicBezTo>
                  <a:cubicBezTo>
                    <a:pt x="1989" y="197"/>
                    <a:pt x="1991" y="205"/>
                    <a:pt x="1999" y="200"/>
                  </a:cubicBezTo>
                  <a:cubicBezTo>
                    <a:pt x="1998" y="203"/>
                    <a:pt x="1996" y="206"/>
                    <a:pt x="1996" y="211"/>
                  </a:cubicBezTo>
                  <a:close/>
                  <a:moveTo>
                    <a:pt x="1999" y="570"/>
                  </a:moveTo>
                  <a:cubicBezTo>
                    <a:pt x="2011" y="571"/>
                    <a:pt x="1996" y="591"/>
                    <a:pt x="1999" y="570"/>
                  </a:cubicBezTo>
                  <a:close/>
                  <a:moveTo>
                    <a:pt x="1986" y="122"/>
                  </a:moveTo>
                  <a:cubicBezTo>
                    <a:pt x="1988" y="123"/>
                    <a:pt x="1987" y="130"/>
                    <a:pt x="1991" y="130"/>
                  </a:cubicBezTo>
                  <a:cubicBezTo>
                    <a:pt x="1990" y="134"/>
                    <a:pt x="1986" y="132"/>
                    <a:pt x="1986" y="137"/>
                  </a:cubicBezTo>
                  <a:cubicBezTo>
                    <a:pt x="1977" y="135"/>
                    <a:pt x="1988" y="129"/>
                    <a:pt x="1986" y="122"/>
                  </a:cubicBezTo>
                  <a:close/>
                  <a:moveTo>
                    <a:pt x="1977" y="133"/>
                  </a:moveTo>
                  <a:cubicBezTo>
                    <a:pt x="1976" y="133"/>
                    <a:pt x="1974" y="133"/>
                    <a:pt x="1972" y="133"/>
                  </a:cubicBezTo>
                  <a:cubicBezTo>
                    <a:pt x="1973" y="130"/>
                    <a:pt x="1971" y="130"/>
                    <a:pt x="1969" y="130"/>
                  </a:cubicBezTo>
                  <a:cubicBezTo>
                    <a:pt x="1968" y="123"/>
                    <a:pt x="1982" y="124"/>
                    <a:pt x="1977" y="133"/>
                  </a:cubicBezTo>
                  <a:close/>
                  <a:moveTo>
                    <a:pt x="1961" y="133"/>
                  </a:moveTo>
                  <a:cubicBezTo>
                    <a:pt x="1966" y="142"/>
                    <a:pt x="1971" y="147"/>
                    <a:pt x="1980" y="141"/>
                  </a:cubicBezTo>
                  <a:cubicBezTo>
                    <a:pt x="1979" y="144"/>
                    <a:pt x="1978" y="145"/>
                    <a:pt x="1977" y="148"/>
                  </a:cubicBezTo>
                  <a:cubicBezTo>
                    <a:pt x="1977" y="156"/>
                    <a:pt x="1983" y="158"/>
                    <a:pt x="1983" y="163"/>
                  </a:cubicBezTo>
                  <a:cubicBezTo>
                    <a:pt x="1982" y="176"/>
                    <a:pt x="1978" y="182"/>
                    <a:pt x="1972" y="193"/>
                  </a:cubicBezTo>
                  <a:cubicBezTo>
                    <a:pt x="1969" y="192"/>
                    <a:pt x="1972" y="174"/>
                    <a:pt x="1975" y="174"/>
                  </a:cubicBezTo>
                  <a:cubicBezTo>
                    <a:pt x="1979" y="174"/>
                    <a:pt x="1974" y="159"/>
                    <a:pt x="1972" y="152"/>
                  </a:cubicBezTo>
                  <a:cubicBezTo>
                    <a:pt x="1968" y="152"/>
                    <a:pt x="1971" y="159"/>
                    <a:pt x="1969" y="163"/>
                  </a:cubicBezTo>
                  <a:cubicBezTo>
                    <a:pt x="1964" y="176"/>
                    <a:pt x="1972" y="145"/>
                    <a:pt x="1961" y="148"/>
                  </a:cubicBezTo>
                  <a:cubicBezTo>
                    <a:pt x="1961" y="143"/>
                    <a:pt x="1961" y="138"/>
                    <a:pt x="1961" y="133"/>
                  </a:cubicBezTo>
                  <a:close/>
                  <a:moveTo>
                    <a:pt x="1969" y="1232"/>
                  </a:moveTo>
                  <a:cubicBezTo>
                    <a:pt x="1973" y="1227"/>
                    <a:pt x="1971" y="1214"/>
                    <a:pt x="1961" y="1217"/>
                  </a:cubicBezTo>
                  <a:cubicBezTo>
                    <a:pt x="1960" y="1209"/>
                    <a:pt x="1966" y="1212"/>
                    <a:pt x="1967" y="1206"/>
                  </a:cubicBezTo>
                  <a:cubicBezTo>
                    <a:pt x="1967" y="1202"/>
                    <a:pt x="1972" y="1203"/>
                    <a:pt x="1975" y="1202"/>
                  </a:cubicBezTo>
                  <a:cubicBezTo>
                    <a:pt x="1976" y="1211"/>
                    <a:pt x="1974" y="1216"/>
                    <a:pt x="1972" y="1221"/>
                  </a:cubicBezTo>
                  <a:cubicBezTo>
                    <a:pt x="1974" y="1224"/>
                    <a:pt x="1978" y="1234"/>
                    <a:pt x="1969" y="1232"/>
                  </a:cubicBezTo>
                  <a:close/>
                  <a:moveTo>
                    <a:pt x="1964" y="1306"/>
                  </a:moveTo>
                  <a:cubicBezTo>
                    <a:pt x="1963" y="1310"/>
                    <a:pt x="1961" y="1313"/>
                    <a:pt x="1956" y="1313"/>
                  </a:cubicBezTo>
                  <a:cubicBezTo>
                    <a:pt x="1957" y="1309"/>
                    <a:pt x="1959" y="1306"/>
                    <a:pt x="1964" y="1306"/>
                  </a:cubicBezTo>
                  <a:close/>
                  <a:moveTo>
                    <a:pt x="1964" y="207"/>
                  </a:moveTo>
                  <a:cubicBezTo>
                    <a:pt x="1964" y="205"/>
                    <a:pt x="1964" y="202"/>
                    <a:pt x="1964" y="200"/>
                  </a:cubicBezTo>
                  <a:cubicBezTo>
                    <a:pt x="1969" y="199"/>
                    <a:pt x="1972" y="201"/>
                    <a:pt x="1972" y="207"/>
                  </a:cubicBezTo>
                  <a:cubicBezTo>
                    <a:pt x="1969" y="207"/>
                    <a:pt x="1967" y="207"/>
                    <a:pt x="1964" y="207"/>
                  </a:cubicBezTo>
                  <a:close/>
                  <a:moveTo>
                    <a:pt x="1961" y="163"/>
                  </a:moveTo>
                  <a:cubicBezTo>
                    <a:pt x="1969" y="151"/>
                    <a:pt x="1953" y="183"/>
                    <a:pt x="1967" y="178"/>
                  </a:cubicBezTo>
                  <a:cubicBezTo>
                    <a:pt x="1967" y="184"/>
                    <a:pt x="1963" y="186"/>
                    <a:pt x="1964" y="193"/>
                  </a:cubicBezTo>
                  <a:cubicBezTo>
                    <a:pt x="1960" y="187"/>
                    <a:pt x="1956" y="171"/>
                    <a:pt x="1961" y="163"/>
                  </a:cubicBezTo>
                  <a:close/>
                  <a:moveTo>
                    <a:pt x="1940" y="108"/>
                  </a:moveTo>
                  <a:cubicBezTo>
                    <a:pt x="1942" y="108"/>
                    <a:pt x="1945" y="108"/>
                    <a:pt x="1948" y="108"/>
                  </a:cubicBezTo>
                  <a:cubicBezTo>
                    <a:pt x="1945" y="115"/>
                    <a:pt x="1952" y="125"/>
                    <a:pt x="1953" y="115"/>
                  </a:cubicBezTo>
                  <a:cubicBezTo>
                    <a:pt x="1956" y="114"/>
                    <a:pt x="1956" y="116"/>
                    <a:pt x="1956" y="119"/>
                  </a:cubicBezTo>
                  <a:cubicBezTo>
                    <a:pt x="1955" y="122"/>
                    <a:pt x="1957" y="122"/>
                    <a:pt x="1959" y="122"/>
                  </a:cubicBezTo>
                  <a:cubicBezTo>
                    <a:pt x="1959" y="127"/>
                    <a:pt x="1954" y="124"/>
                    <a:pt x="1953" y="126"/>
                  </a:cubicBezTo>
                  <a:cubicBezTo>
                    <a:pt x="1951" y="130"/>
                    <a:pt x="1954" y="139"/>
                    <a:pt x="1951" y="141"/>
                  </a:cubicBezTo>
                  <a:cubicBezTo>
                    <a:pt x="1947" y="138"/>
                    <a:pt x="1945" y="132"/>
                    <a:pt x="1945" y="122"/>
                  </a:cubicBezTo>
                  <a:cubicBezTo>
                    <a:pt x="1943" y="122"/>
                    <a:pt x="1943" y="127"/>
                    <a:pt x="1942" y="130"/>
                  </a:cubicBezTo>
                  <a:cubicBezTo>
                    <a:pt x="1940" y="128"/>
                    <a:pt x="1938" y="126"/>
                    <a:pt x="1934" y="126"/>
                  </a:cubicBezTo>
                  <a:cubicBezTo>
                    <a:pt x="1937" y="121"/>
                    <a:pt x="1937" y="112"/>
                    <a:pt x="1940" y="108"/>
                  </a:cubicBezTo>
                  <a:close/>
                  <a:moveTo>
                    <a:pt x="1937" y="174"/>
                  </a:moveTo>
                  <a:cubicBezTo>
                    <a:pt x="1934" y="161"/>
                    <a:pt x="1954" y="164"/>
                    <a:pt x="1948" y="178"/>
                  </a:cubicBezTo>
                  <a:cubicBezTo>
                    <a:pt x="1943" y="171"/>
                    <a:pt x="1946" y="171"/>
                    <a:pt x="1937" y="174"/>
                  </a:cubicBezTo>
                  <a:close/>
                  <a:moveTo>
                    <a:pt x="1945" y="1095"/>
                  </a:moveTo>
                  <a:cubicBezTo>
                    <a:pt x="1944" y="1100"/>
                    <a:pt x="1942" y="1103"/>
                    <a:pt x="1937" y="1102"/>
                  </a:cubicBezTo>
                  <a:cubicBezTo>
                    <a:pt x="1938" y="1098"/>
                    <a:pt x="1941" y="1095"/>
                    <a:pt x="1945" y="1095"/>
                  </a:cubicBezTo>
                  <a:close/>
                  <a:moveTo>
                    <a:pt x="1942" y="137"/>
                  </a:moveTo>
                  <a:cubicBezTo>
                    <a:pt x="1941" y="142"/>
                    <a:pt x="1939" y="145"/>
                    <a:pt x="1934" y="145"/>
                  </a:cubicBezTo>
                  <a:cubicBezTo>
                    <a:pt x="1936" y="140"/>
                    <a:pt x="1938" y="137"/>
                    <a:pt x="1942" y="137"/>
                  </a:cubicBezTo>
                  <a:close/>
                  <a:moveTo>
                    <a:pt x="1908" y="193"/>
                  </a:moveTo>
                  <a:cubicBezTo>
                    <a:pt x="1910" y="201"/>
                    <a:pt x="1917" y="202"/>
                    <a:pt x="1921" y="207"/>
                  </a:cubicBezTo>
                  <a:cubicBezTo>
                    <a:pt x="1919" y="214"/>
                    <a:pt x="1915" y="210"/>
                    <a:pt x="1916" y="204"/>
                  </a:cubicBezTo>
                  <a:cubicBezTo>
                    <a:pt x="1910" y="205"/>
                    <a:pt x="1909" y="201"/>
                    <a:pt x="1905" y="200"/>
                  </a:cubicBezTo>
                  <a:cubicBezTo>
                    <a:pt x="1901" y="191"/>
                    <a:pt x="1913" y="185"/>
                    <a:pt x="1905" y="182"/>
                  </a:cubicBezTo>
                  <a:cubicBezTo>
                    <a:pt x="1905" y="173"/>
                    <a:pt x="1912" y="183"/>
                    <a:pt x="1913" y="182"/>
                  </a:cubicBezTo>
                  <a:cubicBezTo>
                    <a:pt x="1913" y="181"/>
                    <a:pt x="1913" y="178"/>
                    <a:pt x="1913" y="178"/>
                  </a:cubicBezTo>
                  <a:cubicBezTo>
                    <a:pt x="1919" y="179"/>
                    <a:pt x="1920" y="185"/>
                    <a:pt x="1924" y="193"/>
                  </a:cubicBezTo>
                  <a:cubicBezTo>
                    <a:pt x="1927" y="199"/>
                    <a:pt x="1935" y="201"/>
                    <a:pt x="1932" y="207"/>
                  </a:cubicBezTo>
                  <a:cubicBezTo>
                    <a:pt x="1922" y="210"/>
                    <a:pt x="1920" y="202"/>
                    <a:pt x="1921" y="189"/>
                  </a:cubicBezTo>
                  <a:cubicBezTo>
                    <a:pt x="1915" y="188"/>
                    <a:pt x="1911" y="190"/>
                    <a:pt x="1908" y="193"/>
                  </a:cubicBezTo>
                  <a:close/>
                  <a:moveTo>
                    <a:pt x="1897" y="244"/>
                  </a:moveTo>
                  <a:cubicBezTo>
                    <a:pt x="1897" y="239"/>
                    <a:pt x="1894" y="244"/>
                    <a:pt x="1894" y="244"/>
                  </a:cubicBezTo>
                  <a:cubicBezTo>
                    <a:pt x="1891" y="243"/>
                    <a:pt x="1892" y="235"/>
                    <a:pt x="1886" y="237"/>
                  </a:cubicBezTo>
                  <a:cubicBezTo>
                    <a:pt x="1888" y="231"/>
                    <a:pt x="1895" y="232"/>
                    <a:pt x="1899" y="230"/>
                  </a:cubicBezTo>
                  <a:cubicBezTo>
                    <a:pt x="1899" y="239"/>
                    <a:pt x="1897" y="253"/>
                    <a:pt x="1908" y="248"/>
                  </a:cubicBezTo>
                  <a:cubicBezTo>
                    <a:pt x="1909" y="258"/>
                    <a:pt x="1898" y="252"/>
                    <a:pt x="1897" y="259"/>
                  </a:cubicBezTo>
                  <a:cubicBezTo>
                    <a:pt x="1890" y="258"/>
                    <a:pt x="1900" y="253"/>
                    <a:pt x="1897" y="244"/>
                  </a:cubicBezTo>
                  <a:close/>
                  <a:moveTo>
                    <a:pt x="1908" y="241"/>
                  </a:moveTo>
                  <a:cubicBezTo>
                    <a:pt x="1901" y="240"/>
                    <a:pt x="1901" y="231"/>
                    <a:pt x="1905" y="226"/>
                  </a:cubicBezTo>
                  <a:cubicBezTo>
                    <a:pt x="1911" y="227"/>
                    <a:pt x="1911" y="236"/>
                    <a:pt x="1908" y="241"/>
                  </a:cubicBezTo>
                  <a:close/>
                  <a:moveTo>
                    <a:pt x="1902" y="222"/>
                  </a:moveTo>
                  <a:cubicBezTo>
                    <a:pt x="1904" y="217"/>
                    <a:pt x="1911" y="217"/>
                    <a:pt x="1916" y="215"/>
                  </a:cubicBezTo>
                  <a:cubicBezTo>
                    <a:pt x="1918" y="227"/>
                    <a:pt x="1907" y="221"/>
                    <a:pt x="1902" y="222"/>
                  </a:cubicBezTo>
                  <a:close/>
                  <a:moveTo>
                    <a:pt x="1926" y="189"/>
                  </a:moveTo>
                  <a:cubicBezTo>
                    <a:pt x="1936" y="167"/>
                    <a:pt x="1940" y="211"/>
                    <a:pt x="1926" y="189"/>
                  </a:cubicBezTo>
                  <a:close/>
                  <a:moveTo>
                    <a:pt x="1932" y="211"/>
                  </a:moveTo>
                  <a:cubicBezTo>
                    <a:pt x="1941" y="209"/>
                    <a:pt x="1932" y="228"/>
                    <a:pt x="1929" y="222"/>
                  </a:cubicBezTo>
                  <a:cubicBezTo>
                    <a:pt x="1929" y="222"/>
                    <a:pt x="1931" y="215"/>
                    <a:pt x="1932" y="215"/>
                  </a:cubicBezTo>
                  <a:cubicBezTo>
                    <a:pt x="1932" y="215"/>
                    <a:pt x="1932" y="211"/>
                    <a:pt x="1932" y="211"/>
                  </a:cubicBezTo>
                  <a:close/>
                  <a:moveTo>
                    <a:pt x="1934" y="159"/>
                  </a:moveTo>
                  <a:cubicBezTo>
                    <a:pt x="1934" y="164"/>
                    <a:pt x="1933" y="161"/>
                    <a:pt x="1932" y="163"/>
                  </a:cubicBezTo>
                  <a:cubicBezTo>
                    <a:pt x="1931" y="166"/>
                    <a:pt x="1922" y="176"/>
                    <a:pt x="1932" y="174"/>
                  </a:cubicBezTo>
                  <a:cubicBezTo>
                    <a:pt x="1931" y="178"/>
                    <a:pt x="1927" y="177"/>
                    <a:pt x="1924" y="178"/>
                  </a:cubicBezTo>
                  <a:cubicBezTo>
                    <a:pt x="1924" y="173"/>
                    <a:pt x="1924" y="168"/>
                    <a:pt x="1924" y="163"/>
                  </a:cubicBezTo>
                  <a:cubicBezTo>
                    <a:pt x="1928" y="163"/>
                    <a:pt x="1931" y="164"/>
                    <a:pt x="1932" y="159"/>
                  </a:cubicBezTo>
                  <a:cubicBezTo>
                    <a:pt x="1932" y="155"/>
                    <a:pt x="1935" y="157"/>
                    <a:pt x="1934" y="159"/>
                  </a:cubicBezTo>
                  <a:close/>
                  <a:moveTo>
                    <a:pt x="1921" y="119"/>
                  </a:moveTo>
                  <a:cubicBezTo>
                    <a:pt x="1923" y="120"/>
                    <a:pt x="1926" y="113"/>
                    <a:pt x="1929" y="119"/>
                  </a:cubicBezTo>
                  <a:cubicBezTo>
                    <a:pt x="1930" y="125"/>
                    <a:pt x="1920" y="138"/>
                    <a:pt x="1932" y="137"/>
                  </a:cubicBezTo>
                  <a:cubicBezTo>
                    <a:pt x="1929" y="146"/>
                    <a:pt x="1915" y="158"/>
                    <a:pt x="1921" y="167"/>
                  </a:cubicBezTo>
                  <a:cubicBezTo>
                    <a:pt x="1913" y="177"/>
                    <a:pt x="1913" y="159"/>
                    <a:pt x="1916" y="148"/>
                  </a:cubicBezTo>
                  <a:cubicBezTo>
                    <a:pt x="1918" y="148"/>
                    <a:pt x="1921" y="148"/>
                    <a:pt x="1924" y="148"/>
                  </a:cubicBezTo>
                  <a:cubicBezTo>
                    <a:pt x="1922" y="137"/>
                    <a:pt x="1922" y="141"/>
                    <a:pt x="1924" y="130"/>
                  </a:cubicBezTo>
                  <a:cubicBezTo>
                    <a:pt x="1921" y="129"/>
                    <a:pt x="1919" y="131"/>
                    <a:pt x="1918" y="133"/>
                  </a:cubicBezTo>
                  <a:cubicBezTo>
                    <a:pt x="1912" y="135"/>
                    <a:pt x="1926" y="115"/>
                    <a:pt x="1913" y="119"/>
                  </a:cubicBezTo>
                  <a:cubicBezTo>
                    <a:pt x="1914" y="117"/>
                    <a:pt x="1916" y="110"/>
                    <a:pt x="1918" y="111"/>
                  </a:cubicBezTo>
                  <a:cubicBezTo>
                    <a:pt x="1921" y="112"/>
                    <a:pt x="1920" y="118"/>
                    <a:pt x="1921" y="119"/>
                  </a:cubicBezTo>
                  <a:close/>
                  <a:moveTo>
                    <a:pt x="1913" y="71"/>
                  </a:moveTo>
                  <a:cubicBezTo>
                    <a:pt x="1915" y="71"/>
                    <a:pt x="1917" y="71"/>
                    <a:pt x="1918" y="71"/>
                  </a:cubicBezTo>
                  <a:cubicBezTo>
                    <a:pt x="1918" y="77"/>
                    <a:pt x="1918" y="83"/>
                    <a:pt x="1918" y="89"/>
                  </a:cubicBezTo>
                  <a:cubicBezTo>
                    <a:pt x="1916" y="87"/>
                    <a:pt x="1916" y="81"/>
                    <a:pt x="1910" y="82"/>
                  </a:cubicBezTo>
                  <a:cubicBezTo>
                    <a:pt x="1910" y="76"/>
                    <a:pt x="1913" y="75"/>
                    <a:pt x="1913" y="71"/>
                  </a:cubicBezTo>
                  <a:close/>
                  <a:moveTo>
                    <a:pt x="1897" y="111"/>
                  </a:moveTo>
                  <a:cubicBezTo>
                    <a:pt x="1904" y="113"/>
                    <a:pt x="1909" y="131"/>
                    <a:pt x="1897" y="130"/>
                  </a:cubicBezTo>
                  <a:cubicBezTo>
                    <a:pt x="1897" y="124"/>
                    <a:pt x="1897" y="117"/>
                    <a:pt x="1897" y="111"/>
                  </a:cubicBezTo>
                  <a:close/>
                  <a:moveTo>
                    <a:pt x="1894" y="137"/>
                  </a:moveTo>
                  <a:cubicBezTo>
                    <a:pt x="1891" y="136"/>
                    <a:pt x="1889" y="132"/>
                    <a:pt x="1889" y="126"/>
                  </a:cubicBezTo>
                  <a:cubicBezTo>
                    <a:pt x="1892" y="128"/>
                    <a:pt x="1894" y="131"/>
                    <a:pt x="1894" y="137"/>
                  </a:cubicBezTo>
                  <a:close/>
                  <a:moveTo>
                    <a:pt x="1875" y="126"/>
                  </a:moveTo>
                  <a:cubicBezTo>
                    <a:pt x="1884" y="126"/>
                    <a:pt x="1872" y="118"/>
                    <a:pt x="1873" y="108"/>
                  </a:cubicBezTo>
                  <a:cubicBezTo>
                    <a:pt x="1875" y="110"/>
                    <a:pt x="1879" y="111"/>
                    <a:pt x="1883" y="111"/>
                  </a:cubicBezTo>
                  <a:cubicBezTo>
                    <a:pt x="1883" y="116"/>
                    <a:pt x="1883" y="122"/>
                    <a:pt x="1886" y="122"/>
                  </a:cubicBezTo>
                  <a:cubicBezTo>
                    <a:pt x="1886" y="129"/>
                    <a:pt x="1877" y="125"/>
                    <a:pt x="1875" y="130"/>
                  </a:cubicBezTo>
                  <a:cubicBezTo>
                    <a:pt x="1876" y="137"/>
                    <a:pt x="1875" y="141"/>
                    <a:pt x="1870" y="141"/>
                  </a:cubicBezTo>
                  <a:cubicBezTo>
                    <a:pt x="1874" y="139"/>
                    <a:pt x="1867" y="126"/>
                    <a:pt x="1875" y="126"/>
                  </a:cubicBezTo>
                  <a:close/>
                  <a:moveTo>
                    <a:pt x="1878" y="152"/>
                  </a:moveTo>
                  <a:cubicBezTo>
                    <a:pt x="1879" y="149"/>
                    <a:pt x="1881" y="148"/>
                    <a:pt x="1881" y="145"/>
                  </a:cubicBezTo>
                  <a:cubicBezTo>
                    <a:pt x="1882" y="145"/>
                    <a:pt x="1884" y="145"/>
                    <a:pt x="1886" y="145"/>
                  </a:cubicBezTo>
                  <a:cubicBezTo>
                    <a:pt x="1887" y="152"/>
                    <a:pt x="1882" y="152"/>
                    <a:pt x="1878" y="152"/>
                  </a:cubicBezTo>
                  <a:close/>
                  <a:moveTo>
                    <a:pt x="1838" y="133"/>
                  </a:moveTo>
                  <a:cubicBezTo>
                    <a:pt x="1839" y="126"/>
                    <a:pt x="1841" y="136"/>
                    <a:pt x="1840" y="141"/>
                  </a:cubicBezTo>
                  <a:cubicBezTo>
                    <a:pt x="1839" y="148"/>
                    <a:pt x="1837" y="138"/>
                    <a:pt x="1838" y="133"/>
                  </a:cubicBezTo>
                  <a:close/>
                  <a:moveTo>
                    <a:pt x="1830" y="126"/>
                  </a:moveTo>
                  <a:cubicBezTo>
                    <a:pt x="1822" y="128"/>
                    <a:pt x="1827" y="112"/>
                    <a:pt x="1822" y="111"/>
                  </a:cubicBezTo>
                  <a:cubicBezTo>
                    <a:pt x="1825" y="101"/>
                    <a:pt x="1831" y="117"/>
                    <a:pt x="1830" y="126"/>
                  </a:cubicBezTo>
                  <a:close/>
                  <a:moveTo>
                    <a:pt x="1773" y="122"/>
                  </a:moveTo>
                  <a:cubicBezTo>
                    <a:pt x="1775" y="123"/>
                    <a:pt x="1776" y="126"/>
                    <a:pt x="1778" y="126"/>
                  </a:cubicBezTo>
                  <a:cubicBezTo>
                    <a:pt x="1778" y="129"/>
                    <a:pt x="1776" y="130"/>
                    <a:pt x="1776" y="133"/>
                  </a:cubicBezTo>
                  <a:cubicBezTo>
                    <a:pt x="1774" y="133"/>
                    <a:pt x="1773" y="130"/>
                    <a:pt x="1770" y="130"/>
                  </a:cubicBezTo>
                  <a:cubicBezTo>
                    <a:pt x="1771" y="127"/>
                    <a:pt x="1773" y="126"/>
                    <a:pt x="1773" y="122"/>
                  </a:cubicBezTo>
                  <a:close/>
                  <a:moveTo>
                    <a:pt x="1757" y="96"/>
                  </a:moveTo>
                  <a:cubicBezTo>
                    <a:pt x="1769" y="99"/>
                    <a:pt x="1755" y="119"/>
                    <a:pt x="1757" y="96"/>
                  </a:cubicBezTo>
                  <a:close/>
                  <a:moveTo>
                    <a:pt x="1711" y="163"/>
                  </a:moveTo>
                  <a:cubicBezTo>
                    <a:pt x="1717" y="164"/>
                    <a:pt x="1715" y="146"/>
                    <a:pt x="1709" y="152"/>
                  </a:cubicBezTo>
                  <a:cubicBezTo>
                    <a:pt x="1710" y="149"/>
                    <a:pt x="1711" y="145"/>
                    <a:pt x="1714" y="145"/>
                  </a:cubicBezTo>
                  <a:cubicBezTo>
                    <a:pt x="1723" y="135"/>
                    <a:pt x="1724" y="159"/>
                    <a:pt x="1725" y="137"/>
                  </a:cubicBezTo>
                  <a:cubicBezTo>
                    <a:pt x="1730" y="139"/>
                    <a:pt x="1730" y="148"/>
                    <a:pt x="1738" y="145"/>
                  </a:cubicBezTo>
                  <a:cubicBezTo>
                    <a:pt x="1736" y="155"/>
                    <a:pt x="1742" y="154"/>
                    <a:pt x="1741" y="163"/>
                  </a:cubicBezTo>
                  <a:cubicBezTo>
                    <a:pt x="1749" y="160"/>
                    <a:pt x="1739" y="151"/>
                    <a:pt x="1741" y="145"/>
                  </a:cubicBezTo>
                  <a:cubicBezTo>
                    <a:pt x="1746" y="151"/>
                    <a:pt x="1753" y="132"/>
                    <a:pt x="1760" y="141"/>
                  </a:cubicBezTo>
                  <a:cubicBezTo>
                    <a:pt x="1760" y="141"/>
                    <a:pt x="1760" y="145"/>
                    <a:pt x="1760" y="145"/>
                  </a:cubicBezTo>
                  <a:cubicBezTo>
                    <a:pt x="1761" y="144"/>
                    <a:pt x="1763" y="137"/>
                    <a:pt x="1762" y="137"/>
                  </a:cubicBezTo>
                  <a:cubicBezTo>
                    <a:pt x="1766" y="137"/>
                    <a:pt x="1766" y="147"/>
                    <a:pt x="1768" y="148"/>
                  </a:cubicBezTo>
                  <a:cubicBezTo>
                    <a:pt x="1772" y="151"/>
                    <a:pt x="1773" y="134"/>
                    <a:pt x="1778" y="145"/>
                  </a:cubicBezTo>
                  <a:cubicBezTo>
                    <a:pt x="1787" y="146"/>
                    <a:pt x="1779" y="126"/>
                    <a:pt x="1789" y="130"/>
                  </a:cubicBezTo>
                  <a:cubicBezTo>
                    <a:pt x="1788" y="135"/>
                    <a:pt x="1785" y="139"/>
                    <a:pt x="1784" y="145"/>
                  </a:cubicBezTo>
                  <a:cubicBezTo>
                    <a:pt x="1785" y="152"/>
                    <a:pt x="1794" y="147"/>
                    <a:pt x="1797" y="148"/>
                  </a:cubicBezTo>
                  <a:cubicBezTo>
                    <a:pt x="1797" y="148"/>
                    <a:pt x="1797" y="152"/>
                    <a:pt x="1797" y="152"/>
                  </a:cubicBezTo>
                  <a:cubicBezTo>
                    <a:pt x="1803" y="153"/>
                    <a:pt x="1811" y="148"/>
                    <a:pt x="1816" y="156"/>
                  </a:cubicBezTo>
                  <a:cubicBezTo>
                    <a:pt x="1816" y="156"/>
                    <a:pt x="1816" y="159"/>
                    <a:pt x="1816" y="159"/>
                  </a:cubicBezTo>
                  <a:cubicBezTo>
                    <a:pt x="1824" y="159"/>
                    <a:pt x="1822" y="138"/>
                    <a:pt x="1827" y="159"/>
                  </a:cubicBezTo>
                  <a:cubicBezTo>
                    <a:pt x="1831" y="158"/>
                    <a:pt x="1829" y="150"/>
                    <a:pt x="1830" y="145"/>
                  </a:cubicBezTo>
                  <a:cubicBezTo>
                    <a:pt x="1827" y="141"/>
                    <a:pt x="1824" y="137"/>
                    <a:pt x="1822" y="133"/>
                  </a:cubicBezTo>
                  <a:cubicBezTo>
                    <a:pt x="1821" y="122"/>
                    <a:pt x="1829" y="143"/>
                    <a:pt x="1830" y="130"/>
                  </a:cubicBezTo>
                  <a:cubicBezTo>
                    <a:pt x="1837" y="136"/>
                    <a:pt x="1826" y="166"/>
                    <a:pt x="1843" y="159"/>
                  </a:cubicBezTo>
                  <a:cubicBezTo>
                    <a:pt x="1842" y="162"/>
                    <a:pt x="1840" y="165"/>
                    <a:pt x="1840" y="170"/>
                  </a:cubicBezTo>
                  <a:cubicBezTo>
                    <a:pt x="1832" y="174"/>
                    <a:pt x="1832" y="165"/>
                    <a:pt x="1827" y="163"/>
                  </a:cubicBezTo>
                  <a:cubicBezTo>
                    <a:pt x="1820" y="163"/>
                    <a:pt x="1815" y="167"/>
                    <a:pt x="1811" y="167"/>
                  </a:cubicBezTo>
                  <a:cubicBezTo>
                    <a:pt x="1812" y="167"/>
                    <a:pt x="1808" y="155"/>
                    <a:pt x="1805" y="159"/>
                  </a:cubicBezTo>
                  <a:cubicBezTo>
                    <a:pt x="1803" y="164"/>
                    <a:pt x="1805" y="160"/>
                    <a:pt x="1803" y="159"/>
                  </a:cubicBezTo>
                  <a:cubicBezTo>
                    <a:pt x="1800" y="159"/>
                    <a:pt x="1800" y="163"/>
                    <a:pt x="1800" y="163"/>
                  </a:cubicBezTo>
                  <a:cubicBezTo>
                    <a:pt x="1794" y="162"/>
                    <a:pt x="1793" y="156"/>
                    <a:pt x="1787" y="156"/>
                  </a:cubicBezTo>
                  <a:cubicBezTo>
                    <a:pt x="1787" y="159"/>
                    <a:pt x="1790" y="159"/>
                    <a:pt x="1792" y="159"/>
                  </a:cubicBezTo>
                  <a:cubicBezTo>
                    <a:pt x="1789" y="166"/>
                    <a:pt x="1785" y="170"/>
                    <a:pt x="1784" y="178"/>
                  </a:cubicBezTo>
                  <a:cubicBezTo>
                    <a:pt x="1776" y="175"/>
                    <a:pt x="1787" y="169"/>
                    <a:pt x="1784" y="159"/>
                  </a:cubicBezTo>
                  <a:cubicBezTo>
                    <a:pt x="1781" y="159"/>
                    <a:pt x="1782" y="164"/>
                    <a:pt x="1781" y="167"/>
                  </a:cubicBezTo>
                  <a:cubicBezTo>
                    <a:pt x="1778" y="164"/>
                    <a:pt x="1778" y="158"/>
                    <a:pt x="1773" y="159"/>
                  </a:cubicBezTo>
                  <a:cubicBezTo>
                    <a:pt x="1773" y="156"/>
                    <a:pt x="1773" y="152"/>
                    <a:pt x="1773" y="148"/>
                  </a:cubicBezTo>
                  <a:cubicBezTo>
                    <a:pt x="1770" y="147"/>
                    <a:pt x="1764" y="159"/>
                    <a:pt x="1770" y="159"/>
                  </a:cubicBezTo>
                  <a:cubicBezTo>
                    <a:pt x="1769" y="163"/>
                    <a:pt x="1764" y="163"/>
                    <a:pt x="1765" y="170"/>
                  </a:cubicBezTo>
                  <a:cubicBezTo>
                    <a:pt x="1760" y="164"/>
                    <a:pt x="1762" y="171"/>
                    <a:pt x="1754" y="170"/>
                  </a:cubicBezTo>
                  <a:cubicBezTo>
                    <a:pt x="1754" y="160"/>
                    <a:pt x="1759" y="163"/>
                    <a:pt x="1754" y="156"/>
                  </a:cubicBezTo>
                  <a:cubicBezTo>
                    <a:pt x="1750" y="159"/>
                    <a:pt x="1749" y="165"/>
                    <a:pt x="1749" y="174"/>
                  </a:cubicBezTo>
                  <a:cubicBezTo>
                    <a:pt x="1747" y="172"/>
                    <a:pt x="1744" y="171"/>
                    <a:pt x="1744" y="167"/>
                  </a:cubicBezTo>
                  <a:cubicBezTo>
                    <a:pt x="1741" y="168"/>
                    <a:pt x="1741" y="170"/>
                    <a:pt x="1738" y="170"/>
                  </a:cubicBezTo>
                  <a:cubicBezTo>
                    <a:pt x="1734" y="171"/>
                    <a:pt x="1734" y="167"/>
                    <a:pt x="1730" y="167"/>
                  </a:cubicBezTo>
                  <a:cubicBezTo>
                    <a:pt x="1725" y="166"/>
                    <a:pt x="1722" y="176"/>
                    <a:pt x="1722" y="163"/>
                  </a:cubicBezTo>
                  <a:cubicBezTo>
                    <a:pt x="1717" y="159"/>
                    <a:pt x="1718" y="170"/>
                    <a:pt x="1717" y="170"/>
                  </a:cubicBezTo>
                  <a:cubicBezTo>
                    <a:pt x="1716" y="171"/>
                    <a:pt x="1706" y="163"/>
                    <a:pt x="1698" y="167"/>
                  </a:cubicBezTo>
                  <a:cubicBezTo>
                    <a:pt x="1700" y="155"/>
                    <a:pt x="1695" y="153"/>
                    <a:pt x="1695" y="145"/>
                  </a:cubicBezTo>
                  <a:cubicBezTo>
                    <a:pt x="1704" y="146"/>
                    <a:pt x="1704" y="160"/>
                    <a:pt x="1711" y="163"/>
                  </a:cubicBezTo>
                  <a:close/>
                  <a:moveTo>
                    <a:pt x="1832" y="196"/>
                  </a:moveTo>
                  <a:cubicBezTo>
                    <a:pt x="1824" y="194"/>
                    <a:pt x="1836" y="191"/>
                    <a:pt x="1835" y="185"/>
                  </a:cubicBezTo>
                  <a:cubicBezTo>
                    <a:pt x="1844" y="189"/>
                    <a:pt x="1832" y="193"/>
                    <a:pt x="1832" y="196"/>
                  </a:cubicBezTo>
                  <a:close/>
                  <a:moveTo>
                    <a:pt x="1838" y="1199"/>
                  </a:moveTo>
                  <a:cubicBezTo>
                    <a:pt x="1841" y="1198"/>
                    <a:pt x="1840" y="1202"/>
                    <a:pt x="1840" y="1202"/>
                  </a:cubicBezTo>
                  <a:cubicBezTo>
                    <a:pt x="1843" y="1203"/>
                    <a:pt x="1854" y="1199"/>
                    <a:pt x="1851" y="1210"/>
                  </a:cubicBezTo>
                  <a:cubicBezTo>
                    <a:pt x="1843" y="1212"/>
                    <a:pt x="1841" y="1206"/>
                    <a:pt x="1835" y="1206"/>
                  </a:cubicBezTo>
                  <a:cubicBezTo>
                    <a:pt x="1836" y="1206"/>
                    <a:pt x="1837" y="1199"/>
                    <a:pt x="1838" y="1199"/>
                  </a:cubicBezTo>
                  <a:close/>
                  <a:moveTo>
                    <a:pt x="1784" y="244"/>
                  </a:moveTo>
                  <a:cubicBezTo>
                    <a:pt x="1785" y="239"/>
                    <a:pt x="1792" y="241"/>
                    <a:pt x="1789" y="230"/>
                  </a:cubicBezTo>
                  <a:cubicBezTo>
                    <a:pt x="1792" y="232"/>
                    <a:pt x="1793" y="236"/>
                    <a:pt x="1795" y="241"/>
                  </a:cubicBezTo>
                  <a:cubicBezTo>
                    <a:pt x="1797" y="238"/>
                    <a:pt x="1799" y="234"/>
                    <a:pt x="1800" y="230"/>
                  </a:cubicBezTo>
                  <a:cubicBezTo>
                    <a:pt x="1804" y="231"/>
                    <a:pt x="1802" y="239"/>
                    <a:pt x="1803" y="244"/>
                  </a:cubicBezTo>
                  <a:cubicBezTo>
                    <a:pt x="1807" y="249"/>
                    <a:pt x="1809" y="255"/>
                    <a:pt x="1816" y="255"/>
                  </a:cubicBezTo>
                  <a:cubicBezTo>
                    <a:pt x="1814" y="266"/>
                    <a:pt x="1808" y="250"/>
                    <a:pt x="1800" y="255"/>
                  </a:cubicBezTo>
                  <a:cubicBezTo>
                    <a:pt x="1801" y="238"/>
                    <a:pt x="1795" y="249"/>
                    <a:pt x="1784" y="244"/>
                  </a:cubicBezTo>
                  <a:close/>
                  <a:moveTo>
                    <a:pt x="1805" y="226"/>
                  </a:moveTo>
                  <a:cubicBezTo>
                    <a:pt x="1796" y="232"/>
                    <a:pt x="1804" y="213"/>
                    <a:pt x="1797" y="215"/>
                  </a:cubicBezTo>
                  <a:cubicBezTo>
                    <a:pt x="1800" y="205"/>
                    <a:pt x="1808" y="217"/>
                    <a:pt x="1805" y="226"/>
                  </a:cubicBezTo>
                  <a:close/>
                  <a:moveTo>
                    <a:pt x="1797" y="189"/>
                  </a:moveTo>
                  <a:cubicBezTo>
                    <a:pt x="1800" y="178"/>
                    <a:pt x="1804" y="194"/>
                    <a:pt x="1811" y="189"/>
                  </a:cubicBezTo>
                  <a:cubicBezTo>
                    <a:pt x="1810" y="198"/>
                    <a:pt x="1799" y="191"/>
                    <a:pt x="1797" y="189"/>
                  </a:cubicBezTo>
                  <a:close/>
                  <a:moveTo>
                    <a:pt x="1730" y="1254"/>
                  </a:moveTo>
                  <a:cubicBezTo>
                    <a:pt x="1728" y="1255"/>
                    <a:pt x="1727" y="1258"/>
                    <a:pt x="1725" y="1258"/>
                  </a:cubicBezTo>
                  <a:cubicBezTo>
                    <a:pt x="1720" y="1258"/>
                    <a:pt x="1723" y="1270"/>
                    <a:pt x="1719" y="1273"/>
                  </a:cubicBezTo>
                  <a:cubicBezTo>
                    <a:pt x="1715" y="1265"/>
                    <a:pt x="1716" y="1269"/>
                    <a:pt x="1709" y="1265"/>
                  </a:cubicBezTo>
                  <a:cubicBezTo>
                    <a:pt x="1708" y="1258"/>
                    <a:pt x="1718" y="1265"/>
                    <a:pt x="1719" y="1261"/>
                  </a:cubicBezTo>
                  <a:cubicBezTo>
                    <a:pt x="1720" y="1261"/>
                    <a:pt x="1715" y="1252"/>
                    <a:pt x="1717" y="1250"/>
                  </a:cubicBezTo>
                  <a:cubicBezTo>
                    <a:pt x="1719" y="1248"/>
                    <a:pt x="1730" y="1259"/>
                    <a:pt x="1727" y="1243"/>
                  </a:cubicBezTo>
                  <a:cubicBezTo>
                    <a:pt x="1731" y="1232"/>
                    <a:pt x="1728" y="1261"/>
                    <a:pt x="1738" y="1254"/>
                  </a:cubicBezTo>
                  <a:cubicBezTo>
                    <a:pt x="1748" y="1256"/>
                    <a:pt x="1728" y="1263"/>
                    <a:pt x="1730" y="1254"/>
                  </a:cubicBezTo>
                  <a:close/>
                  <a:moveTo>
                    <a:pt x="1738" y="1265"/>
                  </a:moveTo>
                  <a:cubicBezTo>
                    <a:pt x="1732" y="1277"/>
                    <a:pt x="1725" y="1255"/>
                    <a:pt x="1738" y="1265"/>
                  </a:cubicBezTo>
                  <a:close/>
                  <a:moveTo>
                    <a:pt x="1725" y="1206"/>
                  </a:moveTo>
                  <a:cubicBezTo>
                    <a:pt x="1721" y="1207"/>
                    <a:pt x="1724" y="1217"/>
                    <a:pt x="1719" y="1217"/>
                  </a:cubicBezTo>
                  <a:cubicBezTo>
                    <a:pt x="1720" y="1221"/>
                    <a:pt x="1724" y="1220"/>
                    <a:pt x="1727" y="1221"/>
                  </a:cubicBezTo>
                  <a:cubicBezTo>
                    <a:pt x="1727" y="1226"/>
                    <a:pt x="1727" y="1231"/>
                    <a:pt x="1727" y="1235"/>
                  </a:cubicBezTo>
                  <a:cubicBezTo>
                    <a:pt x="1725" y="1235"/>
                    <a:pt x="1725" y="1231"/>
                    <a:pt x="1725" y="1228"/>
                  </a:cubicBezTo>
                  <a:cubicBezTo>
                    <a:pt x="1724" y="1223"/>
                    <a:pt x="1718" y="1225"/>
                    <a:pt x="1714" y="1225"/>
                  </a:cubicBezTo>
                  <a:cubicBezTo>
                    <a:pt x="1713" y="1216"/>
                    <a:pt x="1715" y="1211"/>
                    <a:pt x="1719" y="1210"/>
                  </a:cubicBezTo>
                  <a:cubicBezTo>
                    <a:pt x="1719" y="1204"/>
                    <a:pt x="1711" y="1208"/>
                    <a:pt x="1711" y="1202"/>
                  </a:cubicBezTo>
                  <a:cubicBezTo>
                    <a:pt x="1709" y="1191"/>
                    <a:pt x="1717" y="1196"/>
                    <a:pt x="1722" y="1195"/>
                  </a:cubicBezTo>
                  <a:cubicBezTo>
                    <a:pt x="1722" y="1192"/>
                    <a:pt x="1722" y="1190"/>
                    <a:pt x="1722" y="1187"/>
                  </a:cubicBezTo>
                  <a:cubicBezTo>
                    <a:pt x="1726" y="1189"/>
                    <a:pt x="1724" y="1197"/>
                    <a:pt x="1725" y="1202"/>
                  </a:cubicBezTo>
                  <a:cubicBezTo>
                    <a:pt x="1733" y="1205"/>
                    <a:pt x="1733" y="1195"/>
                    <a:pt x="1738" y="1202"/>
                  </a:cubicBezTo>
                  <a:cubicBezTo>
                    <a:pt x="1739" y="1210"/>
                    <a:pt x="1729" y="1204"/>
                    <a:pt x="1725" y="1206"/>
                  </a:cubicBezTo>
                  <a:close/>
                  <a:moveTo>
                    <a:pt x="1719" y="577"/>
                  </a:moveTo>
                  <a:cubicBezTo>
                    <a:pt x="1719" y="581"/>
                    <a:pt x="1716" y="580"/>
                    <a:pt x="1714" y="581"/>
                  </a:cubicBezTo>
                  <a:cubicBezTo>
                    <a:pt x="1714" y="578"/>
                    <a:pt x="1713" y="577"/>
                    <a:pt x="1711" y="577"/>
                  </a:cubicBezTo>
                  <a:cubicBezTo>
                    <a:pt x="1712" y="573"/>
                    <a:pt x="1717" y="575"/>
                    <a:pt x="1717" y="570"/>
                  </a:cubicBezTo>
                  <a:cubicBezTo>
                    <a:pt x="1720" y="571"/>
                    <a:pt x="1718" y="574"/>
                    <a:pt x="1717" y="574"/>
                  </a:cubicBezTo>
                  <a:cubicBezTo>
                    <a:pt x="1716" y="577"/>
                    <a:pt x="1718" y="577"/>
                    <a:pt x="1719" y="577"/>
                  </a:cubicBezTo>
                  <a:close/>
                  <a:moveTo>
                    <a:pt x="1722" y="614"/>
                  </a:moveTo>
                  <a:cubicBezTo>
                    <a:pt x="1718" y="616"/>
                    <a:pt x="1717" y="611"/>
                    <a:pt x="1717" y="607"/>
                  </a:cubicBezTo>
                  <a:cubicBezTo>
                    <a:pt x="1711" y="608"/>
                    <a:pt x="1708" y="606"/>
                    <a:pt x="1709" y="599"/>
                  </a:cubicBezTo>
                  <a:cubicBezTo>
                    <a:pt x="1719" y="597"/>
                    <a:pt x="1728" y="606"/>
                    <a:pt x="1722" y="614"/>
                  </a:cubicBezTo>
                  <a:close/>
                  <a:moveTo>
                    <a:pt x="1741" y="559"/>
                  </a:moveTo>
                  <a:cubicBezTo>
                    <a:pt x="1744" y="560"/>
                    <a:pt x="1742" y="562"/>
                    <a:pt x="1741" y="562"/>
                  </a:cubicBezTo>
                  <a:cubicBezTo>
                    <a:pt x="1739" y="576"/>
                    <a:pt x="1754" y="590"/>
                    <a:pt x="1738" y="592"/>
                  </a:cubicBezTo>
                  <a:cubicBezTo>
                    <a:pt x="1739" y="589"/>
                    <a:pt x="1741" y="585"/>
                    <a:pt x="1744" y="585"/>
                  </a:cubicBezTo>
                  <a:cubicBezTo>
                    <a:pt x="1744" y="577"/>
                    <a:pt x="1734" y="583"/>
                    <a:pt x="1730" y="581"/>
                  </a:cubicBezTo>
                  <a:cubicBezTo>
                    <a:pt x="1733" y="573"/>
                    <a:pt x="1738" y="567"/>
                    <a:pt x="1741" y="559"/>
                  </a:cubicBezTo>
                  <a:close/>
                  <a:moveTo>
                    <a:pt x="1738" y="230"/>
                  </a:moveTo>
                  <a:cubicBezTo>
                    <a:pt x="1738" y="227"/>
                    <a:pt x="1738" y="225"/>
                    <a:pt x="1738" y="222"/>
                  </a:cubicBezTo>
                  <a:cubicBezTo>
                    <a:pt x="1744" y="220"/>
                    <a:pt x="1743" y="228"/>
                    <a:pt x="1744" y="233"/>
                  </a:cubicBezTo>
                  <a:cubicBezTo>
                    <a:pt x="1741" y="233"/>
                    <a:pt x="1741" y="230"/>
                    <a:pt x="1738" y="230"/>
                  </a:cubicBezTo>
                  <a:close/>
                  <a:moveTo>
                    <a:pt x="1754" y="222"/>
                  </a:moveTo>
                  <a:cubicBezTo>
                    <a:pt x="1761" y="224"/>
                    <a:pt x="1753" y="246"/>
                    <a:pt x="1762" y="244"/>
                  </a:cubicBezTo>
                  <a:cubicBezTo>
                    <a:pt x="1760" y="263"/>
                    <a:pt x="1753" y="236"/>
                    <a:pt x="1749" y="248"/>
                  </a:cubicBezTo>
                  <a:cubicBezTo>
                    <a:pt x="1742" y="247"/>
                    <a:pt x="1747" y="231"/>
                    <a:pt x="1754" y="237"/>
                  </a:cubicBezTo>
                  <a:cubicBezTo>
                    <a:pt x="1753" y="224"/>
                    <a:pt x="1746" y="231"/>
                    <a:pt x="1754" y="222"/>
                  </a:cubicBezTo>
                  <a:close/>
                  <a:moveTo>
                    <a:pt x="1754" y="204"/>
                  </a:moveTo>
                  <a:cubicBezTo>
                    <a:pt x="1754" y="199"/>
                    <a:pt x="1754" y="194"/>
                    <a:pt x="1754" y="189"/>
                  </a:cubicBezTo>
                  <a:cubicBezTo>
                    <a:pt x="1756" y="189"/>
                    <a:pt x="1758" y="189"/>
                    <a:pt x="1760" y="189"/>
                  </a:cubicBezTo>
                  <a:cubicBezTo>
                    <a:pt x="1760" y="194"/>
                    <a:pt x="1760" y="199"/>
                    <a:pt x="1760" y="204"/>
                  </a:cubicBezTo>
                  <a:cubicBezTo>
                    <a:pt x="1758" y="204"/>
                    <a:pt x="1756" y="204"/>
                    <a:pt x="1754" y="204"/>
                  </a:cubicBezTo>
                  <a:close/>
                  <a:moveTo>
                    <a:pt x="1754" y="618"/>
                  </a:moveTo>
                  <a:cubicBezTo>
                    <a:pt x="1759" y="617"/>
                    <a:pt x="1759" y="621"/>
                    <a:pt x="1762" y="622"/>
                  </a:cubicBezTo>
                  <a:cubicBezTo>
                    <a:pt x="1763" y="629"/>
                    <a:pt x="1750" y="627"/>
                    <a:pt x="1754" y="618"/>
                  </a:cubicBezTo>
                  <a:close/>
                  <a:moveTo>
                    <a:pt x="1741" y="784"/>
                  </a:moveTo>
                  <a:cubicBezTo>
                    <a:pt x="1741" y="785"/>
                    <a:pt x="1743" y="777"/>
                    <a:pt x="1744" y="777"/>
                  </a:cubicBezTo>
                  <a:cubicBezTo>
                    <a:pt x="1744" y="777"/>
                    <a:pt x="1743" y="773"/>
                    <a:pt x="1744" y="773"/>
                  </a:cubicBezTo>
                  <a:cubicBezTo>
                    <a:pt x="1753" y="771"/>
                    <a:pt x="1744" y="790"/>
                    <a:pt x="1741" y="784"/>
                  </a:cubicBezTo>
                  <a:close/>
                  <a:moveTo>
                    <a:pt x="1735" y="640"/>
                  </a:moveTo>
                  <a:cubicBezTo>
                    <a:pt x="1736" y="636"/>
                    <a:pt x="1735" y="634"/>
                    <a:pt x="1733" y="633"/>
                  </a:cubicBezTo>
                  <a:cubicBezTo>
                    <a:pt x="1737" y="619"/>
                    <a:pt x="1737" y="641"/>
                    <a:pt x="1744" y="636"/>
                  </a:cubicBezTo>
                  <a:cubicBezTo>
                    <a:pt x="1743" y="645"/>
                    <a:pt x="1740" y="652"/>
                    <a:pt x="1738" y="659"/>
                  </a:cubicBezTo>
                  <a:cubicBezTo>
                    <a:pt x="1734" y="667"/>
                    <a:pt x="1739" y="635"/>
                    <a:pt x="1735" y="640"/>
                  </a:cubicBezTo>
                  <a:close/>
                  <a:moveTo>
                    <a:pt x="1730" y="603"/>
                  </a:moveTo>
                  <a:cubicBezTo>
                    <a:pt x="1736" y="612"/>
                    <a:pt x="1744" y="596"/>
                    <a:pt x="1744" y="614"/>
                  </a:cubicBezTo>
                  <a:cubicBezTo>
                    <a:pt x="1739" y="611"/>
                    <a:pt x="1729" y="614"/>
                    <a:pt x="1730" y="603"/>
                  </a:cubicBezTo>
                  <a:close/>
                  <a:moveTo>
                    <a:pt x="1733" y="566"/>
                  </a:moveTo>
                  <a:cubicBezTo>
                    <a:pt x="1731" y="568"/>
                    <a:pt x="1727" y="565"/>
                    <a:pt x="1727" y="570"/>
                  </a:cubicBezTo>
                  <a:cubicBezTo>
                    <a:pt x="1723" y="568"/>
                    <a:pt x="1725" y="564"/>
                    <a:pt x="1727" y="562"/>
                  </a:cubicBezTo>
                  <a:cubicBezTo>
                    <a:pt x="1731" y="560"/>
                    <a:pt x="1741" y="559"/>
                    <a:pt x="1733" y="566"/>
                  </a:cubicBezTo>
                  <a:close/>
                  <a:moveTo>
                    <a:pt x="1727" y="688"/>
                  </a:moveTo>
                  <a:cubicBezTo>
                    <a:pt x="1726" y="695"/>
                    <a:pt x="1731" y="711"/>
                    <a:pt x="1722" y="707"/>
                  </a:cubicBezTo>
                  <a:cubicBezTo>
                    <a:pt x="1727" y="700"/>
                    <a:pt x="1722" y="687"/>
                    <a:pt x="1717" y="684"/>
                  </a:cubicBezTo>
                  <a:cubicBezTo>
                    <a:pt x="1721" y="671"/>
                    <a:pt x="1721" y="693"/>
                    <a:pt x="1727" y="688"/>
                  </a:cubicBezTo>
                  <a:close/>
                  <a:moveTo>
                    <a:pt x="1738" y="1165"/>
                  </a:moveTo>
                  <a:cubicBezTo>
                    <a:pt x="1742" y="1168"/>
                    <a:pt x="1743" y="1173"/>
                    <a:pt x="1744" y="1180"/>
                  </a:cubicBezTo>
                  <a:cubicBezTo>
                    <a:pt x="1739" y="1179"/>
                    <a:pt x="1737" y="1174"/>
                    <a:pt x="1738" y="1165"/>
                  </a:cubicBezTo>
                  <a:close/>
                  <a:moveTo>
                    <a:pt x="1757" y="1206"/>
                  </a:moveTo>
                  <a:cubicBezTo>
                    <a:pt x="1750" y="1207"/>
                    <a:pt x="1751" y="1199"/>
                    <a:pt x="1744" y="1202"/>
                  </a:cubicBezTo>
                  <a:cubicBezTo>
                    <a:pt x="1744" y="1191"/>
                    <a:pt x="1760" y="1192"/>
                    <a:pt x="1757" y="1206"/>
                  </a:cubicBezTo>
                  <a:close/>
                  <a:moveTo>
                    <a:pt x="1757" y="1235"/>
                  </a:moveTo>
                  <a:cubicBezTo>
                    <a:pt x="1760" y="1237"/>
                    <a:pt x="1763" y="1240"/>
                    <a:pt x="1762" y="1247"/>
                  </a:cubicBezTo>
                  <a:cubicBezTo>
                    <a:pt x="1753" y="1250"/>
                    <a:pt x="1753" y="1241"/>
                    <a:pt x="1757" y="1235"/>
                  </a:cubicBezTo>
                  <a:close/>
                  <a:moveTo>
                    <a:pt x="1760" y="696"/>
                  </a:moveTo>
                  <a:cubicBezTo>
                    <a:pt x="1764" y="695"/>
                    <a:pt x="1765" y="699"/>
                    <a:pt x="1762" y="699"/>
                  </a:cubicBezTo>
                  <a:cubicBezTo>
                    <a:pt x="1763" y="709"/>
                    <a:pt x="1767" y="711"/>
                    <a:pt x="1762" y="718"/>
                  </a:cubicBezTo>
                  <a:cubicBezTo>
                    <a:pt x="1756" y="717"/>
                    <a:pt x="1761" y="702"/>
                    <a:pt x="1760" y="696"/>
                  </a:cubicBezTo>
                  <a:close/>
                  <a:moveTo>
                    <a:pt x="1706" y="640"/>
                  </a:moveTo>
                  <a:cubicBezTo>
                    <a:pt x="1711" y="640"/>
                    <a:pt x="1705" y="656"/>
                    <a:pt x="1698" y="651"/>
                  </a:cubicBezTo>
                  <a:cubicBezTo>
                    <a:pt x="1698" y="644"/>
                    <a:pt x="1707" y="649"/>
                    <a:pt x="1706" y="640"/>
                  </a:cubicBezTo>
                  <a:close/>
                  <a:moveTo>
                    <a:pt x="1698" y="540"/>
                  </a:moveTo>
                  <a:cubicBezTo>
                    <a:pt x="1699" y="533"/>
                    <a:pt x="1701" y="543"/>
                    <a:pt x="1700" y="548"/>
                  </a:cubicBezTo>
                  <a:cubicBezTo>
                    <a:pt x="1700" y="555"/>
                    <a:pt x="1697" y="545"/>
                    <a:pt x="1698" y="540"/>
                  </a:cubicBezTo>
                  <a:close/>
                  <a:moveTo>
                    <a:pt x="1698" y="200"/>
                  </a:moveTo>
                  <a:cubicBezTo>
                    <a:pt x="1700" y="200"/>
                    <a:pt x="1701" y="200"/>
                    <a:pt x="1703" y="200"/>
                  </a:cubicBezTo>
                  <a:cubicBezTo>
                    <a:pt x="1704" y="210"/>
                    <a:pt x="1683" y="199"/>
                    <a:pt x="1698" y="200"/>
                  </a:cubicBezTo>
                  <a:close/>
                  <a:moveTo>
                    <a:pt x="1684" y="566"/>
                  </a:moveTo>
                  <a:cubicBezTo>
                    <a:pt x="1684" y="560"/>
                    <a:pt x="1699" y="560"/>
                    <a:pt x="1695" y="570"/>
                  </a:cubicBezTo>
                  <a:cubicBezTo>
                    <a:pt x="1690" y="570"/>
                    <a:pt x="1689" y="565"/>
                    <a:pt x="1684" y="566"/>
                  </a:cubicBezTo>
                  <a:close/>
                  <a:moveTo>
                    <a:pt x="1692" y="622"/>
                  </a:moveTo>
                  <a:cubicBezTo>
                    <a:pt x="1692" y="624"/>
                    <a:pt x="1692" y="627"/>
                    <a:pt x="1692" y="629"/>
                  </a:cubicBezTo>
                  <a:cubicBezTo>
                    <a:pt x="1691" y="629"/>
                    <a:pt x="1689" y="629"/>
                    <a:pt x="1687" y="629"/>
                  </a:cubicBezTo>
                  <a:cubicBezTo>
                    <a:pt x="1687" y="627"/>
                    <a:pt x="1687" y="624"/>
                    <a:pt x="1687" y="622"/>
                  </a:cubicBezTo>
                  <a:cubicBezTo>
                    <a:pt x="1689" y="622"/>
                    <a:pt x="1691" y="622"/>
                    <a:pt x="1692" y="622"/>
                  </a:cubicBezTo>
                  <a:close/>
                  <a:moveTo>
                    <a:pt x="1690" y="63"/>
                  </a:moveTo>
                  <a:cubicBezTo>
                    <a:pt x="1699" y="70"/>
                    <a:pt x="1686" y="73"/>
                    <a:pt x="1684" y="71"/>
                  </a:cubicBezTo>
                  <a:cubicBezTo>
                    <a:pt x="1683" y="69"/>
                    <a:pt x="1691" y="66"/>
                    <a:pt x="1690" y="63"/>
                  </a:cubicBezTo>
                  <a:close/>
                  <a:moveTo>
                    <a:pt x="1684" y="1184"/>
                  </a:moveTo>
                  <a:cubicBezTo>
                    <a:pt x="1695" y="1183"/>
                    <a:pt x="1685" y="1187"/>
                    <a:pt x="1687" y="1195"/>
                  </a:cubicBezTo>
                  <a:cubicBezTo>
                    <a:pt x="1699" y="1195"/>
                    <a:pt x="1691" y="1186"/>
                    <a:pt x="1695" y="1180"/>
                  </a:cubicBezTo>
                  <a:cubicBezTo>
                    <a:pt x="1703" y="1180"/>
                    <a:pt x="1693" y="1203"/>
                    <a:pt x="1700" y="1202"/>
                  </a:cubicBezTo>
                  <a:cubicBezTo>
                    <a:pt x="1696" y="1213"/>
                    <a:pt x="1688" y="1197"/>
                    <a:pt x="1679" y="1202"/>
                  </a:cubicBezTo>
                  <a:cubicBezTo>
                    <a:pt x="1680" y="1195"/>
                    <a:pt x="1687" y="1196"/>
                    <a:pt x="1684" y="1184"/>
                  </a:cubicBezTo>
                  <a:close/>
                  <a:moveTo>
                    <a:pt x="1671" y="185"/>
                  </a:moveTo>
                  <a:cubicBezTo>
                    <a:pt x="1677" y="183"/>
                    <a:pt x="1681" y="207"/>
                    <a:pt x="1671" y="204"/>
                  </a:cubicBezTo>
                  <a:cubicBezTo>
                    <a:pt x="1675" y="198"/>
                    <a:pt x="1673" y="192"/>
                    <a:pt x="1666" y="193"/>
                  </a:cubicBezTo>
                  <a:cubicBezTo>
                    <a:pt x="1666" y="189"/>
                    <a:pt x="1671" y="190"/>
                    <a:pt x="1671" y="185"/>
                  </a:cubicBezTo>
                  <a:close/>
                  <a:moveTo>
                    <a:pt x="1668" y="215"/>
                  </a:moveTo>
                  <a:cubicBezTo>
                    <a:pt x="1676" y="215"/>
                    <a:pt x="1674" y="209"/>
                    <a:pt x="1679" y="215"/>
                  </a:cubicBezTo>
                  <a:cubicBezTo>
                    <a:pt x="1678" y="218"/>
                    <a:pt x="1676" y="221"/>
                    <a:pt x="1676" y="226"/>
                  </a:cubicBezTo>
                  <a:cubicBezTo>
                    <a:pt x="1668" y="229"/>
                    <a:pt x="1673" y="214"/>
                    <a:pt x="1666" y="215"/>
                  </a:cubicBezTo>
                  <a:cubicBezTo>
                    <a:pt x="1660" y="212"/>
                    <a:pt x="1668" y="209"/>
                    <a:pt x="1668" y="215"/>
                  </a:cubicBezTo>
                  <a:close/>
                  <a:moveTo>
                    <a:pt x="1668" y="237"/>
                  </a:moveTo>
                  <a:cubicBezTo>
                    <a:pt x="1669" y="234"/>
                    <a:pt x="1671" y="233"/>
                    <a:pt x="1671" y="230"/>
                  </a:cubicBezTo>
                  <a:cubicBezTo>
                    <a:pt x="1674" y="231"/>
                    <a:pt x="1676" y="234"/>
                    <a:pt x="1676" y="241"/>
                  </a:cubicBezTo>
                  <a:cubicBezTo>
                    <a:pt x="1672" y="242"/>
                    <a:pt x="1672" y="237"/>
                    <a:pt x="1668" y="237"/>
                  </a:cubicBezTo>
                  <a:close/>
                  <a:moveTo>
                    <a:pt x="1676" y="692"/>
                  </a:moveTo>
                  <a:cubicBezTo>
                    <a:pt x="1676" y="694"/>
                    <a:pt x="1676" y="697"/>
                    <a:pt x="1676" y="699"/>
                  </a:cubicBezTo>
                  <a:cubicBezTo>
                    <a:pt x="1675" y="699"/>
                    <a:pt x="1673" y="699"/>
                    <a:pt x="1671" y="699"/>
                  </a:cubicBezTo>
                  <a:cubicBezTo>
                    <a:pt x="1671" y="697"/>
                    <a:pt x="1671" y="694"/>
                    <a:pt x="1671" y="692"/>
                  </a:cubicBezTo>
                  <a:cubicBezTo>
                    <a:pt x="1673" y="692"/>
                    <a:pt x="1675" y="692"/>
                    <a:pt x="1676" y="692"/>
                  </a:cubicBezTo>
                  <a:close/>
                  <a:moveTo>
                    <a:pt x="1668" y="648"/>
                  </a:moveTo>
                  <a:cubicBezTo>
                    <a:pt x="1660" y="661"/>
                    <a:pt x="1659" y="636"/>
                    <a:pt x="1668" y="648"/>
                  </a:cubicBezTo>
                  <a:close/>
                  <a:moveTo>
                    <a:pt x="1663" y="1162"/>
                  </a:moveTo>
                  <a:cubicBezTo>
                    <a:pt x="1661" y="1161"/>
                    <a:pt x="1660" y="1163"/>
                    <a:pt x="1660" y="1165"/>
                  </a:cubicBezTo>
                  <a:cubicBezTo>
                    <a:pt x="1657" y="1165"/>
                    <a:pt x="1658" y="1159"/>
                    <a:pt x="1657" y="1154"/>
                  </a:cubicBezTo>
                  <a:cubicBezTo>
                    <a:pt x="1662" y="1153"/>
                    <a:pt x="1663" y="1157"/>
                    <a:pt x="1663" y="1162"/>
                  </a:cubicBezTo>
                  <a:close/>
                  <a:moveTo>
                    <a:pt x="1655" y="233"/>
                  </a:moveTo>
                  <a:cubicBezTo>
                    <a:pt x="1658" y="234"/>
                    <a:pt x="1657" y="241"/>
                    <a:pt x="1660" y="241"/>
                  </a:cubicBezTo>
                  <a:cubicBezTo>
                    <a:pt x="1659" y="251"/>
                    <a:pt x="1652" y="241"/>
                    <a:pt x="1655" y="233"/>
                  </a:cubicBezTo>
                  <a:close/>
                  <a:moveTo>
                    <a:pt x="1671" y="1254"/>
                  </a:moveTo>
                  <a:cubicBezTo>
                    <a:pt x="1670" y="1260"/>
                    <a:pt x="1673" y="1261"/>
                    <a:pt x="1676" y="1261"/>
                  </a:cubicBezTo>
                  <a:cubicBezTo>
                    <a:pt x="1675" y="1272"/>
                    <a:pt x="1668" y="1261"/>
                    <a:pt x="1666" y="1261"/>
                  </a:cubicBezTo>
                  <a:cubicBezTo>
                    <a:pt x="1660" y="1262"/>
                    <a:pt x="1659" y="1268"/>
                    <a:pt x="1652" y="1269"/>
                  </a:cubicBezTo>
                  <a:cubicBezTo>
                    <a:pt x="1652" y="1259"/>
                    <a:pt x="1660" y="1259"/>
                    <a:pt x="1663" y="1254"/>
                  </a:cubicBezTo>
                  <a:cubicBezTo>
                    <a:pt x="1662" y="1250"/>
                    <a:pt x="1658" y="1251"/>
                    <a:pt x="1655" y="1250"/>
                  </a:cubicBezTo>
                  <a:cubicBezTo>
                    <a:pt x="1652" y="1253"/>
                    <a:pt x="1652" y="1259"/>
                    <a:pt x="1647" y="1258"/>
                  </a:cubicBezTo>
                  <a:cubicBezTo>
                    <a:pt x="1643" y="1243"/>
                    <a:pt x="1655" y="1249"/>
                    <a:pt x="1655" y="1239"/>
                  </a:cubicBezTo>
                  <a:cubicBezTo>
                    <a:pt x="1657" y="1239"/>
                    <a:pt x="1657" y="1241"/>
                    <a:pt x="1657" y="1243"/>
                  </a:cubicBezTo>
                  <a:cubicBezTo>
                    <a:pt x="1662" y="1251"/>
                    <a:pt x="1679" y="1244"/>
                    <a:pt x="1684" y="1250"/>
                  </a:cubicBezTo>
                  <a:cubicBezTo>
                    <a:pt x="1683" y="1254"/>
                    <a:pt x="1678" y="1264"/>
                    <a:pt x="1687" y="1261"/>
                  </a:cubicBezTo>
                  <a:cubicBezTo>
                    <a:pt x="1680" y="1282"/>
                    <a:pt x="1683" y="1249"/>
                    <a:pt x="1671" y="1254"/>
                  </a:cubicBezTo>
                  <a:close/>
                  <a:moveTo>
                    <a:pt x="1690" y="1258"/>
                  </a:moveTo>
                  <a:cubicBezTo>
                    <a:pt x="1680" y="1250"/>
                    <a:pt x="1696" y="1247"/>
                    <a:pt x="1698" y="1243"/>
                  </a:cubicBezTo>
                  <a:cubicBezTo>
                    <a:pt x="1700" y="1242"/>
                    <a:pt x="1700" y="1244"/>
                    <a:pt x="1700" y="1247"/>
                  </a:cubicBezTo>
                  <a:cubicBezTo>
                    <a:pt x="1701" y="1252"/>
                    <a:pt x="1707" y="1250"/>
                    <a:pt x="1711" y="1250"/>
                  </a:cubicBezTo>
                  <a:cubicBezTo>
                    <a:pt x="1719" y="1260"/>
                    <a:pt x="1690" y="1248"/>
                    <a:pt x="1690" y="1258"/>
                  </a:cubicBezTo>
                  <a:close/>
                  <a:moveTo>
                    <a:pt x="1700" y="1273"/>
                  </a:moveTo>
                  <a:cubicBezTo>
                    <a:pt x="1697" y="1273"/>
                    <a:pt x="1697" y="1260"/>
                    <a:pt x="1706" y="1261"/>
                  </a:cubicBezTo>
                  <a:cubicBezTo>
                    <a:pt x="1705" y="1263"/>
                    <a:pt x="1702" y="1272"/>
                    <a:pt x="1700" y="1273"/>
                  </a:cubicBezTo>
                  <a:close/>
                  <a:moveTo>
                    <a:pt x="1730" y="1298"/>
                  </a:moveTo>
                  <a:cubicBezTo>
                    <a:pt x="1728" y="1299"/>
                    <a:pt x="1726" y="1312"/>
                    <a:pt x="1717" y="1306"/>
                  </a:cubicBezTo>
                  <a:cubicBezTo>
                    <a:pt x="1716" y="1305"/>
                    <a:pt x="1718" y="1295"/>
                    <a:pt x="1717" y="1295"/>
                  </a:cubicBezTo>
                  <a:cubicBezTo>
                    <a:pt x="1712" y="1293"/>
                    <a:pt x="1709" y="1301"/>
                    <a:pt x="1703" y="1298"/>
                  </a:cubicBezTo>
                  <a:cubicBezTo>
                    <a:pt x="1701" y="1288"/>
                    <a:pt x="1709" y="1291"/>
                    <a:pt x="1709" y="1284"/>
                  </a:cubicBezTo>
                  <a:cubicBezTo>
                    <a:pt x="1711" y="1283"/>
                    <a:pt x="1713" y="1291"/>
                    <a:pt x="1714" y="1291"/>
                  </a:cubicBezTo>
                  <a:cubicBezTo>
                    <a:pt x="1716" y="1292"/>
                    <a:pt x="1720" y="1286"/>
                    <a:pt x="1725" y="1287"/>
                  </a:cubicBezTo>
                  <a:cubicBezTo>
                    <a:pt x="1725" y="1287"/>
                    <a:pt x="1725" y="1295"/>
                    <a:pt x="1725" y="1295"/>
                  </a:cubicBezTo>
                  <a:cubicBezTo>
                    <a:pt x="1727" y="1295"/>
                    <a:pt x="1732" y="1290"/>
                    <a:pt x="1733" y="1287"/>
                  </a:cubicBezTo>
                  <a:cubicBezTo>
                    <a:pt x="1736" y="1290"/>
                    <a:pt x="1738" y="1295"/>
                    <a:pt x="1738" y="1302"/>
                  </a:cubicBezTo>
                  <a:cubicBezTo>
                    <a:pt x="1735" y="1306"/>
                    <a:pt x="1730" y="1298"/>
                    <a:pt x="1730" y="1298"/>
                  </a:cubicBezTo>
                  <a:close/>
                  <a:moveTo>
                    <a:pt x="1735" y="1324"/>
                  </a:moveTo>
                  <a:cubicBezTo>
                    <a:pt x="1733" y="1314"/>
                    <a:pt x="1741" y="1320"/>
                    <a:pt x="1744" y="1317"/>
                  </a:cubicBezTo>
                  <a:cubicBezTo>
                    <a:pt x="1748" y="1311"/>
                    <a:pt x="1745" y="1318"/>
                    <a:pt x="1752" y="1324"/>
                  </a:cubicBezTo>
                  <a:cubicBezTo>
                    <a:pt x="1751" y="1331"/>
                    <a:pt x="1743" y="1320"/>
                    <a:pt x="1735" y="1324"/>
                  </a:cubicBezTo>
                  <a:close/>
                  <a:moveTo>
                    <a:pt x="1752" y="1302"/>
                  </a:moveTo>
                  <a:cubicBezTo>
                    <a:pt x="1750" y="1302"/>
                    <a:pt x="1748" y="1302"/>
                    <a:pt x="1746" y="1302"/>
                  </a:cubicBezTo>
                  <a:cubicBezTo>
                    <a:pt x="1746" y="1300"/>
                    <a:pt x="1746" y="1297"/>
                    <a:pt x="1746" y="1295"/>
                  </a:cubicBezTo>
                  <a:cubicBezTo>
                    <a:pt x="1748" y="1295"/>
                    <a:pt x="1750" y="1295"/>
                    <a:pt x="1752" y="1295"/>
                  </a:cubicBezTo>
                  <a:cubicBezTo>
                    <a:pt x="1752" y="1297"/>
                    <a:pt x="1752" y="1300"/>
                    <a:pt x="1752" y="1302"/>
                  </a:cubicBezTo>
                  <a:close/>
                  <a:moveTo>
                    <a:pt x="1757" y="1269"/>
                  </a:moveTo>
                  <a:cubicBezTo>
                    <a:pt x="1752" y="1270"/>
                    <a:pt x="1754" y="1261"/>
                    <a:pt x="1752" y="1258"/>
                  </a:cubicBezTo>
                  <a:cubicBezTo>
                    <a:pt x="1750" y="1255"/>
                    <a:pt x="1745" y="1256"/>
                    <a:pt x="1744" y="1254"/>
                  </a:cubicBezTo>
                  <a:cubicBezTo>
                    <a:pt x="1741" y="1251"/>
                    <a:pt x="1742" y="1244"/>
                    <a:pt x="1738" y="1243"/>
                  </a:cubicBezTo>
                  <a:cubicBezTo>
                    <a:pt x="1741" y="1233"/>
                    <a:pt x="1749" y="1245"/>
                    <a:pt x="1746" y="1254"/>
                  </a:cubicBezTo>
                  <a:cubicBezTo>
                    <a:pt x="1753" y="1249"/>
                    <a:pt x="1756" y="1252"/>
                    <a:pt x="1762" y="1254"/>
                  </a:cubicBezTo>
                  <a:cubicBezTo>
                    <a:pt x="1762" y="1261"/>
                    <a:pt x="1755" y="1259"/>
                    <a:pt x="1757" y="1269"/>
                  </a:cubicBezTo>
                  <a:close/>
                  <a:moveTo>
                    <a:pt x="1762" y="1269"/>
                  </a:moveTo>
                  <a:cubicBezTo>
                    <a:pt x="1767" y="1261"/>
                    <a:pt x="1772" y="1268"/>
                    <a:pt x="1768" y="1254"/>
                  </a:cubicBezTo>
                  <a:cubicBezTo>
                    <a:pt x="1777" y="1256"/>
                    <a:pt x="1773" y="1273"/>
                    <a:pt x="1762" y="1269"/>
                  </a:cubicBezTo>
                  <a:close/>
                  <a:moveTo>
                    <a:pt x="1773" y="1210"/>
                  </a:moveTo>
                  <a:cubicBezTo>
                    <a:pt x="1771" y="1207"/>
                    <a:pt x="1767" y="1206"/>
                    <a:pt x="1762" y="1206"/>
                  </a:cubicBezTo>
                  <a:cubicBezTo>
                    <a:pt x="1762" y="1199"/>
                    <a:pt x="1777" y="1199"/>
                    <a:pt x="1773" y="1210"/>
                  </a:cubicBezTo>
                  <a:close/>
                  <a:moveTo>
                    <a:pt x="1776" y="241"/>
                  </a:moveTo>
                  <a:cubicBezTo>
                    <a:pt x="1771" y="240"/>
                    <a:pt x="1770" y="245"/>
                    <a:pt x="1765" y="244"/>
                  </a:cubicBezTo>
                  <a:cubicBezTo>
                    <a:pt x="1765" y="241"/>
                    <a:pt x="1765" y="237"/>
                    <a:pt x="1765" y="233"/>
                  </a:cubicBezTo>
                  <a:cubicBezTo>
                    <a:pt x="1768" y="238"/>
                    <a:pt x="1778" y="235"/>
                    <a:pt x="1778" y="244"/>
                  </a:cubicBezTo>
                  <a:cubicBezTo>
                    <a:pt x="1777" y="250"/>
                    <a:pt x="1776" y="245"/>
                    <a:pt x="1776" y="241"/>
                  </a:cubicBezTo>
                  <a:close/>
                  <a:moveTo>
                    <a:pt x="1776" y="1206"/>
                  </a:moveTo>
                  <a:cubicBezTo>
                    <a:pt x="1777" y="1201"/>
                    <a:pt x="1782" y="1203"/>
                    <a:pt x="1787" y="1202"/>
                  </a:cubicBezTo>
                  <a:cubicBezTo>
                    <a:pt x="1787" y="1200"/>
                    <a:pt x="1787" y="1197"/>
                    <a:pt x="1787" y="1195"/>
                  </a:cubicBezTo>
                  <a:cubicBezTo>
                    <a:pt x="1789" y="1194"/>
                    <a:pt x="1789" y="1196"/>
                    <a:pt x="1789" y="1199"/>
                  </a:cubicBezTo>
                  <a:cubicBezTo>
                    <a:pt x="1789" y="1207"/>
                    <a:pt x="1799" y="1200"/>
                    <a:pt x="1803" y="1202"/>
                  </a:cubicBezTo>
                  <a:cubicBezTo>
                    <a:pt x="1805" y="1202"/>
                    <a:pt x="1805" y="1198"/>
                    <a:pt x="1805" y="1195"/>
                  </a:cubicBezTo>
                  <a:cubicBezTo>
                    <a:pt x="1808" y="1197"/>
                    <a:pt x="1810" y="1199"/>
                    <a:pt x="1811" y="1195"/>
                  </a:cubicBezTo>
                  <a:cubicBezTo>
                    <a:pt x="1814" y="1194"/>
                    <a:pt x="1812" y="1201"/>
                    <a:pt x="1813" y="1202"/>
                  </a:cubicBezTo>
                  <a:cubicBezTo>
                    <a:pt x="1817" y="1206"/>
                    <a:pt x="1827" y="1196"/>
                    <a:pt x="1824" y="1210"/>
                  </a:cubicBezTo>
                  <a:cubicBezTo>
                    <a:pt x="1818" y="1204"/>
                    <a:pt x="1813" y="1210"/>
                    <a:pt x="1805" y="1210"/>
                  </a:cubicBezTo>
                  <a:cubicBezTo>
                    <a:pt x="1797" y="1209"/>
                    <a:pt x="1787" y="1203"/>
                    <a:pt x="1776" y="1206"/>
                  </a:cubicBezTo>
                  <a:close/>
                  <a:moveTo>
                    <a:pt x="1797" y="1225"/>
                  </a:moveTo>
                  <a:cubicBezTo>
                    <a:pt x="1805" y="1211"/>
                    <a:pt x="1806" y="1236"/>
                    <a:pt x="1797" y="1225"/>
                  </a:cubicBezTo>
                  <a:close/>
                  <a:moveTo>
                    <a:pt x="1787" y="1276"/>
                  </a:moveTo>
                  <a:cubicBezTo>
                    <a:pt x="1782" y="1273"/>
                    <a:pt x="1780" y="1266"/>
                    <a:pt x="1784" y="1261"/>
                  </a:cubicBezTo>
                  <a:cubicBezTo>
                    <a:pt x="1792" y="1265"/>
                    <a:pt x="1787" y="1267"/>
                    <a:pt x="1787" y="1276"/>
                  </a:cubicBezTo>
                  <a:close/>
                  <a:moveTo>
                    <a:pt x="1778" y="1258"/>
                  </a:moveTo>
                  <a:cubicBezTo>
                    <a:pt x="1779" y="1254"/>
                    <a:pt x="1782" y="1255"/>
                    <a:pt x="1784" y="1254"/>
                  </a:cubicBezTo>
                  <a:cubicBezTo>
                    <a:pt x="1787" y="1254"/>
                    <a:pt x="1789" y="1254"/>
                    <a:pt x="1792" y="1254"/>
                  </a:cubicBezTo>
                  <a:cubicBezTo>
                    <a:pt x="1792" y="1262"/>
                    <a:pt x="1782" y="1256"/>
                    <a:pt x="1778" y="1258"/>
                  </a:cubicBezTo>
                  <a:close/>
                  <a:moveTo>
                    <a:pt x="1800" y="1276"/>
                  </a:moveTo>
                  <a:cubicBezTo>
                    <a:pt x="1795" y="1276"/>
                    <a:pt x="1798" y="1264"/>
                    <a:pt x="1792" y="1265"/>
                  </a:cubicBezTo>
                  <a:cubicBezTo>
                    <a:pt x="1792" y="1261"/>
                    <a:pt x="1797" y="1262"/>
                    <a:pt x="1800" y="1261"/>
                  </a:cubicBezTo>
                  <a:cubicBezTo>
                    <a:pt x="1796" y="1256"/>
                    <a:pt x="1790" y="1252"/>
                    <a:pt x="1792" y="1239"/>
                  </a:cubicBezTo>
                  <a:cubicBezTo>
                    <a:pt x="1802" y="1236"/>
                    <a:pt x="1800" y="1269"/>
                    <a:pt x="1805" y="1261"/>
                  </a:cubicBezTo>
                  <a:cubicBezTo>
                    <a:pt x="1816" y="1270"/>
                    <a:pt x="1796" y="1265"/>
                    <a:pt x="1800" y="1276"/>
                  </a:cubicBezTo>
                  <a:close/>
                  <a:moveTo>
                    <a:pt x="1811" y="1221"/>
                  </a:moveTo>
                  <a:cubicBezTo>
                    <a:pt x="1811" y="1208"/>
                    <a:pt x="1820" y="1229"/>
                    <a:pt x="1819" y="1217"/>
                  </a:cubicBezTo>
                  <a:cubicBezTo>
                    <a:pt x="1820" y="1216"/>
                    <a:pt x="1822" y="1224"/>
                    <a:pt x="1822" y="1225"/>
                  </a:cubicBezTo>
                  <a:cubicBezTo>
                    <a:pt x="1821" y="1225"/>
                    <a:pt x="1816" y="1223"/>
                    <a:pt x="1816" y="1225"/>
                  </a:cubicBezTo>
                  <a:cubicBezTo>
                    <a:pt x="1814" y="1232"/>
                    <a:pt x="1814" y="1235"/>
                    <a:pt x="1813" y="1243"/>
                  </a:cubicBezTo>
                  <a:cubicBezTo>
                    <a:pt x="1801" y="1236"/>
                    <a:pt x="1818" y="1227"/>
                    <a:pt x="1811" y="1221"/>
                  </a:cubicBezTo>
                  <a:close/>
                  <a:moveTo>
                    <a:pt x="1811" y="1254"/>
                  </a:moveTo>
                  <a:cubicBezTo>
                    <a:pt x="1806" y="1252"/>
                    <a:pt x="1814" y="1248"/>
                    <a:pt x="1813" y="1254"/>
                  </a:cubicBezTo>
                  <a:cubicBezTo>
                    <a:pt x="1820" y="1254"/>
                    <a:pt x="1822" y="1247"/>
                    <a:pt x="1827" y="1254"/>
                  </a:cubicBezTo>
                  <a:cubicBezTo>
                    <a:pt x="1825" y="1264"/>
                    <a:pt x="1824" y="1275"/>
                    <a:pt x="1813" y="1273"/>
                  </a:cubicBezTo>
                  <a:cubicBezTo>
                    <a:pt x="1812" y="1267"/>
                    <a:pt x="1817" y="1253"/>
                    <a:pt x="1811" y="1254"/>
                  </a:cubicBezTo>
                  <a:close/>
                  <a:moveTo>
                    <a:pt x="1827" y="1295"/>
                  </a:moveTo>
                  <a:cubicBezTo>
                    <a:pt x="1820" y="1296"/>
                    <a:pt x="1821" y="1288"/>
                    <a:pt x="1813" y="1291"/>
                  </a:cubicBezTo>
                  <a:cubicBezTo>
                    <a:pt x="1813" y="1285"/>
                    <a:pt x="1831" y="1284"/>
                    <a:pt x="1827" y="1295"/>
                  </a:cubicBezTo>
                  <a:close/>
                  <a:moveTo>
                    <a:pt x="1835" y="1306"/>
                  </a:moveTo>
                  <a:cubicBezTo>
                    <a:pt x="1832" y="1305"/>
                    <a:pt x="1833" y="1299"/>
                    <a:pt x="1832" y="1295"/>
                  </a:cubicBezTo>
                  <a:cubicBezTo>
                    <a:pt x="1837" y="1293"/>
                    <a:pt x="1837" y="1298"/>
                    <a:pt x="1838" y="1302"/>
                  </a:cubicBezTo>
                  <a:cubicBezTo>
                    <a:pt x="1835" y="1301"/>
                    <a:pt x="1835" y="1304"/>
                    <a:pt x="1835" y="1306"/>
                  </a:cubicBezTo>
                  <a:close/>
                  <a:moveTo>
                    <a:pt x="1843" y="1269"/>
                  </a:moveTo>
                  <a:cubicBezTo>
                    <a:pt x="1842" y="1282"/>
                    <a:pt x="1831" y="1262"/>
                    <a:pt x="1832" y="1273"/>
                  </a:cubicBezTo>
                  <a:cubicBezTo>
                    <a:pt x="1823" y="1272"/>
                    <a:pt x="1838" y="1260"/>
                    <a:pt x="1830" y="1261"/>
                  </a:cubicBezTo>
                  <a:cubicBezTo>
                    <a:pt x="1829" y="1256"/>
                    <a:pt x="1845" y="1257"/>
                    <a:pt x="1835" y="1250"/>
                  </a:cubicBezTo>
                  <a:cubicBezTo>
                    <a:pt x="1837" y="1245"/>
                    <a:pt x="1839" y="1251"/>
                    <a:pt x="1846" y="1247"/>
                  </a:cubicBezTo>
                  <a:cubicBezTo>
                    <a:pt x="1846" y="1251"/>
                    <a:pt x="1845" y="1253"/>
                    <a:pt x="1843" y="1254"/>
                  </a:cubicBezTo>
                  <a:cubicBezTo>
                    <a:pt x="1843" y="1258"/>
                    <a:pt x="1846" y="1257"/>
                    <a:pt x="1848" y="1258"/>
                  </a:cubicBezTo>
                  <a:cubicBezTo>
                    <a:pt x="1847" y="1262"/>
                    <a:pt x="1828" y="1265"/>
                    <a:pt x="1843" y="1269"/>
                  </a:cubicBezTo>
                  <a:close/>
                  <a:moveTo>
                    <a:pt x="1862" y="1309"/>
                  </a:moveTo>
                  <a:cubicBezTo>
                    <a:pt x="1861" y="1311"/>
                    <a:pt x="1859" y="1300"/>
                    <a:pt x="1856" y="1302"/>
                  </a:cubicBezTo>
                  <a:cubicBezTo>
                    <a:pt x="1861" y="1290"/>
                    <a:pt x="1864" y="1307"/>
                    <a:pt x="1862" y="1309"/>
                  </a:cubicBezTo>
                  <a:close/>
                  <a:moveTo>
                    <a:pt x="1867" y="1273"/>
                  </a:moveTo>
                  <a:cubicBezTo>
                    <a:pt x="1862" y="1276"/>
                    <a:pt x="1856" y="1279"/>
                    <a:pt x="1854" y="1287"/>
                  </a:cubicBezTo>
                  <a:cubicBezTo>
                    <a:pt x="1845" y="1279"/>
                    <a:pt x="1860" y="1274"/>
                    <a:pt x="1859" y="1265"/>
                  </a:cubicBezTo>
                  <a:cubicBezTo>
                    <a:pt x="1859" y="1261"/>
                    <a:pt x="1854" y="1262"/>
                    <a:pt x="1851" y="1261"/>
                  </a:cubicBezTo>
                  <a:cubicBezTo>
                    <a:pt x="1853" y="1256"/>
                    <a:pt x="1857" y="1255"/>
                    <a:pt x="1862" y="1254"/>
                  </a:cubicBezTo>
                  <a:cubicBezTo>
                    <a:pt x="1859" y="1249"/>
                    <a:pt x="1861" y="1248"/>
                    <a:pt x="1862" y="1243"/>
                  </a:cubicBezTo>
                  <a:cubicBezTo>
                    <a:pt x="1868" y="1242"/>
                    <a:pt x="1860" y="1260"/>
                    <a:pt x="1870" y="1254"/>
                  </a:cubicBezTo>
                  <a:cubicBezTo>
                    <a:pt x="1869" y="1259"/>
                    <a:pt x="1866" y="1262"/>
                    <a:pt x="1862" y="1261"/>
                  </a:cubicBezTo>
                  <a:cubicBezTo>
                    <a:pt x="1862" y="1269"/>
                    <a:pt x="1868" y="1262"/>
                    <a:pt x="1867" y="1261"/>
                  </a:cubicBezTo>
                  <a:cubicBezTo>
                    <a:pt x="1870" y="1263"/>
                    <a:pt x="1870" y="1271"/>
                    <a:pt x="1875" y="1269"/>
                  </a:cubicBezTo>
                  <a:cubicBezTo>
                    <a:pt x="1875" y="1273"/>
                    <a:pt x="1870" y="1272"/>
                    <a:pt x="1867" y="1273"/>
                  </a:cubicBezTo>
                  <a:close/>
                  <a:moveTo>
                    <a:pt x="1867" y="1165"/>
                  </a:moveTo>
                  <a:cubicBezTo>
                    <a:pt x="1865" y="1165"/>
                    <a:pt x="1864" y="1165"/>
                    <a:pt x="1862" y="1165"/>
                  </a:cubicBezTo>
                  <a:cubicBezTo>
                    <a:pt x="1862" y="1163"/>
                    <a:pt x="1862" y="1160"/>
                    <a:pt x="1862" y="1158"/>
                  </a:cubicBezTo>
                  <a:cubicBezTo>
                    <a:pt x="1864" y="1158"/>
                    <a:pt x="1865" y="1158"/>
                    <a:pt x="1867" y="1158"/>
                  </a:cubicBezTo>
                  <a:cubicBezTo>
                    <a:pt x="1867" y="1160"/>
                    <a:pt x="1867" y="1163"/>
                    <a:pt x="1867" y="1165"/>
                  </a:cubicBezTo>
                  <a:close/>
                  <a:moveTo>
                    <a:pt x="1873" y="1173"/>
                  </a:moveTo>
                  <a:cubicBezTo>
                    <a:pt x="1873" y="1175"/>
                    <a:pt x="1873" y="1178"/>
                    <a:pt x="1873" y="1180"/>
                  </a:cubicBezTo>
                  <a:cubicBezTo>
                    <a:pt x="1871" y="1180"/>
                    <a:pt x="1869" y="1180"/>
                    <a:pt x="1867" y="1180"/>
                  </a:cubicBezTo>
                  <a:cubicBezTo>
                    <a:pt x="1867" y="1178"/>
                    <a:pt x="1867" y="1175"/>
                    <a:pt x="1867" y="1173"/>
                  </a:cubicBezTo>
                  <a:cubicBezTo>
                    <a:pt x="1869" y="1173"/>
                    <a:pt x="1871" y="1173"/>
                    <a:pt x="1873" y="1173"/>
                  </a:cubicBezTo>
                  <a:close/>
                  <a:moveTo>
                    <a:pt x="1873" y="1191"/>
                  </a:moveTo>
                  <a:cubicBezTo>
                    <a:pt x="1871" y="1197"/>
                    <a:pt x="1870" y="1191"/>
                    <a:pt x="1870" y="1187"/>
                  </a:cubicBezTo>
                  <a:cubicBezTo>
                    <a:pt x="1867" y="1187"/>
                    <a:pt x="1865" y="1188"/>
                    <a:pt x="1865" y="1191"/>
                  </a:cubicBezTo>
                  <a:cubicBezTo>
                    <a:pt x="1854" y="1184"/>
                    <a:pt x="1875" y="1179"/>
                    <a:pt x="1873" y="1191"/>
                  </a:cubicBezTo>
                  <a:close/>
                  <a:moveTo>
                    <a:pt x="1867" y="1210"/>
                  </a:moveTo>
                  <a:cubicBezTo>
                    <a:pt x="1866" y="1192"/>
                    <a:pt x="1879" y="1201"/>
                    <a:pt x="1878" y="1213"/>
                  </a:cubicBezTo>
                  <a:cubicBezTo>
                    <a:pt x="1876" y="1211"/>
                    <a:pt x="1872" y="1209"/>
                    <a:pt x="1867" y="1210"/>
                  </a:cubicBezTo>
                  <a:close/>
                  <a:moveTo>
                    <a:pt x="1873" y="174"/>
                  </a:moveTo>
                  <a:cubicBezTo>
                    <a:pt x="1868" y="183"/>
                    <a:pt x="1863" y="171"/>
                    <a:pt x="1859" y="170"/>
                  </a:cubicBezTo>
                  <a:cubicBezTo>
                    <a:pt x="1858" y="170"/>
                    <a:pt x="1854" y="170"/>
                    <a:pt x="1854" y="170"/>
                  </a:cubicBezTo>
                  <a:cubicBezTo>
                    <a:pt x="1850" y="176"/>
                    <a:pt x="1856" y="179"/>
                    <a:pt x="1846" y="174"/>
                  </a:cubicBezTo>
                  <a:cubicBezTo>
                    <a:pt x="1843" y="185"/>
                    <a:pt x="1852" y="181"/>
                    <a:pt x="1856" y="182"/>
                  </a:cubicBezTo>
                  <a:cubicBezTo>
                    <a:pt x="1856" y="188"/>
                    <a:pt x="1848" y="184"/>
                    <a:pt x="1848" y="193"/>
                  </a:cubicBezTo>
                  <a:cubicBezTo>
                    <a:pt x="1851" y="203"/>
                    <a:pt x="1856" y="187"/>
                    <a:pt x="1859" y="196"/>
                  </a:cubicBezTo>
                  <a:cubicBezTo>
                    <a:pt x="1864" y="199"/>
                    <a:pt x="1856" y="202"/>
                    <a:pt x="1856" y="196"/>
                  </a:cubicBezTo>
                  <a:cubicBezTo>
                    <a:pt x="1854" y="196"/>
                    <a:pt x="1854" y="201"/>
                    <a:pt x="1854" y="204"/>
                  </a:cubicBezTo>
                  <a:cubicBezTo>
                    <a:pt x="1848" y="205"/>
                    <a:pt x="1847" y="201"/>
                    <a:pt x="1843" y="200"/>
                  </a:cubicBezTo>
                  <a:cubicBezTo>
                    <a:pt x="1842" y="208"/>
                    <a:pt x="1844" y="214"/>
                    <a:pt x="1848" y="215"/>
                  </a:cubicBezTo>
                  <a:cubicBezTo>
                    <a:pt x="1842" y="227"/>
                    <a:pt x="1839" y="204"/>
                    <a:pt x="1838" y="196"/>
                  </a:cubicBezTo>
                  <a:cubicBezTo>
                    <a:pt x="1847" y="195"/>
                    <a:pt x="1846" y="185"/>
                    <a:pt x="1840" y="178"/>
                  </a:cubicBezTo>
                  <a:cubicBezTo>
                    <a:pt x="1840" y="171"/>
                    <a:pt x="1848" y="173"/>
                    <a:pt x="1846" y="163"/>
                  </a:cubicBezTo>
                  <a:cubicBezTo>
                    <a:pt x="1855" y="164"/>
                    <a:pt x="1863" y="162"/>
                    <a:pt x="1870" y="159"/>
                  </a:cubicBezTo>
                  <a:cubicBezTo>
                    <a:pt x="1869" y="162"/>
                    <a:pt x="1867" y="163"/>
                    <a:pt x="1867" y="167"/>
                  </a:cubicBezTo>
                  <a:cubicBezTo>
                    <a:pt x="1871" y="170"/>
                    <a:pt x="1875" y="163"/>
                    <a:pt x="1875" y="163"/>
                  </a:cubicBezTo>
                  <a:cubicBezTo>
                    <a:pt x="1879" y="164"/>
                    <a:pt x="1876" y="169"/>
                    <a:pt x="1878" y="170"/>
                  </a:cubicBezTo>
                  <a:cubicBezTo>
                    <a:pt x="1882" y="174"/>
                    <a:pt x="1889" y="167"/>
                    <a:pt x="1883" y="167"/>
                  </a:cubicBezTo>
                  <a:cubicBezTo>
                    <a:pt x="1883" y="167"/>
                    <a:pt x="1885" y="161"/>
                    <a:pt x="1886" y="163"/>
                  </a:cubicBezTo>
                  <a:cubicBezTo>
                    <a:pt x="1888" y="166"/>
                    <a:pt x="1891" y="166"/>
                    <a:pt x="1891" y="170"/>
                  </a:cubicBezTo>
                  <a:cubicBezTo>
                    <a:pt x="1897" y="170"/>
                    <a:pt x="1888" y="161"/>
                    <a:pt x="1891" y="152"/>
                  </a:cubicBezTo>
                  <a:cubicBezTo>
                    <a:pt x="1902" y="153"/>
                    <a:pt x="1896" y="131"/>
                    <a:pt x="1908" y="133"/>
                  </a:cubicBezTo>
                  <a:cubicBezTo>
                    <a:pt x="1903" y="144"/>
                    <a:pt x="1891" y="164"/>
                    <a:pt x="1902" y="174"/>
                  </a:cubicBezTo>
                  <a:cubicBezTo>
                    <a:pt x="1897" y="182"/>
                    <a:pt x="1893" y="205"/>
                    <a:pt x="1902" y="211"/>
                  </a:cubicBezTo>
                  <a:cubicBezTo>
                    <a:pt x="1900" y="218"/>
                    <a:pt x="1893" y="224"/>
                    <a:pt x="1889" y="218"/>
                  </a:cubicBezTo>
                  <a:cubicBezTo>
                    <a:pt x="1890" y="211"/>
                    <a:pt x="1893" y="211"/>
                    <a:pt x="1897" y="215"/>
                  </a:cubicBezTo>
                  <a:cubicBezTo>
                    <a:pt x="1892" y="209"/>
                    <a:pt x="1897" y="189"/>
                    <a:pt x="1886" y="193"/>
                  </a:cubicBezTo>
                  <a:cubicBezTo>
                    <a:pt x="1887" y="188"/>
                    <a:pt x="1891" y="190"/>
                    <a:pt x="1894" y="189"/>
                  </a:cubicBezTo>
                  <a:cubicBezTo>
                    <a:pt x="1891" y="177"/>
                    <a:pt x="1886" y="188"/>
                    <a:pt x="1881" y="178"/>
                  </a:cubicBezTo>
                  <a:cubicBezTo>
                    <a:pt x="1878" y="179"/>
                    <a:pt x="1879" y="182"/>
                    <a:pt x="1881" y="182"/>
                  </a:cubicBezTo>
                  <a:cubicBezTo>
                    <a:pt x="1880" y="191"/>
                    <a:pt x="1870" y="182"/>
                    <a:pt x="1873" y="174"/>
                  </a:cubicBezTo>
                  <a:close/>
                  <a:moveTo>
                    <a:pt x="1899" y="1317"/>
                  </a:moveTo>
                  <a:cubicBezTo>
                    <a:pt x="1889" y="1322"/>
                    <a:pt x="1899" y="1300"/>
                    <a:pt x="1889" y="1306"/>
                  </a:cubicBezTo>
                  <a:cubicBezTo>
                    <a:pt x="1890" y="1301"/>
                    <a:pt x="1895" y="1303"/>
                    <a:pt x="1899" y="1302"/>
                  </a:cubicBezTo>
                  <a:cubicBezTo>
                    <a:pt x="1899" y="1307"/>
                    <a:pt x="1899" y="1312"/>
                    <a:pt x="1899" y="1317"/>
                  </a:cubicBezTo>
                  <a:close/>
                  <a:moveTo>
                    <a:pt x="1937" y="1258"/>
                  </a:moveTo>
                  <a:cubicBezTo>
                    <a:pt x="1935" y="1258"/>
                    <a:pt x="1935" y="1253"/>
                    <a:pt x="1934" y="1250"/>
                  </a:cubicBezTo>
                  <a:cubicBezTo>
                    <a:pt x="1928" y="1251"/>
                    <a:pt x="1934" y="1262"/>
                    <a:pt x="1934" y="1261"/>
                  </a:cubicBezTo>
                  <a:cubicBezTo>
                    <a:pt x="1934" y="1269"/>
                    <a:pt x="1927" y="1263"/>
                    <a:pt x="1932" y="1276"/>
                  </a:cubicBezTo>
                  <a:cubicBezTo>
                    <a:pt x="1924" y="1279"/>
                    <a:pt x="1925" y="1271"/>
                    <a:pt x="1918" y="1273"/>
                  </a:cubicBezTo>
                  <a:cubicBezTo>
                    <a:pt x="1919" y="1268"/>
                    <a:pt x="1923" y="1269"/>
                    <a:pt x="1926" y="1269"/>
                  </a:cubicBezTo>
                  <a:cubicBezTo>
                    <a:pt x="1924" y="1260"/>
                    <a:pt x="1913" y="1260"/>
                    <a:pt x="1913" y="1273"/>
                  </a:cubicBezTo>
                  <a:cubicBezTo>
                    <a:pt x="1907" y="1275"/>
                    <a:pt x="1909" y="1265"/>
                    <a:pt x="1905" y="1265"/>
                  </a:cubicBezTo>
                  <a:cubicBezTo>
                    <a:pt x="1902" y="1266"/>
                    <a:pt x="1903" y="1269"/>
                    <a:pt x="1905" y="1269"/>
                  </a:cubicBezTo>
                  <a:cubicBezTo>
                    <a:pt x="1904" y="1279"/>
                    <a:pt x="1886" y="1266"/>
                    <a:pt x="1886" y="1276"/>
                  </a:cubicBezTo>
                  <a:cubicBezTo>
                    <a:pt x="1882" y="1275"/>
                    <a:pt x="1885" y="1265"/>
                    <a:pt x="1881" y="1265"/>
                  </a:cubicBezTo>
                  <a:cubicBezTo>
                    <a:pt x="1880" y="1258"/>
                    <a:pt x="1886" y="1261"/>
                    <a:pt x="1889" y="1258"/>
                  </a:cubicBezTo>
                  <a:cubicBezTo>
                    <a:pt x="1890" y="1256"/>
                    <a:pt x="1890" y="1242"/>
                    <a:pt x="1897" y="1247"/>
                  </a:cubicBezTo>
                  <a:cubicBezTo>
                    <a:pt x="1897" y="1257"/>
                    <a:pt x="1891" y="1260"/>
                    <a:pt x="1886" y="1265"/>
                  </a:cubicBezTo>
                  <a:cubicBezTo>
                    <a:pt x="1886" y="1273"/>
                    <a:pt x="1896" y="1267"/>
                    <a:pt x="1899" y="1269"/>
                  </a:cubicBezTo>
                  <a:cubicBezTo>
                    <a:pt x="1899" y="1265"/>
                    <a:pt x="1896" y="1266"/>
                    <a:pt x="1894" y="1265"/>
                  </a:cubicBezTo>
                  <a:cubicBezTo>
                    <a:pt x="1894" y="1262"/>
                    <a:pt x="1897" y="1262"/>
                    <a:pt x="1899" y="1261"/>
                  </a:cubicBezTo>
                  <a:cubicBezTo>
                    <a:pt x="1898" y="1254"/>
                    <a:pt x="1901" y="1252"/>
                    <a:pt x="1902" y="1247"/>
                  </a:cubicBezTo>
                  <a:cubicBezTo>
                    <a:pt x="1906" y="1247"/>
                    <a:pt x="1903" y="1258"/>
                    <a:pt x="1908" y="1258"/>
                  </a:cubicBezTo>
                  <a:cubicBezTo>
                    <a:pt x="1912" y="1258"/>
                    <a:pt x="1910" y="1230"/>
                    <a:pt x="1913" y="1250"/>
                  </a:cubicBezTo>
                  <a:cubicBezTo>
                    <a:pt x="1915" y="1255"/>
                    <a:pt x="1919" y="1257"/>
                    <a:pt x="1924" y="1258"/>
                  </a:cubicBezTo>
                  <a:cubicBezTo>
                    <a:pt x="1928" y="1254"/>
                    <a:pt x="1929" y="1246"/>
                    <a:pt x="1937" y="1247"/>
                  </a:cubicBezTo>
                  <a:cubicBezTo>
                    <a:pt x="1937" y="1250"/>
                    <a:pt x="1937" y="1254"/>
                    <a:pt x="1937" y="1258"/>
                  </a:cubicBezTo>
                  <a:close/>
                  <a:moveTo>
                    <a:pt x="1945" y="1217"/>
                  </a:moveTo>
                  <a:cubicBezTo>
                    <a:pt x="1942" y="1212"/>
                    <a:pt x="1944" y="1218"/>
                    <a:pt x="1940" y="1217"/>
                  </a:cubicBezTo>
                  <a:cubicBezTo>
                    <a:pt x="1937" y="1217"/>
                    <a:pt x="1934" y="1210"/>
                    <a:pt x="1932" y="1221"/>
                  </a:cubicBezTo>
                  <a:cubicBezTo>
                    <a:pt x="1929" y="1221"/>
                    <a:pt x="1930" y="1216"/>
                    <a:pt x="1929" y="1213"/>
                  </a:cubicBezTo>
                  <a:cubicBezTo>
                    <a:pt x="1925" y="1213"/>
                    <a:pt x="1920" y="1213"/>
                    <a:pt x="1916" y="1213"/>
                  </a:cubicBezTo>
                  <a:cubicBezTo>
                    <a:pt x="1913" y="1216"/>
                    <a:pt x="1913" y="1222"/>
                    <a:pt x="1908" y="1221"/>
                  </a:cubicBezTo>
                  <a:cubicBezTo>
                    <a:pt x="1912" y="1208"/>
                    <a:pt x="1900" y="1217"/>
                    <a:pt x="1894" y="1213"/>
                  </a:cubicBezTo>
                  <a:cubicBezTo>
                    <a:pt x="1892" y="1212"/>
                    <a:pt x="1892" y="1205"/>
                    <a:pt x="1889" y="1206"/>
                  </a:cubicBezTo>
                  <a:cubicBezTo>
                    <a:pt x="1887" y="1196"/>
                    <a:pt x="1901" y="1209"/>
                    <a:pt x="1899" y="1199"/>
                  </a:cubicBezTo>
                  <a:cubicBezTo>
                    <a:pt x="1901" y="1206"/>
                    <a:pt x="1914" y="1198"/>
                    <a:pt x="1916" y="1206"/>
                  </a:cubicBezTo>
                  <a:cubicBezTo>
                    <a:pt x="1919" y="1198"/>
                    <a:pt x="1927" y="1201"/>
                    <a:pt x="1942" y="1202"/>
                  </a:cubicBezTo>
                  <a:cubicBezTo>
                    <a:pt x="1943" y="1202"/>
                    <a:pt x="1942" y="1206"/>
                    <a:pt x="1942" y="1206"/>
                  </a:cubicBezTo>
                  <a:cubicBezTo>
                    <a:pt x="1945" y="1207"/>
                    <a:pt x="1945" y="1205"/>
                    <a:pt x="1945" y="1202"/>
                  </a:cubicBezTo>
                  <a:cubicBezTo>
                    <a:pt x="1948" y="1203"/>
                    <a:pt x="1947" y="1206"/>
                    <a:pt x="1945" y="1206"/>
                  </a:cubicBezTo>
                  <a:cubicBezTo>
                    <a:pt x="1945" y="1210"/>
                    <a:pt x="1946" y="1214"/>
                    <a:pt x="1948" y="1213"/>
                  </a:cubicBezTo>
                  <a:cubicBezTo>
                    <a:pt x="1951" y="1213"/>
                    <a:pt x="1953" y="1206"/>
                    <a:pt x="1959" y="1213"/>
                  </a:cubicBezTo>
                  <a:cubicBezTo>
                    <a:pt x="1962" y="1218"/>
                    <a:pt x="1947" y="1220"/>
                    <a:pt x="1945" y="1217"/>
                  </a:cubicBezTo>
                  <a:close/>
                  <a:moveTo>
                    <a:pt x="1967" y="1339"/>
                  </a:moveTo>
                  <a:cubicBezTo>
                    <a:pt x="1959" y="1342"/>
                    <a:pt x="1961" y="1332"/>
                    <a:pt x="1956" y="1332"/>
                  </a:cubicBezTo>
                  <a:cubicBezTo>
                    <a:pt x="1958" y="1327"/>
                    <a:pt x="1962" y="1325"/>
                    <a:pt x="1967" y="1324"/>
                  </a:cubicBezTo>
                  <a:cubicBezTo>
                    <a:pt x="1967" y="1329"/>
                    <a:pt x="1967" y="1334"/>
                    <a:pt x="1967" y="1339"/>
                  </a:cubicBezTo>
                  <a:close/>
                  <a:moveTo>
                    <a:pt x="1969" y="1269"/>
                  </a:moveTo>
                  <a:cubicBezTo>
                    <a:pt x="1970" y="1266"/>
                    <a:pt x="1968" y="1265"/>
                    <a:pt x="1967" y="1265"/>
                  </a:cubicBezTo>
                  <a:cubicBezTo>
                    <a:pt x="1967" y="1262"/>
                    <a:pt x="1970" y="1262"/>
                    <a:pt x="1972" y="1261"/>
                  </a:cubicBezTo>
                  <a:cubicBezTo>
                    <a:pt x="1967" y="1253"/>
                    <a:pt x="1973" y="1257"/>
                    <a:pt x="1975" y="1250"/>
                  </a:cubicBezTo>
                  <a:cubicBezTo>
                    <a:pt x="1983" y="1254"/>
                    <a:pt x="1971" y="1260"/>
                    <a:pt x="1975" y="1269"/>
                  </a:cubicBezTo>
                  <a:cubicBezTo>
                    <a:pt x="1973" y="1269"/>
                    <a:pt x="1971" y="1269"/>
                    <a:pt x="1969" y="1269"/>
                  </a:cubicBezTo>
                  <a:close/>
                  <a:moveTo>
                    <a:pt x="1977" y="1306"/>
                  </a:moveTo>
                  <a:cubicBezTo>
                    <a:pt x="1984" y="1296"/>
                    <a:pt x="1986" y="1310"/>
                    <a:pt x="1994" y="1309"/>
                  </a:cubicBezTo>
                  <a:cubicBezTo>
                    <a:pt x="1994" y="1315"/>
                    <a:pt x="1974" y="1318"/>
                    <a:pt x="1977" y="1306"/>
                  </a:cubicBezTo>
                  <a:close/>
                  <a:moveTo>
                    <a:pt x="1980" y="1232"/>
                  </a:moveTo>
                  <a:cubicBezTo>
                    <a:pt x="1981" y="1225"/>
                    <a:pt x="1985" y="1223"/>
                    <a:pt x="1991" y="1225"/>
                  </a:cubicBezTo>
                  <a:cubicBezTo>
                    <a:pt x="1989" y="1229"/>
                    <a:pt x="1985" y="1231"/>
                    <a:pt x="1980" y="1232"/>
                  </a:cubicBezTo>
                  <a:close/>
                  <a:moveTo>
                    <a:pt x="2015" y="1269"/>
                  </a:moveTo>
                  <a:cubicBezTo>
                    <a:pt x="2004" y="1271"/>
                    <a:pt x="2007" y="1255"/>
                    <a:pt x="2007" y="1243"/>
                  </a:cubicBezTo>
                  <a:cubicBezTo>
                    <a:pt x="2010" y="1245"/>
                    <a:pt x="2010" y="1252"/>
                    <a:pt x="2015" y="1250"/>
                  </a:cubicBezTo>
                  <a:cubicBezTo>
                    <a:pt x="2015" y="1257"/>
                    <a:pt x="2015" y="1263"/>
                    <a:pt x="2015" y="1269"/>
                  </a:cubicBezTo>
                  <a:close/>
                  <a:moveTo>
                    <a:pt x="2020" y="1261"/>
                  </a:moveTo>
                  <a:cubicBezTo>
                    <a:pt x="2028" y="1259"/>
                    <a:pt x="2019" y="1279"/>
                    <a:pt x="2026" y="1276"/>
                  </a:cubicBezTo>
                  <a:cubicBezTo>
                    <a:pt x="2021" y="1289"/>
                    <a:pt x="2019" y="1269"/>
                    <a:pt x="2020" y="1261"/>
                  </a:cubicBezTo>
                  <a:close/>
                  <a:moveTo>
                    <a:pt x="2026" y="1217"/>
                  </a:moveTo>
                  <a:cubicBezTo>
                    <a:pt x="2026" y="1217"/>
                    <a:pt x="2022" y="1221"/>
                    <a:pt x="2023" y="1221"/>
                  </a:cubicBezTo>
                  <a:cubicBezTo>
                    <a:pt x="2021" y="1221"/>
                    <a:pt x="2018" y="1213"/>
                    <a:pt x="2018" y="1213"/>
                  </a:cubicBezTo>
                  <a:cubicBezTo>
                    <a:pt x="2014" y="1214"/>
                    <a:pt x="2013" y="1220"/>
                    <a:pt x="2010" y="1221"/>
                  </a:cubicBezTo>
                  <a:cubicBezTo>
                    <a:pt x="2001" y="1223"/>
                    <a:pt x="1995" y="1212"/>
                    <a:pt x="1988" y="1221"/>
                  </a:cubicBezTo>
                  <a:cubicBezTo>
                    <a:pt x="1985" y="1222"/>
                    <a:pt x="1979" y="1210"/>
                    <a:pt x="1986" y="1210"/>
                  </a:cubicBezTo>
                  <a:cubicBezTo>
                    <a:pt x="1985" y="1206"/>
                    <a:pt x="1982" y="1207"/>
                    <a:pt x="1980" y="1206"/>
                  </a:cubicBezTo>
                  <a:cubicBezTo>
                    <a:pt x="1981" y="1198"/>
                    <a:pt x="1996" y="1201"/>
                    <a:pt x="1991" y="1213"/>
                  </a:cubicBezTo>
                  <a:cubicBezTo>
                    <a:pt x="1994" y="1213"/>
                    <a:pt x="1994" y="1202"/>
                    <a:pt x="1991" y="1202"/>
                  </a:cubicBezTo>
                  <a:cubicBezTo>
                    <a:pt x="1991" y="1198"/>
                    <a:pt x="1996" y="1199"/>
                    <a:pt x="1999" y="1199"/>
                  </a:cubicBezTo>
                  <a:cubicBezTo>
                    <a:pt x="1999" y="1202"/>
                    <a:pt x="1999" y="1206"/>
                    <a:pt x="1999" y="1210"/>
                  </a:cubicBezTo>
                  <a:cubicBezTo>
                    <a:pt x="2009" y="1209"/>
                    <a:pt x="2004" y="1201"/>
                    <a:pt x="2012" y="1206"/>
                  </a:cubicBezTo>
                  <a:cubicBezTo>
                    <a:pt x="2013" y="1206"/>
                    <a:pt x="2017" y="1205"/>
                    <a:pt x="2018" y="1206"/>
                  </a:cubicBezTo>
                  <a:cubicBezTo>
                    <a:pt x="2018" y="1206"/>
                    <a:pt x="2019" y="1212"/>
                    <a:pt x="2020" y="1210"/>
                  </a:cubicBezTo>
                  <a:cubicBezTo>
                    <a:pt x="2025" y="1204"/>
                    <a:pt x="2023" y="1215"/>
                    <a:pt x="2031" y="1213"/>
                  </a:cubicBezTo>
                  <a:cubicBezTo>
                    <a:pt x="2031" y="1217"/>
                    <a:pt x="2028" y="1216"/>
                    <a:pt x="2026" y="1217"/>
                  </a:cubicBezTo>
                  <a:close/>
                  <a:moveTo>
                    <a:pt x="2031" y="588"/>
                  </a:moveTo>
                  <a:cubicBezTo>
                    <a:pt x="2033" y="585"/>
                    <a:pt x="2034" y="580"/>
                    <a:pt x="2034" y="574"/>
                  </a:cubicBezTo>
                  <a:cubicBezTo>
                    <a:pt x="2039" y="572"/>
                    <a:pt x="2039" y="594"/>
                    <a:pt x="2031" y="588"/>
                  </a:cubicBezTo>
                  <a:close/>
                  <a:moveTo>
                    <a:pt x="2039" y="1210"/>
                  </a:moveTo>
                  <a:cubicBezTo>
                    <a:pt x="2044" y="1209"/>
                    <a:pt x="2044" y="1213"/>
                    <a:pt x="2047" y="1213"/>
                  </a:cubicBezTo>
                  <a:cubicBezTo>
                    <a:pt x="2046" y="1218"/>
                    <a:pt x="2042" y="1220"/>
                    <a:pt x="2037" y="1221"/>
                  </a:cubicBezTo>
                  <a:cubicBezTo>
                    <a:pt x="2038" y="1218"/>
                    <a:pt x="2039" y="1215"/>
                    <a:pt x="2039" y="1210"/>
                  </a:cubicBezTo>
                  <a:close/>
                  <a:moveTo>
                    <a:pt x="2039" y="1306"/>
                  </a:moveTo>
                  <a:cubicBezTo>
                    <a:pt x="2042" y="1309"/>
                    <a:pt x="2045" y="1310"/>
                    <a:pt x="2050" y="1309"/>
                  </a:cubicBezTo>
                  <a:cubicBezTo>
                    <a:pt x="2051" y="1316"/>
                    <a:pt x="2035" y="1316"/>
                    <a:pt x="2039" y="1306"/>
                  </a:cubicBezTo>
                  <a:close/>
                  <a:moveTo>
                    <a:pt x="2050" y="1269"/>
                  </a:moveTo>
                  <a:cubicBezTo>
                    <a:pt x="2048" y="1268"/>
                    <a:pt x="2048" y="1270"/>
                    <a:pt x="2047" y="1273"/>
                  </a:cubicBezTo>
                  <a:cubicBezTo>
                    <a:pt x="2044" y="1272"/>
                    <a:pt x="2045" y="1266"/>
                    <a:pt x="2045" y="1261"/>
                  </a:cubicBezTo>
                  <a:cubicBezTo>
                    <a:pt x="2048" y="1263"/>
                    <a:pt x="2049" y="1268"/>
                    <a:pt x="2053" y="1269"/>
                  </a:cubicBezTo>
                  <a:cubicBezTo>
                    <a:pt x="2052" y="1273"/>
                    <a:pt x="2050" y="1271"/>
                    <a:pt x="2050" y="1269"/>
                  </a:cubicBezTo>
                  <a:close/>
                  <a:moveTo>
                    <a:pt x="2064" y="1213"/>
                  </a:moveTo>
                  <a:cubicBezTo>
                    <a:pt x="2061" y="1219"/>
                    <a:pt x="2057" y="1221"/>
                    <a:pt x="2050" y="1221"/>
                  </a:cubicBezTo>
                  <a:cubicBezTo>
                    <a:pt x="2050" y="1214"/>
                    <a:pt x="2059" y="1218"/>
                    <a:pt x="2058" y="1210"/>
                  </a:cubicBezTo>
                  <a:cubicBezTo>
                    <a:pt x="2058" y="1206"/>
                    <a:pt x="2055" y="1207"/>
                    <a:pt x="2053" y="1206"/>
                  </a:cubicBezTo>
                  <a:cubicBezTo>
                    <a:pt x="2054" y="1201"/>
                    <a:pt x="2059" y="1203"/>
                    <a:pt x="2064" y="1202"/>
                  </a:cubicBezTo>
                  <a:cubicBezTo>
                    <a:pt x="2064" y="1209"/>
                    <a:pt x="2059" y="1212"/>
                    <a:pt x="2064" y="1213"/>
                  </a:cubicBezTo>
                  <a:close/>
                  <a:moveTo>
                    <a:pt x="2055" y="1195"/>
                  </a:moveTo>
                  <a:cubicBezTo>
                    <a:pt x="2055" y="1191"/>
                    <a:pt x="2055" y="1187"/>
                    <a:pt x="2055" y="1184"/>
                  </a:cubicBezTo>
                  <a:cubicBezTo>
                    <a:pt x="2060" y="1180"/>
                    <a:pt x="2064" y="1195"/>
                    <a:pt x="2066" y="1184"/>
                  </a:cubicBezTo>
                  <a:cubicBezTo>
                    <a:pt x="2072" y="1186"/>
                    <a:pt x="2063" y="1198"/>
                    <a:pt x="2055" y="1195"/>
                  </a:cubicBezTo>
                  <a:close/>
                  <a:moveTo>
                    <a:pt x="2069" y="204"/>
                  </a:moveTo>
                  <a:cubicBezTo>
                    <a:pt x="2065" y="208"/>
                    <a:pt x="2064" y="215"/>
                    <a:pt x="2058" y="207"/>
                  </a:cubicBezTo>
                  <a:cubicBezTo>
                    <a:pt x="2062" y="202"/>
                    <a:pt x="2071" y="196"/>
                    <a:pt x="2072" y="207"/>
                  </a:cubicBezTo>
                  <a:cubicBezTo>
                    <a:pt x="2070" y="213"/>
                    <a:pt x="2069" y="208"/>
                    <a:pt x="2069" y="204"/>
                  </a:cubicBezTo>
                  <a:close/>
                  <a:moveTo>
                    <a:pt x="2074" y="182"/>
                  </a:moveTo>
                  <a:cubicBezTo>
                    <a:pt x="2069" y="181"/>
                    <a:pt x="2074" y="174"/>
                    <a:pt x="2074" y="174"/>
                  </a:cubicBezTo>
                  <a:cubicBezTo>
                    <a:pt x="2074" y="170"/>
                    <a:pt x="2069" y="164"/>
                    <a:pt x="2074" y="159"/>
                  </a:cubicBezTo>
                  <a:cubicBezTo>
                    <a:pt x="2082" y="163"/>
                    <a:pt x="2073" y="175"/>
                    <a:pt x="2074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</p:grpSp>
      <p:sp>
        <p:nvSpPr>
          <p:cNvPr id="14" name="Text Placeholder 13"/>
          <p:cNvSpPr>
            <a:spLocks noGrp="1"/>
          </p:cNvSpPr>
          <p:nvPr userDrawn="1">
            <p:ph type="body" sz="quarter" idx="10"/>
          </p:nvPr>
        </p:nvSpPr>
        <p:spPr>
          <a:xfrm>
            <a:off x="5779531" y="4619610"/>
            <a:ext cx="6239749" cy="749300"/>
          </a:xfrm>
        </p:spPr>
        <p:txBody>
          <a:bodyPr/>
          <a:lstStyle>
            <a:lvl1pPr>
              <a:defRPr>
                <a:solidFill>
                  <a:srgbClr val="49853E"/>
                </a:solidFill>
              </a:defRPr>
            </a:lvl1pPr>
            <a:lvl2pPr>
              <a:defRPr>
                <a:solidFill>
                  <a:srgbClr val="49853E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  <a:endParaRPr lang="en-AU"/>
          </a:p>
        </p:txBody>
      </p:sp>
      <p:sp>
        <p:nvSpPr>
          <p:cNvPr id="278" name="Title 4124"/>
          <p:cNvSpPr>
            <a:spLocks noGrp="1"/>
          </p:cNvSpPr>
          <p:nvPr>
            <p:ph type="title"/>
          </p:nvPr>
        </p:nvSpPr>
        <p:spPr>
          <a:xfrm>
            <a:off x="5735264" y="1927683"/>
            <a:ext cx="5486400" cy="2603500"/>
          </a:xfrm>
        </p:spPr>
        <p:txBody>
          <a:bodyPr/>
          <a:lstStyle>
            <a:lvl1pPr>
              <a:defRPr sz="7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3960224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splash">
    <p:bg>
      <p:bgPr>
        <a:solidFill>
          <a:srgbClr val="C2532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5" name="Group 354"/>
          <p:cNvGrpSpPr/>
          <p:nvPr userDrawn="1"/>
        </p:nvGrpSpPr>
        <p:grpSpPr>
          <a:xfrm>
            <a:off x="3388559" y="1687629"/>
            <a:ext cx="8814356" cy="4310435"/>
            <a:chOff x="2541419" y="1687628"/>
            <a:chExt cx="6610767" cy="4310435"/>
          </a:xfrm>
          <a:solidFill>
            <a:schemeClr val="accent2"/>
          </a:solidFill>
        </p:grpSpPr>
        <p:sp>
          <p:nvSpPr>
            <p:cNvPr id="356" name="Freeform 7"/>
            <p:cNvSpPr>
              <a:spLocks/>
            </p:cNvSpPr>
            <p:nvPr userDrawn="1"/>
          </p:nvSpPr>
          <p:spPr bwMode="auto">
            <a:xfrm>
              <a:off x="3782953" y="1707783"/>
              <a:ext cx="34935" cy="79275"/>
            </a:xfrm>
            <a:custGeom>
              <a:avLst/>
              <a:gdLst>
                <a:gd name="T0" fmla="*/ 11 w 11"/>
                <a:gd name="T1" fmla="*/ 13 h 25"/>
                <a:gd name="T2" fmla="*/ 11 w 11"/>
                <a:gd name="T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25">
                  <a:moveTo>
                    <a:pt x="11" y="13"/>
                  </a:moveTo>
                  <a:cubicBezTo>
                    <a:pt x="0" y="0"/>
                    <a:pt x="4" y="25"/>
                    <a:pt x="1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57" name="Freeform 8"/>
            <p:cNvSpPr>
              <a:spLocks/>
            </p:cNvSpPr>
            <p:nvPr userDrawn="1"/>
          </p:nvSpPr>
          <p:spPr bwMode="auto">
            <a:xfrm>
              <a:off x="4782630" y="1722563"/>
              <a:ext cx="30904" cy="67183"/>
            </a:xfrm>
            <a:custGeom>
              <a:avLst/>
              <a:gdLst>
                <a:gd name="T0" fmla="*/ 10 w 10"/>
                <a:gd name="T1" fmla="*/ 11 h 21"/>
                <a:gd name="T2" fmla="*/ 0 w 10"/>
                <a:gd name="T3" fmla="*/ 11 h 21"/>
                <a:gd name="T4" fmla="*/ 10 w 10"/>
                <a:gd name="T5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1">
                  <a:moveTo>
                    <a:pt x="10" y="11"/>
                  </a:moveTo>
                  <a:cubicBezTo>
                    <a:pt x="5" y="15"/>
                    <a:pt x="1" y="0"/>
                    <a:pt x="0" y="11"/>
                  </a:cubicBezTo>
                  <a:cubicBezTo>
                    <a:pt x="1" y="13"/>
                    <a:pt x="10" y="21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58" name="Freeform 9"/>
            <p:cNvSpPr>
              <a:spLocks/>
            </p:cNvSpPr>
            <p:nvPr userDrawn="1"/>
          </p:nvSpPr>
          <p:spPr bwMode="auto">
            <a:xfrm>
              <a:off x="8294936" y="1770934"/>
              <a:ext cx="34935" cy="51059"/>
            </a:xfrm>
            <a:custGeom>
              <a:avLst/>
              <a:gdLst>
                <a:gd name="T0" fmla="*/ 3 w 11"/>
                <a:gd name="T1" fmla="*/ 0 h 16"/>
                <a:gd name="T2" fmla="*/ 0 w 11"/>
                <a:gd name="T3" fmla="*/ 15 h 16"/>
                <a:gd name="T4" fmla="*/ 3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3" y="0"/>
                  </a:moveTo>
                  <a:cubicBezTo>
                    <a:pt x="4" y="7"/>
                    <a:pt x="0" y="8"/>
                    <a:pt x="0" y="15"/>
                  </a:cubicBezTo>
                  <a:cubicBezTo>
                    <a:pt x="8" y="16"/>
                    <a:pt x="11" y="1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59" name="Freeform 10"/>
            <p:cNvSpPr>
              <a:spLocks/>
            </p:cNvSpPr>
            <p:nvPr userDrawn="1"/>
          </p:nvSpPr>
          <p:spPr bwMode="auto">
            <a:xfrm>
              <a:off x="8345995" y="1783027"/>
              <a:ext cx="18811" cy="57777"/>
            </a:xfrm>
            <a:custGeom>
              <a:avLst/>
              <a:gdLst>
                <a:gd name="T0" fmla="*/ 6 w 6"/>
                <a:gd name="T1" fmla="*/ 18 h 18"/>
                <a:gd name="T2" fmla="*/ 1 w 6"/>
                <a:gd name="T3" fmla="*/ 0 h 18"/>
                <a:gd name="T4" fmla="*/ 6 w 6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8">
                  <a:moveTo>
                    <a:pt x="6" y="18"/>
                  </a:moveTo>
                  <a:cubicBezTo>
                    <a:pt x="6" y="9"/>
                    <a:pt x="5" y="3"/>
                    <a:pt x="1" y="0"/>
                  </a:cubicBezTo>
                  <a:cubicBezTo>
                    <a:pt x="0" y="9"/>
                    <a:pt x="0" y="18"/>
                    <a:pt x="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60" name="Freeform 11"/>
            <p:cNvSpPr>
              <a:spLocks/>
            </p:cNvSpPr>
            <p:nvPr userDrawn="1"/>
          </p:nvSpPr>
          <p:spPr bwMode="auto">
            <a:xfrm>
              <a:off x="8921078" y="1783027"/>
              <a:ext cx="79275" cy="123616"/>
            </a:xfrm>
            <a:custGeom>
              <a:avLst/>
              <a:gdLst>
                <a:gd name="T0" fmla="*/ 5 w 25"/>
                <a:gd name="T1" fmla="*/ 33 h 39"/>
                <a:gd name="T2" fmla="*/ 10 w 25"/>
                <a:gd name="T3" fmla="*/ 37 h 39"/>
                <a:gd name="T4" fmla="*/ 13 w 25"/>
                <a:gd name="T5" fmla="*/ 33 h 39"/>
                <a:gd name="T6" fmla="*/ 19 w 25"/>
                <a:gd name="T7" fmla="*/ 26 h 39"/>
                <a:gd name="T8" fmla="*/ 24 w 25"/>
                <a:gd name="T9" fmla="*/ 18 h 39"/>
                <a:gd name="T10" fmla="*/ 16 w 25"/>
                <a:gd name="T11" fmla="*/ 0 h 39"/>
                <a:gd name="T12" fmla="*/ 2 w 25"/>
                <a:gd name="T13" fmla="*/ 15 h 39"/>
                <a:gd name="T14" fmla="*/ 13 w 25"/>
                <a:gd name="T15" fmla="*/ 11 h 39"/>
                <a:gd name="T16" fmla="*/ 10 w 25"/>
                <a:gd name="T17" fmla="*/ 30 h 39"/>
                <a:gd name="T18" fmla="*/ 0 w 25"/>
                <a:gd name="T19" fmla="*/ 26 h 39"/>
                <a:gd name="T20" fmla="*/ 2 w 25"/>
                <a:gd name="T21" fmla="*/ 37 h 39"/>
                <a:gd name="T22" fmla="*/ 5 w 25"/>
                <a:gd name="T23" fmla="*/ 3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39">
                  <a:moveTo>
                    <a:pt x="5" y="33"/>
                  </a:moveTo>
                  <a:cubicBezTo>
                    <a:pt x="8" y="32"/>
                    <a:pt x="9" y="38"/>
                    <a:pt x="10" y="37"/>
                  </a:cubicBezTo>
                  <a:cubicBezTo>
                    <a:pt x="12" y="36"/>
                    <a:pt x="10" y="33"/>
                    <a:pt x="13" y="33"/>
                  </a:cubicBezTo>
                  <a:cubicBezTo>
                    <a:pt x="17" y="33"/>
                    <a:pt x="16" y="26"/>
                    <a:pt x="19" y="26"/>
                  </a:cubicBezTo>
                  <a:cubicBezTo>
                    <a:pt x="22" y="25"/>
                    <a:pt x="21" y="20"/>
                    <a:pt x="24" y="18"/>
                  </a:cubicBezTo>
                  <a:cubicBezTo>
                    <a:pt x="25" y="8"/>
                    <a:pt x="19" y="6"/>
                    <a:pt x="16" y="0"/>
                  </a:cubicBezTo>
                  <a:cubicBezTo>
                    <a:pt x="10" y="3"/>
                    <a:pt x="0" y="0"/>
                    <a:pt x="2" y="15"/>
                  </a:cubicBezTo>
                  <a:cubicBezTo>
                    <a:pt x="9" y="20"/>
                    <a:pt x="11" y="0"/>
                    <a:pt x="13" y="11"/>
                  </a:cubicBezTo>
                  <a:cubicBezTo>
                    <a:pt x="14" y="21"/>
                    <a:pt x="3" y="20"/>
                    <a:pt x="10" y="30"/>
                  </a:cubicBezTo>
                  <a:cubicBezTo>
                    <a:pt x="5" y="23"/>
                    <a:pt x="5" y="32"/>
                    <a:pt x="0" y="26"/>
                  </a:cubicBezTo>
                  <a:cubicBezTo>
                    <a:pt x="0" y="30"/>
                    <a:pt x="0" y="35"/>
                    <a:pt x="2" y="37"/>
                  </a:cubicBezTo>
                  <a:cubicBezTo>
                    <a:pt x="5" y="39"/>
                    <a:pt x="5" y="33"/>
                    <a:pt x="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61" name="Freeform 12"/>
            <p:cNvSpPr>
              <a:spLocks/>
            </p:cNvSpPr>
            <p:nvPr userDrawn="1"/>
          </p:nvSpPr>
          <p:spPr bwMode="auto">
            <a:xfrm>
              <a:off x="8399741" y="1817962"/>
              <a:ext cx="16124" cy="22842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3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62" name="Freeform 13"/>
            <p:cNvSpPr>
              <a:spLocks/>
            </p:cNvSpPr>
            <p:nvPr userDrawn="1"/>
          </p:nvSpPr>
          <p:spPr bwMode="auto">
            <a:xfrm>
              <a:off x="7350349" y="1840804"/>
              <a:ext cx="14780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63" name="Freeform 14"/>
            <p:cNvSpPr>
              <a:spLocks/>
            </p:cNvSpPr>
            <p:nvPr userDrawn="1"/>
          </p:nvSpPr>
          <p:spPr bwMode="auto">
            <a:xfrm>
              <a:off x="8534106" y="1840804"/>
              <a:ext cx="28217" cy="72557"/>
            </a:xfrm>
            <a:custGeom>
              <a:avLst/>
              <a:gdLst>
                <a:gd name="T0" fmla="*/ 9 w 9"/>
                <a:gd name="T1" fmla="*/ 23 h 23"/>
                <a:gd name="T2" fmla="*/ 3 w 9"/>
                <a:gd name="T3" fmla="*/ 0 h 23"/>
                <a:gd name="T4" fmla="*/ 9 w 9"/>
                <a:gd name="T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3">
                  <a:moveTo>
                    <a:pt x="9" y="23"/>
                  </a:moveTo>
                  <a:cubicBezTo>
                    <a:pt x="6" y="16"/>
                    <a:pt x="8" y="4"/>
                    <a:pt x="3" y="0"/>
                  </a:cubicBezTo>
                  <a:cubicBezTo>
                    <a:pt x="0" y="5"/>
                    <a:pt x="1" y="23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64" name="Freeform 15"/>
            <p:cNvSpPr>
              <a:spLocks/>
            </p:cNvSpPr>
            <p:nvPr userDrawn="1"/>
          </p:nvSpPr>
          <p:spPr bwMode="auto">
            <a:xfrm>
              <a:off x="8986917" y="1831399"/>
              <a:ext cx="38966" cy="104805"/>
            </a:xfrm>
            <a:custGeom>
              <a:avLst/>
              <a:gdLst>
                <a:gd name="T0" fmla="*/ 3 w 12"/>
                <a:gd name="T1" fmla="*/ 33 h 33"/>
                <a:gd name="T2" fmla="*/ 8 w 12"/>
                <a:gd name="T3" fmla="*/ 33 h 33"/>
                <a:gd name="T4" fmla="*/ 11 w 12"/>
                <a:gd name="T5" fmla="*/ 29 h 33"/>
                <a:gd name="T6" fmla="*/ 6 w 12"/>
                <a:gd name="T7" fmla="*/ 18 h 33"/>
                <a:gd name="T8" fmla="*/ 3 w 12"/>
                <a:gd name="T9" fmla="*/ 3 h 33"/>
                <a:gd name="T10" fmla="*/ 3 w 12"/>
                <a:gd name="T1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33">
                  <a:moveTo>
                    <a:pt x="3" y="33"/>
                  </a:moveTo>
                  <a:cubicBezTo>
                    <a:pt x="5" y="33"/>
                    <a:pt x="7" y="33"/>
                    <a:pt x="8" y="33"/>
                  </a:cubicBezTo>
                  <a:cubicBezTo>
                    <a:pt x="9" y="31"/>
                    <a:pt x="9" y="29"/>
                    <a:pt x="11" y="29"/>
                  </a:cubicBezTo>
                  <a:cubicBezTo>
                    <a:pt x="12" y="22"/>
                    <a:pt x="7" y="22"/>
                    <a:pt x="6" y="18"/>
                  </a:cubicBezTo>
                  <a:cubicBezTo>
                    <a:pt x="8" y="15"/>
                    <a:pt x="12" y="0"/>
                    <a:pt x="3" y="3"/>
                  </a:cubicBezTo>
                  <a:cubicBezTo>
                    <a:pt x="0" y="17"/>
                    <a:pt x="1" y="24"/>
                    <a:pt x="3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65" name="Freeform 16"/>
            <p:cNvSpPr>
              <a:spLocks/>
            </p:cNvSpPr>
            <p:nvPr userDrawn="1"/>
          </p:nvSpPr>
          <p:spPr bwMode="auto">
            <a:xfrm>
              <a:off x="8476329" y="1887832"/>
              <a:ext cx="60464" cy="83306"/>
            </a:xfrm>
            <a:custGeom>
              <a:avLst/>
              <a:gdLst>
                <a:gd name="T0" fmla="*/ 11 w 19"/>
                <a:gd name="T1" fmla="*/ 26 h 26"/>
                <a:gd name="T2" fmla="*/ 19 w 19"/>
                <a:gd name="T3" fmla="*/ 15 h 26"/>
                <a:gd name="T4" fmla="*/ 19 w 19"/>
                <a:gd name="T5" fmla="*/ 0 h 26"/>
                <a:gd name="T6" fmla="*/ 11 w 19"/>
                <a:gd name="T7" fmla="*/ 0 h 26"/>
                <a:gd name="T8" fmla="*/ 11 w 19"/>
                <a:gd name="T9" fmla="*/ 15 h 26"/>
                <a:gd name="T10" fmla="*/ 11 w 19"/>
                <a:gd name="T1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6">
                  <a:moveTo>
                    <a:pt x="11" y="26"/>
                  </a:moveTo>
                  <a:cubicBezTo>
                    <a:pt x="14" y="23"/>
                    <a:pt x="11" y="12"/>
                    <a:pt x="19" y="15"/>
                  </a:cubicBezTo>
                  <a:cubicBezTo>
                    <a:pt x="19" y="10"/>
                    <a:pt x="19" y="5"/>
                    <a:pt x="19" y="0"/>
                  </a:cubicBezTo>
                  <a:cubicBezTo>
                    <a:pt x="16" y="0"/>
                    <a:pt x="13" y="0"/>
                    <a:pt x="11" y="0"/>
                  </a:cubicBezTo>
                  <a:cubicBezTo>
                    <a:pt x="7" y="10"/>
                    <a:pt x="11" y="11"/>
                    <a:pt x="11" y="15"/>
                  </a:cubicBezTo>
                  <a:cubicBezTo>
                    <a:pt x="10" y="17"/>
                    <a:pt x="0" y="23"/>
                    <a:pt x="11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66" name="Freeform 17"/>
            <p:cNvSpPr>
              <a:spLocks/>
            </p:cNvSpPr>
            <p:nvPr userDrawn="1"/>
          </p:nvSpPr>
          <p:spPr bwMode="auto">
            <a:xfrm>
              <a:off x="8771933" y="1885145"/>
              <a:ext cx="37622" cy="81963"/>
            </a:xfrm>
            <a:custGeom>
              <a:avLst/>
              <a:gdLst>
                <a:gd name="T0" fmla="*/ 12 w 12"/>
                <a:gd name="T1" fmla="*/ 23 h 26"/>
                <a:gd name="T2" fmla="*/ 1 w 12"/>
                <a:gd name="T3" fmla="*/ 1 h 26"/>
                <a:gd name="T4" fmla="*/ 6 w 12"/>
                <a:gd name="T5" fmla="*/ 16 h 26"/>
                <a:gd name="T6" fmla="*/ 12 w 12"/>
                <a:gd name="T7" fmla="*/ 2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12" y="23"/>
                  </a:moveTo>
                  <a:cubicBezTo>
                    <a:pt x="9" y="15"/>
                    <a:pt x="11" y="0"/>
                    <a:pt x="1" y="1"/>
                  </a:cubicBezTo>
                  <a:cubicBezTo>
                    <a:pt x="0" y="7"/>
                    <a:pt x="5" y="12"/>
                    <a:pt x="6" y="16"/>
                  </a:cubicBezTo>
                  <a:cubicBezTo>
                    <a:pt x="8" y="19"/>
                    <a:pt x="6" y="26"/>
                    <a:pt x="1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67" name="Freeform 18"/>
            <p:cNvSpPr>
              <a:spLocks/>
            </p:cNvSpPr>
            <p:nvPr userDrawn="1"/>
          </p:nvSpPr>
          <p:spPr bwMode="auto">
            <a:xfrm>
              <a:off x="4985522" y="1901268"/>
              <a:ext cx="18811" cy="21498"/>
            </a:xfrm>
            <a:custGeom>
              <a:avLst/>
              <a:gdLst>
                <a:gd name="T0" fmla="*/ 0 w 6"/>
                <a:gd name="T1" fmla="*/ 7 h 7"/>
                <a:gd name="T2" fmla="*/ 6 w 6"/>
                <a:gd name="T3" fmla="*/ 7 h 7"/>
                <a:gd name="T4" fmla="*/ 6 w 6"/>
                <a:gd name="T5" fmla="*/ 0 h 7"/>
                <a:gd name="T6" fmla="*/ 0 w 6"/>
                <a:gd name="T7" fmla="*/ 0 h 7"/>
                <a:gd name="T8" fmla="*/ 0 w 6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7"/>
                  </a:moveTo>
                  <a:cubicBezTo>
                    <a:pt x="2" y="7"/>
                    <a:pt x="4" y="7"/>
                    <a:pt x="6" y="7"/>
                  </a:cubicBezTo>
                  <a:cubicBezTo>
                    <a:pt x="6" y="5"/>
                    <a:pt x="6" y="2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68" name="Freeform 19"/>
            <p:cNvSpPr>
              <a:spLocks/>
            </p:cNvSpPr>
            <p:nvPr userDrawn="1"/>
          </p:nvSpPr>
          <p:spPr bwMode="auto">
            <a:xfrm>
              <a:off x="7707760" y="1901268"/>
              <a:ext cx="16124" cy="21498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4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69" name="Freeform 20"/>
            <p:cNvSpPr>
              <a:spLocks/>
            </p:cNvSpPr>
            <p:nvPr userDrawn="1"/>
          </p:nvSpPr>
          <p:spPr bwMode="auto">
            <a:xfrm>
              <a:off x="5395336" y="1910674"/>
              <a:ext cx="44341" cy="44341"/>
            </a:xfrm>
            <a:custGeom>
              <a:avLst/>
              <a:gdLst>
                <a:gd name="T0" fmla="*/ 0 w 14"/>
                <a:gd name="T1" fmla="*/ 8 h 14"/>
                <a:gd name="T2" fmla="*/ 14 w 14"/>
                <a:gd name="T3" fmla="*/ 4 h 14"/>
                <a:gd name="T4" fmla="*/ 0 w 14"/>
                <a:gd name="T5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0" y="8"/>
                  </a:moveTo>
                  <a:cubicBezTo>
                    <a:pt x="4" y="14"/>
                    <a:pt x="11" y="11"/>
                    <a:pt x="14" y="4"/>
                  </a:cubicBezTo>
                  <a:cubicBezTo>
                    <a:pt x="10" y="6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70" name="Freeform 21"/>
            <p:cNvSpPr>
              <a:spLocks/>
            </p:cNvSpPr>
            <p:nvPr userDrawn="1"/>
          </p:nvSpPr>
          <p:spPr bwMode="auto">
            <a:xfrm>
              <a:off x="7086993" y="1910674"/>
              <a:ext cx="37622" cy="85994"/>
            </a:xfrm>
            <a:custGeom>
              <a:avLst/>
              <a:gdLst>
                <a:gd name="T0" fmla="*/ 2 w 12"/>
                <a:gd name="T1" fmla="*/ 4 h 27"/>
                <a:gd name="T2" fmla="*/ 0 w 12"/>
                <a:gd name="T3" fmla="*/ 19 h 27"/>
                <a:gd name="T4" fmla="*/ 2 w 12"/>
                <a:gd name="T5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7">
                  <a:moveTo>
                    <a:pt x="2" y="4"/>
                  </a:moveTo>
                  <a:cubicBezTo>
                    <a:pt x="2" y="11"/>
                    <a:pt x="2" y="16"/>
                    <a:pt x="0" y="19"/>
                  </a:cubicBezTo>
                  <a:cubicBezTo>
                    <a:pt x="10" y="27"/>
                    <a:pt x="12" y="0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71" name="Freeform 22"/>
            <p:cNvSpPr>
              <a:spLocks/>
            </p:cNvSpPr>
            <p:nvPr userDrawn="1"/>
          </p:nvSpPr>
          <p:spPr bwMode="auto">
            <a:xfrm>
              <a:off x="8844490" y="1906643"/>
              <a:ext cx="22842" cy="69870"/>
            </a:xfrm>
            <a:custGeom>
              <a:avLst/>
              <a:gdLst>
                <a:gd name="T0" fmla="*/ 0 w 7"/>
                <a:gd name="T1" fmla="*/ 5 h 22"/>
                <a:gd name="T2" fmla="*/ 0 w 7"/>
                <a:gd name="T3" fmla="*/ 16 h 22"/>
                <a:gd name="T4" fmla="*/ 0 w 7"/>
                <a:gd name="T5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2">
                  <a:moveTo>
                    <a:pt x="0" y="5"/>
                  </a:moveTo>
                  <a:cubicBezTo>
                    <a:pt x="0" y="9"/>
                    <a:pt x="0" y="13"/>
                    <a:pt x="0" y="16"/>
                  </a:cubicBezTo>
                  <a:cubicBezTo>
                    <a:pt x="7" y="22"/>
                    <a:pt x="7" y="0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72" name="Freeform 23"/>
            <p:cNvSpPr>
              <a:spLocks/>
            </p:cNvSpPr>
            <p:nvPr userDrawn="1"/>
          </p:nvSpPr>
          <p:spPr bwMode="auto">
            <a:xfrm>
              <a:off x="5778276" y="1906643"/>
              <a:ext cx="34935" cy="79275"/>
            </a:xfrm>
            <a:custGeom>
              <a:avLst/>
              <a:gdLst>
                <a:gd name="T0" fmla="*/ 11 w 11"/>
                <a:gd name="T1" fmla="*/ 13 h 25"/>
                <a:gd name="T2" fmla="*/ 11 w 11"/>
                <a:gd name="T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25">
                  <a:moveTo>
                    <a:pt x="11" y="13"/>
                  </a:moveTo>
                  <a:cubicBezTo>
                    <a:pt x="0" y="0"/>
                    <a:pt x="5" y="25"/>
                    <a:pt x="1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73" name="Freeform 24"/>
            <p:cNvSpPr>
              <a:spLocks/>
            </p:cNvSpPr>
            <p:nvPr userDrawn="1"/>
          </p:nvSpPr>
          <p:spPr bwMode="auto">
            <a:xfrm>
              <a:off x="5870988" y="1926798"/>
              <a:ext cx="47028" cy="30904"/>
            </a:xfrm>
            <a:custGeom>
              <a:avLst/>
              <a:gdLst>
                <a:gd name="T0" fmla="*/ 9 w 15"/>
                <a:gd name="T1" fmla="*/ 10 h 10"/>
                <a:gd name="T2" fmla="*/ 14 w 15"/>
                <a:gd name="T3" fmla="*/ 3 h 10"/>
                <a:gd name="T4" fmla="*/ 9 w 15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9" y="10"/>
                  </a:moveTo>
                  <a:cubicBezTo>
                    <a:pt x="8" y="7"/>
                    <a:pt x="15" y="5"/>
                    <a:pt x="14" y="3"/>
                  </a:cubicBezTo>
                  <a:cubicBezTo>
                    <a:pt x="12" y="0"/>
                    <a:pt x="0" y="4"/>
                    <a:pt x="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74" name="Freeform 25"/>
            <p:cNvSpPr>
              <a:spLocks/>
            </p:cNvSpPr>
            <p:nvPr userDrawn="1"/>
          </p:nvSpPr>
          <p:spPr bwMode="auto">
            <a:xfrm>
              <a:off x="6940535" y="1932172"/>
              <a:ext cx="25529" cy="38966"/>
            </a:xfrm>
            <a:custGeom>
              <a:avLst/>
              <a:gdLst>
                <a:gd name="T0" fmla="*/ 8 w 8"/>
                <a:gd name="T1" fmla="*/ 5 h 12"/>
                <a:gd name="T2" fmla="*/ 0 w 8"/>
                <a:gd name="T3" fmla="*/ 1 h 12"/>
                <a:gd name="T4" fmla="*/ 0 w 8"/>
                <a:gd name="T5" fmla="*/ 12 h 12"/>
                <a:gd name="T6" fmla="*/ 5 w 8"/>
                <a:gd name="T7" fmla="*/ 12 h 12"/>
                <a:gd name="T8" fmla="*/ 8 w 8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8" y="5"/>
                  </a:moveTo>
                  <a:cubicBezTo>
                    <a:pt x="5" y="4"/>
                    <a:pt x="4" y="0"/>
                    <a:pt x="0" y="1"/>
                  </a:cubicBezTo>
                  <a:cubicBezTo>
                    <a:pt x="0" y="5"/>
                    <a:pt x="0" y="8"/>
                    <a:pt x="0" y="12"/>
                  </a:cubicBezTo>
                  <a:cubicBezTo>
                    <a:pt x="2" y="12"/>
                    <a:pt x="3" y="12"/>
                    <a:pt x="5" y="12"/>
                  </a:cubicBezTo>
                  <a:cubicBezTo>
                    <a:pt x="5" y="8"/>
                    <a:pt x="7" y="8"/>
                    <a:pt x="8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75" name="Freeform 26"/>
            <p:cNvSpPr>
              <a:spLocks/>
            </p:cNvSpPr>
            <p:nvPr userDrawn="1"/>
          </p:nvSpPr>
          <p:spPr bwMode="auto">
            <a:xfrm>
              <a:off x="5959669" y="1938891"/>
              <a:ext cx="37622" cy="44341"/>
            </a:xfrm>
            <a:custGeom>
              <a:avLst/>
              <a:gdLst>
                <a:gd name="T0" fmla="*/ 10 w 12"/>
                <a:gd name="T1" fmla="*/ 3 h 14"/>
                <a:gd name="T2" fmla="*/ 2 w 12"/>
                <a:gd name="T3" fmla="*/ 6 h 14"/>
                <a:gd name="T4" fmla="*/ 10 w 12"/>
                <a:gd name="T5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4">
                  <a:moveTo>
                    <a:pt x="10" y="3"/>
                  </a:moveTo>
                  <a:cubicBezTo>
                    <a:pt x="8" y="0"/>
                    <a:pt x="3" y="5"/>
                    <a:pt x="2" y="6"/>
                  </a:cubicBezTo>
                  <a:cubicBezTo>
                    <a:pt x="0" y="14"/>
                    <a:pt x="12" y="5"/>
                    <a:pt x="1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76" name="Freeform 27"/>
            <p:cNvSpPr>
              <a:spLocks/>
            </p:cNvSpPr>
            <p:nvPr userDrawn="1"/>
          </p:nvSpPr>
          <p:spPr bwMode="auto">
            <a:xfrm>
              <a:off x="6343954" y="1948296"/>
              <a:ext cx="16124" cy="22842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77" name="Freeform 28"/>
            <p:cNvSpPr>
              <a:spLocks/>
            </p:cNvSpPr>
            <p:nvPr userDrawn="1"/>
          </p:nvSpPr>
          <p:spPr bwMode="auto">
            <a:xfrm>
              <a:off x="8902267" y="1948296"/>
              <a:ext cx="18811" cy="22842"/>
            </a:xfrm>
            <a:custGeom>
              <a:avLst/>
              <a:gdLst>
                <a:gd name="T0" fmla="*/ 6 w 6"/>
                <a:gd name="T1" fmla="*/ 0 h 7"/>
                <a:gd name="T2" fmla="*/ 0 w 6"/>
                <a:gd name="T3" fmla="*/ 0 h 7"/>
                <a:gd name="T4" fmla="*/ 0 w 6"/>
                <a:gd name="T5" fmla="*/ 7 h 7"/>
                <a:gd name="T6" fmla="*/ 6 w 6"/>
                <a:gd name="T7" fmla="*/ 7 h 7"/>
                <a:gd name="T8" fmla="*/ 6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4" y="7"/>
                    <a:pt x="6" y="7"/>
                  </a:cubicBezTo>
                  <a:cubicBezTo>
                    <a:pt x="6" y="5"/>
                    <a:pt x="6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78" name="Freeform 29"/>
            <p:cNvSpPr>
              <a:spLocks/>
            </p:cNvSpPr>
            <p:nvPr userDrawn="1"/>
          </p:nvSpPr>
          <p:spPr bwMode="auto">
            <a:xfrm>
              <a:off x="8986917" y="1948296"/>
              <a:ext cx="29560" cy="37622"/>
            </a:xfrm>
            <a:custGeom>
              <a:avLst/>
              <a:gdLst>
                <a:gd name="T0" fmla="*/ 8 w 9"/>
                <a:gd name="T1" fmla="*/ 11 h 12"/>
                <a:gd name="T2" fmla="*/ 3 w 9"/>
                <a:gd name="T3" fmla="*/ 0 h 12"/>
                <a:gd name="T4" fmla="*/ 0 w 9"/>
                <a:gd name="T5" fmla="*/ 7 h 12"/>
                <a:gd name="T6" fmla="*/ 8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11"/>
                  </a:moveTo>
                  <a:cubicBezTo>
                    <a:pt x="9" y="4"/>
                    <a:pt x="6" y="1"/>
                    <a:pt x="3" y="0"/>
                  </a:cubicBezTo>
                  <a:cubicBezTo>
                    <a:pt x="3" y="3"/>
                    <a:pt x="1" y="4"/>
                    <a:pt x="0" y="7"/>
                  </a:cubicBezTo>
                  <a:cubicBezTo>
                    <a:pt x="4" y="7"/>
                    <a:pt x="4" y="12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79" name="Freeform 30"/>
            <p:cNvSpPr>
              <a:spLocks/>
            </p:cNvSpPr>
            <p:nvPr userDrawn="1"/>
          </p:nvSpPr>
          <p:spPr bwMode="auto">
            <a:xfrm>
              <a:off x="9037976" y="1938891"/>
              <a:ext cx="32248" cy="44341"/>
            </a:xfrm>
            <a:custGeom>
              <a:avLst/>
              <a:gdLst>
                <a:gd name="T0" fmla="*/ 0 w 10"/>
                <a:gd name="T1" fmla="*/ 10 h 14"/>
                <a:gd name="T2" fmla="*/ 8 w 10"/>
                <a:gd name="T3" fmla="*/ 14 h 14"/>
                <a:gd name="T4" fmla="*/ 0 w 10"/>
                <a:gd name="T5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4">
                  <a:moveTo>
                    <a:pt x="0" y="10"/>
                  </a:moveTo>
                  <a:cubicBezTo>
                    <a:pt x="4" y="10"/>
                    <a:pt x="6" y="12"/>
                    <a:pt x="8" y="14"/>
                  </a:cubicBezTo>
                  <a:cubicBezTo>
                    <a:pt x="10" y="2"/>
                    <a:pt x="1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80" name="Freeform 31"/>
            <p:cNvSpPr>
              <a:spLocks/>
            </p:cNvSpPr>
            <p:nvPr userDrawn="1"/>
          </p:nvSpPr>
          <p:spPr bwMode="auto">
            <a:xfrm>
              <a:off x="6521316" y="1983231"/>
              <a:ext cx="48371" cy="51059"/>
            </a:xfrm>
            <a:custGeom>
              <a:avLst/>
              <a:gdLst>
                <a:gd name="T0" fmla="*/ 6 w 15"/>
                <a:gd name="T1" fmla="*/ 11 h 16"/>
                <a:gd name="T2" fmla="*/ 3 w 15"/>
                <a:gd name="T3" fmla="*/ 15 h 16"/>
                <a:gd name="T4" fmla="*/ 14 w 15"/>
                <a:gd name="T5" fmla="*/ 0 h 16"/>
                <a:gd name="T6" fmla="*/ 0 w 15"/>
                <a:gd name="T7" fmla="*/ 7 h 16"/>
                <a:gd name="T8" fmla="*/ 6 w 15"/>
                <a:gd name="T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6" y="11"/>
                  </a:moveTo>
                  <a:cubicBezTo>
                    <a:pt x="4" y="11"/>
                    <a:pt x="2" y="11"/>
                    <a:pt x="3" y="15"/>
                  </a:cubicBezTo>
                  <a:cubicBezTo>
                    <a:pt x="11" y="16"/>
                    <a:pt x="15" y="11"/>
                    <a:pt x="14" y="0"/>
                  </a:cubicBezTo>
                  <a:cubicBezTo>
                    <a:pt x="9" y="2"/>
                    <a:pt x="2" y="2"/>
                    <a:pt x="0" y="7"/>
                  </a:cubicBezTo>
                  <a:cubicBezTo>
                    <a:pt x="2" y="8"/>
                    <a:pt x="5" y="7"/>
                    <a:pt x="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81" name="Freeform 32"/>
            <p:cNvSpPr>
              <a:spLocks/>
            </p:cNvSpPr>
            <p:nvPr userDrawn="1"/>
          </p:nvSpPr>
          <p:spPr bwMode="auto">
            <a:xfrm>
              <a:off x="7397377" y="1973826"/>
              <a:ext cx="51059" cy="37622"/>
            </a:xfrm>
            <a:custGeom>
              <a:avLst/>
              <a:gdLst>
                <a:gd name="T0" fmla="*/ 12 w 16"/>
                <a:gd name="T1" fmla="*/ 10 h 12"/>
                <a:gd name="T2" fmla="*/ 1 w 16"/>
                <a:gd name="T3" fmla="*/ 6 h 12"/>
                <a:gd name="T4" fmla="*/ 12 w 16"/>
                <a:gd name="T5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2" y="10"/>
                  </a:moveTo>
                  <a:cubicBezTo>
                    <a:pt x="16" y="0"/>
                    <a:pt x="0" y="0"/>
                    <a:pt x="1" y="6"/>
                  </a:cubicBezTo>
                  <a:cubicBezTo>
                    <a:pt x="5" y="8"/>
                    <a:pt x="6" y="12"/>
                    <a:pt x="1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82" name="Freeform 33"/>
            <p:cNvSpPr>
              <a:spLocks/>
            </p:cNvSpPr>
            <p:nvPr userDrawn="1"/>
          </p:nvSpPr>
          <p:spPr bwMode="auto">
            <a:xfrm>
              <a:off x="7508900" y="1983231"/>
              <a:ext cx="40310" cy="37622"/>
            </a:xfrm>
            <a:custGeom>
              <a:avLst/>
              <a:gdLst>
                <a:gd name="T0" fmla="*/ 12 w 13"/>
                <a:gd name="T1" fmla="*/ 11 h 12"/>
                <a:gd name="T2" fmla="*/ 1 w 13"/>
                <a:gd name="T3" fmla="*/ 0 h 12"/>
                <a:gd name="T4" fmla="*/ 12 w 13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2" y="11"/>
                  </a:moveTo>
                  <a:cubicBezTo>
                    <a:pt x="13" y="1"/>
                    <a:pt x="6" y="1"/>
                    <a:pt x="1" y="0"/>
                  </a:cubicBezTo>
                  <a:cubicBezTo>
                    <a:pt x="0" y="9"/>
                    <a:pt x="5" y="12"/>
                    <a:pt x="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83" name="Freeform 34"/>
            <p:cNvSpPr>
              <a:spLocks/>
            </p:cNvSpPr>
            <p:nvPr userDrawn="1"/>
          </p:nvSpPr>
          <p:spPr bwMode="auto">
            <a:xfrm>
              <a:off x="6061787" y="1989949"/>
              <a:ext cx="24186" cy="28217"/>
            </a:xfrm>
            <a:custGeom>
              <a:avLst/>
              <a:gdLst>
                <a:gd name="T0" fmla="*/ 0 w 8"/>
                <a:gd name="T1" fmla="*/ 1 h 9"/>
                <a:gd name="T2" fmla="*/ 0 w 8"/>
                <a:gd name="T3" fmla="*/ 9 h 9"/>
                <a:gd name="T4" fmla="*/ 8 w 8"/>
                <a:gd name="T5" fmla="*/ 9 h 9"/>
                <a:gd name="T6" fmla="*/ 0 w 8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3" y="9"/>
                    <a:pt x="5" y="9"/>
                    <a:pt x="8" y="9"/>
                  </a:cubicBezTo>
                  <a:cubicBezTo>
                    <a:pt x="8" y="2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84" name="Freeform 35"/>
            <p:cNvSpPr>
              <a:spLocks/>
            </p:cNvSpPr>
            <p:nvPr userDrawn="1"/>
          </p:nvSpPr>
          <p:spPr bwMode="auto">
            <a:xfrm>
              <a:off x="6290208" y="1976513"/>
              <a:ext cx="60464" cy="69870"/>
            </a:xfrm>
            <a:custGeom>
              <a:avLst/>
              <a:gdLst>
                <a:gd name="T0" fmla="*/ 19 w 19"/>
                <a:gd name="T1" fmla="*/ 13 h 22"/>
                <a:gd name="T2" fmla="*/ 0 w 19"/>
                <a:gd name="T3" fmla="*/ 13 h 22"/>
                <a:gd name="T4" fmla="*/ 19 w 19"/>
                <a:gd name="T5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22">
                  <a:moveTo>
                    <a:pt x="19" y="13"/>
                  </a:moveTo>
                  <a:cubicBezTo>
                    <a:pt x="13" y="11"/>
                    <a:pt x="2" y="0"/>
                    <a:pt x="0" y="13"/>
                  </a:cubicBezTo>
                  <a:cubicBezTo>
                    <a:pt x="9" y="8"/>
                    <a:pt x="17" y="22"/>
                    <a:pt x="19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85" name="Freeform 36"/>
            <p:cNvSpPr>
              <a:spLocks/>
            </p:cNvSpPr>
            <p:nvPr userDrawn="1"/>
          </p:nvSpPr>
          <p:spPr bwMode="auto">
            <a:xfrm>
              <a:off x="6632839" y="1980544"/>
              <a:ext cx="72557" cy="72557"/>
            </a:xfrm>
            <a:custGeom>
              <a:avLst/>
              <a:gdLst>
                <a:gd name="T0" fmla="*/ 14 w 23"/>
                <a:gd name="T1" fmla="*/ 23 h 23"/>
                <a:gd name="T2" fmla="*/ 14 w 23"/>
                <a:gd name="T3" fmla="*/ 4 h 23"/>
                <a:gd name="T4" fmla="*/ 3 w 23"/>
                <a:gd name="T5" fmla="*/ 4 h 23"/>
                <a:gd name="T6" fmla="*/ 0 w 23"/>
                <a:gd name="T7" fmla="*/ 16 h 23"/>
                <a:gd name="T8" fmla="*/ 14 w 23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4" y="23"/>
                  </a:moveTo>
                  <a:cubicBezTo>
                    <a:pt x="15" y="16"/>
                    <a:pt x="23" y="7"/>
                    <a:pt x="14" y="4"/>
                  </a:cubicBezTo>
                  <a:cubicBezTo>
                    <a:pt x="13" y="22"/>
                    <a:pt x="10" y="0"/>
                    <a:pt x="3" y="4"/>
                  </a:cubicBezTo>
                  <a:cubicBezTo>
                    <a:pt x="3" y="10"/>
                    <a:pt x="1" y="13"/>
                    <a:pt x="0" y="16"/>
                  </a:cubicBezTo>
                  <a:cubicBezTo>
                    <a:pt x="9" y="12"/>
                    <a:pt x="8" y="21"/>
                    <a:pt x="14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86" name="Freeform 37"/>
            <p:cNvSpPr>
              <a:spLocks/>
            </p:cNvSpPr>
            <p:nvPr userDrawn="1"/>
          </p:nvSpPr>
          <p:spPr bwMode="auto">
            <a:xfrm>
              <a:off x="8397054" y="1989949"/>
              <a:ext cx="32248" cy="51059"/>
            </a:xfrm>
            <a:custGeom>
              <a:avLst/>
              <a:gdLst>
                <a:gd name="T0" fmla="*/ 1 w 10"/>
                <a:gd name="T1" fmla="*/ 1 h 16"/>
                <a:gd name="T2" fmla="*/ 9 w 10"/>
                <a:gd name="T3" fmla="*/ 16 h 16"/>
                <a:gd name="T4" fmla="*/ 1 w 10"/>
                <a:gd name="T5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6">
                  <a:moveTo>
                    <a:pt x="1" y="1"/>
                  </a:moveTo>
                  <a:cubicBezTo>
                    <a:pt x="0" y="11"/>
                    <a:pt x="5" y="13"/>
                    <a:pt x="9" y="16"/>
                  </a:cubicBezTo>
                  <a:cubicBezTo>
                    <a:pt x="10" y="7"/>
                    <a:pt x="8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87" name="Freeform 38"/>
            <p:cNvSpPr>
              <a:spLocks/>
            </p:cNvSpPr>
            <p:nvPr userDrawn="1"/>
          </p:nvSpPr>
          <p:spPr bwMode="auto">
            <a:xfrm>
              <a:off x="7178362" y="2002042"/>
              <a:ext cx="76588" cy="83306"/>
            </a:xfrm>
            <a:custGeom>
              <a:avLst/>
              <a:gdLst>
                <a:gd name="T0" fmla="*/ 14 w 24"/>
                <a:gd name="T1" fmla="*/ 16 h 26"/>
                <a:gd name="T2" fmla="*/ 24 w 24"/>
                <a:gd name="T3" fmla="*/ 16 h 26"/>
                <a:gd name="T4" fmla="*/ 16 w 24"/>
                <a:gd name="T5" fmla="*/ 16 h 26"/>
                <a:gd name="T6" fmla="*/ 11 w 24"/>
                <a:gd name="T7" fmla="*/ 5 h 26"/>
                <a:gd name="T8" fmla="*/ 6 w 24"/>
                <a:gd name="T9" fmla="*/ 5 h 26"/>
                <a:gd name="T10" fmla="*/ 0 w 24"/>
                <a:gd name="T11" fmla="*/ 20 h 26"/>
                <a:gd name="T12" fmla="*/ 14 w 24"/>
                <a:gd name="T13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6">
                  <a:moveTo>
                    <a:pt x="14" y="16"/>
                  </a:moveTo>
                  <a:cubicBezTo>
                    <a:pt x="16" y="22"/>
                    <a:pt x="24" y="26"/>
                    <a:pt x="24" y="16"/>
                  </a:cubicBezTo>
                  <a:cubicBezTo>
                    <a:pt x="22" y="16"/>
                    <a:pt x="19" y="16"/>
                    <a:pt x="16" y="16"/>
                  </a:cubicBezTo>
                  <a:cubicBezTo>
                    <a:pt x="17" y="9"/>
                    <a:pt x="13" y="9"/>
                    <a:pt x="11" y="5"/>
                  </a:cubicBezTo>
                  <a:cubicBezTo>
                    <a:pt x="11" y="1"/>
                    <a:pt x="6" y="0"/>
                    <a:pt x="6" y="5"/>
                  </a:cubicBezTo>
                  <a:cubicBezTo>
                    <a:pt x="14" y="10"/>
                    <a:pt x="1" y="15"/>
                    <a:pt x="0" y="20"/>
                  </a:cubicBezTo>
                  <a:cubicBezTo>
                    <a:pt x="6" y="21"/>
                    <a:pt x="11" y="19"/>
                    <a:pt x="1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88" name="Freeform 39"/>
            <p:cNvSpPr>
              <a:spLocks/>
            </p:cNvSpPr>
            <p:nvPr userDrawn="1"/>
          </p:nvSpPr>
          <p:spPr bwMode="auto">
            <a:xfrm>
              <a:off x="6733613" y="2018166"/>
              <a:ext cx="25529" cy="22842"/>
            </a:xfrm>
            <a:custGeom>
              <a:avLst/>
              <a:gdLst>
                <a:gd name="T0" fmla="*/ 8 w 8"/>
                <a:gd name="T1" fmla="*/ 0 h 7"/>
                <a:gd name="T2" fmla="*/ 0 w 8"/>
                <a:gd name="T3" fmla="*/ 7 h 7"/>
                <a:gd name="T4" fmla="*/ 8 w 8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7">
                  <a:moveTo>
                    <a:pt x="8" y="0"/>
                  </a:moveTo>
                  <a:cubicBezTo>
                    <a:pt x="4" y="0"/>
                    <a:pt x="2" y="3"/>
                    <a:pt x="0" y="7"/>
                  </a:cubicBezTo>
                  <a:cubicBezTo>
                    <a:pt x="5" y="7"/>
                    <a:pt x="7" y="4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89" name="Freeform 40"/>
            <p:cNvSpPr>
              <a:spLocks/>
            </p:cNvSpPr>
            <p:nvPr userDrawn="1"/>
          </p:nvSpPr>
          <p:spPr bwMode="auto">
            <a:xfrm>
              <a:off x="8993635" y="2015479"/>
              <a:ext cx="28217" cy="44341"/>
            </a:xfrm>
            <a:custGeom>
              <a:avLst/>
              <a:gdLst>
                <a:gd name="T0" fmla="*/ 9 w 9"/>
                <a:gd name="T1" fmla="*/ 1 h 14"/>
                <a:gd name="T2" fmla="*/ 1 w 9"/>
                <a:gd name="T3" fmla="*/ 12 h 14"/>
                <a:gd name="T4" fmla="*/ 9 w 9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9" y="1"/>
                  </a:moveTo>
                  <a:cubicBezTo>
                    <a:pt x="3" y="0"/>
                    <a:pt x="0" y="4"/>
                    <a:pt x="1" y="12"/>
                  </a:cubicBezTo>
                  <a:cubicBezTo>
                    <a:pt x="8" y="14"/>
                    <a:pt x="6" y="4"/>
                    <a:pt x="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90" name="Freeform 41"/>
            <p:cNvSpPr>
              <a:spLocks/>
            </p:cNvSpPr>
            <p:nvPr userDrawn="1"/>
          </p:nvSpPr>
          <p:spPr bwMode="auto">
            <a:xfrm>
              <a:off x="6949941" y="2027572"/>
              <a:ext cx="56433" cy="95399"/>
            </a:xfrm>
            <a:custGeom>
              <a:avLst/>
              <a:gdLst>
                <a:gd name="T0" fmla="*/ 13 w 18"/>
                <a:gd name="T1" fmla="*/ 26 h 30"/>
                <a:gd name="T2" fmla="*/ 8 w 18"/>
                <a:gd name="T3" fmla="*/ 19 h 30"/>
                <a:gd name="T4" fmla="*/ 16 w 18"/>
                <a:gd name="T5" fmla="*/ 1 h 30"/>
                <a:gd name="T6" fmla="*/ 0 w 18"/>
                <a:gd name="T7" fmla="*/ 15 h 30"/>
                <a:gd name="T8" fmla="*/ 13 w 18"/>
                <a:gd name="T9" fmla="*/ 2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30">
                  <a:moveTo>
                    <a:pt x="13" y="26"/>
                  </a:moveTo>
                  <a:cubicBezTo>
                    <a:pt x="14" y="9"/>
                    <a:pt x="11" y="13"/>
                    <a:pt x="8" y="19"/>
                  </a:cubicBezTo>
                  <a:cubicBezTo>
                    <a:pt x="5" y="5"/>
                    <a:pt x="18" y="13"/>
                    <a:pt x="16" y="1"/>
                  </a:cubicBezTo>
                  <a:cubicBezTo>
                    <a:pt x="7" y="0"/>
                    <a:pt x="5" y="10"/>
                    <a:pt x="0" y="15"/>
                  </a:cubicBezTo>
                  <a:cubicBezTo>
                    <a:pt x="9" y="13"/>
                    <a:pt x="3" y="30"/>
                    <a:pt x="13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91" name="Freeform 42"/>
            <p:cNvSpPr>
              <a:spLocks/>
            </p:cNvSpPr>
            <p:nvPr userDrawn="1"/>
          </p:nvSpPr>
          <p:spPr bwMode="auto">
            <a:xfrm>
              <a:off x="7061464" y="2020853"/>
              <a:ext cx="40310" cy="60464"/>
            </a:xfrm>
            <a:custGeom>
              <a:avLst/>
              <a:gdLst>
                <a:gd name="T0" fmla="*/ 13 w 13"/>
                <a:gd name="T1" fmla="*/ 6 h 19"/>
                <a:gd name="T2" fmla="*/ 0 w 13"/>
                <a:gd name="T3" fmla="*/ 10 h 19"/>
                <a:gd name="T4" fmla="*/ 13 w 13"/>
                <a:gd name="T5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9">
                  <a:moveTo>
                    <a:pt x="13" y="6"/>
                  </a:moveTo>
                  <a:cubicBezTo>
                    <a:pt x="7" y="4"/>
                    <a:pt x="3" y="0"/>
                    <a:pt x="0" y="10"/>
                  </a:cubicBezTo>
                  <a:cubicBezTo>
                    <a:pt x="8" y="8"/>
                    <a:pt x="11" y="19"/>
                    <a:pt x="1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92" name="Freeform 43"/>
            <p:cNvSpPr>
              <a:spLocks/>
            </p:cNvSpPr>
            <p:nvPr userDrawn="1"/>
          </p:nvSpPr>
          <p:spPr bwMode="auto">
            <a:xfrm>
              <a:off x="7250919" y="2041008"/>
              <a:ext cx="67183" cy="49715"/>
            </a:xfrm>
            <a:custGeom>
              <a:avLst/>
              <a:gdLst>
                <a:gd name="T0" fmla="*/ 9 w 21"/>
                <a:gd name="T1" fmla="*/ 0 h 16"/>
                <a:gd name="T2" fmla="*/ 4 w 21"/>
                <a:gd name="T3" fmla="*/ 0 h 16"/>
                <a:gd name="T4" fmla="*/ 9 w 2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6">
                  <a:moveTo>
                    <a:pt x="9" y="0"/>
                  </a:moveTo>
                  <a:cubicBezTo>
                    <a:pt x="9" y="5"/>
                    <a:pt x="6" y="2"/>
                    <a:pt x="4" y="0"/>
                  </a:cubicBezTo>
                  <a:cubicBezTo>
                    <a:pt x="0" y="16"/>
                    <a:pt x="21" y="4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93" name="Freeform 44"/>
            <p:cNvSpPr>
              <a:spLocks/>
            </p:cNvSpPr>
            <p:nvPr userDrawn="1"/>
          </p:nvSpPr>
          <p:spPr bwMode="auto">
            <a:xfrm>
              <a:off x="7324820" y="2034290"/>
              <a:ext cx="44341" cy="88681"/>
            </a:xfrm>
            <a:custGeom>
              <a:avLst/>
              <a:gdLst>
                <a:gd name="T0" fmla="*/ 8 w 14"/>
                <a:gd name="T1" fmla="*/ 28 h 28"/>
                <a:gd name="T2" fmla="*/ 13 w 14"/>
                <a:gd name="T3" fmla="*/ 21 h 28"/>
                <a:gd name="T4" fmla="*/ 5 w 14"/>
                <a:gd name="T5" fmla="*/ 2 h 28"/>
                <a:gd name="T6" fmla="*/ 8 w 14"/>
                <a:gd name="T7" fmla="*/ 17 h 28"/>
                <a:gd name="T8" fmla="*/ 8 w 14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8">
                  <a:moveTo>
                    <a:pt x="8" y="28"/>
                  </a:moveTo>
                  <a:cubicBezTo>
                    <a:pt x="8" y="23"/>
                    <a:pt x="13" y="25"/>
                    <a:pt x="13" y="21"/>
                  </a:cubicBezTo>
                  <a:cubicBezTo>
                    <a:pt x="7" y="19"/>
                    <a:pt x="14" y="0"/>
                    <a:pt x="5" y="2"/>
                  </a:cubicBezTo>
                  <a:cubicBezTo>
                    <a:pt x="0" y="10"/>
                    <a:pt x="6" y="9"/>
                    <a:pt x="8" y="17"/>
                  </a:cubicBezTo>
                  <a:cubicBezTo>
                    <a:pt x="4" y="17"/>
                    <a:pt x="5" y="27"/>
                    <a:pt x="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94" name="Freeform 45"/>
            <p:cNvSpPr>
              <a:spLocks/>
            </p:cNvSpPr>
            <p:nvPr userDrawn="1"/>
          </p:nvSpPr>
          <p:spPr bwMode="auto">
            <a:xfrm>
              <a:off x="7504869" y="2041008"/>
              <a:ext cx="51059" cy="116898"/>
            </a:xfrm>
            <a:custGeom>
              <a:avLst/>
              <a:gdLst>
                <a:gd name="T0" fmla="*/ 7 w 16"/>
                <a:gd name="T1" fmla="*/ 0 h 37"/>
                <a:gd name="T2" fmla="*/ 5 w 16"/>
                <a:gd name="T3" fmla="*/ 15 h 37"/>
                <a:gd name="T4" fmla="*/ 10 w 16"/>
                <a:gd name="T5" fmla="*/ 22 h 37"/>
                <a:gd name="T6" fmla="*/ 5 w 16"/>
                <a:gd name="T7" fmla="*/ 37 h 37"/>
                <a:gd name="T8" fmla="*/ 16 w 16"/>
                <a:gd name="T9" fmla="*/ 30 h 37"/>
                <a:gd name="T10" fmla="*/ 13 w 16"/>
                <a:gd name="T11" fmla="*/ 22 h 37"/>
                <a:gd name="T12" fmla="*/ 7 w 16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37">
                  <a:moveTo>
                    <a:pt x="7" y="0"/>
                  </a:moveTo>
                  <a:cubicBezTo>
                    <a:pt x="2" y="10"/>
                    <a:pt x="8" y="10"/>
                    <a:pt x="5" y="15"/>
                  </a:cubicBezTo>
                  <a:cubicBezTo>
                    <a:pt x="3" y="17"/>
                    <a:pt x="10" y="21"/>
                    <a:pt x="10" y="22"/>
                  </a:cubicBezTo>
                  <a:cubicBezTo>
                    <a:pt x="10" y="25"/>
                    <a:pt x="0" y="30"/>
                    <a:pt x="5" y="37"/>
                  </a:cubicBezTo>
                  <a:cubicBezTo>
                    <a:pt x="10" y="37"/>
                    <a:pt x="14" y="35"/>
                    <a:pt x="16" y="30"/>
                  </a:cubicBezTo>
                  <a:cubicBezTo>
                    <a:pt x="9" y="30"/>
                    <a:pt x="12" y="28"/>
                    <a:pt x="13" y="22"/>
                  </a:cubicBezTo>
                  <a:cubicBezTo>
                    <a:pt x="14" y="14"/>
                    <a:pt x="9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95" name="Freeform 46"/>
            <p:cNvSpPr>
              <a:spLocks/>
            </p:cNvSpPr>
            <p:nvPr userDrawn="1"/>
          </p:nvSpPr>
          <p:spPr bwMode="auto">
            <a:xfrm>
              <a:off x="6753768" y="2046383"/>
              <a:ext cx="37622" cy="57777"/>
            </a:xfrm>
            <a:custGeom>
              <a:avLst/>
              <a:gdLst>
                <a:gd name="T0" fmla="*/ 2 w 12"/>
                <a:gd name="T1" fmla="*/ 6 h 18"/>
                <a:gd name="T2" fmla="*/ 0 w 12"/>
                <a:gd name="T3" fmla="*/ 13 h 18"/>
                <a:gd name="T4" fmla="*/ 2 w 12"/>
                <a:gd name="T5" fmla="*/ 2 h 18"/>
                <a:gd name="T6" fmla="*/ 2 w 12"/>
                <a:gd name="T7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8">
                  <a:moveTo>
                    <a:pt x="2" y="6"/>
                  </a:moveTo>
                  <a:cubicBezTo>
                    <a:pt x="2" y="6"/>
                    <a:pt x="0" y="13"/>
                    <a:pt x="0" y="13"/>
                  </a:cubicBezTo>
                  <a:cubicBezTo>
                    <a:pt x="3" y="18"/>
                    <a:pt x="12" y="0"/>
                    <a:pt x="2" y="2"/>
                  </a:cubicBezTo>
                  <a:cubicBezTo>
                    <a:pt x="2" y="2"/>
                    <a:pt x="3" y="5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96" name="Freeform 47"/>
            <p:cNvSpPr>
              <a:spLocks/>
            </p:cNvSpPr>
            <p:nvPr userDrawn="1"/>
          </p:nvSpPr>
          <p:spPr bwMode="auto">
            <a:xfrm>
              <a:off x="6171966" y="2071912"/>
              <a:ext cx="48371" cy="29560"/>
            </a:xfrm>
            <a:custGeom>
              <a:avLst/>
              <a:gdLst>
                <a:gd name="T0" fmla="*/ 8 w 15"/>
                <a:gd name="T1" fmla="*/ 1 h 9"/>
                <a:gd name="T2" fmla="*/ 0 w 15"/>
                <a:gd name="T3" fmla="*/ 5 h 9"/>
                <a:gd name="T4" fmla="*/ 8 w 15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8" y="1"/>
                  </a:moveTo>
                  <a:cubicBezTo>
                    <a:pt x="6" y="0"/>
                    <a:pt x="0" y="2"/>
                    <a:pt x="0" y="5"/>
                  </a:cubicBezTo>
                  <a:cubicBezTo>
                    <a:pt x="0" y="9"/>
                    <a:pt x="15" y="7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97" name="Freeform 48"/>
            <p:cNvSpPr>
              <a:spLocks/>
            </p:cNvSpPr>
            <p:nvPr userDrawn="1"/>
          </p:nvSpPr>
          <p:spPr bwMode="auto">
            <a:xfrm>
              <a:off x="7054746" y="2075943"/>
              <a:ext cx="34935" cy="34935"/>
            </a:xfrm>
            <a:custGeom>
              <a:avLst/>
              <a:gdLst>
                <a:gd name="T0" fmla="*/ 10 w 11"/>
                <a:gd name="T1" fmla="*/ 11 h 11"/>
                <a:gd name="T2" fmla="*/ 2 w 11"/>
                <a:gd name="T3" fmla="*/ 0 h 11"/>
                <a:gd name="T4" fmla="*/ 10 w 11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1">
                  <a:moveTo>
                    <a:pt x="10" y="11"/>
                  </a:moveTo>
                  <a:cubicBezTo>
                    <a:pt x="11" y="1"/>
                    <a:pt x="4" y="4"/>
                    <a:pt x="2" y="0"/>
                  </a:cubicBezTo>
                  <a:cubicBezTo>
                    <a:pt x="0" y="10"/>
                    <a:pt x="7" y="8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98" name="Freeform 49"/>
            <p:cNvSpPr>
              <a:spLocks/>
            </p:cNvSpPr>
            <p:nvPr userDrawn="1"/>
          </p:nvSpPr>
          <p:spPr bwMode="auto">
            <a:xfrm>
              <a:off x="7111179" y="2075943"/>
              <a:ext cx="48371" cy="72557"/>
            </a:xfrm>
            <a:custGeom>
              <a:avLst/>
              <a:gdLst>
                <a:gd name="T0" fmla="*/ 2 w 15"/>
                <a:gd name="T1" fmla="*/ 0 h 23"/>
                <a:gd name="T2" fmla="*/ 2 w 15"/>
                <a:gd name="T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3">
                  <a:moveTo>
                    <a:pt x="2" y="0"/>
                  </a:moveTo>
                  <a:cubicBezTo>
                    <a:pt x="0" y="23"/>
                    <a:pt x="15" y="3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99" name="Freeform 50"/>
            <p:cNvSpPr>
              <a:spLocks/>
            </p:cNvSpPr>
            <p:nvPr userDrawn="1"/>
          </p:nvSpPr>
          <p:spPr bwMode="auto">
            <a:xfrm>
              <a:off x="7143427" y="2088036"/>
              <a:ext cx="28217" cy="37622"/>
            </a:xfrm>
            <a:custGeom>
              <a:avLst/>
              <a:gdLst>
                <a:gd name="T0" fmla="*/ 8 w 9"/>
                <a:gd name="T1" fmla="*/ 11 h 12"/>
                <a:gd name="T2" fmla="*/ 3 w 9"/>
                <a:gd name="T3" fmla="*/ 0 h 12"/>
                <a:gd name="T4" fmla="*/ 0 w 9"/>
                <a:gd name="T5" fmla="*/ 7 h 12"/>
                <a:gd name="T6" fmla="*/ 8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11"/>
                  </a:moveTo>
                  <a:cubicBezTo>
                    <a:pt x="9" y="5"/>
                    <a:pt x="6" y="2"/>
                    <a:pt x="3" y="0"/>
                  </a:cubicBezTo>
                  <a:cubicBezTo>
                    <a:pt x="3" y="4"/>
                    <a:pt x="1" y="4"/>
                    <a:pt x="0" y="7"/>
                  </a:cubicBezTo>
                  <a:cubicBezTo>
                    <a:pt x="4" y="8"/>
                    <a:pt x="4" y="12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00" name="Freeform 51"/>
            <p:cNvSpPr>
              <a:spLocks/>
            </p:cNvSpPr>
            <p:nvPr userDrawn="1"/>
          </p:nvSpPr>
          <p:spPr bwMode="auto">
            <a:xfrm>
              <a:off x="6765860" y="2097442"/>
              <a:ext cx="41653" cy="38966"/>
            </a:xfrm>
            <a:custGeom>
              <a:avLst/>
              <a:gdLst>
                <a:gd name="T0" fmla="*/ 12 w 13"/>
                <a:gd name="T1" fmla="*/ 4 h 12"/>
                <a:gd name="T2" fmla="*/ 4 w 13"/>
                <a:gd name="T3" fmla="*/ 1 h 12"/>
                <a:gd name="T4" fmla="*/ 12 w 13"/>
                <a:gd name="T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2" y="4"/>
                  </a:moveTo>
                  <a:cubicBezTo>
                    <a:pt x="8" y="4"/>
                    <a:pt x="8" y="0"/>
                    <a:pt x="4" y="1"/>
                  </a:cubicBezTo>
                  <a:cubicBezTo>
                    <a:pt x="0" y="10"/>
                    <a:pt x="13" y="12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01" name="Freeform 52"/>
            <p:cNvSpPr>
              <a:spLocks/>
            </p:cNvSpPr>
            <p:nvPr userDrawn="1"/>
          </p:nvSpPr>
          <p:spPr bwMode="auto">
            <a:xfrm>
              <a:off x="7400064" y="2148500"/>
              <a:ext cx="32248" cy="34935"/>
            </a:xfrm>
            <a:custGeom>
              <a:avLst/>
              <a:gdLst>
                <a:gd name="T0" fmla="*/ 8 w 10"/>
                <a:gd name="T1" fmla="*/ 11 h 11"/>
                <a:gd name="T2" fmla="*/ 0 w 10"/>
                <a:gd name="T3" fmla="*/ 0 h 11"/>
                <a:gd name="T4" fmla="*/ 8 w 10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8" y="11"/>
                  </a:moveTo>
                  <a:cubicBezTo>
                    <a:pt x="10" y="1"/>
                    <a:pt x="3" y="3"/>
                    <a:pt x="0" y="0"/>
                  </a:cubicBezTo>
                  <a:cubicBezTo>
                    <a:pt x="0" y="8"/>
                    <a:pt x="2" y="11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02" name="Freeform 53"/>
            <p:cNvSpPr>
              <a:spLocks/>
            </p:cNvSpPr>
            <p:nvPr userDrawn="1"/>
          </p:nvSpPr>
          <p:spPr bwMode="auto">
            <a:xfrm>
              <a:off x="7674169" y="2155219"/>
              <a:ext cx="37622" cy="37622"/>
            </a:xfrm>
            <a:custGeom>
              <a:avLst/>
              <a:gdLst>
                <a:gd name="T0" fmla="*/ 6 w 12"/>
                <a:gd name="T1" fmla="*/ 12 h 12"/>
                <a:gd name="T2" fmla="*/ 11 w 12"/>
                <a:gd name="T3" fmla="*/ 1 h 12"/>
                <a:gd name="T4" fmla="*/ 0 w 12"/>
                <a:gd name="T5" fmla="*/ 5 h 12"/>
                <a:gd name="T6" fmla="*/ 6 w 12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6" y="7"/>
                    <a:pt x="12" y="9"/>
                    <a:pt x="11" y="1"/>
                  </a:cubicBezTo>
                  <a:cubicBezTo>
                    <a:pt x="7" y="2"/>
                    <a:pt x="1" y="0"/>
                    <a:pt x="0" y="5"/>
                  </a:cubicBezTo>
                  <a:cubicBezTo>
                    <a:pt x="4" y="5"/>
                    <a:pt x="3" y="11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03" name="Freeform 54"/>
            <p:cNvSpPr>
              <a:spLocks/>
            </p:cNvSpPr>
            <p:nvPr userDrawn="1"/>
          </p:nvSpPr>
          <p:spPr bwMode="auto">
            <a:xfrm>
              <a:off x="7991271" y="2157906"/>
              <a:ext cx="56433" cy="47028"/>
            </a:xfrm>
            <a:custGeom>
              <a:avLst/>
              <a:gdLst>
                <a:gd name="T0" fmla="*/ 13 w 18"/>
                <a:gd name="T1" fmla="*/ 15 h 15"/>
                <a:gd name="T2" fmla="*/ 18 w 18"/>
                <a:gd name="T3" fmla="*/ 4 h 15"/>
                <a:gd name="T4" fmla="*/ 0 w 18"/>
                <a:gd name="T5" fmla="*/ 11 h 15"/>
                <a:gd name="T6" fmla="*/ 13 w 18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13" y="15"/>
                  </a:moveTo>
                  <a:cubicBezTo>
                    <a:pt x="12" y="8"/>
                    <a:pt x="17" y="8"/>
                    <a:pt x="18" y="4"/>
                  </a:cubicBezTo>
                  <a:cubicBezTo>
                    <a:pt x="15" y="0"/>
                    <a:pt x="1" y="2"/>
                    <a:pt x="0" y="11"/>
                  </a:cubicBezTo>
                  <a:cubicBezTo>
                    <a:pt x="11" y="9"/>
                    <a:pt x="9" y="8"/>
                    <a:pt x="13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04" name="Freeform 55"/>
            <p:cNvSpPr>
              <a:spLocks/>
            </p:cNvSpPr>
            <p:nvPr userDrawn="1"/>
          </p:nvSpPr>
          <p:spPr bwMode="auto">
            <a:xfrm>
              <a:off x="7359755" y="2190154"/>
              <a:ext cx="14780" cy="37622"/>
            </a:xfrm>
            <a:custGeom>
              <a:avLst/>
              <a:gdLst>
                <a:gd name="T0" fmla="*/ 0 w 5"/>
                <a:gd name="T1" fmla="*/ 1 h 12"/>
                <a:gd name="T2" fmla="*/ 0 w 5"/>
                <a:gd name="T3" fmla="*/ 9 h 12"/>
                <a:gd name="T4" fmla="*/ 5 w 5"/>
                <a:gd name="T5" fmla="*/ 12 h 12"/>
                <a:gd name="T6" fmla="*/ 0 w 5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2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3" y="12"/>
                    <a:pt x="5" y="12"/>
                  </a:cubicBezTo>
                  <a:cubicBezTo>
                    <a:pt x="5" y="7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05" name="Freeform 56"/>
            <p:cNvSpPr>
              <a:spLocks/>
            </p:cNvSpPr>
            <p:nvPr userDrawn="1"/>
          </p:nvSpPr>
          <p:spPr bwMode="auto">
            <a:xfrm>
              <a:off x="7742695" y="2202246"/>
              <a:ext cx="25529" cy="51059"/>
            </a:xfrm>
            <a:custGeom>
              <a:avLst/>
              <a:gdLst>
                <a:gd name="T0" fmla="*/ 0 w 8"/>
                <a:gd name="T1" fmla="*/ 1 h 16"/>
                <a:gd name="T2" fmla="*/ 5 w 8"/>
                <a:gd name="T3" fmla="*/ 16 h 16"/>
                <a:gd name="T4" fmla="*/ 8 w 8"/>
                <a:gd name="T5" fmla="*/ 5 h 16"/>
                <a:gd name="T6" fmla="*/ 0 w 8"/>
                <a:gd name="T7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6">
                  <a:moveTo>
                    <a:pt x="0" y="1"/>
                  </a:moveTo>
                  <a:cubicBezTo>
                    <a:pt x="0" y="8"/>
                    <a:pt x="1" y="13"/>
                    <a:pt x="5" y="16"/>
                  </a:cubicBezTo>
                  <a:cubicBezTo>
                    <a:pt x="5" y="11"/>
                    <a:pt x="6" y="8"/>
                    <a:pt x="8" y="5"/>
                  </a:cubicBezTo>
                  <a:cubicBezTo>
                    <a:pt x="4" y="5"/>
                    <a:pt x="4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06" name="Freeform 57"/>
            <p:cNvSpPr>
              <a:spLocks/>
            </p:cNvSpPr>
            <p:nvPr userDrawn="1"/>
          </p:nvSpPr>
          <p:spPr bwMode="auto">
            <a:xfrm>
              <a:off x="7698355" y="2225089"/>
              <a:ext cx="34935" cy="63152"/>
            </a:xfrm>
            <a:custGeom>
              <a:avLst/>
              <a:gdLst>
                <a:gd name="T0" fmla="*/ 0 w 11"/>
                <a:gd name="T1" fmla="*/ 9 h 20"/>
                <a:gd name="T2" fmla="*/ 11 w 11"/>
                <a:gd name="T3" fmla="*/ 9 h 20"/>
                <a:gd name="T4" fmla="*/ 0 w 11"/>
                <a:gd name="T5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0">
                  <a:moveTo>
                    <a:pt x="0" y="9"/>
                  </a:moveTo>
                  <a:cubicBezTo>
                    <a:pt x="5" y="5"/>
                    <a:pt x="9" y="20"/>
                    <a:pt x="11" y="9"/>
                  </a:cubicBezTo>
                  <a:cubicBezTo>
                    <a:pt x="9" y="8"/>
                    <a:pt x="1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07" name="Freeform 58"/>
            <p:cNvSpPr>
              <a:spLocks/>
            </p:cNvSpPr>
            <p:nvPr userDrawn="1"/>
          </p:nvSpPr>
          <p:spPr bwMode="auto">
            <a:xfrm>
              <a:off x="7749414" y="2329893"/>
              <a:ext cx="18811" cy="40310"/>
            </a:xfrm>
            <a:custGeom>
              <a:avLst/>
              <a:gdLst>
                <a:gd name="T0" fmla="*/ 0 w 6"/>
                <a:gd name="T1" fmla="*/ 2 h 13"/>
                <a:gd name="T2" fmla="*/ 0 w 6"/>
                <a:gd name="T3" fmla="*/ 9 h 13"/>
                <a:gd name="T4" fmla="*/ 6 w 6"/>
                <a:gd name="T5" fmla="*/ 13 h 13"/>
                <a:gd name="T6" fmla="*/ 0 w 6"/>
                <a:gd name="T7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3">
                  <a:moveTo>
                    <a:pt x="0" y="2"/>
                  </a:moveTo>
                  <a:cubicBezTo>
                    <a:pt x="0" y="4"/>
                    <a:pt x="0" y="7"/>
                    <a:pt x="0" y="9"/>
                  </a:cubicBezTo>
                  <a:cubicBezTo>
                    <a:pt x="3" y="9"/>
                    <a:pt x="4" y="12"/>
                    <a:pt x="6" y="13"/>
                  </a:cubicBezTo>
                  <a:cubicBezTo>
                    <a:pt x="5" y="7"/>
                    <a:pt x="6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08" name="Freeform 59"/>
            <p:cNvSpPr>
              <a:spLocks/>
            </p:cNvSpPr>
            <p:nvPr userDrawn="1"/>
          </p:nvSpPr>
          <p:spPr bwMode="auto">
            <a:xfrm>
              <a:off x="6892164" y="2354079"/>
              <a:ext cx="67183" cy="38966"/>
            </a:xfrm>
            <a:custGeom>
              <a:avLst/>
              <a:gdLst>
                <a:gd name="T0" fmla="*/ 20 w 21"/>
                <a:gd name="T1" fmla="*/ 1 h 12"/>
                <a:gd name="T2" fmla="*/ 15 w 21"/>
                <a:gd name="T3" fmla="*/ 1 h 12"/>
                <a:gd name="T4" fmla="*/ 20 w 21"/>
                <a:gd name="T5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2">
                  <a:moveTo>
                    <a:pt x="20" y="1"/>
                  </a:moveTo>
                  <a:cubicBezTo>
                    <a:pt x="18" y="1"/>
                    <a:pt x="17" y="1"/>
                    <a:pt x="15" y="1"/>
                  </a:cubicBezTo>
                  <a:cubicBezTo>
                    <a:pt x="0" y="0"/>
                    <a:pt x="21" y="12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09" name="Freeform 60"/>
            <p:cNvSpPr>
              <a:spLocks/>
            </p:cNvSpPr>
            <p:nvPr userDrawn="1"/>
          </p:nvSpPr>
          <p:spPr bwMode="auto">
            <a:xfrm>
              <a:off x="2995573" y="2386327"/>
              <a:ext cx="18811" cy="67183"/>
            </a:xfrm>
            <a:custGeom>
              <a:avLst/>
              <a:gdLst>
                <a:gd name="T0" fmla="*/ 3 w 6"/>
                <a:gd name="T1" fmla="*/ 21 h 21"/>
                <a:gd name="T2" fmla="*/ 1 w 6"/>
                <a:gd name="T3" fmla="*/ 13 h 21"/>
                <a:gd name="T4" fmla="*/ 3 w 6"/>
                <a:gd name="T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1">
                  <a:moveTo>
                    <a:pt x="3" y="21"/>
                  </a:moveTo>
                  <a:cubicBezTo>
                    <a:pt x="6" y="20"/>
                    <a:pt x="5" y="0"/>
                    <a:pt x="1" y="13"/>
                  </a:cubicBezTo>
                  <a:cubicBezTo>
                    <a:pt x="0" y="16"/>
                    <a:pt x="2" y="21"/>
                    <a:pt x="3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0" name="Freeform 61"/>
            <p:cNvSpPr>
              <a:spLocks/>
            </p:cNvSpPr>
            <p:nvPr userDrawn="1"/>
          </p:nvSpPr>
          <p:spPr bwMode="auto">
            <a:xfrm>
              <a:off x="2970044" y="2423949"/>
              <a:ext cx="18811" cy="38966"/>
            </a:xfrm>
            <a:custGeom>
              <a:avLst/>
              <a:gdLst>
                <a:gd name="T0" fmla="*/ 3 w 6"/>
                <a:gd name="T1" fmla="*/ 12 h 12"/>
                <a:gd name="T2" fmla="*/ 6 w 6"/>
                <a:gd name="T3" fmla="*/ 9 h 12"/>
                <a:gd name="T4" fmla="*/ 0 w 6"/>
                <a:gd name="T5" fmla="*/ 1 h 12"/>
                <a:gd name="T6" fmla="*/ 3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3" y="12"/>
                  </a:moveTo>
                  <a:cubicBezTo>
                    <a:pt x="3" y="10"/>
                    <a:pt x="4" y="8"/>
                    <a:pt x="6" y="9"/>
                  </a:cubicBezTo>
                  <a:cubicBezTo>
                    <a:pt x="6" y="4"/>
                    <a:pt x="5" y="0"/>
                    <a:pt x="0" y="1"/>
                  </a:cubicBezTo>
                  <a:cubicBezTo>
                    <a:pt x="1" y="6"/>
                    <a:pt x="0" y="12"/>
                    <a:pt x="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1" name="Freeform 62"/>
            <p:cNvSpPr>
              <a:spLocks/>
            </p:cNvSpPr>
            <p:nvPr userDrawn="1"/>
          </p:nvSpPr>
          <p:spPr bwMode="auto">
            <a:xfrm>
              <a:off x="3023790" y="2440073"/>
              <a:ext cx="41653" cy="38966"/>
            </a:xfrm>
            <a:custGeom>
              <a:avLst/>
              <a:gdLst>
                <a:gd name="T0" fmla="*/ 13 w 13"/>
                <a:gd name="T1" fmla="*/ 4 h 12"/>
                <a:gd name="T2" fmla="*/ 2 w 13"/>
                <a:gd name="T3" fmla="*/ 11 h 12"/>
                <a:gd name="T4" fmla="*/ 13 w 13"/>
                <a:gd name="T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4"/>
                  </a:moveTo>
                  <a:cubicBezTo>
                    <a:pt x="8" y="5"/>
                    <a:pt x="0" y="0"/>
                    <a:pt x="2" y="11"/>
                  </a:cubicBezTo>
                  <a:cubicBezTo>
                    <a:pt x="9" y="12"/>
                    <a:pt x="13" y="10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2" name="Freeform 63"/>
            <p:cNvSpPr>
              <a:spLocks/>
            </p:cNvSpPr>
            <p:nvPr userDrawn="1"/>
          </p:nvSpPr>
          <p:spPr bwMode="auto">
            <a:xfrm>
              <a:off x="3792359" y="3484090"/>
              <a:ext cx="28217" cy="64495"/>
            </a:xfrm>
            <a:custGeom>
              <a:avLst/>
              <a:gdLst>
                <a:gd name="T0" fmla="*/ 8 w 9"/>
                <a:gd name="T1" fmla="*/ 19 h 20"/>
                <a:gd name="T2" fmla="*/ 0 w 9"/>
                <a:gd name="T3" fmla="*/ 0 h 20"/>
                <a:gd name="T4" fmla="*/ 8 w 9"/>
                <a:gd name="T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0">
                  <a:moveTo>
                    <a:pt x="8" y="19"/>
                  </a:moveTo>
                  <a:cubicBezTo>
                    <a:pt x="9" y="7"/>
                    <a:pt x="4" y="4"/>
                    <a:pt x="0" y="0"/>
                  </a:cubicBezTo>
                  <a:cubicBezTo>
                    <a:pt x="2" y="7"/>
                    <a:pt x="0" y="20"/>
                    <a:pt x="8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3" name="Freeform 64"/>
            <p:cNvSpPr>
              <a:spLocks/>
            </p:cNvSpPr>
            <p:nvPr userDrawn="1"/>
          </p:nvSpPr>
          <p:spPr bwMode="auto">
            <a:xfrm>
              <a:off x="3338205" y="3532462"/>
              <a:ext cx="47028" cy="75245"/>
            </a:xfrm>
            <a:custGeom>
              <a:avLst/>
              <a:gdLst>
                <a:gd name="T0" fmla="*/ 6 w 15"/>
                <a:gd name="T1" fmla="*/ 0 h 24"/>
                <a:gd name="T2" fmla="*/ 6 w 15"/>
                <a:gd name="T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4">
                  <a:moveTo>
                    <a:pt x="6" y="0"/>
                  </a:moveTo>
                  <a:cubicBezTo>
                    <a:pt x="0" y="24"/>
                    <a:pt x="15" y="1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4" name="Freeform 65"/>
            <p:cNvSpPr>
              <a:spLocks/>
            </p:cNvSpPr>
            <p:nvPr userDrawn="1"/>
          </p:nvSpPr>
          <p:spPr bwMode="auto">
            <a:xfrm>
              <a:off x="3748018" y="3523056"/>
              <a:ext cx="37622" cy="81963"/>
            </a:xfrm>
            <a:custGeom>
              <a:avLst/>
              <a:gdLst>
                <a:gd name="T0" fmla="*/ 3 w 12"/>
                <a:gd name="T1" fmla="*/ 3 h 26"/>
                <a:gd name="T2" fmla="*/ 0 w 12"/>
                <a:gd name="T3" fmla="*/ 25 h 26"/>
                <a:gd name="T4" fmla="*/ 6 w 12"/>
                <a:gd name="T5" fmla="*/ 14 h 26"/>
                <a:gd name="T6" fmla="*/ 3 w 12"/>
                <a:gd name="T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3" y="3"/>
                  </a:moveTo>
                  <a:cubicBezTo>
                    <a:pt x="5" y="14"/>
                    <a:pt x="0" y="16"/>
                    <a:pt x="0" y="25"/>
                  </a:cubicBezTo>
                  <a:cubicBezTo>
                    <a:pt x="7" y="26"/>
                    <a:pt x="4" y="21"/>
                    <a:pt x="6" y="14"/>
                  </a:cubicBezTo>
                  <a:cubicBezTo>
                    <a:pt x="7" y="9"/>
                    <a:pt x="12" y="0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5" name="Freeform 66"/>
            <p:cNvSpPr>
              <a:spLocks/>
            </p:cNvSpPr>
            <p:nvPr userDrawn="1"/>
          </p:nvSpPr>
          <p:spPr bwMode="auto">
            <a:xfrm>
              <a:off x="2998261" y="3574115"/>
              <a:ext cx="32248" cy="63152"/>
            </a:xfrm>
            <a:custGeom>
              <a:avLst/>
              <a:gdLst>
                <a:gd name="T0" fmla="*/ 0 w 10"/>
                <a:gd name="T1" fmla="*/ 9 h 20"/>
                <a:gd name="T2" fmla="*/ 10 w 10"/>
                <a:gd name="T3" fmla="*/ 9 h 20"/>
                <a:gd name="T4" fmla="*/ 0 w 10"/>
                <a:gd name="T5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9"/>
                  </a:moveTo>
                  <a:cubicBezTo>
                    <a:pt x="5" y="6"/>
                    <a:pt x="9" y="20"/>
                    <a:pt x="10" y="9"/>
                  </a:cubicBezTo>
                  <a:cubicBezTo>
                    <a:pt x="9" y="8"/>
                    <a:pt x="0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6" name="Freeform 67"/>
            <p:cNvSpPr>
              <a:spLocks/>
            </p:cNvSpPr>
            <p:nvPr userDrawn="1"/>
          </p:nvSpPr>
          <p:spPr bwMode="auto">
            <a:xfrm>
              <a:off x="3151437" y="3672202"/>
              <a:ext cx="44341" cy="69870"/>
            </a:xfrm>
            <a:custGeom>
              <a:avLst/>
              <a:gdLst>
                <a:gd name="T0" fmla="*/ 3 w 14"/>
                <a:gd name="T1" fmla="*/ 0 h 22"/>
                <a:gd name="T2" fmla="*/ 3 w 14"/>
                <a:gd name="T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22">
                  <a:moveTo>
                    <a:pt x="3" y="0"/>
                  </a:moveTo>
                  <a:cubicBezTo>
                    <a:pt x="0" y="22"/>
                    <a:pt x="14" y="2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7" name="Freeform 68"/>
            <p:cNvSpPr>
              <a:spLocks/>
            </p:cNvSpPr>
            <p:nvPr userDrawn="1"/>
          </p:nvSpPr>
          <p:spPr bwMode="auto">
            <a:xfrm>
              <a:off x="3140688" y="3872406"/>
              <a:ext cx="20155" cy="24186"/>
            </a:xfrm>
            <a:custGeom>
              <a:avLst/>
              <a:gdLst>
                <a:gd name="T0" fmla="*/ 6 w 6"/>
                <a:gd name="T1" fmla="*/ 0 h 8"/>
                <a:gd name="T2" fmla="*/ 0 w 6"/>
                <a:gd name="T3" fmla="*/ 0 h 8"/>
                <a:gd name="T4" fmla="*/ 0 w 6"/>
                <a:gd name="T5" fmla="*/ 8 h 8"/>
                <a:gd name="T6" fmla="*/ 6 w 6"/>
                <a:gd name="T7" fmla="*/ 8 h 8"/>
                <a:gd name="T8" fmla="*/ 6 w 6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6" y="8"/>
                  </a:cubicBezTo>
                  <a:cubicBezTo>
                    <a:pt x="6" y="5"/>
                    <a:pt x="6" y="3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8" name="Freeform 69"/>
            <p:cNvSpPr>
              <a:spLocks/>
            </p:cNvSpPr>
            <p:nvPr userDrawn="1"/>
          </p:nvSpPr>
          <p:spPr bwMode="auto">
            <a:xfrm>
              <a:off x="3081567" y="3919434"/>
              <a:ext cx="72557" cy="116898"/>
            </a:xfrm>
            <a:custGeom>
              <a:avLst/>
              <a:gdLst>
                <a:gd name="T0" fmla="*/ 11 w 23"/>
                <a:gd name="T1" fmla="*/ 4 h 37"/>
                <a:gd name="T2" fmla="*/ 3 w 23"/>
                <a:gd name="T3" fmla="*/ 0 h 37"/>
                <a:gd name="T4" fmla="*/ 3 w 23"/>
                <a:gd name="T5" fmla="*/ 33 h 37"/>
                <a:gd name="T6" fmla="*/ 22 w 23"/>
                <a:gd name="T7" fmla="*/ 26 h 37"/>
                <a:gd name="T8" fmla="*/ 17 w 23"/>
                <a:gd name="T9" fmla="*/ 15 h 37"/>
                <a:gd name="T10" fmla="*/ 14 w 23"/>
                <a:gd name="T11" fmla="*/ 4 h 37"/>
                <a:gd name="T12" fmla="*/ 6 w 23"/>
                <a:gd name="T13" fmla="*/ 11 h 37"/>
                <a:gd name="T14" fmla="*/ 11 w 23"/>
                <a:gd name="T15" fmla="*/ 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7">
                  <a:moveTo>
                    <a:pt x="11" y="4"/>
                  </a:moveTo>
                  <a:cubicBezTo>
                    <a:pt x="8" y="4"/>
                    <a:pt x="5" y="2"/>
                    <a:pt x="3" y="0"/>
                  </a:cubicBezTo>
                  <a:cubicBezTo>
                    <a:pt x="2" y="17"/>
                    <a:pt x="0" y="18"/>
                    <a:pt x="3" y="33"/>
                  </a:cubicBezTo>
                  <a:cubicBezTo>
                    <a:pt x="14" y="37"/>
                    <a:pt x="10" y="20"/>
                    <a:pt x="22" y="26"/>
                  </a:cubicBezTo>
                  <a:cubicBezTo>
                    <a:pt x="23" y="18"/>
                    <a:pt x="18" y="19"/>
                    <a:pt x="17" y="15"/>
                  </a:cubicBezTo>
                  <a:cubicBezTo>
                    <a:pt x="16" y="13"/>
                    <a:pt x="22" y="4"/>
                    <a:pt x="14" y="4"/>
                  </a:cubicBezTo>
                  <a:cubicBezTo>
                    <a:pt x="16" y="11"/>
                    <a:pt x="7" y="20"/>
                    <a:pt x="6" y="11"/>
                  </a:cubicBezTo>
                  <a:cubicBezTo>
                    <a:pt x="9" y="11"/>
                    <a:pt x="12" y="10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9" name="Freeform 70"/>
            <p:cNvSpPr>
              <a:spLocks/>
            </p:cNvSpPr>
            <p:nvPr userDrawn="1"/>
          </p:nvSpPr>
          <p:spPr bwMode="auto">
            <a:xfrm>
              <a:off x="3058725" y="3912715"/>
              <a:ext cx="32248" cy="60464"/>
            </a:xfrm>
            <a:custGeom>
              <a:avLst/>
              <a:gdLst>
                <a:gd name="T0" fmla="*/ 0 w 10"/>
                <a:gd name="T1" fmla="*/ 9 h 19"/>
                <a:gd name="T2" fmla="*/ 7 w 10"/>
                <a:gd name="T3" fmla="*/ 17 h 19"/>
                <a:gd name="T4" fmla="*/ 0 w 10"/>
                <a:gd name="T5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9">
                  <a:moveTo>
                    <a:pt x="0" y="9"/>
                  </a:moveTo>
                  <a:cubicBezTo>
                    <a:pt x="4" y="10"/>
                    <a:pt x="2" y="19"/>
                    <a:pt x="7" y="17"/>
                  </a:cubicBezTo>
                  <a:cubicBezTo>
                    <a:pt x="10" y="9"/>
                    <a:pt x="1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20" name="Freeform 71"/>
            <p:cNvSpPr>
              <a:spLocks/>
            </p:cNvSpPr>
            <p:nvPr userDrawn="1"/>
          </p:nvSpPr>
          <p:spPr bwMode="auto">
            <a:xfrm>
              <a:off x="3125908" y="4049768"/>
              <a:ext cx="75245" cy="126303"/>
            </a:xfrm>
            <a:custGeom>
              <a:avLst/>
              <a:gdLst>
                <a:gd name="T0" fmla="*/ 0 w 24"/>
                <a:gd name="T1" fmla="*/ 29 h 40"/>
                <a:gd name="T2" fmla="*/ 19 w 24"/>
                <a:gd name="T3" fmla="*/ 22 h 40"/>
                <a:gd name="T4" fmla="*/ 21 w 24"/>
                <a:gd name="T5" fmla="*/ 40 h 40"/>
                <a:gd name="T6" fmla="*/ 24 w 24"/>
                <a:gd name="T7" fmla="*/ 18 h 40"/>
                <a:gd name="T8" fmla="*/ 16 w 24"/>
                <a:gd name="T9" fmla="*/ 0 h 40"/>
                <a:gd name="T10" fmla="*/ 13 w 24"/>
                <a:gd name="T11" fmla="*/ 18 h 40"/>
                <a:gd name="T12" fmla="*/ 0 w 24"/>
                <a:gd name="T13" fmla="*/ 2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0">
                  <a:moveTo>
                    <a:pt x="0" y="29"/>
                  </a:moveTo>
                  <a:cubicBezTo>
                    <a:pt x="8" y="30"/>
                    <a:pt x="8" y="18"/>
                    <a:pt x="19" y="22"/>
                  </a:cubicBezTo>
                  <a:cubicBezTo>
                    <a:pt x="15" y="27"/>
                    <a:pt x="17" y="37"/>
                    <a:pt x="21" y="40"/>
                  </a:cubicBezTo>
                  <a:cubicBezTo>
                    <a:pt x="21" y="31"/>
                    <a:pt x="21" y="23"/>
                    <a:pt x="24" y="18"/>
                  </a:cubicBezTo>
                  <a:cubicBezTo>
                    <a:pt x="16" y="20"/>
                    <a:pt x="22" y="1"/>
                    <a:pt x="16" y="0"/>
                  </a:cubicBezTo>
                  <a:cubicBezTo>
                    <a:pt x="12" y="8"/>
                    <a:pt x="10" y="7"/>
                    <a:pt x="13" y="18"/>
                  </a:cubicBezTo>
                  <a:cubicBezTo>
                    <a:pt x="5" y="16"/>
                    <a:pt x="2" y="23"/>
                    <a:pt x="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21" name="Freeform 72"/>
            <p:cNvSpPr>
              <a:spLocks/>
            </p:cNvSpPr>
            <p:nvPr userDrawn="1"/>
          </p:nvSpPr>
          <p:spPr bwMode="auto">
            <a:xfrm>
              <a:off x="2792682" y="4059173"/>
              <a:ext cx="14780" cy="47028"/>
            </a:xfrm>
            <a:custGeom>
              <a:avLst/>
              <a:gdLst>
                <a:gd name="T0" fmla="*/ 5 w 5"/>
                <a:gd name="T1" fmla="*/ 15 h 15"/>
                <a:gd name="T2" fmla="*/ 5 w 5"/>
                <a:gd name="T3" fmla="*/ 0 h 15"/>
                <a:gd name="T4" fmla="*/ 0 w 5"/>
                <a:gd name="T5" fmla="*/ 0 h 15"/>
                <a:gd name="T6" fmla="*/ 0 w 5"/>
                <a:gd name="T7" fmla="*/ 15 h 15"/>
                <a:gd name="T8" fmla="*/ 5 w 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5">
                  <a:moveTo>
                    <a:pt x="5" y="15"/>
                  </a:moveTo>
                  <a:cubicBezTo>
                    <a:pt x="5" y="10"/>
                    <a:pt x="5" y="5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5"/>
                    <a:pt x="0" y="10"/>
                    <a:pt x="0" y="15"/>
                  </a:cubicBezTo>
                  <a:cubicBezTo>
                    <a:pt x="2" y="15"/>
                    <a:pt x="4" y="15"/>
                    <a:pt x="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22" name="Freeform 73"/>
            <p:cNvSpPr>
              <a:spLocks/>
            </p:cNvSpPr>
            <p:nvPr userDrawn="1"/>
          </p:nvSpPr>
          <p:spPr bwMode="auto">
            <a:xfrm>
              <a:off x="2823586" y="4059173"/>
              <a:ext cx="44341" cy="72557"/>
            </a:xfrm>
            <a:custGeom>
              <a:avLst/>
              <a:gdLst>
                <a:gd name="T0" fmla="*/ 9 w 14"/>
                <a:gd name="T1" fmla="*/ 23 h 23"/>
                <a:gd name="T2" fmla="*/ 14 w 14"/>
                <a:gd name="T3" fmla="*/ 8 h 23"/>
                <a:gd name="T4" fmla="*/ 4 w 14"/>
                <a:gd name="T5" fmla="*/ 0 h 23"/>
                <a:gd name="T6" fmla="*/ 9 w 14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3">
                  <a:moveTo>
                    <a:pt x="9" y="23"/>
                  </a:moveTo>
                  <a:cubicBezTo>
                    <a:pt x="10" y="17"/>
                    <a:pt x="13" y="13"/>
                    <a:pt x="14" y="8"/>
                  </a:cubicBezTo>
                  <a:cubicBezTo>
                    <a:pt x="10" y="6"/>
                    <a:pt x="7" y="2"/>
                    <a:pt x="4" y="0"/>
                  </a:cubicBezTo>
                  <a:cubicBezTo>
                    <a:pt x="9" y="11"/>
                    <a:pt x="0" y="19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23" name="Freeform 74"/>
            <p:cNvSpPr>
              <a:spLocks/>
            </p:cNvSpPr>
            <p:nvPr userDrawn="1"/>
          </p:nvSpPr>
          <p:spPr bwMode="auto">
            <a:xfrm>
              <a:off x="2867927" y="4084703"/>
              <a:ext cx="51059" cy="60464"/>
            </a:xfrm>
            <a:custGeom>
              <a:avLst/>
              <a:gdLst>
                <a:gd name="T0" fmla="*/ 16 w 16"/>
                <a:gd name="T1" fmla="*/ 18 h 19"/>
                <a:gd name="T2" fmla="*/ 3 w 16"/>
                <a:gd name="T3" fmla="*/ 0 h 19"/>
                <a:gd name="T4" fmla="*/ 0 w 16"/>
                <a:gd name="T5" fmla="*/ 15 h 19"/>
                <a:gd name="T6" fmla="*/ 16 w 16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9">
                  <a:moveTo>
                    <a:pt x="16" y="18"/>
                  </a:moveTo>
                  <a:cubicBezTo>
                    <a:pt x="15" y="8"/>
                    <a:pt x="11" y="1"/>
                    <a:pt x="3" y="0"/>
                  </a:cubicBezTo>
                  <a:cubicBezTo>
                    <a:pt x="5" y="12"/>
                    <a:pt x="5" y="7"/>
                    <a:pt x="0" y="15"/>
                  </a:cubicBezTo>
                  <a:cubicBezTo>
                    <a:pt x="3" y="19"/>
                    <a:pt x="10" y="19"/>
                    <a:pt x="1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24" name="Freeform 75"/>
            <p:cNvSpPr>
              <a:spLocks/>
            </p:cNvSpPr>
            <p:nvPr userDrawn="1"/>
          </p:nvSpPr>
          <p:spPr bwMode="auto">
            <a:xfrm>
              <a:off x="3090973" y="4084703"/>
              <a:ext cx="65839" cy="56433"/>
            </a:xfrm>
            <a:custGeom>
              <a:avLst/>
              <a:gdLst>
                <a:gd name="T0" fmla="*/ 8 w 21"/>
                <a:gd name="T1" fmla="*/ 0 h 18"/>
                <a:gd name="T2" fmla="*/ 0 w 21"/>
                <a:gd name="T3" fmla="*/ 7 h 18"/>
                <a:gd name="T4" fmla="*/ 6 w 21"/>
                <a:gd name="T5" fmla="*/ 18 h 18"/>
                <a:gd name="T6" fmla="*/ 8 w 21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8">
                  <a:moveTo>
                    <a:pt x="8" y="0"/>
                  </a:moveTo>
                  <a:cubicBezTo>
                    <a:pt x="8" y="5"/>
                    <a:pt x="2" y="4"/>
                    <a:pt x="0" y="7"/>
                  </a:cubicBezTo>
                  <a:cubicBezTo>
                    <a:pt x="0" y="14"/>
                    <a:pt x="2" y="17"/>
                    <a:pt x="6" y="18"/>
                  </a:cubicBezTo>
                  <a:cubicBezTo>
                    <a:pt x="5" y="7"/>
                    <a:pt x="21" y="6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25" name="Freeform 76"/>
            <p:cNvSpPr>
              <a:spLocks/>
            </p:cNvSpPr>
            <p:nvPr userDrawn="1"/>
          </p:nvSpPr>
          <p:spPr bwMode="auto">
            <a:xfrm>
              <a:off x="2937796" y="4112919"/>
              <a:ext cx="73901" cy="102118"/>
            </a:xfrm>
            <a:custGeom>
              <a:avLst/>
              <a:gdLst>
                <a:gd name="T0" fmla="*/ 0 w 23"/>
                <a:gd name="T1" fmla="*/ 2 h 32"/>
                <a:gd name="T2" fmla="*/ 0 w 23"/>
                <a:gd name="T3" fmla="*/ 17 h 32"/>
                <a:gd name="T4" fmla="*/ 16 w 23"/>
                <a:gd name="T5" fmla="*/ 13 h 32"/>
                <a:gd name="T6" fmla="*/ 10 w 23"/>
                <a:gd name="T7" fmla="*/ 31 h 32"/>
                <a:gd name="T8" fmla="*/ 19 w 23"/>
                <a:gd name="T9" fmla="*/ 6 h 32"/>
                <a:gd name="T10" fmla="*/ 0 w 23"/>
                <a:gd name="T11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32">
                  <a:moveTo>
                    <a:pt x="0" y="2"/>
                  </a:moveTo>
                  <a:cubicBezTo>
                    <a:pt x="0" y="7"/>
                    <a:pt x="0" y="12"/>
                    <a:pt x="0" y="17"/>
                  </a:cubicBezTo>
                  <a:cubicBezTo>
                    <a:pt x="8" y="21"/>
                    <a:pt x="14" y="4"/>
                    <a:pt x="16" y="13"/>
                  </a:cubicBezTo>
                  <a:cubicBezTo>
                    <a:pt x="9" y="20"/>
                    <a:pt x="13" y="19"/>
                    <a:pt x="10" y="31"/>
                  </a:cubicBezTo>
                  <a:cubicBezTo>
                    <a:pt x="20" y="32"/>
                    <a:pt x="23" y="12"/>
                    <a:pt x="19" y="6"/>
                  </a:cubicBezTo>
                  <a:cubicBezTo>
                    <a:pt x="9" y="9"/>
                    <a:pt x="8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26" name="Freeform 77"/>
            <p:cNvSpPr>
              <a:spLocks/>
            </p:cNvSpPr>
            <p:nvPr userDrawn="1"/>
          </p:nvSpPr>
          <p:spPr bwMode="auto">
            <a:xfrm>
              <a:off x="2814181" y="4115607"/>
              <a:ext cx="79275" cy="51059"/>
            </a:xfrm>
            <a:custGeom>
              <a:avLst/>
              <a:gdLst>
                <a:gd name="T0" fmla="*/ 12 w 25"/>
                <a:gd name="T1" fmla="*/ 16 h 16"/>
                <a:gd name="T2" fmla="*/ 20 w 25"/>
                <a:gd name="T3" fmla="*/ 16 h 16"/>
                <a:gd name="T4" fmla="*/ 12 w 25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16">
                  <a:moveTo>
                    <a:pt x="12" y="16"/>
                  </a:moveTo>
                  <a:cubicBezTo>
                    <a:pt x="13" y="10"/>
                    <a:pt x="18" y="13"/>
                    <a:pt x="20" y="16"/>
                  </a:cubicBezTo>
                  <a:cubicBezTo>
                    <a:pt x="25" y="0"/>
                    <a:pt x="0" y="10"/>
                    <a:pt x="1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27" name="Freeform 78"/>
            <p:cNvSpPr>
              <a:spLocks/>
            </p:cNvSpPr>
            <p:nvPr userDrawn="1"/>
          </p:nvSpPr>
          <p:spPr bwMode="auto">
            <a:xfrm>
              <a:off x="3033196" y="4138449"/>
              <a:ext cx="32248" cy="67183"/>
            </a:xfrm>
            <a:custGeom>
              <a:avLst/>
              <a:gdLst>
                <a:gd name="T0" fmla="*/ 5 w 10"/>
                <a:gd name="T1" fmla="*/ 20 h 21"/>
                <a:gd name="T2" fmla="*/ 10 w 10"/>
                <a:gd name="T3" fmla="*/ 1 h 21"/>
                <a:gd name="T4" fmla="*/ 5 w 10"/>
                <a:gd name="T5" fmla="*/ 1 h 21"/>
                <a:gd name="T6" fmla="*/ 5 w 10"/>
                <a:gd name="T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1">
                  <a:moveTo>
                    <a:pt x="5" y="20"/>
                  </a:moveTo>
                  <a:cubicBezTo>
                    <a:pt x="8" y="15"/>
                    <a:pt x="7" y="6"/>
                    <a:pt x="10" y="1"/>
                  </a:cubicBezTo>
                  <a:cubicBezTo>
                    <a:pt x="8" y="1"/>
                    <a:pt x="7" y="1"/>
                    <a:pt x="5" y="1"/>
                  </a:cubicBezTo>
                  <a:cubicBezTo>
                    <a:pt x="0" y="0"/>
                    <a:pt x="0" y="21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28" name="Freeform 79"/>
            <p:cNvSpPr>
              <a:spLocks/>
            </p:cNvSpPr>
            <p:nvPr userDrawn="1"/>
          </p:nvSpPr>
          <p:spPr bwMode="auto">
            <a:xfrm>
              <a:off x="3004979" y="4176071"/>
              <a:ext cx="28217" cy="34935"/>
            </a:xfrm>
            <a:custGeom>
              <a:avLst/>
              <a:gdLst>
                <a:gd name="T0" fmla="*/ 8 w 9"/>
                <a:gd name="T1" fmla="*/ 8 h 11"/>
                <a:gd name="T2" fmla="*/ 3 w 9"/>
                <a:gd name="T3" fmla="*/ 0 h 11"/>
                <a:gd name="T4" fmla="*/ 0 w 9"/>
                <a:gd name="T5" fmla="*/ 11 h 11"/>
                <a:gd name="T6" fmla="*/ 6 w 9"/>
                <a:gd name="T7" fmla="*/ 11 h 11"/>
                <a:gd name="T8" fmla="*/ 8 w 9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8" y="8"/>
                  </a:moveTo>
                  <a:cubicBezTo>
                    <a:pt x="5" y="8"/>
                    <a:pt x="6" y="1"/>
                    <a:pt x="3" y="0"/>
                  </a:cubicBezTo>
                  <a:cubicBezTo>
                    <a:pt x="3" y="5"/>
                    <a:pt x="0" y="6"/>
                    <a:pt x="0" y="11"/>
                  </a:cubicBezTo>
                  <a:cubicBezTo>
                    <a:pt x="2" y="11"/>
                    <a:pt x="4" y="11"/>
                    <a:pt x="6" y="11"/>
                  </a:cubicBezTo>
                  <a:cubicBezTo>
                    <a:pt x="7" y="11"/>
                    <a:pt x="9" y="11"/>
                    <a:pt x="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29" name="Freeform 80"/>
            <p:cNvSpPr>
              <a:spLocks/>
            </p:cNvSpPr>
            <p:nvPr userDrawn="1"/>
          </p:nvSpPr>
          <p:spPr bwMode="auto">
            <a:xfrm>
              <a:off x="3624403" y="4215037"/>
              <a:ext cx="40310" cy="40310"/>
            </a:xfrm>
            <a:custGeom>
              <a:avLst/>
              <a:gdLst>
                <a:gd name="T0" fmla="*/ 2 w 13"/>
                <a:gd name="T1" fmla="*/ 11 h 13"/>
                <a:gd name="T2" fmla="*/ 12 w 13"/>
                <a:gd name="T3" fmla="*/ 7 h 13"/>
                <a:gd name="T4" fmla="*/ 2 w 13"/>
                <a:gd name="T5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2" y="11"/>
                  </a:moveTo>
                  <a:cubicBezTo>
                    <a:pt x="3" y="13"/>
                    <a:pt x="13" y="10"/>
                    <a:pt x="12" y="7"/>
                  </a:cubicBezTo>
                  <a:cubicBezTo>
                    <a:pt x="9" y="0"/>
                    <a:pt x="0" y="9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30" name="Freeform 81"/>
            <p:cNvSpPr>
              <a:spLocks/>
            </p:cNvSpPr>
            <p:nvPr userDrawn="1"/>
          </p:nvSpPr>
          <p:spPr bwMode="auto">
            <a:xfrm>
              <a:off x="2792682" y="4205631"/>
              <a:ext cx="34935" cy="79275"/>
            </a:xfrm>
            <a:custGeom>
              <a:avLst/>
              <a:gdLst>
                <a:gd name="T0" fmla="*/ 8 w 11"/>
                <a:gd name="T1" fmla="*/ 25 h 25"/>
                <a:gd name="T2" fmla="*/ 11 w 11"/>
                <a:gd name="T3" fmla="*/ 17 h 25"/>
                <a:gd name="T4" fmla="*/ 0 w 11"/>
                <a:gd name="T5" fmla="*/ 14 h 25"/>
                <a:gd name="T6" fmla="*/ 3 w 11"/>
                <a:gd name="T7" fmla="*/ 25 h 25"/>
                <a:gd name="T8" fmla="*/ 8 w 11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5">
                  <a:moveTo>
                    <a:pt x="8" y="25"/>
                  </a:moveTo>
                  <a:cubicBezTo>
                    <a:pt x="8" y="21"/>
                    <a:pt x="10" y="20"/>
                    <a:pt x="11" y="17"/>
                  </a:cubicBezTo>
                  <a:cubicBezTo>
                    <a:pt x="4" y="22"/>
                    <a:pt x="4" y="0"/>
                    <a:pt x="0" y="14"/>
                  </a:cubicBezTo>
                  <a:cubicBezTo>
                    <a:pt x="3" y="14"/>
                    <a:pt x="3" y="19"/>
                    <a:pt x="3" y="25"/>
                  </a:cubicBezTo>
                  <a:cubicBezTo>
                    <a:pt x="5" y="25"/>
                    <a:pt x="6" y="25"/>
                    <a:pt x="8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31" name="Freeform 82"/>
            <p:cNvSpPr>
              <a:spLocks/>
            </p:cNvSpPr>
            <p:nvPr userDrawn="1"/>
          </p:nvSpPr>
          <p:spPr bwMode="auto">
            <a:xfrm>
              <a:off x="2960639" y="4236535"/>
              <a:ext cx="30904" cy="48371"/>
            </a:xfrm>
            <a:custGeom>
              <a:avLst/>
              <a:gdLst>
                <a:gd name="T0" fmla="*/ 1 w 10"/>
                <a:gd name="T1" fmla="*/ 4 h 15"/>
                <a:gd name="T2" fmla="*/ 6 w 10"/>
                <a:gd name="T3" fmla="*/ 15 h 15"/>
                <a:gd name="T4" fmla="*/ 9 w 10"/>
                <a:gd name="T5" fmla="*/ 0 h 15"/>
                <a:gd name="T6" fmla="*/ 3 w 10"/>
                <a:gd name="T7" fmla="*/ 0 h 15"/>
                <a:gd name="T8" fmla="*/ 1 w 10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1" y="4"/>
                  </a:moveTo>
                  <a:cubicBezTo>
                    <a:pt x="5" y="4"/>
                    <a:pt x="2" y="14"/>
                    <a:pt x="6" y="15"/>
                  </a:cubicBezTo>
                  <a:cubicBezTo>
                    <a:pt x="7" y="10"/>
                    <a:pt x="10" y="8"/>
                    <a:pt x="9" y="0"/>
                  </a:cubicBezTo>
                  <a:cubicBezTo>
                    <a:pt x="7" y="0"/>
                    <a:pt x="5" y="0"/>
                    <a:pt x="3" y="0"/>
                  </a:cubicBezTo>
                  <a:cubicBezTo>
                    <a:pt x="2" y="0"/>
                    <a:pt x="0" y="0"/>
                    <a:pt x="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32" name="Freeform 83"/>
            <p:cNvSpPr>
              <a:spLocks/>
            </p:cNvSpPr>
            <p:nvPr userDrawn="1"/>
          </p:nvSpPr>
          <p:spPr bwMode="auto">
            <a:xfrm>
              <a:off x="2998261" y="4227130"/>
              <a:ext cx="41653" cy="67183"/>
            </a:xfrm>
            <a:custGeom>
              <a:avLst/>
              <a:gdLst>
                <a:gd name="T0" fmla="*/ 0 w 13"/>
                <a:gd name="T1" fmla="*/ 10 h 21"/>
                <a:gd name="T2" fmla="*/ 13 w 13"/>
                <a:gd name="T3" fmla="*/ 10 h 21"/>
                <a:gd name="T4" fmla="*/ 0 w 13"/>
                <a:gd name="T5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1">
                  <a:moveTo>
                    <a:pt x="0" y="10"/>
                  </a:moveTo>
                  <a:cubicBezTo>
                    <a:pt x="6" y="5"/>
                    <a:pt x="11" y="21"/>
                    <a:pt x="13" y="10"/>
                  </a:cubicBezTo>
                  <a:cubicBezTo>
                    <a:pt x="8" y="5"/>
                    <a:pt x="4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33" name="Freeform 84"/>
            <p:cNvSpPr>
              <a:spLocks/>
            </p:cNvSpPr>
            <p:nvPr userDrawn="1"/>
          </p:nvSpPr>
          <p:spPr bwMode="auto">
            <a:xfrm>
              <a:off x="2802088" y="4249972"/>
              <a:ext cx="85994" cy="114210"/>
            </a:xfrm>
            <a:custGeom>
              <a:avLst/>
              <a:gdLst>
                <a:gd name="T0" fmla="*/ 11 w 27"/>
                <a:gd name="T1" fmla="*/ 33 h 36"/>
                <a:gd name="T2" fmla="*/ 21 w 27"/>
                <a:gd name="T3" fmla="*/ 33 h 36"/>
                <a:gd name="T4" fmla="*/ 21 w 27"/>
                <a:gd name="T5" fmla="*/ 0 h 36"/>
                <a:gd name="T6" fmla="*/ 13 w 27"/>
                <a:gd name="T7" fmla="*/ 0 h 36"/>
                <a:gd name="T8" fmla="*/ 11 w 27"/>
                <a:gd name="T9" fmla="*/ 11 h 36"/>
                <a:gd name="T10" fmla="*/ 11 w 27"/>
                <a:gd name="T11" fmla="*/ 3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36">
                  <a:moveTo>
                    <a:pt x="11" y="33"/>
                  </a:moveTo>
                  <a:cubicBezTo>
                    <a:pt x="12" y="22"/>
                    <a:pt x="16" y="36"/>
                    <a:pt x="21" y="33"/>
                  </a:cubicBezTo>
                  <a:cubicBezTo>
                    <a:pt x="17" y="21"/>
                    <a:pt x="20" y="13"/>
                    <a:pt x="21" y="0"/>
                  </a:cubicBezTo>
                  <a:cubicBezTo>
                    <a:pt x="19" y="0"/>
                    <a:pt x="16" y="0"/>
                    <a:pt x="13" y="0"/>
                  </a:cubicBezTo>
                  <a:cubicBezTo>
                    <a:pt x="13" y="5"/>
                    <a:pt x="12" y="8"/>
                    <a:pt x="11" y="11"/>
                  </a:cubicBezTo>
                  <a:cubicBezTo>
                    <a:pt x="27" y="13"/>
                    <a:pt x="0" y="27"/>
                    <a:pt x="11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34" name="Freeform 85"/>
            <p:cNvSpPr>
              <a:spLocks/>
            </p:cNvSpPr>
            <p:nvPr userDrawn="1"/>
          </p:nvSpPr>
          <p:spPr bwMode="auto">
            <a:xfrm>
              <a:off x="2867927" y="4255347"/>
              <a:ext cx="55090" cy="64495"/>
            </a:xfrm>
            <a:custGeom>
              <a:avLst/>
              <a:gdLst>
                <a:gd name="T0" fmla="*/ 8 w 17"/>
                <a:gd name="T1" fmla="*/ 9 h 20"/>
                <a:gd name="T2" fmla="*/ 6 w 17"/>
                <a:gd name="T3" fmla="*/ 9 h 20"/>
                <a:gd name="T4" fmla="*/ 3 w 17"/>
                <a:gd name="T5" fmla="*/ 1 h 20"/>
                <a:gd name="T6" fmla="*/ 0 w 17"/>
                <a:gd name="T7" fmla="*/ 16 h 20"/>
                <a:gd name="T8" fmla="*/ 16 w 17"/>
                <a:gd name="T9" fmla="*/ 20 h 20"/>
                <a:gd name="T10" fmla="*/ 8 w 17"/>
                <a:gd name="T11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20">
                  <a:moveTo>
                    <a:pt x="8" y="9"/>
                  </a:moveTo>
                  <a:cubicBezTo>
                    <a:pt x="6" y="10"/>
                    <a:pt x="9" y="13"/>
                    <a:pt x="6" y="9"/>
                  </a:cubicBezTo>
                  <a:cubicBezTo>
                    <a:pt x="4" y="7"/>
                    <a:pt x="6" y="0"/>
                    <a:pt x="3" y="1"/>
                  </a:cubicBezTo>
                  <a:cubicBezTo>
                    <a:pt x="3" y="8"/>
                    <a:pt x="2" y="13"/>
                    <a:pt x="0" y="16"/>
                  </a:cubicBezTo>
                  <a:cubicBezTo>
                    <a:pt x="9" y="13"/>
                    <a:pt x="10" y="20"/>
                    <a:pt x="16" y="20"/>
                  </a:cubicBezTo>
                  <a:cubicBezTo>
                    <a:pt x="17" y="10"/>
                    <a:pt x="12" y="7"/>
                    <a:pt x="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35" name="Freeform 86"/>
            <p:cNvSpPr>
              <a:spLocks/>
            </p:cNvSpPr>
            <p:nvPr userDrawn="1"/>
          </p:nvSpPr>
          <p:spPr bwMode="auto">
            <a:xfrm>
              <a:off x="3081567" y="4243254"/>
              <a:ext cx="25529" cy="69870"/>
            </a:xfrm>
            <a:custGeom>
              <a:avLst/>
              <a:gdLst>
                <a:gd name="T0" fmla="*/ 0 w 8"/>
                <a:gd name="T1" fmla="*/ 13 h 22"/>
                <a:gd name="T2" fmla="*/ 6 w 8"/>
                <a:gd name="T3" fmla="*/ 20 h 22"/>
                <a:gd name="T4" fmla="*/ 0 w 8"/>
                <a:gd name="T5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2">
                  <a:moveTo>
                    <a:pt x="0" y="13"/>
                  </a:moveTo>
                  <a:cubicBezTo>
                    <a:pt x="3" y="11"/>
                    <a:pt x="5" y="22"/>
                    <a:pt x="6" y="20"/>
                  </a:cubicBezTo>
                  <a:cubicBezTo>
                    <a:pt x="8" y="17"/>
                    <a:pt x="5" y="0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36" name="Freeform 87"/>
            <p:cNvSpPr>
              <a:spLocks/>
            </p:cNvSpPr>
            <p:nvPr userDrawn="1"/>
          </p:nvSpPr>
          <p:spPr bwMode="auto">
            <a:xfrm>
              <a:off x="2928391" y="4284907"/>
              <a:ext cx="69870" cy="116898"/>
            </a:xfrm>
            <a:custGeom>
              <a:avLst/>
              <a:gdLst>
                <a:gd name="T0" fmla="*/ 6 w 22"/>
                <a:gd name="T1" fmla="*/ 26 h 37"/>
                <a:gd name="T2" fmla="*/ 13 w 22"/>
                <a:gd name="T3" fmla="*/ 37 h 37"/>
                <a:gd name="T4" fmla="*/ 22 w 22"/>
                <a:gd name="T5" fmla="*/ 29 h 37"/>
                <a:gd name="T6" fmla="*/ 6 w 22"/>
                <a:gd name="T7" fmla="*/ 11 h 37"/>
                <a:gd name="T8" fmla="*/ 16 w 22"/>
                <a:gd name="T9" fmla="*/ 18 h 37"/>
                <a:gd name="T10" fmla="*/ 19 w 22"/>
                <a:gd name="T11" fmla="*/ 7 h 37"/>
                <a:gd name="T12" fmla="*/ 8 w 22"/>
                <a:gd name="T13" fmla="*/ 0 h 37"/>
                <a:gd name="T14" fmla="*/ 0 w 22"/>
                <a:gd name="T15" fmla="*/ 11 h 37"/>
                <a:gd name="T16" fmla="*/ 6 w 22"/>
                <a:gd name="T17" fmla="*/ 2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37">
                  <a:moveTo>
                    <a:pt x="6" y="26"/>
                  </a:moveTo>
                  <a:cubicBezTo>
                    <a:pt x="8" y="30"/>
                    <a:pt x="12" y="34"/>
                    <a:pt x="13" y="37"/>
                  </a:cubicBezTo>
                  <a:cubicBezTo>
                    <a:pt x="14" y="31"/>
                    <a:pt x="21" y="35"/>
                    <a:pt x="22" y="29"/>
                  </a:cubicBezTo>
                  <a:cubicBezTo>
                    <a:pt x="17" y="23"/>
                    <a:pt x="5" y="25"/>
                    <a:pt x="6" y="11"/>
                  </a:cubicBezTo>
                  <a:cubicBezTo>
                    <a:pt x="11" y="11"/>
                    <a:pt x="9" y="21"/>
                    <a:pt x="16" y="18"/>
                  </a:cubicBezTo>
                  <a:cubicBezTo>
                    <a:pt x="16" y="13"/>
                    <a:pt x="18" y="10"/>
                    <a:pt x="19" y="7"/>
                  </a:cubicBezTo>
                  <a:cubicBezTo>
                    <a:pt x="12" y="10"/>
                    <a:pt x="13" y="0"/>
                    <a:pt x="8" y="0"/>
                  </a:cubicBezTo>
                  <a:cubicBezTo>
                    <a:pt x="7" y="5"/>
                    <a:pt x="4" y="9"/>
                    <a:pt x="0" y="11"/>
                  </a:cubicBezTo>
                  <a:cubicBezTo>
                    <a:pt x="0" y="17"/>
                    <a:pt x="3" y="22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37" name="Freeform 88"/>
            <p:cNvSpPr>
              <a:spLocks/>
            </p:cNvSpPr>
            <p:nvPr userDrawn="1"/>
          </p:nvSpPr>
          <p:spPr bwMode="auto">
            <a:xfrm>
              <a:off x="3061412" y="4319842"/>
              <a:ext cx="29560" cy="44341"/>
            </a:xfrm>
            <a:custGeom>
              <a:avLst/>
              <a:gdLst>
                <a:gd name="T0" fmla="*/ 9 w 9"/>
                <a:gd name="T1" fmla="*/ 11 h 14"/>
                <a:gd name="T2" fmla="*/ 4 w 9"/>
                <a:gd name="T3" fmla="*/ 0 h 14"/>
                <a:gd name="T4" fmla="*/ 9 w 9"/>
                <a:gd name="T5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9" y="11"/>
                  </a:moveTo>
                  <a:cubicBezTo>
                    <a:pt x="9" y="4"/>
                    <a:pt x="7" y="1"/>
                    <a:pt x="4" y="0"/>
                  </a:cubicBezTo>
                  <a:cubicBezTo>
                    <a:pt x="0" y="5"/>
                    <a:pt x="0" y="14"/>
                    <a:pt x="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38" name="Freeform 89"/>
            <p:cNvSpPr>
              <a:spLocks/>
            </p:cNvSpPr>
            <p:nvPr userDrawn="1"/>
          </p:nvSpPr>
          <p:spPr bwMode="auto">
            <a:xfrm>
              <a:off x="2988855" y="4329247"/>
              <a:ext cx="16124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39" name="Freeform 90"/>
            <p:cNvSpPr>
              <a:spLocks/>
            </p:cNvSpPr>
            <p:nvPr userDrawn="1"/>
          </p:nvSpPr>
          <p:spPr bwMode="auto">
            <a:xfrm>
              <a:off x="3072162" y="4389712"/>
              <a:ext cx="30904" cy="56433"/>
            </a:xfrm>
            <a:custGeom>
              <a:avLst/>
              <a:gdLst>
                <a:gd name="T0" fmla="*/ 3 w 10"/>
                <a:gd name="T1" fmla="*/ 18 h 18"/>
                <a:gd name="T2" fmla="*/ 1 w 10"/>
                <a:gd name="T3" fmla="*/ 4 h 18"/>
                <a:gd name="T4" fmla="*/ 3 w 10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3" y="18"/>
                  </a:moveTo>
                  <a:cubicBezTo>
                    <a:pt x="5" y="16"/>
                    <a:pt x="10" y="0"/>
                    <a:pt x="1" y="4"/>
                  </a:cubicBezTo>
                  <a:cubicBezTo>
                    <a:pt x="1" y="9"/>
                    <a:pt x="0" y="17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40" name="Freeform 91"/>
            <p:cNvSpPr>
              <a:spLocks/>
            </p:cNvSpPr>
            <p:nvPr userDrawn="1"/>
          </p:nvSpPr>
          <p:spPr bwMode="auto">
            <a:xfrm>
              <a:off x="3131282" y="4401805"/>
              <a:ext cx="22842" cy="44341"/>
            </a:xfrm>
            <a:custGeom>
              <a:avLst/>
              <a:gdLst>
                <a:gd name="T0" fmla="*/ 6 w 7"/>
                <a:gd name="T1" fmla="*/ 14 h 14"/>
                <a:gd name="T2" fmla="*/ 1 w 7"/>
                <a:gd name="T3" fmla="*/ 0 h 14"/>
                <a:gd name="T4" fmla="*/ 6 w 7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6" y="14"/>
                  </a:moveTo>
                  <a:cubicBezTo>
                    <a:pt x="7" y="6"/>
                    <a:pt x="5" y="1"/>
                    <a:pt x="1" y="0"/>
                  </a:cubicBezTo>
                  <a:cubicBezTo>
                    <a:pt x="0" y="8"/>
                    <a:pt x="1" y="14"/>
                    <a:pt x="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41" name="Freeform 92"/>
            <p:cNvSpPr>
              <a:spLocks/>
            </p:cNvSpPr>
            <p:nvPr userDrawn="1"/>
          </p:nvSpPr>
          <p:spPr bwMode="auto">
            <a:xfrm>
              <a:off x="2807462" y="4378963"/>
              <a:ext cx="45684" cy="115554"/>
            </a:xfrm>
            <a:custGeom>
              <a:avLst/>
              <a:gdLst>
                <a:gd name="T0" fmla="*/ 14 w 14"/>
                <a:gd name="T1" fmla="*/ 18 h 36"/>
                <a:gd name="T2" fmla="*/ 11 w 14"/>
                <a:gd name="T3" fmla="*/ 14 h 36"/>
                <a:gd name="T4" fmla="*/ 14 w 14"/>
                <a:gd name="T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36">
                  <a:moveTo>
                    <a:pt x="14" y="18"/>
                  </a:moveTo>
                  <a:cubicBezTo>
                    <a:pt x="11" y="19"/>
                    <a:pt x="12" y="15"/>
                    <a:pt x="11" y="14"/>
                  </a:cubicBezTo>
                  <a:cubicBezTo>
                    <a:pt x="0" y="0"/>
                    <a:pt x="4" y="36"/>
                    <a:pt x="1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42" name="Freeform 93"/>
            <p:cNvSpPr>
              <a:spLocks/>
            </p:cNvSpPr>
            <p:nvPr userDrawn="1"/>
          </p:nvSpPr>
          <p:spPr bwMode="auto">
            <a:xfrm>
              <a:off x="2923016" y="4439427"/>
              <a:ext cx="81963" cy="83306"/>
            </a:xfrm>
            <a:custGeom>
              <a:avLst/>
              <a:gdLst>
                <a:gd name="T0" fmla="*/ 18 w 26"/>
                <a:gd name="T1" fmla="*/ 21 h 26"/>
                <a:gd name="T2" fmla="*/ 24 w 26"/>
                <a:gd name="T3" fmla="*/ 2 h 26"/>
                <a:gd name="T4" fmla="*/ 8 w 26"/>
                <a:gd name="T5" fmla="*/ 17 h 26"/>
                <a:gd name="T6" fmla="*/ 18 w 26"/>
                <a:gd name="T7" fmla="*/ 2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6">
                  <a:moveTo>
                    <a:pt x="18" y="21"/>
                  </a:moveTo>
                  <a:cubicBezTo>
                    <a:pt x="14" y="7"/>
                    <a:pt x="26" y="14"/>
                    <a:pt x="24" y="2"/>
                  </a:cubicBezTo>
                  <a:cubicBezTo>
                    <a:pt x="15" y="0"/>
                    <a:pt x="0" y="9"/>
                    <a:pt x="8" y="17"/>
                  </a:cubicBezTo>
                  <a:cubicBezTo>
                    <a:pt x="10" y="6"/>
                    <a:pt x="12" y="26"/>
                    <a:pt x="18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43" name="Freeform 94"/>
            <p:cNvSpPr>
              <a:spLocks/>
            </p:cNvSpPr>
            <p:nvPr userDrawn="1"/>
          </p:nvSpPr>
          <p:spPr bwMode="auto">
            <a:xfrm>
              <a:off x="3252211" y="4446145"/>
              <a:ext cx="34935" cy="85994"/>
            </a:xfrm>
            <a:custGeom>
              <a:avLst/>
              <a:gdLst>
                <a:gd name="T0" fmla="*/ 11 w 11"/>
                <a:gd name="T1" fmla="*/ 23 h 27"/>
                <a:gd name="T2" fmla="*/ 3 w 11"/>
                <a:gd name="T3" fmla="*/ 0 h 27"/>
                <a:gd name="T4" fmla="*/ 11 w 11"/>
                <a:gd name="T5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7">
                  <a:moveTo>
                    <a:pt x="11" y="23"/>
                  </a:moveTo>
                  <a:cubicBezTo>
                    <a:pt x="10" y="13"/>
                    <a:pt x="7" y="6"/>
                    <a:pt x="3" y="0"/>
                  </a:cubicBezTo>
                  <a:cubicBezTo>
                    <a:pt x="1" y="4"/>
                    <a:pt x="0" y="27"/>
                    <a:pt x="1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44" name="Freeform 95"/>
            <p:cNvSpPr>
              <a:spLocks/>
            </p:cNvSpPr>
            <p:nvPr userDrawn="1"/>
          </p:nvSpPr>
          <p:spPr bwMode="auto">
            <a:xfrm>
              <a:off x="2827617" y="4483767"/>
              <a:ext cx="28217" cy="22842"/>
            </a:xfrm>
            <a:custGeom>
              <a:avLst/>
              <a:gdLst>
                <a:gd name="T0" fmla="*/ 3 w 9"/>
                <a:gd name="T1" fmla="*/ 0 h 7"/>
                <a:gd name="T2" fmla="*/ 0 w 9"/>
                <a:gd name="T3" fmla="*/ 7 h 7"/>
                <a:gd name="T4" fmla="*/ 8 w 9"/>
                <a:gd name="T5" fmla="*/ 0 h 7"/>
                <a:gd name="T6" fmla="*/ 3 w 9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3" y="0"/>
                  </a:moveTo>
                  <a:cubicBezTo>
                    <a:pt x="3" y="3"/>
                    <a:pt x="0" y="4"/>
                    <a:pt x="0" y="7"/>
                  </a:cubicBezTo>
                  <a:cubicBezTo>
                    <a:pt x="4" y="7"/>
                    <a:pt x="9" y="7"/>
                    <a:pt x="8" y="0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45" name="Freeform 96"/>
            <p:cNvSpPr>
              <a:spLocks/>
            </p:cNvSpPr>
            <p:nvPr userDrawn="1"/>
          </p:nvSpPr>
          <p:spPr bwMode="auto">
            <a:xfrm>
              <a:off x="3109784" y="4483767"/>
              <a:ext cx="47028" cy="69870"/>
            </a:xfrm>
            <a:custGeom>
              <a:avLst/>
              <a:gdLst>
                <a:gd name="T0" fmla="*/ 8 w 15"/>
                <a:gd name="T1" fmla="*/ 22 h 22"/>
                <a:gd name="T2" fmla="*/ 13 w 15"/>
                <a:gd name="T3" fmla="*/ 22 h 22"/>
                <a:gd name="T4" fmla="*/ 8 w 15"/>
                <a:gd name="T5" fmla="*/ 7 h 22"/>
                <a:gd name="T6" fmla="*/ 8 w 15"/>
                <a:gd name="T7" fmla="*/ 0 h 22"/>
                <a:gd name="T8" fmla="*/ 8 w 15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2">
                  <a:moveTo>
                    <a:pt x="8" y="22"/>
                  </a:moveTo>
                  <a:cubicBezTo>
                    <a:pt x="8" y="17"/>
                    <a:pt x="11" y="19"/>
                    <a:pt x="13" y="22"/>
                  </a:cubicBezTo>
                  <a:cubicBezTo>
                    <a:pt x="15" y="12"/>
                    <a:pt x="8" y="14"/>
                    <a:pt x="8" y="7"/>
                  </a:cubicBezTo>
                  <a:cubicBezTo>
                    <a:pt x="10" y="7"/>
                    <a:pt x="11" y="0"/>
                    <a:pt x="8" y="0"/>
                  </a:cubicBezTo>
                  <a:cubicBezTo>
                    <a:pt x="4" y="8"/>
                    <a:pt x="0" y="16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46" name="Freeform 97"/>
            <p:cNvSpPr>
              <a:spLocks/>
            </p:cNvSpPr>
            <p:nvPr userDrawn="1"/>
          </p:nvSpPr>
          <p:spPr bwMode="auto">
            <a:xfrm>
              <a:off x="3151437" y="4481080"/>
              <a:ext cx="24186" cy="44341"/>
            </a:xfrm>
            <a:custGeom>
              <a:avLst/>
              <a:gdLst>
                <a:gd name="T0" fmla="*/ 8 w 8"/>
                <a:gd name="T1" fmla="*/ 1 h 14"/>
                <a:gd name="T2" fmla="*/ 0 w 8"/>
                <a:gd name="T3" fmla="*/ 12 h 14"/>
                <a:gd name="T4" fmla="*/ 8 w 8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4">
                  <a:moveTo>
                    <a:pt x="8" y="1"/>
                  </a:moveTo>
                  <a:cubicBezTo>
                    <a:pt x="2" y="0"/>
                    <a:pt x="0" y="4"/>
                    <a:pt x="0" y="12"/>
                  </a:cubicBezTo>
                  <a:cubicBezTo>
                    <a:pt x="7" y="14"/>
                    <a:pt x="5" y="4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47" name="Freeform 98"/>
            <p:cNvSpPr>
              <a:spLocks/>
            </p:cNvSpPr>
            <p:nvPr userDrawn="1"/>
          </p:nvSpPr>
          <p:spPr bwMode="auto">
            <a:xfrm>
              <a:off x="3217276" y="4513328"/>
              <a:ext cx="25529" cy="69870"/>
            </a:xfrm>
            <a:custGeom>
              <a:avLst/>
              <a:gdLst>
                <a:gd name="T0" fmla="*/ 3 w 8"/>
                <a:gd name="T1" fmla="*/ 2 h 22"/>
                <a:gd name="T2" fmla="*/ 1 w 8"/>
                <a:gd name="T3" fmla="*/ 16 h 22"/>
                <a:gd name="T4" fmla="*/ 3 w 8"/>
                <a:gd name="T5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2">
                  <a:moveTo>
                    <a:pt x="3" y="2"/>
                  </a:moveTo>
                  <a:cubicBezTo>
                    <a:pt x="4" y="9"/>
                    <a:pt x="0" y="10"/>
                    <a:pt x="1" y="16"/>
                  </a:cubicBezTo>
                  <a:cubicBezTo>
                    <a:pt x="8" y="22"/>
                    <a:pt x="8" y="0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48" name="Freeform 99"/>
            <p:cNvSpPr>
              <a:spLocks/>
            </p:cNvSpPr>
            <p:nvPr userDrawn="1"/>
          </p:nvSpPr>
          <p:spPr bwMode="auto">
            <a:xfrm>
              <a:off x="3252211" y="4499891"/>
              <a:ext cx="16124" cy="67183"/>
            </a:xfrm>
            <a:custGeom>
              <a:avLst/>
              <a:gdLst>
                <a:gd name="T0" fmla="*/ 3 w 5"/>
                <a:gd name="T1" fmla="*/ 20 h 21"/>
                <a:gd name="T2" fmla="*/ 0 w 5"/>
                <a:gd name="T3" fmla="*/ 13 h 21"/>
                <a:gd name="T4" fmla="*/ 3 w 5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1">
                  <a:moveTo>
                    <a:pt x="3" y="20"/>
                  </a:moveTo>
                  <a:cubicBezTo>
                    <a:pt x="5" y="20"/>
                    <a:pt x="4" y="0"/>
                    <a:pt x="0" y="13"/>
                  </a:cubicBezTo>
                  <a:cubicBezTo>
                    <a:pt x="0" y="15"/>
                    <a:pt x="1" y="21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49" name="Freeform 100"/>
            <p:cNvSpPr>
              <a:spLocks/>
            </p:cNvSpPr>
            <p:nvPr userDrawn="1"/>
          </p:nvSpPr>
          <p:spPr bwMode="auto">
            <a:xfrm>
              <a:off x="2704001" y="4563043"/>
              <a:ext cx="40310" cy="102118"/>
            </a:xfrm>
            <a:custGeom>
              <a:avLst/>
              <a:gdLst>
                <a:gd name="T0" fmla="*/ 4 w 13"/>
                <a:gd name="T1" fmla="*/ 0 h 32"/>
                <a:gd name="T2" fmla="*/ 1 w 13"/>
                <a:gd name="T3" fmla="*/ 8 h 32"/>
                <a:gd name="T4" fmla="*/ 4 w 13"/>
                <a:gd name="T5" fmla="*/ 19 h 32"/>
                <a:gd name="T6" fmla="*/ 4 w 13"/>
                <a:gd name="T7" fmla="*/ 26 h 32"/>
                <a:gd name="T8" fmla="*/ 9 w 13"/>
                <a:gd name="T9" fmla="*/ 26 h 32"/>
                <a:gd name="T10" fmla="*/ 4 w 13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32">
                  <a:moveTo>
                    <a:pt x="4" y="0"/>
                  </a:moveTo>
                  <a:cubicBezTo>
                    <a:pt x="3" y="3"/>
                    <a:pt x="4" y="8"/>
                    <a:pt x="1" y="8"/>
                  </a:cubicBezTo>
                  <a:cubicBezTo>
                    <a:pt x="0" y="13"/>
                    <a:pt x="4" y="16"/>
                    <a:pt x="4" y="19"/>
                  </a:cubicBezTo>
                  <a:cubicBezTo>
                    <a:pt x="5" y="25"/>
                    <a:pt x="1" y="22"/>
                    <a:pt x="4" y="26"/>
                  </a:cubicBezTo>
                  <a:cubicBezTo>
                    <a:pt x="5" y="28"/>
                    <a:pt x="8" y="32"/>
                    <a:pt x="9" y="26"/>
                  </a:cubicBezTo>
                  <a:cubicBezTo>
                    <a:pt x="3" y="19"/>
                    <a:pt x="13" y="7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50" name="Freeform 101"/>
            <p:cNvSpPr>
              <a:spLocks/>
            </p:cNvSpPr>
            <p:nvPr userDrawn="1"/>
          </p:nvSpPr>
          <p:spPr bwMode="auto">
            <a:xfrm>
              <a:off x="3074849" y="4563043"/>
              <a:ext cx="16124" cy="25529"/>
            </a:xfrm>
            <a:custGeom>
              <a:avLst/>
              <a:gdLst>
                <a:gd name="T0" fmla="*/ 0 w 5"/>
                <a:gd name="T1" fmla="*/ 8 h 8"/>
                <a:gd name="T2" fmla="*/ 5 w 5"/>
                <a:gd name="T3" fmla="*/ 8 h 8"/>
                <a:gd name="T4" fmla="*/ 5 w 5"/>
                <a:gd name="T5" fmla="*/ 0 h 8"/>
                <a:gd name="T6" fmla="*/ 0 w 5"/>
                <a:gd name="T7" fmla="*/ 0 h 8"/>
                <a:gd name="T8" fmla="*/ 0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0" y="8"/>
                  </a:moveTo>
                  <a:cubicBezTo>
                    <a:pt x="2" y="8"/>
                    <a:pt x="3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51" name="Freeform 102"/>
            <p:cNvSpPr>
              <a:spLocks/>
            </p:cNvSpPr>
            <p:nvPr userDrawn="1"/>
          </p:nvSpPr>
          <p:spPr bwMode="auto">
            <a:xfrm>
              <a:off x="3335517" y="4563043"/>
              <a:ext cx="59121" cy="64495"/>
            </a:xfrm>
            <a:custGeom>
              <a:avLst/>
              <a:gdLst>
                <a:gd name="T0" fmla="*/ 12 w 19"/>
                <a:gd name="T1" fmla="*/ 0 h 20"/>
                <a:gd name="T2" fmla="*/ 4 w 19"/>
                <a:gd name="T3" fmla="*/ 15 h 20"/>
                <a:gd name="T4" fmla="*/ 12 w 19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20">
                  <a:moveTo>
                    <a:pt x="12" y="0"/>
                  </a:moveTo>
                  <a:cubicBezTo>
                    <a:pt x="11" y="8"/>
                    <a:pt x="0" y="1"/>
                    <a:pt x="4" y="15"/>
                  </a:cubicBezTo>
                  <a:cubicBezTo>
                    <a:pt x="12" y="20"/>
                    <a:pt x="19" y="5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52" name="Freeform 103"/>
            <p:cNvSpPr>
              <a:spLocks/>
            </p:cNvSpPr>
            <p:nvPr userDrawn="1"/>
          </p:nvSpPr>
          <p:spPr bwMode="auto">
            <a:xfrm>
              <a:off x="3240118" y="4588572"/>
              <a:ext cx="30904" cy="64495"/>
            </a:xfrm>
            <a:custGeom>
              <a:avLst/>
              <a:gdLst>
                <a:gd name="T0" fmla="*/ 4 w 10"/>
                <a:gd name="T1" fmla="*/ 0 h 20"/>
                <a:gd name="T2" fmla="*/ 10 w 10"/>
                <a:gd name="T3" fmla="*/ 11 h 20"/>
                <a:gd name="T4" fmla="*/ 4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4" y="0"/>
                  </a:moveTo>
                  <a:cubicBezTo>
                    <a:pt x="0" y="8"/>
                    <a:pt x="5" y="20"/>
                    <a:pt x="10" y="11"/>
                  </a:cubicBezTo>
                  <a:cubicBezTo>
                    <a:pt x="5" y="11"/>
                    <a:pt x="8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53" name="Freeform 104"/>
            <p:cNvSpPr>
              <a:spLocks/>
            </p:cNvSpPr>
            <p:nvPr userDrawn="1"/>
          </p:nvSpPr>
          <p:spPr bwMode="auto">
            <a:xfrm>
              <a:off x="2998261" y="4585885"/>
              <a:ext cx="60464" cy="47028"/>
            </a:xfrm>
            <a:custGeom>
              <a:avLst/>
              <a:gdLst>
                <a:gd name="T0" fmla="*/ 19 w 19"/>
                <a:gd name="T1" fmla="*/ 5 h 15"/>
                <a:gd name="T2" fmla="*/ 0 w 19"/>
                <a:gd name="T3" fmla="*/ 8 h 15"/>
                <a:gd name="T4" fmla="*/ 10 w 19"/>
                <a:gd name="T5" fmla="*/ 8 h 15"/>
                <a:gd name="T6" fmla="*/ 16 w 19"/>
                <a:gd name="T7" fmla="*/ 12 h 15"/>
                <a:gd name="T8" fmla="*/ 19 w 19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19" y="5"/>
                  </a:moveTo>
                  <a:cubicBezTo>
                    <a:pt x="13" y="7"/>
                    <a:pt x="1" y="0"/>
                    <a:pt x="0" y="8"/>
                  </a:cubicBezTo>
                  <a:cubicBezTo>
                    <a:pt x="3" y="15"/>
                    <a:pt x="7" y="9"/>
                    <a:pt x="10" y="8"/>
                  </a:cubicBezTo>
                  <a:cubicBezTo>
                    <a:pt x="11" y="8"/>
                    <a:pt x="12" y="14"/>
                    <a:pt x="16" y="12"/>
                  </a:cubicBezTo>
                  <a:cubicBezTo>
                    <a:pt x="17" y="11"/>
                    <a:pt x="17" y="5"/>
                    <a:pt x="19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54" name="Freeform 105"/>
            <p:cNvSpPr>
              <a:spLocks/>
            </p:cNvSpPr>
            <p:nvPr userDrawn="1"/>
          </p:nvSpPr>
          <p:spPr bwMode="auto">
            <a:xfrm>
              <a:off x="3284459" y="4604696"/>
              <a:ext cx="25529" cy="76588"/>
            </a:xfrm>
            <a:custGeom>
              <a:avLst/>
              <a:gdLst>
                <a:gd name="T0" fmla="*/ 1 w 8"/>
                <a:gd name="T1" fmla="*/ 6 h 24"/>
                <a:gd name="T2" fmla="*/ 1 w 8"/>
                <a:gd name="T3" fmla="*/ 21 h 24"/>
                <a:gd name="T4" fmla="*/ 4 w 8"/>
                <a:gd name="T5" fmla="*/ 6 h 24"/>
                <a:gd name="T6" fmla="*/ 6 w 8"/>
                <a:gd name="T7" fmla="*/ 2 h 24"/>
                <a:gd name="T8" fmla="*/ 1 w 8"/>
                <a:gd name="T9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4">
                  <a:moveTo>
                    <a:pt x="1" y="6"/>
                  </a:moveTo>
                  <a:cubicBezTo>
                    <a:pt x="1" y="8"/>
                    <a:pt x="0" y="19"/>
                    <a:pt x="1" y="21"/>
                  </a:cubicBezTo>
                  <a:cubicBezTo>
                    <a:pt x="3" y="24"/>
                    <a:pt x="4" y="9"/>
                    <a:pt x="4" y="6"/>
                  </a:cubicBezTo>
                  <a:cubicBezTo>
                    <a:pt x="4" y="6"/>
                    <a:pt x="8" y="5"/>
                    <a:pt x="6" y="2"/>
                  </a:cubicBezTo>
                  <a:cubicBezTo>
                    <a:pt x="5" y="0"/>
                    <a:pt x="1" y="5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55" name="Freeform 106"/>
            <p:cNvSpPr>
              <a:spLocks/>
            </p:cNvSpPr>
            <p:nvPr userDrawn="1"/>
          </p:nvSpPr>
          <p:spPr bwMode="auto">
            <a:xfrm>
              <a:off x="3131282" y="4623507"/>
              <a:ext cx="41653" cy="34935"/>
            </a:xfrm>
            <a:custGeom>
              <a:avLst/>
              <a:gdLst>
                <a:gd name="T0" fmla="*/ 3 w 13"/>
                <a:gd name="T1" fmla="*/ 11 h 11"/>
                <a:gd name="T2" fmla="*/ 9 w 13"/>
                <a:gd name="T3" fmla="*/ 11 h 11"/>
                <a:gd name="T4" fmla="*/ 1 w 13"/>
                <a:gd name="T5" fmla="*/ 7 h 11"/>
                <a:gd name="T6" fmla="*/ 3 w 13"/>
                <a:gd name="T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3" y="11"/>
                  </a:moveTo>
                  <a:cubicBezTo>
                    <a:pt x="5" y="11"/>
                    <a:pt x="7" y="11"/>
                    <a:pt x="9" y="11"/>
                  </a:cubicBezTo>
                  <a:cubicBezTo>
                    <a:pt x="13" y="2"/>
                    <a:pt x="0" y="0"/>
                    <a:pt x="1" y="7"/>
                  </a:cubicBezTo>
                  <a:cubicBezTo>
                    <a:pt x="2" y="8"/>
                    <a:pt x="4" y="8"/>
                    <a:pt x="3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56" name="Freeform 107"/>
            <p:cNvSpPr>
              <a:spLocks/>
            </p:cNvSpPr>
            <p:nvPr userDrawn="1"/>
          </p:nvSpPr>
          <p:spPr bwMode="auto">
            <a:xfrm>
              <a:off x="3433604" y="4636944"/>
              <a:ext cx="16124" cy="21498"/>
            </a:xfrm>
            <a:custGeom>
              <a:avLst/>
              <a:gdLst>
                <a:gd name="T0" fmla="*/ 0 w 5"/>
                <a:gd name="T1" fmla="*/ 7 h 7"/>
                <a:gd name="T2" fmla="*/ 5 w 5"/>
                <a:gd name="T3" fmla="*/ 7 h 7"/>
                <a:gd name="T4" fmla="*/ 5 w 5"/>
                <a:gd name="T5" fmla="*/ 0 h 7"/>
                <a:gd name="T6" fmla="*/ 0 w 5"/>
                <a:gd name="T7" fmla="*/ 0 h 7"/>
                <a:gd name="T8" fmla="*/ 0 w 5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0" y="7"/>
                  </a:moveTo>
                  <a:cubicBezTo>
                    <a:pt x="2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57" name="Freeform 108"/>
            <p:cNvSpPr>
              <a:spLocks/>
            </p:cNvSpPr>
            <p:nvPr userDrawn="1"/>
          </p:nvSpPr>
          <p:spPr bwMode="auto">
            <a:xfrm>
              <a:off x="2923016" y="4646349"/>
              <a:ext cx="49715" cy="95399"/>
            </a:xfrm>
            <a:custGeom>
              <a:avLst/>
              <a:gdLst>
                <a:gd name="T0" fmla="*/ 5 w 16"/>
                <a:gd name="T1" fmla="*/ 0 h 30"/>
                <a:gd name="T2" fmla="*/ 13 w 16"/>
                <a:gd name="T3" fmla="*/ 30 h 30"/>
                <a:gd name="T4" fmla="*/ 8 w 16"/>
                <a:gd name="T5" fmla="*/ 4 h 30"/>
                <a:gd name="T6" fmla="*/ 5 w 16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0">
                  <a:moveTo>
                    <a:pt x="5" y="0"/>
                  </a:moveTo>
                  <a:cubicBezTo>
                    <a:pt x="0" y="17"/>
                    <a:pt x="7" y="19"/>
                    <a:pt x="13" y="30"/>
                  </a:cubicBezTo>
                  <a:cubicBezTo>
                    <a:pt x="16" y="15"/>
                    <a:pt x="7" y="15"/>
                    <a:pt x="8" y="4"/>
                  </a:cubicBezTo>
                  <a:cubicBezTo>
                    <a:pt x="7" y="2"/>
                    <a:pt x="7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58" name="Freeform 109"/>
            <p:cNvSpPr>
              <a:spLocks/>
            </p:cNvSpPr>
            <p:nvPr userDrawn="1"/>
          </p:nvSpPr>
          <p:spPr bwMode="auto">
            <a:xfrm>
              <a:off x="3100378" y="4646349"/>
              <a:ext cx="16124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59" name="Freeform 110"/>
            <p:cNvSpPr>
              <a:spLocks/>
            </p:cNvSpPr>
            <p:nvPr userDrawn="1"/>
          </p:nvSpPr>
          <p:spPr bwMode="auto">
            <a:xfrm>
              <a:off x="3201152" y="4627538"/>
              <a:ext cx="34935" cy="65839"/>
            </a:xfrm>
            <a:custGeom>
              <a:avLst/>
              <a:gdLst>
                <a:gd name="T0" fmla="*/ 0 w 11"/>
                <a:gd name="T1" fmla="*/ 10 h 21"/>
                <a:gd name="T2" fmla="*/ 8 w 11"/>
                <a:gd name="T3" fmla="*/ 21 h 21"/>
                <a:gd name="T4" fmla="*/ 0 w 11"/>
                <a:gd name="T5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1">
                  <a:moveTo>
                    <a:pt x="0" y="10"/>
                  </a:moveTo>
                  <a:cubicBezTo>
                    <a:pt x="6" y="9"/>
                    <a:pt x="3" y="21"/>
                    <a:pt x="8" y="21"/>
                  </a:cubicBezTo>
                  <a:cubicBezTo>
                    <a:pt x="11" y="12"/>
                    <a:pt x="3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60" name="Freeform 111"/>
            <p:cNvSpPr>
              <a:spLocks/>
            </p:cNvSpPr>
            <p:nvPr userDrawn="1"/>
          </p:nvSpPr>
          <p:spPr bwMode="auto">
            <a:xfrm>
              <a:off x="2893456" y="4671879"/>
              <a:ext cx="18811" cy="44341"/>
            </a:xfrm>
            <a:custGeom>
              <a:avLst/>
              <a:gdLst>
                <a:gd name="T0" fmla="*/ 0 w 6"/>
                <a:gd name="T1" fmla="*/ 14 h 14"/>
                <a:gd name="T2" fmla="*/ 6 w 6"/>
                <a:gd name="T3" fmla="*/ 14 h 14"/>
                <a:gd name="T4" fmla="*/ 6 w 6"/>
                <a:gd name="T5" fmla="*/ 0 h 14"/>
                <a:gd name="T6" fmla="*/ 0 w 6"/>
                <a:gd name="T7" fmla="*/ 0 h 14"/>
                <a:gd name="T8" fmla="*/ 0 w 6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2" y="14"/>
                    <a:pt x="4" y="14"/>
                    <a:pt x="6" y="14"/>
                  </a:cubicBezTo>
                  <a:cubicBezTo>
                    <a:pt x="6" y="10"/>
                    <a:pt x="6" y="5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61" name="Freeform 112"/>
            <p:cNvSpPr>
              <a:spLocks/>
            </p:cNvSpPr>
            <p:nvPr userDrawn="1"/>
          </p:nvSpPr>
          <p:spPr bwMode="auto">
            <a:xfrm>
              <a:off x="3370452" y="4671879"/>
              <a:ext cx="21498" cy="44341"/>
            </a:xfrm>
            <a:custGeom>
              <a:avLst/>
              <a:gdLst>
                <a:gd name="T0" fmla="*/ 1 w 7"/>
                <a:gd name="T1" fmla="*/ 0 h 14"/>
                <a:gd name="T2" fmla="*/ 4 w 7"/>
                <a:gd name="T3" fmla="*/ 14 h 14"/>
                <a:gd name="T4" fmla="*/ 1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1" y="0"/>
                  </a:moveTo>
                  <a:cubicBezTo>
                    <a:pt x="1" y="5"/>
                    <a:pt x="0" y="13"/>
                    <a:pt x="4" y="14"/>
                  </a:cubicBezTo>
                  <a:cubicBezTo>
                    <a:pt x="7" y="10"/>
                    <a:pt x="7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62" name="Freeform 113"/>
            <p:cNvSpPr>
              <a:spLocks/>
            </p:cNvSpPr>
            <p:nvPr userDrawn="1"/>
          </p:nvSpPr>
          <p:spPr bwMode="auto">
            <a:xfrm>
              <a:off x="3280428" y="4681284"/>
              <a:ext cx="32248" cy="34935"/>
            </a:xfrm>
            <a:custGeom>
              <a:avLst/>
              <a:gdLst>
                <a:gd name="T0" fmla="*/ 5 w 10"/>
                <a:gd name="T1" fmla="*/ 0 h 11"/>
                <a:gd name="T2" fmla="*/ 5 w 10"/>
                <a:gd name="T3" fmla="*/ 11 h 11"/>
                <a:gd name="T4" fmla="*/ 5 w 10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5" y="0"/>
                  </a:moveTo>
                  <a:cubicBezTo>
                    <a:pt x="4" y="5"/>
                    <a:pt x="0" y="9"/>
                    <a:pt x="5" y="11"/>
                  </a:cubicBezTo>
                  <a:cubicBezTo>
                    <a:pt x="5" y="7"/>
                    <a:pt x="10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63" name="Freeform 114"/>
            <p:cNvSpPr>
              <a:spLocks/>
            </p:cNvSpPr>
            <p:nvPr userDrawn="1"/>
          </p:nvSpPr>
          <p:spPr bwMode="auto">
            <a:xfrm>
              <a:off x="3410762" y="4690690"/>
              <a:ext cx="29560" cy="79275"/>
            </a:xfrm>
            <a:custGeom>
              <a:avLst/>
              <a:gdLst>
                <a:gd name="T0" fmla="*/ 1 w 9"/>
                <a:gd name="T1" fmla="*/ 20 h 25"/>
                <a:gd name="T2" fmla="*/ 4 w 9"/>
                <a:gd name="T3" fmla="*/ 1 h 25"/>
                <a:gd name="T4" fmla="*/ 1 w 9"/>
                <a:gd name="T5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5">
                  <a:moveTo>
                    <a:pt x="1" y="20"/>
                  </a:moveTo>
                  <a:cubicBezTo>
                    <a:pt x="9" y="25"/>
                    <a:pt x="8" y="0"/>
                    <a:pt x="4" y="1"/>
                  </a:cubicBezTo>
                  <a:cubicBezTo>
                    <a:pt x="6" y="12"/>
                    <a:pt x="0" y="11"/>
                    <a:pt x="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64" name="Freeform 115"/>
            <p:cNvSpPr>
              <a:spLocks/>
            </p:cNvSpPr>
            <p:nvPr userDrawn="1"/>
          </p:nvSpPr>
          <p:spPr bwMode="auto">
            <a:xfrm>
              <a:off x="3468539" y="4712188"/>
              <a:ext cx="25529" cy="29560"/>
            </a:xfrm>
            <a:custGeom>
              <a:avLst/>
              <a:gdLst>
                <a:gd name="T0" fmla="*/ 0 w 8"/>
                <a:gd name="T1" fmla="*/ 1 h 9"/>
                <a:gd name="T2" fmla="*/ 0 w 8"/>
                <a:gd name="T3" fmla="*/ 9 h 9"/>
                <a:gd name="T4" fmla="*/ 8 w 8"/>
                <a:gd name="T5" fmla="*/ 9 h 9"/>
                <a:gd name="T6" fmla="*/ 0 w 8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5" y="9"/>
                    <a:pt x="8" y="9"/>
                  </a:cubicBezTo>
                  <a:cubicBezTo>
                    <a:pt x="8" y="2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65" name="Freeform 116"/>
            <p:cNvSpPr>
              <a:spLocks/>
            </p:cNvSpPr>
            <p:nvPr userDrawn="1"/>
          </p:nvSpPr>
          <p:spPr bwMode="auto">
            <a:xfrm>
              <a:off x="3135313" y="4737718"/>
              <a:ext cx="51059" cy="57777"/>
            </a:xfrm>
            <a:custGeom>
              <a:avLst/>
              <a:gdLst>
                <a:gd name="T0" fmla="*/ 0 w 16"/>
                <a:gd name="T1" fmla="*/ 8 h 18"/>
                <a:gd name="T2" fmla="*/ 13 w 16"/>
                <a:gd name="T3" fmla="*/ 16 h 18"/>
                <a:gd name="T4" fmla="*/ 16 w 16"/>
                <a:gd name="T5" fmla="*/ 5 h 18"/>
                <a:gd name="T6" fmla="*/ 0 w 16"/>
                <a:gd name="T7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8">
                  <a:moveTo>
                    <a:pt x="0" y="8"/>
                  </a:moveTo>
                  <a:cubicBezTo>
                    <a:pt x="8" y="6"/>
                    <a:pt x="5" y="18"/>
                    <a:pt x="13" y="16"/>
                  </a:cubicBezTo>
                  <a:cubicBezTo>
                    <a:pt x="13" y="11"/>
                    <a:pt x="14" y="8"/>
                    <a:pt x="16" y="5"/>
                  </a:cubicBezTo>
                  <a:cubicBezTo>
                    <a:pt x="11" y="7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66" name="Freeform 117"/>
            <p:cNvSpPr>
              <a:spLocks/>
            </p:cNvSpPr>
            <p:nvPr userDrawn="1"/>
          </p:nvSpPr>
          <p:spPr bwMode="auto">
            <a:xfrm>
              <a:off x="3379858" y="4776684"/>
              <a:ext cx="47028" cy="65839"/>
            </a:xfrm>
            <a:custGeom>
              <a:avLst/>
              <a:gdLst>
                <a:gd name="T0" fmla="*/ 3 w 15"/>
                <a:gd name="T1" fmla="*/ 0 h 21"/>
                <a:gd name="T2" fmla="*/ 3 w 15"/>
                <a:gd name="T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1">
                  <a:moveTo>
                    <a:pt x="3" y="0"/>
                  </a:moveTo>
                  <a:cubicBezTo>
                    <a:pt x="0" y="21"/>
                    <a:pt x="15" y="2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67" name="Freeform 118"/>
            <p:cNvSpPr>
              <a:spLocks/>
            </p:cNvSpPr>
            <p:nvPr userDrawn="1"/>
          </p:nvSpPr>
          <p:spPr bwMode="auto">
            <a:xfrm>
              <a:off x="3452415" y="4798182"/>
              <a:ext cx="32248" cy="79275"/>
            </a:xfrm>
            <a:custGeom>
              <a:avLst/>
              <a:gdLst>
                <a:gd name="T0" fmla="*/ 5 w 10"/>
                <a:gd name="T1" fmla="*/ 0 h 25"/>
                <a:gd name="T2" fmla="*/ 2 w 10"/>
                <a:gd name="T3" fmla="*/ 19 h 25"/>
                <a:gd name="T4" fmla="*/ 5 w 10"/>
                <a:gd name="T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5">
                  <a:moveTo>
                    <a:pt x="5" y="0"/>
                  </a:moveTo>
                  <a:cubicBezTo>
                    <a:pt x="6" y="9"/>
                    <a:pt x="0" y="8"/>
                    <a:pt x="2" y="19"/>
                  </a:cubicBezTo>
                  <a:cubicBezTo>
                    <a:pt x="10" y="25"/>
                    <a:pt x="9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68" name="Freeform 119"/>
            <p:cNvSpPr>
              <a:spLocks/>
            </p:cNvSpPr>
            <p:nvPr userDrawn="1"/>
          </p:nvSpPr>
          <p:spPr bwMode="auto">
            <a:xfrm>
              <a:off x="3357016" y="4807588"/>
              <a:ext cx="104805" cy="69870"/>
            </a:xfrm>
            <a:custGeom>
              <a:avLst/>
              <a:gdLst>
                <a:gd name="T0" fmla="*/ 2 w 33"/>
                <a:gd name="T1" fmla="*/ 5 h 22"/>
                <a:gd name="T2" fmla="*/ 16 w 33"/>
                <a:gd name="T3" fmla="*/ 12 h 22"/>
                <a:gd name="T4" fmla="*/ 24 w 33"/>
                <a:gd name="T5" fmla="*/ 20 h 22"/>
                <a:gd name="T6" fmla="*/ 2 w 33"/>
                <a:gd name="T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22">
                  <a:moveTo>
                    <a:pt x="2" y="5"/>
                  </a:moveTo>
                  <a:cubicBezTo>
                    <a:pt x="0" y="17"/>
                    <a:pt x="11" y="10"/>
                    <a:pt x="16" y="12"/>
                  </a:cubicBezTo>
                  <a:cubicBezTo>
                    <a:pt x="18" y="13"/>
                    <a:pt x="18" y="22"/>
                    <a:pt x="24" y="20"/>
                  </a:cubicBezTo>
                  <a:cubicBezTo>
                    <a:pt x="33" y="6"/>
                    <a:pt x="7" y="0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69" name="Freeform 120"/>
            <p:cNvSpPr>
              <a:spLocks/>
            </p:cNvSpPr>
            <p:nvPr userDrawn="1"/>
          </p:nvSpPr>
          <p:spPr bwMode="auto">
            <a:xfrm>
              <a:off x="3484663" y="4802213"/>
              <a:ext cx="84650" cy="107492"/>
            </a:xfrm>
            <a:custGeom>
              <a:avLst/>
              <a:gdLst>
                <a:gd name="T0" fmla="*/ 16 w 27"/>
                <a:gd name="T1" fmla="*/ 14 h 34"/>
                <a:gd name="T2" fmla="*/ 21 w 27"/>
                <a:gd name="T3" fmla="*/ 3 h 34"/>
                <a:gd name="T4" fmla="*/ 11 w 27"/>
                <a:gd name="T5" fmla="*/ 18 h 34"/>
                <a:gd name="T6" fmla="*/ 5 w 27"/>
                <a:gd name="T7" fmla="*/ 22 h 34"/>
                <a:gd name="T8" fmla="*/ 21 w 27"/>
                <a:gd name="T9" fmla="*/ 22 h 34"/>
                <a:gd name="T10" fmla="*/ 27 w 27"/>
                <a:gd name="T11" fmla="*/ 33 h 34"/>
                <a:gd name="T12" fmla="*/ 27 w 27"/>
                <a:gd name="T13" fmla="*/ 18 h 34"/>
                <a:gd name="T14" fmla="*/ 16 w 27"/>
                <a:gd name="T15" fmla="*/ 1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34">
                  <a:moveTo>
                    <a:pt x="16" y="14"/>
                  </a:moveTo>
                  <a:cubicBezTo>
                    <a:pt x="21" y="15"/>
                    <a:pt x="22" y="10"/>
                    <a:pt x="21" y="3"/>
                  </a:cubicBezTo>
                  <a:cubicBezTo>
                    <a:pt x="12" y="0"/>
                    <a:pt x="17" y="17"/>
                    <a:pt x="11" y="18"/>
                  </a:cubicBezTo>
                  <a:cubicBezTo>
                    <a:pt x="7" y="18"/>
                    <a:pt x="0" y="19"/>
                    <a:pt x="5" y="22"/>
                  </a:cubicBezTo>
                  <a:cubicBezTo>
                    <a:pt x="14" y="20"/>
                    <a:pt x="16" y="30"/>
                    <a:pt x="21" y="22"/>
                  </a:cubicBezTo>
                  <a:cubicBezTo>
                    <a:pt x="22" y="27"/>
                    <a:pt x="21" y="34"/>
                    <a:pt x="27" y="33"/>
                  </a:cubicBezTo>
                  <a:cubicBezTo>
                    <a:pt x="27" y="28"/>
                    <a:pt x="27" y="23"/>
                    <a:pt x="27" y="18"/>
                  </a:cubicBezTo>
                  <a:cubicBezTo>
                    <a:pt x="23" y="9"/>
                    <a:pt x="19" y="25"/>
                    <a:pt x="1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70" name="Freeform 121"/>
            <p:cNvSpPr>
              <a:spLocks/>
            </p:cNvSpPr>
            <p:nvPr userDrawn="1"/>
          </p:nvSpPr>
          <p:spPr bwMode="auto">
            <a:xfrm>
              <a:off x="3585437" y="4823711"/>
              <a:ext cx="34935" cy="53746"/>
            </a:xfrm>
            <a:custGeom>
              <a:avLst/>
              <a:gdLst>
                <a:gd name="T0" fmla="*/ 0 w 11"/>
                <a:gd name="T1" fmla="*/ 0 h 17"/>
                <a:gd name="T2" fmla="*/ 3 w 11"/>
                <a:gd name="T3" fmla="*/ 7 h 17"/>
                <a:gd name="T4" fmla="*/ 11 w 11"/>
                <a:gd name="T5" fmla="*/ 15 h 17"/>
                <a:gd name="T6" fmla="*/ 0 w 11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7">
                  <a:moveTo>
                    <a:pt x="0" y="0"/>
                  </a:moveTo>
                  <a:cubicBezTo>
                    <a:pt x="1" y="3"/>
                    <a:pt x="0" y="7"/>
                    <a:pt x="3" y="7"/>
                  </a:cubicBezTo>
                  <a:cubicBezTo>
                    <a:pt x="7" y="7"/>
                    <a:pt x="5" y="17"/>
                    <a:pt x="11" y="15"/>
                  </a:cubicBezTo>
                  <a:cubicBezTo>
                    <a:pt x="11" y="5"/>
                    <a:pt x="7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71" name="Freeform 122"/>
            <p:cNvSpPr>
              <a:spLocks/>
            </p:cNvSpPr>
            <p:nvPr userDrawn="1"/>
          </p:nvSpPr>
          <p:spPr bwMode="auto">
            <a:xfrm>
              <a:off x="3569313" y="4849241"/>
              <a:ext cx="41653" cy="57777"/>
            </a:xfrm>
            <a:custGeom>
              <a:avLst/>
              <a:gdLst>
                <a:gd name="T0" fmla="*/ 2 w 13"/>
                <a:gd name="T1" fmla="*/ 3 h 18"/>
                <a:gd name="T2" fmla="*/ 13 w 13"/>
                <a:gd name="T3" fmla="*/ 10 h 18"/>
                <a:gd name="T4" fmla="*/ 2 w 13"/>
                <a:gd name="T5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2" y="3"/>
                  </a:moveTo>
                  <a:cubicBezTo>
                    <a:pt x="0" y="11"/>
                    <a:pt x="12" y="18"/>
                    <a:pt x="13" y="10"/>
                  </a:cubicBezTo>
                  <a:cubicBezTo>
                    <a:pt x="8" y="10"/>
                    <a:pt x="10" y="0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72" name="Freeform 123"/>
            <p:cNvSpPr>
              <a:spLocks/>
            </p:cNvSpPr>
            <p:nvPr userDrawn="1"/>
          </p:nvSpPr>
          <p:spPr bwMode="auto">
            <a:xfrm>
              <a:off x="3692929" y="4881488"/>
              <a:ext cx="22842" cy="47028"/>
            </a:xfrm>
            <a:custGeom>
              <a:avLst/>
              <a:gdLst>
                <a:gd name="T0" fmla="*/ 1 w 7"/>
                <a:gd name="T1" fmla="*/ 0 h 15"/>
                <a:gd name="T2" fmla="*/ 4 w 7"/>
                <a:gd name="T3" fmla="*/ 15 h 15"/>
                <a:gd name="T4" fmla="*/ 1 w 7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5">
                  <a:moveTo>
                    <a:pt x="1" y="0"/>
                  </a:moveTo>
                  <a:cubicBezTo>
                    <a:pt x="2" y="6"/>
                    <a:pt x="0" y="14"/>
                    <a:pt x="4" y="15"/>
                  </a:cubicBezTo>
                  <a:cubicBezTo>
                    <a:pt x="7" y="10"/>
                    <a:pt x="7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73" name="Freeform 124"/>
            <p:cNvSpPr>
              <a:spLocks/>
            </p:cNvSpPr>
            <p:nvPr userDrawn="1"/>
          </p:nvSpPr>
          <p:spPr bwMode="auto">
            <a:xfrm>
              <a:off x="6318424" y="5769642"/>
              <a:ext cx="16124" cy="37622"/>
            </a:xfrm>
            <a:custGeom>
              <a:avLst/>
              <a:gdLst>
                <a:gd name="T0" fmla="*/ 0 w 5"/>
                <a:gd name="T1" fmla="*/ 1 h 12"/>
                <a:gd name="T2" fmla="*/ 0 w 5"/>
                <a:gd name="T3" fmla="*/ 9 h 12"/>
                <a:gd name="T4" fmla="*/ 5 w 5"/>
                <a:gd name="T5" fmla="*/ 12 h 12"/>
                <a:gd name="T6" fmla="*/ 0 w 5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2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3" y="12"/>
                    <a:pt x="5" y="12"/>
                  </a:cubicBezTo>
                  <a:cubicBezTo>
                    <a:pt x="5" y="7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74" name="Freeform 125"/>
            <p:cNvSpPr>
              <a:spLocks/>
            </p:cNvSpPr>
            <p:nvPr userDrawn="1"/>
          </p:nvSpPr>
          <p:spPr bwMode="auto">
            <a:xfrm>
              <a:off x="6753768" y="5832794"/>
              <a:ext cx="47028" cy="69870"/>
            </a:xfrm>
            <a:custGeom>
              <a:avLst/>
              <a:gdLst>
                <a:gd name="T0" fmla="*/ 2 w 15"/>
                <a:gd name="T1" fmla="*/ 0 h 22"/>
                <a:gd name="T2" fmla="*/ 2 w 15"/>
                <a:gd name="T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2">
                  <a:moveTo>
                    <a:pt x="2" y="0"/>
                  </a:moveTo>
                  <a:cubicBezTo>
                    <a:pt x="0" y="22"/>
                    <a:pt x="15" y="2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75" name="Freeform 126"/>
            <p:cNvSpPr>
              <a:spLocks/>
            </p:cNvSpPr>
            <p:nvPr userDrawn="1"/>
          </p:nvSpPr>
          <p:spPr bwMode="auto">
            <a:xfrm>
              <a:off x="7911995" y="5820701"/>
              <a:ext cx="47028" cy="126303"/>
            </a:xfrm>
            <a:custGeom>
              <a:avLst/>
              <a:gdLst>
                <a:gd name="T0" fmla="*/ 0 w 15"/>
                <a:gd name="T1" fmla="*/ 30 h 40"/>
                <a:gd name="T2" fmla="*/ 11 w 15"/>
                <a:gd name="T3" fmla="*/ 37 h 40"/>
                <a:gd name="T4" fmla="*/ 6 w 15"/>
                <a:gd name="T5" fmla="*/ 26 h 40"/>
                <a:gd name="T6" fmla="*/ 8 w 15"/>
                <a:gd name="T7" fmla="*/ 15 h 40"/>
                <a:gd name="T8" fmla="*/ 14 w 15"/>
                <a:gd name="T9" fmla="*/ 11 h 40"/>
                <a:gd name="T10" fmla="*/ 0 w 15"/>
                <a:gd name="T11" fmla="*/ 3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40">
                  <a:moveTo>
                    <a:pt x="0" y="30"/>
                  </a:moveTo>
                  <a:cubicBezTo>
                    <a:pt x="6" y="30"/>
                    <a:pt x="4" y="40"/>
                    <a:pt x="11" y="37"/>
                  </a:cubicBezTo>
                  <a:cubicBezTo>
                    <a:pt x="12" y="30"/>
                    <a:pt x="8" y="30"/>
                    <a:pt x="6" y="26"/>
                  </a:cubicBezTo>
                  <a:cubicBezTo>
                    <a:pt x="10" y="27"/>
                    <a:pt x="7" y="18"/>
                    <a:pt x="8" y="15"/>
                  </a:cubicBezTo>
                  <a:cubicBezTo>
                    <a:pt x="10" y="13"/>
                    <a:pt x="15" y="16"/>
                    <a:pt x="14" y="11"/>
                  </a:cubicBezTo>
                  <a:cubicBezTo>
                    <a:pt x="5" y="0"/>
                    <a:pt x="2" y="19"/>
                    <a:pt x="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76" name="Freeform 127"/>
            <p:cNvSpPr>
              <a:spLocks/>
            </p:cNvSpPr>
            <p:nvPr userDrawn="1"/>
          </p:nvSpPr>
          <p:spPr bwMode="auto">
            <a:xfrm>
              <a:off x="6912318" y="5846230"/>
              <a:ext cx="40310" cy="34935"/>
            </a:xfrm>
            <a:custGeom>
              <a:avLst/>
              <a:gdLst>
                <a:gd name="T0" fmla="*/ 1 w 13"/>
                <a:gd name="T1" fmla="*/ 7 h 11"/>
                <a:gd name="T2" fmla="*/ 3 w 13"/>
                <a:gd name="T3" fmla="*/ 11 h 11"/>
                <a:gd name="T4" fmla="*/ 9 w 13"/>
                <a:gd name="T5" fmla="*/ 11 h 11"/>
                <a:gd name="T6" fmla="*/ 1 w 13"/>
                <a:gd name="T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1" y="7"/>
                  </a:moveTo>
                  <a:cubicBezTo>
                    <a:pt x="2" y="7"/>
                    <a:pt x="4" y="7"/>
                    <a:pt x="3" y="11"/>
                  </a:cubicBezTo>
                  <a:cubicBezTo>
                    <a:pt x="5" y="11"/>
                    <a:pt x="7" y="11"/>
                    <a:pt x="9" y="11"/>
                  </a:cubicBezTo>
                  <a:cubicBezTo>
                    <a:pt x="13" y="2"/>
                    <a:pt x="0" y="0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77" name="Freeform 128"/>
            <p:cNvSpPr>
              <a:spLocks/>
            </p:cNvSpPr>
            <p:nvPr userDrawn="1"/>
          </p:nvSpPr>
          <p:spPr bwMode="auto">
            <a:xfrm>
              <a:off x="7280479" y="5839512"/>
              <a:ext cx="56433" cy="67183"/>
            </a:xfrm>
            <a:custGeom>
              <a:avLst/>
              <a:gdLst>
                <a:gd name="T0" fmla="*/ 0 w 18"/>
                <a:gd name="T1" fmla="*/ 13 h 21"/>
                <a:gd name="T2" fmla="*/ 14 w 18"/>
                <a:gd name="T3" fmla="*/ 20 h 21"/>
                <a:gd name="T4" fmla="*/ 0 w 18"/>
                <a:gd name="T5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cubicBezTo>
                    <a:pt x="6" y="14"/>
                    <a:pt x="7" y="21"/>
                    <a:pt x="14" y="20"/>
                  </a:cubicBezTo>
                  <a:cubicBezTo>
                    <a:pt x="18" y="4"/>
                    <a:pt x="2" y="0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78" name="Freeform 129"/>
            <p:cNvSpPr>
              <a:spLocks/>
            </p:cNvSpPr>
            <p:nvPr userDrawn="1"/>
          </p:nvSpPr>
          <p:spPr bwMode="auto">
            <a:xfrm>
              <a:off x="7365129" y="5855636"/>
              <a:ext cx="41653" cy="34935"/>
            </a:xfrm>
            <a:custGeom>
              <a:avLst/>
              <a:gdLst>
                <a:gd name="T0" fmla="*/ 0 w 13"/>
                <a:gd name="T1" fmla="*/ 8 h 11"/>
                <a:gd name="T2" fmla="*/ 6 w 13"/>
                <a:gd name="T3" fmla="*/ 11 h 11"/>
                <a:gd name="T4" fmla="*/ 0 w 13"/>
                <a:gd name="T5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8"/>
                  </a:moveTo>
                  <a:cubicBezTo>
                    <a:pt x="3" y="8"/>
                    <a:pt x="4" y="11"/>
                    <a:pt x="6" y="11"/>
                  </a:cubicBezTo>
                  <a:cubicBezTo>
                    <a:pt x="13" y="4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79" name="Freeform 130"/>
            <p:cNvSpPr>
              <a:spLocks/>
            </p:cNvSpPr>
            <p:nvPr userDrawn="1"/>
          </p:nvSpPr>
          <p:spPr bwMode="auto">
            <a:xfrm>
              <a:off x="8921078" y="1980544"/>
              <a:ext cx="72557" cy="142427"/>
            </a:xfrm>
            <a:custGeom>
              <a:avLst/>
              <a:gdLst>
                <a:gd name="T0" fmla="*/ 21 w 23"/>
                <a:gd name="T1" fmla="*/ 30 h 45"/>
                <a:gd name="T2" fmla="*/ 16 w 23"/>
                <a:gd name="T3" fmla="*/ 8 h 45"/>
                <a:gd name="T4" fmla="*/ 2 w 23"/>
                <a:gd name="T5" fmla="*/ 4 h 45"/>
                <a:gd name="T6" fmla="*/ 13 w 23"/>
                <a:gd name="T7" fmla="*/ 19 h 45"/>
                <a:gd name="T8" fmla="*/ 13 w 23"/>
                <a:gd name="T9" fmla="*/ 30 h 45"/>
                <a:gd name="T10" fmla="*/ 5 w 23"/>
                <a:gd name="T11" fmla="*/ 23 h 45"/>
                <a:gd name="T12" fmla="*/ 16 w 23"/>
                <a:gd name="T13" fmla="*/ 45 h 45"/>
                <a:gd name="T14" fmla="*/ 21 w 23"/>
                <a:gd name="T15" fmla="*/ 3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45">
                  <a:moveTo>
                    <a:pt x="21" y="30"/>
                  </a:moveTo>
                  <a:cubicBezTo>
                    <a:pt x="23" y="21"/>
                    <a:pt x="18" y="10"/>
                    <a:pt x="16" y="8"/>
                  </a:cubicBezTo>
                  <a:cubicBezTo>
                    <a:pt x="12" y="20"/>
                    <a:pt x="9" y="0"/>
                    <a:pt x="2" y="4"/>
                  </a:cubicBezTo>
                  <a:cubicBezTo>
                    <a:pt x="0" y="17"/>
                    <a:pt x="12" y="11"/>
                    <a:pt x="13" y="19"/>
                  </a:cubicBezTo>
                  <a:cubicBezTo>
                    <a:pt x="14" y="24"/>
                    <a:pt x="18" y="28"/>
                    <a:pt x="13" y="30"/>
                  </a:cubicBezTo>
                  <a:cubicBezTo>
                    <a:pt x="9" y="30"/>
                    <a:pt x="11" y="21"/>
                    <a:pt x="5" y="23"/>
                  </a:cubicBezTo>
                  <a:cubicBezTo>
                    <a:pt x="6" y="35"/>
                    <a:pt x="7" y="45"/>
                    <a:pt x="16" y="45"/>
                  </a:cubicBezTo>
                  <a:cubicBezTo>
                    <a:pt x="11" y="36"/>
                    <a:pt x="22" y="26"/>
                    <a:pt x="2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80" name="Freeform 131"/>
            <p:cNvSpPr>
              <a:spLocks/>
            </p:cNvSpPr>
            <p:nvPr userDrawn="1"/>
          </p:nvSpPr>
          <p:spPr bwMode="auto">
            <a:xfrm>
              <a:off x="2601884" y="2917069"/>
              <a:ext cx="72557" cy="154520"/>
            </a:xfrm>
            <a:custGeom>
              <a:avLst/>
              <a:gdLst>
                <a:gd name="T0" fmla="*/ 17 w 23"/>
                <a:gd name="T1" fmla="*/ 31 h 49"/>
                <a:gd name="T2" fmla="*/ 12 w 23"/>
                <a:gd name="T3" fmla="*/ 46 h 49"/>
                <a:gd name="T4" fmla="*/ 17 w 23"/>
                <a:gd name="T5" fmla="*/ 35 h 49"/>
                <a:gd name="T6" fmla="*/ 22 w 23"/>
                <a:gd name="T7" fmla="*/ 28 h 49"/>
                <a:gd name="T8" fmla="*/ 17 w 23"/>
                <a:gd name="T9" fmla="*/ 16 h 49"/>
                <a:gd name="T10" fmla="*/ 12 w 23"/>
                <a:gd name="T11" fmla="*/ 2 h 49"/>
                <a:gd name="T12" fmla="*/ 4 w 23"/>
                <a:gd name="T13" fmla="*/ 9 h 49"/>
                <a:gd name="T14" fmla="*/ 1 w 23"/>
                <a:gd name="T15" fmla="*/ 13 h 49"/>
                <a:gd name="T16" fmla="*/ 9 w 23"/>
                <a:gd name="T17" fmla="*/ 20 h 49"/>
                <a:gd name="T18" fmla="*/ 1 w 23"/>
                <a:gd name="T19" fmla="*/ 20 h 49"/>
                <a:gd name="T20" fmla="*/ 6 w 23"/>
                <a:gd name="T21" fmla="*/ 28 h 49"/>
                <a:gd name="T22" fmla="*/ 17 w 23"/>
                <a:gd name="T23" fmla="*/ 3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9">
                  <a:moveTo>
                    <a:pt x="17" y="31"/>
                  </a:moveTo>
                  <a:cubicBezTo>
                    <a:pt x="13" y="34"/>
                    <a:pt x="12" y="39"/>
                    <a:pt x="12" y="46"/>
                  </a:cubicBezTo>
                  <a:cubicBezTo>
                    <a:pt x="19" y="49"/>
                    <a:pt x="15" y="40"/>
                    <a:pt x="17" y="35"/>
                  </a:cubicBezTo>
                  <a:cubicBezTo>
                    <a:pt x="18" y="32"/>
                    <a:pt x="23" y="32"/>
                    <a:pt x="22" y="28"/>
                  </a:cubicBezTo>
                  <a:cubicBezTo>
                    <a:pt x="15" y="29"/>
                    <a:pt x="19" y="22"/>
                    <a:pt x="17" y="16"/>
                  </a:cubicBezTo>
                  <a:cubicBezTo>
                    <a:pt x="16" y="13"/>
                    <a:pt x="7" y="9"/>
                    <a:pt x="12" y="2"/>
                  </a:cubicBezTo>
                  <a:cubicBezTo>
                    <a:pt x="6" y="0"/>
                    <a:pt x="6" y="7"/>
                    <a:pt x="4" y="9"/>
                  </a:cubicBezTo>
                  <a:cubicBezTo>
                    <a:pt x="2" y="9"/>
                    <a:pt x="0" y="10"/>
                    <a:pt x="1" y="13"/>
                  </a:cubicBezTo>
                  <a:cubicBezTo>
                    <a:pt x="5" y="13"/>
                    <a:pt x="10" y="12"/>
                    <a:pt x="9" y="20"/>
                  </a:cubicBezTo>
                  <a:cubicBezTo>
                    <a:pt x="6" y="20"/>
                    <a:pt x="3" y="14"/>
                    <a:pt x="1" y="20"/>
                  </a:cubicBezTo>
                  <a:cubicBezTo>
                    <a:pt x="4" y="21"/>
                    <a:pt x="5" y="24"/>
                    <a:pt x="6" y="28"/>
                  </a:cubicBezTo>
                  <a:cubicBezTo>
                    <a:pt x="13" y="27"/>
                    <a:pt x="15" y="21"/>
                    <a:pt x="1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81" name="Freeform 132"/>
            <p:cNvSpPr>
              <a:spLocks/>
            </p:cNvSpPr>
            <p:nvPr userDrawn="1"/>
          </p:nvSpPr>
          <p:spPr bwMode="auto">
            <a:xfrm>
              <a:off x="4563615" y="1735999"/>
              <a:ext cx="37622" cy="47028"/>
            </a:xfrm>
            <a:custGeom>
              <a:avLst/>
              <a:gdLst>
                <a:gd name="T0" fmla="*/ 12 w 12"/>
                <a:gd name="T1" fmla="*/ 0 h 15"/>
                <a:gd name="T2" fmla="*/ 1 w 12"/>
                <a:gd name="T3" fmla="*/ 4 h 15"/>
                <a:gd name="T4" fmla="*/ 12 w 1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12" y="0"/>
                  </a:moveTo>
                  <a:cubicBezTo>
                    <a:pt x="7" y="3"/>
                    <a:pt x="0" y="1"/>
                    <a:pt x="1" y="4"/>
                  </a:cubicBezTo>
                  <a:cubicBezTo>
                    <a:pt x="3" y="6"/>
                    <a:pt x="12" y="15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82" name="Freeform 133"/>
            <p:cNvSpPr>
              <a:spLocks/>
            </p:cNvSpPr>
            <p:nvPr userDrawn="1"/>
          </p:nvSpPr>
          <p:spPr bwMode="auto">
            <a:xfrm>
              <a:off x="7891841" y="1729281"/>
              <a:ext cx="99430" cy="76588"/>
            </a:xfrm>
            <a:custGeom>
              <a:avLst/>
              <a:gdLst>
                <a:gd name="T0" fmla="*/ 28 w 31"/>
                <a:gd name="T1" fmla="*/ 17 h 24"/>
                <a:gd name="T2" fmla="*/ 28 w 31"/>
                <a:gd name="T3" fmla="*/ 2 h 24"/>
                <a:gd name="T4" fmla="*/ 20 w 31"/>
                <a:gd name="T5" fmla="*/ 13 h 24"/>
                <a:gd name="T6" fmla="*/ 12 w 31"/>
                <a:gd name="T7" fmla="*/ 2 h 24"/>
                <a:gd name="T8" fmla="*/ 1 w 31"/>
                <a:gd name="T9" fmla="*/ 6 h 24"/>
                <a:gd name="T10" fmla="*/ 4 w 31"/>
                <a:gd name="T11" fmla="*/ 21 h 24"/>
                <a:gd name="T12" fmla="*/ 28 w 31"/>
                <a:gd name="T13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4">
                  <a:moveTo>
                    <a:pt x="28" y="17"/>
                  </a:moveTo>
                  <a:cubicBezTo>
                    <a:pt x="28" y="12"/>
                    <a:pt x="28" y="7"/>
                    <a:pt x="28" y="2"/>
                  </a:cubicBezTo>
                  <a:cubicBezTo>
                    <a:pt x="17" y="0"/>
                    <a:pt x="31" y="12"/>
                    <a:pt x="20" y="13"/>
                  </a:cubicBezTo>
                  <a:cubicBezTo>
                    <a:pt x="17" y="10"/>
                    <a:pt x="19" y="0"/>
                    <a:pt x="12" y="2"/>
                  </a:cubicBezTo>
                  <a:cubicBezTo>
                    <a:pt x="12" y="24"/>
                    <a:pt x="11" y="1"/>
                    <a:pt x="1" y="6"/>
                  </a:cubicBezTo>
                  <a:cubicBezTo>
                    <a:pt x="0" y="13"/>
                    <a:pt x="4" y="14"/>
                    <a:pt x="4" y="21"/>
                  </a:cubicBezTo>
                  <a:cubicBezTo>
                    <a:pt x="16" y="17"/>
                    <a:pt x="20" y="11"/>
                    <a:pt x="2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83" name="Freeform 134"/>
            <p:cNvSpPr>
              <a:spLocks/>
            </p:cNvSpPr>
            <p:nvPr userDrawn="1"/>
          </p:nvSpPr>
          <p:spPr bwMode="auto">
            <a:xfrm>
              <a:off x="8168633" y="1726594"/>
              <a:ext cx="104805" cy="110179"/>
            </a:xfrm>
            <a:custGeom>
              <a:avLst/>
              <a:gdLst>
                <a:gd name="T0" fmla="*/ 5 w 33"/>
                <a:gd name="T1" fmla="*/ 18 h 35"/>
                <a:gd name="T2" fmla="*/ 32 w 33"/>
                <a:gd name="T3" fmla="*/ 10 h 35"/>
                <a:gd name="T4" fmla="*/ 24 w 33"/>
                <a:gd name="T5" fmla="*/ 18 h 35"/>
                <a:gd name="T6" fmla="*/ 0 w 33"/>
                <a:gd name="T7" fmla="*/ 7 h 35"/>
                <a:gd name="T8" fmla="*/ 5 w 33"/>
                <a:gd name="T9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5">
                  <a:moveTo>
                    <a:pt x="5" y="18"/>
                  </a:moveTo>
                  <a:cubicBezTo>
                    <a:pt x="10" y="7"/>
                    <a:pt x="33" y="35"/>
                    <a:pt x="32" y="10"/>
                  </a:cubicBezTo>
                  <a:cubicBezTo>
                    <a:pt x="27" y="9"/>
                    <a:pt x="27" y="15"/>
                    <a:pt x="24" y="18"/>
                  </a:cubicBezTo>
                  <a:cubicBezTo>
                    <a:pt x="17" y="9"/>
                    <a:pt x="4" y="0"/>
                    <a:pt x="0" y="7"/>
                  </a:cubicBezTo>
                  <a:cubicBezTo>
                    <a:pt x="5" y="7"/>
                    <a:pt x="2" y="17"/>
                    <a:pt x="5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84" name="Freeform 135"/>
            <p:cNvSpPr>
              <a:spLocks/>
            </p:cNvSpPr>
            <p:nvPr userDrawn="1"/>
          </p:nvSpPr>
          <p:spPr bwMode="auto">
            <a:xfrm>
              <a:off x="4878030" y="1748092"/>
              <a:ext cx="79275" cy="48371"/>
            </a:xfrm>
            <a:custGeom>
              <a:avLst/>
              <a:gdLst>
                <a:gd name="T0" fmla="*/ 18 w 25"/>
                <a:gd name="T1" fmla="*/ 3 h 15"/>
                <a:gd name="T2" fmla="*/ 5 w 25"/>
                <a:gd name="T3" fmla="*/ 0 h 15"/>
                <a:gd name="T4" fmla="*/ 13 w 25"/>
                <a:gd name="T5" fmla="*/ 11 h 15"/>
                <a:gd name="T6" fmla="*/ 18 w 25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5">
                  <a:moveTo>
                    <a:pt x="18" y="3"/>
                  </a:moveTo>
                  <a:cubicBezTo>
                    <a:pt x="16" y="14"/>
                    <a:pt x="9" y="0"/>
                    <a:pt x="5" y="0"/>
                  </a:cubicBezTo>
                  <a:cubicBezTo>
                    <a:pt x="0" y="13"/>
                    <a:pt x="14" y="2"/>
                    <a:pt x="13" y="11"/>
                  </a:cubicBezTo>
                  <a:cubicBezTo>
                    <a:pt x="18" y="15"/>
                    <a:pt x="25" y="5"/>
                    <a:pt x="1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85" name="Freeform 136"/>
            <p:cNvSpPr>
              <a:spLocks/>
            </p:cNvSpPr>
            <p:nvPr userDrawn="1"/>
          </p:nvSpPr>
          <p:spPr bwMode="auto">
            <a:xfrm>
              <a:off x="4804129" y="1773622"/>
              <a:ext cx="146458" cy="73901"/>
            </a:xfrm>
            <a:custGeom>
              <a:avLst/>
              <a:gdLst>
                <a:gd name="T0" fmla="*/ 3 w 46"/>
                <a:gd name="T1" fmla="*/ 18 h 23"/>
                <a:gd name="T2" fmla="*/ 14 w 46"/>
                <a:gd name="T3" fmla="*/ 18 h 23"/>
                <a:gd name="T4" fmla="*/ 33 w 46"/>
                <a:gd name="T5" fmla="*/ 15 h 23"/>
                <a:gd name="T6" fmla="*/ 33 w 46"/>
                <a:gd name="T7" fmla="*/ 14 h 23"/>
                <a:gd name="T8" fmla="*/ 33 w 46"/>
                <a:gd name="T9" fmla="*/ 15 h 23"/>
                <a:gd name="T10" fmla="*/ 44 w 46"/>
                <a:gd name="T11" fmla="*/ 14 h 23"/>
                <a:gd name="T12" fmla="*/ 36 w 46"/>
                <a:gd name="T13" fmla="*/ 3 h 23"/>
                <a:gd name="T14" fmla="*/ 3 w 46"/>
                <a:gd name="T15" fmla="*/ 7 h 23"/>
                <a:gd name="T16" fmla="*/ 3 w 46"/>
                <a:gd name="T17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23">
                  <a:moveTo>
                    <a:pt x="3" y="18"/>
                  </a:moveTo>
                  <a:cubicBezTo>
                    <a:pt x="11" y="16"/>
                    <a:pt x="11" y="13"/>
                    <a:pt x="14" y="18"/>
                  </a:cubicBezTo>
                  <a:cubicBezTo>
                    <a:pt x="17" y="23"/>
                    <a:pt x="30" y="17"/>
                    <a:pt x="33" y="15"/>
                  </a:cubicBezTo>
                  <a:cubicBezTo>
                    <a:pt x="32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5"/>
                  </a:cubicBezTo>
                  <a:cubicBezTo>
                    <a:pt x="34" y="17"/>
                    <a:pt x="46" y="22"/>
                    <a:pt x="44" y="14"/>
                  </a:cubicBezTo>
                  <a:cubicBezTo>
                    <a:pt x="41" y="10"/>
                    <a:pt x="34" y="13"/>
                    <a:pt x="36" y="3"/>
                  </a:cubicBezTo>
                  <a:cubicBezTo>
                    <a:pt x="29" y="14"/>
                    <a:pt x="7" y="0"/>
                    <a:pt x="3" y="7"/>
                  </a:cubicBezTo>
                  <a:cubicBezTo>
                    <a:pt x="16" y="8"/>
                    <a:pt x="0" y="8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86" name="Freeform 137"/>
            <p:cNvSpPr>
              <a:spLocks/>
            </p:cNvSpPr>
            <p:nvPr userDrawn="1"/>
          </p:nvSpPr>
          <p:spPr bwMode="auto">
            <a:xfrm>
              <a:off x="4953274" y="1726594"/>
              <a:ext cx="486402" cy="151833"/>
            </a:xfrm>
            <a:custGeom>
              <a:avLst/>
              <a:gdLst>
                <a:gd name="T0" fmla="*/ 7 w 153"/>
                <a:gd name="T1" fmla="*/ 25 h 48"/>
                <a:gd name="T2" fmla="*/ 13 w 153"/>
                <a:gd name="T3" fmla="*/ 22 h 48"/>
                <a:gd name="T4" fmla="*/ 32 w 153"/>
                <a:gd name="T5" fmla="*/ 29 h 48"/>
                <a:gd name="T6" fmla="*/ 37 w 153"/>
                <a:gd name="T7" fmla="*/ 33 h 48"/>
                <a:gd name="T8" fmla="*/ 37 w 153"/>
                <a:gd name="T9" fmla="*/ 36 h 48"/>
                <a:gd name="T10" fmla="*/ 69 w 153"/>
                <a:gd name="T11" fmla="*/ 40 h 48"/>
                <a:gd name="T12" fmla="*/ 94 w 153"/>
                <a:gd name="T13" fmla="*/ 40 h 48"/>
                <a:gd name="T14" fmla="*/ 104 w 153"/>
                <a:gd name="T15" fmla="*/ 36 h 48"/>
                <a:gd name="T16" fmla="*/ 115 w 153"/>
                <a:gd name="T17" fmla="*/ 36 h 48"/>
                <a:gd name="T18" fmla="*/ 115 w 153"/>
                <a:gd name="T19" fmla="*/ 33 h 48"/>
                <a:gd name="T20" fmla="*/ 123 w 153"/>
                <a:gd name="T21" fmla="*/ 36 h 48"/>
                <a:gd name="T22" fmla="*/ 115 w 153"/>
                <a:gd name="T23" fmla="*/ 40 h 48"/>
                <a:gd name="T24" fmla="*/ 131 w 153"/>
                <a:gd name="T25" fmla="*/ 36 h 48"/>
                <a:gd name="T26" fmla="*/ 139 w 153"/>
                <a:gd name="T27" fmla="*/ 40 h 48"/>
                <a:gd name="T28" fmla="*/ 150 w 153"/>
                <a:gd name="T29" fmla="*/ 40 h 48"/>
                <a:gd name="T30" fmla="*/ 153 w 153"/>
                <a:gd name="T31" fmla="*/ 33 h 48"/>
                <a:gd name="T32" fmla="*/ 142 w 153"/>
                <a:gd name="T33" fmla="*/ 33 h 48"/>
                <a:gd name="T34" fmla="*/ 145 w 153"/>
                <a:gd name="T35" fmla="*/ 22 h 48"/>
                <a:gd name="T36" fmla="*/ 126 w 153"/>
                <a:gd name="T37" fmla="*/ 33 h 48"/>
                <a:gd name="T38" fmla="*/ 131 w 153"/>
                <a:gd name="T39" fmla="*/ 18 h 48"/>
                <a:gd name="T40" fmla="*/ 118 w 153"/>
                <a:gd name="T41" fmla="*/ 22 h 48"/>
                <a:gd name="T42" fmla="*/ 118 w 153"/>
                <a:gd name="T43" fmla="*/ 25 h 48"/>
                <a:gd name="T44" fmla="*/ 112 w 153"/>
                <a:gd name="T45" fmla="*/ 18 h 48"/>
                <a:gd name="T46" fmla="*/ 107 w 153"/>
                <a:gd name="T47" fmla="*/ 25 h 48"/>
                <a:gd name="T48" fmla="*/ 104 w 153"/>
                <a:gd name="T49" fmla="*/ 18 h 48"/>
                <a:gd name="T50" fmla="*/ 102 w 153"/>
                <a:gd name="T51" fmla="*/ 25 h 48"/>
                <a:gd name="T52" fmla="*/ 102 w 153"/>
                <a:gd name="T53" fmla="*/ 18 h 48"/>
                <a:gd name="T54" fmla="*/ 88 w 153"/>
                <a:gd name="T55" fmla="*/ 29 h 48"/>
                <a:gd name="T56" fmla="*/ 91 w 153"/>
                <a:gd name="T57" fmla="*/ 10 h 48"/>
                <a:gd name="T58" fmla="*/ 72 w 153"/>
                <a:gd name="T59" fmla="*/ 18 h 48"/>
                <a:gd name="T60" fmla="*/ 75 w 153"/>
                <a:gd name="T61" fmla="*/ 18 h 48"/>
                <a:gd name="T62" fmla="*/ 83 w 153"/>
                <a:gd name="T63" fmla="*/ 14 h 48"/>
                <a:gd name="T64" fmla="*/ 85 w 153"/>
                <a:gd name="T65" fmla="*/ 25 h 48"/>
                <a:gd name="T66" fmla="*/ 32 w 153"/>
                <a:gd name="T67" fmla="*/ 25 h 48"/>
                <a:gd name="T68" fmla="*/ 24 w 153"/>
                <a:gd name="T69" fmla="*/ 18 h 48"/>
                <a:gd name="T70" fmla="*/ 21 w 153"/>
                <a:gd name="T71" fmla="*/ 10 h 48"/>
                <a:gd name="T72" fmla="*/ 13 w 153"/>
                <a:gd name="T73" fmla="*/ 18 h 48"/>
                <a:gd name="T74" fmla="*/ 7 w 153"/>
                <a:gd name="T75" fmla="*/ 2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3" h="48">
                  <a:moveTo>
                    <a:pt x="7" y="25"/>
                  </a:moveTo>
                  <a:cubicBezTo>
                    <a:pt x="8" y="22"/>
                    <a:pt x="10" y="21"/>
                    <a:pt x="13" y="22"/>
                  </a:cubicBezTo>
                  <a:cubicBezTo>
                    <a:pt x="12" y="34"/>
                    <a:pt x="27" y="35"/>
                    <a:pt x="32" y="29"/>
                  </a:cubicBezTo>
                  <a:cubicBezTo>
                    <a:pt x="29" y="39"/>
                    <a:pt x="37" y="33"/>
                    <a:pt x="37" y="33"/>
                  </a:cubicBezTo>
                  <a:cubicBezTo>
                    <a:pt x="37" y="33"/>
                    <a:pt x="37" y="36"/>
                    <a:pt x="37" y="36"/>
                  </a:cubicBezTo>
                  <a:cubicBezTo>
                    <a:pt x="46" y="38"/>
                    <a:pt x="64" y="39"/>
                    <a:pt x="69" y="40"/>
                  </a:cubicBezTo>
                  <a:cubicBezTo>
                    <a:pt x="84" y="43"/>
                    <a:pt x="84" y="41"/>
                    <a:pt x="94" y="40"/>
                  </a:cubicBezTo>
                  <a:cubicBezTo>
                    <a:pt x="99" y="39"/>
                    <a:pt x="101" y="40"/>
                    <a:pt x="104" y="36"/>
                  </a:cubicBezTo>
                  <a:cubicBezTo>
                    <a:pt x="106" y="35"/>
                    <a:pt x="113" y="37"/>
                    <a:pt x="115" y="36"/>
                  </a:cubicBezTo>
                  <a:cubicBezTo>
                    <a:pt x="115" y="36"/>
                    <a:pt x="115" y="33"/>
                    <a:pt x="115" y="33"/>
                  </a:cubicBezTo>
                  <a:cubicBezTo>
                    <a:pt x="116" y="31"/>
                    <a:pt x="124" y="34"/>
                    <a:pt x="123" y="36"/>
                  </a:cubicBezTo>
                  <a:cubicBezTo>
                    <a:pt x="120" y="37"/>
                    <a:pt x="115" y="36"/>
                    <a:pt x="115" y="40"/>
                  </a:cubicBezTo>
                  <a:cubicBezTo>
                    <a:pt x="121" y="48"/>
                    <a:pt x="126" y="39"/>
                    <a:pt x="131" y="36"/>
                  </a:cubicBezTo>
                  <a:cubicBezTo>
                    <a:pt x="136" y="43"/>
                    <a:pt x="136" y="36"/>
                    <a:pt x="139" y="40"/>
                  </a:cubicBezTo>
                  <a:cubicBezTo>
                    <a:pt x="141" y="43"/>
                    <a:pt x="148" y="38"/>
                    <a:pt x="150" y="40"/>
                  </a:cubicBezTo>
                  <a:cubicBezTo>
                    <a:pt x="151" y="37"/>
                    <a:pt x="150" y="33"/>
                    <a:pt x="153" y="33"/>
                  </a:cubicBezTo>
                  <a:cubicBezTo>
                    <a:pt x="148" y="26"/>
                    <a:pt x="149" y="33"/>
                    <a:pt x="142" y="33"/>
                  </a:cubicBezTo>
                  <a:cubicBezTo>
                    <a:pt x="137" y="24"/>
                    <a:pt x="143" y="29"/>
                    <a:pt x="145" y="22"/>
                  </a:cubicBezTo>
                  <a:cubicBezTo>
                    <a:pt x="135" y="18"/>
                    <a:pt x="130" y="40"/>
                    <a:pt x="126" y="33"/>
                  </a:cubicBezTo>
                  <a:cubicBezTo>
                    <a:pt x="122" y="21"/>
                    <a:pt x="134" y="30"/>
                    <a:pt x="131" y="18"/>
                  </a:cubicBezTo>
                  <a:cubicBezTo>
                    <a:pt x="123" y="19"/>
                    <a:pt x="121" y="15"/>
                    <a:pt x="118" y="22"/>
                  </a:cubicBezTo>
                  <a:cubicBezTo>
                    <a:pt x="118" y="22"/>
                    <a:pt x="122" y="24"/>
                    <a:pt x="118" y="25"/>
                  </a:cubicBezTo>
                  <a:cubicBezTo>
                    <a:pt x="118" y="25"/>
                    <a:pt x="114" y="17"/>
                    <a:pt x="112" y="18"/>
                  </a:cubicBezTo>
                  <a:cubicBezTo>
                    <a:pt x="111" y="18"/>
                    <a:pt x="112" y="30"/>
                    <a:pt x="107" y="25"/>
                  </a:cubicBezTo>
                  <a:cubicBezTo>
                    <a:pt x="106" y="22"/>
                    <a:pt x="107" y="18"/>
                    <a:pt x="104" y="18"/>
                  </a:cubicBezTo>
                  <a:cubicBezTo>
                    <a:pt x="104" y="20"/>
                    <a:pt x="104" y="26"/>
                    <a:pt x="102" y="25"/>
                  </a:cubicBezTo>
                  <a:cubicBezTo>
                    <a:pt x="101" y="25"/>
                    <a:pt x="102" y="18"/>
                    <a:pt x="102" y="18"/>
                  </a:cubicBezTo>
                  <a:cubicBezTo>
                    <a:pt x="96" y="14"/>
                    <a:pt x="96" y="25"/>
                    <a:pt x="88" y="29"/>
                  </a:cubicBezTo>
                  <a:cubicBezTo>
                    <a:pt x="89" y="25"/>
                    <a:pt x="99" y="15"/>
                    <a:pt x="91" y="10"/>
                  </a:cubicBezTo>
                  <a:cubicBezTo>
                    <a:pt x="87" y="22"/>
                    <a:pt x="73" y="0"/>
                    <a:pt x="72" y="18"/>
                  </a:cubicBezTo>
                  <a:cubicBezTo>
                    <a:pt x="75" y="19"/>
                    <a:pt x="78" y="22"/>
                    <a:pt x="75" y="18"/>
                  </a:cubicBezTo>
                  <a:cubicBezTo>
                    <a:pt x="75" y="14"/>
                    <a:pt x="79" y="14"/>
                    <a:pt x="83" y="14"/>
                  </a:cubicBezTo>
                  <a:cubicBezTo>
                    <a:pt x="83" y="19"/>
                    <a:pt x="84" y="22"/>
                    <a:pt x="85" y="25"/>
                  </a:cubicBezTo>
                  <a:cubicBezTo>
                    <a:pt x="61" y="26"/>
                    <a:pt x="50" y="22"/>
                    <a:pt x="32" y="25"/>
                  </a:cubicBezTo>
                  <a:cubicBezTo>
                    <a:pt x="28" y="24"/>
                    <a:pt x="27" y="19"/>
                    <a:pt x="24" y="18"/>
                  </a:cubicBezTo>
                  <a:cubicBezTo>
                    <a:pt x="23" y="24"/>
                    <a:pt x="20" y="18"/>
                    <a:pt x="21" y="10"/>
                  </a:cubicBezTo>
                  <a:cubicBezTo>
                    <a:pt x="16" y="9"/>
                    <a:pt x="16" y="15"/>
                    <a:pt x="13" y="18"/>
                  </a:cubicBezTo>
                  <a:cubicBezTo>
                    <a:pt x="14" y="8"/>
                    <a:pt x="0" y="26"/>
                    <a:pt x="7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87" name="Freeform 138"/>
            <p:cNvSpPr>
              <a:spLocks/>
            </p:cNvSpPr>
            <p:nvPr userDrawn="1"/>
          </p:nvSpPr>
          <p:spPr bwMode="auto">
            <a:xfrm>
              <a:off x="5439676" y="1792433"/>
              <a:ext cx="116898" cy="67183"/>
            </a:xfrm>
            <a:custGeom>
              <a:avLst/>
              <a:gdLst>
                <a:gd name="T0" fmla="*/ 24 w 37"/>
                <a:gd name="T1" fmla="*/ 15 h 21"/>
                <a:gd name="T2" fmla="*/ 35 w 37"/>
                <a:gd name="T3" fmla="*/ 19 h 21"/>
                <a:gd name="T4" fmla="*/ 37 w 37"/>
                <a:gd name="T5" fmla="*/ 4 h 21"/>
                <a:gd name="T6" fmla="*/ 16 w 37"/>
                <a:gd name="T7" fmla="*/ 12 h 21"/>
                <a:gd name="T8" fmla="*/ 10 w 37"/>
                <a:gd name="T9" fmla="*/ 8 h 21"/>
                <a:gd name="T10" fmla="*/ 8 w 37"/>
                <a:gd name="T11" fmla="*/ 12 h 21"/>
                <a:gd name="T12" fmla="*/ 0 w 37"/>
                <a:gd name="T13" fmla="*/ 12 h 21"/>
                <a:gd name="T14" fmla="*/ 0 w 37"/>
                <a:gd name="T15" fmla="*/ 19 h 21"/>
                <a:gd name="T16" fmla="*/ 24 w 37"/>
                <a:gd name="T1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21">
                  <a:moveTo>
                    <a:pt x="24" y="15"/>
                  </a:moveTo>
                  <a:cubicBezTo>
                    <a:pt x="28" y="16"/>
                    <a:pt x="29" y="21"/>
                    <a:pt x="35" y="19"/>
                  </a:cubicBezTo>
                  <a:cubicBezTo>
                    <a:pt x="34" y="13"/>
                    <a:pt x="35" y="8"/>
                    <a:pt x="37" y="4"/>
                  </a:cubicBezTo>
                  <a:cubicBezTo>
                    <a:pt x="27" y="0"/>
                    <a:pt x="22" y="10"/>
                    <a:pt x="16" y="12"/>
                  </a:cubicBezTo>
                  <a:cubicBezTo>
                    <a:pt x="13" y="12"/>
                    <a:pt x="13" y="8"/>
                    <a:pt x="10" y="8"/>
                  </a:cubicBezTo>
                  <a:cubicBezTo>
                    <a:pt x="11" y="8"/>
                    <a:pt x="9" y="11"/>
                    <a:pt x="8" y="12"/>
                  </a:cubicBezTo>
                  <a:cubicBezTo>
                    <a:pt x="7" y="12"/>
                    <a:pt x="0" y="12"/>
                    <a:pt x="0" y="12"/>
                  </a:cubicBezTo>
                  <a:cubicBezTo>
                    <a:pt x="0" y="12"/>
                    <a:pt x="0" y="19"/>
                    <a:pt x="0" y="19"/>
                  </a:cubicBezTo>
                  <a:cubicBezTo>
                    <a:pt x="7" y="19"/>
                    <a:pt x="15" y="14"/>
                    <a:pt x="2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88" name="Freeform 139"/>
            <p:cNvSpPr>
              <a:spLocks/>
            </p:cNvSpPr>
            <p:nvPr userDrawn="1"/>
          </p:nvSpPr>
          <p:spPr bwMode="auto">
            <a:xfrm>
              <a:off x="9003041" y="1796464"/>
              <a:ext cx="149145" cy="139740"/>
            </a:xfrm>
            <a:custGeom>
              <a:avLst/>
              <a:gdLst>
                <a:gd name="T0" fmla="*/ 36 w 47"/>
                <a:gd name="T1" fmla="*/ 11 h 44"/>
                <a:gd name="T2" fmla="*/ 36 w 47"/>
                <a:gd name="T3" fmla="*/ 3 h 44"/>
                <a:gd name="T4" fmla="*/ 25 w 47"/>
                <a:gd name="T5" fmla="*/ 0 h 44"/>
                <a:gd name="T6" fmla="*/ 22 w 47"/>
                <a:gd name="T7" fmla="*/ 18 h 44"/>
                <a:gd name="T8" fmla="*/ 9 w 47"/>
                <a:gd name="T9" fmla="*/ 18 h 44"/>
                <a:gd name="T10" fmla="*/ 6 w 47"/>
                <a:gd name="T11" fmla="*/ 18 h 44"/>
                <a:gd name="T12" fmla="*/ 14 w 47"/>
                <a:gd name="T13" fmla="*/ 44 h 44"/>
                <a:gd name="T14" fmla="*/ 19 w 47"/>
                <a:gd name="T15" fmla="*/ 26 h 44"/>
                <a:gd name="T16" fmla="*/ 30 w 47"/>
                <a:gd name="T17" fmla="*/ 29 h 44"/>
                <a:gd name="T18" fmla="*/ 46 w 47"/>
                <a:gd name="T19" fmla="*/ 18 h 44"/>
                <a:gd name="T20" fmla="*/ 36 w 47"/>
                <a:gd name="T21" fmla="*/ 1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44">
                  <a:moveTo>
                    <a:pt x="36" y="11"/>
                  </a:moveTo>
                  <a:cubicBezTo>
                    <a:pt x="35" y="9"/>
                    <a:pt x="36" y="4"/>
                    <a:pt x="36" y="3"/>
                  </a:cubicBezTo>
                  <a:cubicBezTo>
                    <a:pt x="33" y="0"/>
                    <a:pt x="26" y="5"/>
                    <a:pt x="25" y="0"/>
                  </a:cubicBezTo>
                  <a:cubicBezTo>
                    <a:pt x="17" y="6"/>
                    <a:pt x="28" y="18"/>
                    <a:pt x="22" y="18"/>
                  </a:cubicBezTo>
                  <a:cubicBezTo>
                    <a:pt x="22" y="10"/>
                    <a:pt x="15" y="23"/>
                    <a:pt x="9" y="18"/>
                  </a:cubicBezTo>
                  <a:cubicBezTo>
                    <a:pt x="9" y="16"/>
                    <a:pt x="7" y="14"/>
                    <a:pt x="6" y="18"/>
                  </a:cubicBezTo>
                  <a:cubicBezTo>
                    <a:pt x="18" y="21"/>
                    <a:pt x="0" y="42"/>
                    <a:pt x="14" y="44"/>
                  </a:cubicBezTo>
                  <a:cubicBezTo>
                    <a:pt x="19" y="44"/>
                    <a:pt x="9" y="25"/>
                    <a:pt x="19" y="26"/>
                  </a:cubicBezTo>
                  <a:cubicBezTo>
                    <a:pt x="20" y="31"/>
                    <a:pt x="26" y="29"/>
                    <a:pt x="30" y="29"/>
                  </a:cubicBezTo>
                  <a:cubicBezTo>
                    <a:pt x="26" y="14"/>
                    <a:pt x="47" y="29"/>
                    <a:pt x="46" y="18"/>
                  </a:cubicBezTo>
                  <a:cubicBezTo>
                    <a:pt x="44" y="16"/>
                    <a:pt x="36" y="15"/>
                    <a:pt x="3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89" name="Freeform 140"/>
            <p:cNvSpPr>
              <a:spLocks/>
            </p:cNvSpPr>
            <p:nvPr userDrawn="1"/>
          </p:nvSpPr>
          <p:spPr bwMode="auto">
            <a:xfrm>
              <a:off x="5772902" y="1805869"/>
              <a:ext cx="40310" cy="41653"/>
            </a:xfrm>
            <a:custGeom>
              <a:avLst/>
              <a:gdLst>
                <a:gd name="T0" fmla="*/ 13 w 13"/>
                <a:gd name="T1" fmla="*/ 4 h 13"/>
                <a:gd name="T2" fmla="*/ 0 w 13"/>
                <a:gd name="T3" fmla="*/ 4 h 13"/>
                <a:gd name="T4" fmla="*/ 13 w 13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13" y="4"/>
                  </a:moveTo>
                  <a:cubicBezTo>
                    <a:pt x="8" y="2"/>
                    <a:pt x="0" y="0"/>
                    <a:pt x="0" y="4"/>
                  </a:cubicBezTo>
                  <a:cubicBezTo>
                    <a:pt x="1" y="6"/>
                    <a:pt x="12" y="13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90" name="Freeform 141"/>
            <p:cNvSpPr>
              <a:spLocks/>
            </p:cNvSpPr>
            <p:nvPr userDrawn="1"/>
          </p:nvSpPr>
          <p:spPr bwMode="auto">
            <a:xfrm>
              <a:off x="8429301" y="1770934"/>
              <a:ext cx="30904" cy="104805"/>
            </a:xfrm>
            <a:custGeom>
              <a:avLst/>
              <a:gdLst>
                <a:gd name="T0" fmla="*/ 10 w 10"/>
                <a:gd name="T1" fmla="*/ 30 h 33"/>
                <a:gd name="T2" fmla="*/ 4 w 10"/>
                <a:gd name="T3" fmla="*/ 19 h 33"/>
                <a:gd name="T4" fmla="*/ 10 w 10"/>
                <a:gd name="T5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33">
                  <a:moveTo>
                    <a:pt x="10" y="30"/>
                  </a:moveTo>
                  <a:cubicBezTo>
                    <a:pt x="10" y="22"/>
                    <a:pt x="6" y="22"/>
                    <a:pt x="4" y="19"/>
                  </a:cubicBezTo>
                  <a:cubicBezTo>
                    <a:pt x="0" y="0"/>
                    <a:pt x="1" y="33"/>
                    <a:pt x="1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91" name="Freeform 142"/>
            <p:cNvSpPr>
              <a:spLocks/>
            </p:cNvSpPr>
            <p:nvPr userDrawn="1"/>
          </p:nvSpPr>
          <p:spPr bwMode="auto">
            <a:xfrm>
              <a:off x="8485735" y="1817962"/>
              <a:ext cx="25529" cy="67183"/>
            </a:xfrm>
            <a:custGeom>
              <a:avLst/>
              <a:gdLst>
                <a:gd name="T0" fmla="*/ 5 w 8"/>
                <a:gd name="T1" fmla="*/ 7 h 21"/>
                <a:gd name="T2" fmla="*/ 8 w 8"/>
                <a:gd name="T3" fmla="*/ 0 h 21"/>
                <a:gd name="T4" fmla="*/ 2 w 8"/>
                <a:gd name="T5" fmla="*/ 7 h 21"/>
                <a:gd name="T6" fmla="*/ 5 w 8"/>
                <a:gd name="T7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1">
                  <a:moveTo>
                    <a:pt x="5" y="7"/>
                  </a:moveTo>
                  <a:cubicBezTo>
                    <a:pt x="7" y="7"/>
                    <a:pt x="8" y="4"/>
                    <a:pt x="8" y="0"/>
                  </a:cubicBezTo>
                  <a:cubicBezTo>
                    <a:pt x="4" y="0"/>
                    <a:pt x="5" y="6"/>
                    <a:pt x="2" y="7"/>
                  </a:cubicBezTo>
                  <a:cubicBezTo>
                    <a:pt x="0" y="21"/>
                    <a:pt x="7" y="21"/>
                    <a:pt x="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92" name="Freeform 143"/>
            <p:cNvSpPr>
              <a:spLocks/>
            </p:cNvSpPr>
            <p:nvPr userDrawn="1"/>
          </p:nvSpPr>
          <p:spPr bwMode="auto">
            <a:xfrm>
              <a:off x="8651004" y="1817962"/>
              <a:ext cx="142427" cy="139740"/>
            </a:xfrm>
            <a:custGeom>
              <a:avLst/>
              <a:gdLst>
                <a:gd name="T0" fmla="*/ 9 w 45"/>
                <a:gd name="T1" fmla="*/ 37 h 44"/>
                <a:gd name="T2" fmla="*/ 20 w 45"/>
                <a:gd name="T3" fmla="*/ 33 h 44"/>
                <a:gd name="T4" fmla="*/ 17 w 45"/>
                <a:gd name="T5" fmla="*/ 30 h 44"/>
                <a:gd name="T6" fmla="*/ 31 w 45"/>
                <a:gd name="T7" fmla="*/ 30 h 44"/>
                <a:gd name="T8" fmla="*/ 36 w 45"/>
                <a:gd name="T9" fmla="*/ 44 h 44"/>
                <a:gd name="T10" fmla="*/ 36 w 45"/>
                <a:gd name="T11" fmla="*/ 0 h 44"/>
                <a:gd name="T12" fmla="*/ 17 w 45"/>
                <a:gd name="T13" fmla="*/ 22 h 44"/>
                <a:gd name="T14" fmla="*/ 1 w 45"/>
                <a:gd name="T15" fmla="*/ 19 h 44"/>
                <a:gd name="T16" fmla="*/ 9 w 45"/>
                <a:gd name="T17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44">
                  <a:moveTo>
                    <a:pt x="9" y="37"/>
                  </a:moveTo>
                  <a:cubicBezTo>
                    <a:pt x="10" y="24"/>
                    <a:pt x="21" y="44"/>
                    <a:pt x="20" y="33"/>
                  </a:cubicBezTo>
                  <a:cubicBezTo>
                    <a:pt x="19" y="33"/>
                    <a:pt x="17" y="33"/>
                    <a:pt x="17" y="30"/>
                  </a:cubicBezTo>
                  <a:cubicBezTo>
                    <a:pt x="20" y="19"/>
                    <a:pt x="26" y="32"/>
                    <a:pt x="31" y="30"/>
                  </a:cubicBezTo>
                  <a:cubicBezTo>
                    <a:pt x="30" y="38"/>
                    <a:pt x="32" y="43"/>
                    <a:pt x="36" y="44"/>
                  </a:cubicBezTo>
                  <a:cubicBezTo>
                    <a:pt x="29" y="30"/>
                    <a:pt x="45" y="15"/>
                    <a:pt x="36" y="0"/>
                  </a:cubicBezTo>
                  <a:cubicBezTo>
                    <a:pt x="26" y="1"/>
                    <a:pt x="24" y="15"/>
                    <a:pt x="17" y="22"/>
                  </a:cubicBezTo>
                  <a:cubicBezTo>
                    <a:pt x="8" y="21"/>
                    <a:pt x="11" y="12"/>
                    <a:pt x="1" y="19"/>
                  </a:cubicBezTo>
                  <a:cubicBezTo>
                    <a:pt x="0" y="30"/>
                    <a:pt x="5" y="34"/>
                    <a:pt x="9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93" name="Freeform 144"/>
            <p:cNvSpPr>
              <a:spLocks/>
            </p:cNvSpPr>
            <p:nvPr userDrawn="1"/>
          </p:nvSpPr>
          <p:spPr bwMode="auto">
            <a:xfrm>
              <a:off x="5568667" y="1917392"/>
              <a:ext cx="48371" cy="30904"/>
            </a:xfrm>
            <a:custGeom>
              <a:avLst/>
              <a:gdLst>
                <a:gd name="T0" fmla="*/ 10 w 15"/>
                <a:gd name="T1" fmla="*/ 6 h 10"/>
                <a:gd name="T2" fmla="*/ 15 w 15"/>
                <a:gd name="T3" fmla="*/ 10 h 10"/>
                <a:gd name="T4" fmla="*/ 10 w 15"/>
                <a:gd name="T5" fmla="*/ 2 h 10"/>
                <a:gd name="T6" fmla="*/ 10 w 15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0">
                  <a:moveTo>
                    <a:pt x="10" y="6"/>
                  </a:moveTo>
                  <a:cubicBezTo>
                    <a:pt x="10" y="9"/>
                    <a:pt x="12" y="10"/>
                    <a:pt x="15" y="10"/>
                  </a:cubicBezTo>
                  <a:cubicBezTo>
                    <a:pt x="15" y="5"/>
                    <a:pt x="10" y="6"/>
                    <a:pt x="10" y="2"/>
                  </a:cubicBezTo>
                  <a:cubicBezTo>
                    <a:pt x="0" y="0"/>
                    <a:pt x="0" y="9"/>
                    <a:pt x="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94" name="Freeform 145"/>
            <p:cNvSpPr>
              <a:spLocks/>
            </p:cNvSpPr>
            <p:nvPr userDrawn="1"/>
          </p:nvSpPr>
          <p:spPr bwMode="auto">
            <a:xfrm>
              <a:off x="6854541" y="1948296"/>
              <a:ext cx="92712" cy="158551"/>
            </a:xfrm>
            <a:custGeom>
              <a:avLst/>
              <a:gdLst>
                <a:gd name="T0" fmla="*/ 14 w 29"/>
                <a:gd name="T1" fmla="*/ 40 h 50"/>
                <a:gd name="T2" fmla="*/ 5 w 29"/>
                <a:gd name="T3" fmla="*/ 33 h 50"/>
                <a:gd name="T4" fmla="*/ 27 w 29"/>
                <a:gd name="T5" fmla="*/ 37 h 50"/>
                <a:gd name="T6" fmla="*/ 19 w 29"/>
                <a:gd name="T7" fmla="*/ 22 h 50"/>
                <a:gd name="T8" fmla="*/ 19 w 29"/>
                <a:gd name="T9" fmla="*/ 7 h 50"/>
                <a:gd name="T10" fmla="*/ 5 w 29"/>
                <a:gd name="T11" fmla="*/ 0 h 50"/>
                <a:gd name="T12" fmla="*/ 3 w 29"/>
                <a:gd name="T13" fmla="*/ 14 h 50"/>
                <a:gd name="T14" fmla="*/ 11 w 29"/>
                <a:gd name="T15" fmla="*/ 26 h 50"/>
                <a:gd name="T16" fmla="*/ 3 w 29"/>
                <a:gd name="T17" fmla="*/ 18 h 50"/>
                <a:gd name="T18" fmla="*/ 14 w 29"/>
                <a:gd name="T19" fmla="*/ 4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50">
                  <a:moveTo>
                    <a:pt x="14" y="40"/>
                  </a:moveTo>
                  <a:cubicBezTo>
                    <a:pt x="10" y="39"/>
                    <a:pt x="7" y="36"/>
                    <a:pt x="5" y="33"/>
                  </a:cubicBezTo>
                  <a:cubicBezTo>
                    <a:pt x="13" y="30"/>
                    <a:pt x="19" y="29"/>
                    <a:pt x="27" y="37"/>
                  </a:cubicBezTo>
                  <a:cubicBezTo>
                    <a:pt x="29" y="25"/>
                    <a:pt x="20" y="29"/>
                    <a:pt x="19" y="22"/>
                  </a:cubicBezTo>
                  <a:cubicBezTo>
                    <a:pt x="19" y="17"/>
                    <a:pt x="19" y="12"/>
                    <a:pt x="19" y="7"/>
                  </a:cubicBezTo>
                  <a:cubicBezTo>
                    <a:pt x="10" y="10"/>
                    <a:pt x="11" y="1"/>
                    <a:pt x="5" y="0"/>
                  </a:cubicBezTo>
                  <a:cubicBezTo>
                    <a:pt x="6" y="6"/>
                    <a:pt x="5" y="11"/>
                    <a:pt x="3" y="14"/>
                  </a:cubicBezTo>
                  <a:cubicBezTo>
                    <a:pt x="10" y="12"/>
                    <a:pt x="12" y="16"/>
                    <a:pt x="11" y="26"/>
                  </a:cubicBezTo>
                  <a:cubicBezTo>
                    <a:pt x="7" y="25"/>
                    <a:pt x="6" y="19"/>
                    <a:pt x="3" y="18"/>
                  </a:cubicBezTo>
                  <a:cubicBezTo>
                    <a:pt x="0" y="32"/>
                    <a:pt x="8" y="50"/>
                    <a:pt x="14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95" name="Freeform 146"/>
            <p:cNvSpPr>
              <a:spLocks/>
            </p:cNvSpPr>
            <p:nvPr userDrawn="1"/>
          </p:nvSpPr>
          <p:spPr bwMode="auto">
            <a:xfrm>
              <a:off x="6385607" y="1989949"/>
              <a:ext cx="56433" cy="47028"/>
            </a:xfrm>
            <a:custGeom>
              <a:avLst/>
              <a:gdLst>
                <a:gd name="T0" fmla="*/ 6 w 18"/>
                <a:gd name="T1" fmla="*/ 13 h 15"/>
                <a:gd name="T2" fmla="*/ 14 w 18"/>
                <a:gd name="T3" fmla="*/ 1 h 15"/>
                <a:gd name="T4" fmla="*/ 6 w 18"/>
                <a:gd name="T5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6" y="13"/>
                  </a:moveTo>
                  <a:cubicBezTo>
                    <a:pt x="4" y="4"/>
                    <a:pt x="18" y="15"/>
                    <a:pt x="14" y="1"/>
                  </a:cubicBezTo>
                  <a:cubicBezTo>
                    <a:pt x="8" y="0"/>
                    <a:pt x="0" y="11"/>
                    <a:pt x="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96" name="Freeform 147"/>
            <p:cNvSpPr>
              <a:spLocks/>
            </p:cNvSpPr>
            <p:nvPr userDrawn="1"/>
          </p:nvSpPr>
          <p:spPr bwMode="auto">
            <a:xfrm>
              <a:off x="7387971" y="2204934"/>
              <a:ext cx="47028" cy="48371"/>
            </a:xfrm>
            <a:custGeom>
              <a:avLst/>
              <a:gdLst>
                <a:gd name="T0" fmla="*/ 15 w 15"/>
                <a:gd name="T1" fmla="*/ 0 h 15"/>
                <a:gd name="T2" fmla="*/ 1 w 15"/>
                <a:gd name="T3" fmla="*/ 0 h 15"/>
                <a:gd name="T4" fmla="*/ 15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5" y="0"/>
                  </a:moveTo>
                  <a:cubicBezTo>
                    <a:pt x="8" y="0"/>
                    <a:pt x="7" y="7"/>
                    <a:pt x="1" y="0"/>
                  </a:cubicBezTo>
                  <a:cubicBezTo>
                    <a:pt x="0" y="15"/>
                    <a:pt x="14" y="5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97" name="Freeform 148"/>
            <p:cNvSpPr>
              <a:spLocks/>
            </p:cNvSpPr>
            <p:nvPr userDrawn="1"/>
          </p:nvSpPr>
          <p:spPr bwMode="auto">
            <a:xfrm>
              <a:off x="3808483" y="3544555"/>
              <a:ext cx="44341" cy="57777"/>
            </a:xfrm>
            <a:custGeom>
              <a:avLst/>
              <a:gdLst>
                <a:gd name="T0" fmla="*/ 11 w 14"/>
                <a:gd name="T1" fmla="*/ 3 h 18"/>
                <a:gd name="T2" fmla="*/ 13 w 14"/>
                <a:gd name="T3" fmla="*/ 0 h 18"/>
                <a:gd name="T4" fmla="*/ 0 w 14"/>
                <a:gd name="T5" fmla="*/ 14 h 18"/>
                <a:gd name="T6" fmla="*/ 11 w 14"/>
                <a:gd name="T7" fmla="*/ 18 h 18"/>
                <a:gd name="T8" fmla="*/ 11 w 14"/>
                <a:gd name="T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8">
                  <a:moveTo>
                    <a:pt x="11" y="3"/>
                  </a:moveTo>
                  <a:cubicBezTo>
                    <a:pt x="11" y="7"/>
                    <a:pt x="14" y="6"/>
                    <a:pt x="13" y="0"/>
                  </a:cubicBezTo>
                  <a:cubicBezTo>
                    <a:pt x="7" y="2"/>
                    <a:pt x="0" y="3"/>
                    <a:pt x="0" y="14"/>
                  </a:cubicBezTo>
                  <a:cubicBezTo>
                    <a:pt x="5" y="14"/>
                    <a:pt x="8" y="15"/>
                    <a:pt x="11" y="18"/>
                  </a:cubicBezTo>
                  <a:cubicBezTo>
                    <a:pt x="13" y="11"/>
                    <a:pt x="3" y="6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98" name="Freeform 149"/>
            <p:cNvSpPr>
              <a:spLocks/>
            </p:cNvSpPr>
            <p:nvPr userDrawn="1"/>
          </p:nvSpPr>
          <p:spPr bwMode="auto">
            <a:xfrm>
              <a:off x="2630100" y="3649360"/>
              <a:ext cx="79275" cy="48371"/>
            </a:xfrm>
            <a:custGeom>
              <a:avLst/>
              <a:gdLst>
                <a:gd name="T0" fmla="*/ 5 w 25"/>
                <a:gd name="T1" fmla="*/ 11 h 15"/>
                <a:gd name="T2" fmla="*/ 0 w 25"/>
                <a:gd name="T3" fmla="*/ 7 h 15"/>
                <a:gd name="T4" fmla="*/ 5 w 25"/>
                <a:gd name="T5" fmla="*/ 15 h 15"/>
                <a:gd name="T6" fmla="*/ 5 w 25"/>
                <a:gd name="T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5">
                  <a:moveTo>
                    <a:pt x="5" y="11"/>
                  </a:moveTo>
                  <a:cubicBezTo>
                    <a:pt x="4" y="10"/>
                    <a:pt x="2" y="0"/>
                    <a:pt x="0" y="7"/>
                  </a:cubicBezTo>
                  <a:cubicBezTo>
                    <a:pt x="3" y="8"/>
                    <a:pt x="4" y="11"/>
                    <a:pt x="5" y="15"/>
                  </a:cubicBezTo>
                  <a:cubicBezTo>
                    <a:pt x="25" y="12"/>
                    <a:pt x="12" y="15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99" name="Freeform 150"/>
            <p:cNvSpPr>
              <a:spLocks/>
            </p:cNvSpPr>
            <p:nvPr userDrawn="1"/>
          </p:nvSpPr>
          <p:spPr bwMode="auto">
            <a:xfrm>
              <a:off x="3074849" y="4150542"/>
              <a:ext cx="44341" cy="108836"/>
            </a:xfrm>
            <a:custGeom>
              <a:avLst/>
              <a:gdLst>
                <a:gd name="T0" fmla="*/ 5 w 14"/>
                <a:gd name="T1" fmla="*/ 27 h 34"/>
                <a:gd name="T2" fmla="*/ 2 w 14"/>
                <a:gd name="T3" fmla="*/ 19 h 34"/>
                <a:gd name="T4" fmla="*/ 11 w 14"/>
                <a:gd name="T5" fmla="*/ 19 h 34"/>
                <a:gd name="T6" fmla="*/ 8 w 14"/>
                <a:gd name="T7" fmla="*/ 1 h 34"/>
                <a:gd name="T8" fmla="*/ 2 w 14"/>
                <a:gd name="T9" fmla="*/ 5 h 34"/>
                <a:gd name="T10" fmla="*/ 0 w 14"/>
                <a:gd name="T11" fmla="*/ 23 h 34"/>
                <a:gd name="T12" fmla="*/ 5 w 14"/>
                <a:gd name="T1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34">
                  <a:moveTo>
                    <a:pt x="5" y="27"/>
                  </a:moveTo>
                  <a:cubicBezTo>
                    <a:pt x="5" y="23"/>
                    <a:pt x="3" y="22"/>
                    <a:pt x="2" y="19"/>
                  </a:cubicBezTo>
                  <a:cubicBezTo>
                    <a:pt x="5" y="19"/>
                    <a:pt x="8" y="19"/>
                    <a:pt x="11" y="19"/>
                  </a:cubicBezTo>
                  <a:cubicBezTo>
                    <a:pt x="9" y="14"/>
                    <a:pt x="14" y="0"/>
                    <a:pt x="8" y="1"/>
                  </a:cubicBezTo>
                  <a:cubicBezTo>
                    <a:pt x="7" y="4"/>
                    <a:pt x="6" y="5"/>
                    <a:pt x="2" y="5"/>
                  </a:cubicBezTo>
                  <a:cubicBezTo>
                    <a:pt x="3" y="13"/>
                    <a:pt x="2" y="19"/>
                    <a:pt x="0" y="23"/>
                  </a:cubicBezTo>
                  <a:cubicBezTo>
                    <a:pt x="4" y="23"/>
                    <a:pt x="3" y="34"/>
                    <a:pt x="5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00" name="Freeform 151"/>
            <p:cNvSpPr>
              <a:spLocks/>
            </p:cNvSpPr>
            <p:nvPr userDrawn="1"/>
          </p:nvSpPr>
          <p:spPr bwMode="auto">
            <a:xfrm>
              <a:off x="3096347" y="4173384"/>
              <a:ext cx="67183" cy="85994"/>
            </a:xfrm>
            <a:custGeom>
              <a:avLst/>
              <a:gdLst>
                <a:gd name="T0" fmla="*/ 12 w 21"/>
                <a:gd name="T1" fmla="*/ 1 h 27"/>
                <a:gd name="T2" fmla="*/ 6 w 21"/>
                <a:gd name="T3" fmla="*/ 9 h 27"/>
                <a:gd name="T4" fmla="*/ 6 w 21"/>
                <a:gd name="T5" fmla="*/ 16 h 27"/>
                <a:gd name="T6" fmla="*/ 1 w 21"/>
                <a:gd name="T7" fmla="*/ 20 h 27"/>
                <a:gd name="T8" fmla="*/ 9 w 21"/>
                <a:gd name="T9" fmla="*/ 16 h 27"/>
                <a:gd name="T10" fmla="*/ 20 w 21"/>
                <a:gd name="T11" fmla="*/ 16 h 27"/>
                <a:gd name="T12" fmla="*/ 12 w 21"/>
                <a:gd name="T13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7">
                  <a:moveTo>
                    <a:pt x="12" y="1"/>
                  </a:moveTo>
                  <a:cubicBezTo>
                    <a:pt x="14" y="9"/>
                    <a:pt x="8" y="6"/>
                    <a:pt x="6" y="9"/>
                  </a:cubicBezTo>
                  <a:cubicBezTo>
                    <a:pt x="5" y="10"/>
                    <a:pt x="7" y="15"/>
                    <a:pt x="6" y="16"/>
                  </a:cubicBezTo>
                  <a:cubicBezTo>
                    <a:pt x="5" y="18"/>
                    <a:pt x="0" y="15"/>
                    <a:pt x="1" y="20"/>
                  </a:cubicBezTo>
                  <a:cubicBezTo>
                    <a:pt x="7" y="27"/>
                    <a:pt x="4" y="19"/>
                    <a:pt x="9" y="16"/>
                  </a:cubicBezTo>
                  <a:cubicBezTo>
                    <a:pt x="13" y="16"/>
                    <a:pt x="16" y="16"/>
                    <a:pt x="20" y="16"/>
                  </a:cubicBezTo>
                  <a:cubicBezTo>
                    <a:pt x="21" y="7"/>
                    <a:pt x="19" y="0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01" name="Freeform 152"/>
            <p:cNvSpPr>
              <a:spLocks/>
            </p:cNvSpPr>
            <p:nvPr userDrawn="1"/>
          </p:nvSpPr>
          <p:spPr bwMode="auto">
            <a:xfrm>
              <a:off x="2874645" y="4319842"/>
              <a:ext cx="44341" cy="100774"/>
            </a:xfrm>
            <a:custGeom>
              <a:avLst/>
              <a:gdLst>
                <a:gd name="T0" fmla="*/ 12 w 14"/>
                <a:gd name="T1" fmla="*/ 3 h 32"/>
                <a:gd name="T2" fmla="*/ 6 w 14"/>
                <a:gd name="T3" fmla="*/ 18 h 32"/>
                <a:gd name="T4" fmla="*/ 9 w 14"/>
                <a:gd name="T5" fmla="*/ 15 h 32"/>
                <a:gd name="T6" fmla="*/ 12 w 14"/>
                <a:gd name="T7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2">
                  <a:moveTo>
                    <a:pt x="12" y="3"/>
                  </a:moveTo>
                  <a:cubicBezTo>
                    <a:pt x="5" y="0"/>
                    <a:pt x="0" y="16"/>
                    <a:pt x="6" y="18"/>
                  </a:cubicBezTo>
                  <a:cubicBezTo>
                    <a:pt x="7" y="16"/>
                    <a:pt x="7" y="14"/>
                    <a:pt x="9" y="15"/>
                  </a:cubicBezTo>
                  <a:cubicBezTo>
                    <a:pt x="14" y="32"/>
                    <a:pt x="7" y="7"/>
                    <a:pt x="1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02" name="Freeform 153"/>
            <p:cNvSpPr>
              <a:spLocks/>
            </p:cNvSpPr>
            <p:nvPr userDrawn="1"/>
          </p:nvSpPr>
          <p:spPr bwMode="auto">
            <a:xfrm>
              <a:off x="2767153" y="4376275"/>
              <a:ext cx="60464" cy="48371"/>
            </a:xfrm>
            <a:custGeom>
              <a:avLst/>
              <a:gdLst>
                <a:gd name="T0" fmla="*/ 5 w 19"/>
                <a:gd name="T1" fmla="*/ 11 h 15"/>
                <a:gd name="T2" fmla="*/ 0 w 19"/>
                <a:gd name="T3" fmla="*/ 15 h 15"/>
                <a:gd name="T4" fmla="*/ 11 w 19"/>
                <a:gd name="T5" fmla="*/ 15 h 15"/>
                <a:gd name="T6" fmla="*/ 16 w 19"/>
                <a:gd name="T7" fmla="*/ 0 h 15"/>
                <a:gd name="T8" fmla="*/ 5 w 19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5" y="11"/>
                  </a:moveTo>
                  <a:cubicBezTo>
                    <a:pt x="7" y="10"/>
                    <a:pt x="0" y="7"/>
                    <a:pt x="0" y="15"/>
                  </a:cubicBezTo>
                  <a:cubicBezTo>
                    <a:pt x="4" y="15"/>
                    <a:pt x="7" y="15"/>
                    <a:pt x="11" y="15"/>
                  </a:cubicBezTo>
                  <a:cubicBezTo>
                    <a:pt x="8" y="3"/>
                    <a:pt x="19" y="12"/>
                    <a:pt x="16" y="0"/>
                  </a:cubicBezTo>
                  <a:cubicBezTo>
                    <a:pt x="9" y="2"/>
                    <a:pt x="10" y="7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03" name="Freeform 154"/>
            <p:cNvSpPr>
              <a:spLocks/>
            </p:cNvSpPr>
            <p:nvPr userDrawn="1"/>
          </p:nvSpPr>
          <p:spPr bwMode="auto">
            <a:xfrm>
              <a:off x="2842397" y="4360151"/>
              <a:ext cx="92712" cy="155864"/>
            </a:xfrm>
            <a:custGeom>
              <a:avLst/>
              <a:gdLst>
                <a:gd name="T0" fmla="*/ 16 w 29"/>
                <a:gd name="T1" fmla="*/ 27 h 49"/>
                <a:gd name="T2" fmla="*/ 11 w 29"/>
                <a:gd name="T3" fmla="*/ 13 h 49"/>
                <a:gd name="T4" fmla="*/ 0 w 29"/>
                <a:gd name="T5" fmla="*/ 13 h 49"/>
                <a:gd name="T6" fmla="*/ 8 w 29"/>
                <a:gd name="T7" fmla="*/ 31 h 49"/>
                <a:gd name="T8" fmla="*/ 6 w 29"/>
                <a:gd name="T9" fmla="*/ 46 h 49"/>
                <a:gd name="T10" fmla="*/ 14 w 29"/>
                <a:gd name="T11" fmla="*/ 31 h 49"/>
                <a:gd name="T12" fmla="*/ 24 w 29"/>
                <a:gd name="T13" fmla="*/ 27 h 49"/>
                <a:gd name="T14" fmla="*/ 27 w 29"/>
                <a:gd name="T15" fmla="*/ 31 h 49"/>
                <a:gd name="T16" fmla="*/ 16 w 29"/>
                <a:gd name="T17" fmla="*/ 2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49">
                  <a:moveTo>
                    <a:pt x="16" y="27"/>
                  </a:moveTo>
                  <a:cubicBezTo>
                    <a:pt x="11" y="21"/>
                    <a:pt x="14" y="16"/>
                    <a:pt x="11" y="13"/>
                  </a:cubicBezTo>
                  <a:cubicBezTo>
                    <a:pt x="9" y="27"/>
                    <a:pt x="1" y="0"/>
                    <a:pt x="0" y="13"/>
                  </a:cubicBezTo>
                  <a:cubicBezTo>
                    <a:pt x="4" y="17"/>
                    <a:pt x="4" y="27"/>
                    <a:pt x="8" y="31"/>
                  </a:cubicBezTo>
                  <a:cubicBezTo>
                    <a:pt x="9" y="38"/>
                    <a:pt x="8" y="43"/>
                    <a:pt x="6" y="46"/>
                  </a:cubicBezTo>
                  <a:cubicBezTo>
                    <a:pt x="18" y="49"/>
                    <a:pt x="9" y="32"/>
                    <a:pt x="14" y="31"/>
                  </a:cubicBezTo>
                  <a:cubicBezTo>
                    <a:pt x="19" y="39"/>
                    <a:pt x="21" y="32"/>
                    <a:pt x="24" y="27"/>
                  </a:cubicBezTo>
                  <a:cubicBezTo>
                    <a:pt x="25" y="30"/>
                    <a:pt x="25" y="32"/>
                    <a:pt x="27" y="31"/>
                  </a:cubicBezTo>
                  <a:cubicBezTo>
                    <a:pt x="29" y="18"/>
                    <a:pt x="18" y="25"/>
                    <a:pt x="1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04" name="Freeform 155"/>
            <p:cNvSpPr>
              <a:spLocks/>
            </p:cNvSpPr>
            <p:nvPr userDrawn="1"/>
          </p:nvSpPr>
          <p:spPr bwMode="auto">
            <a:xfrm>
              <a:off x="3156812" y="4385681"/>
              <a:ext cx="57777" cy="216328"/>
            </a:xfrm>
            <a:custGeom>
              <a:avLst/>
              <a:gdLst>
                <a:gd name="T0" fmla="*/ 11 w 18"/>
                <a:gd name="T1" fmla="*/ 12 h 68"/>
                <a:gd name="T2" fmla="*/ 1 w 18"/>
                <a:gd name="T3" fmla="*/ 12 h 68"/>
                <a:gd name="T4" fmla="*/ 3 w 18"/>
                <a:gd name="T5" fmla="*/ 16 h 68"/>
                <a:gd name="T6" fmla="*/ 1 w 18"/>
                <a:gd name="T7" fmla="*/ 27 h 68"/>
                <a:gd name="T8" fmla="*/ 9 w 18"/>
                <a:gd name="T9" fmla="*/ 19 h 68"/>
                <a:gd name="T10" fmla="*/ 11 w 18"/>
                <a:gd name="T11" fmla="*/ 38 h 68"/>
                <a:gd name="T12" fmla="*/ 6 w 18"/>
                <a:gd name="T13" fmla="*/ 60 h 68"/>
                <a:gd name="T14" fmla="*/ 6 w 18"/>
                <a:gd name="T15" fmla="*/ 68 h 68"/>
                <a:gd name="T16" fmla="*/ 14 w 18"/>
                <a:gd name="T17" fmla="*/ 56 h 68"/>
                <a:gd name="T18" fmla="*/ 14 w 18"/>
                <a:gd name="T19" fmla="*/ 34 h 68"/>
                <a:gd name="T20" fmla="*/ 11 w 18"/>
                <a:gd name="T21" fmla="*/ 1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68">
                  <a:moveTo>
                    <a:pt x="11" y="12"/>
                  </a:moveTo>
                  <a:cubicBezTo>
                    <a:pt x="9" y="26"/>
                    <a:pt x="2" y="0"/>
                    <a:pt x="1" y="12"/>
                  </a:cubicBezTo>
                  <a:cubicBezTo>
                    <a:pt x="2" y="12"/>
                    <a:pt x="4" y="13"/>
                    <a:pt x="3" y="16"/>
                  </a:cubicBezTo>
                  <a:cubicBezTo>
                    <a:pt x="3" y="20"/>
                    <a:pt x="0" y="21"/>
                    <a:pt x="1" y="27"/>
                  </a:cubicBezTo>
                  <a:cubicBezTo>
                    <a:pt x="6" y="28"/>
                    <a:pt x="6" y="22"/>
                    <a:pt x="9" y="19"/>
                  </a:cubicBezTo>
                  <a:cubicBezTo>
                    <a:pt x="8" y="28"/>
                    <a:pt x="9" y="34"/>
                    <a:pt x="11" y="38"/>
                  </a:cubicBezTo>
                  <a:cubicBezTo>
                    <a:pt x="5" y="38"/>
                    <a:pt x="6" y="50"/>
                    <a:pt x="6" y="60"/>
                  </a:cubicBezTo>
                  <a:cubicBezTo>
                    <a:pt x="6" y="64"/>
                    <a:pt x="2" y="66"/>
                    <a:pt x="6" y="68"/>
                  </a:cubicBezTo>
                  <a:cubicBezTo>
                    <a:pt x="9" y="64"/>
                    <a:pt x="11" y="60"/>
                    <a:pt x="14" y="56"/>
                  </a:cubicBezTo>
                  <a:cubicBezTo>
                    <a:pt x="12" y="46"/>
                    <a:pt x="12" y="45"/>
                    <a:pt x="14" y="34"/>
                  </a:cubicBezTo>
                  <a:cubicBezTo>
                    <a:pt x="9" y="25"/>
                    <a:pt x="18" y="19"/>
                    <a:pt x="1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05" name="Freeform 156"/>
            <p:cNvSpPr>
              <a:spLocks/>
            </p:cNvSpPr>
            <p:nvPr userDrawn="1"/>
          </p:nvSpPr>
          <p:spPr bwMode="auto">
            <a:xfrm>
              <a:off x="2709376" y="4439427"/>
              <a:ext cx="57777" cy="118241"/>
            </a:xfrm>
            <a:custGeom>
              <a:avLst/>
              <a:gdLst>
                <a:gd name="T0" fmla="*/ 7 w 18"/>
                <a:gd name="T1" fmla="*/ 2 h 37"/>
                <a:gd name="T2" fmla="*/ 2 w 18"/>
                <a:gd name="T3" fmla="*/ 17 h 37"/>
                <a:gd name="T4" fmla="*/ 10 w 18"/>
                <a:gd name="T5" fmla="*/ 32 h 37"/>
                <a:gd name="T6" fmla="*/ 13 w 18"/>
                <a:gd name="T7" fmla="*/ 36 h 37"/>
                <a:gd name="T8" fmla="*/ 15 w 18"/>
                <a:gd name="T9" fmla="*/ 17 h 37"/>
                <a:gd name="T10" fmla="*/ 15 w 18"/>
                <a:gd name="T11" fmla="*/ 10 h 37"/>
                <a:gd name="T12" fmla="*/ 18 w 18"/>
                <a:gd name="T13" fmla="*/ 10 h 37"/>
                <a:gd name="T14" fmla="*/ 7 w 18"/>
                <a:gd name="T15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37">
                  <a:moveTo>
                    <a:pt x="7" y="2"/>
                  </a:moveTo>
                  <a:cubicBezTo>
                    <a:pt x="11" y="12"/>
                    <a:pt x="11" y="28"/>
                    <a:pt x="2" y="17"/>
                  </a:cubicBezTo>
                  <a:cubicBezTo>
                    <a:pt x="0" y="29"/>
                    <a:pt x="11" y="22"/>
                    <a:pt x="10" y="32"/>
                  </a:cubicBezTo>
                  <a:cubicBezTo>
                    <a:pt x="7" y="32"/>
                    <a:pt x="8" y="37"/>
                    <a:pt x="13" y="36"/>
                  </a:cubicBezTo>
                  <a:cubicBezTo>
                    <a:pt x="12" y="27"/>
                    <a:pt x="13" y="21"/>
                    <a:pt x="15" y="17"/>
                  </a:cubicBezTo>
                  <a:cubicBezTo>
                    <a:pt x="13" y="17"/>
                    <a:pt x="12" y="11"/>
                    <a:pt x="15" y="10"/>
                  </a:cubicBezTo>
                  <a:cubicBezTo>
                    <a:pt x="15" y="12"/>
                    <a:pt x="18" y="14"/>
                    <a:pt x="18" y="10"/>
                  </a:cubicBezTo>
                  <a:cubicBezTo>
                    <a:pt x="13" y="10"/>
                    <a:pt x="15" y="0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06" name="Freeform 157"/>
            <p:cNvSpPr>
              <a:spLocks/>
            </p:cNvSpPr>
            <p:nvPr userDrawn="1"/>
          </p:nvSpPr>
          <p:spPr bwMode="auto">
            <a:xfrm>
              <a:off x="3214589" y="4446145"/>
              <a:ext cx="30904" cy="60464"/>
            </a:xfrm>
            <a:custGeom>
              <a:avLst/>
              <a:gdLst>
                <a:gd name="T0" fmla="*/ 10 w 10"/>
                <a:gd name="T1" fmla="*/ 15 h 19"/>
                <a:gd name="T2" fmla="*/ 2 w 10"/>
                <a:gd name="T3" fmla="*/ 0 h 19"/>
                <a:gd name="T4" fmla="*/ 2 w 10"/>
                <a:gd name="T5" fmla="*/ 19 h 19"/>
                <a:gd name="T6" fmla="*/ 7 w 10"/>
                <a:gd name="T7" fmla="*/ 19 h 19"/>
                <a:gd name="T8" fmla="*/ 10 w 10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9">
                  <a:moveTo>
                    <a:pt x="10" y="15"/>
                  </a:moveTo>
                  <a:cubicBezTo>
                    <a:pt x="2" y="17"/>
                    <a:pt x="7" y="1"/>
                    <a:pt x="2" y="0"/>
                  </a:cubicBezTo>
                  <a:cubicBezTo>
                    <a:pt x="0" y="12"/>
                    <a:pt x="7" y="12"/>
                    <a:pt x="2" y="19"/>
                  </a:cubicBezTo>
                  <a:cubicBezTo>
                    <a:pt x="3" y="19"/>
                    <a:pt x="5" y="19"/>
                    <a:pt x="7" y="19"/>
                  </a:cubicBezTo>
                  <a:cubicBezTo>
                    <a:pt x="9" y="19"/>
                    <a:pt x="10" y="18"/>
                    <a:pt x="1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07" name="Freeform 158"/>
            <p:cNvSpPr>
              <a:spLocks/>
            </p:cNvSpPr>
            <p:nvPr userDrawn="1"/>
          </p:nvSpPr>
          <p:spPr bwMode="auto">
            <a:xfrm>
              <a:off x="2998261" y="4427334"/>
              <a:ext cx="92712" cy="100774"/>
            </a:xfrm>
            <a:custGeom>
              <a:avLst/>
              <a:gdLst>
                <a:gd name="T0" fmla="*/ 21 w 29"/>
                <a:gd name="T1" fmla="*/ 25 h 32"/>
                <a:gd name="T2" fmla="*/ 2 w 29"/>
                <a:gd name="T3" fmla="*/ 14 h 32"/>
                <a:gd name="T4" fmla="*/ 5 w 29"/>
                <a:gd name="T5" fmla="*/ 21 h 32"/>
                <a:gd name="T6" fmla="*/ 0 w 29"/>
                <a:gd name="T7" fmla="*/ 25 h 32"/>
                <a:gd name="T8" fmla="*/ 13 w 29"/>
                <a:gd name="T9" fmla="*/ 18 h 32"/>
                <a:gd name="T10" fmla="*/ 16 w 29"/>
                <a:gd name="T11" fmla="*/ 32 h 32"/>
                <a:gd name="T12" fmla="*/ 29 w 29"/>
                <a:gd name="T13" fmla="*/ 32 h 32"/>
                <a:gd name="T14" fmla="*/ 29 w 29"/>
                <a:gd name="T15" fmla="*/ 14 h 32"/>
                <a:gd name="T16" fmla="*/ 19 w 29"/>
                <a:gd name="T17" fmla="*/ 10 h 32"/>
                <a:gd name="T18" fmla="*/ 21 w 29"/>
                <a:gd name="T19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2">
                  <a:moveTo>
                    <a:pt x="21" y="25"/>
                  </a:moveTo>
                  <a:cubicBezTo>
                    <a:pt x="15" y="24"/>
                    <a:pt x="11" y="0"/>
                    <a:pt x="2" y="14"/>
                  </a:cubicBezTo>
                  <a:cubicBezTo>
                    <a:pt x="4" y="15"/>
                    <a:pt x="5" y="17"/>
                    <a:pt x="5" y="21"/>
                  </a:cubicBezTo>
                  <a:cubicBezTo>
                    <a:pt x="3" y="22"/>
                    <a:pt x="0" y="21"/>
                    <a:pt x="0" y="25"/>
                  </a:cubicBezTo>
                  <a:cubicBezTo>
                    <a:pt x="9" y="21"/>
                    <a:pt x="8" y="26"/>
                    <a:pt x="13" y="18"/>
                  </a:cubicBezTo>
                  <a:cubicBezTo>
                    <a:pt x="13" y="24"/>
                    <a:pt x="14" y="29"/>
                    <a:pt x="16" y="32"/>
                  </a:cubicBezTo>
                  <a:cubicBezTo>
                    <a:pt x="22" y="32"/>
                    <a:pt x="24" y="25"/>
                    <a:pt x="29" y="32"/>
                  </a:cubicBezTo>
                  <a:cubicBezTo>
                    <a:pt x="29" y="26"/>
                    <a:pt x="29" y="20"/>
                    <a:pt x="29" y="14"/>
                  </a:cubicBezTo>
                  <a:cubicBezTo>
                    <a:pt x="25" y="14"/>
                    <a:pt x="21" y="13"/>
                    <a:pt x="19" y="10"/>
                  </a:cubicBezTo>
                  <a:cubicBezTo>
                    <a:pt x="15" y="19"/>
                    <a:pt x="29" y="22"/>
                    <a:pt x="21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08" name="Freeform 159"/>
            <p:cNvSpPr>
              <a:spLocks/>
            </p:cNvSpPr>
            <p:nvPr userDrawn="1"/>
          </p:nvSpPr>
          <p:spPr bwMode="auto">
            <a:xfrm>
              <a:off x="2970044" y="4494517"/>
              <a:ext cx="53746" cy="84650"/>
            </a:xfrm>
            <a:custGeom>
              <a:avLst/>
              <a:gdLst>
                <a:gd name="T0" fmla="*/ 9 w 17"/>
                <a:gd name="T1" fmla="*/ 19 h 27"/>
                <a:gd name="T2" fmla="*/ 17 w 17"/>
                <a:gd name="T3" fmla="*/ 19 h 27"/>
                <a:gd name="T4" fmla="*/ 9 w 17"/>
                <a:gd name="T5" fmla="*/ 15 h 27"/>
                <a:gd name="T6" fmla="*/ 0 w 17"/>
                <a:gd name="T7" fmla="*/ 19 h 27"/>
                <a:gd name="T8" fmla="*/ 9 w 17"/>
                <a:gd name="T9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7">
                  <a:moveTo>
                    <a:pt x="9" y="19"/>
                  </a:moveTo>
                  <a:cubicBezTo>
                    <a:pt x="9" y="27"/>
                    <a:pt x="16" y="27"/>
                    <a:pt x="17" y="19"/>
                  </a:cubicBezTo>
                  <a:cubicBezTo>
                    <a:pt x="12" y="16"/>
                    <a:pt x="3" y="0"/>
                    <a:pt x="9" y="15"/>
                  </a:cubicBezTo>
                  <a:cubicBezTo>
                    <a:pt x="5" y="16"/>
                    <a:pt x="1" y="14"/>
                    <a:pt x="0" y="19"/>
                  </a:cubicBezTo>
                  <a:cubicBezTo>
                    <a:pt x="4" y="20"/>
                    <a:pt x="5" y="23"/>
                    <a:pt x="9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09" name="Freeform 160"/>
            <p:cNvSpPr>
              <a:spLocks/>
            </p:cNvSpPr>
            <p:nvPr userDrawn="1"/>
          </p:nvSpPr>
          <p:spPr bwMode="auto">
            <a:xfrm>
              <a:off x="2979450" y="4636944"/>
              <a:ext cx="57777" cy="126303"/>
            </a:xfrm>
            <a:custGeom>
              <a:avLst/>
              <a:gdLst>
                <a:gd name="T0" fmla="*/ 8 w 18"/>
                <a:gd name="T1" fmla="*/ 25 h 40"/>
                <a:gd name="T2" fmla="*/ 6 w 18"/>
                <a:gd name="T3" fmla="*/ 0 h 40"/>
                <a:gd name="T4" fmla="*/ 0 w 18"/>
                <a:gd name="T5" fmla="*/ 18 h 40"/>
                <a:gd name="T6" fmla="*/ 6 w 18"/>
                <a:gd name="T7" fmla="*/ 40 h 40"/>
                <a:gd name="T8" fmla="*/ 14 w 18"/>
                <a:gd name="T9" fmla="*/ 40 h 40"/>
                <a:gd name="T10" fmla="*/ 8 w 18"/>
                <a:gd name="T11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0">
                  <a:moveTo>
                    <a:pt x="8" y="25"/>
                  </a:moveTo>
                  <a:cubicBezTo>
                    <a:pt x="7" y="19"/>
                    <a:pt x="14" y="6"/>
                    <a:pt x="6" y="0"/>
                  </a:cubicBezTo>
                  <a:cubicBezTo>
                    <a:pt x="3" y="12"/>
                    <a:pt x="14" y="21"/>
                    <a:pt x="0" y="18"/>
                  </a:cubicBezTo>
                  <a:cubicBezTo>
                    <a:pt x="1" y="31"/>
                    <a:pt x="12" y="25"/>
                    <a:pt x="6" y="40"/>
                  </a:cubicBezTo>
                  <a:cubicBezTo>
                    <a:pt x="8" y="40"/>
                    <a:pt x="11" y="40"/>
                    <a:pt x="14" y="40"/>
                  </a:cubicBezTo>
                  <a:cubicBezTo>
                    <a:pt x="18" y="31"/>
                    <a:pt x="9" y="32"/>
                    <a:pt x="8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10" name="Freeform 161"/>
            <p:cNvSpPr>
              <a:spLocks/>
            </p:cNvSpPr>
            <p:nvPr userDrawn="1"/>
          </p:nvSpPr>
          <p:spPr bwMode="auto">
            <a:xfrm>
              <a:off x="3046632" y="4667848"/>
              <a:ext cx="91368" cy="118241"/>
            </a:xfrm>
            <a:custGeom>
              <a:avLst/>
              <a:gdLst>
                <a:gd name="T0" fmla="*/ 25 w 29"/>
                <a:gd name="T1" fmla="*/ 19 h 37"/>
                <a:gd name="T2" fmla="*/ 9 w 29"/>
                <a:gd name="T3" fmla="*/ 15 h 37"/>
                <a:gd name="T4" fmla="*/ 1 w 29"/>
                <a:gd name="T5" fmla="*/ 23 h 37"/>
                <a:gd name="T6" fmla="*/ 11 w 29"/>
                <a:gd name="T7" fmla="*/ 34 h 37"/>
                <a:gd name="T8" fmla="*/ 17 w 29"/>
                <a:gd name="T9" fmla="*/ 27 h 37"/>
                <a:gd name="T10" fmla="*/ 25 w 29"/>
                <a:gd name="T11" fmla="*/ 30 h 37"/>
                <a:gd name="T12" fmla="*/ 25 w 29"/>
                <a:gd name="T13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37">
                  <a:moveTo>
                    <a:pt x="25" y="19"/>
                  </a:moveTo>
                  <a:cubicBezTo>
                    <a:pt x="19" y="36"/>
                    <a:pt x="14" y="0"/>
                    <a:pt x="9" y="15"/>
                  </a:cubicBezTo>
                  <a:cubicBezTo>
                    <a:pt x="17" y="23"/>
                    <a:pt x="0" y="9"/>
                    <a:pt x="1" y="23"/>
                  </a:cubicBezTo>
                  <a:cubicBezTo>
                    <a:pt x="8" y="22"/>
                    <a:pt x="3" y="37"/>
                    <a:pt x="11" y="34"/>
                  </a:cubicBezTo>
                  <a:cubicBezTo>
                    <a:pt x="15" y="34"/>
                    <a:pt x="14" y="28"/>
                    <a:pt x="17" y="27"/>
                  </a:cubicBezTo>
                  <a:cubicBezTo>
                    <a:pt x="17" y="31"/>
                    <a:pt x="21" y="31"/>
                    <a:pt x="25" y="30"/>
                  </a:cubicBezTo>
                  <a:cubicBezTo>
                    <a:pt x="24" y="24"/>
                    <a:pt x="29" y="21"/>
                    <a:pt x="2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11" name="Freeform 162"/>
            <p:cNvSpPr>
              <a:spLocks/>
            </p:cNvSpPr>
            <p:nvPr userDrawn="1"/>
          </p:nvSpPr>
          <p:spPr bwMode="auto">
            <a:xfrm>
              <a:off x="3191747" y="4753841"/>
              <a:ext cx="79275" cy="67183"/>
            </a:xfrm>
            <a:custGeom>
              <a:avLst/>
              <a:gdLst>
                <a:gd name="T0" fmla="*/ 0 w 25"/>
                <a:gd name="T1" fmla="*/ 11 h 21"/>
                <a:gd name="T2" fmla="*/ 14 w 25"/>
                <a:gd name="T3" fmla="*/ 18 h 21"/>
                <a:gd name="T4" fmla="*/ 25 w 25"/>
                <a:gd name="T5" fmla="*/ 7 h 21"/>
                <a:gd name="T6" fmla="*/ 14 w 25"/>
                <a:gd name="T7" fmla="*/ 11 h 21"/>
                <a:gd name="T8" fmla="*/ 0 w 25"/>
                <a:gd name="T9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1">
                  <a:moveTo>
                    <a:pt x="0" y="11"/>
                  </a:moveTo>
                  <a:cubicBezTo>
                    <a:pt x="9" y="8"/>
                    <a:pt x="6" y="21"/>
                    <a:pt x="14" y="18"/>
                  </a:cubicBezTo>
                  <a:cubicBezTo>
                    <a:pt x="18" y="14"/>
                    <a:pt x="22" y="12"/>
                    <a:pt x="25" y="7"/>
                  </a:cubicBezTo>
                  <a:cubicBezTo>
                    <a:pt x="20" y="7"/>
                    <a:pt x="19" y="11"/>
                    <a:pt x="14" y="11"/>
                  </a:cubicBezTo>
                  <a:cubicBezTo>
                    <a:pt x="11" y="11"/>
                    <a:pt x="2" y="0"/>
                    <a:pt x="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12" name="Freeform 163"/>
            <p:cNvSpPr>
              <a:spLocks/>
            </p:cNvSpPr>
            <p:nvPr userDrawn="1"/>
          </p:nvSpPr>
          <p:spPr bwMode="auto">
            <a:xfrm>
              <a:off x="3030508" y="3239546"/>
              <a:ext cx="69870" cy="64495"/>
            </a:xfrm>
            <a:custGeom>
              <a:avLst/>
              <a:gdLst>
                <a:gd name="T0" fmla="*/ 19 w 22"/>
                <a:gd name="T1" fmla="*/ 0 h 20"/>
                <a:gd name="T2" fmla="*/ 3 w 22"/>
                <a:gd name="T3" fmla="*/ 0 h 20"/>
                <a:gd name="T4" fmla="*/ 0 w 22"/>
                <a:gd name="T5" fmla="*/ 11 h 20"/>
                <a:gd name="T6" fmla="*/ 22 w 22"/>
                <a:gd name="T7" fmla="*/ 18 h 20"/>
                <a:gd name="T8" fmla="*/ 19 w 22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0">
                  <a:moveTo>
                    <a:pt x="19" y="0"/>
                  </a:moveTo>
                  <a:cubicBezTo>
                    <a:pt x="14" y="0"/>
                    <a:pt x="9" y="0"/>
                    <a:pt x="3" y="0"/>
                  </a:cubicBezTo>
                  <a:cubicBezTo>
                    <a:pt x="3" y="5"/>
                    <a:pt x="2" y="8"/>
                    <a:pt x="0" y="11"/>
                  </a:cubicBezTo>
                  <a:cubicBezTo>
                    <a:pt x="6" y="15"/>
                    <a:pt x="11" y="20"/>
                    <a:pt x="22" y="18"/>
                  </a:cubicBezTo>
                  <a:cubicBezTo>
                    <a:pt x="21" y="5"/>
                    <a:pt x="15" y="13"/>
                    <a:pt x="1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13" name="Freeform 164"/>
            <p:cNvSpPr>
              <a:spLocks/>
            </p:cNvSpPr>
            <p:nvPr userDrawn="1"/>
          </p:nvSpPr>
          <p:spPr bwMode="auto">
            <a:xfrm>
              <a:off x="3116502" y="4325216"/>
              <a:ext cx="44341" cy="64495"/>
            </a:xfrm>
            <a:custGeom>
              <a:avLst/>
              <a:gdLst>
                <a:gd name="T0" fmla="*/ 6 w 14"/>
                <a:gd name="T1" fmla="*/ 1 h 20"/>
                <a:gd name="T2" fmla="*/ 3 w 14"/>
                <a:gd name="T3" fmla="*/ 20 h 20"/>
                <a:gd name="T4" fmla="*/ 14 w 14"/>
                <a:gd name="T5" fmla="*/ 20 h 20"/>
                <a:gd name="T6" fmla="*/ 6 w 14"/>
                <a:gd name="T7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0">
                  <a:moveTo>
                    <a:pt x="6" y="1"/>
                  </a:moveTo>
                  <a:cubicBezTo>
                    <a:pt x="0" y="9"/>
                    <a:pt x="8" y="13"/>
                    <a:pt x="3" y="20"/>
                  </a:cubicBezTo>
                  <a:cubicBezTo>
                    <a:pt x="7" y="20"/>
                    <a:pt x="10" y="20"/>
                    <a:pt x="14" y="20"/>
                  </a:cubicBezTo>
                  <a:cubicBezTo>
                    <a:pt x="14" y="9"/>
                    <a:pt x="14" y="0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14" name="Freeform 165"/>
            <p:cNvSpPr>
              <a:spLocks/>
            </p:cNvSpPr>
            <p:nvPr userDrawn="1"/>
          </p:nvSpPr>
          <p:spPr bwMode="auto">
            <a:xfrm>
              <a:off x="7714479" y="2323175"/>
              <a:ext cx="4031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15" name="Freeform 166"/>
            <p:cNvSpPr>
              <a:spLocks/>
            </p:cNvSpPr>
            <p:nvPr userDrawn="1"/>
          </p:nvSpPr>
          <p:spPr bwMode="auto">
            <a:xfrm>
              <a:off x="2783277" y="4115607"/>
              <a:ext cx="56433" cy="51059"/>
            </a:xfrm>
            <a:custGeom>
              <a:avLst/>
              <a:gdLst>
                <a:gd name="T0" fmla="*/ 11 w 18"/>
                <a:gd name="T1" fmla="*/ 8 h 16"/>
                <a:gd name="T2" fmla="*/ 14 w 18"/>
                <a:gd name="T3" fmla="*/ 16 h 16"/>
                <a:gd name="T4" fmla="*/ 6 w 18"/>
                <a:gd name="T5" fmla="*/ 5 h 16"/>
                <a:gd name="T6" fmla="*/ 6 w 18"/>
                <a:gd name="T7" fmla="*/ 1 h 16"/>
                <a:gd name="T8" fmla="*/ 0 w 18"/>
                <a:gd name="T9" fmla="*/ 1 h 16"/>
                <a:gd name="T10" fmla="*/ 11 w 1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6">
                  <a:moveTo>
                    <a:pt x="11" y="8"/>
                  </a:moveTo>
                  <a:cubicBezTo>
                    <a:pt x="12" y="11"/>
                    <a:pt x="11" y="16"/>
                    <a:pt x="14" y="16"/>
                  </a:cubicBezTo>
                  <a:cubicBezTo>
                    <a:pt x="18" y="2"/>
                    <a:pt x="9" y="7"/>
                    <a:pt x="6" y="5"/>
                  </a:cubicBezTo>
                  <a:cubicBezTo>
                    <a:pt x="5" y="4"/>
                    <a:pt x="6" y="1"/>
                    <a:pt x="6" y="1"/>
                  </a:cubicBezTo>
                  <a:cubicBezTo>
                    <a:pt x="5" y="0"/>
                    <a:pt x="1" y="2"/>
                    <a:pt x="0" y="1"/>
                  </a:cubicBezTo>
                  <a:cubicBezTo>
                    <a:pt x="2" y="6"/>
                    <a:pt x="6" y="8"/>
                    <a:pt x="1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16" name="Freeform 167"/>
            <p:cNvSpPr>
              <a:spLocks/>
            </p:cNvSpPr>
            <p:nvPr userDrawn="1"/>
          </p:nvSpPr>
          <p:spPr bwMode="auto">
            <a:xfrm>
              <a:off x="3414793" y="2509943"/>
              <a:ext cx="2687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17" name="Freeform 168"/>
            <p:cNvSpPr>
              <a:spLocks noEditPoints="1"/>
            </p:cNvSpPr>
            <p:nvPr userDrawn="1"/>
          </p:nvSpPr>
          <p:spPr bwMode="auto">
            <a:xfrm>
              <a:off x="2541419" y="1687628"/>
              <a:ext cx="6608080" cy="4310435"/>
            </a:xfrm>
            <a:custGeom>
              <a:avLst/>
              <a:gdLst>
                <a:gd name="T0" fmla="*/ 1924 w 2082"/>
                <a:gd name="T1" fmla="*/ 100 h 1358"/>
                <a:gd name="T2" fmla="*/ 1692 w 2082"/>
                <a:gd name="T3" fmla="*/ 41 h 1358"/>
                <a:gd name="T4" fmla="*/ 1606 w 2082"/>
                <a:gd name="T5" fmla="*/ 174 h 1358"/>
                <a:gd name="T6" fmla="*/ 1364 w 2082"/>
                <a:gd name="T7" fmla="*/ 145 h 1358"/>
                <a:gd name="T8" fmla="*/ 1063 w 2082"/>
                <a:gd name="T9" fmla="*/ 100 h 1358"/>
                <a:gd name="T10" fmla="*/ 738 w 2082"/>
                <a:gd name="T11" fmla="*/ 78 h 1358"/>
                <a:gd name="T12" fmla="*/ 356 w 2082"/>
                <a:gd name="T13" fmla="*/ 22 h 1358"/>
                <a:gd name="T14" fmla="*/ 17 w 2082"/>
                <a:gd name="T15" fmla="*/ 333 h 1358"/>
                <a:gd name="T16" fmla="*/ 36 w 2082"/>
                <a:gd name="T17" fmla="*/ 751 h 1358"/>
                <a:gd name="T18" fmla="*/ 176 w 2082"/>
                <a:gd name="T19" fmla="*/ 662 h 1358"/>
                <a:gd name="T20" fmla="*/ 243 w 2082"/>
                <a:gd name="T21" fmla="*/ 884 h 1358"/>
                <a:gd name="T22" fmla="*/ 698 w 2082"/>
                <a:gd name="T23" fmla="*/ 1210 h 1358"/>
                <a:gd name="T24" fmla="*/ 1101 w 2082"/>
                <a:gd name="T25" fmla="*/ 1287 h 1358"/>
                <a:gd name="T26" fmla="*/ 1480 w 2082"/>
                <a:gd name="T27" fmla="*/ 1317 h 1358"/>
                <a:gd name="T28" fmla="*/ 1881 w 2082"/>
                <a:gd name="T29" fmla="*/ 1350 h 1358"/>
                <a:gd name="T30" fmla="*/ 189 w 2082"/>
                <a:gd name="T31" fmla="*/ 644 h 1358"/>
                <a:gd name="T32" fmla="*/ 146 w 2082"/>
                <a:gd name="T33" fmla="*/ 403 h 1358"/>
                <a:gd name="T34" fmla="*/ 111 w 2082"/>
                <a:gd name="T35" fmla="*/ 599 h 1358"/>
                <a:gd name="T36" fmla="*/ 135 w 2082"/>
                <a:gd name="T37" fmla="*/ 485 h 1358"/>
                <a:gd name="T38" fmla="*/ 165 w 2082"/>
                <a:gd name="T39" fmla="*/ 267 h 1358"/>
                <a:gd name="T40" fmla="*/ 74 w 2082"/>
                <a:gd name="T41" fmla="*/ 218 h 1358"/>
                <a:gd name="T42" fmla="*/ 130 w 2082"/>
                <a:gd name="T43" fmla="*/ 659 h 1358"/>
                <a:gd name="T44" fmla="*/ 157 w 2082"/>
                <a:gd name="T45" fmla="*/ 448 h 1358"/>
                <a:gd name="T46" fmla="*/ 447 w 2082"/>
                <a:gd name="T47" fmla="*/ 648 h 1358"/>
                <a:gd name="T48" fmla="*/ 353 w 2082"/>
                <a:gd name="T49" fmla="*/ 755 h 1358"/>
                <a:gd name="T50" fmla="*/ 267 w 2082"/>
                <a:gd name="T51" fmla="*/ 537 h 1358"/>
                <a:gd name="T52" fmla="*/ 246 w 2082"/>
                <a:gd name="T53" fmla="*/ 448 h 1358"/>
                <a:gd name="T54" fmla="*/ 386 w 2082"/>
                <a:gd name="T55" fmla="*/ 307 h 1358"/>
                <a:gd name="T56" fmla="*/ 375 w 2082"/>
                <a:gd name="T57" fmla="*/ 311 h 1358"/>
                <a:gd name="T58" fmla="*/ 321 w 2082"/>
                <a:gd name="T59" fmla="*/ 570 h 1358"/>
                <a:gd name="T60" fmla="*/ 316 w 2082"/>
                <a:gd name="T61" fmla="*/ 385 h 1358"/>
                <a:gd name="T62" fmla="*/ 294 w 2082"/>
                <a:gd name="T63" fmla="*/ 699 h 1358"/>
                <a:gd name="T64" fmla="*/ 351 w 2082"/>
                <a:gd name="T65" fmla="*/ 651 h 1358"/>
                <a:gd name="T66" fmla="*/ 412 w 2082"/>
                <a:gd name="T67" fmla="*/ 614 h 1358"/>
                <a:gd name="T68" fmla="*/ 353 w 2082"/>
                <a:gd name="T69" fmla="*/ 307 h 1358"/>
                <a:gd name="T70" fmla="*/ 275 w 2082"/>
                <a:gd name="T71" fmla="*/ 178 h 1358"/>
                <a:gd name="T72" fmla="*/ 230 w 2082"/>
                <a:gd name="T73" fmla="*/ 163 h 1358"/>
                <a:gd name="T74" fmla="*/ 254 w 2082"/>
                <a:gd name="T75" fmla="*/ 670 h 1358"/>
                <a:gd name="T76" fmla="*/ 308 w 2082"/>
                <a:gd name="T77" fmla="*/ 762 h 1358"/>
                <a:gd name="T78" fmla="*/ 496 w 2082"/>
                <a:gd name="T79" fmla="*/ 807 h 1358"/>
                <a:gd name="T80" fmla="*/ 918 w 2082"/>
                <a:gd name="T81" fmla="*/ 1235 h 1358"/>
                <a:gd name="T82" fmla="*/ 1176 w 2082"/>
                <a:gd name="T83" fmla="*/ 1217 h 1358"/>
                <a:gd name="T84" fmla="*/ 1260 w 2082"/>
                <a:gd name="T85" fmla="*/ 237 h 1358"/>
                <a:gd name="T86" fmla="*/ 1319 w 2082"/>
                <a:gd name="T87" fmla="*/ 196 h 1358"/>
                <a:gd name="T88" fmla="*/ 1566 w 2082"/>
                <a:gd name="T89" fmla="*/ 263 h 1358"/>
                <a:gd name="T90" fmla="*/ 1448 w 2082"/>
                <a:gd name="T91" fmla="*/ 167 h 1358"/>
                <a:gd name="T92" fmla="*/ 1367 w 2082"/>
                <a:gd name="T93" fmla="*/ 599 h 1358"/>
                <a:gd name="T94" fmla="*/ 1415 w 2082"/>
                <a:gd name="T95" fmla="*/ 1306 h 1358"/>
                <a:gd name="T96" fmla="*/ 1467 w 2082"/>
                <a:gd name="T97" fmla="*/ 640 h 1358"/>
                <a:gd name="T98" fmla="*/ 1553 w 2082"/>
                <a:gd name="T99" fmla="*/ 1291 h 1358"/>
                <a:gd name="T100" fmla="*/ 2055 w 2082"/>
                <a:gd name="T101" fmla="*/ 562 h 1358"/>
                <a:gd name="T102" fmla="*/ 1996 w 2082"/>
                <a:gd name="T103" fmla="*/ 537 h 1358"/>
                <a:gd name="T104" fmla="*/ 1948 w 2082"/>
                <a:gd name="T105" fmla="*/ 178 h 1358"/>
                <a:gd name="T106" fmla="*/ 1918 w 2082"/>
                <a:gd name="T107" fmla="*/ 71 h 1358"/>
                <a:gd name="T108" fmla="*/ 1840 w 2082"/>
                <a:gd name="T109" fmla="*/ 170 h 1358"/>
                <a:gd name="T110" fmla="*/ 1738 w 2082"/>
                <a:gd name="T111" fmla="*/ 1265 h 1358"/>
                <a:gd name="T112" fmla="*/ 1730 w 2082"/>
                <a:gd name="T113" fmla="*/ 603 h 1358"/>
                <a:gd name="T114" fmla="*/ 1666 w 2082"/>
                <a:gd name="T115" fmla="*/ 215 h 1358"/>
                <a:gd name="T116" fmla="*/ 1746 w 2082"/>
                <a:gd name="T117" fmla="*/ 1295 h 1358"/>
                <a:gd name="T118" fmla="*/ 1811 w 2082"/>
                <a:gd name="T119" fmla="*/ 1254 h 1358"/>
                <a:gd name="T120" fmla="*/ 1848 w 2082"/>
                <a:gd name="T121" fmla="*/ 215 h 1358"/>
                <a:gd name="T122" fmla="*/ 1899 w 2082"/>
                <a:gd name="T123" fmla="*/ 1199 h 1358"/>
                <a:gd name="T124" fmla="*/ 2039 w 2082"/>
                <a:gd name="T125" fmla="*/ 1306 h 1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82" h="1358">
                  <a:moveTo>
                    <a:pt x="2050" y="100"/>
                  </a:moveTo>
                  <a:cubicBezTo>
                    <a:pt x="2048" y="103"/>
                    <a:pt x="2053" y="115"/>
                    <a:pt x="2045" y="119"/>
                  </a:cubicBezTo>
                  <a:cubicBezTo>
                    <a:pt x="2041" y="120"/>
                    <a:pt x="2037" y="118"/>
                    <a:pt x="2034" y="119"/>
                  </a:cubicBezTo>
                  <a:cubicBezTo>
                    <a:pt x="2032" y="131"/>
                    <a:pt x="2045" y="123"/>
                    <a:pt x="2042" y="137"/>
                  </a:cubicBezTo>
                  <a:cubicBezTo>
                    <a:pt x="2047" y="138"/>
                    <a:pt x="2047" y="132"/>
                    <a:pt x="2050" y="130"/>
                  </a:cubicBezTo>
                  <a:cubicBezTo>
                    <a:pt x="2050" y="133"/>
                    <a:pt x="2050" y="137"/>
                    <a:pt x="2050" y="141"/>
                  </a:cubicBezTo>
                  <a:cubicBezTo>
                    <a:pt x="2057" y="143"/>
                    <a:pt x="2071" y="136"/>
                    <a:pt x="2074" y="145"/>
                  </a:cubicBezTo>
                  <a:cubicBezTo>
                    <a:pt x="2074" y="147"/>
                    <a:pt x="2074" y="152"/>
                    <a:pt x="2072" y="152"/>
                  </a:cubicBezTo>
                  <a:cubicBezTo>
                    <a:pt x="2067" y="151"/>
                    <a:pt x="2062" y="141"/>
                    <a:pt x="2058" y="145"/>
                  </a:cubicBezTo>
                  <a:cubicBezTo>
                    <a:pt x="2057" y="146"/>
                    <a:pt x="2059" y="153"/>
                    <a:pt x="2055" y="152"/>
                  </a:cubicBezTo>
                  <a:cubicBezTo>
                    <a:pt x="2053" y="144"/>
                    <a:pt x="2049" y="139"/>
                    <a:pt x="2039" y="141"/>
                  </a:cubicBezTo>
                  <a:cubicBezTo>
                    <a:pt x="2041" y="153"/>
                    <a:pt x="2037" y="158"/>
                    <a:pt x="2037" y="167"/>
                  </a:cubicBezTo>
                  <a:cubicBezTo>
                    <a:pt x="2048" y="170"/>
                    <a:pt x="2047" y="157"/>
                    <a:pt x="2053" y="152"/>
                  </a:cubicBezTo>
                  <a:cubicBezTo>
                    <a:pt x="2050" y="162"/>
                    <a:pt x="2057" y="162"/>
                    <a:pt x="2055" y="170"/>
                  </a:cubicBezTo>
                  <a:cubicBezTo>
                    <a:pt x="2059" y="171"/>
                    <a:pt x="2062" y="171"/>
                    <a:pt x="2061" y="178"/>
                  </a:cubicBezTo>
                  <a:cubicBezTo>
                    <a:pt x="2057" y="172"/>
                    <a:pt x="2050" y="170"/>
                    <a:pt x="2045" y="167"/>
                  </a:cubicBezTo>
                  <a:cubicBezTo>
                    <a:pt x="2042" y="172"/>
                    <a:pt x="2043" y="181"/>
                    <a:pt x="2034" y="178"/>
                  </a:cubicBezTo>
                  <a:cubicBezTo>
                    <a:pt x="2038" y="165"/>
                    <a:pt x="2033" y="151"/>
                    <a:pt x="2037" y="137"/>
                  </a:cubicBezTo>
                  <a:cubicBezTo>
                    <a:pt x="2032" y="137"/>
                    <a:pt x="2034" y="128"/>
                    <a:pt x="2029" y="130"/>
                  </a:cubicBezTo>
                  <a:cubicBezTo>
                    <a:pt x="2028" y="137"/>
                    <a:pt x="2032" y="137"/>
                    <a:pt x="2034" y="141"/>
                  </a:cubicBezTo>
                  <a:cubicBezTo>
                    <a:pt x="2028" y="144"/>
                    <a:pt x="2032" y="154"/>
                    <a:pt x="2031" y="159"/>
                  </a:cubicBezTo>
                  <a:cubicBezTo>
                    <a:pt x="2031" y="160"/>
                    <a:pt x="2029" y="160"/>
                    <a:pt x="2029" y="163"/>
                  </a:cubicBezTo>
                  <a:cubicBezTo>
                    <a:pt x="2028" y="168"/>
                    <a:pt x="2028" y="171"/>
                    <a:pt x="2026" y="174"/>
                  </a:cubicBezTo>
                  <a:cubicBezTo>
                    <a:pt x="2023" y="180"/>
                    <a:pt x="2024" y="190"/>
                    <a:pt x="2020" y="193"/>
                  </a:cubicBezTo>
                  <a:cubicBezTo>
                    <a:pt x="2013" y="185"/>
                    <a:pt x="2023" y="171"/>
                    <a:pt x="2026" y="167"/>
                  </a:cubicBezTo>
                  <a:cubicBezTo>
                    <a:pt x="2027" y="155"/>
                    <a:pt x="2019" y="157"/>
                    <a:pt x="2018" y="148"/>
                  </a:cubicBezTo>
                  <a:cubicBezTo>
                    <a:pt x="2021" y="148"/>
                    <a:pt x="2022" y="153"/>
                    <a:pt x="2026" y="152"/>
                  </a:cubicBezTo>
                  <a:cubicBezTo>
                    <a:pt x="2029" y="152"/>
                    <a:pt x="2029" y="142"/>
                    <a:pt x="2026" y="141"/>
                  </a:cubicBezTo>
                  <a:cubicBezTo>
                    <a:pt x="2026" y="156"/>
                    <a:pt x="2022" y="141"/>
                    <a:pt x="2020" y="137"/>
                  </a:cubicBezTo>
                  <a:cubicBezTo>
                    <a:pt x="2012" y="140"/>
                    <a:pt x="2015" y="140"/>
                    <a:pt x="2007" y="137"/>
                  </a:cubicBezTo>
                  <a:cubicBezTo>
                    <a:pt x="2000" y="144"/>
                    <a:pt x="2009" y="172"/>
                    <a:pt x="2002" y="178"/>
                  </a:cubicBezTo>
                  <a:cubicBezTo>
                    <a:pt x="1999" y="168"/>
                    <a:pt x="1995" y="172"/>
                    <a:pt x="1999" y="167"/>
                  </a:cubicBezTo>
                  <a:cubicBezTo>
                    <a:pt x="2001" y="164"/>
                    <a:pt x="1990" y="162"/>
                    <a:pt x="1991" y="159"/>
                  </a:cubicBezTo>
                  <a:cubicBezTo>
                    <a:pt x="1990" y="153"/>
                    <a:pt x="1995" y="150"/>
                    <a:pt x="1991" y="148"/>
                  </a:cubicBezTo>
                  <a:cubicBezTo>
                    <a:pt x="1991" y="150"/>
                    <a:pt x="1989" y="152"/>
                    <a:pt x="1988" y="148"/>
                  </a:cubicBezTo>
                  <a:cubicBezTo>
                    <a:pt x="1994" y="147"/>
                    <a:pt x="1995" y="141"/>
                    <a:pt x="1999" y="137"/>
                  </a:cubicBezTo>
                  <a:cubicBezTo>
                    <a:pt x="2000" y="143"/>
                    <a:pt x="2002" y="136"/>
                    <a:pt x="2007" y="137"/>
                  </a:cubicBezTo>
                  <a:cubicBezTo>
                    <a:pt x="2009" y="134"/>
                    <a:pt x="2008" y="129"/>
                    <a:pt x="2010" y="126"/>
                  </a:cubicBezTo>
                  <a:cubicBezTo>
                    <a:pt x="2010" y="126"/>
                    <a:pt x="2012" y="126"/>
                    <a:pt x="2012" y="126"/>
                  </a:cubicBezTo>
                  <a:cubicBezTo>
                    <a:pt x="2013" y="121"/>
                    <a:pt x="2010" y="118"/>
                    <a:pt x="2010" y="115"/>
                  </a:cubicBezTo>
                  <a:cubicBezTo>
                    <a:pt x="2010" y="115"/>
                    <a:pt x="2013" y="114"/>
                    <a:pt x="2012" y="111"/>
                  </a:cubicBezTo>
                  <a:cubicBezTo>
                    <a:pt x="2012" y="111"/>
                    <a:pt x="2007" y="109"/>
                    <a:pt x="2007" y="108"/>
                  </a:cubicBezTo>
                  <a:cubicBezTo>
                    <a:pt x="2007" y="113"/>
                    <a:pt x="2007" y="120"/>
                    <a:pt x="2002" y="119"/>
                  </a:cubicBezTo>
                  <a:cubicBezTo>
                    <a:pt x="2001" y="112"/>
                    <a:pt x="2005" y="111"/>
                    <a:pt x="2004" y="104"/>
                  </a:cubicBezTo>
                  <a:cubicBezTo>
                    <a:pt x="2001" y="104"/>
                    <a:pt x="1998" y="106"/>
                    <a:pt x="1996" y="108"/>
                  </a:cubicBezTo>
                  <a:cubicBezTo>
                    <a:pt x="2003" y="102"/>
                    <a:pt x="1993" y="95"/>
                    <a:pt x="1988" y="96"/>
                  </a:cubicBezTo>
                  <a:cubicBezTo>
                    <a:pt x="1985" y="98"/>
                    <a:pt x="1986" y="102"/>
                    <a:pt x="1983" y="104"/>
                  </a:cubicBezTo>
                  <a:cubicBezTo>
                    <a:pt x="1983" y="99"/>
                    <a:pt x="1984" y="96"/>
                    <a:pt x="1986" y="93"/>
                  </a:cubicBezTo>
                  <a:cubicBezTo>
                    <a:pt x="1982" y="93"/>
                    <a:pt x="1978" y="93"/>
                    <a:pt x="1975" y="93"/>
                  </a:cubicBezTo>
                  <a:cubicBezTo>
                    <a:pt x="1974" y="97"/>
                    <a:pt x="1975" y="103"/>
                    <a:pt x="1972" y="104"/>
                  </a:cubicBezTo>
                  <a:cubicBezTo>
                    <a:pt x="1969" y="104"/>
                    <a:pt x="1970" y="97"/>
                    <a:pt x="1967" y="96"/>
                  </a:cubicBezTo>
                  <a:cubicBezTo>
                    <a:pt x="1967" y="97"/>
                    <a:pt x="1960" y="104"/>
                    <a:pt x="1956" y="100"/>
                  </a:cubicBezTo>
                  <a:cubicBezTo>
                    <a:pt x="1955" y="90"/>
                    <a:pt x="1948" y="87"/>
                    <a:pt x="1940" y="85"/>
                  </a:cubicBezTo>
                  <a:cubicBezTo>
                    <a:pt x="1939" y="93"/>
                    <a:pt x="1943" y="93"/>
                    <a:pt x="1945" y="96"/>
                  </a:cubicBezTo>
                  <a:cubicBezTo>
                    <a:pt x="1936" y="90"/>
                    <a:pt x="1937" y="97"/>
                    <a:pt x="1932" y="104"/>
                  </a:cubicBezTo>
                  <a:cubicBezTo>
                    <a:pt x="1930" y="93"/>
                    <a:pt x="1936" y="93"/>
                    <a:pt x="1934" y="82"/>
                  </a:cubicBezTo>
                  <a:cubicBezTo>
                    <a:pt x="1924" y="83"/>
                    <a:pt x="1936" y="98"/>
                    <a:pt x="1924" y="100"/>
                  </a:cubicBezTo>
                  <a:cubicBezTo>
                    <a:pt x="1928" y="88"/>
                    <a:pt x="1922" y="81"/>
                    <a:pt x="1924" y="63"/>
                  </a:cubicBezTo>
                  <a:cubicBezTo>
                    <a:pt x="1920" y="64"/>
                    <a:pt x="1915" y="60"/>
                    <a:pt x="1916" y="56"/>
                  </a:cubicBezTo>
                  <a:cubicBezTo>
                    <a:pt x="1916" y="56"/>
                    <a:pt x="1920" y="54"/>
                    <a:pt x="1918" y="52"/>
                  </a:cubicBezTo>
                  <a:cubicBezTo>
                    <a:pt x="1914" y="48"/>
                    <a:pt x="1902" y="50"/>
                    <a:pt x="1905" y="52"/>
                  </a:cubicBezTo>
                  <a:cubicBezTo>
                    <a:pt x="1908" y="54"/>
                    <a:pt x="1910" y="57"/>
                    <a:pt x="1910" y="63"/>
                  </a:cubicBezTo>
                  <a:cubicBezTo>
                    <a:pt x="1905" y="59"/>
                    <a:pt x="1897" y="69"/>
                    <a:pt x="1905" y="71"/>
                  </a:cubicBezTo>
                  <a:cubicBezTo>
                    <a:pt x="1905" y="67"/>
                    <a:pt x="1910" y="66"/>
                    <a:pt x="1910" y="71"/>
                  </a:cubicBezTo>
                  <a:cubicBezTo>
                    <a:pt x="1909" y="76"/>
                    <a:pt x="1906" y="80"/>
                    <a:pt x="1902" y="82"/>
                  </a:cubicBezTo>
                  <a:cubicBezTo>
                    <a:pt x="1896" y="73"/>
                    <a:pt x="1893" y="76"/>
                    <a:pt x="1886" y="82"/>
                  </a:cubicBezTo>
                  <a:cubicBezTo>
                    <a:pt x="1884" y="95"/>
                    <a:pt x="1889" y="100"/>
                    <a:pt x="1891" y="108"/>
                  </a:cubicBezTo>
                  <a:cubicBezTo>
                    <a:pt x="1888" y="112"/>
                    <a:pt x="1881" y="109"/>
                    <a:pt x="1878" y="104"/>
                  </a:cubicBezTo>
                  <a:cubicBezTo>
                    <a:pt x="1881" y="102"/>
                    <a:pt x="1884" y="99"/>
                    <a:pt x="1883" y="93"/>
                  </a:cubicBezTo>
                  <a:cubicBezTo>
                    <a:pt x="1877" y="93"/>
                    <a:pt x="1875" y="100"/>
                    <a:pt x="1873" y="89"/>
                  </a:cubicBezTo>
                  <a:cubicBezTo>
                    <a:pt x="1871" y="83"/>
                    <a:pt x="1876" y="67"/>
                    <a:pt x="1870" y="67"/>
                  </a:cubicBezTo>
                  <a:cubicBezTo>
                    <a:pt x="1870" y="84"/>
                    <a:pt x="1861" y="97"/>
                    <a:pt x="1862" y="111"/>
                  </a:cubicBezTo>
                  <a:cubicBezTo>
                    <a:pt x="1862" y="119"/>
                    <a:pt x="1874" y="123"/>
                    <a:pt x="1865" y="130"/>
                  </a:cubicBezTo>
                  <a:cubicBezTo>
                    <a:pt x="1854" y="127"/>
                    <a:pt x="1867" y="117"/>
                    <a:pt x="1856" y="115"/>
                  </a:cubicBezTo>
                  <a:cubicBezTo>
                    <a:pt x="1852" y="121"/>
                    <a:pt x="1857" y="147"/>
                    <a:pt x="1848" y="156"/>
                  </a:cubicBezTo>
                  <a:cubicBezTo>
                    <a:pt x="1850" y="144"/>
                    <a:pt x="1844" y="145"/>
                    <a:pt x="1846" y="133"/>
                  </a:cubicBezTo>
                  <a:cubicBezTo>
                    <a:pt x="1855" y="137"/>
                    <a:pt x="1850" y="122"/>
                    <a:pt x="1851" y="115"/>
                  </a:cubicBezTo>
                  <a:cubicBezTo>
                    <a:pt x="1842" y="117"/>
                    <a:pt x="1840" y="91"/>
                    <a:pt x="1846" y="85"/>
                  </a:cubicBezTo>
                  <a:cubicBezTo>
                    <a:pt x="1849" y="86"/>
                    <a:pt x="1852" y="105"/>
                    <a:pt x="1856" y="93"/>
                  </a:cubicBezTo>
                  <a:cubicBezTo>
                    <a:pt x="1850" y="85"/>
                    <a:pt x="1863" y="96"/>
                    <a:pt x="1865" y="89"/>
                  </a:cubicBezTo>
                  <a:cubicBezTo>
                    <a:pt x="1865" y="79"/>
                    <a:pt x="1863" y="68"/>
                    <a:pt x="1867" y="63"/>
                  </a:cubicBezTo>
                  <a:cubicBezTo>
                    <a:pt x="1862" y="62"/>
                    <a:pt x="1861" y="67"/>
                    <a:pt x="1856" y="67"/>
                  </a:cubicBezTo>
                  <a:cubicBezTo>
                    <a:pt x="1853" y="67"/>
                    <a:pt x="1852" y="59"/>
                    <a:pt x="1848" y="60"/>
                  </a:cubicBezTo>
                  <a:cubicBezTo>
                    <a:pt x="1847" y="60"/>
                    <a:pt x="1847" y="65"/>
                    <a:pt x="1843" y="63"/>
                  </a:cubicBezTo>
                  <a:cubicBezTo>
                    <a:pt x="1843" y="63"/>
                    <a:pt x="1843" y="57"/>
                    <a:pt x="1843" y="56"/>
                  </a:cubicBezTo>
                  <a:cubicBezTo>
                    <a:pt x="1837" y="57"/>
                    <a:pt x="1832" y="60"/>
                    <a:pt x="1827" y="63"/>
                  </a:cubicBezTo>
                  <a:cubicBezTo>
                    <a:pt x="1827" y="57"/>
                    <a:pt x="1827" y="50"/>
                    <a:pt x="1822" y="52"/>
                  </a:cubicBezTo>
                  <a:cubicBezTo>
                    <a:pt x="1821" y="56"/>
                    <a:pt x="1822" y="63"/>
                    <a:pt x="1819" y="63"/>
                  </a:cubicBezTo>
                  <a:cubicBezTo>
                    <a:pt x="1817" y="57"/>
                    <a:pt x="1816" y="65"/>
                    <a:pt x="1813" y="67"/>
                  </a:cubicBezTo>
                  <a:cubicBezTo>
                    <a:pt x="1810" y="55"/>
                    <a:pt x="1818" y="58"/>
                    <a:pt x="1819" y="52"/>
                  </a:cubicBezTo>
                  <a:cubicBezTo>
                    <a:pt x="1810" y="55"/>
                    <a:pt x="1813" y="55"/>
                    <a:pt x="1808" y="48"/>
                  </a:cubicBezTo>
                  <a:cubicBezTo>
                    <a:pt x="1809" y="54"/>
                    <a:pt x="1798" y="61"/>
                    <a:pt x="1797" y="52"/>
                  </a:cubicBezTo>
                  <a:cubicBezTo>
                    <a:pt x="1796" y="44"/>
                    <a:pt x="1808" y="57"/>
                    <a:pt x="1800" y="48"/>
                  </a:cubicBezTo>
                  <a:cubicBezTo>
                    <a:pt x="1798" y="36"/>
                    <a:pt x="1792" y="64"/>
                    <a:pt x="1792" y="48"/>
                  </a:cubicBezTo>
                  <a:cubicBezTo>
                    <a:pt x="1792" y="43"/>
                    <a:pt x="1783" y="41"/>
                    <a:pt x="1778" y="41"/>
                  </a:cubicBezTo>
                  <a:cubicBezTo>
                    <a:pt x="1778" y="45"/>
                    <a:pt x="1779" y="51"/>
                    <a:pt x="1776" y="52"/>
                  </a:cubicBezTo>
                  <a:cubicBezTo>
                    <a:pt x="1778" y="34"/>
                    <a:pt x="1767" y="40"/>
                    <a:pt x="1765" y="41"/>
                  </a:cubicBezTo>
                  <a:cubicBezTo>
                    <a:pt x="1756" y="44"/>
                    <a:pt x="1758" y="34"/>
                    <a:pt x="1752" y="37"/>
                  </a:cubicBezTo>
                  <a:cubicBezTo>
                    <a:pt x="1750" y="38"/>
                    <a:pt x="1752" y="46"/>
                    <a:pt x="1749" y="45"/>
                  </a:cubicBezTo>
                  <a:cubicBezTo>
                    <a:pt x="1748" y="40"/>
                    <a:pt x="1749" y="34"/>
                    <a:pt x="1746" y="34"/>
                  </a:cubicBezTo>
                  <a:cubicBezTo>
                    <a:pt x="1744" y="42"/>
                    <a:pt x="1729" y="44"/>
                    <a:pt x="1727" y="30"/>
                  </a:cubicBezTo>
                  <a:cubicBezTo>
                    <a:pt x="1728" y="24"/>
                    <a:pt x="1734" y="27"/>
                    <a:pt x="1735" y="22"/>
                  </a:cubicBezTo>
                  <a:cubicBezTo>
                    <a:pt x="1735" y="23"/>
                    <a:pt x="1731" y="19"/>
                    <a:pt x="1735" y="19"/>
                  </a:cubicBezTo>
                  <a:cubicBezTo>
                    <a:pt x="1741" y="16"/>
                    <a:pt x="1741" y="27"/>
                    <a:pt x="1744" y="26"/>
                  </a:cubicBezTo>
                  <a:cubicBezTo>
                    <a:pt x="1744" y="26"/>
                    <a:pt x="1749" y="14"/>
                    <a:pt x="1749" y="22"/>
                  </a:cubicBezTo>
                  <a:cubicBezTo>
                    <a:pt x="1749" y="28"/>
                    <a:pt x="1755" y="27"/>
                    <a:pt x="1757" y="30"/>
                  </a:cubicBezTo>
                  <a:cubicBezTo>
                    <a:pt x="1757" y="26"/>
                    <a:pt x="1757" y="19"/>
                    <a:pt x="1760" y="19"/>
                  </a:cubicBezTo>
                  <a:cubicBezTo>
                    <a:pt x="1759" y="25"/>
                    <a:pt x="1763" y="29"/>
                    <a:pt x="1765" y="22"/>
                  </a:cubicBezTo>
                  <a:cubicBezTo>
                    <a:pt x="1751" y="5"/>
                    <a:pt x="1742" y="19"/>
                    <a:pt x="1725" y="11"/>
                  </a:cubicBezTo>
                  <a:cubicBezTo>
                    <a:pt x="1719" y="18"/>
                    <a:pt x="1724" y="25"/>
                    <a:pt x="1725" y="34"/>
                  </a:cubicBezTo>
                  <a:cubicBezTo>
                    <a:pt x="1716" y="39"/>
                    <a:pt x="1713" y="35"/>
                    <a:pt x="1703" y="34"/>
                  </a:cubicBezTo>
                  <a:cubicBezTo>
                    <a:pt x="1703" y="37"/>
                    <a:pt x="1703" y="40"/>
                    <a:pt x="1700" y="41"/>
                  </a:cubicBezTo>
                  <a:cubicBezTo>
                    <a:pt x="1698" y="42"/>
                    <a:pt x="1698" y="38"/>
                    <a:pt x="1698" y="37"/>
                  </a:cubicBezTo>
                  <a:cubicBezTo>
                    <a:pt x="1695" y="36"/>
                    <a:pt x="1694" y="41"/>
                    <a:pt x="1692" y="41"/>
                  </a:cubicBezTo>
                  <a:cubicBezTo>
                    <a:pt x="1693" y="41"/>
                    <a:pt x="1691" y="38"/>
                    <a:pt x="1690" y="37"/>
                  </a:cubicBezTo>
                  <a:cubicBezTo>
                    <a:pt x="1687" y="36"/>
                    <a:pt x="1684" y="38"/>
                    <a:pt x="1682" y="37"/>
                  </a:cubicBezTo>
                  <a:cubicBezTo>
                    <a:pt x="1681" y="40"/>
                    <a:pt x="1682" y="45"/>
                    <a:pt x="1679" y="45"/>
                  </a:cubicBezTo>
                  <a:cubicBezTo>
                    <a:pt x="1676" y="36"/>
                    <a:pt x="1666" y="51"/>
                    <a:pt x="1666" y="34"/>
                  </a:cubicBezTo>
                  <a:cubicBezTo>
                    <a:pt x="1670" y="34"/>
                    <a:pt x="1675" y="34"/>
                    <a:pt x="1679" y="34"/>
                  </a:cubicBezTo>
                  <a:cubicBezTo>
                    <a:pt x="1680" y="18"/>
                    <a:pt x="1672" y="29"/>
                    <a:pt x="1671" y="22"/>
                  </a:cubicBezTo>
                  <a:cubicBezTo>
                    <a:pt x="1673" y="22"/>
                    <a:pt x="1674" y="22"/>
                    <a:pt x="1674" y="19"/>
                  </a:cubicBezTo>
                  <a:cubicBezTo>
                    <a:pt x="1665" y="23"/>
                    <a:pt x="1657" y="20"/>
                    <a:pt x="1652" y="22"/>
                  </a:cubicBezTo>
                  <a:cubicBezTo>
                    <a:pt x="1651" y="23"/>
                    <a:pt x="1648" y="29"/>
                    <a:pt x="1647" y="30"/>
                  </a:cubicBezTo>
                  <a:cubicBezTo>
                    <a:pt x="1644" y="32"/>
                    <a:pt x="1641" y="30"/>
                    <a:pt x="1639" y="34"/>
                  </a:cubicBezTo>
                  <a:cubicBezTo>
                    <a:pt x="1636" y="38"/>
                    <a:pt x="1638" y="46"/>
                    <a:pt x="1636" y="52"/>
                  </a:cubicBezTo>
                  <a:cubicBezTo>
                    <a:pt x="1635" y="55"/>
                    <a:pt x="1629" y="55"/>
                    <a:pt x="1628" y="60"/>
                  </a:cubicBezTo>
                  <a:cubicBezTo>
                    <a:pt x="1640" y="53"/>
                    <a:pt x="1641" y="69"/>
                    <a:pt x="1644" y="71"/>
                  </a:cubicBezTo>
                  <a:cubicBezTo>
                    <a:pt x="1649" y="73"/>
                    <a:pt x="1655" y="66"/>
                    <a:pt x="1660" y="74"/>
                  </a:cubicBezTo>
                  <a:cubicBezTo>
                    <a:pt x="1647" y="75"/>
                    <a:pt x="1648" y="95"/>
                    <a:pt x="1633" y="93"/>
                  </a:cubicBezTo>
                  <a:cubicBezTo>
                    <a:pt x="1633" y="98"/>
                    <a:pt x="1633" y="103"/>
                    <a:pt x="1633" y="108"/>
                  </a:cubicBezTo>
                  <a:cubicBezTo>
                    <a:pt x="1637" y="108"/>
                    <a:pt x="1643" y="106"/>
                    <a:pt x="1644" y="111"/>
                  </a:cubicBezTo>
                  <a:cubicBezTo>
                    <a:pt x="1644" y="115"/>
                    <a:pt x="1646" y="116"/>
                    <a:pt x="1647" y="119"/>
                  </a:cubicBezTo>
                  <a:cubicBezTo>
                    <a:pt x="1642" y="122"/>
                    <a:pt x="1637" y="125"/>
                    <a:pt x="1631" y="126"/>
                  </a:cubicBezTo>
                  <a:cubicBezTo>
                    <a:pt x="1629" y="139"/>
                    <a:pt x="1641" y="132"/>
                    <a:pt x="1641" y="141"/>
                  </a:cubicBezTo>
                  <a:cubicBezTo>
                    <a:pt x="1649" y="136"/>
                    <a:pt x="1647" y="141"/>
                    <a:pt x="1652" y="141"/>
                  </a:cubicBezTo>
                  <a:cubicBezTo>
                    <a:pt x="1652" y="141"/>
                    <a:pt x="1653" y="138"/>
                    <a:pt x="1655" y="137"/>
                  </a:cubicBezTo>
                  <a:cubicBezTo>
                    <a:pt x="1657" y="137"/>
                    <a:pt x="1660" y="138"/>
                    <a:pt x="1660" y="141"/>
                  </a:cubicBezTo>
                  <a:cubicBezTo>
                    <a:pt x="1654" y="143"/>
                    <a:pt x="1646" y="144"/>
                    <a:pt x="1647" y="156"/>
                  </a:cubicBezTo>
                  <a:cubicBezTo>
                    <a:pt x="1654" y="158"/>
                    <a:pt x="1664" y="145"/>
                    <a:pt x="1668" y="156"/>
                  </a:cubicBezTo>
                  <a:cubicBezTo>
                    <a:pt x="1657" y="155"/>
                    <a:pt x="1652" y="162"/>
                    <a:pt x="1652" y="178"/>
                  </a:cubicBezTo>
                  <a:cubicBezTo>
                    <a:pt x="1663" y="184"/>
                    <a:pt x="1653" y="162"/>
                    <a:pt x="1660" y="163"/>
                  </a:cubicBezTo>
                  <a:cubicBezTo>
                    <a:pt x="1666" y="165"/>
                    <a:pt x="1678" y="158"/>
                    <a:pt x="1679" y="167"/>
                  </a:cubicBezTo>
                  <a:cubicBezTo>
                    <a:pt x="1678" y="179"/>
                    <a:pt x="1663" y="178"/>
                    <a:pt x="1663" y="185"/>
                  </a:cubicBezTo>
                  <a:cubicBezTo>
                    <a:pt x="1662" y="195"/>
                    <a:pt x="1655" y="189"/>
                    <a:pt x="1655" y="196"/>
                  </a:cubicBezTo>
                  <a:cubicBezTo>
                    <a:pt x="1661" y="199"/>
                    <a:pt x="1656" y="217"/>
                    <a:pt x="1657" y="226"/>
                  </a:cubicBezTo>
                  <a:cubicBezTo>
                    <a:pt x="1644" y="218"/>
                    <a:pt x="1654" y="243"/>
                    <a:pt x="1647" y="244"/>
                  </a:cubicBezTo>
                  <a:cubicBezTo>
                    <a:pt x="1648" y="231"/>
                    <a:pt x="1642" y="234"/>
                    <a:pt x="1641" y="230"/>
                  </a:cubicBezTo>
                  <a:cubicBezTo>
                    <a:pt x="1641" y="229"/>
                    <a:pt x="1646" y="230"/>
                    <a:pt x="1647" y="230"/>
                  </a:cubicBezTo>
                  <a:cubicBezTo>
                    <a:pt x="1648" y="228"/>
                    <a:pt x="1643" y="223"/>
                    <a:pt x="1644" y="222"/>
                  </a:cubicBezTo>
                  <a:cubicBezTo>
                    <a:pt x="1643" y="209"/>
                    <a:pt x="1637" y="235"/>
                    <a:pt x="1636" y="222"/>
                  </a:cubicBezTo>
                  <a:cubicBezTo>
                    <a:pt x="1636" y="208"/>
                    <a:pt x="1640" y="201"/>
                    <a:pt x="1644" y="193"/>
                  </a:cubicBezTo>
                  <a:cubicBezTo>
                    <a:pt x="1642" y="193"/>
                    <a:pt x="1640" y="192"/>
                    <a:pt x="1639" y="193"/>
                  </a:cubicBezTo>
                  <a:cubicBezTo>
                    <a:pt x="1635" y="194"/>
                    <a:pt x="1637" y="196"/>
                    <a:pt x="1636" y="200"/>
                  </a:cubicBezTo>
                  <a:cubicBezTo>
                    <a:pt x="1636" y="200"/>
                    <a:pt x="1633" y="200"/>
                    <a:pt x="1633" y="200"/>
                  </a:cubicBezTo>
                  <a:cubicBezTo>
                    <a:pt x="1632" y="203"/>
                    <a:pt x="1634" y="211"/>
                    <a:pt x="1633" y="215"/>
                  </a:cubicBezTo>
                  <a:cubicBezTo>
                    <a:pt x="1633" y="219"/>
                    <a:pt x="1630" y="220"/>
                    <a:pt x="1631" y="226"/>
                  </a:cubicBezTo>
                  <a:cubicBezTo>
                    <a:pt x="1631" y="231"/>
                    <a:pt x="1635" y="233"/>
                    <a:pt x="1633" y="241"/>
                  </a:cubicBezTo>
                  <a:cubicBezTo>
                    <a:pt x="1628" y="234"/>
                    <a:pt x="1627" y="240"/>
                    <a:pt x="1620" y="241"/>
                  </a:cubicBezTo>
                  <a:cubicBezTo>
                    <a:pt x="1620" y="231"/>
                    <a:pt x="1608" y="237"/>
                    <a:pt x="1612" y="222"/>
                  </a:cubicBezTo>
                  <a:cubicBezTo>
                    <a:pt x="1615" y="223"/>
                    <a:pt x="1617" y="227"/>
                    <a:pt x="1623" y="226"/>
                  </a:cubicBezTo>
                  <a:cubicBezTo>
                    <a:pt x="1622" y="215"/>
                    <a:pt x="1623" y="213"/>
                    <a:pt x="1628" y="218"/>
                  </a:cubicBezTo>
                  <a:cubicBezTo>
                    <a:pt x="1625" y="212"/>
                    <a:pt x="1629" y="201"/>
                    <a:pt x="1630" y="200"/>
                  </a:cubicBezTo>
                  <a:cubicBezTo>
                    <a:pt x="1629" y="199"/>
                    <a:pt x="1624" y="199"/>
                    <a:pt x="1625" y="196"/>
                  </a:cubicBezTo>
                  <a:cubicBezTo>
                    <a:pt x="1627" y="193"/>
                    <a:pt x="1637" y="199"/>
                    <a:pt x="1633" y="189"/>
                  </a:cubicBezTo>
                  <a:cubicBezTo>
                    <a:pt x="1629" y="189"/>
                    <a:pt x="1624" y="189"/>
                    <a:pt x="1620" y="189"/>
                  </a:cubicBezTo>
                  <a:cubicBezTo>
                    <a:pt x="1620" y="202"/>
                    <a:pt x="1621" y="215"/>
                    <a:pt x="1614" y="218"/>
                  </a:cubicBezTo>
                  <a:cubicBezTo>
                    <a:pt x="1614" y="211"/>
                    <a:pt x="1607" y="224"/>
                    <a:pt x="1606" y="211"/>
                  </a:cubicBezTo>
                  <a:cubicBezTo>
                    <a:pt x="1612" y="210"/>
                    <a:pt x="1618" y="210"/>
                    <a:pt x="1617" y="200"/>
                  </a:cubicBezTo>
                  <a:cubicBezTo>
                    <a:pt x="1612" y="198"/>
                    <a:pt x="1601" y="205"/>
                    <a:pt x="1601" y="196"/>
                  </a:cubicBezTo>
                  <a:cubicBezTo>
                    <a:pt x="1602" y="191"/>
                    <a:pt x="1605" y="189"/>
                    <a:pt x="1604" y="182"/>
                  </a:cubicBezTo>
                  <a:cubicBezTo>
                    <a:pt x="1590" y="179"/>
                    <a:pt x="1607" y="180"/>
                    <a:pt x="1606" y="174"/>
                  </a:cubicBezTo>
                  <a:cubicBezTo>
                    <a:pt x="1603" y="174"/>
                    <a:pt x="1599" y="175"/>
                    <a:pt x="1598" y="170"/>
                  </a:cubicBezTo>
                  <a:cubicBezTo>
                    <a:pt x="1610" y="173"/>
                    <a:pt x="1596" y="163"/>
                    <a:pt x="1604" y="163"/>
                  </a:cubicBezTo>
                  <a:cubicBezTo>
                    <a:pt x="1606" y="176"/>
                    <a:pt x="1618" y="182"/>
                    <a:pt x="1612" y="196"/>
                  </a:cubicBezTo>
                  <a:cubicBezTo>
                    <a:pt x="1622" y="199"/>
                    <a:pt x="1615" y="179"/>
                    <a:pt x="1617" y="170"/>
                  </a:cubicBezTo>
                  <a:cubicBezTo>
                    <a:pt x="1618" y="169"/>
                    <a:pt x="1624" y="171"/>
                    <a:pt x="1623" y="167"/>
                  </a:cubicBezTo>
                  <a:cubicBezTo>
                    <a:pt x="1621" y="167"/>
                    <a:pt x="1619" y="166"/>
                    <a:pt x="1620" y="163"/>
                  </a:cubicBezTo>
                  <a:cubicBezTo>
                    <a:pt x="1617" y="163"/>
                    <a:pt x="1617" y="160"/>
                    <a:pt x="1614" y="159"/>
                  </a:cubicBezTo>
                  <a:cubicBezTo>
                    <a:pt x="1613" y="164"/>
                    <a:pt x="1612" y="168"/>
                    <a:pt x="1609" y="170"/>
                  </a:cubicBezTo>
                  <a:cubicBezTo>
                    <a:pt x="1614" y="153"/>
                    <a:pt x="1602" y="159"/>
                    <a:pt x="1598" y="152"/>
                  </a:cubicBezTo>
                  <a:cubicBezTo>
                    <a:pt x="1598" y="147"/>
                    <a:pt x="1614" y="147"/>
                    <a:pt x="1604" y="141"/>
                  </a:cubicBezTo>
                  <a:cubicBezTo>
                    <a:pt x="1602" y="152"/>
                    <a:pt x="1600" y="135"/>
                    <a:pt x="1596" y="137"/>
                  </a:cubicBezTo>
                  <a:cubicBezTo>
                    <a:pt x="1596" y="143"/>
                    <a:pt x="1588" y="139"/>
                    <a:pt x="1588" y="145"/>
                  </a:cubicBezTo>
                  <a:cubicBezTo>
                    <a:pt x="1590" y="148"/>
                    <a:pt x="1597" y="146"/>
                    <a:pt x="1596" y="156"/>
                  </a:cubicBezTo>
                  <a:cubicBezTo>
                    <a:pt x="1579" y="151"/>
                    <a:pt x="1596" y="170"/>
                    <a:pt x="1588" y="174"/>
                  </a:cubicBezTo>
                  <a:cubicBezTo>
                    <a:pt x="1584" y="174"/>
                    <a:pt x="1582" y="168"/>
                    <a:pt x="1580" y="174"/>
                  </a:cubicBezTo>
                  <a:cubicBezTo>
                    <a:pt x="1591" y="170"/>
                    <a:pt x="1585" y="192"/>
                    <a:pt x="1585" y="193"/>
                  </a:cubicBezTo>
                  <a:cubicBezTo>
                    <a:pt x="1585" y="194"/>
                    <a:pt x="1592" y="192"/>
                    <a:pt x="1590" y="196"/>
                  </a:cubicBezTo>
                  <a:cubicBezTo>
                    <a:pt x="1583" y="199"/>
                    <a:pt x="1588" y="217"/>
                    <a:pt x="1580" y="218"/>
                  </a:cubicBezTo>
                  <a:cubicBezTo>
                    <a:pt x="1574" y="217"/>
                    <a:pt x="1574" y="208"/>
                    <a:pt x="1569" y="207"/>
                  </a:cubicBezTo>
                  <a:cubicBezTo>
                    <a:pt x="1568" y="210"/>
                    <a:pt x="1569" y="215"/>
                    <a:pt x="1566" y="215"/>
                  </a:cubicBezTo>
                  <a:cubicBezTo>
                    <a:pt x="1564" y="204"/>
                    <a:pt x="1570" y="205"/>
                    <a:pt x="1569" y="196"/>
                  </a:cubicBezTo>
                  <a:cubicBezTo>
                    <a:pt x="1564" y="198"/>
                    <a:pt x="1560" y="183"/>
                    <a:pt x="1566" y="182"/>
                  </a:cubicBezTo>
                  <a:cubicBezTo>
                    <a:pt x="1566" y="188"/>
                    <a:pt x="1569" y="190"/>
                    <a:pt x="1574" y="189"/>
                  </a:cubicBezTo>
                  <a:cubicBezTo>
                    <a:pt x="1573" y="199"/>
                    <a:pt x="1575" y="205"/>
                    <a:pt x="1582" y="204"/>
                  </a:cubicBezTo>
                  <a:cubicBezTo>
                    <a:pt x="1581" y="191"/>
                    <a:pt x="1575" y="199"/>
                    <a:pt x="1580" y="185"/>
                  </a:cubicBezTo>
                  <a:cubicBezTo>
                    <a:pt x="1568" y="190"/>
                    <a:pt x="1575" y="170"/>
                    <a:pt x="1569" y="167"/>
                  </a:cubicBezTo>
                  <a:cubicBezTo>
                    <a:pt x="1565" y="181"/>
                    <a:pt x="1568" y="156"/>
                    <a:pt x="1563" y="159"/>
                  </a:cubicBezTo>
                  <a:cubicBezTo>
                    <a:pt x="1558" y="172"/>
                    <a:pt x="1554" y="153"/>
                    <a:pt x="1547" y="156"/>
                  </a:cubicBezTo>
                  <a:cubicBezTo>
                    <a:pt x="1550" y="161"/>
                    <a:pt x="1548" y="171"/>
                    <a:pt x="1550" y="174"/>
                  </a:cubicBezTo>
                  <a:cubicBezTo>
                    <a:pt x="1552" y="177"/>
                    <a:pt x="1557" y="177"/>
                    <a:pt x="1558" y="182"/>
                  </a:cubicBezTo>
                  <a:cubicBezTo>
                    <a:pt x="1554" y="182"/>
                    <a:pt x="1553" y="188"/>
                    <a:pt x="1550" y="189"/>
                  </a:cubicBezTo>
                  <a:cubicBezTo>
                    <a:pt x="1547" y="176"/>
                    <a:pt x="1530" y="182"/>
                    <a:pt x="1523" y="174"/>
                  </a:cubicBezTo>
                  <a:cubicBezTo>
                    <a:pt x="1522" y="177"/>
                    <a:pt x="1521" y="178"/>
                    <a:pt x="1518" y="178"/>
                  </a:cubicBezTo>
                  <a:cubicBezTo>
                    <a:pt x="1518" y="166"/>
                    <a:pt x="1510" y="187"/>
                    <a:pt x="1510" y="174"/>
                  </a:cubicBezTo>
                  <a:cubicBezTo>
                    <a:pt x="1510" y="169"/>
                    <a:pt x="1514" y="168"/>
                    <a:pt x="1515" y="163"/>
                  </a:cubicBezTo>
                  <a:cubicBezTo>
                    <a:pt x="1504" y="168"/>
                    <a:pt x="1506" y="156"/>
                    <a:pt x="1502" y="152"/>
                  </a:cubicBezTo>
                  <a:cubicBezTo>
                    <a:pt x="1501" y="156"/>
                    <a:pt x="1501" y="161"/>
                    <a:pt x="1496" y="159"/>
                  </a:cubicBezTo>
                  <a:cubicBezTo>
                    <a:pt x="1498" y="156"/>
                    <a:pt x="1502" y="146"/>
                    <a:pt x="1493" y="148"/>
                  </a:cubicBezTo>
                  <a:cubicBezTo>
                    <a:pt x="1485" y="147"/>
                    <a:pt x="1500" y="159"/>
                    <a:pt x="1491" y="159"/>
                  </a:cubicBezTo>
                  <a:cubicBezTo>
                    <a:pt x="1489" y="154"/>
                    <a:pt x="1487" y="150"/>
                    <a:pt x="1483" y="148"/>
                  </a:cubicBezTo>
                  <a:cubicBezTo>
                    <a:pt x="1483" y="164"/>
                    <a:pt x="1458" y="151"/>
                    <a:pt x="1450" y="156"/>
                  </a:cubicBezTo>
                  <a:cubicBezTo>
                    <a:pt x="1450" y="152"/>
                    <a:pt x="1450" y="148"/>
                    <a:pt x="1450" y="145"/>
                  </a:cubicBezTo>
                  <a:cubicBezTo>
                    <a:pt x="1445" y="143"/>
                    <a:pt x="1445" y="151"/>
                    <a:pt x="1442" y="152"/>
                  </a:cubicBezTo>
                  <a:cubicBezTo>
                    <a:pt x="1438" y="154"/>
                    <a:pt x="1433" y="151"/>
                    <a:pt x="1429" y="152"/>
                  </a:cubicBezTo>
                  <a:cubicBezTo>
                    <a:pt x="1428" y="150"/>
                    <a:pt x="1430" y="142"/>
                    <a:pt x="1429" y="141"/>
                  </a:cubicBezTo>
                  <a:cubicBezTo>
                    <a:pt x="1425" y="137"/>
                    <a:pt x="1406" y="140"/>
                    <a:pt x="1391" y="137"/>
                  </a:cubicBezTo>
                  <a:cubicBezTo>
                    <a:pt x="1388" y="137"/>
                    <a:pt x="1388" y="134"/>
                    <a:pt x="1383" y="133"/>
                  </a:cubicBezTo>
                  <a:cubicBezTo>
                    <a:pt x="1375" y="133"/>
                    <a:pt x="1377" y="140"/>
                    <a:pt x="1373" y="133"/>
                  </a:cubicBezTo>
                  <a:cubicBezTo>
                    <a:pt x="1370" y="130"/>
                    <a:pt x="1351" y="133"/>
                    <a:pt x="1354" y="137"/>
                  </a:cubicBezTo>
                  <a:cubicBezTo>
                    <a:pt x="1355" y="144"/>
                    <a:pt x="1366" y="137"/>
                    <a:pt x="1367" y="145"/>
                  </a:cubicBezTo>
                  <a:cubicBezTo>
                    <a:pt x="1362" y="152"/>
                    <a:pt x="1368" y="161"/>
                    <a:pt x="1367" y="163"/>
                  </a:cubicBezTo>
                  <a:cubicBezTo>
                    <a:pt x="1367" y="164"/>
                    <a:pt x="1362" y="162"/>
                    <a:pt x="1362" y="163"/>
                  </a:cubicBezTo>
                  <a:cubicBezTo>
                    <a:pt x="1361" y="164"/>
                    <a:pt x="1362" y="170"/>
                    <a:pt x="1362" y="170"/>
                  </a:cubicBezTo>
                  <a:cubicBezTo>
                    <a:pt x="1359" y="172"/>
                    <a:pt x="1354" y="170"/>
                    <a:pt x="1354" y="167"/>
                  </a:cubicBezTo>
                  <a:cubicBezTo>
                    <a:pt x="1357" y="166"/>
                    <a:pt x="1360" y="166"/>
                    <a:pt x="1359" y="159"/>
                  </a:cubicBezTo>
                  <a:cubicBezTo>
                    <a:pt x="1352" y="162"/>
                    <a:pt x="1349" y="158"/>
                    <a:pt x="1351" y="148"/>
                  </a:cubicBezTo>
                  <a:cubicBezTo>
                    <a:pt x="1354" y="153"/>
                    <a:pt x="1364" y="154"/>
                    <a:pt x="1364" y="145"/>
                  </a:cubicBezTo>
                  <a:cubicBezTo>
                    <a:pt x="1352" y="148"/>
                    <a:pt x="1351" y="136"/>
                    <a:pt x="1346" y="130"/>
                  </a:cubicBezTo>
                  <a:cubicBezTo>
                    <a:pt x="1345" y="135"/>
                    <a:pt x="1347" y="138"/>
                    <a:pt x="1348" y="141"/>
                  </a:cubicBezTo>
                  <a:cubicBezTo>
                    <a:pt x="1345" y="141"/>
                    <a:pt x="1342" y="143"/>
                    <a:pt x="1340" y="145"/>
                  </a:cubicBezTo>
                  <a:cubicBezTo>
                    <a:pt x="1339" y="140"/>
                    <a:pt x="1332" y="144"/>
                    <a:pt x="1329" y="141"/>
                  </a:cubicBezTo>
                  <a:cubicBezTo>
                    <a:pt x="1328" y="139"/>
                    <a:pt x="1330" y="132"/>
                    <a:pt x="1327" y="133"/>
                  </a:cubicBezTo>
                  <a:cubicBezTo>
                    <a:pt x="1322" y="151"/>
                    <a:pt x="1306" y="131"/>
                    <a:pt x="1297" y="141"/>
                  </a:cubicBezTo>
                  <a:cubicBezTo>
                    <a:pt x="1297" y="136"/>
                    <a:pt x="1298" y="133"/>
                    <a:pt x="1300" y="130"/>
                  </a:cubicBezTo>
                  <a:cubicBezTo>
                    <a:pt x="1291" y="132"/>
                    <a:pt x="1293" y="117"/>
                    <a:pt x="1286" y="126"/>
                  </a:cubicBezTo>
                  <a:cubicBezTo>
                    <a:pt x="1287" y="121"/>
                    <a:pt x="1285" y="118"/>
                    <a:pt x="1284" y="115"/>
                  </a:cubicBezTo>
                  <a:cubicBezTo>
                    <a:pt x="1283" y="112"/>
                    <a:pt x="1284" y="108"/>
                    <a:pt x="1281" y="108"/>
                  </a:cubicBezTo>
                  <a:cubicBezTo>
                    <a:pt x="1281" y="117"/>
                    <a:pt x="1280" y="123"/>
                    <a:pt x="1276" y="126"/>
                  </a:cubicBezTo>
                  <a:cubicBezTo>
                    <a:pt x="1268" y="131"/>
                    <a:pt x="1262" y="116"/>
                    <a:pt x="1260" y="126"/>
                  </a:cubicBezTo>
                  <a:cubicBezTo>
                    <a:pt x="1262" y="127"/>
                    <a:pt x="1263" y="129"/>
                    <a:pt x="1262" y="133"/>
                  </a:cubicBezTo>
                  <a:cubicBezTo>
                    <a:pt x="1255" y="133"/>
                    <a:pt x="1248" y="133"/>
                    <a:pt x="1241" y="133"/>
                  </a:cubicBezTo>
                  <a:cubicBezTo>
                    <a:pt x="1248" y="120"/>
                    <a:pt x="1234" y="134"/>
                    <a:pt x="1225" y="130"/>
                  </a:cubicBezTo>
                  <a:cubicBezTo>
                    <a:pt x="1225" y="109"/>
                    <a:pt x="1222" y="127"/>
                    <a:pt x="1219" y="126"/>
                  </a:cubicBezTo>
                  <a:cubicBezTo>
                    <a:pt x="1217" y="125"/>
                    <a:pt x="1220" y="119"/>
                    <a:pt x="1217" y="119"/>
                  </a:cubicBezTo>
                  <a:cubicBezTo>
                    <a:pt x="1216" y="119"/>
                    <a:pt x="1216" y="126"/>
                    <a:pt x="1214" y="126"/>
                  </a:cubicBezTo>
                  <a:cubicBezTo>
                    <a:pt x="1213" y="126"/>
                    <a:pt x="1211" y="117"/>
                    <a:pt x="1208" y="119"/>
                  </a:cubicBezTo>
                  <a:cubicBezTo>
                    <a:pt x="1208" y="122"/>
                    <a:pt x="1208" y="126"/>
                    <a:pt x="1206" y="126"/>
                  </a:cubicBezTo>
                  <a:cubicBezTo>
                    <a:pt x="1205" y="122"/>
                    <a:pt x="1206" y="116"/>
                    <a:pt x="1203" y="115"/>
                  </a:cubicBezTo>
                  <a:cubicBezTo>
                    <a:pt x="1197" y="120"/>
                    <a:pt x="1207" y="124"/>
                    <a:pt x="1200" y="126"/>
                  </a:cubicBezTo>
                  <a:cubicBezTo>
                    <a:pt x="1197" y="125"/>
                    <a:pt x="1197" y="120"/>
                    <a:pt x="1198" y="115"/>
                  </a:cubicBezTo>
                  <a:cubicBezTo>
                    <a:pt x="1190" y="116"/>
                    <a:pt x="1179" y="112"/>
                    <a:pt x="1179" y="122"/>
                  </a:cubicBezTo>
                  <a:cubicBezTo>
                    <a:pt x="1182" y="123"/>
                    <a:pt x="1187" y="122"/>
                    <a:pt x="1187" y="126"/>
                  </a:cubicBezTo>
                  <a:cubicBezTo>
                    <a:pt x="1182" y="126"/>
                    <a:pt x="1178" y="126"/>
                    <a:pt x="1173" y="126"/>
                  </a:cubicBezTo>
                  <a:cubicBezTo>
                    <a:pt x="1170" y="121"/>
                    <a:pt x="1172" y="105"/>
                    <a:pt x="1165" y="115"/>
                  </a:cubicBezTo>
                  <a:cubicBezTo>
                    <a:pt x="1169" y="103"/>
                    <a:pt x="1161" y="106"/>
                    <a:pt x="1160" y="100"/>
                  </a:cubicBezTo>
                  <a:cubicBezTo>
                    <a:pt x="1164" y="100"/>
                    <a:pt x="1170" y="101"/>
                    <a:pt x="1171" y="96"/>
                  </a:cubicBezTo>
                  <a:cubicBezTo>
                    <a:pt x="1163" y="97"/>
                    <a:pt x="1168" y="78"/>
                    <a:pt x="1160" y="78"/>
                  </a:cubicBezTo>
                  <a:cubicBezTo>
                    <a:pt x="1157" y="87"/>
                    <a:pt x="1168" y="93"/>
                    <a:pt x="1160" y="96"/>
                  </a:cubicBezTo>
                  <a:cubicBezTo>
                    <a:pt x="1158" y="94"/>
                    <a:pt x="1145" y="88"/>
                    <a:pt x="1144" y="96"/>
                  </a:cubicBezTo>
                  <a:cubicBezTo>
                    <a:pt x="1147" y="100"/>
                    <a:pt x="1151" y="101"/>
                    <a:pt x="1157" y="100"/>
                  </a:cubicBezTo>
                  <a:cubicBezTo>
                    <a:pt x="1161" y="105"/>
                    <a:pt x="1161" y="118"/>
                    <a:pt x="1155" y="119"/>
                  </a:cubicBezTo>
                  <a:cubicBezTo>
                    <a:pt x="1154" y="112"/>
                    <a:pt x="1145" y="98"/>
                    <a:pt x="1141" y="108"/>
                  </a:cubicBezTo>
                  <a:cubicBezTo>
                    <a:pt x="1144" y="109"/>
                    <a:pt x="1145" y="112"/>
                    <a:pt x="1147" y="115"/>
                  </a:cubicBezTo>
                  <a:cubicBezTo>
                    <a:pt x="1149" y="118"/>
                    <a:pt x="1152" y="119"/>
                    <a:pt x="1155" y="122"/>
                  </a:cubicBezTo>
                  <a:cubicBezTo>
                    <a:pt x="1156" y="123"/>
                    <a:pt x="1154" y="128"/>
                    <a:pt x="1155" y="130"/>
                  </a:cubicBezTo>
                  <a:cubicBezTo>
                    <a:pt x="1156" y="132"/>
                    <a:pt x="1161" y="129"/>
                    <a:pt x="1160" y="133"/>
                  </a:cubicBezTo>
                  <a:cubicBezTo>
                    <a:pt x="1155" y="134"/>
                    <a:pt x="1162" y="140"/>
                    <a:pt x="1157" y="141"/>
                  </a:cubicBezTo>
                  <a:cubicBezTo>
                    <a:pt x="1151" y="135"/>
                    <a:pt x="1147" y="142"/>
                    <a:pt x="1144" y="137"/>
                  </a:cubicBezTo>
                  <a:cubicBezTo>
                    <a:pt x="1140" y="131"/>
                    <a:pt x="1131" y="142"/>
                    <a:pt x="1131" y="141"/>
                  </a:cubicBezTo>
                  <a:cubicBezTo>
                    <a:pt x="1134" y="132"/>
                    <a:pt x="1120" y="129"/>
                    <a:pt x="1128" y="126"/>
                  </a:cubicBezTo>
                  <a:cubicBezTo>
                    <a:pt x="1134" y="127"/>
                    <a:pt x="1139" y="134"/>
                    <a:pt x="1141" y="122"/>
                  </a:cubicBezTo>
                  <a:cubicBezTo>
                    <a:pt x="1134" y="123"/>
                    <a:pt x="1132" y="117"/>
                    <a:pt x="1133" y="108"/>
                  </a:cubicBezTo>
                  <a:cubicBezTo>
                    <a:pt x="1124" y="111"/>
                    <a:pt x="1113" y="109"/>
                    <a:pt x="1098" y="104"/>
                  </a:cubicBezTo>
                  <a:cubicBezTo>
                    <a:pt x="1092" y="109"/>
                    <a:pt x="1102" y="113"/>
                    <a:pt x="1096" y="115"/>
                  </a:cubicBezTo>
                  <a:cubicBezTo>
                    <a:pt x="1091" y="115"/>
                    <a:pt x="1086" y="114"/>
                    <a:pt x="1087" y="122"/>
                  </a:cubicBezTo>
                  <a:cubicBezTo>
                    <a:pt x="1097" y="123"/>
                    <a:pt x="1095" y="117"/>
                    <a:pt x="1098" y="122"/>
                  </a:cubicBezTo>
                  <a:cubicBezTo>
                    <a:pt x="1099" y="123"/>
                    <a:pt x="1103" y="122"/>
                    <a:pt x="1104" y="122"/>
                  </a:cubicBezTo>
                  <a:cubicBezTo>
                    <a:pt x="1109" y="123"/>
                    <a:pt x="1123" y="119"/>
                    <a:pt x="1122" y="130"/>
                  </a:cubicBezTo>
                  <a:cubicBezTo>
                    <a:pt x="1119" y="130"/>
                    <a:pt x="1120" y="136"/>
                    <a:pt x="1117" y="137"/>
                  </a:cubicBezTo>
                  <a:cubicBezTo>
                    <a:pt x="1117" y="135"/>
                    <a:pt x="1117" y="132"/>
                    <a:pt x="1117" y="130"/>
                  </a:cubicBezTo>
                  <a:cubicBezTo>
                    <a:pt x="1104" y="125"/>
                    <a:pt x="1081" y="135"/>
                    <a:pt x="1085" y="108"/>
                  </a:cubicBezTo>
                  <a:cubicBezTo>
                    <a:pt x="1079" y="105"/>
                    <a:pt x="1073" y="95"/>
                    <a:pt x="1071" y="108"/>
                  </a:cubicBezTo>
                  <a:cubicBezTo>
                    <a:pt x="1076" y="105"/>
                    <a:pt x="1083" y="115"/>
                    <a:pt x="1077" y="115"/>
                  </a:cubicBezTo>
                  <a:cubicBezTo>
                    <a:pt x="1069" y="112"/>
                    <a:pt x="1070" y="101"/>
                    <a:pt x="1063" y="100"/>
                  </a:cubicBezTo>
                  <a:cubicBezTo>
                    <a:pt x="1063" y="100"/>
                    <a:pt x="1063" y="106"/>
                    <a:pt x="1061" y="104"/>
                  </a:cubicBezTo>
                  <a:cubicBezTo>
                    <a:pt x="1059" y="103"/>
                    <a:pt x="1060" y="94"/>
                    <a:pt x="1058" y="93"/>
                  </a:cubicBezTo>
                  <a:cubicBezTo>
                    <a:pt x="1055" y="91"/>
                    <a:pt x="1050" y="94"/>
                    <a:pt x="1047" y="93"/>
                  </a:cubicBezTo>
                  <a:cubicBezTo>
                    <a:pt x="1048" y="102"/>
                    <a:pt x="1043" y="104"/>
                    <a:pt x="1039" y="108"/>
                  </a:cubicBezTo>
                  <a:cubicBezTo>
                    <a:pt x="1041" y="93"/>
                    <a:pt x="1031" y="110"/>
                    <a:pt x="1028" y="111"/>
                  </a:cubicBezTo>
                  <a:cubicBezTo>
                    <a:pt x="1028" y="111"/>
                    <a:pt x="1029" y="104"/>
                    <a:pt x="1028" y="104"/>
                  </a:cubicBezTo>
                  <a:cubicBezTo>
                    <a:pt x="1025" y="99"/>
                    <a:pt x="1017" y="111"/>
                    <a:pt x="1020" y="115"/>
                  </a:cubicBezTo>
                  <a:cubicBezTo>
                    <a:pt x="1031" y="116"/>
                    <a:pt x="1046" y="111"/>
                    <a:pt x="1050" y="122"/>
                  </a:cubicBezTo>
                  <a:cubicBezTo>
                    <a:pt x="1039" y="118"/>
                    <a:pt x="1033" y="124"/>
                    <a:pt x="1018" y="122"/>
                  </a:cubicBezTo>
                  <a:cubicBezTo>
                    <a:pt x="1015" y="105"/>
                    <a:pt x="1020" y="94"/>
                    <a:pt x="1012" y="89"/>
                  </a:cubicBezTo>
                  <a:cubicBezTo>
                    <a:pt x="1008" y="103"/>
                    <a:pt x="1014" y="113"/>
                    <a:pt x="1009" y="119"/>
                  </a:cubicBezTo>
                  <a:cubicBezTo>
                    <a:pt x="1007" y="114"/>
                    <a:pt x="1008" y="111"/>
                    <a:pt x="1007" y="104"/>
                  </a:cubicBezTo>
                  <a:cubicBezTo>
                    <a:pt x="1006" y="101"/>
                    <a:pt x="1004" y="101"/>
                    <a:pt x="1004" y="100"/>
                  </a:cubicBezTo>
                  <a:cubicBezTo>
                    <a:pt x="1003" y="97"/>
                    <a:pt x="1007" y="95"/>
                    <a:pt x="1007" y="93"/>
                  </a:cubicBezTo>
                  <a:cubicBezTo>
                    <a:pt x="1006" y="90"/>
                    <a:pt x="999" y="89"/>
                    <a:pt x="1001" y="82"/>
                  </a:cubicBezTo>
                  <a:cubicBezTo>
                    <a:pt x="1005" y="81"/>
                    <a:pt x="1009" y="82"/>
                    <a:pt x="1009" y="78"/>
                  </a:cubicBezTo>
                  <a:cubicBezTo>
                    <a:pt x="1006" y="78"/>
                    <a:pt x="1002" y="78"/>
                    <a:pt x="999" y="78"/>
                  </a:cubicBezTo>
                  <a:cubicBezTo>
                    <a:pt x="999" y="84"/>
                    <a:pt x="998" y="89"/>
                    <a:pt x="996" y="93"/>
                  </a:cubicBezTo>
                  <a:cubicBezTo>
                    <a:pt x="998" y="94"/>
                    <a:pt x="1008" y="103"/>
                    <a:pt x="1001" y="104"/>
                  </a:cubicBezTo>
                  <a:cubicBezTo>
                    <a:pt x="993" y="107"/>
                    <a:pt x="998" y="92"/>
                    <a:pt x="991" y="93"/>
                  </a:cubicBezTo>
                  <a:cubicBezTo>
                    <a:pt x="982" y="104"/>
                    <a:pt x="968" y="88"/>
                    <a:pt x="966" y="96"/>
                  </a:cubicBezTo>
                  <a:cubicBezTo>
                    <a:pt x="970" y="98"/>
                    <a:pt x="972" y="100"/>
                    <a:pt x="975" y="104"/>
                  </a:cubicBezTo>
                  <a:cubicBezTo>
                    <a:pt x="972" y="107"/>
                    <a:pt x="974" y="111"/>
                    <a:pt x="972" y="122"/>
                  </a:cubicBezTo>
                  <a:cubicBezTo>
                    <a:pt x="970" y="124"/>
                    <a:pt x="959" y="131"/>
                    <a:pt x="958" y="122"/>
                  </a:cubicBezTo>
                  <a:cubicBezTo>
                    <a:pt x="958" y="115"/>
                    <a:pt x="962" y="115"/>
                    <a:pt x="964" y="111"/>
                  </a:cubicBezTo>
                  <a:cubicBezTo>
                    <a:pt x="959" y="110"/>
                    <a:pt x="965" y="105"/>
                    <a:pt x="961" y="104"/>
                  </a:cubicBezTo>
                  <a:cubicBezTo>
                    <a:pt x="959" y="113"/>
                    <a:pt x="952" y="91"/>
                    <a:pt x="950" y="108"/>
                  </a:cubicBezTo>
                  <a:cubicBezTo>
                    <a:pt x="952" y="108"/>
                    <a:pt x="956" y="108"/>
                    <a:pt x="956" y="111"/>
                  </a:cubicBezTo>
                  <a:cubicBezTo>
                    <a:pt x="951" y="111"/>
                    <a:pt x="947" y="109"/>
                    <a:pt x="945" y="104"/>
                  </a:cubicBezTo>
                  <a:cubicBezTo>
                    <a:pt x="947" y="95"/>
                    <a:pt x="949" y="87"/>
                    <a:pt x="940" y="85"/>
                  </a:cubicBezTo>
                  <a:cubicBezTo>
                    <a:pt x="937" y="99"/>
                    <a:pt x="947" y="108"/>
                    <a:pt x="937" y="111"/>
                  </a:cubicBezTo>
                  <a:cubicBezTo>
                    <a:pt x="935" y="94"/>
                    <a:pt x="924" y="96"/>
                    <a:pt x="918" y="108"/>
                  </a:cubicBezTo>
                  <a:cubicBezTo>
                    <a:pt x="917" y="99"/>
                    <a:pt x="919" y="93"/>
                    <a:pt x="921" y="89"/>
                  </a:cubicBezTo>
                  <a:cubicBezTo>
                    <a:pt x="912" y="83"/>
                    <a:pt x="904" y="87"/>
                    <a:pt x="894" y="89"/>
                  </a:cubicBezTo>
                  <a:cubicBezTo>
                    <a:pt x="890" y="84"/>
                    <a:pt x="890" y="75"/>
                    <a:pt x="894" y="71"/>
                  </a:cubicBezTo>
                  <a:cubicBezTo>
                    <a:pt x="890" y="71"/>
                    <a:pt x="887" y="71"/>
                    <a:pt x="883" y="71"/>
                  </a:cubicBezTo>
                  <a:cubicBezTo>
                    <a:pt x="881" y="82"/>
                    <a:pt x="892" y="75"/>
                    <a:pt x="889" y="89"/>
                  </a:cubicBezTo>
                  <a:cubicBezTo>
                    <a:pt x="875" y="87"/>
                    <a:pt x="875" y="90"/>
                    <a:pt x="867" y="82"/>
                  </a:cubicBezTo>
                  <a:cubicBezTo>
                    <a:pt x="865" y="94"/>
                    <a:pt x="858" y="80"/>
                    <a:pt x="856" y="82"/>
                  </a:cubicBezTo>
                  <a:cubicBezTo>
                    <a:pt x="854" y="83"/>
                    <a:pt x="856" y="95"/>
                    <a:pt x="851" y="93"/>
                  </a:cubicBezTo>
                  <a:cubicBezTo>
                    <a:pt x="853" y="81"/>
                    <a:pt x="847" y="81"/>
                    <a:pt x="843" y="78"/>
                  </a:cubicBezTo>
                  <a:cubicBezTo>
                    <a:pt x="841" y="96"/>
                    <a:pt x="839" y="103"/>
                    <a:pt x="843" y="115"/>
                  </a:cubicBezTo>
                  <a:cubicBezTo>
                    <a:pt x="838" y="115"/>
                    <a:pt x="834" y="115"/>
                    <a:pt x="829" y="115"/>
                  </a:cubicBezTo>
                  <a:cubicBezTo>
                    <a:pt x="829" y="109"/>
                    <a:pt x="829" y="103"/>
                    <a:pt x="827" y="100"/>
                  </a:cubicBezTo>
                  <a:cubicBezTo>
                    <a:pt x="829" y="94"/>
                    <a:pt x="840" y="101"/>
                    <a:pt x="837" y="89"/>
                  </a:cubicBezTo>
                  <a:cubicBezTo>
                    <a:pt x="830" y="90"/>
                    <a:pt x="826" y="88"/>
                    <a:pt x="827" y="78"/>
                  </a:cubicBezTo>
                  <a:cubicBezTo>
                    <a:pt x="818" y="75"/>
                    <a:pt x="823" y="91"/>
                    <a:pt x="813" y="85"/>
                  </a:cubicBezTo>
                  <a:cubicBezTo>
                    <a:pt x="817" y="72"/>
                    <a:pt x="806" y="62"/>
                    <a:pt x="802" y="71"/>
                  </a:cubicBezTo>
                  <a:cubicBezTo>
                    <a:pt x="808" y="70"/>
                    <a:pt x="811" y="74"/>
                    <a:pt x="810" y="82"/>
                  </a:cubicBezTo>
                  <a:cubicBezTo>
                    <a:pt x="807" y="85"/>
                    <a:pt x="801" y="85"/>
                    <a:pt x="797" y="89"/>
                  </a:cubicBezTo>
                  <a:cubicBezTo>
                    <a:pt x="797" y="82"/>
                    <a:pt x="797" y="74"/>
                    <a:pt x="797" y="67"/>
                  </a:cubicBezTo>
                  <a:cubicBezTo>
                    <a:pt x="784" y="67"/>
                    <a:pt x="795" y="82"/>
                    <a:pt x="789" y="85"/>
                  </a:cubicBezTo>
                  <a:cubicBezTo>
                    <a:pt x="776" y="81"/>
                    <a:pt x="771" y="88"/>
                    <a:pt x="765" y="78"/>
                  </a:cubicBezTo>
                  <a:cubicBezTo>
                    <a:pt x="758" y="79"/>
                    <a:pt x="755" y="84"/>
                    <a:pt x="746" y="82"/>
                  </a:cubicBezTo>
                  <a:cubicBezTo>
                    <a:pt x="746" y="78"/>
                    <a:pt x="744" y="77"/>
                    <a:pt x="743" y="74"/>
                  </a:cubicBezTo>
                  <a:cubicBezTo>
                    <a:pt x="744" y="70"/>
                    <a:pt x="747" y="67"/>
                    <a:pt x="741" y="67"/>
                  </a:cubicBezTo>
                  <a:cubicBezTo>
                    <a:pt x="732" y="66"/>
                    <a:pt x="747" y="78"/>
                    <a:pt x="738" y="78"/>
                  </a:cubicBezTo>
                  <a:cubicBezTo>
                    <a:pt x="733" y="78"/>
                    <a:pt x="736" y="66"/>
                    <a:pt x="730" y="67"/>
                  </a:cubicBezTo>
                  <a:cubicBezTo>
                    <a:pt x="729" y="71"/>
                    <a:pt x="727" y="73"/>
                    <a:pt x="724" y="74"/>
                  </a:cubicBezTo>
                  <a:cubicBezTo>
                    <a:pt x="718" y="57"/>
                    <a:pt x="687" y="71"/>
                    <a:pt x="681" y="52"/>
                  </a:cubicBezTo>
                  <a:cubicBezTo>
                    <a:pt x="691" y="55"/>
                    <a:pt x="692" y="44"/>
                    <a:pt x="700" y="45"/>
                  </a:cubicBezTo>
                  <a:cubicBezTo>
                    <a:pt x="700" y="48"/>
                    <a:pt x="700" y="52"/>
                    <a:pt x="700" y="56"/>
                  </a:cubicBezTo>
                  <a:cubicBezTo>
                    <a:pt x="707" y="55"/>
                    <a:pt x="710" y="49"/>
                    <a:pt x="714" y="45"/>
                  </a:cubicBezTo>
                  <a:cubicBezTo>
                    <a:pt x="710" y="41"/>
                    <a:pt x="707" y="34"/>
                    <a:pt x="703" y="30"/>
                  </a:cubicBezTo>
                  <a:cubicBezTo>
                    <a:pt x="702" y="34"/>
                    <a:pt x="700" y="38"/>
                    <a:pt x="698" y="41"/>
                  </a:cubicBezTo>
                  <a:cubicBezTo>
                    <a:pt x="697" y="31"/>
                    <a:pt x="693" y="46"/>
                    <a:pt x="687" y="41"/>
                  </a:cubicBezTo>
                  <a:cubicBezTo>
                    <a:pt x="687" y="35"/>
                    <a:pt x="680" y="38"/>
                    <a:pt x="681" y="30"/>
                  </a:cubicBezTo>
                  <a:cubicBezTo>
                    <a:pt x="673" y="25"/>
                    <a:pt x="679" y="42"/>
                    <a:pt x="671" y="37"/>
                  </a:cubicBezTo>
                  <a:cubicBezTo>
                    <a:pt x="667" y="38"/>
                    <a:pt x="668" y="30"/>
                    <a:pt x="665" y="30"/>
                  </a:cubicBezTo>
                  <a:cubicBezTo>
                    <a:pt x="664" y="30"/>
                    <a:pt x="664" y="36"/>
                    <a:pt x="660" y="34"/>
                  </a:cubicBezTo>
                  <a:cubicBezTo>
                    <a:pt x="659" y="33"/>
                    <a:pt x="660" y="27"/>
                    <a:pt x="660" y="26"/>
                  </a:cubicBezTo>
                  <a:cubicBezTo>
                    <a:pt x="646" y="29"/>
                    <a:pt x="636" y="25"/>
                    <a:pt x="630" y="15"/>
                  </a:cubicBezTo>
                  <a:cubicBezTo>
                    <a:pt x="631" y="22"/>
                    <a:pt x="627" y="22"/>
                    <a:pt x="625" y="26"/>
                  </a:cubicBezTo>
                  <a:cubicBezTo>
                    <a:pt x="626" y="26"/>
                    <a:pt x="628" y="29"/>
                    <a:pt x="625" y="30"/>
                  </a:cubicBezTo>
                  <a:cubicBezTo>
                    <a:pt x="625" y="26"/>
                    <a:pt x="621" y="24"/>
                    <a:pt x="625" y="22"/>
                  </a:cubicBezTo>
                  <a:cubicBezTo>
                    <a:pt x="626" y="18"/>
                    <a:pt x="629" y="15"/>
                    <a:pt x="622" y="15"/>
                  </a:cubicBezTo>
                  <a:cubicBezTo>
                    <a:pt x="618" y="15"/>
                    <a:pt x="621" y="25"/>
                    <a:pt x="617" y="26"/>
                  </a:cubicBezTo>
                  <a:cubicBezTo>
                    <a:pt x="608" y="12"/>
                    <a:pt x="600" y="36"/>
                    <a:pt x="593" y="34"/>
                  </a:cubicBezTo>
                  <a:cubicBezTo>
                    <a:pt x="591" y="33"/>
                    <a:pt x="590" y="22"/>
                    <a:pt x="587" y="22"/>
                  </a:cubicBezTo>
                  <a:cubicBezTo>
                    <a:pt x="587" y="28"/>
                    <a:pt x="588" y="36"/>
                    <a:pt x="585" y="37"/>
                  </a:cubicBezTo>
                  <a:cubicBezTo>
                    <a:pt x="584" y="33"/>
                    <a:pt x="580" y="33"/>
                    <a:pt x="577" y="34"/>
                  </a:cubicBezTo>
                  <a:cubicBezTo>
                    <a:pt x="578" y="24"/>
                    <a:pt x="571" y="26"/>
                    <a:pt x="568" y="22"/>
                  </a:cubicBezTo>
                  <a:cubicBezTo>
                    <a:pt x="568" y="26"/>
                    <a:pt x="566" y="27"/>
                    <a:pt x="566" y="30"/>
                  </a:cubicBezTo>
                  <a:cubicBezTo>
                    <a:pt x="566" y="34"/>
                    <a:pt x="570" y="36"/>
                    <a:pt x="566" y="37"/>
                  </a:cubicBezTo>
                  <a:cubicBezTo>
                    <a:pt x="565" y="32"/>
                    <a:pt x="562" y="30"/>
                    <a:pt x="563" y="22"/>
                  </a:cubicBezTo>
                  <a:cubicBezTo>
                    <a:pt x="557" y="30"/>
                    <a:pt x="548" y="16"/>
                    <a:pt x="542" y="26"/>
                  </a:cubicBezTo>
                  <a:cubicBezTo>
                    <a:pt x="544" y="30"/>
                    <a:pt x="547" y="34"/>
                    <a:pt x="550" y="37"/>
                  </a:cubicBezTo>
                  <a:cubicBezTo>
                    <a:pt x="541" y="38"/>
                    <a:pt x="542" y="26"/>
                    <a:pt x="531" y="30"/>
                  </a:cubicBezTo>
                  <a:cubicBezTo>
                    <a:pt x="528" y="24"/>
                    <a:pt x="527" y="18"/>
                    <a:pt x="520" y="19"/>
                  </a:cubicBezTo>
                  <a:cubicBezTo>
                    <a:pt x="519" y="16"/>
                    <a:pt x="520" y="12"/>
                    <a:pt x="517" y="11"/>
                  </a:cubicBezTo>
                  <a:cubicBezTo>
                    <a:pt x="519" y="29"/>
                    <a:pt x="509" y="18"/>
                    <a:pt x="515" y="26"/>
                  </a:cubicBezTo>
                  <a:cubicBezTo>
                    <a:pt x="516" y="28"/>
                    <a:pt x="517" y="34"/>
                    <a:pt x="515" y="34"/>
                  </a:cubicBezTo>
                  <a:cubicBezTo>
                    <a:pt x="510" y="32"/>
                    <a:pt x="513" y="19"/>
                    <a:pt x="504" y="22"/>
                  </a:cubicBezTo>
                  <a:cubicBezTo>
                    <a:pt x="501" y="29"/>
                    <a:pt x="512" y="35"/>
                    <a:pt x="504" y="37"/>
                  </a:cubicBezTo>
                  <a:cubicBezTo>
                    <a:pt x="500" y="33"/>
                    <a:pt x="503" y="19"/>
                    <a:pt x="496" y="19"/>
                  </a:cubicBezTo>
                  <a:cubicBezTo>
                    <a:pt x="497" y="29"/>
                    <a:pt x="486" y="10"/>
                    <a:pt x="485" y="22"/>
                  </a:cubicBezTo>
                  <a:cubicBezTo>
                    <a:pt x="489" y="25"/>
                    <a:pt x="492" y="28"/>
                    <a:pt x="493" y="34"/>
                  </a:cubicBezTo>
                  <a:cubicBezTo>
                    <a:pt x="487" y="29"/>
                    <a:pt x="483" y="43"/>
                    <a:pt x="482" y="34"/>
                  </a:cubicBezTo>
                  <a:cubicBezTo>
                    <a:pt x="482" y="29"/>
                    <a:pt x="487" y="30"/>
                    <a:pt x="488" y="26"/>
                  </a:cubicBezTo>
                  <a:cubicBezTo>
                    <a:pt x="488" y="26"/>
                    <a:pt x="482" y="22"/>
                    <a:pt x="482" y="19"/>
                  </a:cubicBezTo>
                  <a:cubicBezTo>
                    <a:pt x="483" y="17"/>
                    <a:pt x="489" y="15"/>
                    <a:pt x="488" y="11"/>
                  </a:cubicBezTo>
                  <a:cubicBezTo>
                    <a:pt x="479" y="8"/>
                    <a:pt x="484" y="24"/>
                    <a:pt x="477" y="22"/>
                  </a:cubicBezTo>
                  <a:cubicBezTo>
                    <a:pt x="467" y="27"/>
                    <a:pt x="462" y="15"/>
                    <a:pt x="458" y="22"/>
                  </a:cubicBezTo>
                  <a:cubicBezTo>
                    <a:pt x="459" y="22"/>
                    <a:pt x="462" y="26"/>
                    <a:pt x="458" y="26"/>
                  </a:cubicBezTo>
                  <a:cubicBezTo>
                    <a:pt x="459" y="16"/>
                    <a:pt x="441" y="31"/>
                    <a:pt x="445" y="15"/>
                  </a:cubicBezTo>
                  <a:cubicBezTo>
                    <a:pt x="440" y="14"/>
                    <a:pt x="439" y="20"/>
                    <a:pt x="437" y="22"/>
                  </a:cubicBezTo>
                  <a:cubicBezTo>
                    <a:pt x="435" y="18"/>
                    <a:pt x="434" y="14"/>
                    <a:pt x="431" y="11"/>
                  </a:cubicBezTo>
                  <a:cubicBezTo>
                    <a:pt x="425" y="29"/>
                    <a:pt x="405" y="19"/>
                    <a:pt x="399" y="30"/>
                  </a:cubicBezTo>
                  <a:cubicBezTo>
                    <a:pt x="397" y="25"/>
                    <a:pt x="393" y="23"/>
                    <a:pt x="388" y="22"/>
                  </a:cubicBezTo>
                  <a:cubicBezTo>
                    <a:pt x="388" y="18"/>
                    <a:pt x="388" y="14"/>
                    <a:pt x="383" y="15"/>
                  </a:cubicBezTo>
                  <a:cubicBezTo>
                    <a:pt x="378" y="18"/>
                    <a:pt x="379" y="29"/>
                    <a:pt x="372" y="30"/>
                  </a:cubicBezTo>
                  <a:cubicBezTo>
                    <a:pt x="372" y="26"/>
                    <a:pt x="370" y="26"/>
                    <a:pt x="367" y="26"/>
                  </a:cubicBezTo>
                  <a:cubicBezTo>
                    <a:pt x="364" y="26"/>
                    <a:pt x="365" y="23"/>
                    <a:pt x="364" y="22"/>
                  </a:cubicBezTo>
                  <a:cubicBezTo>
                    <a:pt x="362" y="21"/>
                    <a:pt x="359" y="23"/>
                    <a:pt x="356" y="22"/>
                  </a:cubicBezTo>
                  <a:cubicBezTo>
                    <a:pt x="354" y="22"/>
                    <a:pt x="352" y="19"/>
                    <a:pt x="351" y="19"/>
                  </a:cubicBezTo>
                  <a:cubicBezTo>
                    <a:pt x="349" y="19"/>
                    <a:pt x="348" y="30"/>
                    <a:pt x="343" y="26"/>
                  </a:cubicBezTo>
                  <a:cubicBezTo>
                    <a:pt x="342" y="21"/>
                    <a:pt x="344" y="13"/>
                    <a:pt x="340" y="11"/>
                  </a:cubicBezTo>
                  <a:cubicBezTo>
                    <a:pt x="339" y="14"/>
                    <a:pt x="340" y="19"/>
                    <a:pt x="337" y="19"/>
                  </a:cubicBezTo>
                  <a:cubicBezTo>
                    <a:pt x="333" y="23"/>
                    <a:pt x="333" y="20"/>
                    <a:pt x="329" y="19"/>
                  </a:cubicBezTo>
                  <a:cubicBezTo>
                    <a:pt x="324" y="17"/>
                    <a:pt x="321" y="23"/>
                    <a:pt x="318" y="22"/>
                  </a:cubicBezTo>
                  <a:cubicBezTo>
                    <a:pt x="317" y="22"/>
                    <a:pt x="317" y="18"/>
                    <a:pt x="313" y="19"/>
                  </a:cubicBezTo>
                  <a:cubicBezTo>
                    <a:pt x="311" y="19"/>
                    <a:pt x="312" y="23"/>
                    <a:pt x="308" y="22"/>
                  </a:cubicBezTo>
                  <a:cubicBezTo>
                    <a:pt x="307" y="22"/>
                    <a:pt x="303" y="15"/>
                    <a:pt x="302" y="15"/>
                  </a:cubicBezTo>
                  <a:cubicBezTo>
                    <a:pt x="288" y="21"/>
                    <a:pt x="275" y="26"/>
                    <a:pt x="265" y="15"/>
                  </a:cubicBezTo>
                  <a:cubicBezTo>
                    <a:pt x="265" y="21"/>
                    <a:pt x="253" y="23"/>
                    <a:pt x="251" y="22"/>
                  </a:cubicBezTo>
                  <a:cubicBezTo>
                    <a:pt x="249" y="22"/>
                    <a:pt x="249" y="19"/>
                    <a:pt x="249" y="19"/>
                  </a:cubicBezTo>
                  <a:cubicBezTo>
                    <a:pt x="243" y="18"/>
                    <a:pt x="234" y="31"/>
                    <a:pt x="235" y="15"/>
                  </a:cubicBezTo>
                  <a:cubicBezTo>
                    <a:pt x="225" y="18"/>
                    <a:pt x="215" y="19"/>
                    <a:pt x="205" y="22"/>
                  </a:cubicBezTo>
                  <a:cubicBezTo>
                    <a:pt x="202" y="22"/>
                    <a:pt x="201" y="18"/>
                    <a:pt x="200" y="15"/>
                  </a:cubicBezTo>
                  <a:cubicBezTo>
                    <a:pt x="195" y="12"/>
                    <a:pt x="195" y="21"/>
                    <a:pt x="189" y="22"/>
                  </a:cubicBezTo>
                  <a:cubicBezTo>
                    <a:pt x="189" y="22"/>
                    <a:pt x="187" y="18"/>
                    <a:pt x="184" y="19"/>
                  </a:cubicBezTo>
                  <a:cubicBezTo>
                    <a:pt x="184" y="19"/>
                    <a:pt x="184" y="22"/>
                    <a:pt x="184" y="22"/>
                  </a:cubicBezTo>
                  <a:cubicBezTo>
                    <a:pt x="182" y="25"/>
                    <a:pt x="166" y="23"/>
                    <a:pt x="165" y="22"/>
                  </a:cubicBezTo>
                  <a:cubicBezTo>
                    <a:pt x="161" y="21"/>
                    <a:pt x="162" y="19"/>
                    <a:pt x="160" y="22"/>
                  </a:cubicBezTo>
                  <a:cubicBezTo>
                    <a:pt x="158" y="26"/>
                    <a:pt x="145" y="22"/>
                    <a:pt x="144" y="22"/>
                  </a:cubicBezTo>
                  <a:cubicBezTo>
                    <a:pt x="140" y="24"/>
                    <a:pt x="140" y="26"/>
                    <a:pt x="138" y="22"/>
                  </a:cubicBezTo>
                  <a:cubicBezTo>
                    <a:pt x="138" y="22"/>
                    <a:pt x="134" y="23"/>
                    <a:pt x="133" y="22"/>
                  </a:cubicBezTo>
                  <a:cubicBezTo>
                    <a:pt x="123" y="21"/>
                    <a:pt x="120" y="19"/>
                    <a:pt x="114" y="19"/>
                  </a:cubicBezTo>
                  <a:cubicBezTo>
                    <a:pt x="110" y="18"/>
                    <a:pt x="111" y="23"/>
                    <a:pt x="109" y="19"/>
                  </a:cubicBezTo>
                  <a:cubicBezTo>
                    <a:pt x="108" y="18"/>
                    <a:pt x="104" y="19"/>
                    <a:pt x="103" y="19"/>
                  </a:cubicBezTo>
                  <a:cubicBezTo>
                    <a:pt x="99" y="17"/>
                    <a:pt x="97" y="16"/>
                    <a:pt x="95" y="19"/>
                  </a:cubicBezTo>
                  <a:cubicBezTo>
                    <a:pt x="95" y="19"/>
                    <a:pt x="91" y="19"/>
                    <a:pt x="90" y="19"/>
                  </a:cubicBezTo>
                  <a:cubicBezTo>
                    <a:pt x="80" y="19"/>
                    <a:pt x="79" y="14"/>
                    <a:pt x="76" y="19"/>
                  </a:cubicBezTo>
                  <a:cubicBezTo>
                    <a:pt x="74" y="23"/>
                    <a:pt x="64" y="15"/>
                    <a:pt x="63" y="15"/>
                  </a:cubicBezTo>
                  <a:cubicBezTo>
                    <a:pt x="55" y="13"/>
                    <a:pt x="48" y="12"/>
                    <a:pt x="39" y="11"/>
                  </a:cubicBezTo>
                  <a:cubicBezTo>
                    <a:pt x="39" y="7"/>
                    <a:pt x="42" y="6"/>
                    <a:pt x="41" y="0"/>
                  </a:cubicBezTo>
                  <a:cubicBezTo>
                    <a:pt x="28" y="7"/>
                    <a:pt x="16" y="24"/>
                    <a:pt x="12" y="37"/>
                  </a:cubicBezTo>
                  <a:cubicBezTo>
                    <a:pt x="11" y="39"/>
                    <a:pt x="9" y="43"/>
                    <a:pt x="9" y="45"/>
                  </a:cubicBezTo>
                  <a:cubicBezTo>
                    <a:pt x="9" y="48"/>
                    <a:pt x="7" y="47"/>
                    <a:pt x="7" y="48"/>
                  </a:cubicBezTo>
                  <a:cubicBezTo>
                    <a:pt x="4" y="56"/>
                    <a:pt x="5" y="69"/>
                    <a:pt x="4" y="78"/>
                  </a:cubicBezTo>
                  <a:cubicBezTo>
                    <a:pt x="4" y="78"/>
                    <a:pt x="2" y="79"/>
                    <a:pt x="1" y="82"/>
                  </a:cubicBezTo>
                  <a:cubicBezTo>
                    <a:pt x="0" y="85"/>
                    <a:pt x="2" y="89"/>
                    <a:pt x="1" y="93"/>
                  </a:cubicBezTo>
                  <a:cubicBezTo>
                    <a:pt x="18" y="99"/>
                    <a:pt x="3" y="124"/>
                    <a:pt x="4" y="141"/>
                  </a:cubicBezTo>
                  <a:cubicBezTo>
                    <a:pt x="9" y="138"/>
                    <a:pt x="8" y="146"/>
                    <a:pt x="9" y="148"/>
                  </a:cubicBezTo>
                  <a:cubicBezTo>
                    <a:pt x="12" y="151"/>
                    <a:pt x="18" y="149"/>
                    <a:pt x="17" y="156"/>
                  </a:cubicBezTo>
                  <a:cubicBezTo>
                    <a:pt x="15" y="156"/>
                    <a:pt x="14" y="156"/>
                    <a:pt x="12" y="156"/>
                  </a:cubicBezTo>
                  <a:cubicBezTo>
                    <a:pt x="15" y="172"/>
                    <a:pt x="3" y="168"/>
                    <a:pt x="4" y="182"/>
                  </a:cubicBezTo>
                  <a:cubicBezTo>
                    <a:pt x="7" y="182"/>
                    <a:pt x="11" y="181"/>
                    <a:pt x="12" y="185"/>
                  </a:cubicBezTo>
                  <a:cubicBezTo>
                    <a:pt x="13" y="199"/>
                    <a:pt x="19" y="203"/>
                    <a:pt x="15" y="215"/>
                  </a:cubicBezTo>
                  <a:cubicBezTo>
                    <a:pt x="20" y="212"/>
                    <a:pt x="18" y="220"/>
                    <a:pt x="20" y="222"/>
                  </a:cubicBezTo>
                  <a:cubicBezTo>
                    <a:pt x="21" y="224"/>
                    <a:pt x="26" y="222"/>
                    <a:pt x="25" y="226"/>
                  </a:cubicBezTo>
                  <a:cubicBezTo>
                    <a:pt x="25" y="232"/>
                    <a:pt x="26" y="237"/>
                    <a:pt x="28" y="241"/>
                  </a:cubicBezTo>
                  <a:cubicBezTo>
                    <a:pt x="25" y="241"/>
                    <a:pt x="23" y="241"/>
                    <a:pt x="20" y="241"/>
                  </a:cubicBezTo>
                  <a:cubicBezTo>
                    <a:pt x="23" y="252"/>
                    <a:pt x="22" y="255"/>
                    <a:pt x="17" y="263"/>
                  </a:cubicBezTo>
                  <a:cubicBezTo>
                    <a:pt x="22" y="264"/>
                    <a:pt x="24" y="257"/>
                    <a:pt x="25" y="263"/>
                  </a:cubicBezTo>
                  <a:cubicBezTo>
                    <a:pt x="24" y="268"/>
                    <a:pt x="20" y="270"/>
                    <a:pt x="15" y="270"/>
                  </a:cubicBezTo>
                  <a:cubicBezTo>
                    <a:pt x="12" y="282"/>
                    <a:pt x="22" y="278"/>
                    <a:pt x="23" y="285"/>
                  </a:cubicBezTo>
                  <a:cubicBezTo>
                    <a:pt x="14" y="288"/>
                    <a:pt x="18" y="297"/>
                    <a:pt x="15" y="300"/>
                  </a:cubicBezTo>
                  <a:cubicBezTo>
                    <a:pt x="7" y="310"/>
                    <a:pt x="12" y="294"/>
                    <a:pt x="7" y="292"/>
                  </a:cubicBezTo>
                  <a:cubicBezTo>
                    <a:pt x="1" y="306"/>
                    <a:pt x="12" y="313"/>
                    <a:pt x="15" y="322"/>
                  </a:cubicBezTo>
                  <a:cubicBezTo>
                    <a:pt x="16" y="325"/>
                    <a:pt x="9" y="334"/>
                    <a:pt x="17" y="333"/>
                  </a:cubicBezTo>
                  <a:cubicBezTo>
                    <a:pt x="18" y="329"/>
                    <a:pt x="17" y="323"/>
                    <a:pt x="20" y="322"/>
                  </a:cubicBezTo>
                  <a:cubicBezTo>
                    <a:pt x="19" y="334"/>
                    <a:pt x="25" y="335"/>
                    <a:pt x="23" y="348"/>
                  </a:cubicBezTo>
                  <a:cubicBezTo>
                    <a:pt x="22" y="352"/>
                    <a:pt x="6" y="352"/>
                    <a:pt x="15" y="355"/>
                  </a:cubicBezTo>
                  <a:cubicBezTo>
                    <a:pt x="23" y="357"/>
                    <a:pt x="26" y="347"/>
                    <a:pt x="28" y="359"/>
                  </a:cubicBezTo>
                  <a:cubicBezTo>
                    <a:pt x="25" y="358"/>
                    <a:pt x="23" y="353"/>
                    <a:pt x="23" y="363"/>
                  </a:cubicBezTo>
                  <a:cubicBezTo>
                    <a:pt x="31" y="367"/>
                    <a:pt x="29" y="357"/>
                    <a:pt x="33" y="355"/>
                  </a:cubicBezTo>
                  <a:cubicBezTo>
                    <a:pt x="34" y="363"/>
                    <a:pt x="43" y="359"/>
                    <a:pt x="44" y="366"/>
                  </a:cubicBezTo>
                  <a:cubicBezTo>
                    <a:pt x="39" y="374"/>
                    <a:pt x="45" y="374"/>
                    <a:pt x="47" y="381"/>
                  </a:cubicBezTo>
                  <a:cubicBezTo>
                    <a:pt x="43" y="380"/>
                    <a:pt x="42" y="377"/>
                    <a:pt x="39" y="381"/>
                  </a:cubicBezTo>
                  <a:cubicBezTo>
                    <a:pt x="41" y="369"/>
                    <a:pt x="33" y="376"/>
                    <a:pt x="33" y="381"/>
                  </a:cubicBezTo>
                  <a:cubicBezTo>
                    <a:pt x="40" y="382"/>
                    <a:pt x="43" y="388"/>
                    <a:pt x="47" y="392"/>
                  </a:cubicBezTo>
                  <a:cubicBezTo>
                    <a:pt x="42" y="392"/>
                    <a:pt x="38" y="392"/>
                    <a:pt x="33" y="392"/>
                  </a:cubicBezTo>
                  <a:cubicBezTo>
                    <a:pt x="31" y="404"/>
                    <a:pt x="41" y="399"/>
                    <a:pt x="39" y="411"/>
                  </a:cubicBezTo>
                  <a:cubicBezTo>
                    <a:pt x="45" y="416"/>
                    <a:pt x="50" y="400"/>
                    <a:pt x="52" y="411"/>
                  </a:cubicBezTo>
                  <a:cubicBezTo>
                    <a:pt x="49" y="411"/>
                    <a:pt x="46" y="412"/>
                    <a:pt x="47" y="418"/>
                  </a:cubicBezTo>
                  <a:cubicBezTo>
                    <a:pt x="47" y="423"/>
                    <a:pt x="51" y="422"/>
                    <a:pt x="52" y="426"/>
                  </a:cubicBezTo>
                  <a:cubicBezTo>
                    <a:pt x="46" y="425"/>
                    <a:pt x="42" y="427"/>
                    <a:pt x="41" y="433"/>
                  </a:cubicBezTo>
                  <a:cubicBezTo>
                    <a:pt x="45" y="434"/>
                    <a:pt x="44" y="439"/>
                    <a:pt x="44" y="444"/>
                  </a:cubicBezTo>
                  <a:cubicBezTo>
                    <a:pt x="52" y="450"/>
                    <a:pt x="56" y="439"/>
                    <a:pt x="58" y="455"/>
                  </a:cubicBezTo>
                  <a:cubicBezTo>
                    <a:pt x="48" y="458"/>
                    <a:pt x="46" y="451"/>
                    <a:pt x="41" y="448"/>
                  </a:cubicBezTo>
                  <a:cubicBezTo>
                    <a:pt x="45" y="457"/>
                    <a:pt x="31" y="459"/>
                    <a:pt x="39" y="463"/>
                  </a:cubicBezTo>
                  <a:cubicBezTo>
                    <a:pt x="39" y="458"/>
                    <a:pt x="46" y="458"/>
                    <a:pt x="47" y="463"/>
                  </a:cubicBezTo>
                  <a:cubicBezTo>
                    <a:pt x="36" y="459"/>
                    <a:pt x="51" y="487"/>
                    <a:pt x="36" y="485"/>
                  </a:cubicBezTo>
                  <a:cubicBezTo>
                    <a:pt x="38" y="499"/>
                    <a:pt x="44" y="506"/>
                    <a:pt x="47" y="518"/>
                  </a:cubicBezTo>
                  <a:cubicBezTo>
                    <a:pt x="39" y="526"/>
                    <a:pt x="47" y="532"/>
                    <a:pt x="39" y="537"/>
                  </a:cubicBezTo>
                  <a:cubicBezTo>
                    <a:pt x="40" y="534"/>
                    <a:pt x="36" y="533"/>
                    <a:pt x="36" y="533"/>
                  </a:cubicBezTo>
                  <a:cubicBezTo>
                    <a:pt x="36" y="530"/>
                    <a:pt x="39" y="528"/>
                    <a:pt x="39" y="529"/>
                  </a:cubicBezTo>
                  <a:cubicBezTo>
                    <a:pt x="38" y="525"/>
                    <a:pt x="36" y="520"/>
                    <a:pt x="36" y="518"/>
                  </a:cubicBezTo>
                  <a:cubicBezTo>
                    <a:pt x="36" y="518"/>
                    <a:pt x="41" y="517"/>
                    <a:pt x="41" y="514"/>
                  </a:cubicBezTo>
                  <a:cubicBezTo>
                    <a:pt x="42" y="511"/>
                    <a:pt x="37" y="508"/>
                    <a:pt x="36" y="507"/>
                  </a:cubicBezTo>
                  <a:cubicBezTo>
                    <a:pt x="31" y="519"/>
                    <a:pt x="41" y="530"/>
                    <a:pt x="28" y="533"/>
                  </a:cubicBezTo>
                  <a:cubicBezTo>
                    <a:pt x="28" y="539"/>
                    <a:pt x="28" y="545"/>
                    <a:pt x="28" y="551"/>
                  </a:cubicBezTo>
                  <a:cubicBezTo>
                    <a:pt x="38" y="557"/>
                    <a:pt x="29" y="535"/>
                    <a:pt x="39" y="540"/>
                  </a:cubicBezTo>
                  <a:cubicBezTo>
                    <a:pt x="34" y="547"/>
                    <a:pt x="38" y="550"/>
                    <a:pt x="39" y="559"/>
                  </a:cubicBezTo>
                  <a:cubicBezTo>
                    <a:pt x="37" y="560"/>
                    <a:pt x="34" y="559"/>
                    <a:pt x="33" y="562"/>
                  </a:cubicBezTo>
                  <a:cubicBezTo>
                    <a:pt x="37" y="572"/>
                    <a:pt x="41" y="556"/>
                    <a:pt x="44" y="566"/>
                  </a:cubicBezTo>
                  <a:cubicBezTo>
                    <a:pt x="39" y="564"/>
                    <a:pt x="36" y="583"/>
                    <a:pt x="41" y="585"/>
                  </a:cubicBezTo>
                  <a:cubicBezTo>
                    <a:pt x="45" y="579"/>
                    <a:pt x="46" y="569"/>
                    <a:pt x="52" y="566"/>
                  </a:cubicBezTo>
                  <a:cubicBezTo>
                    <a:pt x="57" y="573"/>
                    <a:pt x="50" y="579"/>
                    <a:pt x="47" y="585"/>
                  </a:cubicBezTo>
                  <a:cubicBezTo>
                    <a:pt x="44" y="585"/>
                    <a:pt x="44" y="588"/>
                    <a:pt x="41" y="588"/>
                  </a:cubicBezTo>
                  <a:cubicBezTo>
                    <a:pt x="35" y="593"/>
                    <a:pt x="31" y="579"/>
                    <a:pt x="31" y="588"/>
                  </a:cubicBezTo>
                  <a:cubicBezTo>
                    <a:pt x="34" y="598"/>
                    <a:pt x="52" y="589"/>
                    <a:pt x="49" y="607"/>
                  </a:cubicBezTo>
                  <a:cubicBezTo>
                    <a:pt x="46" y="602"/>
                    <a:pt x="38" y="604"/>
                    <a:pt x="39" y="614"/>
                  </a:cubicBezTo>
                  <a:cubicBezTo>
                    <a:pt x="49" y="609"/>
                    <a:pt x="45" y="622"/>
                    <a:pt x="47" y="625"/>
                  </a:cubicBezTo>
                  <a:cubicBezTo>
                    <a:pt x="48" y="627"/>
                    <a:pt x="53" y="625"/>
                    <a:pt x="52" y="629"/>
                  </a:cubicBezTo>
                  <a:cubicBezTo>
                    <a:pt x="50" y="649"/>
                    <a:pt x="39" y="636"/>
                    <a:pt x="33" y="648"/>
                  </a:cubicBezTo>
                  <a:cubicBezTo>
                    <a:pt x="42" y="647"/>
                    <a:pt x="35" y="663"/>
                    <a:pt x="36" y="670"/>
                  </a:cubicBezTo>
                  <a:cubicBezTo>
                    <a:pt x="36" y="670"/>
                    <a:pt x="41" y="671"/>
                    <a:pt x="41" y="673"/>
                  </a:cubicBezTo>
                  <a:cubicBezTo>
                    <a:pt x="42" y="678"/>
                    <a:pt x="37" y="679"/>
                    <a:pt x="39" y="684"/>
                  </a:cubicBezTo>
                  <a:cubicBezTo>
                    <a:pt x="41" y="685"/>
                    <a:pt x="42" y="688"/>
                    <a:pt x="41" y="692"/>
                  </a:cubicBezTo>
                  <a:cubicBezTo>
                    <a:pt x="46" y="692"/>
                    <a:pt x="51" y="691"/>
                    <a:pt x="49" y="699"/>
                  </a:cubicBezTo>
                  <a:cubicBezTo>
                    <a:pt x="46" y="699"/>
                    <a:pt x="46" y="695"/>
                    <a:pt x="41" y="696"/>
                  </a:cubicBezTo>
                  <a:cubicBezTo>
                    <a:pt x="45" y="707"/>
                    <a:pt x="37" y="705"/>
                    <a:pt x="36" y="710"/>
                  </a:cubicBezTo>
                  <a:cubicBezTo>
                    <a:pt x="40" y="712"/>
                    <a:pt x="43" y="716"/>
                    <a:pt x="44" y="721"/>
                  </a:cubicBezTo>
                  <a:cubicBezTo>
                    <a:pt x="39" y="722"/>
                    <a:pt x="36" y="721"/>
                    <a:pt x="33" y="718"/>
                  </a:cubicBezTo>
                  <a:cubicBezTo>
                    <a:pt x="31" y="730"/>
                    <a:pt x="36" y="732"/>
                    <a:pt x="39" y="736"/>
                  </a:cubicBezTo>
                  <a:cubicBezTo>
                    <a:pt x="31" y="730"/>
                    <a:pt x="31" y="752"/>
                    <a:pt x="36" y="751"/>
                  </a:cubicBezTo>
                  <a:cubicBezTo>
                    <a:pt x="38" y="733"/>
                    <a:pt x="37" y="755"/>
                    <a:pt x="41" y="755"/>
                  </a:cubicBezTo>
                  <a:cubicBezTo>
                    <a:pt x="40" y="748"/>
                    <a:pt x="49" y="736"/>
                    <a:pt x="49" y="744"/>
                  </a:cubicBezTo>
                  <a:cubicBezTo>
                    <a:pt x="49" y="751"/>
                    <a:pt x="42" y="748"/>
                    <a:pt x="44" y="759"/>
                  </a:cubicBezTo>
                  <a:cubicBezTo>
                    <a:pt x="47" y="757"/>
                    <a:pt x="53" y="769"/>
                    <a:pt x="47" y="770"/>
                  </a:cubicBezTo>
                  <a:cubicBezTo>
                    <a:pt x="50" y="760"/>
                    <a:pt x="38" y="753"/>
                    <a:pt x="36" y="762"/>
                  </a:cubicBezTo>
                  <a:cubicBezTo>
                    <a:pt x="42" y="763"/>
                    <a:pt x="42" y="772"/>
                    <a:pt x="39" y="777"/>
                  </a:cubicBezTo>
                  <a:cubicBezTo>
                    <a:pt x="44" y="781"/>
                    <a:pt x="48" y="766"/>
                    <a:pt x="49" y="777"/>
                  </a:cubicBezTo>
                  <a:cubicBezTo>
                    <a:pt x="51" y="791"/>
                    <a:pt x="38" y="783"/>
                    <a:pt x="36" y="792"/>
                  </a:cubicBezTo>
                  <a:cubicBezTo>
                    <a:pt x="39" y="792"/>
                    <a:pt x="39" y="798"/>
                    <a:pt x="39" y="803"/>
                  </a:cubicBezTo>
                  <a:cubicBezTo>
                    <a:pt x="44" y="807"/>
                    <a:pt x="50" y="809"/>
                    <a:pt x="52" y="818"/>
                  </a:cubicBezTo>
                  <a:cubicBezTo>
                    <a:pt x="48" y="814"/>
                    <a:pt x="46" y="814"/>
                    <a:pt x="44" y="821"/>
                  </a:cubicBezTo>
                  <a:cubicBezTo>
                    <a:pt x="46" y="828"/>
                    <a:pt x="57" y="821"/>
                    <a:pt x="58" y="829"/>
                  </a:cubicBezTo>
                  <a:cubicBezTo>
                    <a:pt x="58" y="837"/>
                    <a:pt x="57" y="843"/>
                    <a:pt x="52" y="844"/>
                  </a:cubicBezTo>
                  <a:cubicBezTo>
                    <a:pt x="52" y="839"/>
                    <a:pt x="56" y="838"/>
                    <a:pt x="55" y="832"/>
                  </a:cubicBezTo>
                  <a:cubicBezTo>
                    <a:pt x="47" y="831"/>
                    <a:pt x="49" y="839"/>
                    <a:pt x="44" y="840"/>
                  </a:cubicBezTo>
                  <a:cubicBezTo>
                    <a:pt x="45" y="840"/>
                    <a:pt x="42" y="833"/>
                    <a:pt x="41" y="832"/>
                  </a:cubicBezTo>
                  <a:cubicBezTo>
                    <a:pt x="39" y="831"/>
                    <a:pt x="37" y="838"/>
                    <a:pt x="36" y="840"/>
                  </a:cubicBezTo>
                  <a:cubicBezTo>
                    <a:pt x="39" y="841"/>
                    <a:pt x="42" y="845"/>
                    <a:pt x="41" y="851"/>
                  </a:cubicBezTo>
                  <a:cubicBezTo>
                    <a:pt x="45" y="852"/>
                    <a:pt x="49" y="845"/>
                    <a:pt x="49" y="851"/>
                  </a:cubicBezTo>
                  <a:cubicBezTo>
                    <a:pt x="49" y="852"/>
                    <a:pt x="47" y="858"/>
                    <a:pt x="47" y="858"/>
                  </a:cubicBezTo>
                  <a:cubicBezTo>
                    <a:pt x="55" y="864"/>
                    <a:pt x="56" y="859"/>
                    <a:pt x="63" y="858"/>
                  </a:cubicBezTo>
                  <a:cubicBezTo>
                    <a:pt x="62" y="864"/>
                    <a:pt x="67" y="868"/>
                    <a:pt x="68" y="862"/>
                  </a:cubicBezTo>
                  <a:cubicBezTo>
                    <a:pt x="64" y="862"/>
                    <a:pt x="73" y="838"/>
                    <a:pt x="66" y="832"/>
                  </a:cubicBezTo>
                  <a:cubicBezTo>
                    <a:pt x="76" y="835"/>
                    <a:pt x="67" y="801"/>
                    <a:pt x="79" y="818"/>
                  </a:cubicBezTo>
                  <a:cubicBezTo>
                    <a:pt x="81" y="807"/>
                    <a:pt x="75" y="808"/>
                    <a:pt x="76" y="799"/>
                  </a:cubicBezTo>
                  <a:cubicBezTo>
                    <a:pt x="70" y="800"/>
                    <a:pt x="66" y="798"/>
                    <a:pt x="66" y="792"/>
                  </a:cubicBezTo>
                  <a:cubicBezTo>
                    <a:pt x="71" y="792"/>
                    <a:pt x="65" y="787"/>
                    <a:pt x="66" y="784"/>
                  </a:cubicBezTo>
                  <a:cubicBezTo>
                    <a:pt x="66" y="783"/>
                    <a:pt x="71" y="785"/>
                    <a:pt x="71" y="784"/>
                  </a:cubicBezTo>
                  <a:cubicBezTo>
                    <a:pt x="73" y="780"/>
                    <a:pt x="69" y="763"/>
                    <a:pt x="76" y="766"/>
                  </a:cubicBezTo>
                  <a:cubicBezTo>
                    <a:pt x="70" y="760"/>
                    <a:pt x="77" y="755"/>
                    <a:pt x="76" y="751"/>
                  </a:cubicBezTo>
                  <a:cubicBezTo>
                    <a:pt x="76" y="749"/>
                    <a:pt x="64" y="739"/>
                    <a:pt x="74" y="736"/>
                  </a:cubicBezTo>
                  <a:cubicBezTo>
                    <a:pt x="77" y="741"/>
                    <a:pt x="86" y="739"/>
                    <a:pt x="90" y="744"/>
                  </a:cubicBezTo>
                  <a:cubicBezTo>
                    <a:pt x="88" y="735"/>
                    <a:pt x="86" y="726"/>
                    <a:pt x="95" y="725"/>
                  </a:cubicBezTo>
                  <a:cubicBezTo>
                    <a:pt x="92" y="739"/>
                    <a:pt x="100" y="756"/>
                    <a:pt x="106" y="744"/>
                  </a:cubicBezTo>
                  <a:cubicBezTo>
                    <a:pt x="102" y="741"/>
                    <a:pt x="101" y="739"/>
                    <a:pt x="103" y="736"/>
                  </a:cubicBezTo>
                  <a:cubicBezTo>
                    <a:pt x="104" y="736"/>
                    <a:pt x="96" y="719"/>
                    <a:pt x="103" y="721"/>
                  </a:cubicBezTo>
                  <a:cubicBezTo>
                    <a:pt x="107" y="735"/>
                    <a:pt x="113" y="734"/>
                    <a:pt x="109" y="751"/>
                  </a:cubicBezTo>
                  <a:cubicBezTo>
                    <a:pt x="113" y="751"/>
                    <a:pt x="117" y="752"/>
                    <a:pt x="119" y="755"/>
                  </a:cubicBezTo>
                  <a:cubicBezTo>
                    <a:pt x="119" y="746"/>
                    <a:pt x="114" y="739"/>
                    <a:pt x="122" y="736"/>
                  </a:cubicBezTo>
                  <a:cubicBezTo>
                    <a:pt x="122" y="752"/>
                    <a:pt x="124" y="745"/>
                    <a:pt x="128" y="740"/>
                  </a:cubicBezTo>
                  <a:cubicBezTo>
                    <a:pt x="125" y="764"/>
                    <a:pt x="138" y="764"/>
                    <a:pt x="149" y="770"/>
                  </a:cubicBezTo>
                  <a:cubicBezTo>
                    <a:pt x="149" y="765"/>
                    <a:pt x="150" y="761"/>
                    <a:pt x="154" y="762"/>
                  </a:cubicBezTo>
                  <a:cubicBezTo>
                    <a:pt x="155" y="758"/>
                    <a:pt x="155" y="753"/>
                    <a:pt x="160" y="755"/>
                  </a:cubicBezTo>
                  <a:cubicBezTo>
                    <a:pt x="163" y="767"/>
                    <a:pt x="151" y="758"/>
                    <a:pt x="154" y="770"/>
                  </a:cubicBezTo>
                  <a:cubicBezTo>
                    <a:pt x="158" y="769"/>
                    <a:pt x="164" y="771"/>
                    <a:pt x="165" y="766"/>
                  </a:cubicBezTo>
                  <a:cubicBezTo>
                    <a:pt x="161" y="766"/>
                    <a:pt x="165" y="762"/>
                    <a:pt x="165" y="762"/>
                  </a:cubicBezTo>
                  <a:cubicBezTo>
                    <a:pt x="165" y="760"/>
                    <a:pt x="162" y="756"/>
                    <a:pt x="163" y="755"/>
                  </a:cubicBezTo>
                  <a:cubicBezTo>
                    <a:pt x="163" y="751"/>
                    <a:pt x="168" y="752"/>
                    <a:pt x="168" y="744"/>
                  </a:cubicBezTo>
                  <a:cubicBezTo>
                    <a:pt x="168" y="744"/>
                    <a:pt x="165" y="744"/>
                    <a:pt x="165" y="744"/>
                  </a:cubicBezTo>
                  <a:cubicBezTo>
                    <a:pt x="163" y="741"/>
                    <a:pt x="161" y="721"/>
                    <a:pt x="168" y="729"/>
                  </a:cubicBezTo>
                  <a:cubicBezTo>
                    <a:pt x="169" y="715"/>
                    <a:pt x="157" y="719"/>
                    <a:pt x="160" y="703"/>
                  </a:cubicBezTo>
                  <a:cubicBezTo>
                    <a:pt x="166" y="702"/>
                    <a:pt x="171" y="699"/>
                    <a:pt x="176" y="696"/>
                  </a:cubicBezTo>
                  <a:cubicBezTo>
                    <a:pt x="176" y="691"/>
                    <a:pt x="176" y="686"/>
                    <a:pt x="176" y="681"/>
                  </a:cubicBezTo>
                  <a:cubicBezTo>
                    <a:pt x="165" y="683"/>
                    <a:pt x="174" y="672"/>
                    <a:pt x="173" y="670"/>
                  </a:cubicBezTo>
                  <a:cubicBezTo>
                    <a:pt x="173" y="667"/>
                    <a:pt x="168" y="666"/>
                    <a:pt x="168" y="662"/>
                  </a:cubicBezTo>
                  <a:cubicBezTo>
                    <a:pt x="167" y="658"/>
                    <a:pt x="168" y="652"/>
                    <a:pt x="170" y="651"/>
                  </a:cubicBezTo>
                  <a:cubicBezTo>
                    <a:pt x="174" y="653"/>
                    <a:pt x="173" y="659"/>
                    <a:pt x="176" y="662"/>
                  </a:cubicBezTo>
                  <a:cubicBezTo>
                    <a:pt x="175" y="661"/>
                    <a:pt x="177" y="658"/>
                    <a:pt x="178" y="658"/>
                  </a:cubicBezTo>
                  <a:cubicBezTo>
                    <a:pt x="177" y="659"/>
                    <a:pt x="188" y="675"/>
                    <a:pt x="187" y="662"/>
                  </a:cubicBezTo>
                  <a:cubicBezTo>
                    <a:pt x="184" y="661"/>
                    <a:pt x="183" y="655"/>
                    <a:pt x="181" y="651"/>
                  </a:cubicBezTo>
                  <a:cubicBezTo>
                    <a:pt x="177" y="641"/>
                    <a:pt x="184" y="646"/>
                    <a:pt x="181" y="636"/>
                  </a:cubicBezTo>
                  <a:cubicBezTo>
                    <a:pt x="181" y="634"/>
                    <a:pt x="176" y="634"/>
                    <a:pt x="176" y="629"/>
                  </a:cubicBezTo>
                  <a:cubicBezTo>
                    <a:pt x="176" y="629"/>
                    <a:pt x="181" y="626"/>
                    <a:pt x="181" y="625"/>
                  </a:cubicBezTo>
                  <a:cubicBezTo>
                    <a:pt x="184" y="619"/>
                    <a:pt x="180" y="610"/>
                    <a:pt x="184" y="607"/>
                  </a:cubicBezTo>
                  <a:cubicBezTo>
                    <a:pt x="177" y="609"/>
                    <a:pt x="174" y="605"/>
                    <a:pt x="176" y="596"/>
                  </a:cubicBezTo>
                  <a:cubicBezTo>
                    <a:pt x="181" y="595"/>
                    <a:pt x="182" y="600"/>
                    <a:pt x="187" y="599"/>
                  </a:cubicBezTo>
                  <a:cubicBezTo>
                    <a:pt x="187" y="597"/>
                    <a:pt x="187" y="592"/>
                    <a:pt x="189" y="592"/>
                  </a:cubicBezTo>
                  <a:cubicBezTo>
                    <a:pt x="189" y="597"/>
                    <a:pt x="190" y="606"/>
                    <a:pt x="192" y="599"/>
                  </a:cubicBezTo>
                  <a:cubicBezTo>
                    <a:pt x="191" y="591"/>
                    <a:pt x="193" y="586"/>
                    <a:pt x="197" y="585"/>
                  </a:cubicBezTo>
                  <a:cubicBezTo>
                    <a:pt x="195" y="598"/>
                    <a:pt x="197" y="594"/>
                    <a:pt x="195" y="607"/>
                  </a:cubicBezTo>
                  <a:cubicBezTo>
                    <a:pt x="202" y="604"/>
                    <a:pt x="193" y="624"/>
                    <a:pt x="200" y="622"/>
                  </a:cubicBezTo>
                  <a:cubicBezTo>
                    <a:pt x="206" y="611"/>
                    <a:pt x="195" y="608"/>
                    <a:pt x="200" y="603"/>
                  </a:cubicBezTo>
                  <a:cubicBezTo>
                    <a:pt x="208" y="613"/>
                    <a:pt x="210" y="635"/>
                    <a:pt x="200" y="644"/>
                  </a:cubicBezTo>
                  <a:cubicBezTo>
                    <a:pt x="197" y="640"/>
                    <a:pt x="191" y="640"/>
                    <a:pt x="184" y="640"/>
                  </a:cubicBezTo>
                  <a:cubicBezTo>
                    <a:pt x="185" y="650"/>
                    <a:pt x="187" y="658"/>
                    <a:pt x="192" y="662"/>
                  </a:cubicBezTo>
                  <a:cubicBezTo>
                    <a:pt x="187" y="664"/>
                    <a:pt x="193" y="667"/>
                    <a:pt x="192" y="673"/>
                  </a:cubicBezTo>
                  <a:cubicBezTo>
                    <a:pt x="185" y="673"/>
                    <a:pt x="184" y="666"/>
                    <a:pt x="181" y="677"/>
                  </a:cubicBezTo>
                  <a:cubicBezTo>
                    <a:pt x="188" y="675"/>
                    <a:pt x="175" y="694"/>
                    <a:pt x="184" y="696"/>
                  </a:cubicBezTo>
                  <a:cubicBezTo>
                    <a:pt x="188" y="691"/>
                    <a:pt x="184" y="676"/>
                    <a:pt x="195" y="681"/>
                  </a:cubicBezTo>
                  <a:cubicBezTo>
                    <a:pt x="194" y="668"/>
                    <a:pt x="199" y="665"/>
                    <a:pt x="203" y="659"/>
                  </a:cubicBezTo>
                  <a:cubicBezTo>
                    <a:pt x="207" y="661"/>
                    <a:pt x="202" y="677"/>
                    <a:pt x="211" y="673"/>
                  </a:cubicBezTo>
                  <a:cubicBezTo>
                    <a:pt x="212" y="667"/>
                    <a:pt x="207" y="664"/>
                    <a:pt x="211" y="662"/>
                  </a:cubicBezTo>
                  <a:cubicBezTo>
                    <a:pt x="213" y="663"/>
                    <a:pt x="216" y="662"/>
                    <a:pt x="216" y="666"/>
                  </a:cubicBezTo>
                  <a:cubicBezTo>
                    <a:pt x="212" y="668"/>
                    <a:pt x="216" y="680"/>
                    <a:pt x="211" y="681"/>
                  </a:cubicBezTo>
                  <a:cubicBezTo>
                    <a:pt x="205" y="679"/>
                    <a:pt x="206" y="670"/>
                    <a:pt x="200" y="677"/>
                  </a:cubicBezTo>
                  <a:cubicBezTo>
                    <a:pt x="199" y="691"/>
                    <a:pt x="201" y="701"/>
                    <a:pt x="205" y="707"/>
                  </a:cubicBezTo>
                  <a:cubicBezTo>
                    <a:pt x="199" y="706"/>
                    <a:pt x="197" y="700"/>
                    <a:pt x="195" y="710"/>
                  </a:cubicBezTo>
                  <a:cubicBezTo>
                    <a:pt x="202" y="714"/>
                    <a:pt x="191" y="722"/>
                    <a:pt x="195" y="733"/>
                  </a:cubicBezTo>
                  <a:cubicBezTo>
                    <a:pt x="200" y="736"/>
                    <a:pt x="204" y="722"/>
                    <a:pt x="205" y="733"/>
                  </a:cubicBezTo>
                  <a:cubicBezTo>
                    <a:pt x="200" y="731"/>
                    <a:pt x="200" y="738"/>
                    <a:pt x="197" y="740"/>
                  </a:cubicBezTo>
                  <a:cubicBezTo>
                    <a:pt x="196" y="740"/>
                    <a:pt x="194" y="741"/>
                    <a:pt x="195" y="744"/>
                  </a:cubicBezTo>
                  <a:cubicBezTo>
                    <a:pt x="203" y="747"/>
                    <a:pt x="208" y="728"/>
                    <a:pt x="211" y="736"/>
                  </a:cubicBezTo>
                  <a:cubicBezTo>
                    <a:pt x="204" y="742"/>
                    <a:pt x="210" y="762"/>
                    <a:pt x="211" y="770"/>
                  </a:cubicBezTo>
                  <a:cubicBezTo>
                    <a:pt x="211" y="779"/>
                    <a:pt x="211" y="789"/>
                    <a:pt x="211" y="799"/>
                  </a:cubicBezTo>
                  <a:cubicBezTo>
                    <a:pt x="201" y="797"/>
                    <a:pt x="199" y="806"/>
                    <a:pt x="189" y="803"/>
                  </a:cubicBezTo>
                  <a:cubicBezTo>
                    <a:pt x="188" y="817"/>
                    <a:pt x="206" y="804"/>
                    <a:pt x="200" y="825"/>
                  </a:cubicBezTo>
                  <a:cubicBezTo>
                    <a:pt x="209" y="826"/>
                    <a:pt x="206" y="811"/>
                    <a:pt x="214" y="810"/>
                  </a:cubicBezTo>
                  <a:cubicBezTo>
                    <a:pt x="218" y="823"/>
                    <a:pt x="214" y="823"/>
                    <a:pt x="214" y="840"/>
                  </a:cubicBezTo>
                  <a:cubicBezTo>
                    <a:pt x="208" y="837"/>
                    <a:pt x="203" y="852"/>
                    <a:pt x="208" y="851"/>
                  </a:cubicBezTo>
                  <a:cubicBezTo>
                    <a:pt x="209" y="847"/>
                    <a:pt x="212" y="847"/>
                    <a:pt x="216" y="847"/>
                  </a:cubicBezTo>
                  <a:cubicBezTo>
                    <a:pt x="210" y="855"/>
                    <a:pt x="219" y="859"/>
                    <a:pt x="214" y="866"/>
                  </a:cubicBezTo>
                  <a:cubicBezTo>
                    <a:pt x="223" y="869"/>
                    <a:pt x="216" y="849"/>
                    <a:pt x="224" y="851"/>
                  </a:cubicBezTo>
                  <a:cubicBezTo>
                    <a:pt x="227" y="854"/>
                    <a:pt x="225" y="865"/>
                    <a:pt x="232" y="862"/>
                  </a:cubicBezTo>
                  <a:cubicBezTo>
                    <a:pt x="229" y="850"/>
                    <a:pt x="241" y="859"/>
                    <a:pt x="238" y="847"/>
                  </a:cubicBezTo>
                  <a:cubicBezTo>
                    <a:pt x="229" y="843"/>
                    <a:pt x="236" y="859"/>
                    <a:pt x="227" y="855"/>
                  </a:cubicBezTo>
                  <a:cubicBezTo>
                    <a:pt x="231" y="840"/>
                    <a:pt x="220" y="847"/>
                    <a:pt x="219" y="840"/>
                  </a:cubicBezTo>
                  <a:cubicBezTo>
                    <a:pt x="222" y="837"/>
                    <a:pt x="226" y="835"/>
                    <a:pt x="232" y="836"/>
                  </a:cubicBezTo>
                  <a:cubicBezTo>
                    <a:pt x="233" y="831"/>
                    <a:pt x="231" y="822"/>
                    <a:pt x="235" y="821"/>
                  </a:cubicBezTo>
                  <a:cubicBezTo>
                    <a:pt x="239" y="830"/>
                    <a:pt x="243" y="815"/>
                    <a:pt x="246" y="825"/>
                  </a:cubicBezTo>
                  <a:cubicBezTo>
                    <a:pt x="242" y="834"/>
                    <a:pt x="247" y="832"/>
                    <a:pt x="243" y="836"/>
                  </a:cubicBezTo>
                  <a:cubicBezTo>
                    <a:pt x="242" y="837"/>
                    <a:pt x="243" y="842"/>
                    <a:pt x="243" y="844"/>
                  </a:cubicBezTo>
                  <a:cubicBezTo>
                    <a:pt x="240" y="853"/>
                    <a:pt x="245" y="849"/>
                    <a:pt x="243" y="858"/>
                  </a:cubicBezTo>
                  <a:cubicBezTo>
                    <a:pt x="243" y="861"/>
                    <a:pt x="235" y="862"/>
                    <a:pt x="238" y="869"/>
                  </a:cubicBezTo>
                  <a:cubicBezTo>
                    <a:pt x="241" y="872"/>
                    <a:pt x="243" y="877"/>
                    <a:pt x="243" y="884"/>
                  </a:cubicBezTo>
                  <a:cubicBezTo>
                    <a:pt x="240" y="885"/>
                    <a:pt x="239" y="879"/>
                    <a:pt x="238" y="884"/>
                  </a:cubicBezTo>
                  <a:cubicBezTo>
                    <a:pt x="241" y="885"/>
                    <a:pt x="241" y="890"/>
                    <a:pt x="240" y="895"/>
                  </a:cubicBezTo>
                  <a:cubicBezTo>
                    <a:pt x="237" y="896"/>
                    <a:pt x="233" y="895"/>
                    <a:pt x="232" y="899"/>
                  </a:cubicBezTo>
                  <a:cubicBezTo>
                    <a:pt x="238" y="898"/>
                    <a:pt x="234" y="912"/>
                    <a:pt x="235" y="918"/>
                  </a:cubicBezTo>
                  <a:cubicBezTo>
                    <a:pt x="245" y="916"/>
                    <a:pt x="249" y="907"/>
                    <a:pt x="251" y="895"/>
                  </a:cubicBezTo>
                  <a:cubicBezTo>
                    <a:pt x="249" y="894"/>
                    <a:pt x="246" y="895"/>
                    <a:pt x="246" y="892"/>
                  </a:cubicBezTo>
                  <a:cubicBezTo>
                    <a:pt x="254" y="879"/>
                    <a:pt x="238" y="856"/>
                    <a:pt x="254" y="855"/>
                  </a:cubicBezTo>
                  <a:cubicBezTo>
                    <a:pt x="255" y="866"/>
                    <a:pt x="249" y="868"/>
                    <a:pt x="251" y="881"/>
                  </a:cubicBezTo>
                  <a:cubicBezTo>
                    <a:pt x="256" y="879"/>
                    <a:pt x="257" y="886"/>
                    <a:pt x="259" y="888"/>
                  </a:cubicBezTo>
                  <a:cubicBezTo>
                    <a:pt x="265" y="875"/>
                    <a:pt x="267" y="899"/>
                    <a:pt x="273" y="899"/>
                  </a:cubicBezTo>
                  <a:cubicBezTo>
                    <a:pt x="273" y="895"/>
                    <a:pt x="277" y="894"/>
                    <a:pt x="278" y="899"/>
                  </a:cubicBezTo>
                  <a:cubicBezTo>
                    <a:pt x="283" y="911"/>
                    <a:pt x="268" y="914"/>
                    <a:pt x="275" y="918"/>
                  </a:cubicBezTo>
                  <a:cubicBezTo>
                    <a:pt x="276" y="909"/>
                    <a:pt x="287" y="916"/>
                    <a:pt x="292" y="914"/>
                  </a:cubicBezTo>
                  <a:cubicBezTo>
                    <a:pt x="291" y="919"/>
                    <a:pt x="293" y="922"/>
                    <a:pt x="294" y="925"/>
                  </a:cubicBezTo>
                  <a:cubicBezTo>
                    <a:pt x="304" y="925"/>
                    <a:pt x="310" y="931"/>
                    <a:pt x="313" y="940"/>
                  </a:cubicBezTo>
                  <a:cubicBezTo>
                    <a:pt x="312" y="940"/>
                    <a:pt x="310" y="943"/>
                    <a:pt x="313" y="943"/>
                  </a:cubicBezTo>
                  <a:cubicBezTo>
                    <a:pt x="314" y="937"/>
                    <a:pt x="319" y="941"/>
                    <a:pt x="321" y="943"/>
                  </a:cubicBezTo>
                  <a:cubicBezTo>
                    <a:pt x="323" y="945"/>
                    <a:pt x="325" y="946"/>
                    <a:pt x="326" y="947"/>
                  </a:cubicBezTo>
                  <a:cubicBezTo>
                    <a:pt x="329" y="949"/>
                    <a:pt x="332" y="954"/>
                    <a:pt x="335" y="954"/>
                  </a:cubicBezTo>
                  <a:cubicBezTo>
                    <a:pt x="334" y="954"/>
                    <a:pt x="335" y="948"/>
                    <a:pt x="337" y="951"/>
                  </a:cubicBezTo>
                  <a:cubicBezTo>
                    <a:pt x="339" y="953"/>
                    <a:pt x="336" y="958"/>
                    <a:pt x="340" y="958"/>
                  </a:cubicBezTo>
                  <a:cubicBezTo>
                    <a:pt x="344" y="959"/>
                    <a:pt x="345" y="969"/>
                    <a:pt x="345" y="973"/>
                  </a:cubicBezTo>
                  <a:cubicBezTo>
                    <a:pt x="364" y="976"/>
                    <a:pt x="367" y="1002"/>
                    <a:pt x="388" y="1003"/>
                  </a:cubicBezTo>
                  <a:cubicBezTo>
                    <a:pt x="391" y="1008"/>
                    <a:pt x="394" y="1015"/>
                    <a:pt x="396" y="1017"/>
                  </a:cubicBezTo>
                  <a:cubicBezTo>
                    <a:pt x="400" y="1021"/>
                    <a:pt x="406" y="1018"/>
                    <a:pt x="410" y="1021"/>
                  </a:cubicBezTo>
                  <a:cubicBezTo>
                    <a:pt x="411" y="1022"/>
                    <a:pt x="411" y="1028"/>
                    <a:pt x="412" y="1028"/>
                  </a:cubicBezTo>
                  <a:cubicBezTo>
                    <a:pt x="415" y="1030"/>
                    <a:pt x="418" y="1028"/>
                    <a:pt x="421" y="1028"/>
                  </a:cubicBezTo>
                  <a:cubicBezTo>
                    <a:pt x="421" y="1029"/>
                    <a:pt x="420" y="1032"/>
                    <a:pt x="421" y="1032"/>
                  </a:cubicBezTo>
                  <a:cubicBezTo>
                    <a:pt x="421" y="1033"/>
                    <a:pt x="428" y="1035"/>
                    <a:pt x="429" y="1036"/>
                  </a:cubicBezTo>
                  <a:cubicBezTo>
                    <a:pt x="433" y="1040"/>
                    <a:pt x="436" y="1038"/>
                    <a:pt x="442" y="1040"/>
                  </a:cubicBezTo>
                  <a:cubicBezTo>
                    <a:pt x="442" y="1040"/>
                    <a:pt x="443" y="1043"/>
                    <a:pt x="445" y="1043"/>
                  </a:cubicBezTo>
                  <a:cubicBezTo>
                    <a:pt x="448" y="1044"/>
                    <a:pt x="450" y="1046"/>
                    <a:pt x="453" y="1047"/>
                  </a:cubicBezTo>
                  <a:cubicBezTo>
                    <a:pt x="460" y="1049"/>
                    <a:pt x="461" y="1051"/>
                    <a:pt x="464" y="1058"/>
                  </a:cubicBezTo>
                  <a:cubicBezTo>
                    <a:pt x="469" y="1058"/>
                    <a:pt x="474" y="1058"/>
                    <a:pt x="480" y="1058"/>
                  </a:cubicBezTo>
                  <a:cubicBezTo>
                    <a:pt x="480" y="1065"/>
                    <a:pt x="481" y="1064"/>
                    <a:pt x="485" y="1065"/>
                  </a:cubicBezTo>
                  <a:cubicBezTo>
                    <a:pt x="486" y="1066"/>
                    <a:pt x="489" y="1069"/>
                    <a:pt x="488" y="1069"/>
                  </a:cubicBezTo>
                  <a:cubicBezTo>
                    <a:pt x="491" y="1069"/>
                    <a:pt x="495" y="1065"/>
                    <a:pt x="496" y="1065"/>
                  </a:cubicBezTo>
                  <a:cubicBezTo>
                    <a:pt x="496" y="1066"/>
                    <a:pt x="495" y="1072"/>
                    <a:pt x="496" y="1073"/>
                  </a:cubicBezTo>
                  <a:cubicBezTo>
                    <a:pt x="497" y="1074"/>
                    <a:pt x="500" y="1072"/>
                    <a:pt x="501" y="1073"/>
                  </a:cubicBezTo>
                  <a:cubicBezTo>
                    <a:pt x="502" y="1073"/>
                    <a:pt x="505" y="1077"/>
                    <a:pt x="504" y="1077"/>
                  </a:cubicBezTo>
                  <a:cubicBezTo>
                    <a:pt x="507" y="1077"/>
                    <a:pt x="511" y="1072"/>
                    <a:pt x="512" y="1073"/>
                  </a:cubicBezTo>
                  <a:cubicBezTo>
                    <a:pt x="514" y="1074"/>
                    <a:pt x="515" y="1082"/>
                    <a:pt x="517" y="1084"/>
                  </a:cubicBezTo>
                  <a:cubicBezTo>
                    <a:pt x="526" y="1087"/>
                    <a:pt x="523" y="1074"/>
                    <a:pt x="531" y="1077"/>
                  </a:cubicBezTo>
                  <a:cubicBezTo>
                    <a:pt x="532" y="1087"/>
                    <a:pt x="545" y="1082"/>
                    <a:pt x="542" y="1099"/>
                  </a:cubicBezTo>
                  <a:cubicBezTo>
                    <a:pt x="550" y="1098"/>
                    <a:pt x="553" y="1105"/>
                    <a:pt x="563" y="1102"/>
                  </a:cubicBezTo>
                  <a:cubicBezTo>
                    <a:pt x="565" y="1112"/>
                    <a:pt x="571" y="1117"/>
                    <a:pt x="574" y="1125"/>
                  </a:cubicBezTo>
                  <a:cubicBezTo>
                    <a:pt x="576" y="1129"/>
                    <a:pt x="574" y="1129"/>
                    <a:pt x="577" y="1132"/>
                  </a:cubicBezTo>
                  <a:cubicBezTo>
                    <a:pt x="577" y="1133"/>
                    <a:pt x="576" y="1138"/>
                    <a:pt x="577" y="1139"/>
                  </a:cubicBezTo>
                  <a:cubicBezTo>
                    <a:pt x="577" y="1140"/>
                    <a:pt x="579" y="1139"/>
                    <a:pt x="579" y="1139"/>
                  </a:cubicBezTo>
                  <a:cubicBezTo>
                    <a:pt x="580" y="1140"/>
                    <a:pt x="579" y="1145"/>
                    <a:pt x="579" y="1147"/>
                  </a:cubicBezTo>
                  <a:cubicBezTo>
                    <a:pt x="580" y="1148"/>
                    <a:pt x="584" y="1149"/>
                    <a:pt x="585" y="1151"/>
                  </a:cubicBezTo>
                  <a:cubicBezTo>
                    <a:pt x="586" y="1154"/>
                    <a:pt x="585" y="1159"/>
                    <a:pt x="587" y="1162"/>
                  </a:cubicBezTo>
                  <a:cubicBezTo>
                    <a:pt x="589" y="1165"/>
                    <a:pt x="593" y="1163"/>
                    <a:pt x="595" y="1165"/>
                  </a:cubicBezTo>
                  <a:cubicBezTo>
                    <a:pt x="599" y="1169"/>
                    <a:pt x="603" y="1175"/>
                    <a:pt x="606" y="1180"/>
                  </a:cubicBezTo>
                  <a:cubicBezTo>
                    <a:pt x="611" y="1186"/>
                    <a:pt x="614" y="1193"/>
                    <a:pt x="617" y="1199"/>
                  </a:cubicBezTo>
                  <a:cubicBezTo>
                    <a:pt x="634" y="1201"/>
                    <a:pt x="644" y="1194"/>
                    <a:pt x="660" y="1195"/>
                  </a:cubicBezTo>
                  <a:cubicBezTo>
                    <a:pt x="670" y="1210"/>
                    <a:pt x="684" y="1205"/>
                    <a:pt x="698" y="1210"/>
                  </a:cubicBezTo>
                  <a:cubicBezTo>
                    <a:pt x="699" y="1210"/>
                    <a:pt x="702" y="1216"/>
                    <a:pt x="703" y="1217"/>
                  </a:cubicBezTo>
                  <a:cubicBezTo>
                    <a:pt x="706" y="1218"/>
                    <a:pt x="710" y="1216"/>
                    <a:pt x="714" y="1217"/>
                  </a:cubicBezTo>
                  <a:cubicBezTo>
                    <a:pt x="714" y="1217"/>
                    <a:pt x="714" y="1220"/>
                    <a:pt x="716" y="1221"/>
                  </a:cubicBezTo>
                  <a:cubicBezTo>
                    <a:pt x="720" y="1222"/>
                    <a:pt x="722" y="1222"/>
                    <a:pt x="724" y="1225"/>
                  </a:cubicBezTo>
                  <a:cubicBezTo>
                    <a:pt x="730" y="1230"/>
                    <a:pt x="736" y="1226"/>
                    <a:pt x="743" y="1228"/>
                  </a:cubicBezTo>
                  <a:cubicBezTo>
                    <a:pt x="744" y="1228"/>
                    <a:pt x="747" y="1235"/>
                    <a:pt x="749" y="1235"/>
                  </a:cubicBezTo>
                  <a:cubicBezTo>
                    <a:pt x="752" y="1237"/>
                    <a:pt x="755" y="1232"/>
                    <a:pt x="757" y="1232"/>
                  </a:cubicBezTo>
                  <a:cubicBezTo>
                    <a:pt x="756" y="1232"/>
                    <a:pt x="758" y="1235"/>
                    <a:pt x="759" y="1235"/>
                  </a:cubicBezTo>
                  <a:cubicBezTo>
                    <a:pt x="763" y="1237"/>
                    <a:pt x="765" y="1238"/>
                    <a:pt x="767" y="1239"/>
                  </a:cubicBezTo>
                  <a:cubicBezTo>
                    <a:pt x="775" y="1242"/>
                    <a:pt x="773" y="1245"/>
                    <a:pt x="778" y="1247"/>
                  </a:cubicBezTo>
                  <a:cubicBezTo>
                    <a:pt x="777" y="1246"/>
                    <a:pt x="780" y="1243"/>
                    <a:pt x="781" y="1243"/>
                  </a:cubicBezTo>
                  <a:cubicBezTo>
                    <a:pt x="784" y="1242"/>
                    <a:pt x="788" y="1245"/>
                    <a:pt x="789" y="1247"/>
                  </a:cubicBezTo>
                  <a:cubicBezTo>
                    <a:pt x="795" y="1255"/>
                    <a:pt x="799" y="1246"/>
                    <a:pt x="805" y="1247"/>
                  </a:cubicBezTo>
                  <a:cubicBezTo>
                    <a:pt x="805" y="1247"/>
                    <a:pt x="806" y="1250"/>
                    <a:pt x="808" y="1250"/>
                  </a:cubicBezTo>
                  <a:cubicBezTo>
                    <a:pt x="809" y="1251"/>
                    <a:pt x="812" y="1250"/>
                    <a:pt x="813" y="1250"/>
                  </a:cubicBezTo>
                  <a:cubicBezTo>
                    <a:pt x="813" y="1251"/>
                    <a:pt x="813" y="1254"/>
                    <a:pt x="813" y="1254"/>
                  </a:cubicBezTo>
                  <a:cubicBezTo>
                    <a:pt x="817" y="1256"/>
                    <a:pt x="823" y="1255"/>
                    <a:pt x="827" y="1258"/>
                  </a:cubicBezTo>
                  <a:cubicBezTo>
                    <a:pt x="827" y="1255"/>
                    <a:pt x="827" y="1250"/>
                    <a:pt x="829" y="1250"/>
                  </a:cubicBezTo>
                  <a:cubicBezTo>
                    <a:pt x="835" y="1258"/>
                    <a:pt x="835" y="1249"/>
                    <a:pt x="840" y="1247"/>
                  </a:cubicBezTo>
                  <a:cubicBezTo>
                    <a:pt x="840" y="1252"/>
                    <a:pt x="840" y="1257"/>
                    <a:pt x="840" y="1261"/>
                  </a:cubicBezTo>
                  <a:cubicBezTo>
                    <a:pt x="845" y="1263"/>
                    <a:pt x="845" y="1256"/>
                    <a:pt x="848" y="1254"/>
                  </a:cubicBezTo>
                  <a:cubicBezTo>
                    <a:pt x="849" y="1258"/>
                    <a:pt x="851" y="1260"/>
                    <a:pt x="854" y="1261"/>
                  </a:cubicBezTo>
                  <a:cubicBezTo>
                    <a:pt x="854" y="1257"/>
                    <a:pt x="853" y="1251"/>
                    <a:pt x="856" y="1250"/>
                  </a:cubicBezTo>
                  <a:cubicBezTo>
                    <a:pt x="864" y="1260"/>
                    <a:pt x="866" y="1254"/>
                    <a:pt x="878" y="1258"/>
                  </a:cubicBezTo>
                  <a:cubicBezTo>
                    <a:pt x="878" y="1262"/>
                    <a:pt x="878" y="1266"/>
                    <a:pt x="883" y="1265"/>
                  </a:cubicBezTo>
                  <a:cubicBezTo>
                    <a:pt x="884" y="1253"/>
                    <a:pt x="888" y="1263"/>
                    <a:pt x="897" y="1258"/>
                  </a:cubicBezTo>
                  <a:cubicBezTo>
                    <a:pt x="896" y="1264"/>
                    <a:pt x="899" y="1267"/>
                    <a:pt x="902" y="1269"/>
                  </a:cubicBezTo>
                  <a:cubicBezTo>
                    <a:pt x="904" y="1263"/>
                    <a:pt x="905" y="1269"/>
                    <a:pt x="907" y="1265"/>
                  </a:cubicBezTo>
                  <a:cubicBezTo>
                    <a:pt x="911" y="1260"/>
                    <a:pt x="921" y="1269"/>
                    <a:pt x="921" y="1269"/>
                  </a:cubicBezTo>
                  <a:cubicBezTo>
                    <a:pt x="923" y="1268"/>
                    <a:pt x="926" y="1255"/>
                    <a:pt x="931" y="1261"/>
                  </a:cubicBezTo>
                  <a:cubicBezTo>
                    <a:pt x="930" y="1276"/>
                    <a:pt x="940" y="1266"/>
                    <a:pt x="945" y="1265"/>
                  </a:cubicBezTo>
                  <a:cubicBezTo>
                    <a:pt x="948" y="1265"/>
                    <a:pt x="949" y="1269"/>
                    <a:pt x="953" y="1269"/>
                  </a:cubicBezTo>
                  <a:cubicBezTo>
                    <a:pt x="952" y="1269"/>
                    <a:pt x="955" y="1265"/>
                    <a:pt x="956" y="1265"/>
                  </a:cubicBezTo>
                  <a:cubicBezTo>
                    <a:pt x="968" y="1258"/>
                    <a:pt x="952" y="1267"/>
                    <a:pt x="953" y="1258"/>
                  </a:cubicBezTo>
                  <a:cubicBezTo>
                    <a:pt x="957" y="1258"/>
                    <a:pt x="959" y="1256"/>
                    <a:pt x="961" y="1254"/>
                  </a:cubicBezTo>
                  <a:cubicBezTo>
                    <a:pt x="966" y="1259"/>
                    <a:pt x="961" y="1276"/>
                    <a:pt x="969" y="1276"/>
                  </a:cubicBezTo>
                  <a:cubicBezTo>
                    <a:pt x="968" y="1266"/>
                    <a:pt x="984" y="1279"/>
                    <a:pt x="983" y="1269"/>
                  </a:cubicBezTo>
                  <a:cubicBezTo>
                    <a:pt x="980" y="1268"/>
                    <a:pt x="978" y="1265"/>
                    <a:pt x="977" y="1261"/>
                  </a:cubicBezTo>
                  <a:cubicBezTo>
                    <a:pt x="990" y="1261"/>
                    <a:pt x="987" y="1259"/>
                    <a:pt x="999" y="1254"/>
                  </a:cubicBezTo>
                  <a:cubicBezTo>
                    <a:pt x="999" y="1260"/>
                    <a:pt x="998" y="1268"/>
                    <a:pt x="1001" y="1269"/>
                  </a:cubicBezTo>
                  <a:cubicBezTo>
                    <a:pt x="1002" y="1264"/>
                    <a:pt x="1002" y="1260"/>
                    <a:pt x="1007" y="1261"/>
                  </a:cubicBezTo>
                  <a:cubicBezTo>
                    <a:pt x="1007" y="1269"/>
                    <a:pt x="999" y="1266"/>
                    <a:pt x="1001" y="1276"/>
                  </a:cubicBezTo>
                  <a:cubicBezTo>
                    <a:pt x="1010" y="1279"/>
                    <a:pt x="1007" y="1267"/>
                    <a:pt x="1012" y="1265"/>
                  </a:cubicBezTo>
                  <a:cubicBezTo>
                    <a:pt x="1016" y="1264"/>
                    <a:pt x="1016" y="1272"/>
                    <a:pt x="1018" y="1273"/>
                  </a:cubicBezTo>
                  <a:cubicBezTo>
                    <a:pt x="1023" y="1275"/>
                    <a:pt x="1027" y="1266"/>
                    <a:pt x="1031" y="1269"/>
                  </a:cubicBezTo>
                  <a:cubicBezTo>
                    <a:pt x="1037" y="1273"/>
                    <a:pt x="1028" y="1282"/>
                    <a:pt x="1034" y="1280"/>
                  </a:cubicBezTo>
                  <a:cubicBezTo>
                    <a:pt x="1036" y="1279"/>
                    <a:pt x="1040" y="1267"/>
                    <a:pt x="1042" y="1265"/>
                  </a:cubicBezTo>
                  <a:cubicBezTo>
                    <a:pt x="1037" y="1264"/>
                    <a:pt x="1035" y="1271"/>
                    <a:pt x="1034" y="1265"/>
                  </a:cubicBezTo>
                  <a:cubicBezTo>
                    <a:pt x="1037" y="1255"/>
                    <a:pt x="1046" y="1268"/>
                    <a:pt x="1050" y="1269"/>
                  </a:cubicBezTo>
                  <a:cubicBezTo>
                    <a:pt x="1050" y="1254"/>
                    <a:pt x="1054" y="1269"/>
                    <a:pt x="1058" y="1269"/>
                  </a:cubicBezTo>
                  <a:cubicBezTo>
                    <a:pt x="1059" y="1269"/>
                    <a:pt x="1059" y="1263"/>
                    <a:pt x="1063" y="1265"/>
                  </a:cubicBezTo>
                  <a:cubicBezTo>
                    <a:pt x="1063" y="1265"/>
                    <a:pt x="1066" y="1269"/>
                    <a:pt x="1066" y="1269"/>
                  </a:cubicBezTo>
                  <a:cubicBezTo>
                    <a:pt x="1072" y="1275"/>
                    <a:pt x="1069" y="1268"/>
                    <a:pt x="1077" y="1269"/>
                  </a:cubicBezTo>
                  <a:cubicBezTo>
                    <a:pt x="1071" y="1277"/>
                    <a:pt x="1078" y="1277"/>
                    <a:pt x="1082" y="1273"/>
                  </a:cubicBezTo>
                  <a:cubicBezTo>
                    <a:pt x="1080" y="1284"/>
                    <a:pt x="1086" y="1284"/>
                    <a:pt x="1090" y="1287"/>
                  </a:cubicBezTo>
                  <a:cubicBezTo>
                    <a:pt x="1090" y="1281"/>
                    <a:pt x="1092" y="1278"/>
                    <a:pt x="1096" y="1276"/>
                  </a:cubicBezTo>
                  <a:cubicBezTo>
                    <a:pt x="1096" y="1282"/>
                    <a:pt x="1095" y="1289"/>
                    <a:pt x="1101" y="1287"/>
                  </a:cubicBezTo>
                  <a:cubicBezTo>
                    <a:pt x="1101" y="1281"/>
                    <a:pt x="1100" y="1276"/>
                    <a:pt x="1098" y="1273"/>
                  </a:cubicBezTo>
                  <a:cubicBezTo>
                    <a:pt x="1102" y="1273"/>
                    <a:pt x="1104" y="1271"/>
                    <a:pt x="1106" y="1269"/>
                  </a:cubicBezTo>
                  <a:cubicBezTo>
                    <a:pt x="1109" y="1274"/>
                    <a:pt x="1110" y="1284"/>
                    <a:pt x="1114" y="1287"/>
                  </a:cubicBezTo>
                  <a:cubicBezTo>
                    <a:pt x="1119" y="1280"/>
                    <a:pt x="1115" y="1278"/>
                    <a:pt x="1114" y="1269"/>
                  </a:cubicBezTo>
                  <a:cubicBezTo>
                    <a:pt x="1117" y="1275"/>
                    <a:pt x="1124" y="1269"/>
                    <a:pt x="1128" y="1273"/>
                  </a:cubicBezTo>
                  <a:cubicBezTo>
                    <a:pt x="1130" y="1274"/>
                    <a:pt x="1128" y="1285"/>
                    <a:pt x="1133" y="1284"/>
                  </a:cubicBezTo>
                  <a:cubicBezTo>
                    <a:pt x="1134" y="1279"/>
                    <a:pt x="1133" y="1273"/>
                    <a:pt x="1136" y="1273"/>
                  </a:cubicBezTo>
                  <a:cubicBezTo>
                    <a:pt x="1136" y="1277"/>
                    <a:pt x="1140" y="1277"/>
                    <a:pt x="1144" y="1276"/>
                  </a:cubicBezTo>
                  <a:cubicBezTo>
                    <a:pt x="1143" y="1284"/>
                    <a:pt x="1148" y="1284"/>
                    <a:pt x="1149" y="1287"/>
                  </a:cubicBezTo>
                  <a:cubicBezTo>
                    <a:pt x="1147" y="1288"/>
                    <a:pt x="1146" y="1290"/>
                    <a:pt x="1147" y="1295"/>
                  </a:cubicBezTo>
                  <a:cubicBezTo>
                    <a:pt x="1157" y="1295"/>
                    <a:pt x="1158" y="1280"/>
                    <a:pt x="1163" y="1273"/>
                  </a:cubicBezTo>
                  <a:cubicBezTo>
                    <a:pt x="1166" y="1273"/>
                    <a:pt x="1170" y="1273"/>
                    <a:pt x="1173" y="1273"/>
                  </a:cubicBezTo>
                  <a:cubicBezTo>
                    <a:pt x="1173" y="1282"/>
                    <a:pt x="1174" y="1288"/>
                    <a:pt x="1181" y="1287"/>
                  </a:cubicBezTo>
                  <a:cubicBezTo>
                    <a:pt x="1182" y="1282"/>
                    <a:pt x="1181" y="1274"/>
                    <a:pt x="1184" y="1273"/>
                  </a:cubicBezTo>
                  <a:cubicBezTo>
                    <a:pt x="1184" y="1277"/>
                    <a:pt x="1188" y="1274"/>
                    <a:pt x="1190" y="1276"/>
                  </a:cubicBezTo>
                  <a:cubicBezTo>
                    <a:pt x="1190" y="1277"/>
                    <a:pt x="1189" y="1283"/>
                    <a:pt x="1190" y="1284"/>
                  </a:cubicBezTo>
                  <a:cubicBezTo>
                    <a:pt x="1195" y="1287"/>
                    <a:pt x="1202" y="1281"/>
                    <a:pt x="1208" y="1280"/>
                  </a:cubicBezTo>
                  <a:cubicBezTo>
                    <a:pt x="1218" y="1287"/>
                    <a:pt x="1208" y="1278"/>
                    <a:pt x="1214" y="1276"/>
                  </a:cubicBezTo>
                  <a:cubicBezTo>
                    <a:pt x="1221" y="1282"/>
                    <a:pt x="1207" y="1306"/>
                    <a:pt x="1222" y="1306"/>
                  </a:cubicBezTo>
                  <a:cubicBezTo>
                    <a:pt x="1223" y="1300"/>
                    <a:pt x="1219" y="1287"/>
                    <a:pt x="1225" y="1287"/>
                  </a:cubicBezTo>
                  <a:cubicBezTo>
                    <a:pt x="1229" y="1301"/>
                    <a:pt x="1233" y="1282"/>
                    <a:pt x="1235" y="1280"/>
                  </a:cubicBezTo>
                  <a:cubicBezTo>
                    <a:pt x="1236" y="1281"/>
                    <a:pt x="1234" y="1290"/>
                    <a:pt x="1235" y="1291"/>
                  </a:cubicBezTo>
                  <a:cubicBezTo>
                    <a:pt x="1244" y="1297"/>
                    <a:pt x="1256" y="1287"/>
                    <a:pt x="1249" y="1306"/>
                  </a:cubicBezTo>
                  <a:cubicBezTo>
                    <a:pt x="1262" y="1313"/>
                    <a:pt x="1253" y="1289"/>
                    <a:pt x="1260" y="1287"/>
                  </a:cubicBezTo>
                  <a:cubicBezTo>
                    <a:pt x="1260" y="1291"/>
                    <a:pt x="1260" y="1295"/>
                    <a:pt x="1260" y="1298"/>
                  </a:cubicBezTo>
                  <a:cubicBezTo>
                    <a:pt x="1268" y="1302"/>
                    <a:pt x="1263" y="1286"/>
                    <a:pt x="1270" y="1287"/>
                  </a:cubicBezTo>
                  <a:cubicBezTo>
                    <a:pt x="1275" y="1289"/>
                    <a:pt x="1277" y="1282"/>
                    <a:pt x="1278" y="1287"/>
                  </a:cubicBezTo>
                  <a:cubicBezTo>
                    <a:pt x="1276" y="1292"/>
                    <a:pt x="1275" y="1297"/>
                    <a:pt x="1276" y="1306"/>
                  </a:cubicBezTo>
                  <a:cubicBezTo>
                    <a:pt x="1285" y="1306"/>
                    <a:pt x="1280" y="1287"/>
                    <a:pt x="1289" y="1287"/>
                  </a:cubicBezTo>
                  <a:cubicBezTo>
                    <a:pt x="1289" y="1294"/>
                    <a:pt x="1291" y="1300"/>
                    <a:pt x="1294" y="1302"/>
                  </a:cubicBezTo>
                  <a:cubicBezTo>
                    <a:pt x="1296" y="1295"/>
                    <a:pt x="1295" y="1286"/>
                    <a:pt x="1303" y="1287"/>
                  </a:cubicBezTo>
                  <a:cubicBezTo>
                    <a:pt x="1304" y="1295"/>
                    <a:pt x="1299" y="1312"/>
                    <a:pt x="1305" y="1313"/>
                  </a:cubicBezTo>
                  <a:cubicBezTo>
                    <a:pt x="1309" y="1311"/>
                    <a:pt x="1306" y="1299"/>
                    <a:pt x="1311" y="1298"/>
                  </a:cubicBezTo>
                  <a:cubicBezTo>
                    <a:pt x="1316" y="1300"/>
                    <a:pt x="1316" y="1293"/>
                    <a:pt x="1319" y="1291"/>
                  </a:cubicBezTo>
                  <a:cubicBezTo>
                    <a:pt x="1322" y="1291"/>
                    <a:pt x="1325" y="1289"/>
                    <a:pt x="1327" y="1287"/>
                  </a:cubicBezTo>
                  <a:cubicBezTo>
                    <a:pt x="1328" y="1296"/>
                    <a:pt x="1319" y="1291"/>
                    <a:pt x="1319" y="1298"/>
                  </a:cubicBezTo>
                  <a:cubicBezTo>
                    <a:pt x="1326" y="1309"/>
                    <a:pt x="1327" y="1291"/>
                    <a:pt x="1338" y="1295"/>
                  </a:cubicBezTo>
                  <a:cubicBezTo>
                    <a:pt x="1342" y="1297"/>
                    <a:pt x="1337" y="1312"/>
                    <a:pt x="1343" y="1313"/>
                  </a:cubicBezTo>
                  <a:cubicBezTo>
                    <a:pt x="1353" y="1295"/>
                    <a:pt x="1338" y="1295"/>
                    <a:pt x="1338" y="1284"/>
                  </a:cubicBezTo>
                  <a:cubicBezTo>
                    <a:pt x="1345" y="1284"/>
                    <a:pt x="1350" y="1288"/>
                    <a:pt x="1348" y="1302"/>
                  </a:cubicBezTo>
                  <a:cubicBezTo>
                    <a:pt x="1352" y="1302"/>
                    <a:pt x="1355" y="1302"/>
                    <a:pt x="1359" y="1302"/>
                  </a:cubicBezTo>
                  <a:cubicBezTo>
                    <a:pt x="1359" y="1290"/>
                    <a:pt x="1353" y="1284"/>
                    <a:pt x="1364" y="1284"/>
                  </a:cubicBezTo>
                  <a:cubicBezTo>
                    <a:pt x="1363" y="1297"/>
                    <a:pt x="1367" y="1305"/>
                    <a:pt x="1375" y="1306"/>
                  </a:cubicBezTo>
                  <a:cubicBezTo>
                    <a:pt x="1376" y="1300"/>
                    <a:pt x="1374" y="1292"/>
                    <a:pt x="1378" y="1291"/>
                  </a:cubicBezTo>
                  <a:cubicBezTo>
                    <a:pt x="1383" y="1292"/>
                    <a:pt x="1380" y="1300"/>
                    <a:pt x="1383" y="1295"/>
                  </a:cubicBezTo>
                  <a:cubicBezTo>
                    <a:pt x="1385" y="1292"/>
                    <a:pt x="1388" y="1292"/>
                    <a:pt x="1391" y="1291"/>
                  </a:cubicBezTo>
                  <a:cubicBezTo>
                    <a:pt x="1387" y="1304"/>
                    <a:pt x="1400" y="1293"/>
                    <a:pt x="1399" y="1302"/>
                  </a:cubicBezTo>
                  <a:cubicBezTo>
                    <a:pt x="1398" y="1309"/>
                    <a:pt x="1389" y="1305"/>
                    <a:pt x="1391" y="1317"/>
                  </a:cubicBezTo>
                  <a:cubicBezTo>
                    <a:pt x="1399" y="1320"/>
                    <a:pt x="1397" y="1310"/>
                    <a:pt x="1402" y="1309"/>
                  </a:cubicBezTo>
                  <a:cubicBezTo>
                    <a:pt x="1403" y="1314"/>
                    <a:pt x="1406" y="1314"/>
                    <a:pt x="1410" y="1313"/>
                  </a:cubicBezTo>
                  <a:cubicBezTo>
                    <a:pt x="1411" y="1318"/>
                    <a:pt x="1414" y="1321"/>
                    <a:pt x="1418" y="1321"/>
                  </a:cubicBezTo>
                  <a:cubicBezTo>
                    <a:pt x="1422" y="1307"/>
                    <a:pt x="1414" y="1301"/>
                    <a:pt x="1424" y="1295"/>
                  </a:cubicBezTo>
                  <a:cubicBezTo>
                    <a:pt x="1423" y="1303"/>
                    <a:pt x="1424" y="1309"/>
                    <a:pt x="1426" y="1313"/>
                  </a:cubicBezTo>
                  <a:cubicBezTo>
                    <a:pt x="1441" y="1318"/>
                    <a:pt x="1443" y="1304"/>
                    <a:pt x="1450" y="1298"/>
                  </a:cubicBezTo>
                  <a:cubicBezTo>
                    <a:pt x="1449" y="1312"/>
                    <a:pt x="1447" y="1315"/>
                    <a:pt x="1456" y="1321"/>
                  </a:cubicBezTo>
                  <a:cubicBezTo>
                    <a:pt x="1456" y="1313"/>
                    <a:pt x="1463" y="1313"/>
                    <a:pt x="1469" y="1313"/>
                  </a:cubicBezTo>
                  <a:cubicBezTo>
                    <a:pt x="1465" y="1324"/>
                    <a:pt x="1481" y="1323"/>
                    <a:pt x="1480" y="1317"/>
                  </a:cubicBezTo>
                  <a:cubicBezTo>
                    <a:pt x="1471" y="1314"/>
                    <a:pt x="1477" y="1305"/>
                    <a:pt x="1480" y="1302"/>
                  </a:cubicBezTo>
                  <a:cubicBezTo>
                    <a:pt x="1483" y="1299"/>
                    <a:pt x="1487" y="1307"/>
                    <a:pt x="1491" y="1306"/>
                  </a:cubicBezTo>
                  <a:cubicBezTo>
                    <a:pt x="1492" y="1305"/>
                    <a:pt x="1493" y="1298"/>
                    <a:pt x="1496" y="1298"/>
                  </a:cubicBezTo>
                  <a:cubicBezTo>
                    <a:pt x="1497" y="1298"/>
                    <a:pt x="1496" y="1305"/>
                    <a:pt x="1496" y="1306"/>
                  </a:cubicBezTo>
                  <a:cubicBezTo>
                    <a:pt x="1498" y="1309"/>
                    <a:pt x="1507" y="1304"/>
                    <a:pt x="1510" y="1306"/>
                  </a:cubicBezTo>
                  <a:cubicBezTo>
                    <a:pt x="1511" y="1313"/>
                    <a:pt x="1511" y="1322"/>
                    <a:pt x="1518" y="1321"/>
                  </a:cubicBezTo>
                  <a:cubicBezTo>
                    <a:pt x="1520" y="1309"/>
                    <a:pt x="1513" y="1309"/>
                    <a:pt x="1512" y="1302"/>
                  </a:cubicBezTo>
                  <a:cubicBezTo>
                    <a:pt x="1520" y="1305"/>
                    <a:pt x="1519" y="1297"/>
                    <a:pt x="1526" y="1298"/>
                  </a:cubicBezTo>
                  <a:cubicBezTo>
                    <a:pt x="1525" y="1309"/>
                    <a:pt x="1536" y="1302"/>
                    <a:pt x="1536" y="1309"/>
                  </a:cubicBezTo>
                  <a:cubicBezTo>
                    <a:pt x="1536" y="1316"/>
                    <a:pt x="1537" y="1321"/>
                    <a:pt x="1539" y="1324"/>
                  </a:cubicBezTo>
                  <a:cubicBezTo>
                    <a:pt x="1548" y="1321"/>
                    <a:pt x="1551" y="1313"/>
                    <a:pt x="1558" y="1324"/>
                  </a:cubicBezTo>
                  <a:cubicBezTo>
                    <a:pt x="1558" y="1321"/>
                    <a:pt x="1560" y="1320"/>
                    <a:pt x="1561" y="1317"/>
                  </a:cubicBezTo>
                  <a:cubicBezTo>
                    <a:pt x="1561" y="1313"/>
                    <a:pt x="1557" y="1311"/>
                    <a:pt x="1561" y="1309"/>
                  </a:cubicBezTo>
                  <a:cubicBezTo>
                    <a:pt x="1569" y="1304"/>
                    <a:pt x="1570" y="1313"/>
                    <a:pt x="1577" y="1306"/>
                  </a:cubicBezTo>
                  <a:cubicBezTo>
                    <a:pt x="1582" y="1313"/>
                    <a:pt x="1575" y="1313"/>
                    <a:pt x="1577" y="1324"/>
                  </a:cubicBezTo>
                  <a:cubicBezTo>
                    <a:pt x="1582" y="1325"/>
                    <a:pt x="1582" y="1319"/>
                    <a:pt x="1585" y="1317"/>
                  </a:cubicBezTo>
                  <a:cubicBezTo>
                    <a:pt x="1590" y="1317"/>
                    <a:pt x="1588" y="1307"/>
                    <a:pt x="1596" y="1309"/>
                  </a:cubicBezTo>
                  <a:cubicBezTo>
                    <a:pt x="1596" y="1331"/>
                    <a:pt x="1611" y="1299"/>
                    <a:pt x="1612" y="1309"/>
                  </a:cubicBezTo>
                  <a:cubicBezTo>
                    <a:pt x="1611" y="1317"/>
                    <a:pt x="1606" y="1319"/>
                    <a:pt x="1606" y="1328"/>
                  </a:cubicBezTo>
                  <a:cubicBezTo>
                    <a:pt x="1616" y="1329"/>
                    <a:pt x="1616" y="1317"/>
                    <a:pt x="1625" y="1317"/>
                  </a:cubicBezTo>
                  <a:cubicBezTo>
                    <a:pt x="1625" y="1322"/>
                    <a:pt x="1630" y="1320"/>
                    <a:pt x="1631" y="1324"/>
                  </a:cubicBezTo>
                  <a:cubicBezTo>
                    <a:pt x="1622" y="1328"/>
                    <a:pt x="1628" y="1333"/>
                    <a:pt x="1631" y="1339"/>
                  </a:cubicBezTo>
                  <a:cubicBezTo>
                    <a:pt x="1636" y="1339"/>
                    <a:pt x="1644" y="1332"/>
                    <a:pt x="1644" y="1332"/>
                  </a:cubicBezTo>
                  <a:cubicBezTo>
                    <a:pt x="1644" y="1332"/>
                    <a:pt x="1644" y="1339"/>
                    <a:pt x="1644" y="1339"/>
                  </a:cubicBezTo>
                  <a:cubicBezTo>
                    <a:pt x="1652" y="1336"/>
                    <a:pt x="1652" y="1336"/>
                    <a:pt x="1660" y="1324"/>
                  </a:cubicBezTo>
                  <a:cubicBezTo>
                    <a:pt x="1661" y="1329"/>
                    <a:pt x="1661" y="1333"/>
                    <a:pt x="1666" y="1332"/>
                  </a:cubicBezTo>
                  <a:cubicBezTo>
                    <a:pt x="1666" y="1327"/>
                    <a:pt x="1666" y="1323"/>
                    <a:pt x="1671" y="1324"/>
                  </a:cubicBezTo>
                  <a:cubicBezTo>
                    <a:pt x="1672" y="1320"/>
                    <a:pt x="1674" y="1316"/>
                    <a:pt x="1676" y="1313"/>
                  </a:cubicBezTo>
                  <a:cubicBezTo>
                    <a:pt x="1678" y="1320"/>
                    <a:pt x="1673" y="1336"/>
                    <a:pt x="1682" y="1332"/>
                  </a:cubicBezTo>
                  <a:cubicBezTo>
                    <a:pt x="1680" y="1318"/>
                    <a:pt x="1684" y="1312"/>
                    <a:pt x="1687" y="1306"/>
                  </a:cubicBezTo>
                  <a:cubicBezTo>
                    <a:pt x="1684" y="1304"/>
                    <a:pt x="1681" y="1302"/>
                    <a:pt x="1679" y="1298"/>
                  </a:cubicBezTo>
                  <a:cubicBezTo>
                    <a:pt x="1691" y="1301"/>
                    <a:pt x="1683" y="1284"/>
                    <a:pt x="1687" y="1284"/>
                  </a:cubicBezTo>
                  <a:cubicBezTo>
                    <a:pt x="1691" y="1285"/>
                    <a:pt x="1692" y="1288"/>
                    <a:pt x="1695" y="1284"/>
                  </a:cubicBezTo>
                  <a:cubicBezTo>
                    <a:pt x="1695" y="1290"/>
                    <a:pt x="1696" y="1295"/>
                    <a:pt x="1698" y="1298"/>
                  </a:cubicBezTo>
                  <a:cubicBezTo>
                    <a:pt x="1693" y="1298"/>
                    <a:pt x="1691" y="1301"/>
                    <a:pt x="1690" y="1306"/>
                  </a:cubicBezTo>
                  <a:cubicBezTo>
                    <a:pt x="1698" y="1306"/>
                    <a:pt x="1706" y="1306"/>
                    <a:pt x="1714" y="1306"/>
                  </a:cubicBezTo>
                  <a:cubicBezTo>
                    <a:pt x="1719" y="1315"/>
                    <a:pt x="1719" y="1332"/>
                    <a:pt x="1725" y="1339"/>
                  </a:cubicBezTo>
                  <a:cubicBezTo>
                    <a:pt x="1735" y="1342"/>
                    <a:pt x="1735" y="1331"/>
                    <a:pt x="1744" y="1332"/>
                  </a:cubicBezTo>
                  <a:cubicBezTo>
                    <a:pt x="1744" y="1337"/>
                    <a:pt x="1742" y="1340"/>
                    <a:pt x="1741" y="1343"/>
                  </a:cubicBezTo>
                  <a:cubicBezTo>
                    <a:pt x="1751" y="1347"/>
                    <a:pt x="1749" y="1334"/>
                    <a:pt x="1757" y="1335"/>
                  </a:cubicBezTo>
                  <a:cubicBezTo>
                    <a:pt x="1759" y="1342"/>
                    <a:pt x="1766" y="1342"/>
                    <a:pt x="1770" y="1347"/>
                  </a:cubicBezTo>
                  <a:cubicBezTo>
                    <a:pt x="1776" y="1344"/>
                    <a:pt x="1770" y="1326"/>
                    <a:pt x="1776" y="1324"/>
                  </a:cubicBezTo>
                  <a:cubicBezTo>
                    <a:pt x="1776" y="1330"/>
                    <a:pt x="1775" y="1338"/>
                    <a:pt x="1778" y="1339"/>
                  </a:cubicBezTo>
                  <a:cubicBezTo>
                    <a:pt x="1780" y="1335"/>
                    <a:pt x="1782" y="1332"/>
                    <a:pt x="1787" y="1332"/>
                  </a:cubicBezTo>
                  <a:cubicBezTo>
                    <a:pt x="1792" y="1337"/>
                    <a:pt x="1802" y="1326"/>
                    <a:pt x="1811" y="1324"/>
                  </a:cubicBezTo>
                  <a:cubicBezTo>
                    <a:pt x="1811" y="1329"/>
                    <a:pt x="1811" y="1334"/>
                    <a:pt x="1811" y="1339"/>
                  </a:cubicBezTo>
                  <a:cubicBezTo>
                    <a:pt x="1813" y="1339"/>
                    <a:pt x="1816" y="1339"/>
                    <a:pt x="1819" y="1339"/>
                  </a:cubicBezTo>
                  <a:cubicBezTo>
                    <a:pt x="1826" y="1334"/>
                    <a:pt x="1813" y="1320"/>
                    <a:pt x="1819" y="1317"/>
                  </a:cubicBezTo>
                  <a:cubicBezTo>
                    <a:pt x="1824" y="1321"/>
                    <a:pt x="1828" y="1327"/>
                    <a:pt x="1832" y="1332"/>
                  </a:cubicBezTo>
                  <a:cubicBezTo>
                    <a:pt x="1832" y="1337"/>
                    <a:pt x="1828" y="1335"/>
                    <a:pt x="1827" y="1339"/>
                  </a:cubicBezTo>
                  <a:cubicBezTo>
                    <a:pt x="1832" y="1342"/>
                    <a:pt x="1835" y="1348"/>
                    <a:pt x="1840" y="1350"/>
                  </a:cubicBezTo>
                  <a:cubicBezTo>
                    <a:pt x="1840" y="1339"/>
                    <a:pt x="1850" y="1346"/>
                    <a:pt x="1854" y="1343"/>
                  </a:cubicBezTo>
                  <a:cubicBezTo>
                    <a:pt x="1855" y="1342"/>
                    <a:pt x="1858" y="1337"/>
                    <a:pt x="1859" y="1335"/>
                  </a:cubicBezTo>
                  <a:cubicBezTo>
                    <a:pt x="1861" y="1333"/>
                    <a:pt x="1861" y="1328"/>
                    <a:pt x="1865" y="1328"/>
                  </a:cubicBezTo>
                  <a:cubicBezTo>
                    <a:pt x="1864" y="1337"/>
                    <a:pt x="1859" y="1340"/>
                    <a:pt x="1867" y="1343"/>
                  </a:cubicBezTo>
                  <a:cubicBezTo>
                    <a:pt x="1867" y="1334"/>
                    <a:pt x="1869" y="1327"/>
                    <a:pt x="1873" y="1324"/>
                  </a:cubicBezTo>
                  <a:cubicBezTo>
                    <a:pt x="1877" y="1331"/>
                    <a:pt x="1874" y="1347"/>
                    <a:pt x="1881" y="1350"/>
                  </a:cubicBezTo>
                  <a:cubicBezTo>
                    <a:pt x="1877" y="1329"/>
                    <a:pt x="1890" y="1349"/>
                    <a:pt x="1891" y="1339"/>
                  </a:cubicBezTo>
                  <a:cubicBezTo>
                    <a:pt x="1888" y="1338"/>
                    <a:pt x="1887" y="1335"/>
                    <a:pt x="1886" y="1332"/>
                  </a:cubicBezTo>
                  <a:cubicBezTo>
                    <a:pt x="1891" y="1332"/>
                    <a:pt x="1894" y="1331"/>
                    <a:pt x="1897" y="1328"/>
                  </a:cubicBezTo>
                  <a:cubicBezTo>
                    <a:pt x="1899" y="1340"/>
                    <a:pt x="1899" y="1336"/>
                    <a:pt x="1894" y="1343"/>
                  </a:cubicBezTo>
                  <a:cubicBezTo>
                    <a:pt x="1904" y="1347"/>
                    <a:pt x="1902" y="1334"/>
                    <a:pt x="1910" y="1335"/>
                  </a:cubicBezTo>
                  <a:cubicBezTo>
                    <a:pt x="1904" y="1343"/>
                    <a:pt x="1911" y="1347"/>
                    <a:pt x="1913" y="1354"/>
                  </a:cubicBezTo>
                  <a:cubicBezTo>
                    <a:pt x="1917" y="1354"/>
                    <a:pt x="1919" y="1352"/>
                    <a:pt x="1921" y="1350"/>
                  </a:cubicBezTo>
                  <a:cubicBezTo>
                    <a:pt x="1921" y="1344"/>
                    <a:pt x="1928" y="1348"/>
                    <a:pt x="1929" y="1343"/>
                  </a:cubicBezTo>
                  <a:cubicBezTo>
                    <a:pt x="1925" y="1343"/>
                    <a:pt x="1929" y="1340"/>
                    <a:pt x="1929" y="1339"/>
                  </a:cubicBezTo>
                  <a:cubicBezTo>
                    <a:pt x="1929" y="1334"/>
                    <a:pt x="1928" y="1331"/>
                    <a:pt x="1926" y="1328"/>
                  </a:cubicBezTo>
                  <a:cubicBezTo>
                    <a:pt x="1930" y="1329"/>
                    <a:pt x="1936" y="1327"/>
                    <a:pt x="1937" y="1332"/>
                  </a:cubicBezTo>
                  <a:cubicBezTo>
                    <a:pt x="1934" y="1332"/>
                    <a:pt x="1931" y="1333"/>
                    <a:pt x="1932" y="1339"/>
                  </a:cubicBezTo>
                  <a:cubicBezTo>
                    <a:pt x="1938" y="1348"/>
                    <a:pt x="1939" y="1333"/>
                    <a:pt x="1945" y="1332"/>
                  </a:cubicBezTo>
                  <a:cubicBezTo>
                    <a:pt x="1949" y="1336"/>
                    <a:pt x="1946" y="1350"/>
                    <a:pt x="1953" y="1350"/>
                  </a:cubicBezTo>
                  <a:cubicBezTo>
                    <a:pt x="1954" y="1346"/>
                    <a:pt x="1953" y="1340"/>
                    <a:pt x="1956" y="1339"/>
                  </a:cubicBezTo>
                  <a:cubicBezTo>
                    <a:pt x="1956" y="1344"/>
                    <a:pt x="1961" y="1343"/>
                    <a:pt x="1961" y="1347"/>
                  </a:cubicBezTo>
                  <a:cubicBezTo>
                    <a:pt x="1962" y="1351"/>
                    <a:pt x="1965" y="1354"/>
                    <a:pt x="1969" y="1354"/>
                  </a:cubicBezTo>
                  <a:cubicBezTo>
                    <a:pt x="1973" y="1353"/>
                    <a:pt x="1973" y="1349"/>
                    <a:pt x="1975" y="1347"/>
                  </a:cubicBezTo>
                  <a:cubicBezTo>
                    <a:pt x="1975" y="1345"/>
                    <a:pt x="1980" y="1339"/>
                    <a:pt x="1980" y="1339"/>
                  </a:cubicBezTo>
                  <a:cubicBezTo>
                    <a:pt x="1982" y="1333"/>
                    <a:pt x="1976" y="1330"/>
                    <a:pt x="1980" y="1328"/>
                  </a:cubicBezTo>
                  <a:cubicBezTo>
                    <a:pt x="1988" y="1331"/>
                    <a:pt x="1984" y="1349"/>
                    <a:pt x="1994" y="1350"/>
                  </a:cubicBezTo>
                  <a:cubicBezTo>
                    <a:pt x="1995" y="1345"/>
                    <a:pt x="1998" y="1341"/>
                    <a:pt x="2002" y="1339"/>
                  </a:cubicBezTo>
                  <a:cubicBezTo>
                    <a:pt x="2002" y="1334"/>
                    <a:pt x="2001" y="1325"/>
                    <a:pt x="2004" y="1324"/>
                  </a:cubicBezTo>
                  <a:cubicBezTo>
                    <a:pt x="2008" y="1326"/>
                    <a:pt x="2010" y="1329"/>
                    <a:pt x="2010" y="1335"/>
                  </a:cubicBezTo>
                  <a:cubicBezTo>
                    <a:pt x="2018" y="1342"/>
                    <a:pt x="2021" y="1322"/>
                    <a:pt x="2023" y="1332"/>
                  </a:cubicBezTo>
                  <a:cubicBezTo>
                    <a:pt x="2019" y="1335"/>
                    <a:pt x="2019" y="1344"/>
                    <a:pt x="2018" y="1350"/>
                  </a:cubicBezTo>
                  <a:cubicBezTo>
                    <a:pt x="2025" y="1351"/>
                    <a:pt x="2029" y="1357"/>
                    <a:pt x="2037" y="1358"/>
                  </a:cubicBezTo>
                  <a:cubicBezTo>
                    <a:pt x="2046" y="1349"/>
                    <a:pt x="2032" y="1329"/>
                    <a:pt x="2037" y="1328"/>
                  </a:cubicBezTo>
                  <a:cubicBezTo>
                    <a:pt x="2047" y="1331"/>
                    <a:pt x="2040" y="1341"/>
                    <a:pt x="2045" y="1347"/>
                  </a:cubicBezTo>
                  <a:cubicBezTo>
                    <a:pt x="2046" y="1342"/>
                    <a:pt x="2048" y="1338"/>
                    <a:pt x="2050" y="1335"/>
                  </a:cubicBezTo>
                  <a:cubicBezTo>
                    <a:pt x="2057" y="1340"/>
                    <a:pt x="2043" y="1351"/>
                    <a:pt x="2055" y="1350"/>
                  </a:cubicBezTo>
                  <a:cubicBezTo>
                    <a:pt x="2056" y="1345"/>
                    <a:pt x="2075" y="1337"/>
                    <a:pt x="2079" y="1335"/>
                  </a:cubicBezTo>
                  <a:cubicBezTo>
                    <a:pt x="2079" y="68"/>
                    <a:pt x="2079" y="68"/>
                    <a:pt x="2079" y="68"/>
                  </a:cubicBezTo>
                  <a:cubicBezTo>
                    <a:pt x="2079" y="68"/>
                    <a:pt x="2061" y="100"/>
                    <a:pt x="2061" y="100"/>
                  </a:cubicBezTo>
                  <a:cubicBezTo>
                    <a:pt x="2059" y="102"/>
                    <a:pt x="2052" y="98"/>
                    <a:pt x="2050" y="100"/>
                  </a:cubicBezTo>
                  <a:close/>
                  <a:moveTo>
                    <a:pt x="28" y="300"/>
                  </a:moveTo>
                  <a:cubicBezTo>
                    <a:pt x="24" y="315"/>
                    <a:pt x="23" y="298"/>
                    <a:pt x="17" y="296"/>
                  </a:cubicBezTo>
                  <a:cubicBezTo>
                    <a:pt x="22" y="283"/>
                    <a:pt x="21" y="305"/>
                    <a:pt x="28" y="300"/>
                  </a:cubicBezTo>
                  <a:close/>
                  <a:moveTo>
                    <a:pt x="17" y="318"/>
                  </a:moveTo>
                  <a:cubicBezTo>
                    <a:pt x="15" y="316"/>
                    <a:pt x="24" y="315"/>
                    <a:pt x="25" y="315"/>
                  </a:cubicBezTo>
                  <a:cubicBezTo>
                    <a:pt x="25" y="315"/>
                    <a:pt x="25" y="311"/>
                    <a:pt x="25" y="311"/>
                  </a:cubicBezTo>
                  <a:cubicBezTo>
                    <a:pt x="35" y="313"/>
                    <a:pt x="21" y="323"/>
                    <a:pt x="17" y="318"/>
                  </a:cubicBezTo>
                  <a:close/>
                  <a:moveTo>
                    <a:pt x="31" y="311"/>
                  </a:moveTo>
                  <a:cubicBezTo>
                    <a:pt x="32" y="307"/>
                    <a:pt x="43" y="299"/>
                    <a:pt x="36" y="296"/>
                  </a:cubicBezTo>
                  <a:cubicBezTo>
                    <a:pt x="44" y="282"/>
                    <a:pt x="44" y="321"/>
                    <a:pt x="31" y="311"/>
                  </a:cubicBezTo>
                  <a:close/>
                  <a:moveTo>
                    <a:pt x="39" y="352"/>
                  </a:moveTo>
                  <a:cubicBezTo>
                    <a:pt x="40" y="347"/>
                    <a:pt x="42" y="344"/>
                    <a:pt x="47" y="344"/>
                  </a:cubicBezTo>
                  <a:cubicBezTo>
                    <a:pt x="46" y="349"/>
                    <a:pt x="43" y="352"/>
                    <a:pt x="39" y="352"/>
                  </a:cubicBezTo>
                  <a:close/>
                  <a:moveTo>
                    <a:pt x="41" y="215"/>
                  </a:moveTo>
                  <a:cubicBezTo>
                    <a:pt x="45" y="216"/>
                    <a:pt x="47" y="220"/>
                    <a:pt x="47" y="226"/>
                  </a:cubicBezTo>
                  <a:cubicBezTo>
                    <a:pt x="44" y="224"/>
                    <a:pt x="41" y="221"/>
                    <a:pt x="41" y="215"/>
                  </a:cubicBezTo>
                  <a:close/>
                  <a:moveTo>
                    <a:pt x="41" y="677"/>
                  </a:moveTo>
                  <a:cubicBezTo>
                    <a:pt x="43" y="675"/>
                    <a:pt x="49" y="681"/>
                    <a:pt x="49" y="681"/>
                  </a:cubicBezTo>
                  <a:cubicBezTo>
                    <a:pt x="53" y="694"/>
                    <a:pt x="36" y="684"/>
                    <a:pt x="41" y="677"/>
                  </a:cubicBezTo>
                  <a:close/>
                  <a:moveTo>
                    <a:pt x="189" y="644"/>
                  </a:moveTo>
                  <a:cubicBezTo>
                    <a:pt x="194" y="643"/>
                    <a:pt x="194" y="647"/>
                    <a:pt x="197" y="648"/>
                  </a:cubicBezTo>
                  <a:cubicBezTo>
                    <a:pt x="198" y="655"/>
                    <a:pt x="185" y="653"/>
                    <a:pt x="189" y="644"/>
                  </a:cubicBezTo>
                  <a:close/>
                  <a:moveTo>
                    <a:pt x="192" y="337"/>
                  </a:moveTo>
                  <a:cubicBezTo>
                    <a:pt x="191" y="343"/>
                    <a:pt x="184" y="340"/>
                    <a:pt x="187" y="352"/>
                  </a:cubicBezTo>
                  <a:cubicBezTo>
                    <a:pt x="180" y="351"/>
                    <a:pt x="180" y="342"/>
                    <a:pt x="184" y="337"/>
                  </a:cubicBezTo>
                  <a:cubicBezTo>
                    <a:pt x="176" y="325"/>
                    <a:pt x="165" y="336"/>
                    <a:pt x="154" y="329"/>
                  </a:cubicBezTo>
                  <a:cubicBezTo>
                    <a:pt x="156" y="332"/>
                    <a:pt x="157" y="335"/>
                    <a:pt x="157" y="341"/>
                  </a:cubicBezTo>
                  <a:cubicBezTo>
                    <a:pt x="165" y="336"/>
                    <a:pt x="169" y="339"/>
                    <a:pt x="170" y="352"/>
                  </a:cubicBezTo>
                  <a:cubicBezTo>
                    <a:pt x="167" y="350"/>
                    <a:pt x="166" y="345"/>
                    <a:pt x="163" y="344"/>
                  </a:cubicBezTo>
                  <a:cubicBezTo>
                    <a:pt x="161" y="352"/>
                    <a:pt x="168" y="350"/>
                    <a:pt x="168" y="355"/>
                  </a:cubicBezTo>
                  <a:cubicBezTo>
                    <a:pt x="171" y="356"/>
                    <a:pt x="170" y="363"/>
                    <a:pt x="173" y="363"/>
                  </a:cubicBezTo>
                  <a:cubicBezTo>
                    <a:pt x="172" y="371"/>
                    <a:pt x="158" y="362"/>
                    <a:pt x="160" y="374"/>
                  </a:cubicBezTo>
                  <a:cubicBezTo>
                    <a:pt x="156" y="373"/>
                    <a:pt x="158" y="365"/>
                    <a:pt x="157" y="359"/>
                  </a:cubicBezTo>
                  <a:cubicBezTo>
                    <a:pt x="161" y="359"/>
                    <a:pt x="164" y="359"/>
                    <a:pt x="168" y="359"/>
                  </a:cubicBezTo>
                  <a:cubicBezTo>
                    <a:pt x="168" y="353"/>
                    <a:pt x="162" y="358"/>
                    <a:pt x="160" y="355"/>
                  </a:cubicBezTo>
                  <a:cubicBezTo>
                    <a:pt x="157" y="353"/>
                    <a:pt x="162" y="337"/>
                    <a:pt x="152" y="344"/>
                  </a:cubicBezTo>
                  <a:cubicBezTo>
                    <a:pt x="153" y="331"/>
                    <a:pt x="149" y="325"/>
                    <a:pt x="144" y="322"/>
                  </a:cubicBezTo>
                  <a:cubicBezTo>
                    <a:pt x="144" y="318"/>
                    <a:pt x="149" y="320"/>
                    <a:pt x="149" y="315"/>
                  </a:cubicBezTo>
                  <a:cubicBezTo>
                    <a:pt x="149" y="307"/>
                    <a:pt x="139" y="313"/>
                    <a:pt x="135" y="311"/>
                  </a:cubicBezTo>
                  <a:cubicBezTo>
                    <a:pt x="135" y="318"/>
                    <a:pt x="139" y="319"/>
                    <a:pt x="138" y="326"/>
                  </a:cubicBezTo>
                  <a:cubicBezTo>
                    <a:pt x="136" y="323"/>
                    <a:pt x="131" y="320"/>
                    <a:pt x="130" y="326"/>
                  </a:cubicBezTo>
                  <a:cubicBezTo>
                    <a:pt x="123" y="323"/>
                    <a:pt x="135" y="316"/>
                    <a:pt x="133" y="307"/>
                  </a:cubicBezTo>
                  <a:cubicBezTo>
                    <a:pt x="144" y="301"/>
                    <a:pt x="153" y="317"/>
                    <a:pt x="154" y="311"/>
                  </a:cubicBezTo>
                  <a:cubicBezTo>
                    <a:pt x="163" y="315"/>
                    <a:pt x="151" y="321"/>
                    <a:pt x="152" y="326"/>
                  </a:cubicBezTo>
                  <a:cubicBezTo>
                    <a:pt x="160" y="328"/>
                    <a:pt x="160" y="319"/>
                    <a:pt x="168" y="322"/>
                  </a:cubicBezTo>
                  <a:cubicBezTo>
                    <a:pt x="171" y="316"/>
                    <a:pt x="163" y="315"/>
                    <a:pt x="163" y="315"/>
                  </a:cubicBezTo>
                  <a:cubicBezTo>
                    <a:pt x="162" y="309"/>
                    <a:pt x="171" y="313"/>
                    <a:pt x="170" y="307"/>
                  </a:cubicBezTo>
                  <a:cubicBezTo>
                    <a:pt x="171" y="297"/>
                    <a:pt x="154" y="310"/>
                    <a:pt x="154" y="300"/>
                  </a:cubicBezTo>
                  <a:cubicBezTo>
                    <a:pt x="151" y="298"/>
                    <a:pt x="140" y="304"/>
                    <a:pt x="141" y="296"/>
                  </a:cubicBezTo>
                  <a:cubicBezTo>
                    <a:pt x="145" y="296"/>
                    <a:pt x="150" y="296"/>
                    <a:pt x="154" y="296"/>
                  </a:cubicBezTo>
                  <a:cubicBezTo>
                    <a:pt x="159" y="296"/>
                    <a:pt x="160" y="301"/>
                    <a:pt x="165" y="300"/>
                  </a:cubicBezTo>
                  <a:cubicBezTo>
                    <a:pt x="169" y="298"/>
                    <a:pt x="165" y="297"/>
                    <a:pt x="165" y="292"/>
                  </a:cubicBezTo>
                  <a:cubicBezTo>
                    <a:pt x="168" y="293"/>
                    <a:pt x="170" y="292"/>
                    <a:pt x="170" y="289"/>
                  </a:cubicBezTo>
                  <a:cubicBezTo>
                    <a:pt x="176" y="289"/>
                    <a:pt x="171" y="297"/>
                    <a:pt x="170" y="296"/>
                  </a:cubicBezTo>
                  <a:cubicBezTo>
                    <a:pt x="173" y="308"/>
                    <a:pt x="177" y="297"/>
                    <a:pt x="187" y="304"/>
                  </a:cubicBezTo>
                  <a:cubicBezTo>
                    <a:pt x="186" y="309"/>
                    <a:pt x="180" y="307"/>
                    <a:pt x="176" y="307"/>
                  </a:cubicBezTo>
                  <a:cubicBezTo>
                    <a:pt x="172" y="310"/>
                    <a:pt x="172" y="319"/>
                    <a:pt x="170" y="326"/>
                  </a:cubicBezTo>
                  <a:cubicBezTo>
                    <a:pt x="181" y="328"/>
                    <a:pt x="179" y="301"/>
                    <a:pt x="189" y="315"/>
                  </a:cubicBezTo>
                  <a:cubicBezTo>
                    <a:pt x="191" y="320"/>
                    <a:pt x="182" y="316"/>
                    <a:pt x="181" y="318"/>
                  </a:cubicBezTo>
                  <a:cubicBezTo>
                    <a:pt x="180" y="323"/>
                    <a:pt x="188" y="320"/>
                    <a:pt x="189" y="322"/>
                  </a:cubicBezTo>
                  <a:cubicBezTo>
                    <a:pt x="192" y="325"/>
                    <a:pt x="187" y="338"/>
                    <a:pt x="192" y="337"/>
                  </a:cubicBezTo>
                  <a:close/>
                  <a:moveTo>
                    <a:pt x="189" y="422"/>
                  </a:moveTo>
                  <a:cubicBezTo>
                    <a:pt x="190" y="425"/>
                    <a:pt x="178" y="426"/>
                    <a:pt x="173" y="422"/>
                  </a:cubicBezTo>
                  <a:cubicBezTo>
                    <a:pt x="171" y="420"/>
                    <a:pt x="181" y="416"/>
                    <a:pt x="181" y="418"/>
                  </a:cubicBezTo>
                  <a:cubicBezTo>
                    <a:pt x="180" y="412"/>
                    <a:pt x="176" y="418"/>
                    <a:pt x="173" y="415"/>
                  </a:cubicBezTo>
                  <a:cubicBezTo>
                    <a:pt x="173" y="414"/>
                    <a:pt x="172" y="408"/>
                    <a:pt x="170" y="411"/>
                  </a:cubicBezTo>
                  <a:cubicBezTo>
                    <a:pt x="170" y="411"/>
                    <a:pt x="170" y="415"/>
                    <a:pt x="170" y="415"/>
                  </a:cubicBezTo>
                  <a:cubicBezTo>
                    <a:pt x="168" y="414"/>
                    <a:pt x="166" y="412"/>
                    <a:pt x="163" y="411"/>
                  </a:cubicBezTo>
                  <a:cubicBezTo>
                    <a:pt x="159" y="410"/>
                    <a:pt x="157" y="407"/>
                    <a:pt x="154" y="407"/>
                  </a:cubicBezTo>
                  <a:cubicBezTo>
                    <a:pt x="152" y="407"/>
                    <a:pt x="151" y="414"/>
                    <a:pt x="152" y="415"/>
                  </a:cubicBezTo>
                  <a:cubicBezTo>
                    <a:pt x="148" y="414"/>
                    <a:pt x="151" y="409"/>
                    <a:pt x="149" y="407"/>
                  </a:cubicBezTo>
                  <a:cubicBezTo>
                    <a:pt x="146" y="405"/>
                    <a:pt x="137" y="416"/>
                    <a:pt x="138" y="403"/>
                  </a:cubicBezTo>
                  <a:cubicBezTo>
                    <a:pt x="131" y="406"/>
                    <a:pt x="134" y="405"/>
                    <a:pt x="128" y="403"/>
                  </a:cubicBezTo>
                  <a:cubicBezTo>
                    <a:pt x="123" y="402"/>
                    <a:pt x="113" y="406"/>
                    <a:pt x="117" y="396"/>
                  </a:cubicBezTo>
                  <a:cubicBezTo>
                    <a:pt x="124" y="396"/>
                    <a:pt x="122" y="402"/>
                    <a:pt x="128" y="396"/>
                  </a:cubicBezTo>
                  <a:cubicBezTo>
                    <a:pt x="127" y="392"/>
                    <a:pt x="123" y="393"/>
                    <a:pt x="119" y="392"/>
                  </a:cubicBezTo>
                  <a:cubicBezTo>
                    <a:pt x="123" y="376"/>
                    <a:pt x="130" y="393"/>
                    <a:pt x="133" y="400"/>
                  </a:cubicBezTo>
                  <a:cubicBezTo>
                    <a:pt x="137" y="403"/>
                    <a:pt x="141" y="396"/>
                    <a:pt x="141" y="396"/>
                  </a:cubicBezTo>
                  <a:cubicBezTo>
                    <a:pt x="144" y="396"/>
                    <a:pt x="145" y="403"/>
                    <a:pt x="146" y="403"/>
                  </a:cubicBezTo>
                  <a:cubicBezTo>
                    <a:pt x="147" y="404"/>
                    <a:pt x="158" y="393"/>
                    <a:pt x="160" y="403"/>
                  </a:cubicBezTo>
                  <a:cubicBezTo>
                    <a:pt x="162" y="403"/>
                    <a:pt x="162" y="400"/>
                    <a:pt x="165" y="400"/>
                  </a:cubicBezTo>
                  <a:cubicBezTo>
                    <a:pt x="162" y="396"/>
                    <a:pt x="164" y="386"/>
                    <a:pt x="157" y="389"/>
                  </a:cubicBezTo>
                  <a:cubicBezTo>
                    <a:pt x="159" y="385"/>
                    <a:pt x="163" y="385"/>
                    <a:pt x="163" y="378"/>
                  </a:cubicBezTo>
                  <a:cubicBezTo>
                    <a:pt x="167" y="378"/>
                    <a:pt x="171" y="378"/>
                    <a:pt x="176" y="378"/>
                  </a:cubicBezTo>
                  <a:cubicBezTo>
                    <a:pt x="176" y="386"/>
                    <a:pt x="174" y="389"/>
                    <a:pt x="168" y="389"/>
                  </a:cubicBezTo>
                  <a:cubicBezTo>
                    <a:pt x="167" y="398"/>
                    <a:pt x="173" y="397"/>
                    <a:pt x="170" y="407"/>
                  </a:cubicBezTo>
                  <a:cubicBezTo>
                    <a:pt x="174" y="408"/>
                    <a:pt x="175" y="406"/>
                    <a:pt x="176" y="403"/>
                  </a:cubicBezTo>
                  <a:cubicBezTo>
                    <a:pt x="183" y="412"/>
                    <a:pt x="183" y="408"/>
                    <a:pt x="192" y="411"/>
                  </a:cubicBezTo>
                  <a:cubicBezTo>
                    <a:pt x="192" y="414"/>
                    <a:pt x="189" y="414"/>
                    <a:pt x="187" y="415"/>
                  </a:cubicBezTo>
                  <a:cubicBezTo>
                    <a:pt x="186" y="419"/>
                    <a:pt x="187" y="421"/>
                    <a:pt x="189" y="422"/>
                  </a:cubicBezTo>
                  <a:close/>
                  <a:moveTo>
                    <a:pt x="168" y="440"/>
                  </a:moveTo>
                  <a:cubicBezTo>
                    <a:pt x="169" y="447"/>
                    <a:pt x="153" y="447"/>
                    <a:pt x="157" y="437"/>
                  </a:cubicBezTo>
                  <a:cubicBezTo>
                    <a:pt x="162" y="436"/>
                    <a:pt x="163" y="441"/>
                    <a:pt x="168" y="440"/>
                  </a:cubicBezTo>
                  <a:close/>
                  <a:moveTo>
                    <a:pt x="152" y="444"/>
                  </a:moveTo>
                  <a:cubicBezTo>
                    <a:pt x="149" y="438"/>
                    <a:pt x="142" y="443"/>
                    <a:pt x="138" y="440"/>
                  </a:cubicBezTo>
                  <a:cubicBezTo>
                    <a:pt x="136" y="439"/>
                    <a:pt x="137" y="433"/>
                    <a:pt x="133" y="433"/>
                  </a:cubicBezTo>
                  <a:cubicBezTo>
                    <a:pt x="130" y="433"/>
                    <a:pt x="131" y="428"/>
                    <a:pt x="130" y="426"/>
                  </a:cubicBezTo>
                  <a:cubicBezTo>
                    <a:pt x="127" y="426"/>
                    <a:pt x="128" y="432"/>
                    <a:pt x="128" y="437"/>
                  </a:cubicBezTo>
                  <a:cubicBezTo>
                    <a:pt x="122" y="435"/>
                    <a:pt x="116" y="435"/>
                    <a:pt x="117" y="426"/>
                  </a:cubicBezTo>
                  <a:cubicBezTo>
                    <a:pt x="109" y="425"/>
                    <a:pt x="111" y="432"/>
                    <a:pt x="106" y="426"/>
                  </a:cubicBezTo>
                  <a:cubicBezTo>
                    <a:pt x="109" y="409"/>
                    <a:pt x="114" y="425"/>
                    <a:pt x="119" y="426"/>
                  </a:cubicBezTo>
                  <a:cubicBezTo>
                    <a:pt x="124" y="426"/>
                    <a:pt x="125" y="421"/>
                    <a:pt x="130" y="422"/>
                  </a:cubicBezTo>
                  <a:cubicBezTo>
                    <a:pt x="133" y="430"/>
                    <a:pt x="138" y="435"/>
                    <a:pt x="146" y="437"/>
                  </a:cubicBezTo>
                  <a:cubicBezTo>
                    <a:pt x="153" y="438"/>
                    <a:pt x="145" y="420"/>
                    <a:pt x="154" y="426"/>
                  </a:cubicBezTo>
                  <a:cubicBezTo>
                    <a:pt x="157" y="430"/>
                    <a:pt x="157" y="433"/>
                    <a:pt x="152" y="433"/>
                  </a:cubicBezTo>
                  <a:cubicBezTo>
                    <a:pt x="155" y="438"/>
                    <a:pt x="153" y="439"/>
                    <a:pt x="152" y="444"/>
                  </a:cubicBezTo>
                  <a:close/>
                  <a:moveTo>
                    <a:pt x="141" y="518"/>
                  </a:moveTo>
                  <a:cubicBezTo>
                    <a:pt x="138" y="525"/>
                    <a:pt x="131" y="526"/>
                    <a:pt x="128" y="533"/>
                  </a:cubicBezTo>
                  <a:cubicBezTo>
                    <a:pt x="122" y="531"/>
                    <a:pt x="125" y="519"/>
                    <a:pt x="117" y="522"/>
                  </a:cubicBezTo>
                  <a:cubicBezTo>
                    <a:pt x="116" y="515"/>
                    <a:pt x="129" y="516"/>
                    <a:pt x="125" y="525"/>
                  </a:cubicBezTo>
                  <a:cubicBezTo>
                    <a:pt x="131" y="526"/>
                    <a:pt x="133" y="522"/>
                    <a:pt x="133" y="514"/>
                  </a:cubicBezTo>
                  <a:cubicBezTo>
                    <a:pt x="132" y="510"/>
                    <a:pt x="118" y="506"/>
                    <a:pt x="119" y="511"/>
                  </a:cubicBezTo>
                  <a:cubicBezTo>
                    <a:pt x="111" y="508"/>
                    <a:pt x="122" y="503"/>
                    <a:pt x="119" y="496"/>
                  </a:cubicBezTo>
                  <a:cubicBezTo>
                    <a:pt x="123" y="501"/>
                    <a:pt x="131" y="500"/>
                    <a:pt x="138" y="500"/>
                  </a:cubicBezTo>
                  <a:cubicBezTo>
                    <a:pt x="143" y="509"/>
                    <a:pt x="135" y="513"/>
                    <a:pt x="141" y="518"/>
                  </a:cubicBezTo>
                  <a:close/>
                  <a:moveTo>
                    <a:pt x="133" y="559"/>
                  </a:moveTo>
                  <a:cubicBezTo>
                    <a:pt x="135" y="545"/>
                    <a:pt x="145" y="579"/>
                    <a:pt x="133" y="574"/>
                  </a:cubicBezTo>
                  <a:cubicBezTo>
                    <a:pt x="129" y="565"/>
                    <a:pt x="140" y="560"/>
                    <a:pt x="133" y="559"/>
                  </a:cubicBezTo>
                  <a:close/>
                  <a:moveTo>
                    <a:pt x="130" y="533"/>
                  </a:moveTo>
                  <a:cubicBezTo>
                    <a:pt x="138" y="534"/>
                    <a:pt x="136" y="547"/>
                    <a:pt x="141" y="551"/>
                  </a:cubicBezTo>
                  <a:cubicBezTo>
                    <a:pt x="138" y="559"/>
                    <a:pt x="130" y="542"/>
                    <a:pt x="130" y="533"/>
                  </a:cubicBezTo>
                  <a:close/>
                  <a:moveTo>
                    <a:pt x="125" y="540"/>
                  </a:moveTo>
                  <a:cubicBezTo>
                    <a:pt x="123" y="539"/>
                    <a:pt x="118" y="542"/>
                    <a:pt x="117" y="540"/>
                  </a:cubicBezTo>
                  <a:cubicBezTo>
                    <a:pt x="112" y="531"/>
                    <a:pt x="134" y="538"/>
                    <a:pt x="128" y="548"/>
                  </a:cubicBezTo>
                  <a:cubicBezTo>
                    <a:pt x="126" y="550"/>
                    <a:pt x="125" y="540"/>
                    <a:pt x="125" y="540"/>
                  </a:cubicBezTo>
                  <a:close/>
                  <a:moveTo>
                    <a:pt x="125" y="574"/>
                  </a:moveTo>
                  <a:cubicBezTo>
                    <a:pt x="123" y="574"/>
                    <a:pt x="121" y="568"/>
                    <a:pt x="122" y="566"/>
                  </a:cubicBezTo>
                  <a:cubicBezTo>
                    <a:pt x="126" y="553"/>
                    <a:pt x="127" y="573"/>
                    <a:pt x="125" y="574"/>
                  </a:cubicBezTo>
                  <a:close/>
                  <a:moveTo>
                    <a:pt x="125" y="611"/>
                  </a:moveTo>
                  <a:cubicBezTo>
                    <a:pt x="124" y="615"/>
                    <a:pt x="122" y="613"/>
                    <a:pt x="122" y="611"/>
                  </a:cubicBezTo>
                  <a:cubicBezTo>
                    <a:pt x="120" y="612"/>
                    <a:pt x="117" y="614"/>
                    <a:pt x="117" y="618"/>
                  </a:cubicBezTo>
                  <a:cubicBezTo>
                    <a:pt x="110" y="616"/>
                    <a:pt x="116" y="604"/>
                    <a:pt x="122" y="607"/>
                  </a:cubicBezTo>
                  <a:cubicBezTo>
                    <a:pt x="122" y="610"/>
                    <a:pt x="123" y="610"/>
                    <a:pt x="125" y="611"/>
                  </a:cubicBezTo>
                  <a:close/>
                  <a:moveTo>
                    <a:pt x="111" y="599"/>
                  </a:moveTo>
                  <a:cubicBezTo>
                    <a:pt x="112" y="592"/>
                    <a:pt x="123" y="600"/>
                    <a:pt x="125" y="603"/>
                  </a:cubicBezTo>
                  <a:cubicBezTo>
                    <a:pt x="133" y="608"/>
                    <a:pt x="114" y="602"/>
                    <a:pt x="111" y="599"/>
                  </a:cubicBezTo>
                  <a:close/>
                  <a:moveTo>
                    <a:pt x="93" y="592"/>
                  </a:moveTo>
                  <a:cubicBezTo>
                    <a:pt x="95" y="592"/>
                    <a:pt x="95" y="597"/>
                    <a:pt x="95" y="599"/>
                  </a:cubicBezTo>
                  <a:cubicBezTo>
                    <a:pt x="97" y="594"/>
                    <a:pt x="106" y="599"/>
                    <a:pt x="106" y="592"/>
                  </a:cubicBezTo>
                  <a:cubicBezTo>
                    <a:pt x="109" y="593"/>
                    <a:pt x="109" y="599"/>
                    <a:pt x="106" y="599"/>
                  </a:cubicBezTo>
                  <a:cubicBezTo>
                    <a:pt x="99" y="598"/>
                    <a:pt x="104" y="614"/>
                    <a:pt x="95" y="611"/>
                  </a:cubicBezTo>
                  <a:cubicBezTo>
                    <a:pt x="96" y="602"/>
                    <a:pt x="90" y="603"/>
                    <a:pt x="93" y="592"/>
                  </a:cubicBezTo>
                  <a:close/>
                  <a:moveTo>
                    <a:pt x="93" y="389"/>
                  </a:moveTo>
                  <a:cubicBezTo>
                    <a:pt x="100" y="389"/>
                    <a:pt x="98" y="404"/>
                    <a:pt x="90" y="403"/>
                  </a:cubicBezTo>
                  <a:cubicBezTo>
                    <a:pt x="92" y="400"/>
                    <a:pt x="93" y="395"/>
                    <a:pt x="93" y="389"/>
                  </a:cubicBezTo>
                  <a:close/>
                  <a:moveTo>
                    <a:pt x="87" y="315"/>
                  </a:moveTo>
                  <a:cubicBezTo>
                    <a:pt x="87" y="312"/>
                    <a:pt x="87" y="310"/>
                    <a:pt x="87" y="307"/>
                  </a:cubicBezTo>
                  <a:cubicBezTo>
                    <a:pt x="89" y="308"/>
                    <a:pt x="90" y="306"/>
                    <a:pt x="90" y="304"/>
                  </a:cubicBezTo>
                  <a:cubicBezTo>
                    <a:pt x="95" y="302"/>
                    <a:pt x="94" y="320"/>
                    <a:pt x="87" y="315"/>
                  </a:cubicBezTo>
                  <a:close/>
                  <a:moveTo>
                    <a:pt x="122" y="352"/>
                  </a:moveTo>
                  <a:cubicBezTo>
                    <a:pt x="119" y="355"/>
                    <a:pt x="115" y="357"/>
                    <a:pt x="109" y="355"/>
                  </a:cubicBezTo>
                  <a:cubicBezTo>
                    <a:pt x="109" y="353"/>
                    <a:pt x="109" y="350"/>
                    <a:pt x="109" y="348"/>
                  </a:cubicBezTo>
                  <a:cubicBezTo>
                    <a:pt x="111" y="349"/>
                    <a:pt x="111" y="346"/>
                    <a:pt x="111" y="344"/>
                  </a:cubicBezTo>
                  <a:cubicBezTo>
                    <a:pt x="114" y="345"/>
                    <a:pt x="113" y="352"/>
                    <a:pt x="117" y="352"/>
                  </a:cubicBezTo>
                  <a:cubicBezTo>
                    <a:pt x="119" y="352"/>
                    <a:pt x="119" y="350"/>
                    <a:pt x="119" y="348"/>
                  </a:cubicBezTo>
                  <a:cubicBezTo>
                    <a:pt x="121" y="342"/>
                    <a:pt x="122" y="348"/>
                    <a:pt x="122" y="352"/>
                  </a:cubicBezTo>
                  <a:close/>
                  <a:moveTo>
                    <a:pt x="125" y="381"/>
                  </a:moveTo>
                  <a:cubicBezTo>
                    <a:pt x="115" y="380"/>
                    <a:pt x="118" y="372"/>
                    <a:pt x="119" y="363"/>
                  </a:cubicBezTo>
                  <a:cubicBezTo>
                    <a:pt x="123" y="366"/>
                    <a:pt x="123" y="375"/>
                    <a:pt x="125" y="381"/>
                  </a:cubicBezTo>
                  <a:close/>
                  <a:moveTo>
                    <a:pt x="106" y="318"/>
                  </a:moveTo>
                  <a:cubicBezTo>
                    <a:pt x="109" y="315"/>
                    <a:pt x="107" y="305"/>
                    <a:pt x="114" y="307"/>
                  </a:cubicBezTo>
                  <a:cubicBezTo>
                    <a:pt x="115" y="315"/>
                    <a:pt x="112" y="319"/>
                    <a:pt x="106" y="318"/>
                  </a:cubicBezTo>
                  <a:close/>
                  <a:moveTo>
                    <a:pt x="109" y="363"/>
                  </a:moveTo>
                  <a:cubicBezTo>
                    <a:pt x="110" y="369"/>
                    <a:pt x="117" y="366"/>
                    <a:pt x="114" y="378"/>
                  </a:cubicBezTo>
                  <a:cubicBezTo>
                    <a:pt x="102" y="376"/>
                    <a:pt x="110" y="370"/>
                    <a:pt x="106" y="359"/>
                  </a:cubicBezTo>
                  <a:cubicBezTo>
                    <a:pt x="108" y="358"/>
                    <a:pt x="109" y="360"/>
                    <a:pt x="109" y="363"/>
                  </a:cubicBezTo>
                  <a:close/>
                  <a:moveTo>
                    <a:pt x="114" y="407"/>
                  </a:moveTo>
                  <a:cubicBezTo>
                    <a:pt x="110" y="407"/>
                    <a:pt x="105" y="407"/>
                    <a:pt x="101" y="407"/>
                  </a:cubicBezTo>
                  <a:cubicBezTo>
                    <a:pt x="103" y="394"/>
                    <a:pt x="101" y="398"/>
                    <a:pt x="103" y="385"/>
                  </a:cubicBezTo>
                  <a:cubicBezTo>
                    <a:pt x="106" y="386"/>
                    <a:pt x="106" y="392"/>
                    <a:pt x="106" y="396"/>
                  </a:cubicBezTo>
                  <a:cubicBezTo>
                    <a:pt x="112" y="397"/>
                    <a:pt x="104" y="379"/>
                    <a:pt x="114" y="385"/>
                  </a:cubicBezTo>
                  <a:cubicBezTo>
                    <a:pt x="109" y="392"/>
                    <a:pt x="113" y="398"/>
                    <a:pt x="114" y="407"/>
                  </a:cubicBezTo>
                  <a:close/>
                  <a:moveTo>
                    <a:pt x="106" y="352"/>
                  </a:moveTo>
                  <a:cubicBezTo>
                    <a:pt x="102" y="368"/>
                    <a:pt x="95" y="334"/>
                    <a:pt x="106" y="341"/>
                  </a:cubicBezTo>
                  <a:cubicBezTo>
                    <a:pt x="104" y="344"/>
                    <a:pt x="102" y="351"/>
                    <a:pt x="106" y="352"/>
                  </a:cubicBezTo>
                  <a:close/>
                  <a:moveTo>
                    <a:pt x="103" y="433"/>
                  </a:moveTo>
                  <a:cubicBezTo>
                    <a:pt x="104" y="439"/>
                    <a:pt x="107" y="443"/>
                    <a:pt x="103" y="448"/>
                  </a:cubicBezTo>
                  <a:cubicBezTo>
                    <a:pt x="98" y="444"/>
                    <a:pt x="100" y="435"/>
                    <a:pt x="98" y="429"/>
                  </a:cubicBezTo>
                  <a:cubicBezTo>
                    <a:pt x="96" y="425"/>
                    <a:pt x="92" y="426"/>
                    <a:pt x="93" y="418"/>
                  </a:cubicBezTo>
                  <a:cubicBezTo>
                    <a:pt x="96" y="419"/>
                    <a:pt x="97" y="417"/>
                    <a:pt x="98" y="415"/>
                  </a:cubicBezTo>
                  <a:cubicBezTo>
                    <a:pt x="102" y="417"/>
                    <a:pt x="102" y="426"/>
                    <a:pt x="103" y="433"/>
                  </a:cubicBezTo>
                  <a:close/>
                  <a:moveTo>
                    <a:pt x="109" y="440"/>
                  </a:moveTo>
                  <a:cubicBezTo>
                    <a:pt x="111" y="440"/>
                    <a:pt x="114" y="440"/>
                    <a:pt x="117" y="440"/>
                  </a:cubicBezTo>
                  <a:cubicBezTo>
                    <a:pt x="117" y="447"/>
                    <a:pt x="112" y="455"/>
                    <a:pt x="114" y="459"/>
                  </a:cubicBezTo>
                  <a:cubicBezTo>
                    <a:pt x="115" y="461"/>
                    <a:pt x="117" y="456"/>
                    <a:pt x="117" y="455"/>
                  </a:cubicBezTo>
                  <a:cubicBezTo>
                    <a:pt x="117" y="454"/>
                    <a:pt x="121" y="457"/>
                    <a:pt x="119" y="459"/>
                  </a:cubicBezTo>
                  <a:cubicBezTo>
                    <a:pt x="115" y="464"/>
                    <a:pt x="120" y="463"/>
                    <a:pt x="117" y="474"/>
                  </a:cubicBezTo>
                  <a:cubicBezTo>
                    <a:pt x="111" y="475"/>
                    <a:pt x="108" y="473"/>
                    <a:pt x="109" y="466"/>
                  </a:cubicBezTo>
                  <a:cubicBezTo>
                    <a:pt x="104" y="468"/>
                    <a:pt x="106" y="478"/>
                    <a:pt x="98" y="474"/>
                  </a:cubicBezTo>
                  <a:cubicBezTo>
                    <a:pt x="103" y="465"/>
                    <a:pt x="104" y="463"/>
                    <a:pt x="95" y="459"/>
                  </a:cubicBezTo>
                  <a:cubicBezTo>
                    <a:pt x="96" y="456"/>
                    <a:pt x="104" y="448"/>
                    <a:pt x="103" y="455"/>
                  </a:cubicBezTo>
                  <a:cubicBezTo>
                    <a:pt x="112" y="452"/>
                    <a:pt x="104" y="447"/>
                    <a:pt x="109" y="440"/>
                  </a:cubicBezTo>
                  <a:close/>
                  <a:moveTo>
                    <a:pt x="135" y="485"/>
                  </a:moveTo>
                  <a:cubicBezTo>
                    <a:pt x="138" y="498"/>
                    <a:pt x="121" y="492"/>
                    <a:pt x="119" y="489"/>
                  </a:cubicBezTo>
                  <a:cubicBezTo>
                    <a:pt x="121" y="484"/>
                    <a:pt x="130" y="491"/>
                    <a:pt x="135" y="485"/>
                  </a:cubicBezTo>
                  <a:close/>
                  <a:moveTo>
                    <a:pt x="128" y="463"/>
                  </a:moveTo>
                  <a:cubicBezTo>
                    <a:pt x="128" y="456"/>
                    <a:pt x="134" y="461"/>
                    <a:pt x="135" y="452"/>
                  </a:cubicBezTo>
                  <a:cubicBezTo>
                    <a:pt x="139" y="452"/>
                    <a:pt x="137" y="455"/>
                    <a:pt x="135" y="455"/>
                  </a:cubicBezTo>
                  <a:cubicBezTo>
                    <a:pt x="133" y="469"/>
                    <a:pt x="135" y="473"/>
                    <a:pt x="133" y="481"/>
                  </a:cubicBezTo>
                  <a:cubicBezTo>
                    <a:pt x="127" y="482"/>
                    <a:pt x="123" y="480"/>
                    <a:pt x="122" y="474"/>
                  </a:cubicBezTo>
                  <a:cubicBezTo>
                    <a:pt x="121" y="466"/>
                    <a:pt x="127" y="468"/>
                    <a:pt x="128" y="463"/>
                  </a:cubicBezTo>
                  <a:close/>
                  <a:moveTo>
                    <a:pt x="111" y="507"/>
                  </a:moveTo>
                  <a:cubicBezTo>
                    <a:pt x="106" y="509"/>
                    <a:pt x="104" y="504"/>
                    <a:pt x="101" y="503"/>
                  </a:cubicBezTo>
                  <a:cubicBezTo>
                    <a:pt x="101" y="499"/>
                    <a:pt x="106" y="500"/>
                    <a:pt x="109" y="500"/>
                  </a:cubicBezTo>
                  <a:cubicBezTo>
                    <a:pt x="109" y="495"/>
                    <a:pt x="109" y="490"/>
                    <a:pt x="109" y="485"/>
                  </a:cubicBezTo>
                  <a:cubicBezTo>
                    <a:pt x="113" y="473"/>
                    <a:pt x="111" y="501"/>
                    <a:pt x="111" y="507"/>
                  </a:cubicBezTo>
                  <a:close/>
                  <a:moveTo>
                    <a:pt x="109" y="544"/>
                  </a:moveTo>
                  <a:cubicBezTo>
                    <a:pt x="103" y="544"/>
                    <a:pt x="105" y="534"/>
                    <a:pt x="98" y="537"/>
                  </a:cubicBezTo>
                  <a:cubicBezTo>
                    <a:pt x="90" y="526"/>
                    <a:pt x="110" y="542"/>
                    <a:pt x="109" y="533"/>
                  </a:cubicBezTo>
                  <a:cubicBezTo>
                    <a:pt x="113" y="534"/>
                    <a:pt x="108" y="538"/>
                    <a:pt x="109" y="544"/>
                  </a:cubicBezTo>
                  <a:close/>
                  <a:moveTo>
                    <a:pt x="101" y="585"/>
                  </a:moveTo>
                  <a:cubicBezTo>
                    <a:pt x="98" y="596"/>
                    <a:pt x="98" y="574"/>
                    <a:pt x="93" y="577"/>
                  </a:cubicBezTo>
                  <a:cubicBezTo>
                    <a:pt x="95" y="566"/>
                    <a:pt x="100" y="581"/>
                    <a:pt x="101" y="585"/>
                  </a:cubicBezTo>
                  <a:close/>
                  <a:moveTo>
                    <a:pt x="93" y="492"/>
                  </a:moveTo>
                  <a:cubicBezTo>
                    <a:pt x="101" y="479"/>
                    <a:pt x="102" y="503"/>
                    <a:pt x="93" y="492"/>
                  </a:cubicBezTo>
                  <a:close/>
                  <a:moveTo>
                    <a:pt x="111" y="607"/>
                  </a:moveTo>
                  <a:cubicBezTo>
                    <a:pt x="110" y="611"/>
                    <a:pt x="108" y="614"/>
                    <a:pt x="103" y="614"/>
                  </a:cubicBezTo>
                  <a:cubicBezTo>
                    <a:pt x="104" y="610"/>
                    <a:pt x="107" y="607"/>
                    <a:pt x="111" y="607"/>
                  </a:cubicBezTo>
                  <a:close/>
                  <a:moveTo>
                    <a:pt x="106" y="581"/>
                  </a:moveTo>
                  <a:cubicBezTo>
                    <a:pt x="106" y="577"/>
                    <a:pt x="111" y="578"/>
                    <a:pt x="114" y="577"/>
                  </a:cubicBezTo>
                  <a:cubicBezTo>
                    <a:pt x="114" y="567"/>
                    <a:pt x="110" y="570"/>
                    <a:pt x="114" y="562"/>
                  </a:cubicBezTo>
                  <a:cubicBezTo>
                    <a:pt x="123" y="565"/>
                    <a:pt x="111" y="586"/>
                    <a:pt x="117" y="585"/>
                  </a:cubicBezTo>
                  <a:cubicBezTo>
                    <a:pt x="114" y="596"/>
                    <a:pt x="108" y="583"/>
                    <a:pt x="106" y="581"/>
                  </a:cubicBezTo>
                  <a:close/>
                  <a:moveTo>
                    <a:pt x="128" y="352"/>
                  </a:moveTo>
                  <a:cubicBezTo>
                    <a:pt x="130" y="348"/>
                    <a:pt x="128" y="338"/>
                    <a:pt x="135" y="341"/>
                  </a:cubicBezTo>
                  <a:cubicBezTo>
                    <a:pt x="133" y="344"/>
                    <a:pt x="135" y="354"/>
                    <a:pt x="128" y="352"/>
                  </a:cubicBezTo>
                  <a:close/>
                  <a:moveTo>
                    <a:pt x="135" y="355"/>
                  </a:moveTo>
                  <a:cubicBezTo>
                    <a:pt x="135" y="358"/>
                    <a:pt x="135" y="360"/>
                    <a:pt x="135" y="363"/>
                  </a:cubicBezTo>
                  <a:cubicBezTo>
                    <a:pt x="134" y="363"/>
                    <a:pt x="132" y="363"/>
                    <a:pt x="130" y="363"/>
                  </a:cubicBezTo>
                  <a:cubicBezTo>
                    <a:pt x="130" y="360"/>
                    <a:pt x="130" y="358"/>
                    <a:pt x="130" y="355"/>
                  </a:cubicBezTo>
                  <a:cubicBezTo>
                    <a:pt x="132" y="355"/>
                    <a:pt x="134" y="355"/>
                    <a:pt x="135" y="355"/>
                  </a:cubicBezTo>
                  <a:close/>
                  <a:moveTo>
                    <a:pt x="141" y="333"/>
                  </a:moveTo>
                  <a:cubicBezTo>
                    <a:pt x="147" y="335"/>
                    <a:pt x="143" y="353"/>
                    <a:pt x="141" y="355"/>
                  </a:cubicBezTo>
                  <a:cubicBezTo>
                    <a:pt x="133" y="351"/>
                    <a:pt x="144" y="343"/>
                    <a:pt x="141" y="333"/>
                  </a:cubicBezTo>
                  <a:close/>
                  <a:moveTo>
                    <a:pt x="138" y="363"/>
                  </a:moveTo>
                  <a:cubicBezTo>
                    <a:pt x="139" y="358"/>
                    <a:pt x="143" y="360"/>
                    <a:pt x="146" y="359"/>
                  </a:cubicBezTo>
                  <a:cubicBezTo>
                    <a:pt x="149" y="359"/>
                    <a:pt x="148" y="355"/>
                    <a:pt x="149" y="352"/>
                  </a:cubicBezTo>
                  <a:cubicBezTo>
                    <a:pt x="155" y="350"/>
                    <a:pt x="154" y="357"/>
                    <a:pt x="154" y="363"/>
                  </a:cubicBezTo>
                  <a:cubicBezTo>
                    <a:pt x="150" y="370"/>
                    <a:pt x="148" y="360"/>
                    <a:pt x="138" y="363"/>
                  </a:cubicBezTo>
                  <a:close/>
                  <a:moveTo>
                    <a:pt x="149" y="378"/>
                  </a:moveTo>
                  <a:cubicBezTo>
                    <a:pt x="161" y="379"/>
                    <a:pt x="146" y="399"/>
                    <a:pt x="149" y="378"/>
                  </a:cubicBezTo>
                  <a:close/>
                  <a:moveTo>
                    <a:pt x="184" y="389"/>
                  </a:moveTo>
                  <a:cubicBezTo>
                    <a:pt x="185" y="396"/>
                    <a:pt x="172" y="394"/>
                    <a:pt x="176" y="385"/>
                  </a:cubicBezTo>
                  <a:cubicBezTo>
                    <a:pt x="180" y="384"/>
                    <a:pt x="181" y="388"/>
                    <a:pt x="184" y="389"/>
                  </a:cubicBezTo>
                  <a:close/>
                  <a:moveTo>
                    <a:pt x="160" y="263"/>
                  </a:moveTo>
                  <a:cubicBezTo>
                    <a:pt x="157" y="263"/>
                    <a:pt x="147" y="266"/>
                    <a:pt x="146" y="259"/>
                  </a:cubicBezTo>
                  <a:cubicBezTo>
                    <a:pt x="146" y="256"/>
                    <a:pt x="147" y="252"/>
                    <a:pt x="149" y="252"/>
                  </a:cubicBezTo>
                  <a:cubicBezTo>
                    <a:pt x="150" y="252"/>
                    <a:pt x="151" y="259"/>
                    <a:pt x="152" y="259"/>
                  </a:cubicBezTo>
                  <a:cubicBezTo>
                    <a:pt x="158" y="261"/>
                    <a:pt x="162" y="258"/>
                    <a:pt x="168" y="259"/>
                  </a:cubicBezTo>
                  <a:cubicBezTo>
                    <a:pt x="167" y="260"/>
                    <a:pt x="166" y="266"/>
                    <a:pt x="165" y="267"/>
                  </a:cubicBezTo>
                  <a:cubicBezTo>
                    <a:pt x="161" y="269"/>
                    <a:pt x="161" y="263"/>
                    <a:pt x="160" y="263"/>
                  </a:cubicBezTo>
                  <a:close/>
                  <a:moveTo>
                    <a:pt x="149" y="278"/>
                  </a:moveTo>
                  <a:cubicBezTo>
                    <a:pt x="148" y="276"/>
                    <a:pt x="156" y="267"/>
                    <a:pt x="160" y="274"/>
                  </a:cubicBezTo>
                  <a:cubicBezTo>
                    <a:pt x="161" y="277"/>
                    <a:pt x="151" y="280"/>
                    <a:pt x="149" y="278"/>
                  </a:cubicBezTo>
                  <a:close/>
                  <a:moveTo>
                    <a:pt x="189" y="263"/>
                  </a:moveTo>
                  <a:cubicBezTo>
                    <a:pt x="187" y="266"/>
                    <a:pt x="188" y="273"/>
                    <a:pt x="184" y="274"/>
                  </a:cubicBezTo>
                  <a:cubicBezTo>
                    <a:pt x="185" y="280"/>
                    <a:pt x="192" y="277"/>
                    <a:pt x="189" y="289"/>
                  </a:cubicBezTo>
                  <a:cubicBezTo>
                    <a:pt x="181" y="292"/>
                    <a:pt x="186" y="276"/>
                    <a:pt x="176" y="281"/>
                  </a:cubicBezTo>
                  <a:cubicBezTo>
                    <a:pt x="177" y="277"/>
                    <a:pt x="179" y="274"/>
                    <a:pt x="184" y="274"/>
                  </a:cubicBezTo>
                  <a:cubicBezTo>
                    <a:pt x="183" y="267"/>
                    <a:pt x="185" y="262"/>
                    <a:pt x="189" y="263"/>
                  </a:cubicBezTo>
                  <a:close/>
                  <a:moveTo>
                    <a:pt x="176" y="267"/>
                  </a:moveTo>
                  <a:cubicBezTo>
                    <a:pt x="176" y="264"/>
                    <a:pt x="179" y="263"/>
                    <a:pt x="179" y="259"/>
                  </a:cubicBezTo>
                  <a:cubicBezTo>
                    <a:pt x="178" y="256"/>
                    <a:pt x="175" y="256"/>
                    <a:pt x="173" y="255"/>
                  </a:cubicBezTo>
                  <a:cubicBezTo>
                    <a:pt x="174" y="251"/>
                    <a:pt x="178" y="250"/>
                    <a:pt x="179" y="244"/>
                  </a:cubicBezTo>
                  <a:cubicBezTo>
                    <a:pt x="187" y="245"/>
                    <a:pt x="184" y="267"/>
                    <a:pt x="176" y="267"/>
                  </a:cubicBezTo>
                  <a:close/>
                  <a:moveTo>
                    <a:pt x="176" y="170"/>
                  </a:moveTo>
                  <a:cubicBezTo>
                    <a:pt x="173" y="183"/>
                    <a:pt x="171" y="172"/>
                    <a:pt x="163" y="174"/>
                  </a:cubicBezTo>
                  <a:cubicBezTo>
                    <a:pt x="165" y="168"/>
                    <a:pt x="172" y="165"/>
                    <a:pt x="176" y="170"/>
                  </a:cubicBezTo>
                  <a:close/>
                  <a:moveTo>
                    <a:pt x="90" y="226"/>
                  </a:moveTo>
                  <a:cubicBezTo>
                    <a:pt x="90" y="223"/>
                    <a:pt x="90" y="221"/>
                    <a:pt x="90" y="218"/>
                  </a:cubicBezTo>
                  <a:cubicBezTo>
                    <a:pt x="98" y="225"/>
                    <a:pt x="99" y="216"/>
                    <a:pt x="111" y="218"/>
                  </a:cubicBezTo>
                  <a:cubicBezTo>
                    <a:pt x="117" y="219"/>
                    <a:pt x="117" y="225"/>
                    <a:pt x="125" y="222"/>
                  </a:cubicBezTo>
                  <a:cubicBezTo>
                    <a:pt x="128" y="221"/>
                    <a:pt x="135" y="218"/>
                    <a:pt x="141" y="226"/>
                  </a:cubicBezTo>
                  <a:cubicBezTo>
                    <a:pt x="142" y="228"/>
                    <a:pt x="158" y="224"/>
                    <a:pt x="165" y="226"/>
                  </a:cubicBezTo>
                  <a:cubicBezTo>
                    <a:pt x="171" y="227"/>
                    <a:pt x="184" y="227"/>
                    <a:pt x="181" y="241"/>
                  </a:cubicBezTo>
                  <a:cubicBezTo>
                    <a:pt x="178" y="240"/>
                    <a:pt x="180" y="233"/>
                    <a:pt x="176" y="233"/>
                  </a:cubicBezTo>
                  <a:cubicBezTo>
                    <a:pt x="172" y="234"/>
                    <a:pt x="174" y="243"/>
                    <a:pt x="173" y="248"/>
                  </a:cubicBezTo>
                  <a:cubicBezTo>
                    <a:pt x="163" y="239"/>
                    <a:pt x="175" y="252"/>
                    <a:pt x="168" y="255"/>
                  </a:cubicBezTo>
                  <a:cubicBezTo>
                    <a:pt x="160" y="259"/>
                    <a:pt x="166" y="248"/>
                    <a:pt x="165" y="248"/>
                  </a:cubicBezTo>
                  <a:cubicBezTo>
                    <a:pt x="164" y="247"/>
                    <a:pt x="158" y="255"/>
                    <a:pt x="154" y="252"/>
                  </a:cubicBezTo>
                  <a:cubicBezTo>
                    <a:pt x="154" y="246"/>
                    <a:pt x="146" y="250"/>
                    <a:pt x="146" y="244"/>
                  </a:cubicBezTo>
                  <a:cubicBezTo>
                    <a:pt x="144" y="247"/>
                    <a:pt x="142" y="251"/>
                    <a:pt x="141" y="255"/>
                  </a:cubicBezTo>
                  <a:cubicBezTo>
                    <a:pt x="132" y="249"/>
                    <a:pt x="129" y="242"/>
                    <a:pt x="133" y="226"/>
                  </a:cubicBezTo>
                  <a:cubicBezTo>
                    <a:pt x="131" y="226"/>
                    <a:pt x="129" y="226"/>
                    <a:pt x="128" y="226"/>
                  </a:cubicBezTo>
                  <a:cubicBezTo>
                    <a:pt x="124" y="227"/>
                    <a:pt x="125" y="233"/>
                    <a:pt x="128" y="233"/>
                  </a:cubicBezTo>
                  <a:cubicBezTo>
                    <a:pt x="127" y="237"/>
                    <a:pt x="124" y="236"/>
                    <a:pt x="122" y="237"/>
                  </a:cubicBezTo>
                  <a:cubicBezTo>
                    <a:pt x="125" y="249"/>
                    <a:pt x="122" y="245"/>
                    <a:pt x="122" y="259"/>
                  </a:cubicBezTo>
                  <a:cubicBezTo>
                    <a:pt x="118" y="256"/>
                    <a:pt x="118" y="247"/>
                    <a:pt x="117" y="241"/>
                  </a:cubicBezTo>
                  <a:cubicBezTo>
                    <a:pt x="112" y="242"/>
                    <a:pt x="110" y="249"/>
                    <a:pt x="103" y="248"/>
                  </a:cubicBezTo>
                  <a:cubicBezTo>
                    <a:pt x="101" y="231"/>
                    <a:pt x="108" y="240"/>
                    <a:pt x="114" y="241"/>
                  </a:cubicBezTo>
                  <a:cubicBezTo>
                    <a:pt x="116" y="231"/>
                    <a:pt x="109" y="234"/>
                    <a:pt x="106" y="230"/>
                  </a:cubicBezTo>
                  <a:cubicBezTo>
                    <a:pt x="99" y="228"/>
                    <a:pt x="103" y="243"/>
                    <a:pt x="98" y="244"/>
                  </a:cubicBezTo>
                  <a:cubicBezTo>
                    <a:pt x="84" y="246"/>
                    <a:pt x="104" y="223"/>
                    <a:pt x="87" y="230"/>
                  </a:cubicBezTo>
                  <a:cubicBezTo>
                    <a:pt x="87" y="226"/>
                    <a:pt x="88" y="226"/>
                    <a:pt x="90" y="226"/>
                  </a:cubicBezTo>
                  <a:close/>
                  <a:moveTo>
                    <a:pt x="58" y="407"/>
                  </a:moveTo>
                  <a:cubicBezTo>
                    <a:pt x="67" y="405"/>
                    <a:pt x="58" y="424"/>
                    <a:pt x="55" y="418"/>
                  </a:cubicBezTo>
                  <a:cubicBezTo>
                    <a:pt x="55" y="418"/>
                    <a:pt x="57" y="411"/>
                    <a:pt x="58" y="411"/>
                  </a:cubicBezTo>
                  <a:cubicBezTo>
                    <a:pt x="58" y="411"/>
                    <a:pt x="57" y="407"/>
                    <a:pt x="58" y="407"/>
                  </a:cubicBezTo>
                  <a:close/>
                  <a:moveTo>
                    <a:pt x="55" y="433"/>
                  </a:moveTo>
                  <a:cubicBezTo>
                    <a:pt x="54" y="425"/>
                    <a:pt x="59" y="426"/>
                    <a:pt x="63" y="426"/>
                  </a:cubicBezTo>
                  <a:cubicBezTo>
                    <a:pt x="62" y="430"/>
                    <a:pt x="60" y="433"/>
                    <a:pt x="55" y="433"/>
                  </a:cubicBezTo>
                  <a:close/>
                  <a:moveTo>
                    <a:pt x="60" y="655"/>
                  </a:moveTo>
                  <a:cubicBezTo>
                    <a:pt x="60" y="649"/>
                    <a:pt x="60" y="643"/>
                    <a:pt x="60" y="636"/>
                  </a:cubicBezTo>
                  <a:cubicBezTo>
                    <a:pt x="69" y="631"/>
                    <a:pt x="69" y="661"/>
                    <a:pt x="60" y="655"/>
                  </a:cubicBezTo>
                  <a:close/>
                  <a:moveTo>
                    <a:pt x="71" y="244"/>
                  </a:moveTo>
                  <a:cubicBezTo>
                    <a:pt x="75" y="239"/>
                    <a:pt x="75" y="230"/>
                    <a:pt x="66" y="233"/>
                  </a:cubicBezTo>
                  <a:cubicBezTo>
                    <a:pt x="68" y="228"/>
                    <a:pt x="73" y="226"/>
                    <a:pt x="74" y="218"/>
                  </a:cubicBezTo>
                  <a:cubicBezTo>
                    <a:pt x="77" y="218"/>
                    <a:pt x="75" y="224"/>
                    <a:pt x="76" y="226"/>
                  </a:cubicBezTo>
                  <a:cubicBezTo>
                    <a:pt x="80" y="233"/>
                    <a:pt x="89" y="230"/>
                    <a:pt x="90" y="241"/>
                  </a:cubicBezTo>
                  <a:cubicBezTo>
                    <a:pt x="88" y="233"/>
                    <a:pt x="80" y="243"/>
                    <a:pt x="79" y="237"/>
                  </a:cubicBezTo>
                  <a:cubicBezTo>
                    <a:pt x="76" y="239"/>
                    <a:pt x="76" y="246"/>
                    <a:pt x="71" y="244"/>
                  </a:cubicBezTo>
                  <a:close/>
                  <a:moveTo>
                    <a:pt x="93" y="721"/>
                  </a:moveTo>
                  <a:cubicBezTo>
                    <a:pt x="93" y="712"/>
                    <a:pt x="87" y="712"/>
                    <a:pt x="82" y="710"/>
                  </a:cubicBezTo>
                  <a:cubicBezTo>
                    <a:pt x="83" y="703"/>
                    <a:pt x="92" y="707"/>
                    <a:pt x="90" y="696"/>
                  </a:cubicBezTo>
                  <a:cubicBezTo>
                    <a:pt x="93" y="700"/>
                    <a:pt x="99" y="700"/>
                    <a:pt x="106" y="699"/>
                  </a:cubicBezTo>
                  <a:cubicBezTo>
                    <a:pt x="106" y="714"/>
                    <a:pt x="102" y="721"/>
                    <a:pt x="93" y="721"/>
                  </a:cubicBezTo>
                  <a:close/>
                  <a:moveTo>
                    <a:pt x="106" y="692"/>
                  </a:moveTo>
                  <a:cubicBezTo>
                    <a:pt x="104" y="692"/>
                    <a:pt x="102" y="692"/>
                    <a:pt x="101" y="692"/>
                  </a:cubicBezTo>
                  <a:cubicBezTo>
                    <a:pt x="101" y="689"/>
                    <a:pt x="101" y="687"/>
                    <a:pt x="101" y="684"/>
                  </a:cubicBezTo>
                  <a:cubicBezTo>
                    <a:pt x="102" y="684"/>
                    <a:pt x="104" y="684"/>
                    <a:pt x="106" y="684"/>
                  </a:cubicBezTo>
                  <a:cubicBezTo>
                    <a:pt x="106" y="687"/>
                    <a:pt x="106" y="689"/>
                    <a:pt x="106" y="692"/>
                  </a:cubicBezTo>
                  <a:close/>
                  <a:moveTo>
                    <a:pt x="109" y="677"/>
                  </a:moveTo>
                  <a:cubicBezTo>
                    <a:pt x="101" y="677"/>
                    <a:pt x="98" y="669"/>
                    <a:pt x="93" y="666"/>
                  </a:cubicBezTo>
                  <a:cubicBezTo>
                    <a:pt x="92" y="672"/>
                    <a:pt x="95" y="673"/>
                    <a:pt x="98" y="673"/>
                  </a:cubicBezTo>
                  <a:cubicBezTo>
                    <a:pt x="95" y="685"/>
                    <a:pt x="86" y="673"/>
                    <a:pt x="90" y="662"/>
                  </a:cubicBezTo>
                  <a:cubicBezTo>
                    <a:pt x="82" y="663"/>
                    <a:pt x="83" y="678"/>
                    <a:pt x="79" y="655"/>
                  </a:cubicBezTo>
                  <a:cubicBezTo>
                    <a:pt x="87" y="665"/>
                    <a:pt x="97" y="649"/>
                    <a:pt x="101" y="662"/>
                  </a:cubicBezTo>
                  <a:cubicBezTo>
                    <a:pt x="103" y="662"/>
                    <a:pt x="103" y="659"/>
                    <a:pt x="106" y="659"/>
                  </a:cubicBezTo>
                  <a:cubicBezTo>
                    <a:pt x="106" y="652"/>
                    <a:pt x="97" y="656"/>
                    <a:pt x="95" y="651"/>
                  </a:cubicBezTo>
                  <a:cubicBezTo>
                    <a:pt x="97" y="649"/>
                    <a:pt x="106" y="640"/>
                    <a:pt x="98" y="636"/>
                  </a:cubicBezTo>
                  <a:cubicBezTo>
                    <a:pt x="96" y="634"/>
                    <a:pt x="105" y="634"/>
                    <a:pt x="106" y="636"/>
                  </a:cubicBezTo>
                  <a:cubicBezTo>
                    <a:pt x="107" y="637"/>
                    <a:pt x="105" y="643"/>
                    <a:pt x="106" y="644"/>
                  </a:cubicBezTo>
                  <a:cubicBezTo>
                    <a:pt x="108" y="645"/>
                    <a:pt x="112" y="643"/>
                    <a:pt x="114" y="644"/>
                  </a:cubicBezTo>
                  <a:cubicBezTo>
                    <a:pt x="115" y="648"/>
                    <a:pt x="109" y="646"/>
                    <a:pt x="109" y="648"/>
                  </a:cubicBezTo>
                  <a:cubicBezTo>
                    <a:pt x="106" y="657"/>
                    <a:pt x="115" y="669"/>
                    <a:pt x="109" y="677"/>
                  </a:cubicBezTo>
                  <a:close/>
                  <a:moveTo>
                    <a:pt x="163" y="736"/>
                  </a:moveTo>
                  <a:cubicBezTo>
                    <a:pt x="160" y="749"/>
                    <a:pt x="157" y="732"/>
                    <a:pt x="154" y="733"/>
                  </a:cubicBezTo>
                  <a:cubicBezTo>
                    <a:pt x="150" y="739"/>
                    <a:pt x="155" y="742"/>
                    <a:pt x="152" y="755"/>
                  </a:cubicBezTo>
                  <a:cubicBezTo>
                    <a:pt x="149" y="755"/>
                    <a:pt x="150" y="750"/>
                    <a:pt x="149" y="747"/>
                  </a:cubicBezTo>
                  <a:cubicBezTo>
                    <a:pt x="149" y="739"/>
                    <a:pt x="144" y="737"/>
                    <a:pt x="146" y="725"/>
                  </a:cubicBezTo>
                  <a:cubicBezTo>
                    <a:pt x="149" y="726"/>
                    <a:pt x="151" y="724"/>
                    <a:pt x="152" y="721"/>
                  </a:cubicBezTo>
                  <a:cubicBezTo>
                    <a:pt x="156" y="726"/>
                    <a:pt x="158" y="732"/>
                    <a:pt x="163" y="736"/>
                  </a:cubicBezTo>
                  <a:close/>
                  <a:moveTo>
                    <a:pt x="173" y="688"/>
                  </a:moveTo>
                  <a:cubicBezTo>
                    <a:pt x="172" y="693"/>
                    <a:pt x="170" y="696"/>
                    <a:pt x="165" y="696"/>
                  </a:cubicBezTo>
                  <a:cubicBezTo>
                    <a:pt x="159" y="695"/>
                    <a:pt x="161" y="690"/>
                    <a:pt x="157" y="688"/>
                  </a:cubicBezTo>
                  <a:cubicBezTo>
                    <a:pt x="153" y="690"/>
                    <a:pt x="158" y="693"/>
                    <a:pt x="157" y="699"/>
                  </a:cubicBezTo>
                  <a:cubicBezTo>
                    <a:pt x="148" y="700"/>
                    <a:pt x="151" y="685"/>
                    <a:pt x="144" y="684"/>
                  </a:cubicBezTo>
                  <a:cubicBezTo>
                    <a:pt x="135" y="692"/>
                    <a:pt x="148" y="702"/>
                    <a:pt x="154" y="703"/>
                  </a:cubicBezTo>
                  <a:cubicBezTo>
                    <a:pt x="153" y="706"/>
                    <a:pt x="151" y="710"/>
                    <a:pt x="154" y="710"/>
                  </a:cubicBezTo>
                  <a:cubicBezTo>
                    <a:pt x="153" y="721"/>
                    <a:pt x="149" y="707"/>
                    <a:pt x="144" y="710"/>
                  </a:cubicBezTo>
                  <a:cubicBezTo>
                    <a:pt x="140" y="711"/>
                    <a:pt x="146" y="729"/>
                    <a:pt x="144" y="740"/>
                  </a:cubicBezTo>
                  <a:cubicBezTo>
                    <a:pt x="135" y="736"/>
                    <a:pt x="139" y="748"/>
                    <a:pt x="138" y="755"/>
                  </a:cubicBezTo>
                  <a:cubicBezTo>
                    <a:pt x="136" y="766"/>
                    <a:pt x="135" y="748"/>
                    <a:pt x="135" y="744"/>
                  </a:cubicBezTo>
                  <a:cubicBezTo>
                    <a:pt x="134" y="735"/>
                    <a:pt x="140" y="736"/>
                    <a:pt x="138" y="725"/>
                  </a:cubicBezTo>
                  <a:cubicBezTo>
                    <a:pt x="126" y="722"/>
                    <a:pt x="142" y="735"/>
                    <a:pt x="130" y="733"/>
                  </a:cubicBezTo>
                  <a:cubicBezTo>
                    <a:pt x="129" y="723"/>
                    <a:pt x="131" y="719"/>
                    <a:pt x="138" y="721"/>
                  </a:cubicBezTo>
                  <a:cubicBezTo>
                    <a:pt x="138" y="712"/>
                    <a:pt x="138" y="704"/>
                    <a:pt x="144" y="703"/>
                  </a:cubicBezTo>
                  <a:cubicBezTo>
                    <a:pt x="140" y="696"/>
                    <a:pt x="130" y="700"/>
                    <a:pt x="125" y="696"/>
                  </a:cubicBezTo>
                  <a:cubicBezTo>
                    <a:pt x="119" y="698"/>
                    <a:pt x="122" y="718"/>
                    <a:pt x="130" y="714"/>
                  </a:cubicBezTo>
                  <a:cubicBezTo>
                    <a:pt x="129" y="719"/>
                    <a:pt x="127" y="722"/>
                    <a:pt x="122" y="721"/>
                  </a:cubicBezTo>
                  <a:cubicBezTo>
                    <a:pt x="123" y="729"/>
                    <a:pt x="118" y="729"/>
                    <a:pt x="114" y="729"/>
                  </a:cubicBezTo>
                  <a:cubicBezTo>
                    <a:pt x="115" y="694"/>
                    <a:pt x="115" y="674"/>
                    <a:pt x="117" y="644"/>
                  </a:cubicBezTo>
                  <a:cubicBezTo>
                    <a:pt x="128" y="642"/>
                    <a:pt x="124" y="657"/>
                    <a:pt x="119" y="662"/>
                  </a:cubicBezTo>
                  <a:cubicBezTo>
                    <a:pt x="122" y="673"/>
                    <a:pt x="123" y="654"/>
                    <a:pt x="130" y="659"/>
                  </a:cubicBezTo>
                  <a:cubicBezTo>
                    <a:pt x="132" y="670"/>
                    <a:pt x="127" y="672"/>
                    <a:pt x="128" y="681"/>
                  </a:cubicBezTo>
                  <a:cubicBezTo>
                    <a:pt x="123" y="679"/>
                    <a:pt x="122" y="684"/>
                    <a:pt x="122" y="688"/>
                  </a:cubicBezTo>
                  <a:cubicBezTo>
                    <a:pt x="132" y="706"/>
                    <a:pt x="130" y="664"/>
                    <a:pt x="138" y="677"/>
                  </a:cubicBezTo>
                  <a:cubicBezTo>
                    <a:pt x="139" y="670"/>
                    <a:pt x="135" y="669"/>
                    <a:pt x="135" y="662"/>
                  </a:cubicBezTo>
                  <a:cubicBezTo>
                    <a:pt x="135" y="652"/>
                    <a:pt x="127" y="654"/>
                    <a:pt x="128" y="644"/>
                  </a:cubicBezTo>
                  <a:cubicBezTo>
                    <a:pt x="133" y="637"/>
                    <a:pt x="132" y="646"/>
                    <a:pt x="141" y="644"/>
                  </a:cubicBezTo>
                  <a:cubicBezTo>
                    <a:pt x="141" y="651"/>
                    <a:pt x="141" y="659"/>
                    <a:pt x="141" y="666"/>
                  </a:cubicBezTo>
                  <a:cubicBezTo>
                    <a:pt x="149" y="669"/>
                    <a:pt x="144" y="653"/>
                    <a:pt x="154" y="659"/>
                  </a:cubicBezTo>
                  <a:cubicBezTo>
                    <a:pt x="153" y="654"/>
                    <a:pt x="151" y="651"/>
                    <a:pt x="146" y="651"/>
                  </a:cubicBezTo>
                  <a:cubicBezTo>
                    <a:pt x="146" y="645"/>
                    <a:pt x="151" y="642"/>
                    <a:pt x="146" y="640"/>
                  </a:cubicBezTo>
                  <a:cubicBezTo>
                    <a:pt x="152" y="634"/>
                    <a:pt x="150" y="637"/>
                    <a:pt x="149" y="618"/>
                  </a:cubicBezTo>
                  <a:cubicBezTo>
                    <a:pt x="153" y="618"/>
                    <a:pt x="156" y="618"/>
                    <a:pt x="160" y="618"/>
                  </a:cubicBezTo>
                  <a:cubicBezTo>
                    <a:pt x="158" y="623"/>
                    <a:pt x="156" y="627"/>
                    <a:pt x="154" y="633"/>
                  </a:cubicBezTo>
                  <a:cubicBezTo>
                    <a:pt x="158" y="638"/>
                    <a:pt x="165" y="640"/>
                    <a:pt x="163" y="655"/>
                  </a:cubicBezTo>
                  <a:cubicBezTo>
                    <a:pt x="159" y="654"/>
                    <a:pt x="161" y="648"/>
                    <a:pt x="157" y="648"/>
                  </a:cubicBezTo>
                  <a:cubicBezTo>
                    <a:pt x="151" y="652"/>
                    <a:pt x="160" y="668"/>
                    <a:pt x="160" y="677"/>
                  </a:cubicBezTo>
                  <a:cubicBezTo>
                    <a:pt x="157" y="677"/>
                    <a:pt x="155" y="678"/>
                    <a:pt x="154" y="681"/>
                  </a:cubicBezTo>
                  <a:cubicBezTo>
                    <a:pt x="159" y="694"/>
                    <a:pt x="166" y="679"/>
                    <a:pt x="173" y="688"/>
                  </a:cubicBezTo>
                  <a:close/>
                  <a:moveTo>
                    <a:pt x="173" y="648"/>
                  </a:moveTo>
                  <a:cubicBezTo>
                    <a:pt x="170" y="648"/>
                    <a:pt x="172" y="643"/>
                    <a:pt x="170" y="640"/>
                  </a:cubicBezTo>
                  <a:cubicBezTo>
                    <a:pt x="168" y="633"/>
                    <a:pt x="164" y="631"/>
                    <a:pt x="168" y="625"/>
                  </a:cubicBezTo>
                  <a:cubicBezTo>
                    <a:pt x="175" y="630"/>
                    <a:pt x="176" y="637"/>
                    <a:pt x="173" y="648"/>
                  </a:cubicBezTo>
                  <a:close/>
                  <a:moveTo>
                    <a:pt x="189" y="577"/>
                  </a:moveTo>
                  <a:cubicBezTo>
                    <a:pt x="185" y="575"/>
                    <a:pt x="183" y="572"/>
                    <a:pt x="179" y="570"/>
                  </a:cubicBezTo>
                  <a:cubicBezTo>
                    <a:pt x="173" y="587"/>
                    <a:pt x="189" y="575"/>
                    <a:pt x="187" y="588"/>
                  </a:cubicBezTo>
                  <a:cubicBezTo>
                    <a:pt x="182" y="592"/>
                    <a:pt x="178" y="577"/>
                    <a:pt x="176" y="588"/>
                  </a:cubicBezTo>
                  <a:cubicBezTo>
                    <a:pt x="169" y="584"/>
                    <a:pt x="176" y="569"/>
                    <a:pt x="176" y="562"/>
                  </a:cubicBezTo>
                  <a:cubicBezTo>
                    <a:pt x="176" y="556"/>
                    <a:pt x="174" y="550"/>
                    <a:pt x="170" y="548"/>
                  </a:cubicBezTo>
                  <a:cubicBezTo>
                    <a:pt x="163" y="553"/>
                    <a:pt x="173" y="552"/>
                    <a:pt x="173" y="562"/>
                  </a:cubicBezTo>
                  <a:cubicBezTo>
                    <a:pt x="173" y="563"/>
                    <a:pt x="168" y="562"/>
                    <a:pt x="168" y="562"/>
                  </a:cubicBezTo>
                  <a:cubicBezTo>
                    <a:pt x="166" y="567"/>
                    <a:pt x="171" y="583"/>
                    <a:pt x="168" y="588"/>
                  </a:cubicBezTo>
                  <a:cubicBezTo>
                    <a:pt x="166" y="588"/>
                    <a:pt x="165" y="585"/>
                    <a:pt x="163" y="585"/>
                  </a:cubicBezTo>
                  <a:cubicBezTo>
                    <a:pt x="164" y="596"/>
                    <a:pt x="159" y="599"/>
                    <a:pt x="157" y="607"/>
                  </a:cubicBezTo>
                  <a:cubicBezTo>
                    <a:pt x="160" y="617"/>
                    <a:pt x="182" y="602"/>
                    <a:pt x="179" y="622"/>
                  </a:cubicBezTo>
                  <a:cubicBezTo>
                    <a:pt x="164" y="624"/>
                    <a:pt x="163" y="609"/>
                    <a:pt x="149" y="611"/>
                  </a:cubicBezTo>
                  <a:cubicBezTo>
                    <a:pt x="143" y="611"/>
                    <a:pt x="143" y="620"/>
                    <a:pt x="144" y="629"/>
                  </a:cubicBezTo>
                  <a:cubicBezTo>
                    <a:pt x="138" y="629"/>
                    <a:pt x="140" y="619"/>
                    <a:pt x="133" y="622"/>
                  </a:cubicBezTo>
                  <a:cubicBezTo>
                    <a:pt x="133" y="616"/>
                    <a:pt x="134" y="608"/>
                    <a:pt x="130" y="607"/>
                  </a:cubicBezTo>
                  <a:cubicBezTo>
                    <a:pt x="131" y="601"/>
                    <a:pt x="138" y="606"/>
                    <a:pt x="138" y="599"/>
                  </a:cubicBezTo>
                  <a:cubicBezTo>
                    <a:pt x="137" y="584"/>
                    <a:pt x="128" y="591"/>
                    <a:pt x="119" y="592"/>
                  </a:cubicBezTo>
                  <a:cubicBezTo>
                    <a:pt x="120" y="569"/>
                    <a:pt x="146" y="603"/>
                    <a:pt x="141" y="577"/>
                  </a:cubicBezTo>
                  <a:cubicBezTo>
                    <a:pt x="146" y="578"/>
                    <a:pt x="147" y="584"/>
                    <a:pt x="146" y="592"/>
                  </a:cubicBezTo>
                  <a:cubicBezTo>
                    <a:pt x="150" y="592"/>
                    <a:pt x="153" y="592"/>
                    <a:pt x="157" y="592"/>
                  </a:cubicBezTo>
                  <a:cubicBezTo>
                    <a:pt x="159" y="579"/>
                    <a:pt x="147" y="586"/>
                    <a:pt x="146" y="577"/>
                  </a:cubicBezTo>
                  <a:cubicBezTo>
                    <a:pt x="145" y="566"/>
                    <a:pt x="155" y="570"/>
                    <a:pt x="160" y="566"/>
                  </a:cubicBezTo>
                  <a:cubicBezTo>
                    <a:pt x="160" y="570"/>
                    <a:pt x="160" y="574"/>
                    <a:pt x="160" y="577"/>
                  </a:cubicBezTo>
                  <a:cubicBezTo>
                    <a:pt x="163" y="577"/>
                    <a:pt x="162" y="573"/>
                    <a:pt x="163" y="570"/>
                  </a:cubicBezTo>
                  <a:cubicBezTo>
                    <a:pt x="164" y="566"/>
                    <a:pt x="164" y="563"/>
                    <a:pt x="165" y="551"/>
                  </a:cubicBezTo>
                  <a:cubicBezTo>
                    <a:pt x="165" y="550"/>
                    <a:pt x="165" y="545"/>
                    <a:pt x="165" y="544"/>
                  </a:cubicBezTo>
                  <a:cubicBezTo>
                    <a:pt x="170" y="539"/>
                    <a:pt x="162" y="533"/>
                    <a:pt x="168" y="525"/>
                  </a:cubicBezTo>
                  <a:cubicBezTo>
                    <a:pt x="169" y="516"/>
                    <a:pt x="153" y="529"/>
                    <a:pt x="157" y="514"/>
                  </a:cubicBezTo>
                  <a:cubicBezTo>
                    <a:pt x="152" y="514"/>
                    <a:pt x="151" y="519"/>
                    <a:pt x="146" y="518"/>
                  </a:cubicBezTo>
                  <a:cubicBezTo>
                    <a:pt x="144" y="510"/>
                    <a:pt x="141" y="504"/>
                    <a:pt x="141" y="492"/>
                  </a:cubicBezTo>
                  <a:cubicBezTo>
                    <a:pt x="143" y="495"/>
                    <a:pt x="145" y="499"/>
                    <a:pt x="146" y="503"/>
                  </a:cubicBezTo>
                  <a:cubicBezTo>
                    <a:pt x="157" y="503"/>
                    <a:pt x="143" y="482"/>
                    <a:pt x="154" y="492"/>
                  </a:cubicBezTo>
                  <a:cubicBezTo>
                    <a:pt x="155" y="482"/>
                    <a:pt x="148" y="482"/>
                    <a:pt x="141" y="481"/>
                  </a:cubicBezTo>
                  <a:cubicBezTo>
                    <a:pt x="136" y="456"/>
                    <a:pt x="158" y="468"/>
                    <a:pt x="157" y="448"/>
                  </a:cubicBezTo>
                  <a:cubicBezTo>
                    <a:pt x="162" y="447"/>
                    <a:pt x="163" y="452"/>
                    <a:pt x="168" y="452"/>
                  </a:cubicBezTo>
                  <a:cubicBezTo>
                    <a:pt x="175" y="453"/>
                    <a:pt x="166" y="431"/>
                    <a:pt x="173" y="433"/>
                  </a:cubicBezTo>
                  <a:cubicBezTo>
                    <a:pt x="186" y="433"/>
                    <a:pt x="171" y="442"/>
                    <a:pt x="179" y="444"/>
                  </a:cubicBezTo>
                  <a:cubicBezTo>
                    <a:pt x="180" y="445"/>
                    <a:pt x="183" y="443"/>
                    <a:pt x="184" y="444"/>
                  </a:cubicBezTo>
                  <a:cubicBezTo>
                    <a:pt x="189" y="449"/>
                    <a:pt x="186" y="458"/>
                    <a:pt x="192" y="463"/>
                  </a:cubicBezTo>
                  <a:cubicBezTo>
                    <a:pt x="185" y="475"/>
                    <a:pt x="186" y="447"/>
                    <a:pt x="179" y="448"/>
                  </a:cubicBezTo>
                  <a:cubicBezTo>
                    <a:pt x="176" y="448"/>
                    <a:pt x="177" y="452"/>
                    <a:pt x="176" y="455"/>
                  </a:cubicBezTo>
                  <a:cubicBezTo>
                    <a:pt x="170" y="455"/>
                    <a:pt x="165" y="455"/>
                    <a:pt x="160" y="455"/>
                  </a:cubicBezTo>
                  <a:cubicBezTo>
                    <a:pt x="157" y="458"/>
                    <a:pt x="157" y="464"/>
                    <a:pt x="152" y="463"/>
                  </a:cubicBezTo>
                  <a:cubicBezTo>
                    <a:pt x="157" y="470"/>
                    <a:pt x="157" y="466"/>
                    <a:pt x="154" y="477"/>
                  </a:cubicBezTo>
                  <a:cubicBezTo>
                    <a:pt x="161" y="477"/>
                    <a:pt x="159" y="464"/>
                    <a:pt x="163" y="459"/>
                  </a:cubicBezTo>
                  <a:cubicBezTo>
                    <a:pt x="168" y="452"/>
                    <a:pt x="171" y="466"/>
                    <a:pt x="173" y="466"/>
                  </a:cubicBezTo>
                  <a:cubicBezTo>
                    <a:pt x="177" y="467"/>
                    <a:pt x="179" y="455"/>
                    <a:pt x="184" y="463"/>
                  </a:cubicBezTo>
                  <a:cubicBezTo>
                    <a:pt x="186" y="474"/>
                    <a:pt x="181" y="476"/>
                    <a:pt x="181" y="485"/>
                  </a:cubicBezTo>
                  <a:cubicBezTo>
                    <a:pt x="188" y="482"/>
                    <a:pt x="201" y="475"/>
                    <a:pt x="200" y="492"/>
                  </a:cubicBezTo>
                  <a:cubicBezTo>
                    <a:pt x="188" y="487"/>
                    <a:pt x="193" y="505"/>
                    <a:pt x="184" y="503"/>
                  </a:cubicBezTo>
                  <a:cubicBezTo>
                    <a:pt x="184" y="500"/>
                    <a:pt x="184" y="496"/>
                    <a:pt x="184" y="492"/>
                  </a:cubicBezTo>
                  <a:cubicBezTo>
                    <a:pt x="180" y="493"/>
                    <a:pt x="183" y="503"/>
                    <a:pt x="179" y="503"/>
                  </a:cubicBezTo>
                  <a:cubicBezTo>
                    <a:pt x="179" y="514"/>
                    <a:pt x="191" y="508"/>
                    <a:pt x="195" y="514"/>
                  </a:cubicBezTo>
                  <a:cubicBezTo>
                    <a:pt x="194" y="519"/>
                    <a:pt x="190" y="518"/>
                    <a:pt x="187" y="518"/>
                  </a:cubicBezTo>
                  <a:cubicBezTo>
                    <a:pt x="187" y="525"/>
                    <a:pt x="187" y="533"/>
                    <a:pt x="187" y="540"/>
                  </a:cubicBezTo>
                  <a:cubicBezTo>
                    <a:pt x="174" y="544"/>
                    <a:pt x="191" y="528"/>
                    <a:pt x="181" y="525"/>
                  </a:cubicBezTo>
                  <a:cubicBezTo>
                    <a:pt x="177" y="529"/>
                    <a:pt x="178" y="541"/>
                    <a:pt x="176" y="548"/>
                  </a:cubicBezTo>
                  <a:cubicBezTo>
                    <a:pt x="174" y="558"/>
                    <a:pt x="181" y="555"/>
                    <a:pt x="181" y="562"/>
                  </a:cubicBezTo>
                  <a:cubicBezTo>
                    <a:pt x="180" y="572"/>
                    <a:pt x="192" y="565"/>
                    <a:pt x="189" y="577"/>
                  </a:cubicBezTo>
                  <a:close/>
                  <a:moveTo>
                    <a:pt x="168" y="607"/>
                  </a:moveTo>
                  <a:cubicBezTo>
                    <a:pt x="160" y="604"/>
                    <a:pt x="165" y="601"/>
                    <a:pt x="165" y="592"/>
                  </a:cubicBezTo>
                  <a:cubicBezTo>
                    <a:pt x="168" y="593"/>
                    <a:pt x="167" y="599"/>
                    <a:pt x="170" y="599"/>
                  </a:cubicBezTo>
                  <a:cubicBezTo>
                    <a:pt x="176" y="599"/>
                    <a:pt x="168" y="604"/>
                    <a:pt x="168" y="607"/>
                  </a:cubicBezTo>
                  <a:close/>
                  <a:moveTo>
                    <a:pt x="149" y="525"/>
                  </a:moveTo>
                  <a:cubicBezTo>
                    <a:pt x="152" y="525"/>
                    <a:pt x="154" y="525"/>
                    <a:pt x="157" y="525"/>
                  </a:cubicBezTo>
                  <a:cubicBezTo>
                    <a:pt x="162" y="532"/>
                    <a:pt x="159" y="547"/>
                    <a:pt x="160" y="559"/>
                  </a:cubicBezTo>
                  <a:cubicBezTo>
                    <a:pt x="151" y="556"/>
                    <a:pt x="148" y="551"/>
                    <a:pt x="152" y="566"/>
                  </a:cubicBezTo>
                  <a:cubicBezTo>
                    <a:pt x="137" y="563"/>
                    <a:pt x="147" y="547"/>
                    <a:pt x="149" y="537"/>
                  </a:cubicBezTo>
                  <a:cubicBezTo>
                    <a:pt x="150" y="533"/>
                    <a:pt x="145" y="530"/>
                    <a:pt x="149" y="525"/>
                  </a:cubicBezTo>
                  <a:close/>
                  <a:moveTo>
                    <a:pt x="189" y="566"/>
                  </a:moveTo>
                  <a:cubicBezTo>
                    <a:pt x="185" y="563"/>
                    <a:pt x="181" y="561"/>
                    <a:pt x="181" y="551"/>
                  </a:cubicBezTo>
                  <a:cubicBezTo>
                    <a:pt x="183" y="554"/>
                    <a:pt x="189" y="557"/>
                    <a:pt x="189" y="551"/>
                  </a:cubicBezTo>
                  <a:cubicBezTo>
                    <a:pt x="196" y="552"/>
                    <a:pt x="190" y="564"/>
                    <a:pt x="189" y="566"/>
                  </a:cubicBezTo>
                  <a:close/>
                  <a:moveTo>
                    <a:pt x="195" y="548"/>
                  </a:moveTo>
                  <a:cubicBezTo>
                    <a:pt x="187" y="544"/>
                    <a:pt x="198" y="536"/>
                    <a:pt x="195" y="525"/>
                  </a:cubicBezTo>
                  <a:cubicBezTo>
                    <a:pt x="201" y="533"/>
                    <a:pt x="200" y="541"/>
                    <a:pt x="195" y="548"/>
                  </a:cubicBezTo>
                  <a:close/>
                  <a:moveTo>
                    <a:pt x="205" y="525"/>
                  </a:moveTo>
                  <a:cubicBezTo>
                    <a:pt x="202" y="525"/>
                    <a:pt x="205" y="514"/>
                    <a:pt x="200" y="514"/>
                  </a:cubicBezTo>
                  <a:cubicBezTo>
                    <a:pt x="200" y="511"/>
                    <a:pt x="201" y="511"/>
                    <a:pt x="203" y="511"/>
                  </a:cubicBezTo>
                  <a:cubicBezTo>
                    <a:pt x="205" y="511"/>
                    <a:pt x="206" y="511"/>
                    <a:pt x="208" y="511"/>
                  </a:cubicBezTo>
                  <a:cubicBezTo>
                    <a:pt x="208" y="517"/>
                    <a:pt x="205" y="519"/>
                    <a:pt x="205" y="525"/>
                  </a:cubicBezTo>
                  <a:close/>
                  <a:moveTo>
                    <a:pt x="208" y="285"/>
                  </a:moveTo>
                  <a:cubicBezTo>
                    <a:pt x="201" y="280"/>
                    <a:pt x="216" y="258"/>
                    <a:pt x="208" y="285"/>
                  </a:cubicBezTo>
                  <a:close/>
                  <a:moveTo>
                    <a:pt x="458" y="803"/>
                  </a:moveTo>
                  <a:cubicBezTo>
                    <a:pt x="458" y="809"/>
                    <a:pt x="442" y="796"/>
                    <a:pt x="445" y="814"/>
                  </a:cubicBezTo>
                  <a:cubicBezTo>
                    <a:pt x="440" y="822"/>
                    <a:pt x="445" y="790"/>
                    <a:pt x="447" y="784"/>
                  </a:cubicBezTo>
                  <a:cubicBezTo>
                    <a:pt x="456" y="788"/>
                    <a:pt x="447" y="799"/>
                    <a:pt x="458" y="803"/>
                  </a:cubicBezTo>
                  <a:close/>
                  <a:moveTo>
                    <a:pt x="453" y="655"/>
                  </a:moveTo>
                  <a:cubicBezTo>
                    <a:pt x="457" y="642"/>
                    <a:pt x="458" y="662"/>
                    <a:pt x="456" y="662"/>
                  </a:cubicBezTo>
                  <a:cubicBezTo>
                    <a:pt x="454" y="663"/>
                    <a:pt x="452" y="657"/>
                    <a:pt x="453" y="655"/>
                  </a:cubicBezTo>
                  <a:close/>
                  <a:moveTo>
                    <a:pt x="447" y="648"/>
                  </a:moveTo>
                  <a:cubicBezTo>
                    <a:pt x="455" y="651"/>
                    <a:pt x="446" y="659"/>
                    <a:pt x="447" y="666"/>
                  </a:cubicBezTo>
                  <a:cubicBezTo>
                    <a:pt x="448" y="670"/>
                    <a:pt x="451" y="669"/>
                    <a:pt x="453" y="670"/>
                  </a:cubicBezTo>
                  <a:cubicBezTo>
                    <a:pt x="452" y="679"/>
                    <a:pt x="444" y="671"/>
                    <a:pt x="442" y="670"/>
                  </a:cubicBezTo>
                  <a:cubicBezTo>
                    <a:pt x="439" y="670"/>
                    <a:pt x="440" y="674"/>
                    <a:pt x="439" y="677"/>
                  </a:cubicBezTo>
                  <a:cubicBezTo>
                    <a:pt x="435" y="677"/>
                    <a:pt x="430" y="677"/>
                    <a:pt x="426" y="677"/>
                  </a:cubicBezTo>
                  <a:cubicBezTo>
                    <a:pt x="427" y="671"/>
                    <a:pt x="434" y="674"/>
                    <a:pt x="431" y="662"/>
                  </a:cubicBezTo>
                  <a:cubicBezTo>
                    <a:pt x="434" y="665"/>
                    <a:pt x="437" y="666"/>
                    <a:pt x="442" y="666"/>
                  </a:cubicBezTo>
                  <a:cubicBezTo>
                    <a:pt x="448" y="665"/>
                    <a:pt x="443" y="650"/>
                    <a:pt x="447" y="648"/>
                  </a:cubicBezTo>
                  <a:close/>
                  <a:moveTo>
                    <a:pt x="423" y="799"/>
                  </a:moveTo>
                  <a:cubicBezTo>
                    <a:pt x="418" y="798"/>
                    <a:pt x="410" y="807"/>
                    <a:pt x="410" y="792"/>
                  </a:cubicBezTo>
                  <a:cubicBezTo>
                    <a:pt x="404" y="793"/>
                    <a:pt x="401" y="791"/>
                    <a:pt x="402" y="784"/>
                  </a:cubicBezTo>
                  <a:cubicBezTo>
                    <a:pt x="399" y="784"/>
                    <a:pt x="400" y="789"/>
                    <a:pt x="399" y="792"/>
                  </a:cubicBezTo>
                  <a:cubicBezTo>
                    <a:pt x="392" y="787"/>
                    <a:pt x="399" y="772"/>
                    <a:pt x="407" y="777"/>
                  </a:cubicBezTo>
                  <a:cubicBezTo>
                    <a:pt x="407" y="782"/>
                    <a:pt x="407" y="787"/>
                    <a:pt x="410" y="788"/>
                  </a:cubicBezTo>
                  <a:cubicBezTo>
                    <a:pt x="416" y="783"/>
                    <a:pt x="408" y="780"/>
                    <a:pt x="412" y="773"/>
                  </a:cubicBezTo>
                  <a:cubicBezTo>
                    <a:pt x="415" y="770"/>
                    <a:pt x="407" y="761"/>
                    <a:pt x="410" y="751"/>
                  </a:cubicBezTo>
                  <a:cubicBezTo>
                    <a:pt x="412" y="750"/>
                    <a:pt x="412" y="753"/>
                    <a:pt x="412" y="755"/>
                  </a:cubicBezTo>
                  <a:cubicBezTo>
                    <a:pt x="413" y="759"/>
                    <a:pt x="415" y="757"/>
                    <a:pt x="415" y="755"/>
                  </a:cubicBezTo>
                  <a:cubicBezTo>
                    <a:pt x="419" y="756"/>
                    <a:pt x="417" y="764"/>
                    <a:pt x="418" y="770"/>
                  </a:cubicBezTo>
                  <a:cubicBezTo>
                    <a:pt x="419" y="774"/>
                    <a:pt x="427" y="776"/>
                    <a:pt x="423" y="784"/>
                  </a:cubicBezTo>
                  <a:cubicBezTo>
                    <a:pt x="432" y="783"/>
                    <a:pt x="435" y="781"/>
                    <a:pt x="442" y="784"/>
                  </a:cubicBezTo>
                  <a:cubicBezTo>
                    <a:pt x="439" y="789"/>
                    <a:pt x="439" y="798"/>
                    <a:pt x="437" y="803"/>
                  </a:cubicBezTo>
                  <a:cubicBezTo>
                    <a:pt x="434" y="801"/>
                    <a:pt x="425" y="806"/>
                    <a:pt x="423" y="803"/>
                  </a:cubicBezTo>
                  <a:cubicBezTo>
                    <a:pt x="423" y="803"/>
                    <a:pt x="423" y="799"/>
                    <a:pt x="423" y="799"/>
                  </a:cubicBezTo>
                  <a:close/>
                  <a:moveTo>
                    <a:pt x="388" y="792"/>
                  </a:moveTo>
                  <a:cubicBezTo>
                    <a:pt x="385" y="790"/>
                    <a:pt x="384" y="785"/>
                    <a:pt x="380" y="784"/>
                  </a:cubicBezTo>
                  <a:cubicBezTo>
                    <a:pt x="378" y="787"/>
                    <a:pt x="378" y="793"/>
                    <a:pt x="372" y="792"/>
                  </a:cubicBezTo>
                  <a:cubicBezTo>
                    <a:pt x="376" y="787"/>
                    <a:pt x="377" y="770"/>
                    <a:pt x="370" y="770"/>
                  </a:cubicBezTo>
                  <a:cubicBezTo>
                    <a:pt x="367" y="773"/>
                    <a:pt x="364" y="777"/>
                    <a:pt x="361" y="781"/>
                  </a:cubicBezTo>
                  <a:cubicBezTo>
                    <a:pt x="356" y="779"/>
                    <a:pt x="356" y="775"/>
                    <a:pt x="359" y="770"/>
                  </a:cubicBezTo>
                  <a:cubicBezTo>
                    <a:pt x="351" y="769"/>
                    <a:pt x="353" y="776"/>
                    <a:pt x="348" y="770"/>
                  </a:cubicBezTo>
                  <a:cubicBezTo>
                    <a:pt x="349" y="765"/>
                    <a:pt x="353" y="764"/>
                    <a:pt x="353" y="759"/>
                  </a:cubicBezTo>
                  <a:cubicBezTo>
                    <a:pt x="357" y="764"/>
                    <a:pt x="359" y="770"/>
                    <a:pt x="359" y="755"/>
                  </a:cubicBezTo>
                  <a:cubicBezTo>
                    <a:pt x="367" y="752"/>
                    <a:pt x="362" y="767"/>
                    <a:pt x="370" y="766"/>
                  </a:cubicBezTo>
                  <a:cubicBezTo>
                    <a:pt x="373" y="765"/>
                    <a:pt x="373" y="755"/>
                    <a:pt x="370" y="755"/>
                  </a:cubicBezTo>
                  <a:cubicBezTo>
                    <a:pt x="373" y="750"/>
                    <a:pt x="373" y="742"/>
                    <a:pt x="372" y="733"/>
                  </a:cubicBezTo>
                  <a:cubicBezTo>
                    <a:pt x="383" y="730"/>
                    <a:pt x="373" y="757"/>
                    <a:pt x="386" y="751"/>
                  </a:cubicBezTo>
                  <a:cubicBezTo>
                    <a:pt x="383" y="755"/>
                    <a:pt x="385" y="765"/>
                    <a:pt x="378" y="762"/>
                  </a:cubicBezTo>
                  <a:cubicBezTo>
                    <a:pt x="384" y="771"/>
                    <a:pt x="380" y="772"/>
                    <a:pt x="383" y="781"/>
                  </a:cubicBezTo>
                  <a:cubicBezTo>
                    <a:pt x="386" y="778"/>
                    <a:pt x="386" y="772"/>
                    <a:pt x="391" y="773"/>
                  </a:cubicBezTo>
                  <a:cubicBezTo>
                    <a:pt x="398" y="782"/>
                    <a:pt x="387" y="780"/>
                    <a:pt x="388" y="792"/>
                  </a:cubicBezTo>
                  <a:close/>
                  <a:moveTo>
                    <a:pt x="345" y="740"/>
                  </a:moveTo>
                  <a:cubicBezTo>
                    <a:pt x="346" y="740"/>
                    <a:pt x="344" y="746"/>
                    <a:pt x="343" y="744"/>
                  </a:cubicBezTo>
                  <a:cubicBezTo>
                    <a:pt x="340" y="739"/>
                    <a:pt x="339" y="743"/>
                    <a:pt x="335" y="740"/>
                  </a:cubicBezTo>
                  <a:cubicBezTo>
                    <a:pt x="334" y="740"/>
                    <a:pt x="335" y="734"/>
                    <a:pt x="335" y="733"/>
                  </a:cubicBezTo>
                  <a:cubicBezTo>
                    <a:pt x="332" y="727"/>
                    <a:pt x="326" y="732"/>
                    <a:pt x="321" y="733"/>
                  </a:cubicBezTo>
                  <a:cubicBezTo>
                    <a:pt x="321" y="723"/>
                    <a:pt x="316" y="721"/>
                    <a:pt x="321" y="714"/>
                  </a:cubicBezTo>
                  <a:cubicBezTo>
                    <a:pt x="325" y="713"/>
                    <a:pt x="322" y="723"/>
                    <a:pt x="324" y="725"/>
                  </a:cubicBezTo>
                  <a:cubicBezTo>
                    <a:pt x="327" y="729"/>
                    <a:pt x="331" y="718"/>
                    <a:pt x="335" y="721"/>
                  </a:cubicBezTo>
                  <a:cubicBezTo>
                    <a:pt x="335" y="725"/>
                    <a:pt x="335" y="729"/>
                    <a:pt x="335" y="733"/>
                  </a:cubicBezTo>
                  <a:cubicBezTo>
                    <a:pt x="341" y="731"/>
                    <a:pt x="345" y="727"/>
                    <a:pt x="353" y="729"/>
                  </a:cubicBezTo>
                  <a:cubicBezTo>
                    <a:pt x="353" y="725"/>
                    <a:pt x="348" y="726"/>
                    <a:pt x="345" y="725"/>
                  </a:cubicBezTo>
                  <a:cubicBezTo>
                    <a:pt x="349" y="720"/>
                    <a:pt x="356" y="720"/>
                    <a:pt x="356" y="710"/>
                  </a:cubicBezTo>
                  <a:cubicBezTo>
                    <a:pt x="360" y="711"/>
                    <a:pt x="357" y="721"/>
                    <a:pt x="361" y="721"/>
                  </a:cubicBezTo>
                  <a:cubicBezTo>
                    <a:pt x="356" y="729"/>
                    <a:pt x="357" y="723"/>
                    <a:pt x="359" y="736"/>
                  </a:cubicBezTo>
                  <a:cubicBezTo>
                    <a:pt x="359" y="741"/>
                    <a:pt x="358" y="746"/>
                    <a:pt x="359" y="751"/>
                  </a:cubicBezTo>
                  <a:cubicBezTo>
                    <a:pt x="356" y="751"/>
                    <a:pt x="354" y="752"/>
                    <a:pt x="353" y="755"/>
                  </a:cubicBezTo>
                  <a:cubicBezTo>
                    <a:pt x="346" y="754"/>
                    <a:pt x="357" y="748"/>
                    <a:pt x="353" y="740"/>
                  </a:cubicBezTo>
                  <a:cubicBezTo>
                    <a:pt x="358" y="727"/>
                    <a:pt x="336" y="740"/>
                    <a:pt x="345" y="740"/>
                  </a:cubicBezTo>
                  <a:close/>
                  <a:moveTo>
                    <a:pt x="332" y="747"/>
                  </a:moveTo>
                  <a:cubicBezTo>
                    <a:pt x="337" y="748"/>
                    <a:pt x="345" y="744"/>
                    <a:pt x="343" y="755"/>
                  </a:cubicBezTo>
                  <a:cubicBezTo>
                    <a:pt x="340" y="755"/>
                    <a:pt x="340" y="753"/>
                    <a:pt x="340" y="751"/>
                  </a:cubicBezTo>
                  <a:cubicBezTo>
                    <a:pt x="337" y="751"/>
                    <a:pt x="338" y="756"/>
                    <a:pt x="337" y="759"/>
                  </a:cubicBezTo>
                  <a:cubicBezTo>
                    <a:pt x="335" y="758"/>
                    <a:pt x="335" y="755"/>
                    <a:pt x="332" y="755"/>
                  </a:cubicBezTo>
                  <a:cubicBezTo>
                    <a:pt x="332" y="752"/>
                    <a:pt x="332" y="750"/>
                    <a:pt x="332" y="747"/>
                  </a:cubicBezTo>
                  <a:close/>
                  <a:moveTo>
                    <a:pt x="326" y="744"/>
                  </a:moveTo>
                  <a:cubicBezTo>
                    <a:pt x="326" y="741"/>
                    <a:pt x="326" y="739"/>
                    <a:pt x="326" y="736"/>
                  </a:cubicBezTo>
                  <a:cubicBezTo>
                    <a:pt x="328" y="736"/>
                    <a:pt x="330" y="736"/>
                    <a:pt x="332" y="736"/>
                  </a:cubicBezTo>
                  <a:cubicBezTo>
                    <a:pt x="332" y="739"/>
                    <a:pt x="332" y="741"/>
                    <a:pt x="332" y="744"/>
                  </a:cubicBezTo>
                  <a:cubicBezTo>
                    <a:pt x="330" y="744"/>
                    <a:pt x="328" y="744"/>
                    <a:pt x="326" y="744"/>
                  </a:cubicBezTo>
                  <a:close/>
                  <a:moveTo>
                    <a:pt x="297" y="607"/>
                  </a:moveTo>
                  <a:cubicBezTo>
                    <a:pt x="296" y="598"/>
                    <a:pt x="309" y="609"/>
                    <a:pt x="305" y="596"/>
                  </a:cubicBezTo>
                  <a:cubicBezTo>
                    <a:pt x="309" y="598"/>
                    <a:pt x="312" y="601"/>
                    <a:pt x="316" y="603"/>
                  </a:cubicBezTo>
                  <a:cubicBezTo>
                    <a:pt x="317" y="607"/>
                    <a:pt x="311" y="605"/>
                    <a:pt x="310" y="607"/>
                  </a:cubicBezTo>
                  <a:cubicBezTo>
                    <a:pt x="310" y="609"/>
                    <a:pt x="314" y="613"/>
                    <a:pt x="313" y="618"/>
                  </a:cubicBezTo>
                  <a:cubicBezTo>
                    <a:pt x="313" y="619"/>
                    <a:pt x="310" y="618"/>
                    <a:pt x="310" y="622"/>
                  </a:cubicBezTo>
                  <a:cubicBezTo>
                    <a:pt x="310" y="635"/>
                    <a:pt x="315" y="658"/>
                    <a:pt x="302" y="655"/>
                  </a:cubicBezTo>
                  <a:cubicBezTo>
                    <a:pt x="303" y="651"/>
                    <a:pt x="308" y="652"/>
                    <a:pt x="308" y="648"/>
                  </a:cubicBezTo>
                  <a:cubicBezTo>
                    <a:pt x="306" y="644"/>
                    <a:pt x="301" y="644"/>
                    <a:pt x="302" y="636"/>
                  </a:cubicBezTo>
                  <a:cubicBezTo>
                    <a:pt x="302" y="635"/>
                    <a:pt x="305" y="631"/>
                    <a:pt x="305" y="633"/>
                  </a:cubicBezTo>
                  <a:cubicBezTo>
                    <a:pt x="305" y="625"/>
                    <a:pt x="296" y="624"/>
                    <a:pt x="300" y="614"/>
                  </a:cubicBezTo>
                  <a:cubicBezTo>
                    <a:pt x="302" y="617"/>
                    <a:pt x="304" y="621"/>
                    <a:pt x="305" y="625"/>
                  </a:cubicBezTo>
                  <a:cubicBezTo>
                    <a:pt x="313" y="619"/>
                    <a:pt x="305" y="604"/>
                    <a:pt x="297" y="607"/>
                  </a:cubicBezTo>
                  <a:close/>
                  <a:moveTo>
                    <a:pt x="289" y="562"/>
                  </a:moveTo>
                  <a:cubicBezTo>
                    <a:pt x="284" y="562"/>
                    <a:pt x="283" y="567"/>
                    <a:pt x="278" y="566"/>
                  </a:cubicBezTo>
                  <a:cubicBezTo>
                    <a:pt x="276" y="558"/>
                    <a:pt x="286" y="554"/>
                    <a:pt x="275" y="555"/>
                  </a:cubicBezTo>
                  <a:cubicBezTo>
                    <a:pt x="279" y="541"/>
                    <a:pt x="293" y="558"/>
                    <a:pt x="286" y="537"/>
                  </a:cubicBezTo>
                  <a:cubicBezTo>
                    <a:pt x="281" y="542"/>
                    <a:pt x="280" y="540"/>
                    <a:pt x="281" y="529"/>
                  </a:cubicBezTo>
                  <a:cubicBezTo>
                    <a:pt x="276" y="529"/>
                    <a:pt x="272" y="529"/>
                    <a:pt x="267" y="529"/>
                  </a:cubicBezTo>
                  <a:cubicBezTo>
                    <a:pt x="268" y="518"/>
                    <a:pt x="277" y="524"/>
                    <a:pt x="281" y="529"/>
                  </a:cubicBezTo>
                  <a:cubicBezTo>
                    <a:pt x="287" y="528"/>
                    <a:pt x="291" y="523"/>
                    <a:pt x="300" y="525"/>
                  </a:cubicBezTo>
                  <a:cubicBezTo>
                    <a:pt x="300" y="531"/>
                    <a:pt x="284" y="531"/>
                    <a:pt x="297" y="533"/>
                  </a:cubicBezTo>
                  <a:cubicBezTo>
                    <a:pt x="291" y="548"/>
                    <a:pt x="294" y="552"/>
                    <a:pt x="292" y="570"/>
                  </a:cubicBezTo>
                  <a:cubicBezTo>
                    <a:pt x="296" y="571"/>
                    <a:pt x="297" y="567"/>
                    <a:pt x="297" y="562"/>
                  </a:cubicBezTo>
                  <a:cubicBezTo>
                    <a:pt x="300" y="562"/>
                    <a:pt x="302" y="563"/>
                    <a:pt x="302" y="566"/>
                  </a:cubicBezTo>
                  <a:cubicBezTo>
                    <a:pt x="308" y="565"/>
                    <a:pt x="303" y="550"/>
                    <a:pt x="308" y="548"/>
                  </a:cubicBezTo>
                  <a:cubicBezTo>
                    <a:pt x="313" y="548"/>
                    <a:pt x="308" y="559"/>
                    <a:pt x="310" y="562"/>
                  </a:cubicBezTo>
                  <a:cubicBezTo>
                    <a:pt x="311" y="565"/>
                    <a:pt x="313" y="560"/>
                    <a:pt x="313" y="559"/>
                  </a:cubicBezTo>
                  <a:cubicBezTo>
                    <a:pt x="313" y="558"/>
                    <a:pt x="318" y="560"/>
                    <a:pt x="316" y="562"/>
                  </a:cubicBezTo>
                  <a:cubicBezTo>
                    <a:pt x="311" y="567"/>
                    <a:pt x="319" y="566"/>
                    <a:pt x="313" y="585"/>
                  </a:cubicBezTo>
                  <a:cubicBezTo>
                    <a:pt x="316" y="582"/>
                    <a:pt x="316" y="576"/>
                    <a:pt x="321" y="577"/>
                  </a:cubicBezTo>
                  <a:cubicBezTo>
                    <a:pt x="321" y="583"/>
                    <a:pt x="321" y="590"/>
                    <a:pt x="321" y="596"/>
                  </a:cubicBezTo>
                  <a:cubicBezTo>
                    <a:pt x="318" y="596"/>
                    <a:pt x="319" y="591"/>
                    <a:pt x="318" y="588"/>
                  </a:cubicBezTo>
                  <a:cubicBezTo>
                    <a:pt x="315" y="588"/>
                    <a:pt x="314" y="589"/>
                    <a:pt x="313" y="592"/>
                  </a:cubicBezTo>
                  <a:cubicBezTo>
                    <a:pt x="311" y="588"/>
                    <a:pt x="301" y="577"/>
                    <a:pt x="300" y="585"/>
                  </a:cubicBezTo>
                  <a:cubicBezTo>
                    <a:pt x="291" y="581"/>
                    <a:pt x="303" y="577"/>
                    <a:pt x="302" y="574"/>
                  </a:cubicBezTo>
                  <a:cubicBezTo>
                    <a:pt x="300" y="568"/>
                    <a:pt x="281" y="577"/>
                    <a:pt x="289" y="562"/>
                  </a:cubicBezTo>
                  <a:close/>
                  <a:moveTo>
                    <a:pt x="292" y="625"/>
                  </a:moveTo>
                  <a:cubicBezTo>
                    <a:pt x="284" y="626"/>
                    <a:pt x="285" y="615"/>
                    <a:pt x="281" y="611"/>
                  </a:cubicBezTo>
                  <a:cubicBezTo>
                    <a:pt x="277" y="615"/>
                    <a:pt x="274" y="615"/>
                    <a:pt x="270" y="611"/>
                  </a:cubicBezTo>
                  <a:cubicBezTo>
                    <a:pt x="270" y="606"/>
                    <a:pt x="270" y="601"/>
                    <a:pt x="270" y="596"/>
                  </a:cubicBezTo>
                  <a:cubicBezTo>
                    <a:pt x="270" y="591"/>
                    <a:pt x="273" y="588"/>
                    <a:pt x="273" y="585"/>
                  </a:cubicBezTo>
                  <a:cubicBezTo>
                    <a:pt x="272" y="579"/>
                    <a:pt x="268" y="575"/>
                    <a:pt x="267" y="570"/>
                  </a:cubicBezTo>
                  <a:cubicBezTo>
                    <a:pt x="267" y="560"/>
                    <a:pt x="271" y="550"/>
                    <a:pt x="267" y="537"/>
                  </a:cubicBezTo>
                  <a:cubicBezTo>
                    <a:pt x="270" y="538"/>
                    <a:pt x="272" y="540"/>
                    <a:pt x="273" y="544"/>
                  </a:cubicBezTo>
                  <a:cubicBezTo>
                    <a:pt x="272" y="543"/>
                    <a:pt x="269" y="546"/>
                    <a:pt x="270" y="548"/>
                  </a:cubicBezTo>
                  <a:cubicBezTo>
                    <a:pt x="272" y="550"/>
                    <a:pt x="274" y="557"/>
                    <a:pt x="273" y="574"/>
                  </a:cubicBezTo>
                  <a:cubicBezTo>
                    <a:pt x="273" y="578"/>
                    <a:pt x="275" y="576"/>
                    <a:pt x="275" y="574"/>
                  </a:cubicBezTo>
                  <a:cubicBezTo>
                    <a:pt x="283" y="571"/>
                    <a:pt x="273" y="591"/>
                    <a:pt x="281" y="588"/>
                  </a:cubicBezTo>
                  <a:cubicBezTo>
                    <a:pt x="280" y="597"/>
                    <a:pt x="280" y="606"/>
                    <a:pt x="283" y="611"/>
                  </a:cubicBezTo>
                  <a:cubicBezTo>
                    <a:pt x="287" y="609"/>
                    <a:pt x="286" y="601"/>
                    <a:pt x="286" y="596"/>
                  </a:cubicBezTo>
                  <a:cubicBezTo>
                    <a:pt x="289" y="598"/>
                    <a:pt x="289" y="604"/>
                    <a:pt x="294" y="603"/>
                  </a:cubicBezTo>
                  <a:cubicBezTo>
                    <a:pt x="294" y="612"/>
                    <a:pt x="290" y="614"/>
                    <a:pt x="292" y="625"/>
                  </a:cubicBezTo>
                  <a:close/>
                  <a:moveTo>
                    <a:pt x="283" y="644"/>
                  </a:moveTo>
                  <a:cubicBezTo>
                    <a:pt x="283" y="648"/>
                    <a:pt x="278" y="646"/>
                    <a:pt x="278" y="651"/>
                  </a:cubicBezTo>
                  <a:cubicBezTo>
                    <a:pt x="275" y="651"/>
                    <a:pt x="277" y="648"/>
                    <a:pt x="278" y="648"/>
                  </a:cubicBezTo>
                  <a:cubicBezTo>
                    <a:pt x="274" y="637"/>
                    <a:pt x="276" y="643"/>
                    <a:pt x="283" y="644"/>
                  </a:cubicBezTo>
                  <a:close/>
                  <a:moveTo>
                    <a:pt x="270" y="618"/>
                  </a:moveTo>
                  <a:cubicBezTo>
                    <a:pt x="274" y="617"/>
                    <a:pt x="275" y="621"/>
                    <a:pt x="278" y="622"/>
                  </a:cubicBezTo>
                  <a:cubicBezTo>
                    <a:pt x="279" y="629"/>
                    <a:pt x="266" y="627"/>
                    <a:pt x="270" y="618"/>
                  </a:cubicBezTo>
                  <a:close/>
                  <a:moveTo>
                    <a:pt x="273" y="636"/>
                  </a:moveTo>
                  <a:cubicBezTo>
                    <a:pt x="273" y="635"/>
                    <a:pt x="270" y="648"/>
                    <a:pt x="270" y="648"/>
                  </a:cubicBezTo>
                  <a:cubicBezTo>
                    <a:pt x="268" y="650"/>
                    <a:pt x="269" y="635"/>
                    <a:pt x="267" y="629"/>
                  </a:cubicBezTo>
                  <a:cubicBezTo>
                    <a:pt x="272" y="628"/>
                    <a:pt x="273" y="632"/>
                    <a:pt x="273" y="636"/>
                  </a:cubicBezTo>
                  <a:close/>
                  <a:moveTo>
                    <a:pt x="232" y="470"/>
                  </a:moveTo>
                  <a:cubicBezTo>
                    <a:pt x="227" y="469"/>
                    <a:pt x="230" y="456"/>
                    <a:pt x="224" y="455"/>
                  </a:cubicBezTo>
                  <a:cubicBezTo>
                    <a:pt x="216" y="446"/>
                    <a:pt x="232" y="459"/>
                    <a:pt x="230" y="452"/>
                  </a:cubicBezTo>
                  <a:cubicBezTo>
                    <a:pt x="235" y="451"/>
                    <a:pt x="231" y="465"/>
                    <a:pt x="232" y="470"/>
                  </a:cubicBezTo>
                  <a:close/>
                  <a:moveTo>
                    <a:pt x="232" y="581"/>
                  </a:moveTo>
                  <a:cubicBezTo>
                    <a:pt x="228" y="578"/>
                    <a:pt x="229" y="569"/>
                    <a:pt x="227" y="562"/>
                  </a:cubicBezTo>
                  <a:cubicBezTo>
                    <a:pt x="233" y="563"/>
                    <a:pt x="233" y="572"/>
                    <a:pt x="232" y="581"/>
                  </a:cubicBezTo>
                  <a:close/>
                  <a:moveTo>
                    <a:pt x="214" y="751"/>
                  </a:moveTo>
                  <a:cubicBezTo>
                    <a:pt x="213" y="741"/>
                    <a:pt x="215" y="735"/>
                    <a:pt x="222" y="736"/>
                  </a:cubicBezTo>
                  <a:cubicBezTo>
                    <a:pt x="222" y="746"/>
                    <a:pt x="221" y="752"/>
                    <a:pt x="214" y="751"/>
                  </a:cubicBezTo>
                  <a:close/>
                  <a:moveTo>
                    <a:pt x="219" y="766"/>
                  </a:moveTo>
                  <a:cubicBezTo>
                    <a:pt x="218" y="767"/>
                    <a:pt x="216" y="757"/>
                    <a:pt x="214" y="759"/>
                  </a:cubicBezTo>
                  <a:cubicBezTo>
                    <a:pt x="218" y="746"/>
                    <a:pt x="221" y="763"/>
                    <a:pt x="219" y="766"/>
                  </a:cubicBezTo>
                  <a:close/>
                  <a:moveTo>
                    <a:pt x="224" y="537"/>
                  </a:moveTo>
                  <a:cubicBezTo>
                    <a:pt x="223" y="538"/>
                    <a:pt x="221" y="527"/>
                    <a:pt x="219" y="529"/>
                  </a:cubicBezTo>
                  <a:cubicBezTo>
                    <a:pt x="224" y="517"/>
                    <a:pt x="226" y="534"/>
                    <a:pt x="224" y="537"/>
                  </a:cubicBezTo>
                  <a:close/>
                  <a:moveTo>
                    <a:pt x="224" y="381"/>
                  </a:moveTo>
                  <a:cubicBezTo>
                    <a:pt x="224" y="378"/>
                    <a:pt x="224" y="374"/>
                    <a:pt x="224" y="370"/>
                  </a:cubicBezTo>
                  <a:cubicBezTo>
                    <a:pt x="232" y="365"/>
                    <a:pt x="232" y="387"/>
                    <a:pt x="224" y="381"/>
                  </a:cubicBezTo>
                  <a:close/>
                  <a:moveTo>
                    <a:pt x="230" y="392"/>
                  </a:moveTo>
                  <a:cubicBezTo>
                    <a:pt x="220" y="384"/>
                    <a:pt x="242" y="388"/>
                    <a:pt x="235" y="370"/>
                  </a:cubicBezTo>
                  <a:cubicBezTo>
                    <a:pt x="237" y="372"/>
                    <a:pt x="239" y="374"/>
                    <a:pt x="243" y="374"/>
                  </a:cubicBezTo>
                  <a:cubicBezTo>
                    <a:pt x="240" y="378"/>
                    <a:pt x="235" y="381"/>
                    <a:pt x="238" y="392"/>
                  </a:cubicBezTo>
                  <a:cubicBezTo>
                    <a:pt x="233" y="393"/>
                    <a:pt x="231" y="386"/>
                    <a:pt x="230" y="392"/>
                  </a:cubicBezTo>
                  <a:close/>
                  <a:moveTo>
                    <a:pt x="249" y="433"/>
                  </a:moveTo>
                  <a:cubicBezTo>
                    <a:pt x="248" y="437"/>
                    <a:pt x="245" y="436"/>
                    <a:pt x="243" y="437"/>
                  </a:cubicBezTo>
                  <a:cubicBezTo>
                    <a:pt x="240" y="432"/>
                    <a:pt x="242" y="431"/>
                    <a:pt x="243" y="426"/>
                  </a:cubicBezTo>
                  <a:cubicBezTo>
                    <a:pt x="246" y="427"/>
                    <a:pt x="245" y="433"/>
                    <a:pt x="249" y="433"/>
                  </a:cubicBezTo>
                  <a:close/>
                  <a:moveTo>
                    <a:pt x="235" y="477"/>
                  </a:moveTo>
                  <a:cubicBezTo>
                    <a:pt x="239" y="478"/>
                    <a:pt x="236" y="488"/>
                    <a:pt x="240" y="489"/>
                  </a:cubicBezTo>
                  <a:cubicBezTo>
                    <a:pt x="237" y="500"/>
                    <a:pt x="233" y="485"/>
                    <a:pt x="235" y="477"/>
                  </a:cubicBezTo>
                  <a:close/>
                  <a:moveTo>
                    <a:pt x="238" y="466"/>
                  </a:moveTo>
                  <a:cubicBezTo>
                    <a:pt x="238" y="456"/>
                    <a:pt x="252" y="459"/>
                    <a:pt x="251" y="470"/>
                  </a:cubicBezTo>
                  <a:cubicBezTo>
                    <a:pt x="246" y="462"/>
                    <a:pt x="243" y="473"/>
                    <a:pt x="238" y="466"/>
                  </a:cubicBezTo>
                  <a:close/>
                  <a:moveTo>
                    <a:pt x="254" y="533"/>
                  </a:moveTo>
                  <a:cubicBezTo>
                    <a:pt x="248" y="545"/>
                    <a:pt x="243" y="520"/>
                    <a:pt x="254" y="533"/>
                  </a:cubicBezTo>
                  <a:close/>
                  <a:moveTo>
                    <a:pt x="246" y="448"/>
                  </a:moveTo>
                  <a:cubicBezTo>
                    <a:pt x="246" y="444"/>
                    <a:pt x="251" y="445"/>
                    <a:pt x="254" y="444"/>
                  </a:cubicBezTo>
                  <a:cubicBezTo>
                    <a:pt x="256" y="448"/>
                    <a:pt x="257" y="454"/>
                    <a:pt x="257" y="463"/>
                  </a:cubicBezTo>
                  <a:cubicBezTo>
                    <a:pt x="252" y="459"/>
                    <a:pt x="252" y="449"/>
                    <a:pt x="246" y="448"/>
                  </a:cubicBezTo>
                  <a:close/>
                  <a:moveTo>
                    <a:pt x="254" y="437"/>
                  </a:moveTo>
                  <a:cubicBezTo>
                    <a:pt x="254" y="434"/>
                    <a:pt x="253" y="433"/>
                    <a:pt x="251" y="433"/>
                  </a:cubicBezTo>
                  <a:cubicBezTo>
                    <a:pt x="251" y="429"/>
                    <a:pt x="254" y="430"/>
                    <a:pt x="257" y="429"/>
                  </a:cubicBezTo>
                  <a:cubicBezTo>
                    <a:pt x="255" y="426"/>
                    <a:pt x="254" y="423"/>
                    <a:pt x="251" y="422"/>
                  </a:cubicBezTo>
                  <a:cubicBezTo>
                    <a:pt x="252" y="418"/>
                    <a:pt x="256" y="419"/>
                    <a:pt x="259" y="418"/>
                  </a:cubicBezTo>
                  <a:cubicBezTo>
                    <a:pt x="259" y="424"/>
                    <a:pt x="259" y="431"/>
                    <a:pt x="259" y="437"/>
                  </a:cubicBezTo>
                  <a:cubicBezTo>
                    <a:pt x="257" y="437"/>
                    <a:pt x="256" y="437"/>
                    <a:pt x="254" y="437"/>
                  </a:cubicBezTo>
                  <a:close/>
                  <a:moveTo>
                    <a:pt x="259" y="359"/>
                  </a:moveTo>
                  <a:cubicBezTo>
                    <a:pt x="251" y="360"/>
                    <a:pt x="254" y="347"/>
                    <a:pt x="251" y="341"/>
                  </a:cubicBezTo>
                  <a:cubicBezTo>
                    <a:pt x="254" y="346"/>
                    <a:pt x="259" y="350"/>
                    <a:pt x="259" y="359"/>
                  </a:cubicBezTo>
                  <a:close/>
                  <a:moveTo>
                    <a:pt x="254" y="329"/>
                  </a:moveTo>
                  <a:cubicBezTo>
                    <a:pt x="253" y="320"/>
                    <a:pt x="258" y="318"/>
                    <a:pt x="259" y="311"/>
                  </a:cubicBezTo>
                  <a:cubicBezTo>
                    <a:pt x="264" y="312"/>
                    <a:pt x="260" y="332"/>
                    <a:pt x="254" y="329"/>
                  </a:cubicBezTo>
                  <a:close/>
                  <a:moveTo>
                    <a:pt x="259" y="448"/>
                  </a:moveTo>
                  <a:cubicBezTo>
                    <a:pt x="267" y="434"/>
                    <a:pt x="268" y="459"/>
                    <a:pt x="259" y="448"/>
                  </a:cubicBezTo>
                  <a:close/>
                  <a:moveTo>
                    <a:pt x="265" y="437"/>
                  </a:moveTo>
                  <a:cubicBezTo>
                    <a:pt x="264" y="432"/>
                    <a:pt x="265" y="430"/>
                    <a:pt x="267" y="429"/>
                  </a:cubicBezTo>
                  <a:cubicBezTo>
                    <a:pt x="259" y="417"/>
                    <a:pt x="276" y="429"/>
                    <a:pt x="267" y="418"/>
                  </a:cubicBezTo>
                  <a:cubicBezTo>
                    <a:pt x="270" y="407"/>
                    <a:pt x="275" y="422"/>
                    <a:pt x="278" y="422"/>
                  </a:cubicBezTo>
                  <a:cubicBezTo>
                    <a:pt x="279" y="429"/>
                    <a:pt x="263" y="430"/>
                    <a:pt x="273" y="437"/>
                  </a:cubicBezTo>
                  <a:cubicBezTo>
                    <a:pt x="272" y="442"/>
                    <a:pt x="269" y="435"/>
                    <a:pt x="265" y="437"/>
                  </a:cubicBezTo>
                  <a:close/>
                  <a:moveTo>
                    <a:pt x="294" y="270"/>
                  </a:moveTo>
                  <a:cubicBezTo>
                    <a:pt x="289" y="267"/>
                    <a:pt x="293" y="246"/>
                    <a:pt x="300" y="248"/>
                  </a:cubicBezTo>
                  <a:cubicBezTo>
                    <a:pt x="298" y="256"/>
                    <a:pt x="293" y="259"/>
                    <a:pt x="294" y="270"/>
                  </a:cubicBezTo>
                  <a:close/>
                  <a:moveTo>
                    <a:pt x="294" y="296"/>
                  </a:moveTo>
                  <a:cubicBezTo>
                    <a:pt x="292" y="296"/>
                    <a:pt x="289" y="296"/>
                    <a:pt x="286" y="296"/>
                  </a:cubicBezTo>
                  <a:cubicBezTo>
                    <a:pt x="286" y="294"/>
                    <a:pt x="286" y="291"/>
                    <a:pt x="286" y="289"/>
                  </a:cubicBezTo>
                  <a:cubicBezTo>
                    <a:pt x="292" y="288"/>
                    <a:pt x="295" y="290"/>
                    <a:pt x="294" y="296"/>
                  </a:cubicBezTo>
                  <a:close/>
                  <a:moveTo>
                    <a:pt x="294" y="333"/>
                  </a:moveTo>
                  <a:cubicBezTo>
                    <a:pt x="291" y="332"/>
                    <a:pt x="292" y="324"/>
                    <a:pt x="292" y="318"/>
                  </a:cubicBezTo>
                  <a:cubicBezTo>
                    <a:pt x="302" y="317"/>
                    <a:pt x="293" y="326"/>
                    <a:pt x="294" y="333"/>
                  </a:cubicBezTo>
                  <a:close/>
                  <a:moveTo>
                    <a:pt x="294" y="389"/>
                  </a:moveTo>
                  <a:cubicBezTo>
                    <a:pt x="297" y="390"/>
                    <a:pt x="296" y="396"/>
                    <a:pt x="300" y="396"/>
                  </a:cubicBezTo>
                  <a:cubicBezTo>
                    <a:pt x="297" y="401"/>
                    <a:pt x="292" y="403"/>
                    <a:pt x="292" y="411"/>
                  </a:cubicBezTo>
                  <a:cubicBezTo>
                    <a:pt x="284" y="406"/>
                    <a:pt x="296" y="398"/>
                    <a:pt x="294" y="389"/>
                  </a:cubicBezTo>
                  <a:close/>
                  <a:moveTo>
                    <a:pt x="343" y="248"/>
                  </a:moveTo>
                  <a:cubicBezTo>
                    <a:pt x="347" y="242"/>
                    <a:pt x="351" y="250"/>
                    <a:pt x="361" y="244"/>
                  </a:cubicBezTo>
                  <a:cubicBezTo>
                    <a:pt x="365" y="249"/>
                    <a:pt x="364" y="257"/>
                    <a:pt x="364" y="267"/>
                  </a:cubicBezTo>
                  <a:cubicBezTo>
                    <a:pt x="355" y="262"/>
                    <a:pt x="362" y="279"/>
                    <a:pt x="353" y="274"/>
                  </a:cubicBezTo>
                  <a:cubicBezTo>
                    <a:pt x="351" y="261"/>
                    <a:pt x="356" y="258"/>
                    <a:pt x="361" y="255"/>
                  </a:cubicBezTo>
                  <a:cubicBezTo>
                    <a:pt x="359" y="240"/>
                    <a:pt x="348" y="259"/>
                    <a:pt x="343" y="248"/>
                  </a:cubicBezTo>
                  <a:close/>
                  <a:moveTo>
                    <a:pt x="348" y="300"/>
                  </a:moveTo>
                  <a:cubicBezTo>
                    <a:pt x="344" y="297"/>
                    <a:pt x="338" y="297"/>
                    <a:pt x="340" y="285"/>
                  </a:cubicBezTo>
                  <a:cubicBezTo>
                    <a:pt x="342" y="284"/>
                    <a:pt x="342" y="286"/>
                    <a:pt x="343" y="289"/>
                  </a:cubicBezTo>
                  <a:cubicBezTo>
                    <a:pt x="344" y="293"/>
                    <a:pt x="349" y="293"/>
                    <a:pt x="348" y="300"/>
                  </a:cubicBezTo>
                  <a:close/>
                  <a:moveTo>
                    <a:pt x="383" y="263"/>
                  </a:moveTo>
                  <a:cubicBezTo>
                    <a:pt x="388" y="264"/>
                    <a:pt x="388" y="273"/>
                    <a:pt x="394" y="274"/>
                  </a:cubicBezTo>
                  <a:cubicBezTo>
                    <a:pt x="393" y="279"/>
                    <a:pt x="388" y="278"/>
                    <a:pt x="388" y="274"/>
                  </a:cubicBezTo>
                  <a:cubicBezTo>
                    <a:pt x="386" y="274"/>
                    <a:pt x="386" y="279"/>
                    <a:pt x="386" y="281"/>
                  </a:cubicBezTo>
                  <a:cubicBezTo>
                    <a:pt x="377" y="278"/>
                    <a:pt x="384" y="274"/>
                    <a:pt x="383" y="263"/>
                  </a:cubicBezTo>
                  <a:close/>
                  <a:moveTo>
                    <a:pt x="386" y="333"/>
                  </a:moveTo>
                  <a:cubicBezTo>
                    <a:pt x="381" y="330"/>
                    <a:pt x="379" y="320"/>
                    <a:pt x="383" y="315"/>
                  </a:cubicBezTo>
                  <a:cubicBezTo>
                    <a:pt x="389" y="314"/>
                    <a:pt x="384" y="328"/>
                    <a:pt x="386" y="333"/>
                  </a:cubicBezTo>
                  <a:close/>
                  <a:moveTo>
                    <a:pt x="386" y="307"/>
                  </a:moveTo>
                  <a:cubicBezTo>
                    <a:pt x="378" y="299"/>
                    <a:pt x="384" y="297"/>
                    <a:pt x="380" y="285"/>
                  </a:cubicBezTo>
                  <a:cubicBezTo>
                    <a:pt x="387" y="285"/>
                    <a:pt x="386" y="297"/>
                    <a:pt x="386" y="307"/>
                  </a:cubicBezTo>
                  <a:close/>
                  <a:moveTo>
                    <a:pt x="388" y="489"/>
                  </a:moveTo>
                  <a:cubicBezTo>
                    <a:pt x="389" y="489"/>
                    <a:pt x="388" y="496"/>
                    <a:pt x="388" y="496"/>
                  </a:cubicBezTo>
                  <a:cubicBezTo>
                    <a:pt x="390" y="496"/>
                    <a:pt x="393" y="491"/>
                    <a:pt x="394" y="489"/>
                  </a:cubicBezTo>
                  <a:cubicBezTo>
                    <a:pt x="395" y="487"/>
                    <a:pt x="397" y="495"/>
                    <a:pt x="396" y="496"/>
                  </a:cubicBezTo>
                  <a:cubicBezTo>
                    <a:pt x="396" y="497"/>
                    <a:pt x="391" y="495"/>
                    <a:pt x="391" y="496"/>
                  </a:cubicBezTo>
                  <a:cubicBezTo>
                    <a:pt x="389" y="502"/>
                    <a:pt x="392" y="510"/>
                    <a:pt x="383" y="511"/>
                  </a:cubicBezTo>
                  <a:cubicBezTo>
                    <a:pt x="379" y="520"/>
                    <a:pt x="389" y="519"/>
                    <a:pt x="391" y="522"/>
                  </a:cubicBezTo>
                  <a:cubicBezTo>
                    <a:pt x="393" y="526"/>
                    <a:pt x="389" y="536"/>
                    <a:pt x="396" y="533"/>
                  </a:cubicBezTo>
                  <a:cubicBezTo>
                    <a:pt x="398" y="544"/>
                    <a:pt x="391" y="545"/>
                    <a:pt x="383" y="544"/>
                  </a:cubicBezTo>
                  <a:cubicBezTo>
                    <a:pt x="381" y="537"/>
                    <a:pt x="386" y="534"/>
                    <a:pt x="386" y="529"/>
                  </a:cubicBezTo>
                  <a:cubicBezTo>
                    <a:pt x="384" y="522"/>
                    <a:pt x="380" y="526"/>
                    <a:pt x="378" y="522"/>
                  </a:cubicBezTo>
                  <a:cubicBezTo>
                    <a:pt x="376" y="519"/>
                    <a:pt x="380" y="513"/>
                    <a:pt x="380" y="514"/>
                  </a:cubicBezTo>
                  <a:cubicBezTo>
                    <a:pt x="375" y="506"/>
                    <a:pt x="375" y="505"/>
                    <a:pt x="367" y="507"/>
                  </a:cubicBezTo>
                  <a:cubicBezTo>
                    <a:pt x="366" y="499"/>
                    <a:pt x="369" y="497"/>
                    <a:pt x="370" y="492"/>
                  </a:cubicBezTo>
                  <a:cubicBezTo>
                    <a:pt x="375" y="493"/>
                    <a:pt x="371" y="504"/>
                    <a:pt x="378" y="503"/>
                  </a:cubicBezTo>
                  <a:cubicBezTo>
                    <a:pt x="380" y="504"/>
                    <a:pt x="380" y="502"/>
                    <a:pt x="380" y="500"/>
                  </a:cubicBezTo>
                  <a:cubicBezTo>
                    <a:pt x="380" y="496"/>
                    <a:pt x="377" y="497"/>
                    <a:pt x="375" y="496"/>
                  </a:cubicBezTo>
                  <a:cubicBezTo>
                    <a:pt x="374" y="492"/>
                    <a:pt x="376" y="488"/>
                    <a:pt x="378" y="489"/>
                  </a:cubicBezTo>
                  <a:cubicBezTo>
                    <a:pt x="378" y="489"/>
                    <a:pt x="380" y="496"/>
                    <a:pt x="380" y="496"/>
                  </a:cubicBezTo>
                  <a:cubicBezTo>
                    <a:pt x="381" y="496"/>
                    <a:pt x="385" y="484"/>
                    <a:pt x="388" y="489"/>
                  </a:cubicBezTo>
                  <a:close/>
                  <a:moveTo>
                    <a:pt x="404" y="296"/>
                  </a:moveTo>
                  <a:cubicBezTo>
                    <a:pt x="406" y="299"/>
                    <a:pt x="394" y="307"/>
                    <a:pt x="396" y="300"/>
                  </a:cubicBezTo>
                  <a:cubicBezTo>
                    <a:pt x="397" y="299"/>
                    <a:pt x="402" y="293"/>
                    <a:pt x="404" y="296"/>
                  </a:cubicBezTo>
                  <a:close/>
                  <a:moveTo>
                    <a:pt x="396" y="278"/>
                  </a:moveTo>
                  <a:cubicBezTo>
                    <a:pt x="397" y="275"/>
                    <a:pt x="399" y="274"/>
                    <a:pt x="399" y="270"/>
                  </a:cubicBezTo>
                  <a:cubicBezTo>
                    <a:pt x="401" y="271"/>
                    <a:pt x="402" y="274"/>
                    <a:pt x="404" y="274"/>
                  </a:cubicBezTo>
                  <a:cubicBezTo>
                    <a:pt x="404" y="277"/>
                    <a:pt x="402" y="278"/>
                    <a:pt x="402" y="281"/>
                  </a:cubicBezTo>
                  <a:cubicBezTo>
                    <a:pt x="400" y="281"/>
                    <a:pt x="399" y="278"/>
                    <a:pt x="396" y="278"/>
                  </a:cubicBezTo>
                  <a:close/>
                  <a:moveTo>
                    <a:pt x="421" y="525"/>
                  </a:moveTo>
                  <a:cubicBezTo>
                    <a:pt x="422" y="534"/>
                    <a:pt x="416" y="534"/>
                    <a:pt x="418" y="544"/>
                  </a:cubicBezTo>
                  <a:cubicBezTo>
                    <a:pt x="412" y="539"/>
                    <a:pt x="410" y="546"/>
                    <a:pt x="402" y="540"/>
                  </a:cubicBezTo>
                  <a:cubicBezTo>
                    <a:pt x="404" y="537"/>
                    <a:pt x="405" y="532"/>
                    <a:pt x="404" y="525"/>
                  </a:cubicBezTo>
                  <a:cubicBezTo>
                    <a:pt x="410" y="528"/>
                    <a:pt x="410" y="531"/>
                    <a:pt x="407" y="537"/>
                  </a:cubicBezTo>
                  <a:cubicBezTo>
                    <a:pt x="419" y="543"/>
                    <a:pt x="411" y="522"/>
                    <a:pt x="421" y="525"/>
                  </a:cubicBezTo>
                  <a:close/>
                  <a:moveTo>
                    <a:pt x="410" y="285"/>
                  </a:moveTo>
                  <a:cubicBezTo>
                    <a:pt x="422" y="287"/>
                    <a:pt x="407" y="307"/>
                    <a:pt x="410" y="285"/>
                  </a:cubicBezTo>
                  <a:close/>
                  <a:moveTo>
                    <a:pt x="412" y="281"/>
                  </a:moveTo>
                  <a:cubicBezTo>
                    <a:pt x="412" y="279"/>
                    <a:pt x="412" y="276"/>
                    <a:pt x="412" y="274"/>
                  </a:cubicBezTo>
                  <a:cubicBezTo>
                    <a:pt x="414" y="274"/>
                    <a:pt x="416" y="274"/>
                    <a:pt x="418" y="274"/>
                  </a:cubicBezTo>
                  <a:cubicBezTo>
                    <a:pt x="418" y="276"/>
                    <a:pt x="418" y="279"/>
                    <a:pt x="418" y="281"/>
                  </a:cubicBezTo>
                  <a:cubicBezTo>
                    <a:pt x="416" y="281"/>
                    <a:pt x="414" y="281"/>
                    <a:pt x="412" y="281"/>
                  </a:cubicBezTo>
                  <a:close/>
                  <a:moveTo>
                    <a:pt x="396" y="500"/>
                  </a:moveTo>
                  <a:cubicBezTo>
                    <a:pt x="403" y="501"/>
                    <a:pt x="403" y="509"/>
                    <a:pt x="399" y="514"/>
                  </a:cubicBezTo>
                  <a:cubicBezTo>
                    <a:pt x="395" y="513"/>
                    <a:pt x="397" y="505"/>
                    <a:pt x="396" y="500"/>
                  </a:cubicBezTo>
                  <a:close/>
                  <a:moveTo>
                    <a:pt x="351" y="489"/>
                  </a:moveTo>
                  <a:cubicBezTo>
                    <a:pt x="352" y="483"/>
                    <a:pt x="356" y="482"/>
                    <a:pt x="361" y="481"/>
                  </a:cubicBezTo>
                  <a:cubicBezTo>
                    <a:pt x="363" y="490"/>
                    <a:pt x="368" y="509"/>
                    <a:pt x="356" y="507"/>
                  </a:cubicBezTo>
                  <a:cubicBezTo>
                    <a:pt x="356" y="503"/>
                    <a:pt x="356" y="500"/>
                    <a:pt x="356" y="496"/>
                  </a:cubicBezTo>
                  <a:cubicBezTo>
                    <a:pt x="359" y="496"/>
                    <a:pt x="358" y="500"/>
                    <a:pt x="359" y="503"/>
                  </a:cubicBezTo>
                  <a:cubicBezTo>
                    <a:pt x="367" y="498"/>
                    <a:pt x="357" y="487"/>
                    <a:pt x="351" y="489"/>
                  </a:cubicBezTo>
                  <a:close/>
                  <a:moveTo>
                    <a:pt x="364" y="285"/>
                  </a:moveTo>
                  <a:cubicBezTo>
                    <a:pt x="363" y="279"/>
                    <a:pt x="379" y="280"/>
                    <a:pt x="372" y="289"/>
                  </a:cubicBezTo>
                  <a:cubicBezTo>
                    <a:pt x="373" y="287"/>
                    <a:pt x="364" y="285"/>
                    <a:pt x="364" y="285"/>
                  </a:cubicBezTo>
                  <a:close/>
                  <a:moveTo>
                    <a:pt x="372" y="296"/>
                  </a:moveTo>
                  <a:cubicBezTo>
                    <a:pt x="372" y="303"/>
                    <a:pt x="375" y="304"/>
                    <a:pt x="375" y="311"/>
                  </a:cubicBezTo>
                  <a:cubicBezTo>
                    <a:pt x="372" y="311"/>
                    <a:pt x="373" y="306"/>
                    <a:pt x="372" y="304"/>
                  </a:cubicBezTo>
                  <a:cubicBezTo>
                    <a:pt x="370" y="303"/>
                    <a:pt x="370" y="305"/>
                    <a:pt x="370" y="307"/>
                  </a:cubicBezTo>
                  <a:cubicBezTo>
                    <a:pt x="368" y="314"/>
                    <a:pt x="365" y="303"/>
                    <a:pt x="370" y="304"/>
                  </a:cubicBezTo>
                  <a:cubicBezTo>
                    <a:pt x="371" y="295"/>
                    <a:pt x="357" y="306"/>
                    <a:pt x="361" y="292"/>
                  </a:cubicBezTo>
                  <a:cubicBezTo>
                    <a:pt x="364" y="295"/>
                    <a:pt x="367" y="296"/>
                    <a:pt x="372" y="296"/>
                  </a:cubicBezTo>
                  <a:close/>
                  <a:moveTo>
                    <a:pt x="375" y="533"/>
                  </a:moveTo>
                  <a:cubicBezTo>
                    <a:pt x="367" y="548"/>
                    <a:pt x="368" y="521"/>
                    <a:pt x="361" y="522"/>
                  </a:cubicBezTo>
                  <a:cubicBezTo>
                    <a:pt x="363" y="511"/>
                    <a:pt x="367" y="525"/>
                    <a:pt x="372" y="522"/>
                  </a:cubicBezTo>
                  <a:cubicBezTo>
                    <a:pt x="372" y="527"/>
                    <a:pt x="372" y="532"/>
                    <a:pt x="375" y="533"/>
                  </a:cubicBezTo>
                  <a:close/>
                  <a:moveTo>
                    <a:pt x="364" y="474"/>
                  </a:moveTo>
                  <a:cubicBezTo>
                    <a:pt x="361" y="473"/>
                    <a:pt x="362" y="467"/>
                    <a:pt x="361" y="463"/>
                  </a:cubicBezTo>
                  <a:cubicBezTo>
                    <a:pt x="366" y="461"/>
                    <a:pt x="367" y="465"/>
                    <a:pt x="367" y="470"/>
                  </a:cubicBezTo>
                  <a:cubicBezTo>
                    <a:pt x="365" y="469"/>
                    <a:pt x="364" y="471"/>
                    <a:pt x="364" y="474"/>
                  </a:cubicBezTo>
                  <a:close/>
                  <a:moveTo>
                    <a:pt x="364" y="344"/>
                  </a:moveTo>
                  <a:cubicBezTo>
                    <a:pt x="363" y="336"/>
                    <a:pt x="369" y="339"/>
                    <a:pt x="370" y="333"/>
                  </a:cubicBezTo>
                  <a:cubicBezTo>
                    <a:pt x="373" y="334"/>
                    <a:pt x="372" y="340"/>
                    <a:pt x="372" y="344"/>
                  </a:cubicBezTo>
                  <a:cubicBezTo>
                    <a:pt x="370" y="344"/>
                    <a:pt x="367" y="344"/>
                    <a:pt x="364" y="344"/>
                  </a:cubicBezTo>
                  <a:close/>
                  <a:moveTo>
                    <a:pt x="361" y="555"/>
                  </a:moveTo>
                  <a:cubicBezTo>
                    <a:pt x="368" y="551"/>
                    <a:pt x="379" y="549"/>
                    <a:pt x="378" y="566"/>
                  </a:cubicBezTo>
                  <a:cubicBezTo>
                    <a:pt x="373" y="561"/>
                    <a:pt x="360" y="567"/>
                    <a:pt x="361" y="555"/>
                  </a:cubicBezTo>
                  <a:close/>
                  <a:moveTo>
                    <a:pt x="364" y="274"/>
                  </a:moveTo>
                  <a:cubicBezTo>
                    <a:pt x="366" y="269"/>
                    <a:pt x="370" y="267"/>
                    <a:pt x="375" y="267"/>
                  </a:cubicBezTo>
                  <a:cubicBezTo>
                    <a:pt x="378" y="278"/>
                    <a:pt x="369" y="273"/>
                    <a:pt x="364" y="274"/>
                  </a:cubicBezTo>
                  <a:close/>
                  <a:moveTo>
                    <a:pt x="353" y="363"/>
                  </a:moveTo>
                  <a:cubicBezTo>
                    <a:pt x="352" y="364"/>
                    <a:pt x="350" y="353"/>
                    <a:pt x="348" y="355"/>
                  </a:cubicBezTo>
                  <a:cubicBezTo>
                    <a:pt x="353" y="343"/>
                    <a:pt x="355" y="360"/>
                    <a:pt x="353" y="363"/>
                  </a:cubicBezTo>
                  <a:close/>
                  <a:moveTo>
                    <a:pt x="351" y="459"/>
                  </a:moveTo>
                  <a:cubicBezTo>
                    <a:pt x="351" y="463"/>
                    <a:pt x="351" y="466"/>
                    <a:pt x="351" y="470"/>
                  </a:cubicBezTo>
                  <a:cubicBezTo>
                    <a:pt x="348" y="470"/>
                    <a:pt x="349" y="465"/>
                    <a:pt x="348" y="463"/>
                  </a:cubicBezTo>
                  <a:cubicBezTo>
                    <a:pt x="346" y="466"/>
                    <a:pt x="341" y="465"/>
                    <a:pt x="337" y="459"/>
                  </a:cubicBezTo>
                  <a:cubicBezTo>
                    <a:pt x="336" y="456"/>
                    <a:pt x="334" y="454"/>
                    <a:pt x="335" y="448"/>
                  </a:cubicBezTo>
                  <a:cubicBezTo>
                    <a:pt x="337" y="451"/>
                    <a:pt x="339" y="454"/>
                    <a:pt x="340" y="459"/>
                  </a:cubicBezTo>
                  <a:cubicBezTo>
                    <a:pt x="344" y="459"/>
                    <a:pt x="347" y="459"/>
                    <a:pt x="351" y="459"/>
                  </a:cubicBezTo>
                  <a:close/>
                  <a:moveTo>
                    <a:pt x="340" y="559"/>
                  </a:moveTo>
                  <a:cubicBezTo>
                    <a:pt x="347" y="549"/>
                    <a:pt x="345" y="570"/>
                    <a:pt x="343" y="574"/>
                  </a:cubicBezTo>
                  <a:cubicBezTo>
                    <a:pt x="336" y="572"/>
                    <a:pt x="336" y="564"/>
                    <a:pt x="343" y="562"/>
                  </a:cubicBezTo>
                  <a:cubicBezTo>
                    <a:pt x="343" y="559"/>
                    <a:pt x="342" y="559"/>
                    <a:pt x="340" y="559"/>
                  </a:cubicBezTo>
                  <a:close/>
                  <a:moveTo>
                    <a:pt x="335" y="522"/>
                  </a:moveTo>
                  <a:cubicBezTo>
                    <a:pt x="334" y="521"/>
                    <a:pt x="335" y="518"/>
                    <a:pt x="335" y="518"/>
                  </a:cubicBezTo>
                  <a:cubicBezTo>
                    <a:pt x="332" y="517"/>
                    <a:pt x="320" y="521"/>
                    <a:pt x="324" y="511"/>
                  </a:cubicBezTo>
                  <a:cubicBezTo>
                    <a:pt x="334" y="513"/>
                    <a:pt x="331" y="517"/>
                    <a:pt x="329" y="503"/>
                  </a:cubicBezTo>
                  <a:cubicBezTo>
                    <a:pt x="332" y="503"/>
                    <a:pt x="335" y="503"/>
                    <a:pt x="337" y="503"/>
                  </a:cubicBezTo>
                  <a:cubicBezTo>
                    <a:pt x="334" y="516"/>
                    <a:pt x="336" y="519"/>
                    <a:pt x="345" y="514"/>
                  </a:cubicBezTo>
                  <a:cubicBezTo>
                    <a:pt x="347" y="517"/>
                    <a:pt x="338" y="528"/>
                    <a:pt x="335" y="522"/>
                  </a:cubicBezTo>
                  <a:close/>
                  <a:moveTo>
                    <a:pt x="324" y="707"/>
                  </a:moveTo>
                  <a:cubicBezTo>
                    <a:pt x="320" y="705"/>
                    <a:pt x="325" y="702"/>
                    <a:pt x="324" y="696"/>
                  </a:cubicBezTo>
                  <a:cubicBezTo>
                    <a:pt x="332" y="698"/>
                    <a:pt x="329" y="698"/>
                    <a:pt x="337" y="696"/>
                  </a:cubicBezTo>
                  <a:cubicBezTo>
                    <a:pt x="338" y="706"/>
                    <a:pt x="338" y="716"/>
                    <a:pt x="329" y="714"/>
                  </a:cubicBezTo>
                  <a:cubicBezTo>
                    <a:pt x="329" y="710"/>
                    <a:pt x="329" y="707"/>
                    <a:pt x="329" y="703"/>
                  </a:cubicBezTo>
                  <a:cubicBezTo>
                    <a:pt x="326" y="702"/>
                    <a:pt x="324" y="704"/>
                    <a:pt x="324" y="707"/>
                  </a:cubicBezTo>
                  <a:close/>
                  <a:moveTo>
                    <a:pt x="316" y="644"/>
                  </a:moveTo>
                  <a:cubicBezTo>
                    <a:pt x="322" y="632"/>
                    <a:pt x="323" y="658"/>
                    <a:pt x="324" y="666"/>
                  </a:cubicBezTo>
                  <a:cubicBezTo>
                    <a:pt x="308" y="668"/>
                    <a:pt x="324" y="649"/>
                    <a:pt x="316" y="644"/>
                  </a:cubicBezTo>
                  <a:close/>
                  <a:moveTo>
                    <a:pt x="335" y="562"/>
                  </a:moveTo>
                  <a:cubicBezTo>
                    <a:pt x="335" y="571"/>
                    <a:pt x="335" y="580"/>
                    <a:pt x="335" y="588"/>
                  </a:cubicBezTo>
                  <a:cubicBezTo>
                    <a:pt x="331" y="589"/>
                    <a:pt x="325" y="578"/>
                    <a:pt x="332" y="577"/>
                  </a:cubicBezTo>
                  <a:cubicBezTo>
                    <a:pt x="329" y="573"/>
                    <a:pt x="326" y="577"/>
                    <a:pt x="321" y="570"/>
                  </a:cubicBezTo>
                  <a:cubicBezTo>
                    <a:pt x="322" y="560"/>
                    <a:pt x="326" y="575"/>
                    <a:pt x="332" y="570"/>
                  </a:cubicBezTo>
                  <a:cubicBezTo>
                    <a:pt x="329" y="565"/>
                    <a:pt x="330" y="562"/>
                    <a:pt x="335" y="562"/>
                  </a:cubicBezTo>
                  <a:close/>
                  <a:moveTo>
                    <a:pt x="324" y="618"/>
                  </a:moveTo>
                  <a:cubicBezTo>
                    <a:pt x="327" y="616"/>
                    <a:pt x="327" y="609"/>
                    <a:pt x="332" y="611"/>
                  </a:cubicBezTo>
                  <a:cubicBezTo>
                    <a:pt x="333" y="620"/>
                    <a:pt x="326" y="620"/>
                    <a:pt x="321" y="622"/>
                  </a:cubicBezTo>
                  <a:cubicBezTo>
                    <a:pt x="321" y="618"/>
                    <a:pt x="322" y="618"/>
                    <a:pt x="324" y="618"/>
                  </a:cubicBezTo>
                  <a:close/>
                  <a:moveTo>
                    <a:pt x="337" y="677"/>
                  </a:moveTo>
                  <a:cubicBezTo>
                    <a:pt x="329" y="691"/>
                    <a:pt x="328" y="666"/>
                    <a:pt x="337" y="677"/>
                  </a:cubicBezTo>
                  <a:close/>
                  <a:moveTo>
                    <a:pt x="326" y="670"/>
                  </a:moveTo>
                  <a:cubicBezTo>
                    <a:pt x="326" y="662"/>
                    <a:pt x="327" y="658"/>
                    <a:pt x="332" y="659"/>
                  </a:cubicBezTo>
                  <a:cubicBezTo>
                    <a:pt x="332" y="652"/>
                    <a:pt x="332" y="646"/>
                    <a:pt x="332" y="640"/>
                  </a:cubicBezTo>
                  <a:cubicBezTo>
                    <a:pt x="341" y="642"/>
                    <a:pt x="339" y="675"/>
                    <a:pt x="326" y="670"/>
                  </a:cubicBezTo>
                  <a:close/>
                  <a:moveTo>
                    <a:pt x="326" y="555"/>
                  </a:moveTo>
                  <a:cubicBezTo>
                    <a:pt x="326" y="555"/>
                    <a:pt x="330" y="548"/>
                    <a:pt x="329" y="548"/>
                  </a:cubicBezTo>
                  <a:cubicBezTo>
                    <a:pt x="325" y="546"/>
                    <a:pt x="325" y="551"/>
                    <a:pt x="324" y="551"/>
                  </a:cubicBezTo>
                  <a:cubicBezTo>
                    <a:pt x="322" y="552"/>
                    <a:pt x="319" y="545"/>
                    <a:pt x="318" y="551"/>
                  </a:cubicBezTo>
                  <a:cubicBezTo>
                    <a:pt x="314" y="550"/>
                    <a:pt x="319" y="548"/>
                    <a:pt x="318" y="544"/>
                  </a:cubicBezTo>
                  <a:cubicBezTo>
                    <a:pt x="319" y="541"/>
                    <a:pt x="317" y="540"/>
                    <a:pt x="316" y="540"/>
                  </a:cubicBezTo>
                  <a:cubicBezTo>
                    <a:pt x="309" y="535"/>
                    <a:pt x="333" y="541"/>
                    <a:pt x="337" y="544"/>
                  </a:cubicBezTo>
                  <a:cubicBezTo>
                    <a:pt x="335" y="547"/>
                    <a:pt x="333" y="554"/>
                    <a:pt x="337" y="555"/>
                  </a:cubicBezTo>
                  <a:cubicBezTo>
                    <a:pt x="341" y="561"/>
                    <a:pt x="326" y="554"/>
                    <a:pt x="326" y="555"/>
                  </a:cubicBezTo>
                  <a:close/>
                  <a:moveTo>
                    <a:pt x="313" y="463"/>
                  </a:moveTo>
                  <a:cubicBezTo>
                    <a:pt x="313" y="463"/>
                    <a:pt x="318" y="467"/>
                    <a:pt x="318" y="466"/>
                  </a:cubicBezTo>
                  <a:cubicBezTo>
                    <a:pt x="318" y="467"/>
                    <a:pt x="312" y="474"/>
                    <a:pt x="313" y="474"/>
                  </a:cubicBezTo>
                  <a:cubicBezTo>
                    <a:pt x="309" y="473"/>
                    <a:pt x="313" y="471"/>
                    <a:pt x="313" y="470"/>
                  </a:cubicBezTo>
                  <a:cubicBezTo>
                    <a:pt x="314" y="469"/>
                    <a:pt x="312" y="463"/>
                    <a:pt x="313" y="463"/>
                  </a:cubicBezTo>
                  <a:close/>
                  <a:moveTo>
                    <a:pt x="345" y="492"/>
                  </a:moveTo>
                  <a:cubicBezTo>
                    <a:pt x="350" y="491"/>
                    <a:pt x="350" y="495"/>
                    <a:pt x="351" y="500"/>
                  </a:cubicBezTo>
                  <a:cubicBezTo>
                    <a:pt x="348" y="499"/>
                    <a:pt x="348" y="501"/>
                    <a:pt x="348" y="503"/>
                  </a:cubicBezTo>
                  <a:cubicBezTo>
                    <a:pt x="345" y="503"/>
                    <a:pt x="346" y="497"/>
                    <a:pt x="345" y="492"/>
                  </a:cubicBezTo>
                  <a:close/>
                  <a:moveTo>
                    <a:pt x="343" y="422"/>
                  </a:moveTo>
                  <a:cubicBezTo>
                    <a:pt x="337" y="422"/>
                    <a:pt x="339" y="412"/>
                    <a:pt x="332" y="415"/>
                  </a:cubicBezTo>
                  <a:cubicBezTo>
                    <a:pt x="334" y="406"/>
                    <a:pt x="345" y="413"/>
                    <a:pt x="343" y="422"/>
                  </a:cubicBezTo>
                  <a:close/>
                  <a:moveTo>
                    <a:pt x="340" y="477"/>
                  </a:moveTo>
                  <a:cubicBezTo>
                    <a:pt x="340" y="478"/>
                    <a:pt x="340" y="481"/>
                    <a:pt x="340" y="481"/>
                  </a:cubicBezTo>
                  <a:cubicBezTo>
                    <a:pt x="343" y="483"/>
                    <a:pt x="346" y="481"/>
                    <a:pt x="345" y="489"/>
                  </a:cubicBezTo>
                  <a:cubicBezTo>
                    <a:pt x="341" y="490"/>
                    <a:pt x="340" y="486"/>
                    <a:pt x="340" y="481"/>
                  </a:cubicBezTo>
                  <a:cubicBezTo>
                    <a:pt x="337" y="481"/>
                    <a:pt x="338" y="486"/>
                    <a:pt x="337" y="489"/>
                  </a:cubicBezTo>
                  <a:cubicBezTo>
                    <a:pt x="333" y="487"/>
                    <a:pt x="332" y="491"/>
                    <a:pt x="332" y="496"/>
                  </a:cubicBezTo>
                  <a:cubicBezTo>
                    <a:pt x="329" y="495"/>
                    <a:pt x="330" y="489"/>
                    <a:pt x="329" y="485"/>
                  </a:cubicBezTo>
                  <a:cubicBezTo>
                    <a:pt x="326" y="485"/>
                    <a:pt x="324" y="485"/>
                    <a:pt x="321" y="485"/>
                  </a:cubicBezTo>
                  <a:cubicBezTo>
                    <a:pt x="320" y="482"/>
                    <a:pt x="337" y="476"/>
                    <a:pt x="340" y="477"/>
                  </a:cubicBezTo>
                  <a:close/>
                  <a:moveTo>
                    <a:pt x="332" y="466"/>
                  </a:moveTo>
                  <a:cubicBezTo>
                    <a:pt x="326" y="477"/>
                    <a:pt x="323" y="454"/>
                    <a:pt x="324" y="444"/>
                  </a:cubicBezTo>
                  <a:cubicBezTo>
                    <a:pt x="327" y="447"/>
                    <a:pt x="327" y="453"/>
                    <a:pt x="332" y="452"/>
                  </a:cubicBezTo>
                  <a:cubicBezTo>
                    <a:pt x="331" y="454"/>
                    <a:pt x="325" y="466"/>
                    <a:pt x="332" y="466"/>
                  </a:cubicBezTo>
                  <a:close/>
                  <a:moveTo>
                    <a:pt x="329" y="411"/>
                  </a:moveTo>
                  <a:cubicBezTo>
                    <a:pt x="326" y="411"/>
                    <a:pt x="327" y="418"/>
                    <a:pt x="326" y="422"/>
                  </a:cubicBezTo>
                  <a:cubicBezTo>
                    <a:pt x="323" y="421"/>
                    <a:pt x="322" y="423"/>
                    <a:pt x="321" y="426"/>
                  </a:cubicBezTo>
                  <a:cubicBezTo>
                    <a:pt x="315" y="425"/>
                    <a:pt x="321" y="413"/>
                    <a:pt x="324" y="415"/>
                  </a:cubicBezTo>
                  <a:cubicBezTo>
                    <a:pt x="324" y="407"/>
                    <a:pt x="324" y="400"/>
                    <a:pt x="324" y="392"/>
                  </a:cubicBezTo>
                  <a:cubicBezTo>
                    <a:pt x="328" y="395"/>
                    <a:pt x="328" y="404"/>
                    <a:pt x="329" y="411"/>
                  </a:cubicBezTo>
                  <a:close/>
                  <a:moveTo>
                    <a:pt x="324" y="344"/>
                  </a:moveTo>
                  <a:cubicBezTo>
                    <a:pt x="328" y="343"/>
                    <a:pt x="329" y="347"/>
                    <a:pt x="329" y="352"/>
                  </a:cubicBezTo>
                  <a:cubicBezTo>
                    <a:pt x="327" y="351"/>
                    <a:pt x="327" y="353"/>
                    <a:pt x="326" y="355"/>
                  </a:cubicBezTo>
                  <a:cubicBezTo>
                    <a:pt x="323" y="355"/>
                    <a:pt x="324" y="349"/>
                    <a:pt x="324" y="344"/>
                  </a:cubicBezTo>
                  <a:close/>
                  <a:moveTo>
                    <a:pt x="316" y="385"/>
                  </a:moveTo>
                  <a:cubicBezTo>
                    <a:pt x="316" y="381"/>
                    <a:pt x="321" y="382"/>
                    <a:pt x="321" y="378"/>
                  </a:cubicBezTo>
                  <a:cubicBezTo>
                    <a:pt x="324" y="378"/>
                    <a:pt x="323" y="382"/>
                    <a:pt x="324" y="385"/>
                  </a:cubicBezTo>
                  <a:cubicBezTo>
                    <a:pt x="320" y="389"/>
                    <a:pt x="320" y="386"/>
                    <a:pt x="316" y="385"/>
                  </a:cubicBezTo>
                  <a:close/>
                  <a:moveTo>
                    <a:pt x="321" y="352"/>
                  </a:moveTo>
                  <a:cubicBezTo>
                    <a:pt x="318" y="354"/>
                    <a:pt x="319" y="348"/>
                    <a:pt x="318" y="348"/>
                  </a:cubicBezTo>
                  <a:cubicBezTo>
                    <a:pt x="317" y="347"/>
                    <a:pt x="311" y="349"/>
                    <a:pt x="310" y="348"/>
                  </a:cubicBezTo>
                  <a:cubicBezTo>
                    <a:pt x="307" y="343"/>
                    <a:pt x="323" y="336"/>
                    <a:pt x="321" y="352"/>
                  </a:cubicBezTo>
                  <a:close/>
                  <a:moveTo>
                    <a:pt x="310" y="537"/>
                  </a:moveTo>
                  <a:cubicBezTo>
                    <a:pt x="312" y="551"/>
                    <a:pt x="297" y="551"/>
                    <a:pt x="300" y="537"/>
                  </a:cubicBezTo>
                  <a:cubicBezTo>
                    <a:pt x="305" y="530"/>
                    <a:pt x="303" y="537"/>
                    <a:pt x="310" y="537"/>
                  </a:cubicBezTo>
                  <a:close/>
                  <a:moveTo>
                    <a:pt x="286" y="496"/>
                  </a:moveTo>
                  <a:cubicBezTo>
                    <a:pt x="285" y="489"/>
                    <a:pt x="284" y="493"/>
                    <a:pt x="286" y="481"/>
                  </a:cubicBezTo>
                  <a:cubicBezTo>
                    <a:pt x="293" y="485"/>
                    <a:pt x="293" y="499"/>
                    <a:pt x="286" y="503"/>
                  </a:cubicBezTo>
                  <a:cubicBezTo>
                    <a:pt x="281" y="512"/>
                    <a:pt x="287" y="503"/>
                    <a:pt x="286" y="496"/>
                  </a:cubicBezTo>
                  <a:close/>
                  <a:moveTo>
                    <a:pt x="286" y="466"/>
                  </a:moveTo>
                  <a:cubicBezTo>
                    <a:pt x="286" y="461"/>
                    <a:pt x="286" y="456"/>
                    <a:pt x="286" y="452"/>
                  </a:cubicBezTo>
                  <a:cubicBezTo>
                    <a:pt x="284" y="452"/>
                    <a:pt x="283" y="452"/>
                    <a:pt x="281" y="452"/>
                  </a:cubicBezTo>
                  <a:cubicBezTo>
                    <a:pt x="281" y="447"/>
                    <a:pt x="286" y="448"/>
                    <a:pt x="289" y="448"/>
                  </a:cubicBezTo>
                  <a:cubicBezTo>
                    <a:pt x="289" y="453"/>
                    <a:pt x="289" y="458"/>
                    <a:pt x="289" y="463"/>
                  </a:cubicBezTo>
                  <a:cubicBezTo>
                    <a:pt x="292" y="462"/>
                    <a:pt x="291" y="456"/>
                    <a:pt x="292" y="452"/>
                  </a:cubicBezTo>
                  <a:cubicBezTo>
                    <a:pt x="299" y="456"/>
                    <a:pt x="300" y="464"/>
                    <a:pt x="297" y="474"/>
                  </a:cubicBezTo>
                  <a:cubicBezTo>
                    <a:pt x="293" y="472"/>
                    <a:pt x="295" y="462"/>
                    <a:pt x="286" y="466"/>
                  </a:cubicBezTo>
                  <a:close/>
                  <a:moveTo>
                    <a:pt x="289" y="344"/>
                  </a:moveTo>
                  <a:cubicBezTo>
                    <a:pt x="283" y="356"/>
                    <a:pt x="278" y="331"/>
                    <a:pt x="289" y="344"/>
                  </a:cubicBezTo>
                  <a:close/>
                  <a:moveTo>
                    <a:pt x="286" y="326"/>
                  </a:moveTo>
                  <a:cubicBezTo>
                    <a:pt x="281" y="325"/>
                    <a:pt x="280" y="319"/>
                    <a:pt x="281" y="311"/>
                  </a:cubicBezTo>
                  <a:cubicBezTo>
                    <a:pt x="286" y="312"/>
                    <a:pt x="287" y="317"/>
                    <a:pt x="286" y="326"/>
                  </a:cubicBezTo>
                  <a:close/>
                  <a:moveTo>
                    <a:pt x="281" y="500"/>
                  </a:moveTo>
                  <a:cubicBezTo>
                    <a:pt x="271" y="494"/>
                    <a:pt x="277" y="485"/>
                    <a:pt x="278" y="481"/>
                  </a:cubicBezTo>
                  <a:cubicBezTo>
                    <a:pt x="279" y="478"/>
                    <a:pt x="281" y="479"/>
                    <a:pt x="281" y="481"/>
                  </a:cubicBezTo>
                  <a:cubicBezTo>
                    <a:pt x="280" y="488"/>
                    <a:pt x="279" y="486"/>
                    <a:pt x="281" y="500"/>
                  </a:cubicBezTo>
                  <a:close/>
                  <a:moveTo>
                    <a:pt x="270" y="366"/>
                  </a:moveTo>
                  <a:cubicBezTo>
                    <a:pt x="264" y="367"/>
                    <a:pt x="269" y="353"/>
                    <a:pt x="267" y="348"/>
                  </a:cubicBezTo>
                  <a:cubicBezTo>
                    <a:pt x="271" y="352"/>
                    <a:pt x="274" y="352"/>
                    <a:pt x="275" y="344"/>
                  </a:cubicBezTo>
                  <a:cubicBezTo>
                    <a:pt x="286" y="354"/>
                    <a:pt x="267" y="355"/>
                    <a:pt x="270" y="366"/>
                  </a:cubicBezTo>
                  <a:close/>
                  <a:moveTo>
                    <a:pt x="270" y="389"/>
                  </a:moveTo>
                  <a:cubicBezTo>
                    <a:pt x="280" y="400"/>
                    <a:pt x="262" y="401"/>
                    <a:pt x="270" y="389"/>
                  </a:cubicBezTo>
                  <a:close/>
                  <a:moveTo>
                    <a:pt x="270" y="452"/>
                  </a:moveTo>
                  <a:cubicBezTo>
                    <a:pt x="277" y="452"/>
                    <a:pt x="283" y="460"/>
                    <a:pt x="278" y="466"/>
                  </a:cubicBezTo>
                  <a:cubicBezTo>
                    <a:pt x="271" y="467"/>
                    <a:pt x="269" y="461"/>
                    <a:pt x="270" y="452"/>
                  </a:cubicBezTo>
                  <a:close/>
                  <a:moveTo>
                    <a:pt x="278" y="315"/>
                  </a:moveTo>
                  <a:cubicBezTo>
                    <a:pt x="274" y="323"/>
                    <a:pt x="270" y="307"/>
                    <a:pt x="270" y="322"/>
                  </a:cubicBezTo>
                  <a:cubicBezTo>
                    <a:pt x="258" y="316"/>
                    <a:pt x="280" y="308"/>
                    <a:pt x="270" y="304"/>
                  </a:cubicBezTo>
                  <a:cubicBezTo>
                    <a:pt x="272" y="297"/>
                    <a:pt x="275" y="303"/>
                    <a:pt x="278" y="304"/>
                  </a:cubicBezTo>
                  <a:cubicBezTo>
                    <a:pt x="280" y="290"/>
                    <a:pt x="269" y="294"/>
                    <a:pt x="265" y="289"/>
                  </a:cubicBezTo>
                  <a:cubicBezTo>
                    <a:pt x="265" y="280"/>
                    <a:pt x="271" y="291"/>
                    <a:pt x="273" y="289"/>
                  </a:cubicBezTo>
                  <a:cubicBezTo>
                    <a:pt x="276" y="285"/>
                    <a:pt x="274" y="289"/>
                    <a:pt x="283" y="289"/>
                  </a:cubicBezTo>
                  <a:cubicBezTo>
                    <a:pt x="284" y="300"/>
                    <a:pt x="276" y="301"/>
                    <a:pt x="278" y="315"/>
                  </a:cubicBezTo>
                  <a:close/>
                  <a:moveTo>
                    <a:pt x="305" y="696"/>
                  </a:moveTo>
                  <a:cubicBezTo>
                    <a:pt x="314" y="700"/>
                    <a:pt x="305" y="707"/>
                    <a:pt x="310" y="718"/>
                  </a:cubicBezTo>
                  <a:cubicBezTo>
                    <a:pt x="308" y="715"/>
                    <a:pt x="304" y="714"/>
                    <a:pt x="300" y="714"/>
                  </a:cubicBezTo>
                  <a:cubicBezTo>
                    <a:pt x="297" y="702"/>
                    <a:pt x="304" y="703"/>
                    <a:pt x="305" y="696"/>
                  </a:cubicBezTo>
                  <a:close/>
                  <a:moveTo>
                    <a:pt x="294" y="699"/>
                  </a:moveTo>
                  <a:cubicBezTo>
                    <a:pt x="294" y="697"/>
                    <a:pt x="294" y="694"/>
                    <a:pt x="294" y="692"/>
                  </a:cubicBezTo>
                  <a:cubicBezTo>
                    <a:pt x="296" y="692"/>
                    <a:pt x="298" y="692"/>
                    <a:pt x="300" y="692"/>
                  </a:cubicBezTo>
                  <a:cubicBezTo>
                    <a:pt x="300" y="694"/>
                    <a:pt x="300" y="697"/>
                    <a:pt x="300" y="699"/>
                  </a:cubicBezTo>
                  <a:cubicBezTo>
                    <a:pt x="298" y="699"/>
                    <a:pt x="296" y="699"/>
                    <a:pt x="294" y="699"/>
                  </a:cubicBezTo>
                  <a:close/>
                  <a:moveTo>
                    <a:pt x="316" y="721"/>
                  </a:moveTo>
                  <a:cubicBezTo>
                    <a:pt x="311" y="724"/>
                    <a:pt x="316" y="740"/>
                    <a:pt x="308" y="736"/>
                  </a:cubicBezTo>
                  <a:cubicBezTo>
                    <a:pt x="307" y="727"/>
                    <a:pt x="309" y="720"/>
                    <a:pt x="316" y="721"/>
                  </a:cubicBezTo>
                  <a:close/>
                  <a:moveTo>
                    <a:pt x="316" y="751"/>
                  </a:moveTo>
                  <a:cubicBezTo>
                    <a:pt x="324" y="737"/>
                    <a:pt x="325" y="762"/>
                    <a:pt x="316" y="751"/>
                  </a:cubicBezTo>
                  <a:close/>
                  <a:moveTo>
                    <a:pt x="351" y="681"/>
                  </a:moveTo>
                  <a:cubicBezTo>
                    <a:pt x="353" y="689"/>
                    <a:pt x="341" y="689"/>
                    <a:pt x="343" y="681"/>
                  </a:cubicBezTo>
                  <a:cubicBezTo>
                    <a:pt x="344" y="676"/>
                    <a:pt x="350" y="678"/>
                    <a:pt x="351" y="681"/>
                  </a:cubicBezTo>
                  <a:close/>
                  <a:moveTo>
                    <a:pt x="351" y="662"/>
                  </a:moveTo>
                  <a:cubicBezTo>
                    <a:pt x="356" y="670"/>
                    <a:pt x="359" y="680"/>
                    <a:pt x="367" y="684"/>
                  </a:cubicBezTo>
                  <a:cubicBezTo>
                    <a:pt x="365" y="687"/>
                    <a:pt x="364" y="691"/>
                    <a:pt x="364" y="696"/>
                  </a:cubicBezTo>
                  <a:cubicBezTo>
                    <a:pt x="361" y="696"/>
                    <a:pt x="363" y="690"/>
                    <a:pt x="361" y="688"/>
                  </a:cubicBezTo>
                  <a:cubicBezTo>
                    <a:pt x="357" y="680"/>
                    <a:pt x="349" y="678"/>
                    <a:pt x="351" y="662"/>
                  </a:cubicBezTo>
                  <a:close/>
                  <a:moveTo>
                    <a:pt x="348" y="718"/>
                  </a:moveTo>
                  <a:cubicBezTo>
                    <a:pt x="342" y="717"/>
                    <a:pt x="342" y="708"/>
                    <a:pt x="345" y="703"/>
                  </a:cubicBezTo>
                  <a:cubicBezTo>
                    <a:pt x="349" y="704"/>
                    <a:pt x="347" y="712"/>
                    <a:pt x="348" y="718"/>
                  </a:cubicBezTo>
                  <a:close/>
                  <a:moveTo>
                    <a:pt x="388" y="755"/>
                  </a:moveTo>
                  <a:cubicBezTo>
                    <a:pt x="389" y="750"/>
                    <a:pt x="396" y="752"/>
                    <a:pt x="396" y="755"/>
                  </a:cubicBezTo>
                  <a:cubicBezTo>
                    <a:pt x="399" y="763"/>
                    <a:pt x="387" y="763"/>
                    <a:pt x="388" y="755"/>
                  </a:cubicBezTo>
                  <a:close/>
                  <a:moveTo>
                    <a:pt x="399" y="684"/>
                  </a:moveTo>
                  <a:cubicBezTo>
                    <a:pt x="405" y="687"/>
                    <a:pt x="407" y="696"/>
                    <a:pt x="410" y="703"/>
                  </a:cubicBezTo>
                  <a:cubicBezTo>
                    <a:pt x="408" y="709"/>
                    <a:pt x="407" y="703"/>
                    <a:pt x="407" y="699"/>
                  </a:cubicBezTo>
                  <a:cubicBezTo>
                    <a:pt x="403" y="698"/>
                    <a:pt x="403" y="703"/>
                    <a:pt x="399" y="703"/>
                  </a:cubicBezTo>
                  <a:cubicBezTo>
                    <a:pt x="395" y="701"/>
                    <a:pt x="399" y="699"/>
                    <a:pt x="402" y="699"/>
                  </a:cubicBezTo>
                  <a:cubicBezTo>
                    <a:pt x="402" y="693"/>
                    <a:pt x="398" y="692"/>
                    <a:pt x="399" y="684"/>
                  </a:cubicBezTo>
                  <a:close/>
                  <a:moveTo>
                    <a:pt x="412" y="696"/>
                  </a:moveTo>
                  <a:cubicBezTo>
                    <a:pt x="412" y="692"/>
                    <a:pt x="412" y="688"/>
                    <a:pt x="412" y="684"/>
                  </a:cubicBezTo>
                  <a:cubicBezTo>
                    <a:pt x="416" y="686"/>
                    <a:pt x="417" y="691"/>
                    <a:pt x="421" y="692"/>
                  </a:cubicBezTo>
                  <a:cubicBezTo>
                    <a:pt x="421" y="695"/>
                    <a:pt x="420" y="695"/>
                    <a:pt x="418" y="696"/>
                  </a:cubicBezTo>
                  <a:cubicBezTo>
                    <a:pt x="416" y="696"/>
                    <a:pt x="414" y="696"/>
                    <a:pt x="412" y="696"/>
                  </a:cubicBezTo>
                  <a:close/>
                  <a:moveTo>
                    <a:pt x="439" y="692"/>
                  </a:moveTo>
                  <a:cubicBezTo>
                    <a:pt x="436" y="691"/>
                    <a:pt x="438" y="685"/>
                    <a:pt x="434" y="684"/>
                  </a:cubicBezTo>
                  <a:cubicBezTo>
                    <a:pt x="435" y="680"/>
                    <a:pt x="439" y="681"/>
                    <a:pt x="442" y="681"/>
                  </a:cubicBezTo>
                  <a:cubicBezTo>
                    <a:pt x="443" y="687"/>
                    <a:pt x="440" y="687"/>
                    <a:pt x="439" y="692"/>
                  </a:cubicBezTo>
                  <a:close/>
                  <a:moveTo>
                    <a:pt x="439" y="581"/>
                  </a:moveTo>
                  <a:cubicBezTo>
                    <a:pt x="442" y="582"/>
                    <a:pt x="441" y="588"/>
                    <a:pt x="445" y="588"/>
                  </a:cubicBezTo>
                  <a:cubicBezTo>
                    <a:pt x="444" y="599"/>
                    <a:pt x="436" y="589"/>
                    <a:pt x="439" y="581"/>
                  </a:cubicBezTo>
                  <a:close/>
                  <a:moveTo>
                    <a:pt x="439" y="655"/>
                  </a:moveTo>
                  <a:cubicBezTo>
                    <a:pt x="438" y="666"/>
                    <a:pt x="434" y="651"/>
                    <a:pt x="429" y="655"/>
                  </a:cubicBezTo>
                  <a:cubicBezTo>
                    <a:pt x="424" y="657"/>
                    <a:pt x="427" y="668"/>
                    <a:pt x="423" y="673"/>
                  </a:cubicBezTo>
                  <a:cubicBezTo>
                    <a:pt x="422" y="676"/>
                    <a:pt x="416" y="682"/>
                    <a:pt x="412" y="681"/>
                  </a:cubicBezTo>
                  <a:cubicBezTo>
                    <a:pt x="410" y="666"/>
                    <a:pt x="397" y="665"/>
                    <a:pt x="399" y="644"/>
                  </a:cubicBezTo>
                  <a:cubicBezTo>
                    <a:pt x="393" y="644"/>
                    <a:pt x="393" y="653"/>
                    <a:pt x="394" y="662"/>
                  </a:cubicBezTo>
                  <a:cubicBezTo>
                    <a:pt x="395" y="671"/>
                    <a:pt x="398" y="658"/>
                    <a:pt x="402" y="666"/>
                  </a:cubicBezTo>
                  <a:cubicBezTo>
                    <a:pt x="396" y="674"/>
                    <a:pt x="392" y="680"/>
                    <a:pt x="383" y="673"/>
                  </a:cubicBezTo>
                  <a:cubicBezTo>
                    <a:pt x="386" y="686"/>
                    <a:pt x="389" y="687"/>
                    <a:pt x="383" y="699"/>
                  </a:cubicBezTo>
                  <a:cubicBezTo>
                    <a:pt x="380" y="695"/>
                    <a:pt x="373" y="695"/>
                    <a:pt x="367" y="696"/>
                  </a:cubicBezTo>
                  <a:cubicBezTo>
                    <a:pt x="367" y="689"/>
                    <a:pt x="371" y="687"/>
                    <a:pt x="378" y="688"/>
                  </a:cubicBezTo>
                  <a:cubicBezTo>
                    <a:pt x="379" y="682"/>
                    <a:pt x="371" y="683"/>
                    <a:pt x="370" y="681"/>
                  </a:cubicBezTo>
                  <a:cubicBezTo>
                    <a:pt x="369" y="680"/>
                    <a:pt x="372" y="675"/>
                    <a:pt x="372" y="673"/>
                  </a:cubicBezTo>
                  <a:cubicBezTo>
                    <a:pt x="372" y="672"/>
                    <a:pt x="370" y="661"/>
                    <a:pt x="367" y="659"/>
                  </a:cubicBezTo>
                  <a:cubicBezTo>
                    <a:pt x="361" y="658"/>
                    <a:pt x="366" y="672"/>
                    <a:pt x="364" y="677"/>
                  </a:cubicBezTo>
                  <a:cubicBezTo>
                    <a:pt x="362" y="677"/>
                    <a:pt x="356" y="665"/>
                    <a:pt x="361" y="666"/>
                  </a:cubicBezTo>
                  <a:cubicBezTo>
                    <a:pt x="361" y="658"/>
                    <a:pt x="354" y="659"/>
                    <a:pt x="351" y="655"/>
                  </a:cubicBezTo>
                  <a:cubicBezTo>
                    <a:pt x="345" y="655"/>
                    <a:pt x="345" y="664"/>
                    <a:pt x="345" y="673"/>
                  </a:cubicBezTo>
                  <a:cubicBezTo>
                    <a:pt x="335" y="670"/>
                    <a:pt x="346" y="658"/>
                    <a:pt x="343" y="644"/>
                  </a:cubicBezTo>
                  <a:cubicBezTo>
                    <a:pt x="345" y="646"/>
                    <a:pt x="345" y="652"/>
                    <a:pt x="351" y="651"/>
                  </a:cubicBezTo>
                  <a:cubicBezTo>
                    <a:pt x="360" y="653"/>
                    <a:pt x="351" y="633"/>
                    <a:pt x="351" y="633"/>
                  </a:cubicBezTo>
                  <a:cubicBezTo>
                    <a:pt x="348" y="632"/>
                    <a:pt x="347" y="645"/>
                    <a:pt x="345" y="636"/>
                  </a:cubicBezTo>
                  <a:cubicBezTo>
                    <a:pt x="345" y="634"/>
                    <a:pt x="346" y="631"/>
                    <a:pt x="345" y="629"/>
                  </a:cubicBezTo>
                  <a:cubicBezTo>
                    <a:pt x="343" y="623"/>
                    <a:pt x="335" y="621"/>
                    <a:pt x="340" y="611"/>
                  </a:cubicBezTo>
                  <a:cubicBezTo>
                    <a:pt x="342" y="603"/>
                    <a:pt x="344" y="615"/>
                    <a:pt x="340" y="614"/>
                  </a:cubicBezTo>
                  <a:cubicBezTo>
                    <a:pt x="336" y="622"/>
                    <a:pt x="347" y="618"/>
                    <a:pt x="351" y="622"/>
                  </a:cubicBezTo>
                  <a:cubicBezTo>
                    <a:pt x="352" y="623"/>
                    <a:pt x="360" y="639"/>
                    <a:pt x="359" y="618"/>
                  </a:cubicBezTo>
                  <a:cubicBezTo>
                    <a:pt x="365" y="625"/>
                    <a:pt x="364" y="640"/>
                    <a:pt x="364" y="655"/>
                  </a:cubicBezTo>
                  <a:cubicBezTo>
                    <a:pt x="368" y="656"/>
                    <a:pt x="369" y="651"/>
                    <a:pt x="372" y="651"/>
                  </a:cubicBezTo>
                  <a:cubicBezTo>
                    <a:pt x="371" y="645"/>
                    <a:pt x="364" y="648"/>
                    <a:pt x="367" y="636"/>
                  </a:cubicBezTo>
                  <a:cubicBezTo>
                    <a:pt x="370" y="636"/>
                    <a:pt x="372" y="636"/>
                    <a:pt x="375" y="636"/>
                  </a:cubicBezTo>
                  <a:cubicBezTo>
                    <a:pt x="374" y="632"/>
                    <a:pt x="371" y="629"/>
                    <a:pt x="367" y="629"/>
                  </a:cubicBezTo>
                  <a:cubicBezTo>
                    <a:pt x="365" y="624"/>
                    <a:pt x="377" y="620"/>
                    <a:pt x="370" y="618"/>
                  </a:cubicBezTo>
                  <a:cubicBezTo>
                    <a:pt x="372" y="606"/>
                    <a:pt x="375" y="622"/>
                    <a:pt x="378" y="622"/>
                  </a:cubicBezTo>
                  <a:cubicBezTo>
                    <a:pt x="378" y="652"/>
                    <a:pt x="373" y="658"/>
                    <a:pt x="378" y="681"/>
                  </a:cubicBezTo>
                  <a:cubicBezTo>
                    <a:pt x="386" y="678"/>
                    <a:pt x="375" y="653"/>
                    <a:pt x="380" y="648"/>
                  </a:cubicBezTo>
                  <a:cubicBezTo>
                    <a:pt x="384" y="643"/>
                    <a:pt x="377" y="638"/>
                    <a:pt x="383" y="629"/>
                  </a:cubicBezTo>
                  <a:cubicBezTo>
                    <a:pt x="390" y="634"/>
                    <a:pt x="391" y="637"/>
                    <a:pt x="388" y="648"/>
                  </a:cubicBezTo>
                  <a:cubicBezTo>
                    <a:pt x="399" y="651"/>
                    <a:pt x="392" y="630"/>
                    <a:pt x="402" y="633"/>
                  </a:cubicBezTo>
                  <a:cubicBezTo>
                    <a:pt x="402" y="622"/>
                    <a:pt x="395" y="620"/>
                    <a:pt x="394" y="611"/>
                  </a:cubicBezTo>
                  <a:cubicBezTo>
                    <a:pt x="391" y="612"/>
                    <a:pt x="387" y="617"/>
                    <a:pt x="391" y="618"/>
                  </a:cubicBezTo>
                  <a:cubicBezTo>
                    <a:pt x="389" y="624"/>
                    <a:pt x="385" y="620"/>
                    <a:pt x="386" y="614"/>
                  </a:cubicBezTo>
                  <a:cubicBezTo>
                    <a:pt x="383" y="610"/>
                    <a:pt x="376" y="613"/>
                    <a:pt x="378" y="603"/>
                  </a:cubicBezTo>
                  <a:cubicBezTo>
                    <a:pt x="370" y="603"/>
                    <a:pt x="363" y="603"/>
                    <a:pt x="356" y="603"/>
                  </a:cubicBezTo>
                  <a:cubicBezTo>
                    <a:pt x="358" y="607"/>
                    <a:pt x="361" y="609"/>
                    <a:pt x="364" y="611"/>
                  </a:cubicBezTo>
                  <a:cubicBezTo>
                    <a:pt x="364" y="624"/>
                    <a:pt x="355" y="603"/>
                    <a:pt x="356" y="614"/>
                  </a:cubicBezTo>
                  <a:cubicBezTo>
                    <a:pt x="349" y="614"/>
                    <a:pt x="353" y="598"/>
                    <a:pt x="343" y="603"/>
                  </a:cubicBezTo>
                  <a:cubicBezTo>
                    <a:pt x="340" y="598"/>
                    <a:pt x="345" y="593"/>
                    <a:pt x="345" y="592"/>
                  </a:cubicBezTo>
                  <a:cubicBezTo>
                    <a:pt x="345" y="585"/>
                    <a:pt x="336" y="584"/>
                    <a:pt x="343" y="581"/>
                  </a:cubicBezTo>
                  <a:cubicBezTo>
                    <a:pt x="352" y="577"/>
                    <a:pt x="347" y="592"/>
                    <a:pt x="348" y="599"/>
                  </a:cubicBezTo>
                  <a:cubicBezTo>
                    <a:pt x="355" y="599"/>
                    <a:pt x="352" y="586"/>
                    <a:pt x="356" y="581"/>
                  </a:cubicBezTo>
                  <a:cubicBezTo>
                    <a:pt x="357" y="577"/>
                    <a:pt x="352" y="579"/>
                    <a:pt x="351" y="577"/>
                  </a:cubicBezTo>
                  <a:cubicBezTo>
                    <a:pt x="349" y="574"/>
                    <a:pt x="353" y="565"/>
                    <a:pt x="348" y="566"/>
                  </a:cubicBezTo>
                  <a:cubicBezTo>
                    <a:pt x="350" y="562"/>
                    <a:pt x="354" y="562"/>
                    <a:pt x="353" y="555"/>
                  </a:cubicBezTo>
                  <a:cubicBezTo>
                    <a:pt x="360" y="556"/>
                    <a:pt x="354" y="568"/>
                    <a:pt x="353" y="570"/>
                  </a:cubicBezTo>
                  <a:cubicBezTo>
                    <a:pt x="353" y="578"/>
                    <a:pt x="363" y="572"/>
                    <a:pt x="367" y="574"/>
                  </a:cubicBezTo>
                  <a:cubicBezTo>
                    <a:pt x="365" y="585"/>
                    <a:pt x="372" y="587"/>
                    <a:pt x="370" y="599"/>
                  </a:cubicBezTo>
                  <a:cubicBezTo>
                    <a:pt x="384" y="595"/>
                    <a:pt x="371" y="585"/>
                    <a:pt x="372" y="570"/>
                  </a:cubicBezTo>
                  <a:cubicBezTo>
                    <a:pt x="376" y="571"/>
                    <a:pt x="376" y="576"/>
                    <a:pt x="380" y="577"/>
                  </a:cubicBezTo>
                  <a:cubicBezTo>
                    <a:pt x="386" y="578"/>
                    <a:pt x="382" y="564"/>
                    <a:pt x="383" y="559"/>
                  </a:cubicBezTo>
                  <a:cubicBezTo>
                    <a:pt x="390" y="562"/>
                    <a:pt x="390" y="554"/>
                    <a:pt x="396" y="555"/>
                  </a:cubicBezTo>
                  <a:cubicBezTo>
                    <a:pt x="397" y="570"/>
                    <a:pt x="403" y="555"/>
                    <a:pt x="410" y="562"/>
                  </a:cubicBezTo>
                  <a:cubicBezTo>
                    <a:pt x="409" y="567"/>
                    <a:pt x="405" y="568"/>
                    <a:pt x="404" y="574"/>
                  </a:cubicBezTo>
                  <a:cubicBezTo>
                    <a:pt x="413" y="576"/>
                    <a:pt x="410" y="563"/>
                    <a:pt x="418" y="566"/>
                  </a:cubicBezTo>
                  <a:cubicBezTo>
                    <a:pt x="419" y="574"/>
                    <a:pt x="426" y="573"/>
                    <a:pt x="421" y="581"/>
                  </a:cubicBezTo>
                  <a:cubicBezTo>
                    <a:pt x="417" y="580"/>
                    <a:pt x="420" y="570"/>
                    <a:pt x="415" y="570"/>
                  </a:cubicBezTo>
                  <a:cubicBezTo>
                    <a:pt x="412" y="571"/>
                    <a:pt x="412" y="577"/>
                    <a:pt x="415" y="577"/>
                  </a:cubicBezTo>
                  <a:cubicBezTo>
                    <a:pt x="415" y="582"/>
                    <a:pt x="415" y="588"/>
                    <a:pt x="418" y="588"/>
                  </a:cubicBezTo>
                  <a:cubicBezTo>
                    <a:pt x="416" y="600"/>
                    <a:pt x="416" y="595"/>
                    <a:pt x="418" y="607"/>
                  </a:cubicBezTo>
                  <a:cubicBezTo>
                    <a:pt x="424" y="609"/>
                    <a:pt x="423" y="602"/>
                    <a:pt x="423" y="596"/>
                  </a:cubicBezTo>
                  <a:cubicBezTo>
                    <a:pt x="426" y="596"/>
                    <a:pt x="426" y="602"/>
                    <a:pt x="426" y="607"/>
                  </a:cubicBezTo>
                  <a:cubicBezTo>
                    <a:pt x="426" y="614"/>
                    <a:pt x="433" y="612"/>
                    <a:pt x="431" y="622"/>
                  </a:cubicBezTo>
                  <a:cubicBezTo>
                    <a:pt x="429" y="620"/>
                    <a:pt x="427" y="618"/>
                    <a:pt x="423" y="618"/>
                  </a:cubicBezTo>
                  <a:cubicBezTo>
                    <a:pt x="416" y="617"/>
                    <a:pt x="427" y="642"/>
                    <a:pt x="415" y="636"/>
                  </a:cubicBezTo>
                  <a:cubicBezTo>
                    <a:pt x="418" y="630"/>
                    <a:pt x="416" y="618"/>
                    <a:pt x="421" y="614"/>
                  </a:cubicBezTo>
                  <a:cubicBezTo>
                    <a:pt x="419" y="611"/>
                    <a:pt x="416" y="609"/>
                    <a:pt x="412" y="607"/>
                  </a:cubicBezTo>
                  <a:cubicBezTo>
                    <a:pt x="407" y="607"/>
                    <a:pt x="412" y="615"/>
                    <a:pt x="412" y="614"/>
                  </a:cubicBezTo>
                  <a:cubicBezTo>
                    <a:pt x="411" y="620"/>
                    <a:pt x="400" y="622"/>
                    <a:pt x="410" y="625"/>
                  </a:cubicBezTo>
                  <a:cubicBezTo>
                    <a:pt x="409" y="629"/>
                    <a:pt x="404" y="628"/>
                    <a:pt x="404" y="633"/>
                  </a:cubicBezTo>
                  <a:cubicBezTo>
                    <a:pt x="405" y="637"/>
                    <a:pt x="409" y="636"/>
                    <a:pt x="412" y="636"/>
                  </a:cubicBezTo>
                  <a:cubicBezTo>
                    <a:pt x="414" y="644"/>
                    <a:pt x="409" y="643"/>
                    <a:pt x="404" y="644"/>
                  </a:cubicBezTo>
                  <a:cubicBezTo>
                    <a:pt x="400" y="653"/>
                    <a:pt x="411" y="651"/>
                    <a:pt x="412" y="655"/>
                  </a:cubicBezTo>
                  <a:cubicBezTo>
                    <a:pt x="415" y="662"/>
                    <a:pt x="408" y="669"/>
                    <a:pt x="415" y="673"/>
                  </a:cubicBezTo>
                  <a:cubicBezTo>
                    <a:pt x="420" y="668"/>
                    <a:pt x="415" y="648"/>
                    <a:pt x="421" y="636"/>
                  </a:cubicBezTo>
                  <a:cubicBezTo>
                    <a:pt x="422" y="638"/>
                    <a:pt x="429" y="651"/>
                    <a:pt x="431" y="640"/>
                  </a:cubicBezTo>
                  <a:cubicBezTo>
                    <a:pt x="437" y="641"/>
                    <a:pt x="432" y="657"/>
                    <a:pt x="439" y="655"/>
                  </a:cubicBezTo>
                  <a:close/>
                  <a:moveTo>
                    <a:pt x="426" y="570"/>
                  </a:moveTo>
                  <a:cubicBezTo>
                    <a:pt x="434" y="566"/>
                    <a:pt x="439" y="597"/>
                    <a:pt x="429" y="596"/>
                  </a:cubicBezTo>
                  <a:cubicBezTo>
                    <a:pt x="427" y="592"/>
                    <a:pt x="431" y="593"/>
                    <a:pt x="431" y="592"/>
                  </a:cubicBezTo>
                  <a:cubicBezTo>
                    <a:pt x="432" y="587"/>
                    <a:pt x="426" y="591"/>
                    <a:pt x="426" y="588"/>
                  </a:cubicBezTo>
                  <a:cubicBezTo>
                    <a:pt x="425" y="583"/>
                    <a:pt x="427" y="576"/>
                    <a:pt x="426" y="570"/>
                  </a:cubicBezTo>
                  <a:close/>
                  <a:moveTo>
                    <a:pt x="437" y="285"/>
                  </a:moveTo>
                  <a:cubicBezTo>
                    <a:pt x="435" y="284"/>
                    <a:pt x="434" y="281"/>
                    <a:pt x="431" y="281"/>
                  </a:cubicBezTo>
                  <a:cubicBezTo>
                    <a:pt x="427" y="283"/>
                    <a:pt x="435" y="294"/>
                    <a:pt x="423" y="292"/>
                  </a:cubicBezTo>
                  <a:cubicBezTo>
                    <a:pt x="425" y="290"/>
                    <a:pt x="427" y="282"/>
                    <a:pt x="423" y="281"/>
                  </a:cubicBezTo>
                  <a:cubicBezTo>
                    <a:pt x="423" y="275"/>
                    <a:pt x="441" y="274"/>
                    <a:pt x="437" y="285"/>
                  </a:cubicBezTo>
                  <a:close/>
                  <a:moveTo>
                    <a:pt x="426" y="30"/>
                  </a:moveTo>
                  <a:cubicBezTo>
                    <a:pt x="426" y="26"/>
                    <a:pt x="426" y="26"/>
                    <a:pt x="426" y="26"/>
                  </a:cubicBezTo>
                  <a:cubicBezTo>
                    <a:pt x="436" y="28"/>
                    <a:pt x="421" y="38"/>
                    <a:pt x="418" y="34"/>
                  </a:cubicBezTo>
                  <a:cubicBezTo>
                    <a:pt x="416" y="31"/>
                    <a:pt x="425" y="30"/>
                    <a:pt x="426" y="30"/>
                  </a:cubicBezTo>
                  <a:close/>
                  <a:moveTo>
                    <a:pt x="407" y="174"/>
                  </a:moveTo>
                  <a:cubicBezTo>
                    <a:pt x="413" y="173"/>
                    <a:pt x="422" y="196"/>
                    <a:pt x="410" y="196"/>
                  </a:cubicBezTo>
                  <a:cubicBezTo>
                    <a:pt x="410" y="193"/>
                    <a:pt x="412" y="193"/>
                    <a:pt x="412" y="189"/>
                  </a:cubicBezTo>
                  <a:cubicBezTo>
                    <a:pt x="410" y="183"/>
                    <a:pt x="404" y="184"/>
                    <a:pt x="399" y="182"/>
                  </a:cubicBezTo>
                  <a:cubicBezTo>
                    <a:pt x="400" y="176"/>
                    <a:pt x="407" y="180"/>
                    <a:pt x="407" y="174"/>
                  </a:cubicBezTo>
                  <a:close/>
                  <a:moveTo>
                    <a:pt x="415" y="252"/>
                  </a:moveTo>
                  <a:cubicBezTo>
                    <a:pt x="415" y="258"/>
                    <a:pt x="413" y="262"/>
                    <a:pt x="410" y="263"/>
                  </a:cubicBezTo>
                  <a:cubicBezTo>
                    <a:pt x="411" y="263"/>
                    <a:pt x="400" y="260"/>
                    <a:pt x="399" y="259"/>
                  </a:cubicBezTo>
                  <a:cubicBezTo>
                    <a:pt x="399" y="259"/>
                    <a:pt x="399" y="256"/>
                    <a:pt x="399" y="255"/>
                  </a:cubicBezTo>
                  <a:cubicBezTo>
                    <a:pt x="396" y="253"/>
                    <a:pt x="393" y="255"/>
                    <a:pt x="394" y="248"/>
                  </a:cubicBezTo>
                  <a:cubicBezTo>
                    <a:pt x="402" y="251"/>
                    <a:pt x="405" y="259"/>
                    <a:pt x="415" y="252"/>
                  </a:cubicBezTo>
                  <a:close/>
                  <a:moveTo>
                    <a:pt x="394" y="185"/>
                  </a:moveTo>
                  <a:cubicBezTo>
                    <a:pt x="391" y="182"/>
                    <a:pt x="388" y="181"/>
                    <a:pt x="383" y="182"/>
                  </a:cubicBezTo>
                  <a:cubicBezTo>
                    <a:pt x="382" y="175"/>
                    <a:pt x="398" y="175"/>
                    <a:pt x="394" y="185"/>
                  </a:cubicBezTo>
                  <a:close/>
                  <a:moveTo>
                    <a:pt x="391" y="248"/>
                  </a:moveTo>
                  <a:cubicBezTo>
                    <a:pt x="389" y="256"/>
                    <a:pt x="374" y="252"/>
                    <a:pt x="372" y="248"/>
                  </a:cubicBezTo>
                  <a:cubicBezTo>
                    <a:pt x="373" y="244"/>
                    <a:pt x="375" y="246"/>
                    <a:pt x="375" y="248"/>
                  </a:cubicBezTo>
                  <a:cubicBezTo>
                    <a:pt x="384" y="251"/>
                    <a:pt x="386" y="241"/>
                    <a:pt x="391" y="248"/>
                  </a:cubicBezTo>
                  <a:close/>
                  <a:moveTo>
                    <a:pt x="340" y="174"/>
                  </a:moveTo>
                  <a:cubicBezTo>
                    <a:pt x="350" y="177"/>
                    <a:pt x="339" y="185"/>
                    <a:pt x="345" y="193"/>
                  </a:cubicBezTo>
                  <a:cubicBezTo>
                    <a:pt x="355" y="195"/>
                    <a:pt x="361" y="181"/>
                    <a:pt x="367" y="189"/>
                  </a:cubicBezTo>
                  <a:cubicBezTo>
                    <a:pt x="367" y="185"/>
                    <a:pt x="366" y="182"/>
                    <a:pt x="364" y="182"/>
                  </a:cubicBezTo>
                  <a:cubicBezTo>
                    <a:pt x="362" y="171"/>
                    <a:pt x="377" y="184"/>
                    <a:pt x="375" y="174"/>
                  </a:cubicBezTo>
                  <a:cubicBezTo>
                    <a:pt x="380" y="177"/>
                    <a:pt x="373" y="200"/>
                    <a:pt x="370" y="204"/>
                  </a:cubicBezTo>
                  <a:cubicBezTo>
                    <a:pt x="368" y="205"/>
                    <a:pt x="367" y="208"/>
                    <a:pt x="364" y="207"/>
                  </a:cubicBezTo>
                  <a:cubicBezTo>
                    <a:pt x="370" y="200"/>
                    <a:pt x="364" y="195"/>
                    <a:pt x="359" y="193"/>
                  </a:cubicBezTo>
                  <a:cubicBezTo>
                    <a:pt x="355" y="191"/>
                    <a:pt x="357" y="199"/>
                    <a:pt x="356" y="200"/>
                  </a:cubicBezTo>
                  <a:cubicBezTo>
                    <a:pt x="352" y="203"/>
                    <a:pt x="345" y="198"/>
                    <a:pt x="340" y="200"/>
                  </a:cubicBezTo>
                  <a:cubicBezTo>
                    <a:pt x="335" y="191"/>
                    <a:pt x="333" y="182"/>
                    <a:pt x="340" y="174"/>
                  </a:cubicBezTo>
                  <a:close/>
                  <a:moveTo>
                    <a:pt x="340" y="300"/>
                  </a:moveTo>
                  <a:cubicBezTo>
                    <a:pt x="339" y="307"/>
                    <a:pt x="334" y="309"/>
                    <a:pt x="335" y="318"/>
                  </a:cubicBezTo>
                  <a:cubicBezTo>
                    <a:pt x="335" y="328"/>
                    <a:pt x="339" y="313"/>
                    <a:pt x="345" y="318"/>
                  </a:cubicBezTo>
                  <a:cubicBezTo>
                    <a:pt x="346" y="312"/>
                    <a:pt x="343" y="311"/>
                    <a:pt x="340" y="311"/>
                  </a:cubicBezTo>
                  <a:cubicBezTo>
                    <a:pt x="340" y="303"/>
                    <a:pt x="349" y="309"/>
                    <a:pt x="353" y="307"/>
                  </a:cubicBezTo>
                  <a:cubicBezTo>
                    <a:pt x="357" y="317"/>
                    <a:pt x="343" y="319"/>
                    <a:pt x="351" y="322"/>
                  </a:cubicBezTo>
                  <a:cubicBezTo>
                    <a:pt x="350" y="326"/>
                    <a:pt x="348" y="324"/>
                    <a:pt x="348" y="322"/>
                  </a:cubicBezTo>
                  <a:cubicBezTo>
                    <a:pt x="340" y="319"/>
                    <a:pt x="340" y="328"/>
                    <a:pt x="332" y="326"/>
                  </a:cubicBezTo>
                  <a:cubicBezTo>
                    <a:pt x="328" y="316"/>
                    <a:pt x="333" y="314"/>
                    <a:pt x="329" y="311"/>
                  </a:cubicBezTo>
                  <a:cubicBezTo>
                    <a:pt x="330" y="307"/>
                    <a:pt x="335" y="308"/>
                    <a:pt x="335" y="304"/>
                  </a:cubicBezTo>
                  <a:cubicBezTo>
                    <a:pt x="335" y="300"/>
                    <a:pt x="338" y="301"/>
                    <a:pt x="340" y="300"/>
                  </a:cubicBezTo>
                  <a:close/>
                  <a:moveTo>
                    <a:pt x="335" y="296"/>
                  </a:moveTo>
                  <a:cubicBezTo>
                    <a:pt x="331" y="294"/>
                    <a:pt x="330" y="288"/>
                    <a:pt x="329" y="281"/>
                  </a:cubicBezTo>
                  <a:cubicBezTo>
                    <a:pt x="334" y="282"/>
                    <a:pt x="335" y="288"/>
                    <a:pt x="335" y="296"/>
                  </a:cubicBezTo>
                  <a:close/>
                  <a:moveTo>
                    <a:pt x="324" y="163"/>
                  </a:moveTo>
                  <a:cubicBezTo>
                    <a:pt x="324" y="170"/>
                    <a:pt x="324" y="178"/>
                    <a:pt x="324" y="185"/>
                  </a:cubicBezTo>
                  <a:cubicBezTo>
                    <a:pt x="327" y="183"/>
                    <a:pt x="327" y="177"/>
                    <a:pt x="332" y="178"/>
                  </a:cubicBezTo>
                  <a:cubicBezTo>
                    <a:pt x="334" y="193"/>
                    <a:pt x="313" y="206"/>
                    <a:pt x="313" y="185"/>
                  </a:cubicBezTo>
                  <a:cubicBezTo>
                    <a:pt x="316" y="185"/>
                    <a:pt x="315" y="190"/>
                    <a:pt x="316" y="193"/>
                  </a:cubicBezTo>
                  <a:cubicBezTo>
                    <a:pt x="321" y="194"/>
                    <a:pt x="320" y="176"/>
                    <a:pt x="313" y="182"/>
                  </a:cubicBezTo>
                  <a:cubicBezTo>
                    <a:pt x="320" y="172"/>
                    <a:pt x="310" y="170"/>
                    <a:pt x="310" y="159"/>
                  </a:cubicBezTo>
                  <a:cubicBezTo>
                    <a:pt x="315" y="152"/>
                    <a:pt x="318" y="161"/>
                    <a:pt x="324" y="163"/>
                  </a:cubicBezTo>
                  <a:close/>
                  <a:moveTo>
                    <a:pt x="308" y="241"/>
                  </a:moveTo>
                  <a:cubicBezTo>
                    <a:pt x="316" y="246"/>
                    <a:pt x="318" y="237"/>
                    <a:pt x="321" y="248"/>
                  </a:cubicBezTo>
                  <a:cubicBezTo>
                    <a:pt x="323" y="246"/>
                    <a:pt x="326" y="244"/>
                    <a:pt x="329" y="244"/>
                  </a:cubicBezTo>
                  <a:cubicBezTo>
                    <a:pt x="330" y="248"/>
                    <a:pt x="328" y="248"/>
                    <a:pt x="326" y="248"/>
                  </a:cubicBezTo>
                  <a:cubicBezTo>
                    <a:pt x="319" y="255"/>
                    <a:pt x="326" y="266"/>
                    <a:pt x="326" y="274"/>
                  </a:cubicBezTo>
                  <a:cubicBezTo>
                    <a:pt x="327" y="282"/>
                    <a:pt x="324" y="291"/>
                    <a:pt x="326" y="296"/>
                  </a:cubicBezTo>
                  <a:cubicBezTo>
                    <a:pt x="323" y="296"/>
                    <a:pt x="319" y="296"/>
                    <a:pt x="318" y="300"/>
                  </a:cubicBezTo>
                  <a:cubicBezTo>
                    <a:pt x="312" y="292"/>
                    <a:pt x="326" y="281"/>
                    <a:pt x="321" y="263"/>
                  </a:cubicBezTo>
                  <a:cubicBezTo>
                    <a:pt x="321" y="266"/>
                    <a:pt x="307" y="266"/>
                    <a:pt x="313" y="259"/>
                  </a:cubicBezTo>
                  <a:cubicBezTo>
                    <a:pt x="313" y="259"/>
                    <a:pt x="318" y="260"/>
                    <a:pt x="318" y="259"/>
                  </a:cubicBezTo>
                  <a:cubicBezTo>
                    <a:pt x="318" y="258"/>
                    <a:pt x="314" y="249"/>
                    <a:pt x="313" y="248"/>
                  </a:cubicBezTo>
                  <a:cubicBezTo>
                    <a:pt x="311" y="247"/>
                    <a:pt x="309" y="251"/>
                    <a:pt x="310" y="252"/>
                  </a:cubicBezTo>
                  <a:cubicBezTo>
                    <a:pt x="314" y="256"/>
                    <a:pt x="310" y="255"/>
                    <a:pt x="308" y="252"/>
                  </a:cubicBezTo>
                  <a:cubicBezTo>
                    <a:pt x="305" y="248"/>
                    <a:pt x="308" y="249"/>
                    <a:pt x="308" y="241"/>
                  </a:cubicBezTo>
                  <a:close/>
                  <a:moveTo>
                    <a:pt x="308" y="270"/>
                  </a:moveTo>
                  <a:cubicBezTo>
                    <a:pt x="308" y="261"/>
                    <a:pt x="312" y="275"/>
                    <a:pt x="318" y="270"/>
                  </a:cubicBezTo>
                  <a:cubicBezTo>
                    <a:pt x="317" y="278"/>
                    <a:pt x="313" y="282"/>
                    <a:pt x="310" y="289"/>
                  </a:cubicBezTo>
                  <a:cubicBezTo>
                    <a:pt x="305" y="287"/>
                    <a:pt x="312" y="273"/>
                    <a:pt x="308" y="270"/>
                  </a:cubicBezTo>
                  <a:close/>
                  <a:moveTo>
                    <a:pt x="313" y="311"/>
                  </a:moveTo>
                  <a:cubicBezTo>
                    <a:pt x="318" y="310"/>
                    <a:pt x="321" y="312"/>
                    <a:pt x="321" y="318"/>
                  </a:cubicBezTo>
                  <a:cubicBezTo>
                    <a:pt x="316" y="317"/>
                    <a:pt x="309" y="317"/>
                    <a:pt x="310" y="307"/>
                  </a:cubicBezTo>
                  <a:cubicBezTo>
                    <a:pt x="303" y="306"/>
                    <a:pt x="313" y="328"/>
                    <a:pt x="302" y="322"/>
                  </a:cubicBezTo>
                  <a:cubicBezTo>
                    <a:pt x="303" y="313"/>
                    <a:pt x="303" y="304"/>
                    <a:pt x="297" y="304"/>
                  </a:cubicBezTo>
                  <a:cubicBezTo>
                    <a:pt x="293" y="305"/>
                    <a:pt x="298" y="308"/>
                    <a:pt x="297" y="315"/>
                  </a:cubicBezTo>
                  <a:cubicBezTo>
                    <a:pt x="289" y="318"/>
                    <a:pt x="292" y="306"/>
                    <a:pt x="292" y="300"/>
                  </a:cubicBezTo>
                  <a:cubicBezTo>
                    <a:pt x="299" y="295"/>
                    <a:pt x="306" y="311"/>
                    <a:pt x="305" y="296"/>
                  </a:cubicBezTo>
                  <a:cubicBezTo>
                    <a:pt x="312" y="295"/>
                    <a:pt x="312" y="304"/>
                    <a:pt x="313" y="311"/>
                  </a:cubicBezTo>
                  <a:close/>
                  <a:moveTo>
                    <a:pt x="292" y="159"/>
                  </a:moveTo>
                  <a:cubicBezTo>
                    <a:pt x="297" y="166"/>
                    <a:pt x="296" y="157"/>
                    <a:pt x="305" y="159"/>
                  </a:cubicBezTo>
                  <a:cubicBezTo>
                    <a:pt x="307" y="167"/>
                    <a:pt x="289" y="173"/>
                    <a:pt x="292" y="159"/>
                  </a:cubicBezTo>
                  <a:close/>
                  <a:moveTo>
                    <a:pt x="286" y="174"/>
                  </a:moveTo>
                  <a:cubicBezTo>
                    <a:pt x="293" y="173"/>
                    <a:pt x="292" y="181"/>
                    <a:pt x="300" y="178"/>
                  </a:cubicBezTo>
                  <a:cubicBezTo>
                    <a:pt x="298" y="181"/>
                    <a:pt x="297" y="184"/>
                    <a:pt x="297" y="189"/>
                  </a:cubicBezTo>
                  <a:cubicBezTo>
                    <a:pt x="293" y="185"/>
                    <a:pt x="285" y="186"/>
                    <a:pt x="286" y="174"/>
                  </a:cubicBezTo>
                  <a:close/>
                  <a:moveTo>
                    <a:pt x="289" y="255"/>
                  </a:moveTo>
                  <a:cubicBezTo>
                    <a:pt x="287" y="255"/>
                    <a:pt x="286" y="252"/>
                    <a:pt x="283" y="252"/>
                  </a:cubicBezTo>
                  <a:cubicBezTo>
                    <a:pt x="283" y="249"/>
                    <a:pt x="283" y="247"/>
                    <a:pt x="283" y="244"/>
                  </a:cubicBezTo>
                  <a:cubicBezTo>
                    <a:pt x="289" y="243"/>
                    <a:pt x="289" y="250"/>
                    <a:pt x="289" y="255"/>
                  </a:cubicBezTo>
                  <a:close/>
                  <a:moveTo>
                    <a:pt x="283" y="189"/>
                  </a:moveTo>
                  <a:cubicBezTo>
                    <a:pt x="278" y="188"/>
                    <a:pt x="282" y="177"/>
                    <a:pt x="275" y="178"/>
                  </a:cubicBezTo>
                  <a:cubicBezTo>
                    <a:pt x="279" y="167"/>
                    <a:pt x="287" y="178"/>
                    <a:pt x="283" y="189"/>
                  </a:cubicBezTo>
                  <a:close/>
                  <a:moveTo>
                    <a:pt x="278" y="248"/>
                  </a:moveTo>
                  <a:cubicBezTo>
                    <a:pt x="274" y="246"/>
                    <a:pt x="273" y="240"/>
                    <a:pt x="273" y="233"/>
                  </a:cubicBezTo>
                  <a:cubicBezTo>
                    <a:pt x="277" y="234"/>
                    <a:pt x="279" y="240"/>
                    <a:pt x="278" y="248"/>
                  </a:cubicBezTo>
                  <a:close/>
                  <a:moveTo>
                    <a:pt x="267" y="174"/>
                  </a:moveTo>
                  <a:cubicBezTo>
                    <a:pt x="269" y="174"/>
                    <a:pt x="271" y="174"/>
                    <a:pt x="273" y="174"/>
                  </a:cubicBezTo>
                  <a:cubicBezTo>
                    <a:pt x="273" y="177"/>
                    <a:pt x="273" y="179"/>
                    <a:pt x="273" y="182"/>
                  </a:cubicBezTo>
                  <a:cubicBezTo>
                    <a:pt x="271" y="182"/>
                    <a:pt x="269" y="182"/>
                    <a:pt x="267" y="182"/>
                  </a:cubicBezTo>
                  <a:cubicBezTo>
                    <a:pt x="267" y="179"/>
                    <a:pt x="267" y="177"/>
                    <a:pt x="267" y="174"/>
                  </a:cubicBezTo>
                  <a:close/>
                  <a:moveTo>
                    <a:pt x="276" y="259"/>
                  </a:moveTo>
                  <a:cubicBezTo>
                    <a:pt x="277" y="257"/>
                    <a:pt x="279" y="253"/>
                    <a:pt x="278" y="252"/>
                  </a:cubicBezTo>
                  <a:cubicBezTo>
                    <a:pt x="281" y="254"/>
                    <a:pt x="279" y="256"/>
                    <a:pt x="281" y="259"/>
                  </a:cubicBezTo>
                  <a:cubicBezTo>
                    <a:pt x="283" y="262"/>
                    <a:pt x="289" y="264"/>
                    <a:pt x="286" y="278"/>
                  </a:cubicBezTo>
                  <a:cubicBezTo>
                    <a:pt x="284" y="284"/>
                    <a:pt x="283" y="275"/>
                    <a:pt x="283" y="270"/>
                  </a:cubicBezTo>
                  <a:cubicBezTo>
                    <a:pt x="284" y="266"/>
                    <a:pt x="275" y="260"/>
                    <a:pt x="270" y="259"/>
                  </a:cubicBezTo>
                  <a:cubicBezTo>
                    <a:pt x="268" y="259"/>
                    <a:pt x="265" y="266"/>
                    <a:pt x="265" y="259"/>
                  </a:cubicBezTo>
                  <a:cubicBezTo>
                    <a:pt x="257" y="254"/>
                    <a:pt x="274" y="257"/>
                    <a:pt x="276" y="259"/>
                  </a:cubicBezTo>
                  <a:close/>
                  <a:moveTo>
                    <a:pt x="259" y="237"/>
                  </a:moveTo>
                  <a:cubicBezTo>
                    <a:pt x="263" y="238"/>
                    <a:pt x="260" y="248"/>
                    <a:pt x="265" y="248"/>
                  </a:cubicBezTo>
                  <a:cubicBezTo>
                    <a:pt x="264" y="257"/>
                    <a:pt x="257" y="245"/>
                    <a:pt x="259" y="237"/>
                  </a:cubicBezTo>
                  <a:close/>
                  <a:moveTo>
                    <a:pt x="257" y="270"/>
                  </a:moveTo>
                  <a:cubicBezTo>
                    <a:pt x="250" y="282"/>
                    <a:pt x="261" y="262"/>
                    <a:pt x="254" y="263"/>
                  </a:cubicBezTo>
                  <a:cubicBezTo>
                    <a:pt x="255" y="249"/>
                    <a:pt x="265" y="271"/>
                    <a:pt x="257" y="270"/>
                  </a:cubicBezTo>
                  <a:close/>
                  <a:moveTo>
                    <a:pt x="251" y="174"/>
                  </a:moveTo>
                  <a:cubicBezTo>
                    <a:pt x="253" y="174"/>
                    <a:pt x="255" y="174"/>
                    <a:pt x="257" y="174"/>
                  </a:cubicBezTo>
                  <a:cubicBezTo>
                    <a:pt x="257" y="177"/>
                    <a:pt x="257" y="179"/>
                    <a:pt x="257" y="182"/>
                  </a:cubicBezTo>
                  <a:cubicBezTo>
                    <a:pt x="255" y="182"/>
                    <a:pt x="253" y="182"/>
                    <a:pt x="251" y="182"/>
                  </a:cubicBezTo>
                  <a:cubicBezTo>
                    <a:pt x="251" y="179"/>
                    <a:pt x="251" y="177"/>
                    <a:pt x="251" y="174"/>
                  </a:cubicBezTo>
                  <a:close/>
                  <a:moveTo>
                    <a:pt x="249" y="289"/>
                  </a:moveTo>
                  <a:cubicBezTo>
                    <a:pt x="251" y="289"/>
                    <a:pt x="251" y="284"/>
                    <a:pt x="251" y="281"/>
                  </a:cubicBezTo>
                  <a:cubicBezTo>
                    <a:pt x="253" y="283"/>
                    <a:pt x="257" y="285"/>
                    <a:pt x="257" y="289"/>
                  </a:cubicBezTo>
                  <a:cubicBezTo>
                    <a:pt x="256" y="289"/>
                    <a:pt x="251" y="293"/>
                    <a:pt x="251" y="292"/>
                  </a:cubicBezTo>
                  <a:cubicBezTo>
                    <a:pt x="251" y="299"/>
                    <a:pt x="257" y="302"/>
                    <a:pt x="254" y="311"/>
                  </a:cubicBezTo>
                  <a:cubicBezTo>
                    <a:pt x="241" y="308"/>
                    <a:pt x="251" y="297"/>
                    <a:pt x="246" y="285"/>
                  </a:cubicBezTo>
                  <a:cubicBezTo>
                    <a:pt x="248" y="284"/>
                    <a:pt x="248" y="286"/>
                    <a:pt x="249" y="289"/>
                  </a:cubicBezTo>
                  <a:close/>
                  <a:moveTo>
                    <a:pt x="243" y="274"/>
                  </a:moveTo>
                  <a:cubicBezTo>
                    <a:pt x="240" y="279"/>
                    <a:pt x="242" y="275"/>
                    <a:pt x="240" y="270"/>
                  </a:cubicBezTo>
                  <a:cubicBezTo>
                    <a:pt x="240" y="270"/>
                    <a:pt x="238" y="270"/>
                    <a:pt x="238" y="270"/>
                  </a:cubicBezTo>
                  <a:cubicBezTo>
                    <a:pt x="238" y="265"/>
                    <a:pt x="240" y="270"/>
                    <a:pt x="240" y="270"/>
                  </a:cubicBezTo>
                  <a:cubicBezTo>
                    <a:pt x="245" y="273"/>
                    <a:pt x="246" y="271"/>
                    <a:pt x="243" y="274"/>
                  </a:cubicBezTo>
                  <a:close/>
                  <a:moveTo>
                    <a:pt x="227" y="304"/>
                  </a:moveTo>
                  <a:cubicBezTo>
                    <a:pt x="226" y="296"/>
                    <a:pt x="239" y="298"/>
                    <a:pt x="235" y="307"/>
                  </a:cubicBezTo>
                  <a:cubicBezTo>
                    <a:pt x="233" y="307"/>
                    <a:pt x="231" y="307"/>
                    <a:pt x="230" y="307"/>
                  </a:cubicBezTo>
                  <a:cubicBezTo>
                    <a:pt x="230" y="304"/>
                    <a:pt x="229" y="304"/>
                    <a:pt x="227" y="304"/>
                  </a:cubicBezTo>
                  <a:close/>
                  <a:moveTo>
                    <a:pt x="235" y="278"/>
                  </a:moveTo>
                  <a:cubicBezTo>
                    <a:pt x="238" y="279"/>
                    <a:pt x="237" y="285"/>
                    <a:pt x="240" y="285"/>
                  </a:cubicBezTo>
                  <a:cubicBezTo>
                    <a:pt x="239" y="295"/>
                    <a:pt x="232" y="285"/>
                    <a:pt x="235" y="278"/>
                  </a:cubicBezTo>
                  <a:close/>
                  <a:moveTo>
                    <a:pt x="235" y="244"/>
                  </a:moveTo>
                  <a:cubicBezTo>
                    <a:pt x="238" y="245"/>
                    <a:pt x="237" y="252"/>
                    <a:pt x="240" y="252"/>
                  </a:cubicBezTo>
                  <a:cubicBezTo>
                    <a:pt x="240" y="255"/>
                    <a:pt x="237" y="255"/>
                    <a:pt x="235" y="255"/>
                  </a:cubicBezTo>
                  <a:cubicBezTo>
                    <a:pt x="235" y="259"/>
                    <a:pt x="236" y="259"/>
                    <a:pt x="238" y="259"/>
                  </a:cubicBezTo>
                  <a:cubicBezTo>
                    <a:pt x="237" y="268"/>
                    <a:pt x="231" y="255"/>
                    <a:pt x="227" y="255"/>
                  </a:cubicBezTo>
                  <a:cubicBezTo>
                    <a:pt x="227" y="251"/>
                    <a:pt x="230" y="253"/>
                    <a:pt x="230" y="255"/>
                  </a:cubicBezTo>
                  <a:cubicBezTo>
                    <a:pt x="232" y="253"/>
                    <a:pt x="234" y="249"/>
                    <a:pt x="235" y="244"/>
                  </a:cubicBezTo>
                  <a:close/>
                  <a:moveTo>
                    <a:pt x="230" y="163"/>
                  </a:moveTo>
                  <a:cubicBezTo>
                    <a:pt x="231" y="162"/>
                    <a:pt x="222" y="159"/>
                    <a:pt x="222" y="159"/>
                  </a:cubicBezTo>
                  <a:cubicBezTo>
                    <a:pt x="221" y="153"/>
                    <a:pt x="236" y="154"/>
                    <a:pt x="230" y="163"/>
                  </a:cubicBezTo>
                  <a:close/>
                  <a:moveTo>
                    <a:pt x="222" y="244"/>
                  </a:moveTo>
                  <a:cubicBezTo>
                    <a:pt x="218" y="243"/>
                    <a:pt x="216" y="240"/>
                    <a:pt x="216" y="233"/>
                  </a:cubicBezTo>
                  <a:cubicBezTo>
                    <a:pt x="219" y="235"/>
                    <a:pt x="222" y="238"/>
                    <a:pt x="222" y="244"/>
                  </a:cubicBezTo>
                  <a:close/>
                  <a:moveTo>
                    <a:pt x="214" y="270"/>
                  </a:moveTo>
                  <a:cubicBezTo>
                    <a:pt x="212" y="260"/>
                    <a:pt x="226" y="273"/>
                    <a:pt x="224" y="263"/>
                  </a:cubicBezTo>
                  <a:cubicBezTo>
                    <a:pt x="230" y="265"/>
                    <a:pt x="220" y="277"/>
                    <a:pt x="222" y="285"/>
                  </a:cubicBezTo>
                  <a:cubicBezTo>
                    <a:pt x="221" y="299"/>
                    <a:pt x="215" y="274"/>
                    <a:pt x="222" y="278"/>
                  </a:cubicBezTo>
                  <a:cubicBezTo>
                    <a:pt x="220" y="274"/>
                    <a:pt x="217" y="272"/>
                    <a:pt x="214" y="270"/>
                  </a:cubicBezTo>
                  <a:close/>
                  <a:moveTo>
                    <a:pt x="216" y="337"/>
                  </a:moveTo>
                  <a:cubicBezTo>
                    <a:pt x="216" y="326"/>
                    <a:pt x="218" y="334"/>
                    <a:pt x="222" y="333"/>
                  </a:cubicBezTo>
                  <a:cubicBezTo>
                    <a:pt x="223" y="333"/>
                    <a:pt x="234" y="322"/>
                    <a:pt x="232" y="337"/>
                  </a:cubicBezTo>
                  <a:cubicBezTo>
                    <a:pt x="238" y="339"/>
                    <a:pt x="242" y="319"/>
                    <a:pt x="232" y="322"/>
                  </a:cubicBezTo>
                  <a:cubicBezTo>
                    <a:pt x="232" y="318"/>
                    <a:pt x="232" y="315"/>
                    <a:pt x="232" y="311"/>
                  </a:cubicBezTo>
                  <a:cubicBezTo>
                    <a:pt x="236" y="315"/>
                    <a:pt x="238" y="321"/>
                    <a:pt x="240" y="326"/>
                  </a:cubicBezTo>
                  <a:cubicBezTo>
                    <a:pt x="241" y="332"/>
                    <a:pt x="238" y="332"/>
                    <a:pt x="238" y="337"/>
                  </a:cubicBezTo>
                  <a:cubicBezTo>
                    <a:pt x="237" y="349"/>
                    <a:pt x="242" y="368"/>
                    <a:pt x="232" y="366"/>
                  </a:cubicBezTo>
                  <a:cubicBezTo>
                    <a:pt x="235" y="356"/>
                    <a:pt x="235" y="351"/>
                    <a:pt x="232" y="341"/>
                  </a:cubicBezTo>
                  <a:cubicBezTo>
                    <a:pt x="226" y="339"/>
                    <a:pt x="234" y="357"/>
                    <a:pt x="224" y="352"/>
                  </a:cubicBezTo>
                  <a:cubicBezTo>
                    <a:pt x="224" y="346"/>
                    <a:pt x="227" y="345"/>
                    <a:pt x="227" y="341"/>
                  </a:cubicBezTo>
                  <a:cubicBezTo>
                    <a:pt x="226" y="328"/>
                    <a:pt x="215" y="347"/>
                    <a:pt x="216" y="337"/>
                  </a:cubicBezTo>
                  <a:close/>
                  <a:moveTo>
                    <a:pt x="211" y="703"/>
                  </a:moveTo>
                  <a:cubicBezTo>
                    <a:pt x="210" y="696"/>
                    <a:pt x="203" y="696"/>
                    <a:pt x="205" y="684"/>
                  </a:cubicBezTo>
                  <a:cubicBezTo>
                    <a:pt x="208" y="684"/>
                    <a:pt x="211" y="684"/>
                    <a:pt x="214" y="684"/>
                  </a:cubicBezTo>
                  <a:cubicBezTo>
                    <a:pt x="216" y="693"/>
                    <a:pt x="215" y="705"/>
                    <a:pt x="222" y="707"/>
                  </a:cubicBezTo>
                  <a:cubicBezTo>
                    <a:pt x="221" y="712"/>
                    <a:pt x="215" y="710"/>
                    <a:pt x="211" y="710"/>
                  </a:cubicBezTo>
                  <a:cubicBezTo>
                    <a:pt x="209" y="707"/>
                    <a:pt x="208" y="704"/>
                    <a:pt x="211" y="703"/>
                  </a:cubicBezTo>
                  <a:close/>
                  <a:moveTo>
                    <a:pt x="214" y="795"/>
                  </a:moveTo>
                  <a:cubicBezTo>
                    <a:pt x="224" y="806"/>
                    <a:pt x="204" y="810"/>
                    <a:pt x="214" y="795"/>
                  </a:cubicBezTo>
                  <a:close/>
                  <a:moveTo>
                    <a:pt x="214" y="788"/>
                  </a:moveTo>
                  <a:cubicBezTo>
                    <a:pt x="212" y="779"/>
                    <a:pt x="218" y="780"/>
                    <a:pt x="216" y="770"/>
                  </a:cubicBezTo>
                  <a:cubicBezTo>
                    <a:pt x="219" y="772"/>
                    <a:pt x="222" y="774"/>
                    <a:pt x="227" y="773"/>
                  </a:cubicBezTo>
                  <a:cubicBezTo>
                    <a:pt x="227" y="777"/>
                    <a:pt x="224" y="776"/>
                    <a:pt x="222" y="777"/>
                  </a:cubicBezTo>
                  <a:cubicBezTo>
                    <a:pt x="221" y="783"/>
                    <a:pt x="224" y="784"/>
                    <a:pt x="227" y="784"/>
                  </a:cubicBezTo>
                  <a:cubicBezTo>
                    <a:pt x="228" y="790"/>
                    <a:pt x="216" y="793"/>
                    <a:pt x="224" y="795"/>
                  </a:cubicBezTo>
                  <a:cubicBezTo>
                    <a:pt x="222" y="806"/>
                    <a:pt x="218" y="787"/>
                    <a:pt x="214" y="788"/>
                  </a:cubicBezTo>
                  <a:close/>
                  <a:moveTo>
                    <a:pt x="227" y="832"/>
                  </a:moveTo>
                  <a:cubicBezTo>
                    <a:pt x="217" y="831"/>
                    <a:pt x="220" y="823"/>
                    <a:pt x="222" y="814"/>
                  </a:cubicBezTo>
                  <a:cubicBezTo>
                    <a:pt x="227" y="814"/>
                    <a:pt x="227" y="823"/>
                    <a:pt x="227" y="832"/>
                  </a:cubicBezTo>
                  <a:close/>
                  <a:moveTo>
                    <a:pt x="227" y="640"/>
                  </a:moveTo>
                  <a:cubicBezTo>
                    <a:pt x="230" y="629"/>
                    <a:pt x="236" y="642"/>
                    <a:pt x="238" y="644"/>
                  </a:cubicBezTo>
                  <a:cubicBezTo>
                    <a:pt x="237" y="653"/>
                    <a:pt x="231" y="640"/>
                    <a:pt x="227" y="640"/>
                  </a:cubicBezTo>
                  <a:close/>
                  <a:moveTo>
                    <a:pt x="232" y="559"/>
                  </a:moveTo>
                  <a:cubicBezTo>
                    <a:pt x="235" y="549"/>
                    <a:pt x="238" y="567"/>
                    <a:pt x="243" y="566"/>
                  </a:cubicBezTo>
                  <a:cubicBezTo>
                    <a:pt x="238" y="579"/>
                    <a:pt x="238" y="557"/>
                    <a:pt x="232" y="559"/>
                  </a:cubicBezTo>
                  <a:close/>
                  <a:moveTo>
                    <a:pt x="240" y="692"/>
                  </a:moveTo>
                  <a:cubicBezTo>
                    <a:pt x="243" y="689"/>
                    <a:pt x="243" y="684"/>
                    <a:pt x="243" y="677"/>
                  </a:cubicBezTo>
                  <a:cubicBezTo>
                    <a:pt x="248" y="676"/>
                    <a:pt x="248" y="698"/>
                    <a:pt x="240" y="692"/>
                  </a:cubicBezTo>
                  <a:close/>
                  <a:moveTo>
                    <a:pt x="246" y="592"/>
                  </a:moveTo>
                  <a:cubicBezTo>
                    <a:pt x="245" y="594"/>
                    <a:pt x="238" y="582"/>
                    <a:pt x="243" y="577"/>
                  </a:cubicBezTo>
                  <a:cubicBezTo>
                    <a:pt x="245" y="576"/>
                    <a:pt x="248" y="590"/>
                    <a:pt x="246" y="592"/>
                  </a:cubicBezTo>
                  <a:close/>
                  <a:moveTo>
                    <a:pt x="238" y="555"/>
                  </a:moveTo>
                  <a:cubicBezTo>
                    <a:pt x="238" y="547"/>
                    <a:pt x="250" y="554"/>
                    <a:pt x="249" y="544"/>
                  </a:cubicBezTo>
                  <a:cubicBezTo>
                    <a:pt x="252" y="550"/>
                    <a:pt x="264" y="545"/>
                    <a:pt x="267" y="551"/>
                  </a:cubicBezTo>
                  <a:cubicBezTo>
                    <a:pt x="262" y="560"/>
                    <a:pt x="249" y="542"/>
                    <a:pt x="249" y="562"/>
                  </a:cubicBezTo>
                  <a:cubicBezTo>
                    <a:pt x="244" y="561"/>
                    <a:pt x="246" y="551"/>
                    <a:pt x="238" y="555"/>
                  </a:cubicBezTo>
                  <a:close/>
                  <a:moveTo>
                    <a:pt x="249" y="651"/>
                  </a:moveTo>
                  <a:cubicBezTo>
                    <a:pt x="258" y="647"/>
                    <a:pt x="253" y="663"/>
                    <a:pt x="254" y="670"/>
                  </a:cubicBezTo>
                  <a:cubicBezTo>
                    <a:pt x="245" y="665"/>
                    <a:pt x="253" y="662"/>
                    <a:pt x="249" y="651"/>
                  </a:cubicBezTo>
                  <a:close/>
                  <a:moveTo>
                    <a:pt x="254" y="847"/>
                  </a:moveTo>
                  <a:cubicBezTo>
                    <a:pt x="250" y="846"/>
                    <a:pt x="252" y="838"/>
                    <a:pt x="251" y="832"/>
                  </a:cubicBezTo>
                  <a:cubicBezTo>
                    <a:pt x="262" y="831"/>
                    <a:pt x="253" y="840"/>
                    <a:pt x="254" y="847"/>
                  </a:cubicBezTo>
                  <a:close/>
                  <a:moveTo>
                    <a:pt x="262" y="633"/>
                  </a:moveTo>
                  <a:cubicBezTo>
                    <a:pt x="250" y="627"/>
                    <a:pt x="264" y="620"/>
                    <a:pt x="262" y="607"/>
                  </a:cubicBezTo>
                  <a:cubicBezTo>
                    <a:pt x="255" y="606"/>
                    <a:pt x="254" y="613"/>
                    <a:pt x="251" y="618"/>
                  </a:cubicBezTo>
                  <a:cubicBezTo>
                    <a:pt x="247" y="616"/>
                    <a:pt x="251" y="615"/>
                    <a:pt x="251" y="611"/>
                  </a:cubicBezTo>
                  <a:cubicBezTo>
                    <a:pt x="250" y="605"/>
                    <a:pt x="254" y="604"/>
                    <a:pt x="254" y="599"/>
                  </a:cubicBezTo>
                  <a:cubicBezTo>
                    <a:pt x="251" y="594"/>
                    <a:pt x="249" y="579"/>
                    <a:pt x="251" y="570"/>
                  </a:cubicBezTo>
                  <a:cubicBezTo>
                    <a:pt x="251" y="569"/>
                    <a:pt x="254" y="570"/>
                    <a:pt x="254" y="566"/>
                  </a:cubicBezTo>
                  <a:cubicBezTo>
                    <a:pt x="254" y="560"/>
                    <a:pt x="255" y="559"/>
                    <a:pt x="259" y="559"/>
                  </a:cubicBezTo>
                  <a:cubicBezTo>
                    <a:pt x="260" y="566"/>
                    <a:pt x="257" y="569"/>
                    <a:pt x="257" y="574"/>
                  </a:cubicBezTo>
                  <a:cubicBezTo>
                    <a:pt x="258" y="582"/>
                    <a:pt x="261" y="569"/>
                    <a:pt x="265" y="577"/>
                  </a:cubicBezTo>
                  <a:cubicBezTo>
                    <a:pt x="261" y="589"/>
                    <a:pt x="265" y="592"/>
                    <a:pt x="262" y="599"/>
                  </a:cubicBezTo>
                  <a:cubicBezTo>
                    <a:pt x="260" y="611"/>
                    <a:pt x="269" y="607"/>
                    <a:pt x="267" y="618"/>
                  </a:cubicBezTo>
                  <a:cubicBezTo>
                    <a:pt x="258" y="618"/>
                    <a:pt x="267" y="623"/>
                    <a:pt x="262" y="633"/>
                  </a:cubicBezTo>
                  <a:close/>
                  <a:moveTo>
                    <a:pt x="265" y="666"/>
                  </a:moveTo>
                  <a:cubicBezTo>
                    <a:pt x="269" y="667"/>
                    <a:pt x="270" y="662"/>
                    <a:pt x="275" y="662"/>
                  </a:cubicBezTo>
                  <a:cubicBezTo>
                    <a:pt x="273" y="664"/>
                    <a:pt x="264" y="682"/>
                    <a:pt x="265" y="666"/>
                  </a:cubicBezTo>
                  <a:close/>
                  <a:moveTo>
                    <a:pt x="278" y="766"/>
                  </a:moveTo>
                  <a:cubicBezTo>
                    <a:pt x="273" y="766"/>
                    <a:pt x="272" y="761"/>
                    <a:pt x="267" y="762"/>
                  </a:cubicBezTo>
                  <a:cubicBezTo>
                    <a:pt x="268" y="758"/>
                    <a:pt x="273" y="758"/>
                    <a:pt x="273" y="762"/>
                  </a:cubicBezTo>
                  <a:cubicBezTo>
                    <a:pt x="275" y="761"/>
                    <a:pt x="278" y="759"/>
                    <a:pt x="278" y="755"/>
                  </a:cubicBezTo>
                  <a:cubicBezTo>
                    <a:pt x="283" y="745"/>
                    <a:pt x="278" y="761"/>
                    <a:pt x="278" y="766"/>
                  </a:cubicBezTo>
                  <a:close/>
                  <a:moveTo>
                    <a:pt x="275" y="721"/>
                  </a:moveTo>
                  <a:cubicBezTo>
                    <a:pt x="275" y="717"/>
                    <a:pt x="280" y="716"/>
                    <a:pt x="281" y="714"/>
                  </a:cubicBezTo>
                  <a:cubicBezTo>
                    <a:pt x="282" y="710"/>
                    <a:pt x="272" y="697"/>
                    <a:pt x="283" y="699"/>
                  </a:cubicBezTo>
                  <a:cubicBezTo>
                    <a:pt x="283" y="702"/>
                    <a:pt x="281" y="703"/>
                    <a:pt x="281" y="707"/>
                  </a:cubicBezTo>
                  <a:cubicBezTo>
                    <a:pt x="279" y="713"/>
                    <a:pt x="288" y="712"/>
                    <a:pt x="289" y="714"/>
                  </a:cubicBezTo>
                  <a:cubicBezTo>
                    <a:pt x="290" y="718"/>
                    <a:pt x="284" y="717"/>
                    <a:pt x="283" y="718"/>
                  </a:cubicBezTo>
                  <a:cubicBezTo>
                    <a:pt x="282" y="723"/>
                    <a:pt x="292" y="724"/>
                    <a:pt x="289" y="733"/>
                  </a:cubicBezTo>
                  <a:cubicBezTo>
                    <a:pt x="279" y="737"/>
                    <a:pt x="285" y="719"/>
                    <a:pt x="275" y="721"/>
                  </a:cubicBezTo>
                  <a:close/>
                  <a:moveTo>
                    <a:pt x="281" y="766"/>
                  </a:moveTo>
                  <a:cubicBezTo>
                    <a:pt x="281" y="759"/>
                    <a:pt x="288" y="761"/>
                    <a:pt x="286" y="751"/>
                  </a:cubicBezTo>
                  <a:cubicBezTo>
                    <a:pt x="292" y="753"/>
                    <a:pt x="290" y="773"/>
                    <a:pt x="281" y="766"/>
                  </a:cubicBezTo>
                  <a:close/>
                  <a:moveTo>
                    <a:pt x="286" y="648"/>
                  </a:moveTo>
                  <a:cubicBezTo>
                    <a:pt x="286" y="643"/>
                    <a:pt x="286" y="638"/>
                    <a:pt x="286" y="633"/>
                  </a:cubicBezTo>
                  <a:cubicBezTo>
                    <a:pt x="289" y="634"/>
                    <a:pt x="291" y="636"/>
                    <a:pt x="292" y="640"/>
                  </a:cubicBezTo>
                  <a:cubicBezTo>
                    <a:pt x="294" y="640"/>
                    <a:pt x="294" y="636"/>
                    <a:pt x="294" y="633"/>
                  </a:cubicBezTo>
                  <a:cubicBezTo>
                    <a:pt x="304" y="636"/>
                    <a:pt x="296" y="650"/>
                    <a:pt x="286" y="648"/>
                  </a:cubicBezTo>
                  <a:close/>
                  <a:moveTo>
                    <a:pt x="297" y="777"/>
                  </a:moveTo>
                  <a:cubicBezTo>
                    <a:pt x="298" y="784"/>
                    <a:pt x="296" y="789"/>
                    <a:pt x="292" y="788"/>
                  </a:cubicBezTo>
                  <a:cubicBezTo>
                    <a:pt x="292" y="782"/>
                    <a:pt x="292" y="776"/>
                    <a:pt x="292" y="770"/>
                  </a:cubicBezTo>
                  <a:cubicBezTo>
                    <a:pt x="294" y="772"/>
                    <a:pt x="299" y="775"/>
                    <a:pt x="300" y="770"/>
                  </a:cubicBezTo>
                  <a:cubicBezTo>
                    <a:pt x="304" y="772"/>
                    <a:pt x="301" y="778"/>
                    <a:pt x="297" y="777"/>
                  </a:cubicBezTo>
                  <a:close/>
                  <a:moveTo>
                    <a:pt x="300" y="755"/>
                  </a:moveTo>
                  <a:cubicBezTo>
                    <a:pt x="300" y="755"/>
                    <a:pt x="300" y="750"/>
                    <a:pt x="302" y="751"/>
                  </a:cubicBezTo>
                  <a:cubicBezTo>
                    <a:pt x="300" y="751"/>
                    <a:pt x="306" y="756"/>
                    <a:pt x="305" y="755"/>
                  </a:cubicBezTo>
                  <a:cubicBezTo>
                    <a:pt x="307" y="759"/>
                    <a:pt x="286" y="756"/>
                    <a:pt x="300" y="755"/>
                  </a:cubicBezTo>
                  <a:close/>
                  <a:moveTo>
                    <a:pt x="361" y="825"/>
                  </a:moveTo>
                  <a:cubicBezTo>
                    <a:pt x="360" y="824"/>
                    <a:pt x="355" y="827"/>
                    <a:pt x="353" y="825"/>
                  </a:cubicBezTo>
                  <a:cubicBezTo>
                    <a:pt x="353" y="824"/>
                    <a:pt x="354" y="818"/>
                    <a:pt x="353" y="818"/>
                  </a:cubicBezTo>
                  <a:cubicBezTo>
                    <a:pt x="348" y="814"/>
                    <a:pt x="338" y="818"/>
                    <a:pt x="337" y="807"/>
                  </a:cubicBezTo>
                  <a:cubicBezTo>
                    <a:pt x="325" y="808"/>
                    <a:pt x="318" y="804"/>
                    <a:pt x="316" y="792"/>
                  </a:cubicBezTo>
                  <a:cubicBezTo>
                    <a:pt x="312" y="796"/>
                    <a:pt x="309" y="796"/>
                    <a:pt x="305" y="792"/>
                  </a:cubicBezTo>
                  <a:cubicBezTo>
                    <a:pt x="304" y="780"/>
                    <a:pt x="310" y="776"/>
                    <a:pt x="308" y="762"/>
                  </a:cubicBezTo>
                  <a:cubicBezTo>
                    <a:pt x="311" y="748"/>
                    <a:pt x="310" y="801"/>
                    <a:pt x="316" y="773"/>
                  </a:cubicBezTo>
                  <a:cubicBezTo>
                    <a:pt x="325" y="774"/>
                    <a:pt x="309" y="789"/>
                    <a:pt x="318" y="792"/>
                  </a:cubicBezTo>
                  <a:cubicBezTo>
                    <a:pt x="322" y="787"/>
                    <a:pt x="322" y="778"/>
                    <a:pt x="326" y="773"/>
                  </a:cubicBezTo>
                  <a:cubicBezTo>
                    <a:pt x="326" y="771"/>
                    <a:pt x="326" y="768"/>
                    <a:pt x="326" y="766"/>
                  </a:cubicBezTo>
                  <a:cubicBezTo>
                    <a:pt x="330" y="766"/>
                    <a:pt x="329" y="773"/>
                    <a:pt x="329" y="777"/>
                  </a:cubicBezTo>
                  <a:cubicBezTo>
                    <a:pt x="329" y="781"/>
                    <a:pt x="333" y="779"/>
                    <a:pt x="335" y="781"/>
                  </a:cubicBezTo>
                  <a:cubicBezTo>
                    <a:pt x="337" y="785"/>
                    <a:pt x="334" y="793"/>
                    <a:pt x="337" y="795"/>
                  </a:cubicBezTo>
                  <a:cubicBezTo>
                    <a:pt x="342" y="794"/>
                    <a:pt x="339" y="781"/>
                    <a:pt x="348" y="784"/>
                  </a:cubicBezTo>
                  <a:cubicBezTo>
                    <a:pt x="347" y="789"/>
                    <a:pt x="343" y="790"/>
                    <a:pt x="343" y="795"/>
                  </a:cubicBezTo>
                  <a:cubicBezTo>
                    <a:pt x="343" y="803"/>
                    <a:pt x="352" y="791"/>
                    <a:pt x="359" y="795"/>
                  </a:cubicBezTo>
                  <a:cubicBezTo>
                    <a:pt x="359" y="813"/>
                    <a:pt x="366" y="808"/>
                    <a:pt x="361" y="825"/>
                  </a:cubicBezTo>
                  <a:close/>
                  <a:moveTo>
                    <a:pt x="415" y="851"/>
                  </a:moveTo>
                  <a:cubicBezTo>
                    <a:pt x="407" y="853"/>
                    <a:pt x="414" y="833"/>
                    <a:pt x="404" y="836"/>
                  </a:cubicBezTo>
                  <a:cubicBezTo>
                    <a:pt x="400" y="838"/>
                    <a:pt x="405" y="841"/>
                    <a:pt x="404" y="847"/>
                  </a:cubicBezTo>
                  <a:cubicBezTo>
                    <a:pt x="399" y="847"/>
                    <a:pt x="401" y="840"/>
                    <a:pt x="399" y="836"/>
                  </a:cubicBezTo>
                  <a:cubicBezTo>
                    <a:pt x="396" y="830"/>
                    <a:pt x="395" y="830"/>
                    <a:pt x="391" y="825"/>
                  </a:cubicBezTo>
                  <a:cubicBezTo>
                    <a:pt x="387" y="828"/>
                    <a:pt x="392" y="831"/>
                    <a:pt x="388" y="840"/>
                  </a:cubicBezTo>
                  <a:cubicBezTo>
                    <a:pt x="386" y="840"/>
                    <a:pt x="386" y="835"/>
                    <a:pt x="386" y="832"/>
                  </a:cubicBezTo>
                  <a:cubicBezTo>
                    <a:pt x="378" y="829"/>
                    <a:pt x="379" y="838"/>
                    <a:pt x="372" y="836"/>
                  </a:cubicBezTo>
                  <a:cubicBezTo>
                    <a:pt x="371" y="835"/>
                    <a:pt x="368" y="818"/>
                    <a:pt x="367" y="829"/>
                  </a:cubicBezTo>
                  <a:cubicBezTo>
                    <a:pt x="361" y="830"/>
                    <a:pt x="367" y="818"/>
                    <a:pt x="370" y="818"/>
                  </a:cubicBezTo>
                  <a:cubicBezTo>
                    <a:pt x="367" y="809"/>
                    <a:pt x="365" y="798"/>
                    <a:pt x="378" y="795"/>
                  </a:cubicBezTo>
                  <a:cubicBezTo>
                    <a:pt x="376" y="803"/>
                    <a:pt x="383" y="804"/>
                    <a:pt x="383" y="799"/>
                  </a:cubicBezTo>
                  <a:cubicBezTo>
                    <a:pt x="388" y="802"/>
                    <a:pt x="383" y="806"/>
                    <a:pt x="383" y="810"/>
                  </a:cubicBezTo>
                  <a:cubicBezTo>
                    <a:pt x="386" y="817"/>
                    <a:pt x="386" y="807"/>
                    <a:pt x="391" y="814"/>
                  </a:cubicBezTo>
                  <a:cubicBezTo>
                    <a:pt x="397" y="822"/>
                    <a:pt x="394" y="802"/>
                    <a:pt x="402" y="807"/>
                  </a:cubicBezTo>
                  <a:cubicBezTo>
                    <a:pt x="403" y="816"/>
                    <a:pt x="403" y="827"/>
                    <a:pt x="407" y="832"/>
                  </a:cubicBezTo>
                  <a:cubicBezTo>
                    <a:pt x="415" y="832"/>
                    <a:pt x="401" y="822"/>
                    <a:pt x="412" y="825"/>
                  </a:cubicBezTo>
                  <a:cubicBezTo>
                    <a:pt x="410" y="838"/>
                    <a:pt x="417" y="839"/>
                    <a:pt x="415" y="851"/>
                  </a:cubicBezTo>
                  <a:close/>
                  <a:moveTo>
                    <a:pt x="466" y="866"/>
                  </a:moveTo>
                  <a:cubicBezTo>
                    <a:pt x="465" y="863"/>
                    <a:pt x="475" y="860"/>
                    <a:pt x="477" y="862"/>
                  </a:cubicBezTo>
                  <a:cubicBezTo>
                    <a:pt x="478" y="864"/>
                    <a:pt x="470" y="873"/>
                    <a:pt x="466" y="866"/>
                  </a:cubicBezTo>
                  <a:close/>
                  <a:moveTo>
                    <a:pt x="485" y="807"/>
                  </a:moveTo>
                  <a:cubicBezTo>
                    <a:pt x="482" y="797"/>
                    <a:pt x="477" y="818"/>
                    <a:pt x="472" y="818"/>
                  </a:cubicBezTo>
                  <a:cubicBezTo>
                    <a:pt x="468" y="837"/>
                    <a:pt x="482" y="845"/>
                    <a:pt x="474" y="858"/>
                  </a:cubicBezTo>
                  <a:cubicBezTo>
                    <a:pt x="469" y="858"/>
                    <a:pt x="473" y="846"/>
                    <a:pt x="469" y="844"/>
                  </a:cubicBezTo>
                  <a:cubicBezTo>
                    <a:pt x="464" y="843"/>
                    <a:pt x="468" y="855"/>
                    <a:pt x="466" y="858"/>
                  </a:cubicBezTo>
                  <a:cubicBezTo>
                    <a:pt x="466" y="859"/>
                    <a:pt x="454" y="847"/>
                    <a:pt x="458" y="862"/>
                  </a:cubicBezTo>
                  <a:cubicBezTo>
                    <a:pt x="451" y="866"/>
                    <a:pt x="445" y="851"/>
                    <a:pt x="442" y="862"/>
                  </a:cubicBezTo>
                  <a:cubicBezTo>
                    <a:pt x="438" y="857"/>
                    <a:pt x="439" y="844"/>
                    <a:pt x="431" y="844"/>
                  </a:cubicBezTo>
                  <a:cubicBezTo>
                    <a:pt x="428" y="844"/>
                    <a:pt x="429" y="851"/>
                    <a:pt x="431" y="851"/>
                  </a:cubicBezTo>
                  <a:cubicBezTo>
                    <a:pt x="430" y="862"/>
                    <a:pt x="418" y="849"/>
                    <a:pt x="418" y="847"/>
                  </a:cubicBezTo>
                  <a:cubicBezTo>
                    <a:pt x="418" y="845"/>
                    <a:pt x="426" y="835"/>
                    <a:pt x="415" y="836"/>
                  </a:cubicBezTo>
                  <a:cubicBezTo>
                    <a:pt x="415" y="829"/>
                    <a:pt x="419" y="828"/>
                    <a:pt x="418" y="821"/>
                  </a:cubicBezTo>
                  <a:cubicBezTo>
                    <a:pt x="428" y="819"/>
                    <a:pt x="430" y="827"/>
                    <a:pt x="429" y="840"/>
                  </a:cubicBezTo>
                  <a:cubicBezTo>
                    <a:pt x="431" y="838"/>
                    <a:pt x="433" y="836"/>
                    <a:pt x="437" y="836"/>
                  </a:cubicBezTo>
                  <a:cubicBezTo>
                    <a:pt x="437" y="830"/>
                    <a:pt x="435" y="827"/>
                    <a:pt x="431" y="825"/>
                  </a:cubicBezTo>
                  <a:cubicBezTo>
                    <a:pt x="431" y="814"/>
                    <a:pt x="439" y="834"/>
                    <a:pt x="439" y="821"/>
                  </a:cubicBezTo>
                  <a:cubicBezTo>
                    <a:pt x="444" y="822"/>
                    <a:pt x="441" y="834"/>
                    <a:pt x="445" y="836"/>
                  </a:cubicBezTo>
                  <a:cubicBezTo>
                    <a:pt x="447" y="834"/>
                    <a:pt x="448" y="828"/>
                    <a:pt x="453" y="829"/>
                  </a:cubicBezTo>
                  <a:cubicBezTo>
                    <a:pt x="455" y="839"/>
                    <a:pt x="447" y="836"/>
                    <a:pt x="447" y="844"/>
                  </a:cubicBezTo>
                  <a:cubicBezTo>
                    <a:pt x="450" y="855"/>
                    <a:pt x="455" y="832"/>
                    <a:pt x="458" y="836"/>
                  </a:cubicBezTo>
                  <a:cubicBezTo>
                    <a:pt x="462" y="842"/>
                    <a:pt x="461" y="833"/>
                    <a:pt x="469" y="832"/>
                  </a:cubicBezTo>
                  <a:cubicBezTo>
                    <a:pt x="470" y="824"/>
                    <a:pt x="464" y="824"/>
                    <a:pt x="466" y="814"/>
                  </a:cubicBezTo>
                  <a:cubicBezTo>
                    <a:pt x="475" y="817"/>
                    <a:pt x="471" y="804"/>
                    <a:pt x="480" y="807"/>
                  </a:cubicBezTo>
                  <a:cubicBezTo>
                    <a:pt x="479" y="802"/>
                    <a:pt x="475" y="803"/>
                    <a:pt x="472" y="803"/>
                  </a:cubicBezTo>
                  <a:cubicBezTo>
                    <a:pt x="478" y="789"/>
                    <a:pt x="490" y="800"/>
                    <a:pt x="496" y="807"/>
                  </a:cubicBezTo>
                  <a:cubicBezTo>
                    <a:pt x="497" y="820"/>
                    <a:pt x="478" y="810"/>
                    <a:pt x="485" y="807"/>
                  </a:cubicBezTo>
                  <a:close/>
                  <a:moveTo>
                    <a:pt x="493" y="858"/>
                  </a:moveTo>
                  <a:cubicBezTo>
                    <a:pt x="490" y="857"/>
                    <a:pt x="488" y="854"/>
                    <a:pt x="488" y="847"/>
                  </a:cubicBezTo>
                  <a:cubicBezTo>
                    <a:pt x="491" y="849"/>
                    <a:pt x="493" y="852"/>
                    <a:pt x="493" y="858"/>
                  </a:cubicBezTo>
                  <a:close/>
                  <a:moveTo>
                    <a:pt x="501" y="877"/>
                  </a:moveTo>
                  <a:cubicBezTo>
                    <a:pt x="499" y="877"/>
                    <a:pt x="499" y="872"/>
                    <a:pt x="499" y="869"/>
                  </a:cubicBezTo>
                  <a:cubicBezTo>
                    <a:pt x="494" y="869"/>
                    <a:pt x="493" y="874"/>
                    <a:pt x="488" y="873"/>
                  </a:cubicBezTo>
                  <a:cubicBezTo>
                    <a:pt x="488" y="869"/>
                    <a:pt x="488" y="866"/>
                    <a:pt x="488" y="862"/>
                  </a:cubicBezTo>
                  <a:cubicBezTo>
                    <a:pt x="492" y="867"/>
                    <a:pt x="510" y="865"/>
                    <a:pt x="501" y="877"/>
                  </a:cubicBezTo>
                  <a:close/>
                  <a:moveTo>
                    <a:pt x="590" y="45"/>
                  </a:moveTo>
                  <a:cubicBezTo>
                    <a:pt x="589" y="30"/>
                    <a:pt x="606" y="42"/>
                    <a:pt x="606" y="30"/>
                  </a:cubicBezTo>
                  <a:cubicBezTo>
                    <a:pt x="613" y="35"/>
                    <a:pt x="593" y="53"/>
                    <a:pt x="590" y="45"/>
                  </a:cubicBezTo>
                  <a:close/>
                  <a:moveTo>
                    <a:pt x="612" y="137"/>
                  </a:moveTo>
                  <a:cubicBezTo>
                    <a:pt x="609" y="136"/>
                    <a:pt x="609" y="133"/>
                    <a:pt x="606" y="133"/>
                  </a:cubicBezTo>
                  <a:cubicBezTo>
                    <a:pt x="606" y="125"/>
                    <a:pt x="619" y="130"/>
                    <a:pt x="612" y="137"/>
                  </a:cubicBezTo>
                  <a:close/>
                  <a:moveTo>
                    <a:pt x="636" y="126"/>
                  </a:moveTo>
                  <a:cubicBezTo>
                    <a:pt x="647" y="128"/>
                    <a:pt x="633" y="147"/>
                    <a:pt x="636" y="126"/>
                  </a:cubicBezTo>
                  <a:close/>
                  <a:moveTo>
                    <a:pt x="644" y="137"/>
                  </a:moveTo>
                  <a:cubicBezTo>
                    <a:pt x="645" y="127"/>
                    <a:pt x="658" y="120"/>
                    <a:pt x="657" y="137"/>
                  </a:cubicBezTo>
                  <a:cubicBezTo>
                    <a:pt x="652" y="144"/>
                    <a:pt x="652" y="135"/>
                    <a:pt x="644" y="137"/>
                  </a:cubicBezTo>
                  <a:close/>
                  <a:moveTo>
                    <a:pt x="708" y="137"/>
                  </a:moveTo>
                  <a:cubicBezTo>
                    <a:pt x="703" y="138"/>
                    <a:pt x="700" y="136"/>
                    <a:pt x="700" y="130"/>
                  </a:cubicBezTo>
                  <a:cubicBezTo>
                    <a:pt x="704" y="126"/>
                    <a:pt x="707" y="133"/>
                    <a:pt x="708" y="133"/>
                  </a:cubicBezTo>
                  <a:cubicBezTo>
                    <a:pt x="713" y="134"/>
                    <a:pt x="715" y="127"/>
                    <a:pt x="716" y="133"/>
                  </a:cubicBezTo>
                  <a:cubicBezTo>
                    <a:pt x="718" y="146"/>
                    <a:pt x="711" y="139"/>
                    <a:pt x="708" y="137"/>
                  </a:cubicBezTo>
                  <a:close/>
                  <a:moveTo>
                    <a:pt x="716" y="100"/>
                  </a:moveTo>
                  <a:cubicBezTo>
                    <a:pt x="719" y="100"/>
                    <a:pt x="722" y="100"/>
                    <a:pt x="724" y="100"/>
                  </a:cubicBezTo>
                  <a:cubicBezTo>
                    <a:pt x="723" y="111"/>
                    <a:pt x="696" y="99"/>
                    <a:pt x="716" y="100"/>
                  </a:cubicBezTo>
                  <a:close/>
                  <a:moveTo>
                    <a:pt x="792" y="115"/>
                  </a:moveTo>
                  <a:cubicBezTo>
                    <a:pt x="786" y="114"/>
                    <a:pt x="786" y="106"/>
                    <a:pt x="786" y="96"/>
                  </a:cubicBezTo>
                  <a:cubicBezTo>
                    <a:pt x="791" y="96"/>
                    <a:pt x="795" y="96"/>
                    <a:pt x="800" y="96"/>
                  </a:cubicBezTo>
                  <a:cubicBezTo>
                    <a:pt x="797" y="103"/>
                    <a:pt x="793" y="107"/>
                    <a:pt x="792" y="115"/>
                  </a:cubicBezTo>
                  <a:close/>
                  <a:moveTo>
                    <a:pt x="816" y="111"/>
                  </a:moveTo>
                  <a:cubicBezTo>
                    <a:pt x="812" y="108"/>
                    <a:pt x="810" y="102"/>
                    <a:pt x="810" y="93"/>
                  </a:cubicBezTo>
                  <a:cubicBezTo>
                    <a:pt x="815" y="90"/>
                    <a:pt x="820" y="87"/>
                    <a:pt x="827" y="85"/>
                  </a:cubicBezTo>
                  <a:cubicBezTo>
                    <a:pt x="830" y="104"/>
                    <a:pt x="818" y="101"/>
                    <a:pt x="816" y="111"/>
                  </a:cubicBezTo>
                  <a:close/>
                  <a:moveTo>
                    <a:pt x="827" y="126"/>
                  </a:moveTo>
                  <a:cubicBezTo>
                    <a:pt x="827" y="121"/>
                    <a:pt x="835" y="125"/>
                    <a:pt x="835" y="119"/>
                  </a:cubicBezTo>
                  <a:cubicBezTo>
                    <a:pt x="843" y="123"/>
                    <a:pt x="829" y="134"/>
                    <a:pt x="827" y="126"/>
                  </a:cubicBezTo>
                  <a:close/>
                  <a:moveTo>
                    <a:pt x="870" y="152"/>
                  </a:moveTo>
                  <a:cubicBezTo>
                    <a:pt x="867" y="153"/>
                    <a:pt x="865" y="157"/>
                    <a:pt x="862" y="156"/>
                  </a:cubicBezTo>
                  <a:cubicBezTo>
                    <a:pt x="861" y="156"/>
                    <a:pt x="861" y="152"/>
                    <a:pt x="859" y="152"/>
                  </a:cubicBezTo>
                  <a:cubicBezTo>
                    <a:pt x="857" y="152"/>
                    <a:pt x="855" y="147"/>
                    <a:pt x="851" y="148"/>
                  </a:cubicBezTo>
                  <a:cubicBezTo>
                    <a:pt x="853" y="142"/>
                    <a:pt x="873" y="142"/>
                    <a:pt x="875" y="148"/>
                  </a:cubicBezTo>
                  <a:cubicBezTo>
                    <a:pt x="875" y="159"/>
                    <a:pt x="873" y="151"/>
                    <a:pt x="870" y="152"/>
                  </a:cubicBezTo>
                  <a:close/>
                  <a:moveTo>
                    <a:pt x="859" y="133"/>
                  </a:moveTo>
                  <a:cubicBezTo>
                    <a:pt x="859" y="128"/>
                    <a:pt x="859" y="123"/>
                    <a:pt x="856" y="122"/>
                  </a:cubicBezTo>
                  <a:cubicBezTo>
                    <a:pt x="860" y="114"/>
                    <a:pt x="871" y="127"/>
                    <a:pt x="878" y="126"/>
                  </a:cubicBezTo>
                  <a:cubicBezTo>
                    <a:pt x="872" y="133"/>
                    <a:pt x="867" y="138"/>
                    <a:pt x="859" y="133"/>
                  </a:cubicBezTo>
                  <a:close/>
                  <a:moveTo>
                    <a:pt x="886" y="104"/>
                  </a:moveTo>
                  <a:cubicBezTo>
                    <a:pt x="884" y="104"/>
                    <a:pt x="882" y="104"/>
                    <a:pt x="880" y="104"/>
                  </a:cubicBezTo>
                  <a:cubicBezTo>
                    <a:pt x="880" y="101"/>
                    <a:pt x="880" y="99"/>
                    <a:pt x="880" y="96"/>
                  </a:cubicBezTo>
                  <a:cubicBezTo>
                    <a:pt x="882" y="96"/>
                    <a:pt x="884" y="96"/>
                    <a:pt x="886" y="96"/>
                  </a:cubicBezTo>
                  <a:cubicBezTo>
                    <a:pt x="886" y="99"/>
                    <a:pt x="886" y="101"/>
                    <a:pt x="886" y="104"/>
                  </a:cubicBezTo>
                  <a:close/>
                  <a:moveTo>
                    <a:pt x="913" y="1239"/>
                  </a:moveTo>
                  <a:cubicBezTo>
                    <a:pt x="909" y="1234"/>
                    <a:pt x="912" y="1233"/>
                    <a:pt x="913" y="1228"/>
                  </a:cubicBezTo>
                  <a:cubicBezTo>
                    <a:pt x="916" y="1229"/>
                    <a:pt x="914" y="1235"/>
                    <a:pt x="918" y="1235"/>
                  </a:cubicBezTo>
                  <a:cubicBezTo>
                    <a:pt x="918" y="1239"/>
                    <a:pt x="915" y="1238"/>
                    <a:pt x="913" y="1239"/>
                  </a:cubicBezTo>
                  <a:close/>
                  <a:moveTo>
                    <a:pt x="926" y="119"/>
                  </a:moveTo>
                  <a:cubicBezTo>
                    <a:pt x="923" y="118"/>
                    <a:pt x="924" y="112"/>
                    <a:pt x="923" y="108"/>
                  </a:cubicBezTo>
                  <a:cubicBezTo>
                    <a:pt x="926" y="108"/>
                    <a:pt x="929" y="108"/>
                    <a:pt x="931" y="108"/>
                  </a:cubicBezTo>
                  <a:cubicBezTo>
                    <a:pt x="931" y="112"/>
                    <a:pt x="927" y="113"/>
                    <a:pt x="926" y="119"/>
                  </a:cubicBezTo>
                  <a:close/>
                  <a:moveTo>
                    <a:pt x="931" y="673"/>
                  </a:moveTo>
                  <a:cubicBezTo>
                    <a:pt x="928" y="672"/>
                    <a:pt x="929" y="664"/>
                    <a:pt x="929" y="659"/>
                  </a:cubicBezTo>
                  <a:cubicBezTo>
                    <a:pt x="935" y="660"/>
                    <a:pt x="935" y="668"/>
                    <a:pt x="931" y="673"/>
                  </a:cubicBezTo>
                  <a:close/>
                  <a:moveTo>
                    <a:pt x="956" y="385"/>
                  </a:moveTo>
                  <a:cubicBezTo>
                    <a:pt x="954" y="385"/>
                    <a:pt x="952" y="385"/>
                    <a:pt x="950" y="385"/>
                  </a:cubicBezTo>
                  <a:cubicBezTo>
                    <a:pt x="951" y="382"/>
                    <a:pt x="949" y="381"/>
                    <a:pt x="948" y="381"/>
                  </a:cubicBezTo>
                  <a:cubicBezTo>
                    <a:pt x="947" y="374"/>
                    <a:pt x="960" y="376"/>
                    <a:pt x="956" y="385"/>
                  </a:cubicBezTo>
                  <a:close/>
                  <a:moveTo>
                    <a:pt x="977" y="111"/>
                  </a:moveTo>
                  <a:cubicBezTo>
                    <a:pt x="977" y="108"/>
                    <a:pt x="977" y="104"/>
                    <a:pt x="977" y="100"/>
                  </a:cubicBezTo>
                  <a:cubicBezTo>
                    <a:pt x="980" y="100"/>
                    <a:pt x="983" y="100"/>
                    <a:pt x="985" y="100"/>
                  </a:cubicBezTo>
                  <a:cubicBezTo>
                    <a:pt x="982" y="104"/>
                    <a:pt x="984" y="114"/>
                    <a:pt x="977" y="111"/>
                  </a:cubicBezTo>
                  <a:close/>
                  <a:moveTo>
                    <a:pt x="993" y="688"/>
                  </a:moveTo>
                  <a:cubicBezTo>
                    <a:pt x="993" y="684"/>
                    <a:pt x="993" y="681"/>
                    <a:pt x="993" y="677"/>
                  </a:cubicBezTo>
                  <a:cubicBezTo>
                    <a:pt x="1001" y="672"/>
                    <a:pt x="1001" y="694"/>
                    <a:pt x="993" y="688"/>
                  </a:cubicBezTo>
                  <a:close/>
                  <a:moveTo>
                    <a:pt x="1009" y="1254"/>
                  </a:moveTo>
                  <a:cubicBezTo>
                    <a:pt x="1008" y="1254"/>
                    <a:pt x="1006" y="1254"/>
                    <a:pt x="1004" y="1254"/>
                  </a:cubicBezTo>
                  <a:cubicBezTo>
                    <a:pt x="1003" y="1244"/>
                    <a:pt x="1005" y="1238"/>
                    <a:pt x="1012" y="1239"/>
                  </a:cubicBezTo>
                  <a:cubicBezTo>
                    <a:pt x="1010" y="1242"/>
                    <a:pt x="1008" y="1249"/>
                    <a:pt x="1012" y="1250"/>
                  </a:cubicBezTo>
                  <a:cubicBezTo>
                    <a:pt x="1013" y="1254"/>
                    <a:pt x="1011" y="1254"/>
                    <a:pt x="1009" y="1254"/>
                  </a:cubicBezTo>
                  <a:close/>
                  <a:moveTo>
                    <a:pt x="1039" y="145"/>
                  </a:moveTo>
                  <a:cubicBezTo>
                    <a:pt x="1031" y="158"/>
                    <a:pt x="1030" y="133"/>
                    <a:pt x="1039" y="145"/>
                  </a:cubicBezTo>
                  <a:close/>
                  <a:moveTo>
                    <a:pt x="1074" y="133"/>
                  </a:moveTo>
                  <a:cubicBezTo>
                    <a:pt x="1071" y="132"/>
                    <a:pt x="1068" y="129"/>
                    <a:pt x="1069" y="122"/>
                  </a:cubicBezTo>
                  <a:cubicBezTo>
                    <a:pt x="1071" y="123"/>
                    <a:pt x="1071" y="121"/>
                    <a:pt x="1071" y="119"/>
                  </a:cubicBezTo>
                  <a:cubicBezTo>
                    <a:pt x="1074" y="121"/>
                    <a:pt x="1076" y="123"/>
                    <a:pt x="1079" y="122"/>
                  </a:cubicBezTo>
                  <a:cubicBezTo>
                    <a:pt x="1078" y="126"/>
                    <a:pt x="1073" y="126"/>
                    <a:pt x="1074" y="133"/>
                  </a:cubicBezTo>
                  <a:close/>
                  <a:moveTo>
                    <a:pt x="1085" y="640"/>
                  </a:moveTo>
                  <a:cubicBezTo>
                    <a:pt x="1083" y="640"/>
                    <a:pt x="1081" y="640"/>
                    <a:pt x="1079" y="640"/>
                  </a:cubicBezTo>
                  <a:cubicBezTo>
                    <a:pt x="1079" y="638"/>
                    <a:pt x="1079" y="635"/>
                    <a:pt x="1079" y="633"/>
                  </a:cubicBezTo>
                  <a:cubicBezTo>
                    <a:pt x="1081" y="633"/>
                    <a:pt x="1083" y="633"/>
                    <a:pt x="1085" y="633"/>
                  </a:cubicBezTo>
                  <a:cubicBezTo>
                    <a:pt x="1085" y="635"/>
                    <a:pt x="1085" y="638"/>
                    <a:pt x="1085" y="640"/>
                  </a:cubicBezTo>
                  <a:close/>
                  <a:moveTo>
                    <a:pt x="1096" y="1254"/>
                  </a:moveTo>
                  <a:cubicBezTo>
                    <a:pt x="1094" y="1254"/>
                    <a:pt x="1092" y="1254"/>
                    <a:pt x="1090" y="1254"/>
                  </a:cubicBezTo>
                  <a:cubicBezTo>
                    <a:pt x="1090" y="1252"/>
                    <a:pt x="1090" y="1249"/>
                    <a:pt x="1090" y="1247"/>
                  </a:cubicBezTo>
                  <a:cubicBezTo>
                    <a:pt x="1092" y="1247"/>
                    <a:pt x="1094" y="1247"/>
                    <a:pt x="1096" y="1247"/>
                  </a:cubicBezTo>
                  <a:cubicBezTo>
                    <a:pt x="1096" y="1249"/>
                    <a:pt x="1096" y="1252"/>
                    <a:pt x="1096" y="1254"/>
                  </a:cubicBezTo>
                  <a:close/>
                  <a:moveTo>
                    <a:pt x="1101" y="170"/>
                  </a:moveTo>
                  <a:cubicBezTo>
                    <a:pt x="1109" y="167"/>
                    <a:pt x="1111" y="174"/>
                    <a:pt x="1114" y="178"/>
                  </a:cubicBezTo>
                  <a:cubicBezTo>
                    <a:pt x="1116" y="181"/>
                    <a:pt x="1098" y="181"/>
                    <a:pt x="1101" y="170"/>
                  </a:cubicBezTo>
                  <a:close/>
                  <a:moveTo>
                    <a:pt x="1117" y="119"/>
                  </a:moveTo>
                  <a:cubicBezTo>
                    <a:pt x="1117" y="115"/>
                    <a:pt x="1120" y="116"/>
                    <a:pt x="1122" y="115"/>
                  </a:cubicBezTo>
                  <a:cubicBezTo>
                    <a:pt x="1125" y="115"/>
                    <a:pt x="1128" y="115"/>
                    <a:pt x="1131" y="115"/>
                  </a:cubicBezTo>
                  <a:cubicBezTo>
                    <a:pt x="1131" y="123"/>
                    <a:pt x="1121" y="117"/>
                    <a:pt x="1117" y="119"/>
                  </a:cubicBezTo>
                  <a:close/>
                  <a:moveTo>
                    <a:pt x="1125" y="1265"/>
                  </a:moveTo>
                  <a:cubicBezTo>
                    <a:pt x="1118" y="1258"/>
                    <a:pt x="1128" y="1249"/>
                    <a:pt x="1122" y="1239"/>
                  </a:cubicBezTo>
                  <a:cubicBezTo>
                    <a:pt x="1135" y="1240"/>
                    <a:pt x="1123" y="1256"/>
                    <a:pt x="1125" y="1265"/>
                  </a:cubicBezTo>
                  <a:close/>
                  <a:moveTo>
                    <a:pt x="1147" y="178"/>
                  </a:moveTo>
                  <a:cubicBezTo>
                    <a:pt x="1140" y="190"/>
                    <a:pt x="1134" y="168"/>
                    <a:pt x="1147" y="178"/>
                  </a:cubicBezTo>
                  <a:close/>
                  <a:moveTo>
                    <a:pt x="1171" y="189"/>
                  </a:moveTo>
                  <a:cubicBezTo>
                    <a:pt x="1167" y="185"/>
                    <a:pt x="1161" y="185"/>
                    <a:pt x="1157" y="182"/>
                  </a:cubicBezTo>
                  <a:cubicBezTo>
                    <a:pt x="1159" y="174"/>
                    <a:pt x="1176" y="175"/>
                    <a:pt x="1171" y="189"/>
                  </a:cubicBezTo>
                  <a:close/>
                  <a:moveTo>
                    <a:pt x="1176" y="1217"/>
                  </a:moveTo>
                  <a:cubicBezTo>
                    <a:pt x="1176" y="1214"/>
                    <a:pt x="1181" y="1213"/>
                    <a:pt x="1184" y="1213"/>
                  </a:cubicBezTo>
                  <a:cubicBezTo>
                    <a:pt x="1183" y="1213"/>
                    <a:pt x="1190" y="1219"/>
                    <a:pt x="1190" y="1217"/>
                  </a:cubicBezTo>
                  <a:cubicBezTo>
                    <a:pt x="1192" y="1224"/>
                    <a:pt x="1181" y="1219"/>
                    <a:pt x="1176" y="1217"/>
                  </a:cubicBezTo>
                  <a:close/>
                  <a:moveTo>
                    <a:pt x="1187" y="592"/>
                  </a:moveTo>
                  <a:cubicBezTo>
                    <a:pt x="1190" y="580"/>
                    <a:pt x="1190" y="602"/>
                    <a:pt x="1190" y="607"/>
                  </a:cubicBezTo>
                  <a:cubicBezTo>
                    <a:pt x="1187" y="619"/>
                    <a:pt x="1187" y="597"/>
                    <a:pt x="1187" y="592"/>
                  </a:cubicBezTo>
                  <a:close/>
                  <a:moveTo>
                    <a:pt x="1192" y="577"/>
                  </a:moveTo>
                  <a:cubicBezTo>
                    <a:pt x="1191" y="577"/>
                    <a:pt x="1190" y="574"/>
                    <a:pt x="1190" y="574"/>
                  </a:cubicBezTo>
                  <a:cubicBezTo>
                    <a:pt x="1188" y="573"/>
                    <a:pt x="1186" y="576"/>
                    <a:pt x="1187" y="577"/>
                  </a:cubicBezTo>
                  <a:cubicBezTo>
                    <a:pt x="1185" y="575"/>
                    <a:pt x="1185" y="574"/>
                    <a:pt x="1187" y="574"/>
                  </a:cubicBezTo>
                  <a:cubicBezTo>
                    <a:pt x="1188" y="573"/>
                    <a:pt x="1189" y="569"/>
                    <a:pt x="1192" y="570"/>
                  </a:cubicBezTo>
                  <a:cubicBezTo>
                    <a:pt x="1192" y="570"/>
                    <a:pt x="1204" y="581"/>
                    <a:pt x="1192" y="577"/>
                  </a:cubicBezTo>
                  <a:close/>
                  <a:moveTo>
                    <a:pt x="1200" y="133"/>
                  </a:moveTo>
                  <a:cubicBezTo>
                    <a:pt x="1203" y="133"/>
                    <a:pt x="1203" y="137"/>
                    <a:pt x="1203" y="137"/>
                  </a:cubicBezTo>
                  <a:cubicBezTo>
                    <a:pt x="1207" y="137"/>
                    <a:pt x="1219" y="134"/>
                    <a:pt x="1217" y="145"/>
                  </a:cubicBezTo>
                  <a:cubicBezTo>
                    <a:pt x="1213" y="139"/>
                    <a:pt x="1205" y="141"/>
                    <a:pt x="1198" y="141"/>
                  </a:cubicBezTo>
                  <a:cubicBezTo>
                    <a:pt x="1199" y="141"/>
                    <a:pt x="1200" y="134"/>
                    <a:pt x="1200" y="133"/>
                  </a:cubicBezTo>
                  <a:close/>
                  <a:moveTo>
                    <a:pt x="1200" y="189"/>
                  </a:moveTo>
                  <a:cubicBezTo>
                    <a:pt x="1201" y="184"/>
                    <a:pt x="1207" y="186"/>
                    <a:pt x="1211" y="185"/>
                  </a:cubicBezTo>
                  <a:cubicBezTo>
                    <a:pt x="1210" y="194"/>
                    <a:pt x="1204" y="194"/>
                    <a:pt x="1200" y="189"/>
                  </a:cubicBezTo>
                  <a:close/>
                  <a:moveTo>
                    <a:pt x="1208" y="1269"/>
                  </a:moveTo>
                  <a:cubicBezTo>
                    <a:pt x="1205" y="1257"/>
                    <a:pt x="1213" y="1260"/>
                    <a:pt x="1214" y="1254"/>
                  </a:cubicBezTo>
                  <a:cubicBezTo>
                    <a:pt x="1217" y="1255"/>
                    <a:pt x="1216" y="1263"/>
                    <a:pt x="1217" y="1269"/>
                  </a:cubicBezTo>
                  <a:cubicBezTo>
                    <a:pt x="1214" y="1269"/>
                    <a:pt x="1211" y="1269"/>
                    <a:pt x="1208" y="1269"/>
                  </a:cubicBezTo>
                  <a:close/>
                  <a:moveTo>
                    <a:pt x="1214" y="237"/>
                  </a:moveTo>
                  <a:cubicBezTo>
                    <a:pt x="1213" y="243"/>
                    <a:pt x="1210" y="236"/>
                    <a:pt x="1206" y="237"/>
                  </a:cubicBezTo>
                  <a:cubicBezTo>
                    <a:pt x="1208" y="227"/>
                    <a:pt x="1202" y="227"/>
                    <a:pt x="1203" y="218"/>
                  </a:cubicBezTo>
                  <a:cubicBezTo>
                    <a:pt x="1206" y="217"/>
                    <a:pt x="1207" y="226"/>
                    <a:pt x="1208" y="226"/>
                  </a:cubicBezTo>
                  <a:cubicBezTo>
                    <a:pt x="1213" y="227"/>
                    <a:pt x="1215" y="211"/>
                    <a:pt x="1222" y="222"/>
                  </a:cubicBezTo>
                  <a:cubicBezTo>
                    <a:pt x="1220" y="227"/>
                    <a:pt x="1204" y="229"/>
                    <a:pt x="1214" y="237"/>
                  </a:cubicBezTo>
                  <a:close/>
                  <a:moveTo>
                    <a:pt x="1340" y="152"/>
                  </a:moveTo>
                  <a:cubicBezTo>
                    <a:pt x="1341" y="154"/>
                    <a:pt x="1333" y="158"/>
                    <a:pt x="1332" y="156"/>
                  </a:cubicBezTo>
                  <a:cubicBezTo>
                    <a:pt x="1332" y="155"/>
                    <a:pt x="1332" y="152"/>
                    <a:pt x="1332" y="152"/>
                  </a:cubicBezTo>
                  <a:cubicBezTo>
                    <a:pt x="1329" y="152"/>
                    <a:pt x="1324" y="159"/>
                    <a:pt x="1321" y="152"/>
                  </a:cubicBezTo>
                  <a:cubicBezTo>
                    <a:pt x="1323" y="144"/>
                    <a:pt x="1338" y="148"/>
                    <a:pt x="1340" y="152"/>
                  </a:cubicBezTo>
                  <a:close/>
                  <a:moveTo>
                    <a:pt x="1316" y="574"/>
                  </a:moveTo>
                  <a:cubicBezTo>
                    <a:pt x="1314" y="561"/>
                    <a:pt x="1320" y="559"/>
                    <a:pt x="1319" y="548"/>
                  </a:cubicBezTo>
                  <a:cubicBezTo>
                    <a:pt x="1328" y="549"/>
                    <a:pt x="1324" y="574"/>
                    <a:pt x="1316" y="574"/>
                  </a:cubicBezTo>
                  <a:close/>
                  <a:moveTo>
                    <a:pt x="1281" y="130"/>
                  </a:moveTo>
                  <a:cubicBezTo>
                    <a:pt x="1285" y="118"/>
                    <a:pt x="1285" y="140"/>
                    <a:pt x="1278" y="137"/>
                  </a:cubicBezTo>
                  <a:cubicBezTo>
                    <a:pt x="1273" y="134"/>
                    <a:pt x="1281" y="135"/>
                    <a:pt x="1281" y="130"/>
                  </a:cubicBezTo>
                  <a:close/>
                  <a:moveTo>
                    <a:pt x="1260" y="137"/>
                  </a:moveTo>
                  <a:cubicBezTo>
                    <a:pt x="1267" y="141"/>
                    <a:pt x="1273" y="146"/>
                    <a:pt x="1284" y="145"/>
                  </a:cubicBezTo>
                  <a:cubicBezTo>
                    <a:pt x="1286" y="157"/>
                    <a:pt x="1278" y="151"/>
                    <a:pt x="1276" y="148"/>
                  </a:cubicBezTo>
                  <a:cubicBezTo>
                    <a:pt x="1274" y="158"/>
                    <a:pt x="1277" y="162"/>
                    <a:pt x="1284" y="159"/>
                  </a:cubicBezTo>
                  <a:cubicBezTo>
                    <a:pt x="1294" y="168"/>
                    <a:pt x="1255" y="158"/>
                    <a:pt x="1265" y="167"/>
                  </a:cubicBezTo>
                  <a:cubicBezTo>
                    <a:pt x="1264" y="177"/>
                    <a:pt x="1256" y="167"/>
                    <a:pt x="1260" y="159"/>
                  </a:cubicBezTo>
                  <a:cubicBezTo>
                    <a:pt x="1257" y="159"/>
                    <a:pt x="1254" y="159"/>
                    <a:pt x="1251" y="159"/>
                  </a:cubicBezTo>
                  <a:cubicBezTo>
                    <a:pt x="1251" y="153"/>
                    <a:pt x="1268" y="153"/>
                    <a:pt x="1268" y="159"/>
                  </a:cubicBezTo>
                  <a:cubicBezTo>
                    <a:pt x="1270" y="157"/>
                    <a:pt x="1272" y="153"/>
                    <a:pt x="1273" y="148"/>
                  </a:cubicBezTo>
                  <a:cubicBezTo>
                    <a:pt x="1264" y="154"/>
                    <a:pt x="1261" y="150"/>
                    <a:pt x="1251" y="148"/>
                  </a:cubicBezTo>
                  <a:cubicBezTo>
                    <a:pt x="1247" y="135"/>
                    <a:pt x="1261" y="146"/>
                    <a:pt x="1260" y="137"/>
                  </a:cubicBezTo>
                  <a:close/>
                  <a:moveTo>
                    <a:pt x="1276" y="237"/>
                  </a:moveTo>
                  <a:cubicBezTo>
                    <a:pt x="1274" y="237"/>
                    <a:pt x="1272" y="237"/>
                    <a:pt x="1270" y="237"/>
                  </a:cubicBezTo>
                  <a:cubicBezTo>
                    <a:pt x="1270" y="231"/>
                    <a:pt x="1273" y="231"/>
                    <a:pt x="1273" y="226"/>
                  </a:cubicBezTo>
                  <a:cubicBezTo>
                    <a:pt x="1279" y="228"/>
                    <a:pt x="1279" y="232"/>
                    <a:pt x="1276" y="237"/>
                  </a:cubicBezTo>
                  <a:close/>
                  <a:moveTo>
                    <a:pt x="1260" y="237"/>
                  </a:moveTo>
                  <a:cubicBezTo>
                    <a:pt x="1255" y="238"/>
                    <a:pt x="1254" y="234"/>
                    <a:pt x="1254" y="230"/>
                  </a:cubicBezTo>
                  <a:cubicBezTo>
                    <a:pt x="1240" y="238"/>
                    <a:pt x="1262" y="214"/>
                    <a:pt x="1260" y="237"/>
                  </a:cubicBezTo>
                  <a:close/>
                  <a:moveTo>
                    <a:pt x="1254" y="614"/>
                  </a:moveTo>
                  <a:cubicBezTo>
                    <a:pt x="1248" y="625"/>
                    <a:pt x="1253" y="587"/>
                    <a:pt x="1254" y="581"/>
                  </a:cubicBezTo>
                  <a:cubicBezTo>
                    <a:pt x="1258" y="583"/>
                    <a:pt x="1259" y="586"/>
                    <a:pt x="1260" y="592"/>
                  </a:cubicBezTo>
                  <a:cubicBezTo>
                    <a:pt x="1260" y="600"/>
                    <a:pt x="1250" y="603"/>
                    <a:pt x="1254" y="614"/>
                  </a:cubicBezTo>
                  <a:close/>
                  <a:moveTo>
                    <a:pt x="1227" y="148"/>
                  </a:moveTo>
                  <a:cubicBezTo>
                    <a:pt x="1225" y="149"/>
                    <a:pt x="1225" y="147"/>
                    <a:pt x="1225" y="145"/>
                  </a:cubicBezTo>
                  <a:cubicBezTo>
                    <a:pt x="1225" y="142"/>
                    <a:pt x="1225" y="140"/>
                    <a:pt x="1225" y="137"/>
                  </a:cubicBezTo>
                  <a:cubicBezTo>
                    <a:pt x="1233" y="134"/>
                    <a:pt x="1234" y="141"/>
                    <a:pt x="1241" y="141"/>
                  </a:cubicBezTo>
                  <a:cubicBezTo>
                    <a:pt x="1239" y="145"/>
                    <a:pt x="1235" y="145"/>
                    <a:pt x="1235" y="152"/>
                  </a:cubicBezTo>
                  <a:cubicBezTo>
                    <a:pt x="1233" y="152"/>
                    <a:pt x="1230" y="136"/>
                    <a:pt x="1227" y="148"/>
                  </a:cubicBezTo>
                  <a:close/>
                  <a:moveTo>
                    <a:pt x="1230" y="588"/>
                  </a:moveTo>
                  <a:cubicBezTo>
                    <a:pt x="1229" y="580"/>
                    <a:pt x="1230" y="574"/>
                    <a:pt x="1233" y="570"/>
                  </a:cubicBezTo>
                  <a:cubicBezTo>
                    <a:pt x="1235" y="572"/>
                    <a:pt x="1237" y="574"/>
                    <a:pt x="1238" y="570"/>
                  </a:cubicBezTo>
                  <a:cubicBezTo>
                    <a:pt x="1244" y="574"/>
                    <a:pt x="1234" y="587"/>
                    <a:pt x="1238" y="599"/>
                  </a:cubicBezTo>
                  <a:cubicBezTo>
                    <a:pt x="1232" y="601"/>
                    <a:pt x="1240" y="583"/>
                    <a:pt x="1230" y="588"/>
                  </a:cubicBezTo>
                  <a:close/>
                  <a:moveTo>
                    <a:pt x="1238" y="1273"/>
                  </a:moveTo>
                  <a:cubicBezTo>
                    <a:pt x="1246" y="1259"/>
                    <a:pt x="1247" y="1284"/>
                    <a:pt x="1238" y="1273"/>
                  </a:cubicBezTo>
                  <a:close/>
                  <a:moveTo>
                    <a:pt x="1254" y="1239"/>
                  </a:moveTo>
                  <a:cubicBezTo>
                    <a:pt x="1257" y="1241"/>
                    <a:pt x="1260" y="1244"/>
                    <a:pt x="1260" y="1250"/>
                  </a:cubicBezTo>
                  <a:cubicBezTo>
                    <a:pt x="1256" y="1249"/>
                    <a:pt x="1254" y="1246"/>
                    <a:pt x="1254" y="1239"/>
                  </a:cubicBezTo>
                  <a:close/>
                  <a:moveTo>
                    <a:pt x="1260" y="1235"/>
                  </a:moveTo>
                  <a:cubicBezTo>
                    <a:pt x="1251" y="1233"/>
                    <a:pt x="1246" y="1228"/>
                    <a:pt x="1238" y="1225"/>
                  </a:cubicBezTo>
                  <a:cubicBezTo>
                    <a:pt x="1238" y="1215"/>
                    <a:pt x="1247" y="1223"/>
                    <a:pt x="1249" y="1225"/>
                  </a:cubicBezTo>
                  <a:cubicBezTo>
                    <a:pt x="1251" y="1224"/>
                    <a:pt x="1251" y="1220"/>
                    <a:pt x="1251" y="1217"/>
                  </a:cubicBezTo>
                  <a:cubicBezTo>
                    <a:pt x="1260" y="1215"/>
                    <a:pt x="1260" y="1225"/>
                    <a:pt x="1260" y="1235"/>
                  </a:cubicBezTo>
                  <a:close/>
                  <a:moveTo>
                    <a:pt x="1260" y="193"/>
                  </a:moveTo>
                  <a:cubicBezTo>
                    <a:pt x="1265" y="183"/>
                    <a:pt x="1269" y="196"/>
                    <a:pt x="1276" y="189"/>
                  </a:cubicBezTo>
                  <a:cubicBezTo>
                    <a:pt x="1278" y="203"/>
                    <a:pt x="1261" y="196"/>
                    <a:pt x="1260" y="193"/>
                  </a:cubicBezTo>
                  <a:close/>
                  <a:moveTo>
                    <a:pt x="1270" y="1261"/>
                  </a:moveTo>
                  <a:cubicBezTo>
                    <a:pt x="1274" y="1262"/>
                    <a:pt x="1271" y="1273"/>
                    <a:pt x="1276" y="1273"/>
                  </a:cubicBezTo>
                  <a:cubicBezTo>
                    <a:pt x="1274" y="1282"/>
                    <a:pt x="1268" y="1269"/>
                    <a:pt x="1270" y="1261"/>
                  </a:cubicBezTo>
                  <a:close/>
                  <a:moveTo>
                    <a:pt x="1284" y="1232"/>
                  </a:moveTo>
                  <a:cubicBezTo>
                    <a:pt x="1281" y="1228"/>
                    <a:pt x="1274" y="1231"/>
                    <a:pt x="1276" y="1221"/>
                  </a:cubicBezTo>
                  <a:cubicBezTo>
                    <a:pt x="1282" y="1220"/>
                    <a:pt x="1284" y="1224"/>
                    <a:pt x="1284" y="1232"/>
                  </a:cubicBezTo>
                  <a:close/>
                  <a:moveTo>
                    <a:pt x="1286" y="603"/>
                  </a:moveTo>
                  <a:cubicBezTo>
                    <a:pt x="1277" y="603"/>
                    <a:pt x="1292" y="591"/>
                    <a:pt x="1284" y="592"/>
                  </a:cubicBezTo>
                  <a:cubicBezTo>
                    <a:pt x="1290" y="581"/>
                    <a:pt x="1289" y="597"/>
                    <a:pt x="1286" y="603"/>
                  </a:cubicBezTo>
                  <a:close/>
                  <a:moveTo>
                    <a:pt x="1292" y="585"/>
                  </a:moveTo>
                  <a:cubicBezTo>
                    <a:pt x="1285" y="584"/>
                    <a:pt x="1286" y="572"/>
                    <a:pt x="1286" y="562"/>
                  </a:cubicBezTo>
                  <a:cubicBezTo>
                    <a:pt x="1296" y="559"/>
                    <a:pt x="1290" y="577"/>
                    <a:pt x="1292" y="585"/>
                  </a:cubicBezTo>
                  <a:close/>
                  <a:moveTo>
                    <a:pt x="1292" y="152"/>
                  </a:moveTo>
                  <a:cubicBezTo>
                    <a:pt x="1283" y="149"/>
                    <a:pt x="1317" y="141"/>
                    <a:pt x="1313" y="156"/>
                  </a:cubicBezTo>
                  <a:cubicBezTo>
                    <a:pt x="1309" y="150"/>
                    <a:pt x="1300" y="152"/>
                    <a:pt x="1292" y="152"/>
                  </a:cubicBezTo>
                  <a:close/>
                  <a:moveTo>
                    <a:pt x="1316" y="170"/>
                  </a:moveTo>
                  <a:cubicBezTo>
                    <a:pt x="1315" y="175"/>
                    <a:pt x="1313" y="178"/>
                    <a:pt x="1308" y="178"/>
                  </a:cubicBezTo>
                  <a:cubicBezTo>
                    <a:pt x="1309" y="173"/>
                    <a:pt x="1311" y="170"/>
                    <a:pt x="1316" y="170"/>
                  </a:cubicBezTo>
                  <a:close/>
                  <a:moveTo>
                    <a:pt x="1294" y="603"/>
                  </a:moveTo>
                  <a:cubicBezTo>
                    <a:pt x="1297" y="600"/>
                    <a:pt x="1297" y="595"/>
                    <a:pt x="1297" y="588"/>
                  </a:cubicBezTo>
                  <a:cubicBezTo>
                    <a:pt x="1305" y="589"/>
                    <a:pt x="1302" y="604"/>
                    <a:pt x="1294" y="603"/>
                  </a:cubicBezTo>
                  <a:close/>
                  <a:moveTo>
                    <a:pt x="1305" y="577"/>
                  </a:moveTo>
                  <a:cubicBezTo>
                    <a:pt x="1303" y="585"/>
                    <a:pt x="1304" y="585"/>
                    <a:pt x="1303" y="577"/>
                  </a:cubicBezTo>
                  <a:cubicBezTo>
                    <a:pt x="1303" y="569"/>
                    <a:pt x="1306" y="562"/>
                    <a:pt x="1308" y="555"/>
                  </a:cubicBezTo>
                  <a:cubicBezTo>
                    <a:pt x="1312" y="552"/>
                    <a:pt x="1308" y="570"/>
                    <a:pt x="1305" y="577"/>
                  </a:cubicBezTo>
                  <a:close/>
                  <a:moveTo>
                    <a:pt x="1300" y="200"/>
                  </a:moveTo>
                  <a:cubicBezTo>
                    <a:pt x="1301" y="192"/>
                    <a:pt x="1313" y="198"/>
                    <a:pt x="1319" y="196"/>
                  </a:cubicBezTo>
                  <a:cubicBezTo>
                    <a:pt x="1317" y="202"/>
                    <a:pt x="1315" y="206"/>
                    <a:pt x="1313" y="211"/>
                  </a:cubicBezTo>
                  <a:cubicBezTo>
                    <a:pt x="1306" y="211"/>
                    <a:pt x="1310" y="195"/>
                    <a:pt x="1300" y="200"/>
                  </a:cubicBezTo>
                  <a:close/>
                  <a:moveTo>
                    <a:pt x="1324" y="603"/>
                  </a:moveTo>
                  <a:cubicBezTo>
                    <a:pt x="1322" y="601"/>
                    <a:pt x="1317" y="597"/>
                    <a:pt x="1316" y="603"/>
                  </a:cubicBezTo>
                  <a:cubicBezTo>
                    <a:pt x="1313" y="602"/>
                    <a:pt x="1314" y="599"/>
                    <a:pt x="1316" y="599"/>
                  </a:cubicBezTo>
                  <a:cubicBezTo>
                    <a:pt x="1316" y="595"/>
                    <a:pt x="1315" y="593"/>
                    <a:pt x="1313" y="592"/>
                  </a:cubicBezTo>
                  <a:cubicBezTo>
                    <a:pt x="1316" y="582"/>
                    <a:pt x="1328" y="592"/>
                    <a:pt x="1324" y="603"/>
                  </a:cubicBezTo>
                  <a:close/>
                  <a:moveTo>
                    <a:pt x="1327" y="607"/>
                  </a:moveTo>
                  <a:cubicBezTo>
                    <a:pt x="1330" y="608"/>
                    <a:pt x="1329" y="614"/>
                    <a:pt x="1332" y="614"/>
                  </a:cubicBezTo>
                  <a:cubicBezTo>
                    <a:pt x="1331" y="624"/>
                    <a:pt x="1324" y="614"/>
                    <a:pt x="1327" y="607"/>
                  </a:cubicBezTo>
                  <a:close/>
                  <a:moveTo>
                    <a:pt x="1329" y="1235"/>
                  </a:moveTo>
                  <a:cubicBezTo>
                    <a:pt x="1329" y="1232"/>
                    <a:pt x="1329" y="1228"/>
                    <a:pt x="1329" y="1225"/>
                  </a:cubicBezTo>
                  <a:cubicBezTo>
                    <a:pt x="1337" y="1219"/>
                    <a:pt x="1337" y="1241"/>
                    <a:pt x="1329" y="1235"/>
                  </a:cubicBezTo>
                  <a:close/>
                  <a:moveTo>
                    <a:pt x="1329" y="555"/>
                  </a:moveTo>
                  <a:cubicBezTo>
                    <a:pt x="1329" y="551"/>
                    <a:pt x="1337" y="542"/>
                    <a:pt x="1338" y="551"/>
                  </a:cubicBezTo>
                  <a:cubicBezTo>
                    <a:pt x="1337" y="555"/>
                    <a:pt x="1339" y="555"/>
                    <a:pt x="1340" y="555"/>
                  </a:cubicBezTo>
                  <a:cubicBezTo>
                    <a:pt x="1338" y="566"/>
                    <a:pt x="1334" y="552"/>
                    <a:pt x="1329" y="555"/>
                  </a:cubicBezTo>
                  <a:close/>
                  <a:moveTo>
                    <a:pt x="1348" y="1232"/>
                  </a:moveTo>
                  <a:cubicBezTo>
                    <a:pt x="1348" y="1236"/>
                    <a:pt x="1349" y="1238"/>
                    <a:pt x="1351" y="1239"/>
                  </a:cubicBezTo>
                  <a:cubicBezTo>
                    <a:pt x="1346" y="1252"/>
                    <a:pt x="1347" y="1229"/>
                    <a:pt x="1338" y="1235"/>
                  </a:cubicBezTo>
                  <a:cubicBezTo>
                    <a:pt x="1338" y="1226"/>
                    <a:pt x="1347" y="1228"/>
                    <a:pt x="1354" y="1228"/>
                  </a:cubicBezTo>
                  <a:cubicBezTo>
                    <a:pt x="1354" y="1232"/>
                    <a:pt x="1350" y="1231"/>
                    <a:pt x="1348" y="1232"/>
                  </a:cubicBezTo>
                  <a:close/>
                  <a:moveTo>
                    <a:pt x="1628" y="326"/>
                  </a:moveTo>
                  <a:cubicBezTo>
                    <a:pt x="1627" y="327"/>
                    <a:pt x="1624" y="337"/>
                    <a:pt x="1623" y="337"/>
                  </a:cubicBezTo>
                  <a:cubicBezTo>
                    <a:pt x="1619" y="338"/>
                    <a:pt x="1619" y="324"/>
                    <a:pt x="1628" y="326"/>
                  </a:cubicBezTo>
                  <a:close/>
                  <a:moveTo>
                    <a:pt x="1628" y="1202"/>
                  </a:moveTo>
                  <a:cubicBezTo>
                    <a:pt x="1625" y="1201"/>
                    <a:pt x="1622" y="1198"/>
                    <a:pt x="1623" y="1191"/>
                  </a:cubicBezTo>
                  <a:cubicBezTo>
                    <a:pt x="1626" y="1193"/>
                    <a:pt x="1628" y="1196"/>
                    <a:pt x="1628" y="1202"/>
                  </a:cubicBezTo>
                  <a:close/>
                  <a:moveTo>
                    <a:pt x="1617" y="1235"/>
                  </a:moveTo>
                  <a:cubicBezTo>
                    <a:pt x="1611" y="1248"/>
                    <a:pt x="1604" y="1225"/>
                    <a:pt x="1617" y="1235"/>
                  </a:cubicBezTo>
                  <a:close/>
                  <a:moveTo>
                    <a:pt x="1609" y="1180"/>
                  </a:moveTo>
                  <a:cubicBezTo>
                    <a:pt x="1607" y="1179"/>
                    <a:pt x="1607" y="1182"/>
                    <a:pt x="1606" y="1184"/>
                  </a:cubicBezTo>
                  <a:cubicBezTo>
                    <a:pt x="1603" y="1183"/>
                    <a:pt x="1604" y="1177"/>
                    <a:pt x="1604" y="1173"/>
                  </a:cubicBezTo>
                  <a:cubicBezTo>
                    <a:pt x="1608" y="1171"/>
                    <a:pt x="1609" y="1176"/>
                    <a:pt x="1609" y="1180"/>
                  </a:cubicBezTo>
                  <a:close/>
                  <a:moveTo>
                    <a:pt x="1604" y="226"/>
                  </a:moveTo>
                  <a:cubicBezTo>
                    <a:pt x="1608" y="225"/>
                    <a:pt x="1608" y="247"/>
                    <a:pt x="1601" y="241"/>
                  </a:cubicBezTo>
                  <a:cubicBezTo>
                    <a:pt x="1600" y="233"/>
                    <a:pt x="1603" y="231"/>
                    <a:pt x="1604" y="226"/>
                  </a:cubicBezTo>
                  <a:close/>
                  <a:moveTo>
                    <a:pt x="1604" y="740"/>
                  </a:moveTo>
                  <a:cubicBezTo>
                    <a:pt x="1603" y="743"/>
                    <a:pt x="1605" y="743"/>
                    <a:pt x="1606" y="744"/>
                  </a:cubicBezTo>
                  <a:cubicBezTo>
                    <a:pt x="1605" y="755"/>
                    <a:pt x="1601" y="740"/>
                    <a:pt x="1596" y="744"/>
                  </a:cubicBezTo>
                  <a:cubicBezTo>
                    <a:pt x="1595" y="739"/>
                    <a:pt x="1603" y="731"/>
                    <a:pt x="1604" y="740"/>
                  </a:cubicBezTo>
                  <a:close/>
                  <a:moveTo>
                    <a:pt x="1593" y="551"/>
                  </a:moveTo>
                  <a:cubicBezTo>
                    <a:pt x="1599" y="553"/>
                    <a:pt x="1595" y="571"/>
                    <a:pt x="1593" y="574"/>
                  </a:cubicBezTo>
                  <a:cubicBezTo>
                    <a:pt x="1585" y="570"/>
                    <a:pt x="1594" y="558"/>
                    <a:pt x="1593" y="551"/>
                  </a:cubicBezTo>
                  <a:close/>
                  <a:moveTo>
                    <a:pt x="1588" y="611"/>
                  </a:moveTo>
                  <a:cubicBezTo>
                    <a:pt x="1589" y="600"/>
                    <a:pt x="1592" y="616"/>
                    <a:pt x="1596" y="614"/>
                  </a:cubicBezTo>
                  <a:cubicBezTo>
                    <a:pt x="1595" y="619"/>
                    <a:pt x="1591" y="617"/>
                    <a:pt x="1588" y="618"/>
                  </a:cubicBezTo>
                  <a:cubicBezTo>
                    <a:pt x="1587" y="615"/>
                    <a:pt x="1589" y="614"/>
                    <a:pt x="1590" y="614"/>
                  </a:cubicBezTo>
                  <a:cubicBezTo>
                    <a:pt x="1591" y="611"/>
                    <a:pt x="1589" y="611"/>
                    <a:pt x="1588" y="611"/>
                  </a:cubicBezTo>
                  <a:close/>
                  <a:moveTo>
                    <a:pt x="1593" y="636"/>
                  </a:moveTo>
                  <a:cubicBezTo>
                    <a:pt x="1593" y="639"/>
                    <a:pt x="1593" y="641"/>
                    <a:pt x="1593" y="644"/>
                  </a:cubicBezTo>
                  <a:cubicBezTo>
                    <a:pt x="1580" y="648"/>
                    <a:pt x="1588" y="624"/>
                    <a:pt x="1593" y="636"/>
                  </a:cubicBezTo>
                  <a:close/>
                  <a:moveTo>
                    <a:pt x="1580" y="577"/>
                  </a:moveTo>
                  <a:cubicBezTo>
                    <a:pt x="1581" y="567"/>
                    <a:pt x="1583" y="586"/>
                    <a:pt x="1582" y="588"/>
                  </a:cubicBezTo>
                  <a:cubicBezTo>
                    <a:pt x="1581" y="596"/>
                    <a:pt x="1577" y="591"/>
                    <a:pt x="1580" y="577"/>
                  </a:cubicBezTo>
                  <a:close/>
                  <a:moveTo>
                    <a:pt x="1577" y="263"/>
                  </a:moveTo>
                  <a:cubicBezTo>
                    <a:pt x="1575" y="274"/>
                    <a:pt x="1571" y="259"/>
                    <a:pt x="1566" y="263"/>
                  </a:cubicBezTo>
                  <a:cubicBezTo>
                    <a:pt x="1566" y="258"/>
                    <a:pt x="1566" y="252"/>
                    <a:pt x="1563" y="252"/>
                  </a:cubicBezTo>
                  <a:cubicBezTo>
                    <a:pt x="1565" y="245"/>
                    <a:pt x="1568" y="251"/>
                    <a:pt x="1569" y="252"/>
                  </a:cubicBezTo>
                  <a:cubicBezTo>
                    <a:pt x="1570" y="252"/>
                    <a:pt x="1573" y="251"/>
                    <a:pt x="1574" y="252"/>
                  </a:cubicBezTo>
                  <a:cubicBezTo>
                    <a:pt x="1574" y="252"/>
                    <a:pt x="1570" y="268"/>
                    <a:pt x="1577" y="263"/>
                  </a:cubicBezTo>
                  <a:close/>
                  <a:moveTo>
                    <a:pt x="1563" y="707"/>
                  </a:moveTo>
                  <a:cubicBezTo>
                    <a:pt x="1561" y="705"/>
                    <a:pt x="1561" y="704"/>
                    <a:pt x="1563" y="703"/>
                  </a:cubicBezTo>
                  <a:cubicBezTo>
                    <a:pt x="1564" y="703"/>
                    <a:pt x="1563" y="700"/>
                    <a:pt x="1563" y="699"/>
                  </a:cubicBezTo>
                  <a:cubicBezTo>
                    <a:pt x="1566" y="696"/>
                    <a:pt x="1570" y="704"/>
                    <a:pt x="1569" y="707"/>
                  </a:cubicBezTo>
                  <a:cubicBezTo>
                    <a:pt x="1567" y="710"/>
                    <a:pt x="1566" y="703"/>
                    <a:pt x="1566" y="703"/>
                  </a:cubicBezTo>
                  <a:cubicBezTo>
                    <a:pt x="1565" y="703"/>
                    <a:pt x="1562" y="706"/>
                    <a:pt x="1563" y="707"/>
                  </a:cubicBezTo>
                  <a:close/>
                  <a:moveTo>
                    <a:pt x="1566" y="640"/>
                  </a:moveTo>
                  <a:cubicBezTo>
                    <a:pt x="1564" y="640"/>
                    <a:pt x="1562" y="635"/>
                    <a:pt x="1558" y="636"/>
                  </a:cubicBezTo>
                  <a:cubicBezTo>
                    <a:pt x="1561" y="630"/>
                    <a:pt x="1569" y="630"/>
                    <a:pt x="1571" y="633"/>
                  </a:cubicBezTo>
                  <a:cubicBezTo>
                    <a:pt x="1573" y="634"/>
                    <a:pt x="1567" y="640"/>
                    <a:pt x="1566" y="640"/>
                  </a:cubicBezTo>
                  <a:close/>
                  <a:moveTo>
                    <a:pt x="1561" y="618"/>
                  </a:moveTo>
                  <a:cubicBezTo>
                    <a:pt x="1569" y="604"/>
                    <a:pt x="1570" y="629"/>
                    <a:pt x="1561" y="618"/>
                  </a:cubicBezTo>
                  <a:close/>
                  <a:moveTo>
                    <a:pt x="1569" y="599"/>
                  </a:moveTo>
                  <a:cubicBezTo>
                    <a:pt x="1569" y="594"/>
                    <a:pt x="1569" y="589"/>
                    <a:pt x="1566" y="588"/>
                  </a:cubicBezTo>
                  <a:cubicBezTo>
                    <a:pt x="1566" y="585"/>
                    <a:pt x="1567" y="585"/>
                    <a:pt x="1569" y="585"/>
                  </a:cubicBezTo>
                  <a:cubicBezTo>
                    <a:pt x="1571" y="585"/>
                    <a:pt x="1572" y="585"/>
                    <a:pt x="1574" y="585"/>
                  </a:cubicBezTo>
                  <a:cubicBezTo>
                    <a:pt x="1571" y="596"/>
                    <a:pt x="1573" y="594"/>
                    <a:pt x="1577" y="603"/>
                  </a:cubicBezTo>
                  <a:cubicBezTo>
                    <a:pt x="1574" y="616"/>
                    <a:pt x="1576" y="593"/>
                    <a:pt x="1569" y="599"/>
                  </a:cubicBezTo>
                  <a:close/>
                  <a:moveTo>
                    <a:pt x="1539" y="196"/>
                  </a:moveTo>
                  <a:cubicBezTo>
                    <a:pt x="1546" y="192"/>
                    <a:pt x="1550" y="207"/>
                    <a:pt x="1553" y="196"/>
                  </a:cubicBezTo>
                  <a:cubicBezTo>
                    <a:pt x="1556" y="198"/>
                    <a:pt x="1553" y="203"/>
                    <a:pt x="1550" y="204"/>
                  </a:cubicBezTo>
                  <a:cubicBezTo>
                    <a:pt x="1555" y="217"/>
                    <a:pt x="1557" y="197"/>
                    <a:pt x="1563" y="200"/>
                  </a:cubicBezTo>
                  <a:cubicBezTo>
                    <a:pt x="1561" y="203"/>
                    <a:pt x="1560" y="208"/>
                    <a:pt x="1561" y="215"/>
                  </a:cubicBezTo>
                  <a:cubicBezTo>
                    <a:pt x="1551" y="218"/>
                    <a:pt x="1548" y="211"/>
                    <a:pt x="1547" y="200"/>
                  </a:cubicBezTo>
                  <a:cubicBezTo>
                    <a:pt x="1537" y="195"/>
                    <a:pt x="1547" y="217"/>
                    <a:pt x="1536" y="211"/>
                  </a:cubicBezTo>
                  <a:cubicBezTo>
                    <a:pt x="1539" y="208"/>
                    <a:pt x="1539" y="203"/>
                    <a:pt x="1539" y="196"/>
                  </a:cubicBezTo>
                  <a:close/>
                  <a:moveTo>
                    <a:pt x="1571" y="222"/>
                  </a:moveTo>
                  <a:cubicBezTo>
                    <a:pt x="1571" y="227"/>
                    <a:pt x="1571" y="233"/>
                    <a:pt x="1574" y="233"/>
                  </a:cubicBezTo>
                  <a:cubicBezTo>
                    <a:pt x="1574" y="237"/>
                    <a:pt x="1571" y="236"/>
                    <a:pt x="1569" y="237"/>
                  </a:cubicBezTo>
                  <a:cubicBezTo>
                    <a:pt x="1566" y="239"/>
                    <a:pt x="1567" y="230"/>
                    <a:pt x="1566" y="230"/>
                  </a:cubicBezTo>
                  <a:cubicBezTo>
                    <a:pt x="1562" y="229"/>
                    <a:pt x="1558" y="234"/>
                    <a:pt x="1553" y="233"/>
                  </a:cubicBezTo>
                  <a:cubicBezTo>
                    <a:pt x="1553" y="233"/>
                    <a:pt x="1552" y="230"/>
                    <a:pt x="1550" y="230"/>
                  </a:cubicBezTo>
                  <a:cubicBezTo>
                    <a:pt x="1546" y="229"/>
                    <a:pt x="1537" y="229"/>
                    <a:pt x="1536" y="218"/>
                  </a:cubicBezTo>
                  <a:cubicBezTo>
                    <a:pt x="1548" y="219"/>
                    <a:pt x="1557" y="224"/>
                    <a:pt x="1571" y="222"/>
                  </a:cubicBezTo>
                  <a:close/>
                  <a:moveTo>
                    <a:pt x="1550" y="1221"/>
                  </a:moveTo>
                  <a:cubicBezTo>
                    <a:pt x="1554" y="1221"/>
                    <a:pt x="1551" y="1232"/>
                    <a:pt x="1555" y="1232"/>
                  </a:cubicBezTo>
                  <a:cubicBezTo>
                    <a:pt x="1554" y="1243"/>
                    <a:pt x="1550" y="1228"/>
                    <a:pt x="1545" y="1232"/>
                  </a:cubicBezTo>
                  <a:cubicBezTo>
                    <a:pt x="1545" y="1226"/>
                    <a:pt x="1545" y="1220"/>
                    <a:pt x="1545" y="1213"/>
                  </a:cubicBezTo>
                  <a:cubicBezTo>
                    <a:pt x="1548" y="1214"/>
                    <a:pt x="1546" y="1220"/>
                    <a:pt x="1550" y="1221"/>
                  </a:cubicBezTo>
                  <a:close/>
                  <a:moveTo>
                    <a:pt x="1528" y="200"/>
                  </a:moveTo>
                  <a:cubicBezTo>
                    <a:pt x="1523" y="202"/>
                    <a:pt x="1523" y="195"/>
                    <a:pt x="1523" y="189"/>
                  </a:cubicBezTo>
                  <a:cubicBezTo>
                    <a:pt x="1520" y="188"/>
                    <a:pt x="1518" y="190"/>
                    <a:pt x="1518" y="193"/>
                  </a:cubicBezTo>
                  <a:cubicBezTo>
                    <a:pt x="1508" y="182"/>
                    <a:pt x="1535" y="183"/>
                    <a:pt x="1528" y="200"/>
                  </a:cubicBezTo>
                  <a:close/>
                  <a:moveTo>
                    <a:pt x="1523" y="259"/>
                  </a:moveTo>
                  <a:cubicBezTo>
                    <a:pt x="1521" y="265"/>
                    <a:pt x="1519" y="271"/>
                    <a:pt x="1512" y="270"/>
                  </a:cubicBezTo>
                  <a:cubicBezTo>
                    <a:pt x="1514" y="263"/>
                    <a:pt x="1513" y="250"/>
                    <a:pt x="1523" y="259"/>
                  </a:cubicBezTo>
                  <a:close/>
                  <a:moveTo>
                    <a:pt x="1483" y="174"/>
                  </a:moveTo>
                  <a:cubicBezTo>
                    <a:pt x="1485" y="174"/>
                    <a:pt x="1486" y="174"/>
                    <a:pt x="1488" y="174"/>
                  </a:cubicBezTo>
                  <a:cubicBezTo>
                    <a:pt x="1489" y="185"/>
                    <a:pt x="1468" y="173"/>
                    <a:pt x="1483" y="174"/>
                  </a:cubicBezTo>
                  <a:close/>
                  <a:moveTo>
                    <a:pt x="1464" y="163"/>
                  </a:moveTo>
                  <a:cubicBezTo>
                    <a:pt x="1464" y="170"/>
                    <a:pt x="1467" y="171"/>
                    <a:pt x="1467" y="178"/>
                  </a:cubicBezTo>
                  <a:cubicBezTo>
                    <a:pt x="1463" y="178"/>
                    <a:pt x="1459" y="178"/>
                    <a:pt x="1456" y="178"/>
                  </a:cubicBezTo>
                  <a:cubicBezTo>
                    <a:pt x="1451" y="171"/>
                    <a:pt x="1460" y="165"/>
                    <a:pt x="1448" y="167"/>
                  </a:cubicBezTo>
                  <a:cubicBezTo>
                    <a:pt x="1440" y="161"/>
                    <a:pt x="1459" y="163"/>
                    <a:pt x="1464" y="163"/>
                  </a:cubicBezTo>
                  <a:close/>
                  <a:moveTo>
                    <a:pt x="1464" y="662"/>
                  </a:moveTo>
                  <a:cubicBezTo>
                    <a:pt x="1467" y="663"/>
                    <a:pt x="1466" y="670"/>
                    <a:pt x="1469" y="670"/>
                  </a:cubicBezTo>
                  <a:cubicBezTo>
                    <a:pt x="1470" y="673"/>
                    <a:pt x="1468" y="673"/>
                    <a:pt x="1467" y="673"/>
                  </a:cubicBezTo>
                  <a:cubicBezTo>
                    <a:pt x="1463" y="681"/>
                    <a:pt x="1467" y="670"/>
                    <a:pt x="1464" y="662"/>
                  </a:cubicBezTo>
                  <a:close/>
                  <a:moveTo>
                    <a:pt x="1445" y="562"/>
                  </a:moveTo>
                  <a:cubicBezTo>
                    <a:pt x="1444" y="561"/>
                    <a:pt x="1442" y="558"/>
                    <a:pt x="1445" y="562"/>
                  </a:cubicBezTo>
                  <a:cubicBezTo>
                    <a:pt x="1452" y="568"/>
                    <a:pt x="1449" y="572"/>
                    <a:pt x="1445" y="585"/>
                  </a:cubicBezTo>
                  <a:cubicBezTo>
                    <a:pt x="1442" y="584"/>
                    <a:pt x="1444" y="581"/>
                    <a:pt x="1445" y="581"/>
                  </a:cubicBezTo>
                  <a:cubicBezTo>
                    <a:pt x="1443" y="574"/>
                    <a:pt x="1440" y="580"/>
                    <a:pt x="1437" y="581"/>
                  </a:cubicBezTo>
                  <a:cubicBezTo>
                    <a:pt x="1431" y="589"/>
                    <a:pt x="1442" y="569"/>
                    <a:pt x="1448" y="570"/>
                  </a:cubicBezTo>
                  <a:cubicBezTo>
                    <a:pt x="1447" y="567"/>
                    <a:pt x="1445" y="566"/>
                    <a:pt x="1445" y="562"/>
                  </a:cubicBezTo>
                  <a:close/>
                  <a:moveTo>
                    <a:pt x="1442" y="1180"/>
                  </a:moveTo>
                  <a:cubicBezTo>
                    <a:pt x="1447" y="1185"/>
                    <a:pt x="1447" y="1195"/>
                    <a:pt x="1445" y="1199"/>
                  </a:cubicBezTo>
                  <a:cubicBezTo>
                    <a:pt x="1445" y="1199"/>
                    <a:pt x="1437" y="1189"/>
                    <a:pt x="1442" y="1180"/>
                  </a:cubicBezTo>
                  <a:close/>
                  <a:moveTo>
                    <a:pt x="1445" y="1228"/>
                  </a:moveTo>
                  <a:cubicBezTo>
                    <a:pt x="1443" y="1227"/>
                    <a:pt x="1443" y="1230"/>
                    <a:pt x="1442" y="1232"/>
                  </a:cubicBezTo>
                  <a:cubicBezTo>
                    <a:pt x="1439" y="1231"/>
                    <a:pt x="1440" y="1225"/>
                    <a:pt x="1440" y="1221"/>
                  </a:cubicBezTo>
                  <a:cubicBezTo>
                    <a:pt x="1444" y="1219"/>
                    <a:pt x="1445" y="1224"/>
                    <a:pt x="1445" y="1228"/>
                  </a:cubicBezTo>
                  <a:close/>
                  <a:moveTo>
                    <a:pt x="1440" y="644"/>
                  </a:moveTo>
                  <a:cubicBezTo>
                    <a:pt x="1444" y="637"/>
                    <a:pt x="1450" y="638"/>
                    <a:pt x="1453" y="640"/>
                  </a:cubicBezTo>
                  <a:cubicBezTo>
                    <a:pt x="1454" y="641"/>
                    <a:pt x="1447" y="651"/>
                    <a:pt x="1440" y="644"/>
                  </a:cubicBezTo>
                  <a:close/>
                  <a:moveTo>
                    <a:pt x="1450" y="270"/>
                  </a:moveTo>
                  <a:cubicBezTo>
                    <a:pt x="1449" y="259"/>
                    <a:pt x="1453" y="257"/>
                    <a:pt x="1453" y="248"/>
                  </a:cubicBezTo>
                  <a:cubicBezTo>
                    <a:pt x="1463" y="245"/>
                    <a:pt x="1456" y="258"/>
                    <a:pt x="1453" y="259"/>
                  </a:cubicBezTo>
                  <a:cubicBezTo>
                    <a:pt x="1455" y="267"/>
                    <a:pt x="1451" y="288"/>
                    <a:pt x="1450" y="270"/>
                  </a:cubicBezTo>
                  <a:close/>
                  <a:moveTo>
                    <a:pt x="1448" y="1210"/>
                  </a:moveTo>
                  <a:cubicBezTo>
                    <a:pt x="1452" y="1209"/>
                    <a:pt x="1452" y="1213"/>
                    <a:pt x="1456" y="1213"/>
                  </a:cubicBezTo>
                  <a:cubicBezTo>
                    <a:pt x="1457" y="1221"/>
                    <a:pt x="1444" y="1219"/>
                    <a:pt x="1448" y="1210"/>
                  </a:cubicBezTo>
                  <a:close/>
                  <a:moveTo>
                    <a:pt x="1450" y="1195"/>
                  </a:moveTo>
                  <a:cubicBezTo>
                    <a:pt x="1450" y="1190"/>
                    <a:pt x="1450" y="1185"/>
                    <a:pt x="1450" y="1180"/>
                  </a:cubicBezTo>
                  <a:cubicBezTo>
                    <a:pt x="1458" y="1173"/>
                    <a:pt x="1456" y="1196"/>
                    <a:pt x="1458" y="1184"/>
                  </a:cubicBezTo>
                  <a:cubicBezTo>
                    <a:pt x="1466" y="1188"/>
                    <a:pt x="1455" y="1196"/>
                    <a:pt x="1450" y="1195"/>
                  </a:cubicBezTo>
                  <a:close/>
                  <a:moveTo>
                    <a:pt x="1418" y="170"/>
                  </a:moveTo>
                  <a:cubicBezTo>
                    <a:pt x="1422" y="178"/>
                    <a:pt x="1402" y="180"/>
                    <a:pt x="1402" y="167"/>
                  </a:cubicBezTo>
                  <a:cubicBezTo>
                    <a:pt x="1405" y="171"/>
                    <a:pt x="1412" y="171"/>
                    <a:pt x="1418" y="170"/>
                  </a:cubicBezTo>
                  <a:close/>
                  <a:moveTo>
                    <a:pt x="1402" y="204"/>
                  </a:moveTo>
                  <a:cubicBezTo>
                    <a:pt x="1406" y="204"/>
                    <a:pt x="1409" y="204"/>
                    <a:pt x="1413" y="204"/>
                  </a:cubicBezTo>
                  <a:cubicBezTo>
                    <a:pt x="1413" y="213"/>
                    <a:pt x="1409" y="215"/>
                    <a:pt x="1407" y="222"/>
                  </a:cubicBezTo>
                  <a:cubicBezTo>
                    <a:pt x="1403" y="219"/>
                    <a:pt x="1402" y="213"/>
                    <a:pt x="1402" y="204"/>
                  </a:cubicBezTo>
                  <a:close/>
                  <a:moveTo>
                    <a:pt x="1413" y="566"/>
                  </a:moveTo>
                  <a:cubicBezTo>
                    <a:pt x="1404" y="581"/>
                    <a:pt x="1403" y="555"/>
                    <a:pt x="1405" y="544"/>
                  </a:cubicBezTo>
                  <a:cubicBezTo>
                    <a:pt x="1408" y="545"/>
                    <a:pt x="1410" y="543"/>
                    <a:pt x="1410" y="540"/>
                  </a:cubicBezTo>
                  <a:cubicBezTo>
                    <a:pt x="1420" y="544"/>
                    <a:pt x="1397" y="565"/>
                    <a:pt x="1413" y="566"/>
                  </a:cubicBezTo>
                  <a:close/>
                  <a:moveTo>
                    <a:pt x="1378" y="207"/>
                  </a:moveTo>
                  <a:cubicBezTo>
                    <a:pt x="1381" y="202"/>
                    <a:pt x="1389" y="204"/>
                    <a:pt x="1397" y="204"/>
                  </a:cubicBezTo>
                  <a:cubicBezTo>
                    <a:pt x="1389" y="213"/>
                    <a:pt x="1403" y="208"/>
                    <a:pt x="1399" y="222"/>
                  </a:cubicBezTo>
                  <a:cubicBezTo>
                    <a:pt x="1397" y="222"/>
                    <a:pt x="1397" y="218"/>
                    <a:pt x="1397" y="215"/>
                  </a:cubicBezTo>
                  <a:cubicBezTo>
                    <a:pt x="1393" y="220"/>
                    <a:pt x="1385" y="218"/>
                    <a:pt x="1378" y="218"/>
                  </a:cubicBezTo>
                  <a:cubicBezTo>
                    <a:pt x="1378" y="215"/>
                    <a:pt x="1378" y="211"/>
                    <a:pt x="1378" y="207"/>
                  </a:cubicBezTo>
                  <a:close/>
                  <a:moveTo>
                    <a:pt x="1359" y="562"/>
                  </a:moveTo>
                  <a:cubicBezTo>
                    <a:pt x="1365" y="561"/>
                    <a:pt x="1364" y="568"/>
                    <a:pt x="1364" y="574"/>
                  </a:cubicBezTo>
                  <a:cubicBezTo>
                    <a:pt x="1362" y="573"/>
                    <a:pt x="1362" y="570"/>
                    <a:pt x="1359" y="570"/>
                  </a:cubicBezTo>
                  <a:cubicBezTo>
                    <a:pt x="1359" y="567"/>
                    <a:pt x="1359" y="565"/>
                    <a:pt x="1359" y="562"/>
                  </a:cubicBezTo>
                  <a:close/>
                  <a:moveTo>
                    <a:pt x="1373" y="618"/>
                  </a:moveTo>
                  <a:cubicBezTo>
                    <a:pt x="1367" y="622"/>
                    <a:pt x="1377" y="595"/>
                    <a:pt x="1370" y="607"/>
                  </a:cubicBezTo>
                  <a:cubicBezTo>
                    <a:pt x="1367" y="607"/>
                    <a:pt x="1368" y="602"/>
                    <a:pt x="1367" y="599"/>
                  </a:cubicBezTo>
                  <a:cubicBezTo>
                    <a:pt x="1369" y="600"/>
                    <a:pt x="1370" y="598"/>
                    <a:pt x="1370" y="596"/>
                  </a:cubicBezTo>
                  <a:cubicBezTo>
                    <a:pt x="1375" y="599"/>
                    <a:pt x="1377" y="612"/>
                    <a:pt x="1373" y="618"/>
                  </a:cubicBezTo>
                  <a:close/>
                  <a:moveTo>
                    <a:pt x="1375" y="629"/>
                  </a:moveTo>
                  <a:cubicBezTo>
                    <a:pt x="1375" y="631"/>
                    <a:pt x="1375" y="634"/>
                    <a:pt x="1375" y="636"/>
                  </a:cubicBezTo>
                  <a:cubicBezTo>
                    <a:pt x="1373" y="636"/>
                    <a:pt x="1372" y="636"/>
                    <a:pt x="1370" y="636"/>
                  </a:cubicBezTo>
                  <a:cubicBezTo>
                    <a:pt x="1370" y="634"/>
                    <a:pt x="1370" y="631"/>
                    <a:pt x="1370" y="629"/>
                  </a:cubicBezTo>
                  <a:cubicBezTo>
                    <a:pt x="1372" y="629"/>
                    <a:pt x="1373" y="629"/>
                    <a:pt x="1375" y="629"/>
                  </a:cubicBezTo>
                  <a:close/>
                  <a:moveTo>
                    <a:pt x="1370" y="1235"/>
                  </a:moveTo>
                  <a:cubicBezTo>
                    <a:pt x="1366" y="1232"/>
                    <a:pt x="1359" y="1233"/>
                    <a:pt x="1362" y="1221"/>
                  </a:cubicBezTo>
                  <a:cubicBezTo>
                    <a:pt x="1364" y="1220"/>
                    <a:pt x="1364" y="1222"/>
                    <a:pt x="1364" y="1225"/>
                  </a:cubicBezTo>
                  <a:cubicBezTo>
                    <a:pt x="1366" y="1228"/>
                    <a:pt x="1371" y="1228"/>
                    <a:pt x="1370" y="1235"/>
                  </a:cubicBezTo>
                  <a:close/>
                  <a:moveTo>
                    <a:pt x="1356" y="1280"/>
                  </a:moveTo>
                  <a:cubicBezTo>
                    <a:pt x="1359" y="1275"/>
                    <a:pt x="1364" y="1273"/>
                    <a:pt x="1364" y="1265"/>
                  </a:cubicBezTo>
                  <a:cubicBezTo>
                    <a:pt x="1371" y="1264"/>
                    <a:pt x="1366" y="1279"/>
                    <a:pt x="1375" y="1276"/>
                  </a:cubicBezTo>
                  <a:cubicBezTo>
                    <a:pt x="1374" y="1285"/>
                    <a:pt x="1362" y="1278"/>
                    <a:pt x="1356" y="1280"/>
                  </a:cubicBezTo>
                  <a:close/>
                  <a:moveTo>
                    <a:pt x="1375" y="1239"/>
                  </a:moveTo>
                  <a:cubicBezTo>
                    <a:pt x="1370" y="1237"/>
                    <a:pt x="1375" y="1233"/>
                    <a:pt x="1375" y="1228"/>
                  </a:cubicBezTo>
                  <a:cubicBezTo>
                    <a:pt x="1380" y="1231"/>
                    <a:pt x="1376" y="1235"/>
                    <a:pt x="1375" y="1239"/>
                  </a:cubicBezTo>
                  <a:close/>
                  <a:moveTo>
                    <a:pt x="1378" y="255"/>
                  </a:moveTo>
                  <a:cubicBezTo>
                    <a:pt x="1369" y="255"/>
                    <a:pt x="1362" y="253"/>
                    <a:pt x="1362" y="241"/>
                  </a:cubicBezTo>
                  <a:cubicBezTo>
                    <a:pt x="1364" y="244"/>
                    <a:pt x="1379" y="249"/>
                    <a:pt x="1380" y="241"/>
                  </a:cubicBezTo>
                  <a:cubicBezTo>
                    <a:pt x="1392" y="245"/>
                    <a:pt x="1369" y="251"/>
                    <a:pt x="1380" y="255"/>
                  </a:cubicBezTo>
                  <a:cubicBezTo>
                    <a:pt x="1380" y="260"/>
                    <a:pt x="1378" y="258"/>
                    <a:pt x="1378" y="255"/>
                  </a:cubicBezTo>
                  <a:close/>
                  <a:moveTo>
                    <a:pt x="1383" y="562"/>
                  </a:moveTo>
                  <a:cubicBezTo>
                    <a:pt x="1380" y="587"/>
                    <a:pt x="1377" y="524"/>
                    <a:pt x="1383" y="562"/>
                  </a:cubicBezTo>
                  <a:close/>
                  <a:moveTo>
                    <a:pt x="1389" y="267"/>
                  </a:moveTo>
                  <a:cubicBezTo>
                    <a:pt x="1379" y="257"/>
                    <a:pt x="1398" y="256"/>
                    <a:pt x="1389" y="248"/>
                  </a:cubicBezTo>
                  <a:cubicBezTo>
                    <a:pt x="1391" y="242"/>
                    <a:pt x="1400" y="244"/>
                    <a:pt x="1405" y="241"/>
                  </a:cubicBezTo>
                  <a:cubicBezTo>
                    <a:pt x="1407" y="244"/>
                    <a:pt x="1406" y="251"/>
                    <a:pt x="1410" y="252"/>
                  </a:cubicBezTo>
                  <a:cubicBezTo>
                    <a:pt x="1409" y="256"/>
                    <a:pt x="1405" y="255"/>
                    <a:pt x="1405" y="252"/>
                  </a:cubicBezTo>
                  <a:cubicBezTo>
                    <a:pt x="1401" y="251"/>
                    <a:pt x="1404" y="261"/>
                    <a:pt x="1402" y="263"/>
                  </a:cubicBezTo>
                  <a:cubicBezTo>
                    <a:pt x="1400" y="266"/>
                    <a:pt x="1391" y="254"/>
                    <a:pt x="1391" y="267"/>
                  </a:cubicBezTo>
                  <a:cubicBezTo>
                    <a:pt x="1396" y="273"/>
                    <a:pt x="1401" y="265"/>
                    <a:pt x="1407" y="274"/>
                  </a:cubicBezTo>
                  <a:cubicBezTo>
                    <a:pt x="1407" y="278"/>
                    <a:pt x="1402" y="277"/>
                    <a:pt x="1402" y="281"/>
                  </a:cubicBezTo>
                  <a:cubicBezTo>
                    <a:pt x="1396" y="270"/>
                    <a:pt x="1400" y="280"/>
                    <a:pt x="1391" y="281"/>
                  </a:cubicBezTo>
                  <a:cubicBezTo>
                    <a:pt x="1399" y="273"/>
                    <a:pt x="1384" y="264"/>
                    <a:pt x="1383" y="278"/>
                  </a:cubicBezTo>
                  <a:cubicBezTo>
                    <a:pt x="1375" y="274"/>
                    <a:pt x="1386" y="268"/>
                    <a:pt x="1389" y="267"/>
                  </a:cubicBezTo>
                  <a:close/>
                  <a:moveTo>
                    <a:pt x="1389" y="555"/>
                  </a:moveTo>
                  <a:cubicBezTo>
                    <a:pt x="1390" y="550"/>
                    <a:pt x="1394" y="548"/>
                    <a:pt x="1399" y="548"/>
                  </a:cubicBezTo>
                  <a:cubicBezTo>
                    <a:pt x="1397" y="554"/>
                    <a:pt x="1393" y="562"/>
                    <a:pt x="1389" y="555"/>
                  </a:cubicBezTo>
                  <a:close/>
                  <a:moveTo>
                    <a:pt x="1399" y="577"/>
                  </a:moveTo>
                  <a:cubicBezTo>
                    <a:pt x="1396" y="576"/>
                    <a:pt x="1394" y="573"/>
                    <a:pt x="1394" y="566"/>
                  </a:cubicBezTo>
                  <a:cubicBezTo>
                    <a:pt x="1397" y="568"/>
                    <a:pt x="1399" y="571"/>
                    <a:pt x="1399" y="577"/>
                  </a:cubicBezTo>
                  <a:close/>
                  <a:moveTo>
                    <a:pt x="1389" y="1280"/>
                  </a:moveTo>
                  <a:cubicBezTo>
                    <a:pt x="1390" y="1280"/>
                    <a:pt x="1392" y="1280"/>
                    <a:pt x="1394" y="1280"/>
                  </a:cubicBezTo>
                  <a:cubicBezTo>
                    <a:pt x="1395" y="1290"/>
                    <a:pt x="1374" y="1279"/>
                    <a:pt x="1389" y="1280"/>
                  </a:cubicBezTo>
                  <a:close/>
                  <a:moveTo>
                    <a:pt x="1394" y="1250"/>
                  </a:moveTo>
                  <a:cubicBezTo>
                    <a:pt x="1391" y="1248"/>
                    <a:pt x="1391" y="1242"/>
                    <a:pt x="1386" y="1243"/>
                  </a:cubicBezTo>
                  <a:cubicBezTo>
                    <a:pt x="1388" y="1240"/>
                    <a:pt x="1390" y="1233"/>
                    <a:pt x="1386" y="1232"/>
                  </a:cubicBezTo>
                  <a:cubicBezTo>
                    <a:pt x="1387" y="1227"/>
                    <a:pt x="1394" y="1231"/>
                    <a:pt x="1394" y="1225"/>
                  </a:cubicBezTo>
                  <a:cubicBezTo>
                    <a:pt x="1400" y="1223"/>
                    <a:pt x="1397" y="1235"/>
                    <a:pt x="1402" y="1235"/>
                  </a:cubicBezTo>
                  <a:cubicBezTo>
                    <a:pt x="1401" y="1243"/>
                    <a:pt x="1390" y="1236"/>
                    <a:pt x="1394" y="1250"/>
                  </a:cubicBezTo>
                  <a:close/>
                  <a:moveTo>
                    <a:pt x="1402" y="577"/>
                  </a:moveTo>
                  <a:cubicBezTo>
                    <a:pt x="1404" y="567"/>
                    <a:pt x="1406" y="583"/>
                    <a:pt x="1410" y="581"/>
                  </a:cubicBezTo>
                  <a:cubicBezTo>
                    <a:pt x="1407" y="593"/>
                    <a:pt x="1405" y="577"/>
                    <a:pt x="1402" y="577"/>
                  </a:cubicBezTo>
                  <a:close/>
                  <a:moveTo>
                    <a:pt x="1405" y="1306"/>
                  </a:moveTo>
                  <a:cubicBezTo>
                    <a:pt x="1405" y="1297"/>
                    <a:pt x="1414" y="1305"/>
                    <a:pt x="1415" y="1306"/>
                  </a:cubicBezTo>
                  <a:cubicBezTo>
                    <a:pt x="1415" y="1315"/>
                    <a:pt x="1406" y="1307"/>
                    <a:pt x="1405" y="1306"/>
                  </a:cubicBezTo>
                  <a:close/>
                  <a:moveTo>
                    <a:pt x="1426" y="1247"/>
                  </a:moveTo>
                  <a:cubicBezTo>
                    <a:pt x="1422" y="1245"/>
                    <a:pt x="1424" y="1235"/>
                    <a:pt x="1415" y="1239"/>
                  </a:cubicBezTo>
                  <a:cubicBezTo>
                    <a:pt x="1415" y="1234"/>
                    <a:pt x="1415" y="1229"/>
                    <a:pt x="1415" y="1225"/>
                  </a:cubicBezTo>
                  <a:cubicBezTo>
                    <a:pt x="1421" y="1226"/>
                    <a:pt x="1420" y="1235"/>
                    <a:pt x="1429" y="1232"/>
                  </a:cubicBezTo>
                  <a:cubicBezTo>
                    <a:pt x="1430" y="1240"/>
                    <a:pt x="1427" y="1242"/>
                    <a:pt x="1426" y="1247"/>
                  </a:cubicBezTo>
                  <a:close/>
                  <a:moveTo>
                    <a:pt x="1421" y="1180"/>
                  </a:moveTo>
                  <a:cubicBezTo>
                    <a:pt x="1421" y="1183"/>
                    <a:pt x="1421" y="1185"/>
                    <a:pt x="1421" y="1187"/>
                  </a:cubicBezTo>
                  <a:cubicBezTo>
                    <a:pt x="1419" y="1187"/>
                    <a:pt x="1417" y="1187"/>
                    <a:pt x="1415" y="1187"/>
                  </a:cubicBezTo>
                  <a:cubicBezTo>
                    <a:pt x="1415" y="1185"/>
                    <a:pt x="1415" y="1183"/>
                    <a:pt x="1415" y="1180"/>
                  </a:cubicBezTo>
                  <a:cubicBezTo>
                    <a:pt x="1417" y="1180"/>
                    <a:pt x="1419" y="1180"/>
                    <a:pt x="1421" y="1180"/>
                  </a:cubicBezTo>
                  <a:close/>
                  <a:moveTo>
                    <a:pt x="1424" y="244"/>
                  </a:moveTo>
                  <a:cubicBezTo>
                    <a:pt x="1425" y="252"/>
                    <a:pt x="1422" y="254"/>
                    <a:pt x="1421" y="259"/>
                  </a:cubicBezTo>
                  <a:cubicBezTo>
                    <a:pt x="1413" y="259"/>
                    <a:pt x="1414" y="242"/>
                    <a:pt x="1424" y="244"/>
                  </a:cubicBezTo>
                  <a:close/>
                  <a:moveTo>
                    <a:pt x="1424" y="1180"/>
                  </a:moveTo>
                  <a:cubicBezTo>
                    <a:pt x="1424" y="1176"/>
                    <a:pt x="1424" y="1173"/>
                    <a:pt x="1424" y="1169"/>
                  </a:cubicBezTo>
                  <a:cubicBezTo>
                    <a:pt x="1431" y="1164"/>
                    <a:pt x="1431" y="1185"/>
                    <a:pt x="1424" y="1180"/>
                  </a:cubicBezTo>
                  <a:close/>
                  <a:moveTo>
                    <a:pt x="1421" y="289"/>
                  </a:moveTo>
                  <a:cubicBezTo>
                    <a:pt x="1420" y="282"/>
                    <a:pt x="1427" y="284"/>
                    <a:pt x="1429" y="281"/>
                  </a:cubicBezTo>
                  <a:cubicBezTo>
                    <a:pt x="1435" y="273"/>
                    <a:pt x="1430" y="288"/>
                    <a:pt x="1421" y="289"/>
                  </a:cubicBezTo>
                  <a:close/>
                  <a:moveTo>
                    <a:pt x="1421" y="270"/>
                  </a:moveTo>
                  <a:cubicBezTo>
                    <a:pt x="1423" y="267"/>
                    <a:pt x="1424" y="262"/>
                    <a:pt x="1424" y="255"/>
                  </a:cubicBezTo>
                  <a:cubicBezTo>
                    <a:pt x="1426" y="255"/>
                    <a:pt x="1429" y="255"/>
                    <a:pt x="1432" y="255"/>
                  </a:cubicBezTo>
                  <a:cubicBezTo>
                    <a:pt x="1428" y="261"/>
                    <a:pt x="1429" y="272"/>
                    <a:pt x="1421" y="270"/>
                  </a:cubicBezTo>
                  <a:close/>
                  <a:moveTo>
                    <a:pt x="1413" y="189"/>
                  </a:moveTo>
                  <a:cubicBezTo>
                    <a:pt x="1413" y="185"/>
                    <a:pt x="1416" y="186"/>
                    <a:pt x="1418" y="185"/>
                  </a:cubicBezTo>
                  <a:cubicBezTo>
                    <a:pt x="1425" y="187"/>
                    <a:pt x="1417" y="168"/>
                    <a:pt x="1426" y="174"/>
                  </a:cubicBezTo>
                  <a:cubicBezTo>
                    <a:pt x="1425" y="177"/>
                    <a:pt x="1423" y="180"/>
                    <a:pt x="1424" y="185"/>
                  </a:cubicBezTo>
                  <a:cubicBezTo>
                    <a:pt x="1436" y="183"/>
                    <a:pt x="1428" y="174"/>
                    <a:pt x="1429" y="159"/>
                  </a:cubicBezTo>
                  <a:cubicBezTo>
                    <a:pt x="1434" y="152"/>
                    <a:pt x="1434" y="162"/>
                    <a:pt x="1442" y="159"/>
                  </a:cubicBezTo>
                  <a:cubicBezTo>
                    <a:pt x="1442" y="165"/>
                    <a:pt x="1434" y="161"/>
                    <a:pt x="1434" y="167"/>
                  </a:cubicBezTo>
                  <a:cubicBezTo>
                    <a:pt x="1434" y="173"/>
                    <a:pt x="1448" y="163"/>
                    <a:pt x="1448" y="178"/>
                  </a:cubicBezTo>
                  <a:cubicBezTo>
                    <a:pt x="1444" y="182"/>
                    <a:pt x="1441" y="182"/>
                    <a:pt x="1440" y="174"/>
                  </a:cubicBezTo>
                  <a:cubicBezTo>
                    <a:pt x="1433" y="179"/>
                    <a:pt x="1431" y="182"/>
                    <a:pt x="1434" y="193"/>
                  </a:cubicBezTo>
                  <a:cubicBezTo>
                    <a:pt x="1426" y="193"/>
                    <a:pt x="1423" y="186"/>
                    <a:pt x="1413" y="189"/>
                  </a:cubicBezTo>
                  <a:close/>
                  <a:moveTo>
                    <a:pt x="1437" y="1295"/>
                  </a:moveTo>
                  <a:cubicBezTo>
                    <a:pt x="1434" y="1294"/>
                    <a:pt x="1435" y="1288"/>
                    <a:pt x="1434" y="1284"/>
                  </a:cubicBezTo>
                  <a:cubicBezTo>
                    <a:pt x="1439" y="1282"/>
                    <a:pt x="1439" y="1286"/>
                    <a:pt x="1440" y="1291"/>
                  </a:cubicBezTo>
                  <a:cubicBezTo>
                    <a:pt x="1437" y="1290"/>
                    <a:pt x="1437" y="1292"/>
                    <a:pt x="1437" y="1295"/>
                  </a:cubicBezTo>
                  <a:close/>
                  <a:moveTo>
                    <a:pt x="1445" y="1273"/>
                  </a:moveTo>
                  <a:cubicBezTo>
                    <a:pt x="1443" y="1273"/>
                    <a:pt x="1442" y="1273"/>
                    <a:pt x="1440" y="1273"/>
                  </a:cubicBezTo>
                  <a:cubicBezTo>
                    <a:pt x="1440" y="1270"/>
                    <a:pt x="1440" y="1268"/>
                    <a:pt x="1440" y="1265"/>
                  </a:cubicBezTo>
                  <a:cubicBezTo>
                    <a:pt x="1442" y="1265"/>
                    <a:pt x="1443" y="1265"/>
                    <a:pt x="1445" y="1265"/>
                  </a:cubicBezTo>
                  <a:cubicBezTo>
                    <a:pt x="1445" y="1268"/>
                    <a:pt x="1445" y="1270"/>
                    <a:pt x="1445" y="1273"/>
                  </a:cubicBezTo>
                  <a:close/>
                  <a:moveTo>
                    <a:pt x="1448" y="1254"/>
                  </a:moveTo>
                  <a:cubicBezTo>
                    <a:pt x="1444" y="1251"/>
                    <a:pt x="1439" y="1249"/>
                    <a:pt x="1440" y="1239"/>
                  </a:cubicBezTo>
                  <a:cubicBezTo>
                    <a:pt x="1444" y="1237"/>
                    <a:pt x="1454" y="1244"/>
                    <a:pt x="1453" y="1235"/>
                  </a:cubicBezTo>
                  <a:cubicBezTo>
                    <a:pt x="1451" y="1232"/>
                    <a:pt x="1447" y="1232"/>
                    <a:pt x="1448" y="1225"/>
                  </a:cubicBezTo>
                  <a:cubicBezTo>
                    <a:pt x="1450" y="1225"/>
                    <a:pt x="1453" y="1225"/>
                    <a:pt x="1456" y="1225"/>
                  </a:cubicBezTo>
                  <a:cubicBezTo>
                    <a:pt x="1452" y="1229"/>
                    <a:pt x="1454" y="1236"/>
                    <a:pt x="1458" y="1239"/>
                  </a:cubicBezTo>
                  <a:cubicBezTo>
                    <a:pt x="1460" y="1251"/>
                    <a:pt x="1445" y="1241"/>
                    <a:pt x="1448" y="1254"/>
                  </a:cubicBezTo>
                  <a:close/>
                  <a:moveTo>
                    <a:pt x="1458" y="1302"/>
                  </a:moveTo>
                  <a:cubicBezTo>
                    <a:pt x="1463" y="1294"/>
                    <a:pt x="1465" y="1305"/>
                    <a:pt x="1472" y="1298"/>
                  </a:cubicBezTo>
                  <a:cubicBezTo>
                    <a:pt x="1475" y="1312"/>
                    <a:pt x="1460" y="1305"/>
                    <a:pt x="1458" y="1302"/>
                  </a:cubicBezTo>
                  <a:close/>
                  <a:moveTo>
                    <a:pt x="1475" y="655"/>
                  </a:moveTo>
                  <a:cubicBezTo>
                    <a:pt x="1472" y="658"/>
                    <a:pt x="1470" y="652"/>
                    <a:pt x="1469" y="651"/>
                  </a:cubicBezTo>
                  <a:cubicBezTo>
                    <a:pt x="1469" y="651"/>
                    <a:pt x="1464" y="644"/>
                    <a:pt x="1467" y="640"/>
                  </a:cubicBezTo>
                  <a:cubicBezTo>
                    <a:pt x="1469" y="637"/>
                    <a:pt x="1469" y="650"/>
                    <a:pt x="1469" y="651"/>
                  </a:cubicBezTo>
                  <a:cubicBezTo>
                    <a:pt x="1469" y="651"/>
                    <a:pt x="1477" y="652"/>
                    <a:pt x="1475" y="655"/>
                  </a:cubicBezTo>
                  <a:close/>
                  <a:moveTo>
                    <a:pt x="1469" y="588"/>
                  </a:moveTo>
                  <a:cubicBezTo>
                    <a:pt x="1473" y="575"/>
                    <a:pt x="1474" y="595"/>
                    <a:pt x="1472" y="596"/>
                  </a:cubicBezTo>
                  <a:cubicBezTo>
                    <a:pt x="1470" y="596"/>
                    <a:pt x="1469" y="591"/>
                    <a:pt x="1469" y="588"/>
                  </a:cubicBezTo>
                  <a:close/>
                  <a:moveTo>
                    <a:pt x="1475" y="285"/>
                  </a:moveTo>
                  <a:cubicBezTo>
                    <a:pt x="1473" y="280"/>
                    <a:pt x="1468" y="276"/>
                    <a:pt x="1469" y="267"/>
                  </a:cubicBezTo>
                  <a:cubicBezTo>
                    <a:pt x="1472" y="267"/>
                    <a:pt x="1475" y="267"/>
                    <a:pt x="1477" y="267"/>
                  </a:cubicBezTo>
                  <a:cubicBezTo>
                    <a:pt x="1472" y="277"/>
                    <a:pt x="1483" y="284"/>
                    <a:pt x="1483" y="281"/>
                  </a:cubicBezTo>
                  <a:cubicBezTo>
                    <a:pt x="1483" y="285"/>
                    <a:pt x="1475" y="285"/>
                    <a:pt x="1477" y="292"/>
                  </a:cubicBezTo>
                  <a:cubicBezTo>
                    <a:pt x="1474" y="293"/>
                    <a:pt x="1476" y="288"/>
                    <a:pt x="1475" y="285"/>
                  </a:cubicBezTo>
                  <a:close/>
                  <a:moveTo>
                    <a:pt x="1480" y="699"/>
                  </a:moveTo>
                  <a:cubicBezTo>
                    <a:pt x="1480" y="695"/>
                    <a:pt x="1479" y="693"/>
                    <a:pt x="1477" y="692"/>
                  </a:cubicBezTo>
                  <a:cubicBezTo>
                    <a:pt x="1478" y="687"/>
                    <a:pt x="1483" y="688"/>
                    <a:pt x="1483" y="692"/>
                  </a:cubicBezTo>
                  <a:cubicBezTo>
                    <a:pt x="1485" y="693"/>
                    <a:pt x="1485" y="690"/>
                    <a:pt x="1485" y="688"/>
                  </a:cubicBezTo>
                  <a:cubicBezTo>
                    <a:pt x="1490" y="687"/>
                    <a:pt x="1486" y="703"/>
                    <a:pt x="1480" y="699"/>
                  </a:cubicBezTo>
                  <a:close/>
                  <a:moveTo>
                    <a:pt x="1493" y="1243"/>
                  </a:moveTo>
                  <a:cubicBezTo>
                    <a:pt x="1482" y="1245"/>
                    <a:pt x="1494" y="1235"/>
                    <a:pt x="1491" y="1225"/>
                  </a:cubicBezTo>
                  <a:cubicBezTo>
                    <a:pt x="1494" y="1226"/>
                    <a:pt x="1497" y="1245"/>
                    <a:pt x="1493" y="1243"/>
                  </a:cubicBezTo>
                  <a:close/>
                  <a:moveTo>
                    <a:pt x="1485" y="566"/>
                  </a:moveTo>
                  <a:cubicBezTo>
                    <a:pt x="1484" y="561"/>
                    <a:pt x="1496" y="557"/>
                    <a:pt x="1488" y="555"/>
                  </a:cubicBezTo>
                  <a:cubicBezTo>
                    <a:pt x="1499" y="541"/>
                    <a:pt x="1484" y="571"/>
                    <a:pt x="1496" y="566"/>
                  </a:cubicBezTo>
                  <a:cubicBezTo>
                    <a:pt x="1494" y="577"/>
                    <a:pt x="1490" y="563"/>
                    <a:pt x="1485" y="566"/>
                  </a:cubicBezTo>
                  <a:close/>
                  <a:moveTo>
                    <a:pt x="1491" y="182"/>
                  </a:moveTo>
                  <a:cubicBezTo>
                    <a:pt x="1491" y="179"/>
                    <a:pt x="1493" y="178"/>
                    <a:pt x="1493" y="174"/>
                  </a:cubicBezTo>
                  <a:cubicBezTo>
                    <a:pt x="1497" y="176"/>
                    <a:pt x="1499" y="179"/>
                    <a:pt x="1499" y="185"/>
                  </a:cubicBezTo>
                  <a:cubicBezTo>
                    <a:pt x="1494" y="186"/>
                    <a:pt x="1494" y="182"/>
                    <a:pt x="1491" y="182"/>
                  </a:cubicBezTo>
                  <a:close/>
                  <a:moveTo>
                    <a:pt x="1499" y="1221"/>
                  </a:moveTo>
                  <a:cubicBezTo>
                    <a:pt x="1494" y="1218"/>
                    <a:pt x="1498" y="1214"/>
                    <a:pt x="1499" y="1210"/>
                  </a:cubicBezTo>
                  <a:cubicBezTo>
                    <a:pt x="1504" y="1212"/>
                    <a:pt x="1499" y="1216"/>
                    <a:pt x="1499" y="1221"/>
                  </a:cubicBezTo>
                  <a:close/>
                  <a:moveTo>
                    <a:pt x="1496" y="170"/>
                  </a:moveTo>
                  <a:cubicBezTo>
                    <a:pt x="1495" y="165"/>
                    <a:pt x="1511" y="165"/>
                    <a:pt x="1504" y="174"/>
                  </a:cubicBezTo>
                  <a:cubicBezTo>
                    <a:pt x="1505" y="173"/>
                    <a:pt x="1496" y="170"/>
                    <a:pt x="1496" y="170"/>
                  </a:cubicBezTo>
                  <a:close/>
                  <a:moveTo>
                    <a:pt x="1504" y="651"/>
                  </a:moveTo>
                  <a:cubicBezTo>
                    <a:pt x="1506" y="648"/>
                    <a:pt x="1507" y="643"/>
                    <a:pt x="1507" y="636"/>
                  </a:cubicBezTo>
                  <a:cubicBezTo>
                    <a:pt x="1510" y="637"/>
                    <a:pt x="1512" y="636"/>
                    <a:pt x="1512" y="633"/>
                  </a:cubicBezTo>
                  <a:cubicBezTo>
                    <a:pt x="1516" y="634"/>
                    <a:pt x="1513" y="639"/>
                    <a:pt x="1510" y="640"/>
                  </a:cubicBezTo>
                  <a:cubicBezTo>
                    <a:pt x="1510" y="648"/>
                    <a:pt x="1509" y="652"/>
                    <a:pt x="1504" y="651"/>
                  </a:cubicBezTo>
                  <a:close/>
                  <a:moveTo>
                    <a:pt x="1515" y="1180"/>
                  </a:moveTo>
                  <a:cubicBezTo>
                    <a:pt x="1512" y="1178"/>
                    <a:pt x="1509" y="1175"/>
                    <a:pt x="1510" y="1169"/>
                  </a:cubicBezTo>
                  <a:cubicBezTo>
                    <a:pt x="1513" y="1171"/>
                    <a:pt x="1515" y="1174"/>
                    <a:pt x="1515" y="1180"/>
                  </a:cubicBezTo>
                  <a:close/>
                  <a:moveTo>
                    <a:pt x="1523" y="1291"/>
                  </a:moveTo>
                  <a:cubicBezTo>
                    <a:pt x="1518" y="1280"/>
                    <a:pt x="1511" y="1294"/>
                    <a:pt x="1510" y="1276"/>
                  </a:cubicBezTo>
                  <a:cubicBezTo>
                    <a:pt x="1522" y="1278"/>
                    <a:pt x="1514" y="1273"/>
                    <a:pt x="1515" y="1261"/>
                  </a:cubicBezTo>
                  <a:cubicBezTo>
                    <a:pt x="1522" y="1259"/>
                    <a:pt x="1520" y="1269"/>
                    <a:pt x="1526" y="1269"/>
                  </a:cubicBezTo>
                  <a:cubicBezTo>
                    <a:pt x="1525" y="1273"/>
                    <a:pt x="1523" y="1271"/>
                    <a:pt x="1523" y="1269"/>
                  </a:cubicBezTo>
                  <a:cubicBezTo>
                    <a:pt x="1520" y="1269"/>
                    <a:pt x="1521" y="1273"/>
                    <a:pt x="1520" y="1276"/>
                  </a:cubicBezTo>
                  <a:cubicBezTo>
                    <a:pt x="1523" y="1287"/>
                    <a:pt x="1532" y="1275"/>
                    <a:pt x="1536" y="1276"/>
                  </a:cubicBezTo>
                  <a:cubicBezTo>
                    <a:pt x="1538" y="1290"/>
                    <a:pt x="1524" y="1281"/>
                    <a:pt x="1523" y="1291"/>
                  </a:cubicBezTo>
                  <a:close/>
                  <a:moveTo>
                    <a:pt x="1534" y="230"/>
                  </a:moveTo>
                  <a:cubicBezTo>
                    <a:pt x="1536" y="230"/>
                    <a:pt x="1537" y="230"/>
                    <a:pt x="1539" y="230"/>
                  </a:cubicBezTo>
                  <a:cubicBezTo>
                    <a:pt x="1540" y="240"/>
                    <a:pt x="1519" y="229"/>
                    <a:pt x="1534" y="230"/>
                  </a:cubicBezTo>
                  <a:close/>
                  <a:moveTo>
                    <a:pt x="1553" y="1291"/>
                  </a:moveTo>
                  <a:cubicBezTo>
                    <a:pt x="1551" y="1291"/>
                    <a:pt x="1549" y="1291"/>
                    <a:pt x="1547" y="1291"/>
                  </a:cubicBezTo>
                  <a:cubicBezTo>
                    <a:pt x="1547" y="1289"/>
                    <a:pt x="1547" y="1286"/>
                    <a:pt x="1547" y="1284"/>
                  </a:cubicBezTo>
                  <a:cubicBezTo>
                    <a:pt x="1549" y="1284"/>
                    <a:pt x="1551" y="1284"/>
                    <a:pt x="1553" y="1284"/>
                  </a:cubicBezTo>
                  <a:cubicBezTo>
                    <a:pt x="1553" y="1286"/>
                    <a:pt x="1553" y="1289"/>
                    <a:pt x="1553" y="1291"/>
                  </a:cubicBezTo>
                  <a:close/>
                  <a:moveTo>
                    <a:pt x="1550" y="1276"/>
                  </a:moveTo>
                  <a:cubicBezTo>
                    <a:pt x="1548" y="1276"/>
                    <a:pt x="1547" y="1273"/>
                    <a:pt x="1545" y="1273"/>
                  </a:cubicBezTo>
                  <a:cubicBezTo>
                    <a:pt x="1545" y="1270"/>
                    <a:pt x="1547" y="1269"/>
                    <a:pt x="1547" y="1265"/>
                  </a:cubicBezTo>
                  <a:cubicBezTo>
                    <a:pt x="1549" y="1266"/>
                    <a:pt x="1550" y="1269"/>
                    <a:pt x="1553" y="1269"/>
                  </a:cubicBezTo>
                  <a:cubicBezTo>
                    <a:pt x="1552" y="1272"/>
                    <a:pt x="1550" y="1273"/>
                    <a:pt x="1550" y="1276"/>
                  </a:cubicBezTo>
                  <a:close/>
                  <a:moveTo>
                    <a:pt x="1555" y="1265"/>
                  </a:moveTo>
                  <a:cubicBezTo>
                    <a:pt x="1550" y="1266"/>
                    <a:pt x="1552" y="1257"/>
                    <a:pt x="1550" y="1254"/>
                  </a:cubicBezTo>
                  <a:cubicBezTo>
                    <a:pt x="1547" y="1251"/>
                    <a:pt x="1547" y="1254"/>
                    <a:pt x="1545" y="1250"/>
                  </a:cubicBezTo>
                  <a:cubicBezTo>
                    <a:pt x="1543" y="1247"/>
                    <a:pt x="1539" y="1246"/>
                    <a:pt x="1539" y="1239"/>
                  </a:cubicBezTo>
                  <a:cubicBezTo>
                    <a:pt x="1549" y="1240"/>
                    <a:pt x="1547" y="1243"/>
                    <a:pt x="1555" y="1239"/>
                  </a:cubicBezTo>
                  <a:cubicBezTo>
                    <a:pt x="1556" y="1250"/>
                    <a:pt x="1555" y="1252"/>
                    <a:pt x="1550" y="1247"/>
                  </a:cubicBezTo>
                  <a:cubicBezTo>
                    <a:pt x="1548" y="1258"/>
                    <a:pt x="1559" y="1251"/>
                    <a:pt x="1555" y="1265"/>
                  </a:cubicBezTo>
                  <a:close/>
                  <a:moveTo>
                    <a:pt x="1547" y="555"/>
                  </a:moveTo>
                  <a:cubicBezTo>
                    <a:pt x="1551" y="562"/>
                    <a:pt x="1556" y="568"/>
                    <a:pt x="1561" y="574"/>
                  </a:cubicBezTo>
                  <a:cubicBezTo>
                    <a:pt x="1558" y="579"/>
                    <a:pt x="1545" y="569"/>
                    <a:pt x="1547" y="555"/>
                  </a:cubicBezTo>
                  <a:close/>
                  <a:moveTo>
                    <a:pt x="1566" y="1243"/>
                  </a:moveTo>
                  <a:cubicBezTo>
                    <a:pt x="1560" y="1244"/>
                    <a:pt x="1563" y="1232"/>
                    <a:pt x="1558" y="1232"/>
                  </a:cubicBezTo>
                  <a:cubicBezTo>
                    <a:pt x="1558" y="1223"/>
                    <a:pt x="1567" y="1231"/>
                    <a:pt x="1569" y="1232"/>
                  </a:cubicBezTo>
                  <a:cubicBezTo>
                    <a:pt x="1567" y="1235"/>
                    <a:pt x="1566" y="1238"/>
                    <a:pt x="1566" y="1243"/>
                  </a:cubicBezTo>
                  <a:close/>
                  <a:moveTo>
                    <a:pt x="1561" y="1199"/>
                  </a:moveTo>
                  <a:cubicBezTo>
                    <a:pt x="1561" y="1195"/>
                    <a:pt x="1561" y="1191"/>
                    <a:pt x="1561" y="1187"/>
                  </a:cubicBezTo>
                  <a:cubicBezTo>
                    <a:pt x="1568" y="1185"/>
                    <a:pt x="1566" y="1195"/>
                    <a:pt x="1571" y="1195"/>
                  </a:cubicBezTo>
                  <a:cubicBezTo>
                    <a:pt x="1571" y="1200"/>
                    <a:pt x="1565" y="1198"/>
                    <a:pt x="1561" y="1199"/>
                  </a:cubicBezTo>
                  <a:close/>
                  <a:moveTo>
                    <a:pt x="1580" y="1250"/>
                  </a:moveTo>
                  <a:cubicBezTo>
                    <a:pt x="1577" y="1246"/>
                    <a:pt x="1570" y="1249"/>
                    <a:pt x="1571" y="1239"/>
                  </a:cubicBezTo>
                  <a:cubicBezTo>
                    <a:pt x="1574" y="1243"/>
                    <a:pt x="1581" y="1240"/>
                    <a:pt x="1580" y="1250"/>
                  </a:cubicBezTo>
                  <a:close/>
                  <a:moveTo>
                    <a:pt x="1577" y="640"/>
                  </a:moveTo>
                  <a:cubicBezTo>
                    <a:pt x="1577" y="638"/>
                    <a:pt x="1577" y="635"/>
                    <a:pt x="1577" y="633"/>
                  </a:cubicBezTo>
                  <a:cubicBezTo>
                    <a:pt x="1579" y="633"/>
                    <a:pt x="1580" y="633"/>
                    <a:pt x="1582" y="633"/>
                  </a:cubicBezTo>
                  <a:cubicBezTo>
                    <a:pt x="1582" y="635"/>
                    <a:pt x="1582" y="638"/>
                    <a:pt x="1582" y="640"/>
                  </a:cubicBezTo>
                  <a:cubicBezTo>
                    <a:pt x="1580" y="640"/>
                    <a:pt x="1579" y="640"/>
                    <a:pt x="1577" y="640"/>
                  </a:cubicBezTo>
                  <a:close/>
                  <a:moveTo>
                    <a:pt x="1598" y="1254"/>
                  </a:moveTo>
                  <a:cubicBezTo>
                    <a:pt x="1593" y="1257"/>
                    <a:pt x="1592" y="1248"/>
                    <a:pt x="1590" y="1247"/>
                  </a:cubicBezTo>
                  <a:cubicBezTo>
                    <a:pt x="1588" y="1246"/>
                    <a:pt x="1585" y="1252"/>
                    <a:pt x="1582" y="1247"/>
                  </a:cubicBezTo>
                  <a:cubicBezTo>
                    <a:pt x="1587" y="1239"/>
                    <a:pt x="1600" y="1236"/>
                    <a:pt x="1598" y="1254"/>
                  </a:cubicBezTo>
                  <a:close/>
                  <a:moveTo>
                    <a:pt x="1633" y="1291"/>
                  </a:moveTo>
                  <a:cubicBezTo>
                    <a:pt x="1625" y="1305"/>
                    <a:pt x="1624" y="1280"/>
                    <a:pt x="1633" y="1291"/>
                  </a:cubicBezTo>
                  <a:close/>
                  <a:moveTo>
                    <a:pt x="1628" y="1313"/>
                  </a:moveTo>
                  <a:cubicBezTo>
                    <a:pt x="1628" y="1308"/>
                    <a:pt x="1628" y="1303"/>
                    <a:pt x="1628" y="1298"/>
                  </a:cubicBezTo>
                  <a:cubicBezTo>
                    <a:pt x="1637" y="1298"/>
                    <a:pt x="1638" y="1316"/>
                    <a:pt x="1628" y="1313"/>
                  </a:cubicBezTo>
                  <a:close/>
                  <a:moveTo>
                    <a:pt x="1625" y="1250"/>
                  </a:moveTo>
                  <a:cubicBezTo>
                    <a:pt x="1617" y="1249"/>
                    <a:pt x="1607" y="1253"/>
                    <a:pt x="1601" y="1247"/>
                  </a:cubicBezTo>
                  <a:cubicBezTo>
                    <a:pt x="1602" y="1236"/>
                    <a:pt x="1609" y="1246"/>
                    <a:pt x="1612" y="1247"/>
                  </a:cubicBezTo>
                  <a:cubicBezTo>
                    <a:pt x="1614" y="1247"/>
                    <a:pt x="1615" y="1242"/>
                    <a:pt x="1617" y="1243"/>
                  </a:cubicBezTo>
                  <a:cubicBezTo>
                    <a:pt x="1618" y="1243"/>
                    <a:pt x="1617" y="1246"/>
                    <a:pt x="1620" y="1247"/>
                  </a:cubicBezTo>
                  <a:cubicBezTo>
                    <a:pt x="1625" y="1247"/>
                    <a:pt x="1629" y="1246"/>
                    <a:pt x="1636" y="1247"/>
                  </a:cubicBezTo>
                  <a:cubicBezTo>
                    <a:pt x="1638" y="1240"/>
                    <a:pt x="1638" y="1251"/>
                    <a:pt x="1641" y="1250"/>
                  </a:cubicBezTo>
                  <a:cubicBezTo>
                    <a:pt x="1639" y="1261"/>
                    <a:pt x="1631" y="1251"/>
                    <a:pt x="1625" y="1250"/>
                  </a:cubicBezTo>
                  <a:close/>
                  <a:moveTo>
                    <a:pt x="1641" y="588"/>
                  </a:moveTo>
                  <a:cubicBezTo>
                    <a:pt x="1641" y="595"/>
                    <a:pt x="1648" y="600"/>
                    <a:pt x="1639" y="599"/>
                  </a:cubicBezTo>
                  <a:cubicBezTo>
                    <a:pt x="1637" y="611"/>
                    <a:pt x="1644" y="611"/>
                    <a:pt x="1639" y="618"/>
                  </a:cubicBezTo>
                  <a:cubicBezTo>
                    <a:pt x="1627" y="611"/>
                    <a:pt x="1643" y="590"/>
                    <a:pt x="1641" y="574"/>
                  </a:cubicBezTo>
                  <a:cubicBezTo>
                    <a:pt x="1638" y="569"/>
                    <a:pt x="1641" y="572"/>
                    <a:pt x="1644" y="574"/>
                  </a:cubicBezTo>
                  <a:cubicBezTo>
                    <a:pt x="1646" y="581"/>
                    <a:pt x="1641" y="583"/>
                    <a:pt x="1641" y="588"/>
                  </a:cubicBezTo>
                  <a:close/>
                  <a:moveTo>
                    <a:pt x="2066" y="156"/>
                  </a:moveTo>
                  <a:cubicBezTo>
                    <a:pt x="2076" y="166"/>
                    <a:pt x="2060" y="179"/>
                    <a:pt x="2066" y="156"/>
                  </a:cubicBezTo>
                  <a:close/>
                  <a:moveTo>
                    <a:pt x="2055" y="562"/>
                  </a:moveTo>
                  <a:cubicBezTo>
                    <a:pt x="2055" y="562"/>
                    <a:pt x="2053" y="563"/>
                    <a:pt x="2053" y="562"/>
                  </a:cubicBezTo>
                  <a:cubicBezTo>
                    <a:pt x="2043" y="552"/>
                    <a:pt x="2062" y="561"/>
                    <a:pt x="2058" y="566"/>
                  </a:cubicBezTo>
                  <a:cubicBezTo>
                    <a:pt x="2057" y="568"/>
                    <a:pt x="2052" y="570"/>
                    <a:pt x="2053" y="566"/>
                  </a:cubicBezTo>
                  <a:cubicBezTo>
                    <a:pt x="2053" y="565"/>
                    <a:pt x="2056" y="566"/>
                    <a:pt x="2055" y="562"/>
                  </a:cubicBezTo>
                  <a:close/>
                  <a:moveTo>
                    <a:pt x="2034" y="296"/>
                  </a:moveTo>
                  <a:cubicBezTo>
                    <a:pt x="2038" y="296"/>
                    <a:pt x="2042" y="312"/>
                    <a:pt x="2042" y="296"/>
                  </a:cubicBezTo>
                  <a:cubicBezTo>
                    <a:pt x="2051" y="297"/>
                    <a:pt x="2042" y="306"/>
                    <a:pt x="2047" y="307"/>
                  </a:cubicBezTo>
                  <a:cubicBezTo>
                    <a:pt x="2047" y="312"/>
                    <a:pt x="2042" y="311"/>
                    <a:pt x="2042" y="307"/>
                  </a:cubicBezTo>
                  <a:cubicBezTo>
                    <a:pt x="2037" y="307"/>
                    <a:pt x="2036" y="312"/>
                    <a:pt x="2031" y="311"/>
                  </a:cubicBezTo>
                  <a:cubicBezTo>
                    <a:pt x="2031" y="304"/>
                    <a:pt x="2035" y="303"/>
                    <a:pt x="2034" y="296"/>
                  </a:cubicBezTo>
                  <a:close/>
                  <a:moveTo>
                    <a:pt x="2039" y="285"/>
                  </a:moveTo>
                  <a:cubicBezTo>
                    <a:pt x="2041" y="274"/>
                    <a:pt x="2045" y="289"/>
                    <a:pt x="2050" y="285"/>
                  </a:cubicBezTo>
                  <a:cubicBezTo>
                    <a:pt x="2050" y="294"/>
                    <a:pt x="2041" y="286"/>
                    <a:pt x="2039" y="285"/>
                  </a:cubicBezTo>
                  <a:close/>
                  <a:moveTo>
                    <a:pt x="2058" y="241"/>
                  </a:moveTo>
                  <a:cubicBezTo>
                    <a:pt x="2051" y="236"/>
                    <a:pt x="2066" y="214"/>
                    <a:pt x="2058" y="241"/>
                  </a:cubicBezTo>
                  <a:close/>
                  <a:moveTo>
                    <a:pt x="2050" y="174"/>
                  </a:moveTo>
                  <a:cubicBezTo>
                    <a:pt x="2060" y="185"/>
                    <a:pt x="2042" y="187"/>
                    <a:pt x="2050" y="174"/>
                  </a:cubicBezTo>
                  <a:close/>
                  <a:moveTo>
                    <a:pt x="2053" y="244"/>
                  </a:moveTo>
                  <a:cubicBezTo>
                    <a:pt x="2061" y="248"/>
                    <a:pt x="2052" y="257"/>
                    <a:pt x="2050" y="259"/>
                  </a:cubicBezTo>
                  <a:cubicBezTo>
                    <a:pt x="2047" y="259"/>
                    <a:pt x="2048" y="255"/>
                    <a:pt x="2047" y="252"/>
                  </a:cubicBezTo>
                  <a:cubicBezTo>
                    <a:pt x="2045" y="251"/>
                    <a:pt x="2045" y="253"/>
                    <a:pt x="2045" y="255"/>
                  </a:cubicBezTo>
                  <a:cubicBezTo>
                    <a:pt x="2042" y="256"/>
                    <a:pt x="2042" y="254"/>
                    <a:pt x="2042" y="252"/>
                  </a:cubicBezTo>
                  <a:cubicBezTo>
                    <a:pt x="2042" y="249"/>
                    <a:pt x="2042" y="247"/>
                    <a:pt x="2042" y="244"/>
                  </a:cubicBezTo>
                  <a:cubicBezTo>
                    <a:pt x="2047" y="241"/>
                    <a:pt x="2051" y="255"/>
                    <a:pt x="2053" y="244"/>
                  </a:cubicBezTo>
                  <a:close/>
                  <a:moveTo>
                    <a:pt x="2037" y="185"/>
                  </a:moveTo>
                  <a:cubicBezTo>
                    <a:pt x="2038" y="185"/>
                    <a:pt x="2040" y="185"/>
                    <a:pt x="2042" y="185"/>
                  </a:cubicBezTo>
                  <a:cubicBezTo>
                    <a:pt x="2042" y="188"/>
                    <a:pt x="2042" y="190"/>
                    <a:pt x="2042" y="193"/>
                  </a:cubicBezTo>
                  <a:cubicBezTo>
                    <a:pt x="2040" y="193"/>
                    <a:pt x="2038" y="193"/>
                    <a:pt x="2037" y="193"/>
                  </a:cubicBezTo>
                  <a:cubicBezTo>
                    <a:pt x="2037" y="190"/>
                    <a:pt x="2037" y="188"/>
                    <a:pt x="2037" y="185"/>
                  </a:cubicBezTo>
                  <a:close/>
                  <a:moveTo>
                    <a:pt x="2031" y="233"/>
                  </a:moveTo>
                  <a:cubicBezTo>
                    <a:pt x="2041" y="232"/>
                    <a:pt x="2035" y="253"/>
                    <a:pt x="2039" y="259"/>
                  </a:cubicBezTo>
                  <a:cubicBezTo>
                    <a:pt x="2029" y="262"/>
                    <a:pt x="2032" y="245"/>
                    <a:pt x="2031" y="233"/>
                  </a:cubicBezTo>
                  <a:close/>
                  <a:moveTo>
                    <a:pt x="2018" y="548"/>
                  </a:moveTo>
                  <a:cubicBezTo>
                    <a:pt x="2030" y="550"/>
                    <a:pt x="2016" y="570"/>
                    <a:pt x="2018" y="548"/>
                  </a:cubicBezTo>
                  <a:close/>
                  <a:moveTo>
                    <a:pt x="2020" y="1180"/>
                  </a:moveTo>
                  <a:cubicBezTo>
                    <a:pt x="2019" y="1187"/>
                    <a:pt x="2016" y="1181"/>
                    <a:pt x="2012" y="1180"/>
                  </a:cubicBezTo>
                  <a:cubicBezTo>
                    <a:pt x="2014" y="1173"/>
                    <a:pt x="2017" y="1180"/>
                    <a:pt x="2020" y="1180"/>
                  </a:cubicBezTo>
                  <a:close/>
                  <a:moveTo>
                    <a:pt x="2010" y="156"/>
                  </a:moveTo>
                  <a:cubicBezTo>
                    <a:pt x="2018" y="150"/>
                    <a:pt x="2018" y="172"/>
                    <a:pt x="2010" y="167"/>
                  </a:cubicBezTo>
                  <a:cubicBezTo>
                    <a:pt x="2010" y="163"/>
                    <a:pt x="2010" y="159"/>
                    <a:pt x="2010" y="156"/>
                  </a:cubicBezTo>
                  <a:close/>
                  <a:moveTo>
                    <a:pt x="2010" y="174"/>
                  </a:moveTo>
                  <a:cubicBezTo>
                    <a:pt x="2011" y="167"/>
                    <a:pt x="2013" y="176"/>
                    <a:pt x="2012" y="182"/>
                  </a:cubicBezTo>
                  <a:cubicBezTo>
                    <a:pt x="2011" y="189"/>
                    <a:pt x="2009" y="179"/>
                    <a:pt x="2010" y="174"/>
                  </a:cubicBezTo>
                  <a:close/>
                  <a:moveTo>
                    <a:pt x="2012" y="559"/>
                  </a:moveTo>
                  <a:cubicBezTo>
                    <a:pt x="2009" y="557"/>
                    <a:pt x="2007" y="554"/>
                    <a:pt x="2007" y="548"/>
                  </a:cubicBezTo>
                  <a:cubicBezTo>
                    <a:pt x="2010" y="549"/>
                    <a:pt x="2013" y="552"/>
                    <a:pt x="2012" y="559"/>
                  </a:cubicBezTo>
                  <a:close/>
                  <a:moveTo>
                    <a:pt x="2007" y="1187"/>
                  </a:moveTo>
                  <a:cubicBezTo>
                    <a:pt x="2019" y="1189"/>
                    <a:pt x="2004" y="1209"/>
                    <a:pt x="2007" y="1187"/>
                  </a:cubicBezTo>
                  <a:close/>
                  <a:moveTo>
                    <a:pt x="1991" y="182"/>
                  </a:moveTo>
                  <a:cubicBezTo>
                    <a:pt x="1995" y="172"/>
                    <a:pt x="2006" y="183"/>
                    <a:pt x="2004" y="193"/>
                  </a:cubicBezTo>
                  <a:cubicBezTo>
                    <a:pt x="1998" y="197"/>
                    <a:pt x="1993" y="182"/>
                    <a:pt x="1991" y="193"/>
                  </a:cubicBezTo>
                  <a:cubicBezTo>
                    <a:pt x="1988" y="192"/>
                    <a:pt x="1989" y="185"/>
                    <a:pt x="1986" y="185"/>
                  </a:cubicBezTo>
                  <a:cubicBezTo>
                    <a:pt x="1985" y="178"/>
                    <a:pt x="2004" y="189"/>
                    <a:pt x="1991" y="182"/>
                  </a:cubicBezTo>
                  <a:close/>
                  <a:moveTo>
                    <a:pt x="1996" y="537"/>
                  </a:moveTo>
                  <a:cubicBezTo>
                    <a:pt x="1995" y="544"/>
                    <a:pt x="1995" y="552"/>
                    <a:pt x="1988" y="551"/>
                  </a:cubicBezTo>
                  <a:cubicBezTo>
                    <a:pt x="1989" y="548"/>
                    <a:pt x="1991" y="545"/>
                    <a:pt x="1994" y="544"/>
                  </a:cubicBezTo>
                  <a:cubicBezTo>
                    <a:pt x="1991" y="539"/>
                    <a:pt x="1991" y="536"/>
                    <a:pt x="1996" y="537"/>
                  </a:cubicBezTo>
                  <a:close/>
                  <a:moveTo>
                    <a:pt x="1996" y="1169"/>
                  </a:moveTo>
                  <a:cubicBezTo>
                    <a:pt x="1999" y="1172"/>
                    <a:pt x="2000" y="1180"/>
                    <a:pt x="1996" y="1187"/>
                  </a:cubicBezTo>
                  <a:cubicBezTo>
                    <a:pt x="1990" y="1187"/>
                    <a:pt x="1995" y="1171"/>
                    <a:pt x="1996" y="1169"/>
                  </a:cubicBezTo>
                  <a:close/>
                  <a:moveTo>
                    <a:pt x="1996" y="211"/>
                  </a:moveTo>
                  <a:cubicBezTo>
                    <a:pt x="1990" y="213"/>
                    <a:pt x="1990" y="204"/>
                    <a:pt x="1983" y="207"/>
                  </a:cubicBezTo>
                  <a:cubicBezTo>
                    <a:pt x="1989" y="197"/>
                    <a:pt x="1991" y="205"/>
                    <a:pt x="1999" y="200"/>
                  </a:cubicBezTo>
                  <a:cubicBezTo>
                    <a:pt x="1998" y="203"/>
                    <a:pt x="1996" y="206"/>
                    <a:pt x="1996" y="211"/>
                  </a:cubicBezTo>
                  <a:close/>
                  <a:moveTo>
                    <a:pt x="1999" y="570"/>
                  </a:moveTo>
                  <a:cubicBezTo>
                    <a:pt x="2011" y="571"/>
                    <a:pt x="1996" y="591"/>
                    <a:pt x="1999" y="570"/>
                  </a:cubicBezTo>
                  <a:close/>
                  <a:moveTo>
                    <a:pt x="1986" y="122"/>
                  </a:moveTo>
                  <a:cubicBezTo>
                    <a:pt x="1988" y="123"/>
                    <a:pt x="1987" y="130"/>
                    <a:pt x="1991" y="130"/>
                  </a:cubicBezTo>
                  <a:cubicBezTo>
                    <a:pt x="1990" y="134"/>
                    <a:pt x="1986" y="132"/>
                    <a:pt x="1986" y="137"/>
                  </a:cubicBezTo>
                  <a:cubicBezTo>
                    <a:pt x="1977" y="135"/>
                    <a:pt x="1988" y="129"/>
                    <a:pt x="1986" y="122"/>
                  </a:cubicBezTo>
                  <a:close/>
                  <a:moveTo>
                    <a:pt x="1977" y="133"/>
                  </a:moveTo>
                  <a:cubicBezTo>
                    <a:pt x="1976" y="133"/>
                    <a:pt x="1974" y="133"/>
                    <a:pt x="1972" y="133"/>
                  </a:cubicBezTo>
                  <a:cubicBezTo>
                    <a:pt x="1973" y="130"/>
                    <a:pt x="1971" y="130"/>
                    <a:pt x="1969" y="130"/>
                  </a:cubicBezTo>
                  <a:cubicBezTo>
                    <a:pt x="1968" y="123"/>
                    <a:pt x="1982" y="124"/>
                    <a:pt x="1977" y="133"/>
                  </a:cubicBezTo>
                  <a:close/>
                  <a:moveTo>
                    <a:pt x="1961" y="133"/>
                  </a:moveTo>
                  <a:cubicBezTo>
                    <a:pt x="1966" y="142"/>
                    <a:pt x="1971" y="147"/>
                    <a:pt x="1980" y="141"/>
                  </a:cubicBezTo>
                  <a:cubicBezTo>
                    <a:pt x="1979" y="144"/>
                    <a:pt x="1978" y="145"/>
                    <a:pt x="1977" y="148"/>
                  </a:cubicBezTo>
                  <a:cubicBezTo>
                    <a:pt x="1977" y="156"/>
                    <a:pt x="1983" y="158"/>
                    <a:pt x="1983" y="163"/>
                  </a:cubicBezTo>
                  <a:cubicBezTo>
                    <a:pt x="1982" y="176"/>
                    <a:pt x="1978" y="182"/>
                    <a:pt x="1972" y="193"/>
                  </a:cubicBezTo>
                  <a:cubicBezTo>
                    <a:pt x="1969" y="192"/>
                    <a:pt x="1972" y="174"/>
                    <a:pt x="1975" y="174"/>
                  </a:cubicBezTo>
                  <a:cubicBezTo>
                    <a:pt x="1979" y="174"/>
                    <a:pt x="1974" y="159"/>
                    <a:pt x="1972" y="152"/>
                  </a:cubicBezTo>
                  <a:cubicBezTo>
                    <a:pt x="1968" y="152"/>
                    <a:pt x="1971" y="159"/>
                    <a:pt x="1969" y="163"/>
                  </a:cubicBezTo>
                  <a:cubicBezTo>
                    <a:pt x="1964" y="176"/>
                    <a:pt x="1972" y="145"/>
                    <a:pt x="1961" y="148"/>
                  </a:cubicBezTo>
                  <a:cubicBezTo>
                    <a:pt x="1961" y="143"/>
                    <a:pt x="1961" y="138"/>
                    <a:pt x="1961" y="133"/>
                  </a:cubicBezTo>
                  <a:close/>
                  <a:moveTo>
                    <a:pt x="1969" y="1232"/>
                  </a:moveTo>
                  <a:cubicBezTo>
                    <a:pt x="1973" y="1227"/>
                    <a:pt x="1971" y="1214"/>
                    <a:pt x="1961" y="1217"/>
                  </a:cubicBezTo>
                  <a:cubicBezTo>
                    <a:pt x="1960" y="1209"/>
                    <a:pt x="1966" y="1212"/>
                    <a:pt x="1967" y="1206"/>
                  </a:cubicBezTo>
                  <a:cubicBezTo>
                    <a:pt x="1967" y="1202"/>
                    <a:pt x="1972" y="1203"/>
                    <a:pt x="1975" y="1202"/>
                  </a:cubicBezTo>
                  <a:cubicBezTo>
                    <a:pt x="1976" y="1211"/>
                    <a:pt x="1974" y="1216"/>
                    <a:pt x="1972" y="1221"/>
                  </a:cubicBezTo>
                  <a:cubicBezTo>
                    <a:pt x="1974" y="1224"/>
                    <a:pt x="1978" y="1234"/>
                    <a:pt x="1969" y="1232"/>
                  </a:cubicBezTo>
                  <a:close/>
                  <a:moveTo>
                    <a:pt x="1964" y="1306"/>
                  </a:moveTo>
                  <a:cubicBezTo>
                    <a:pt x="1963" y="1310"/>
                    <a:pt x="1961" y="1313"/>
                    <a:pt x="1956" y="1313"/>
                  </a:cubicBezTo>
                  <a:cubicBezTo>
                    <a:pt x="1957" y="1309"/>
                    <a:pt x="1959" y="1306"/>
                    <a:pt x="1964" y="1306"/>
                  </a:cubicBezTo>
                  <a:close/>
                  <a:moveTo>
                    <a:pt x="1964" y="207"/>
                  </a:moveTo>
                  <a:cubicBezTo>
                    <a:pt x="1964" y="205"/>
                    <a:pt x="1964" y="202"/>
                    <a:pt x="1964" y="200"/>
                  </a:cubicBezTo>
                  <a:cubicBezTo>
                    <a:pt x="1969" y="199"/>
                    <a:pt x="1972" y="201"/>
                    <a:pt x="1972" y="207"/>
                  </a:cubicBezTo>
                  <a:cubicBezTo>
                    <a:pt x="1969" y="207"/>
                    <a:pt x="1967" y="207"/>
                    <a:pt x="1964" y="207"/>
                  </a:cubicBezTo>
                  <a:close/>
                  <a:moveTo>
                    <a:pt x="1961" y="163"/>
                  </a:moveTo>
                  <a:cubicBezTo>
                    <a:pt x="1969" y="151"/>
                    <a:pt x="1953" y="183"/>
                    <a:pt x="1967" y="178"/>
                  </a:cubicBezTo>
                  <a:cubicBezTo>
                    <a:pt x="1967" y="184"/>
                    <a:pt x="1963" y="186"/>
                    <a:pt x="1964" y="193"/>
                  </a:cubicBezTo>
                  <a:cubicBezTo>
                    <a:pt x="1960" y="187"/>
                    <a:pt x="1956" y="171"/>
                    <a:pt x="1961" y="163"/>
                  </a:cubicBezTo>
                  <a:close/>
                  <a:moveTo>
                    <a:pt x="1940" y="108"/>
                  </a:moveTo>
                  <a:cubicBezTo>
                    <a:pt x="1942" y="108"/>
                    <a:pt x="1945" y="108"/>
                    <a:pt x="1948" y="108"/>
                  </a:cubicBezTo>
                  <a:cubicBezTo>
                    <a:pt x="1945" y="115"/>
                    <a:pt x="1952" y="125"/>
                    <a:pt x="1953" y="115"/>
                  </a:cubicBezTo>
                  <a:cubicBezTo>
                    <a:pt x="1956" y="114"/>
                    <a:pt x="1956" y="116"/>
                    <a:pt x="1956" y="119"/>
                  </a:cubicBezTo>
                  <a:cubicBezTo>
                    <a:pt x="1955" y="122"/>
                    <a:pt x="1957" y="122"/>
                    <a:pt x="1959" y="122"/>
                  </a:cubicBezTo>
                  <a:cubicBezTo>
                    <a:pt x="1959" y="127"/>
                    <a:pt x="1954" y="124"/>
                    <a:pt x="1953" y="126"/>
                  </a:cubicBezTo>
                  <a:cubicBezTo>
                    <a:pt x="1951" y="130"/>
                    <a:pt x="1954" y="139"/>
                    <a:pt x="1951" y="141"/>
                  </a:cubicBezTo>
                  <a:cubicBezTo>
                    <a:pt x="1947" y="138"/>
                    <a:pt x="1945" y="132"/>
                    <a:pt x="1945" y="122"/>
                  </a:cubicBezTo>
                  <a:cubicBezTo>
                    <a:pt x="1943" y="122"/>
                    <a:pt x="1943" y="127"/>
                    <a:pt x="1942" y="130"/>
                  </a:cubicBezTo>
                  <a:cubicBezTo>
                    <a:pt x="1940" y="128"/>
                    <a:pt x="1938" y="126"/>
                    <a:pt x="1934" y="126"/>
                  </a:cubicBezTo>
                  <a:cubicBezTo>
                    <a:pt x="1937" y="121"/>
                    <a:pt x="1937" y="112"/>
                    <a:pt x="1940" y="108"/>
                  </a:cubicBezTo>
                  <a:close/>
                  <a:moveTo>
                    <a:pt x="1937" y="174"/>
                  </a:moveTo>
                  <a:cubicBezTo>
                    <a:pt x="1934" y="161"/>
                    <a:pt x="1954" y="164"/>
                    <a:pt x="1948" y="178"/>
                  </a:cubicBezTo>
                  <a:cubicBezTo>
                    <a:pt x="1943" y="171"/>
                    <a:pt x="1946" y="171"/>
                    <a:pt x="1937" y="174"/>
                  </a:cubicBezTo>
                  <a:close/>
                  <a:moveTo>
                    <a:pt x="1945" y="1095"/>
                  </a:moveTo>
                  <a:cubicBezTo>
                    <a:pt x="1944" y="1100"/>
                    <a:pt x="1942" y="1103"/>
                    <a:pt x="1937" y="1102"/>
                  </a:cubicBezTo>
                  <a:cubicBezTo>
                    <a:pt x="1938" y="1098"/>
                    <a:pt x="1941" y="1095"/>
                    <a:pt x="1945" y="1095"/>
                  </a:cubicBezTo>
                  <a:close/>
                  <a:moveTo>
                    <a:pt x="1942" y="137"/>
                  </a:moveTo>
                  <a:cubicBezTo>
                    <a:pt x="1941" y="142"/>
                    <a:pt x="1939" y="145"/>
                    <a:pt x="1934" y="145"/>
                  </a:cubicBezTo>
                  <a:cubicBezTo>
                    <a:pt x="1936" y="140"/>
                    <a:pt x="1938" y="137"/>
                    <a:pt x="1942" y="137"/>
                  </a:cubicBezTo>
                  <a:close/>
                  <a:moveTo>
                    <a:pt x="1908" y="193"/>
                  </a:moveTo>
                  <a:cubicBezTo>
                    <a:pt x="1910" y="201"/>
                    <a:pt x="1917" y="202"/>
                    <a:pt x="1921" y="207"/>
                  </a:cubicBezTo>
                  <a:cubicBezTo>
                    <a:pt x="1919" y="214"/>
                    <a:pt x="1915" y="210"/>
                    <a:pt x="1916" y="204"/>
                  </a:cubicBezTo>
                  <a:cubicBezTo>
                    <a:pt x="1910" y="205"/>
                    <a:pt x="1909" y="201"/>
                    <a:pt x="1905" y="200"/>
                  </a:cubicBezTo>
                  <a:cubicBezTo>
                    <a:pt x="1901" y="191"/>
                    <a:pt x="1913" y="185"/>
                    <a:pt x="1905" y="182"/>
                  </a:cubicBezTo>
                  <a:cubicBezTo>
                    <a:pt x="1905" y="173"/>
                    <a:pt x="1912" y="183"/>
                    <a:pt x="1913" y="182"/>
                  </a:cubicBezTo>
                  <a:cubicBezTo>
                    <a:pt x="1913" y="181"/>
                    <a:pt x="1913" y="178"/>
                    <a:pt x="1913" y="178"/>
                  </a:cubicBezTo>
                  <a:cubicBezTo>
                    <a:pt x="1919" y="179"/>
                    <a:pt x="1920" y="185"/>
                    <a:pt x="1924" y="193"/>
                  </a:cubicBezTo>
                  <a:cubicBezTo>
                    <a:pt x="1927" y="199"/>
                    <a:pt x="1935" y="201"/>
                    <a:pt x="1932" y="207"/>
                  </a:cubicBezTo>
                  <a:cubicBezTo>
                    <a:pt x="1922" y="210"/>
                    <a:pt x="1920" y="202"/>
                    <a:pt x="1921" y="189"/>
                  </a:cubicBezTo>
                  <a:cubicBezTo>
                    <a:pt x="1915" y="188"/>
                    <a:pt x="1911" y="190"/>
                    <a:pt x="1908" y="193"/>
                  </a:cubicBezTo>
                  <a:close/>
                  <a:moveTo>
                    <a:pt x="1897" y="244"/>
                  </a:moveTo>
                  <a:cubicBezTo>
                    <a:pt x="1897" y="239"/>
                    <a:pt x="1894" y="244"/>
                    <a:pt x="1894" y="244"/>
                  </a:cubicBezTo>
                  <a:cubicBezTo>
                    <a:pt x="1891" y="243"/>
                    <a:pt x="1892" y="235"/>
                    <a:pt x="1886" y="237"/>
                  </a:cubicBezTo>
                  <a:cubicBezTo>
                    <a:pt x="1888" y="231"/>
                    <a:pt x="1895" y="232"/>
                    <a:pt x="1899" y="230"/>
                  </a:cubicBezTo>
                  <a:cubicBezTo>
                    <a:pt x="1899" y="239"/>
                    <a:pt x="1897" y="253"/>
                    <a:pt x="1908" y="248"/>
                  </a:cubicBezTo>
                  <a:cubicBezTo>
                    <a:pt x="1909" y="258"/>
                    <a:pt x="1898" y="252"/>
                    <a:pt x="1897" y="259"/>
                  </a:cubicBezTo>
                  <a:cubicBezTo>
                    <a:pt x="1890" y="258"/>
                    <a:pt x="1900" y="253"/>
                    <a:pt x="1897" y="244"/>
                  </a:cubicBezTo>
                  <a:close/>
                  <a:moveTo>
                    <a:pt x="1908" y="241"/>
                  </a:moveTo>
                  <a:cubicBezTo>
                    <a:pt x="1901" y="240"/>
                    <a:pt x="1901" y="231"/>
                    <a:pt x="1905" y="226"/>
                  </a:cubicBezTo>
                  <a:cubicBezTo>
                    <a:pt x="1911" y="227"/>
                    <a:pt x="1911" y="236"/>
                    <a:pt x="1908" y="241"/>
                  </a:cubicBezTo>
                  <a:close/>
                  <a:moveTo>
                    <a:pt x="1902" y="222"/>
                  </a:moveTo>
                  <a:cubicBezTo>
                    <a:pt x="1904" y="217"/>
                    <a:pt x="1911" y="217"/>
                    <a:pt x="1916" y="215"/>
                  </a:cubicBezTo>
                  <a:cubicBezTo>
                    <a:pt x="1918" y="227"/>
                    <a:pt x="1907" y="221"/>
                    <a:pt x="1902" y="222"/>
                  </a:cubicBezTo>
                  <a:close/>
                  <a:moveTo>
                    <a:pt x="1926" y="189"/>
                  </a:moveTo>
                  <a:cubicBezTo>
                    <a:pt x="1936" y="167"/>
                    <a:pt x="1940" y="211"/>
                    <a:pt x="1926" y="189"/>
                  </a:cubicBezTo>
                  <a:close/>
                  <a:moveTo>
                    <a:pt x="1932" y="211"/>
                  </a:moveTo>
                  <a:cubicBezTo>
                    <a:pt x="1941" y="209"/>
                    <a:pt x="1932" y="228"/>
                    <a:pt x="1929" y="222"/>
                  </a:cubicBezTo>
                  <a:cubicBezTo>
                    <a:pt x="1929" y="222"/>
                    <a:pt x="1931" y="215"/>
                    <a:pt x="1932" y="215"/>
                  </a:cubicBezTo>
                  <a:cubicBezTo>
                    <a:pt x="1932" y="215"/>
                    <a:pt x="1932" y="211"/>
                    <a:pt x="1932" y="211"/>
                  </a:cubicBezTo>
                  <a:close/>
                  <a:moveTo>
                    <a:pt x="1934" y="159"/>
                  </a:moveTo>
                  <a:cubicBezTo>
                    <a:pt x="1934" y="164"/>
                    <a:pt x="1933" y="161"/>
                    <a:pt x="1932" y="163"/>
                  </a:cubicBezTo>
                  <a:cubicBezTo>
                    <a:pt x="1931" y="166"/>
                    <a:pt x="1922" y="176"/>
                    <a:pt x="1932" y="174"/>
                  </a:cubicBezTo>
                  <a:cubicBezTo>
                    <a:pt x="1931" y="178"/>
                    <a:pt x="1927" y="177"/>
                    <a:pt x="1924" y="178"/>
                  </a:cubicBezTo>
                  <a:cubicBezTo>
                    <a:pt x="1924" y="173"/>
                    <a:pt x="1924" y="168"/>
                    <a:pt x="1924" y="163"/>
                  </a:cubicBezTo>
                  <a:cubicBezTo>
                    <a:pt x="1928" y="163"/>
                    <a:pt x="1931" y="164"/>
                    <a:pt x="1932" y="159"/>
                  </a:cubicBezTo>
                  <a:cubicBezTo>
                    <a:pt x="1932" y="155"/>
                    <a:pt x="1935" y="157"/>
                    <a:pt x="1934" y="159"/>
                  </a:cubicBezTo>
                  <a:close/>
                  <a:moveTo>
                    <a:pt x="1921" y="119"/>
                  </a:moveTo>
                  <a:cubicBezTo>
                    <a:pt x="1923" y="120"/>
                    <a:pt x="1926" y="113"/>
                    <a:pt x="1929" y="119"/>
                  </a:cubicBezTo>
                  <a:cubicBezTo>
                    <a:pt x="1930" y="125"/>
                    <a:pt x="1920" y="138"/>
                    <a:pt x="1932" y="137"/>
                  </a:cubicBezTo>
                  <a:cubicBezTo>
                    <a:pt x="1929" y="146"/>
                    <a:pt x="1915" y="158"/>
                    <a:pt x="1921" y="167"/>
                  </a:cubicBezTo>
                  <a:cubicBezTo>
                    <a:pt x="1913" y="177"/>
                    <a:pt x="1913" y="159"/>
                    <a:pt x="1916" y="148"/>
                  </a:cubicBezTo>
                  <a:cubicBezTo>
                    <a:pt x="1918" y="148"/>
                    <a:pt x="1921" y="148"/>
                    <a:pt x="1924" y="148"/>
                  </a:cubicBezTo>
                  <a:cubicBezTo>
                    <a:pt x="1922" y="137"/>
                    <a:pt x="1922" y="141"/>
                    <a:pt x="1924" y="130"/>
                  </a:cubicBezTo>
                  <a:cubicBezTo>
                    <a:pt x="1921" y="129"/>
                    <a:pt x="1919" y="131"/>
                    <a:pt x="1918" y="133"/>
                  </a:cubicBezTo>
                  <a:cubicBezTo>
                    <a:pt x="1912" y="135"/>
                    <a:pt x="1926" y="115"/>
                    <a:pt x="1913" y="119"/>
                  </a:cubicBezTo>
                  <a:cubicBezTo>
                    <a:pt x="1914" y="117"/>
                    <a:pt x="1916" y="110"/>
                    <a:pt x="1918" y="111"/>
                  </a:cubicBezTo>
                  <a:cubicBezTo>
                    <a:pt x="1921" y="112"/>
                    <a:pt x="1920" y="118"/>
                    <a:pt x="1921" y="119"/>
                  </a:cubicBezTo>
                  <a:close/>
                  <a:moveTo>
                    <a:pt x="1913" y="71"/>
                  </a:moveTo>
                  <a:cubicBezTo>
                    <a:pt x="1915" y="71"/>
                    <a:pt x="1917" y="71"/>
                    <a:pt x="1918" y="71"/>
                  </a:cubicBezTo>
                  <a:cubicBezTo>
                    <a:pt x="1918" y="77"/>
                    <a:pt x="1918" y="83"/>
                    <a:pt x="1918" y="89"/>
                  </a:cubicBezTo>
                  <a:cubicBezTo>
                    <a:pt x="1916" y="87"/>
                    <a:pt x="1916" y="81"/>
                    <a:pt x="1910" y="82"/>
                  </a:cubicBezTo>
                  <a:cubicBezTo>
                    <a:pt x="1910" y="76"/>
                    <a:pt x="1913" y="75"/>
                    <a:pt x="1913" y="71"/>
                  </a:cubicBezTo>
                  <a:close/>
                  <a:moveTo>
                    <a:pt x="1897" y="111"/>
                  </a:moveTo>
                  <a:cubicBezTo>
                    <a:pt x="1904" y="113"/>
                    <a:pt x="1909" y="131"/>
                    <a:pt x="1897" y="130"/>
                  </a:cubicBezTo>
                  <a:cubicBezTo>
                    <a:pt x="1897" y="124"/>
                    <a:pt x="1897" y="117"/>
                    <a:pt x="1897" y="111"/>
                  </a:cubicBezTo>
                  <a:close/>
                  <a:moveTo>
                    <a:pt x="1894" y="137"/>
                  </a:moveTo>
                  <a:cubicBezTo>
                    <a:pt x="1891" y="136"/>
                    <a:pt x="1889" y="132"/>
                    <a:pt x="1889" y="126"/>
                  </a:cubicBezTo>
                  <a:cubicBezTo>
                    <a:pt x="1892" y="128"/>
                    <a:pt x="1894" y="131"/>
                    <a:pt x="1894" y="137"/>
                  </a:cubicBezTo>
                  <a:close/>
                  <a:moveTo>
                    <a:pt x="1875" y="126"/>
                  </a:moveTo>
                  <a:cubicBezTo>
                    <a:pt x="1884" y="126"/>
                    <a:pt x="1872" y="118"/>
                    <a:pt x="1873" y="108"/>
                  </a:cubicBezTo>
                  <a:cubicBezTo>
                    <a:pt x="1875" y="110"/>
                    <a:pt x="1879" y="111"/>
                    <a:pt x="1883" y="111"/>
                  </a:cubicBezTo>
                  <a:cubicBezTo>
                    <a:pt x="1883" y="116"/>
                    <a:pt x="1883" y="122"/>
                    <a:pt x="1886" y="122"/>
                  </a:cubicBezTo>
                  <a:cubicBezTo>
                    <a:pt x="1886" y="129"/>
                    <a:pt x="1877" y="125"/>
                    <a:pt x="1875" y="130"/>
                  </a:cubicBezTo>
                  <a:cubicBezTo>
                    <a:pt x="1876" y="137"/>
                    <a:pt x="1875" y="141"/>
                    <a:pt x="1870" y="141"/>
                  </a:cubicBezTo>
                  <a:cubicBezTo>
                    <a:pt x="1874" y="139"/>
                    <a:pt x="1867" y="126"/>
                    <a:pt x="1875" y="126"/>
                  </a:cubicBezTo>
                  <a:close/>
                  <a:moveTo>
                    <a:pt x="1878" y="152"/>
                  </a:moveTo>
                  <a:cubicBezTo>
                    <a:pt x="1879" y="149"/>
                    <a:pt x="1881" y="148"/>
                    <a:pt x="1881" y="145"/>
                  </a:cubicBezTo>
                  <a:cubicBezTo>
                    <a:pt x="1882" y="145"/>
                    <a:pt x="1884" y="145"/>
                    <a:pt x="1886" y="145"/>
                  </a:cubicBezTo>
                  <a:cubicBezTo>
                    <a:pt x="1887" y="152"/>
                    <a:pt x="1882" y="152"/>
                    <a:pt x="1878" y="152"/>
                  </a:cubicBezTo>
                  <a:close/>
                  <a:moveTo>
                    <a:pt x="1838" y="133"/>
                  </a:moveTo>
                  <a:cubicBezTo>
                    <a:pt x="1839" y="126"/>
                    <a:pt x="1841" y="136"/>
                    <a:pt x="1840" y="141"/>
                  </a:cubicBezTo>
                  <a:cubicBezTo>
                    <a:pt x="1839" y="148"/>
                    <a:pt x="1837" y="138"/>
                    <a:pt x="1838" y="133"/>
                  </a:cubicBezTo>
                  <a:close/>
                  <a:moveTo>
                    <a:pt x="1830" y="126"/>
                  </a:moveTo>
                  <a:cubicBezTo>
                    <a:pt x="1822" y="128"/>
                    <a:pt x="1827" y="112"/>
                    <a:pt x="1822" y="111"/>
                  </a:cubicBezTo>
                  <a:cubicBezTo>
                    <a:pt x="1825" y="101"/>
                    <a:pt x="1831" y="117"/>
                    <a:pt x="1830" y="126"/>
                  </a:cubicBezTo>
                  <a:close/>
                  <a:moveTo>
                    <a:pt x="1773" y="122"/>
                  </a:moveTo>
                  <a:cubicBezTo>
                    <a:pt x="1775" y="123"/>
                    <a:pt x="1776" y="126"/>
                    <a:pt x="1778" y="126"/>
                  </a:cubicBezTo>
                  <a:cubicBezTo>
                    <a:pt x="1778" y="129"/>
                    <a:pt x="1776" y="130"/>
                    <a:pt x="1776" y="133"/>
                  </a:cubicBezTo>
                  <a:cubicBezTo>
                    <a:pt x="1774" y="133"/>
                    <a:pt x="1773" y="130"/>
                    <a:pt x="1770" y="130"/>
                  </a:cubicBezTo>
                  <a:cubicBezTo>
                    <a:pt x="1771" y="127"/>
                    <a:pt x="1773" y="126"/>
                    <a:pt x="1773" y="122"/>
                  </a:cubicBezTo>
                  <a:close/>
                  <a:moveTo>
                    <a:pt x="1757" y="96"/>
                  </a:moveTo>
                  <a:cubicBezTo>
                    <a:pt x="1769" y="99"/>
                    <a:pt x="1755" y="119"/>
                    <a:pt x="1757" y="96"/>
                  </a:cubicBezTo>
                  <a:close/>
                  <a:moveTo>
                    <a:pt x="1711" y="163"/>
                  </a:moveTo>
                  <a:cubicBezTo>
                    <a:pt x="1717" y="164"/>
                    <a:pt x="1715" y="146"/>
                    <a:pt x="1709" y="152"/>
                  </a:cubicBezTo>
                  <a:cubicBezTo>
                    <a:pt x="1710" y="149"/>
                    <a:pt x="1711" y="145"/>
                    <a:pt x="1714" y="145"/>
                  </a:cubicBezTo>
                  <a:cubicBezTo>
                    <a:pt x="1723" y="135"/>
                    <a:pt x="1724" y="159"/>
                    <a:pt x="1725" y="137"/>
                  </a:cubicBezTo>
                  <a:cubicBezTo>
                    <a:pt x="1730" y="139"/>
                    <a:pt x="1730" y="148"/>
                    <a:pt x="1738" y="145"/>
                  </a:cubicBezTo>
                  <a:cubicBezTo>
                    <a:pt x="1736" y="155"/>
                    <a:pt x="1742" y="154"/>
                    <a:pt x="1741" y="163"/>
                  </a:cubicBezTo>
                  <a:cubicBezTo>
                    <a:pt x="1749" y="160"/>
                    <a:pt x="1739" y="151"/>
                    <a:pt x="1741" y="145"/>
                  </a:cubicBezTo>
                  <a:cubicBezTo>
                    <a:pt x="1746" y="151"/>
                    <a:pt x="1753" y="132"/>
                    <a:pt x="1760" y="141"/>
                  </a:cubicBezTo>
                  <a:cubicBezTo>
                    <a:pt x="1760" y="141"/>
                    <a:pt x="1760" y="145"/>
                    <a:pt x="1760" y="145"/>
                  </a:cubicBezTo>
                  <a:cubicBezTo>
                    <a:pt x="1761" y="144"/>
                    <a:pt x="1763" y="137"/>
                    <a:pt x="1762" y="137"/>
                  </a:cubicBezTo>
                  <a:cubicBezTo>
                    <a:pt x="1766" y="137"/>
                    <a:pt x="1766" y="147"/>
                    <a:pt x="1768" y="148"/>
                  </a:cubicBezTo>
                  <a:cubicBezTo>
                    <a:pt x="1772" y="151"/>
                    <a:pt x="1773" y="134"/>
                    <a:pt x="1778" y="145"/>
                  </a:cubicBezTo>
                  <a:cubicBezTo>
                    <a:pt x="1787" y="146"/>
                    <a:pt x="1779" y="126"/>
                    <a:pt x="1789" y="130"/>
                  </a:cubicBezTo>
                  <a:cubicBezTo>
                    <a:pt x="1788" y="135"/>
                    <a:pt x="1785" y="139"/>
                    <a:pt x="1784" y="145"/>
                  </a:cubicBezTo>
                  <a:cubicBezTo>
                    <a:pt x="1785" y="152"/>
                    <a:pt x="1794" y="147"/>
                    <a:pt x="1797" y="148"/>
                  </a:cubicBezTo>
                  <a:cubicBezTo>
                    <a:pt x="1797" y="148"/>
                    <a:pt x="1797" y="152"/>
                    <a:pt x="1797" y="152"/>
                  </a:cubicBezTo>
                  <a:cubicBezTo>
                    <a:pt x="1803" y="153"/>
                    <a:pt x="1811" y="148"/>
                    <a:pt x="1816" y="156"/>
                  </a:cubicBezTo>
                  <a:cubicBezTo>
                    <a:pt x="1816" y="156"/>
                    <a:pt x="1816" y="159"/>
                    <a:pt x="1816" y="159"/>
                  </a:cubicBezTo>
                  <a:cubicBezTo>
                    <a:pt x="1824" y="159"/>
                    <a:pt x="1822" y="138"/>
                    <a:pt x="1827" y="159"/>
                  </a:cubicBezTo>
                  <a:cubicBezTo>
                    <a:pt x="1831" y="158"/>
                    <a:pt x="1829" y="150"/>
                    <a:pt x="1830" y="145"/>
                  </a:cubicBezTo>
                  <a:cubicBezTo>
                    <a:pt x="1827" y="141"/>
                    <a:pt x="1824" y="137"/>
                    <a:pt x="1822" y="133"/>
                  </a:cubicBezTo>
                  <a:cubicBezTo>
                    <a:pt x="1821" y="122"/>
                    <a:pt x="1829" y="143"/>
                    <a:pt x="1830" y="130"/>
                  </a:cubicBezTo>
                  <a:cubicBezTo>
                    <a:pt x="1837" y="136"/>
                    <a:pt x="1826" y="166"/>
                    <a:pt x="1843" y="159"/>
                  </a:cubicBezTo>
                  <a:cubicBezTo>
                    <a:pt x="1842" y="162"/>
                    <a:pt x="1840" y="165"/>
                    <a:pt x="1840" y="170"/>
                  </a:cubicBezTo>
                  <a:cubicBezTo>
                    <a:pt x="1832" y="174"/>
                    <a:pt x="1832" y="165"/>
                    <a:pt x="1827" y="163"/>
                  </a:cubicBezTo>
                  <a:cubicBezTo>
                    <a:pt x="1820" y="163"/>
                    <a:pt x="1815" y="167"/>
                    <a:pt x="1811" y="167"/>
                  </a:cubicBezTo>
                  <a:cubicBezTo>
                    <a:pt x="1812" y="167"/>
                    <a:pt x="1808" y="155"/>
                    <a:pt x="1805" y="159"/>
                  </a:cubicBezTo>
                  <a:cubicBezTo>
                    <a:pt x="1803" y="164"/>
                    <a:pt x="1805" y="160"/>
                    <a:pt x="1803" y="159"/>
                  </a:cubicBezTo>
                  <a:cubicBezTo>
                    <a:pt x="1800" y="159"/>
                    <a:pt x="1800" y="163"/>
                    <a:pt x="1800" y="163"/>
                  </a:cubicBezTo>
                  <a:cubicBezTo>
                    <a:pt x="1794" y="162"/>
                    <a:pt x="1793" y="156"/>
                    <a:pt x="1787" y="156"/>
                  </a:cubicBezTo>
                  <a:cubicBezTo>
                    <a:pt x="1787" y="159"/>
                    <a:pt x="1790" y="159"/>
                    <a:pt x="1792" y="159"/>
                  </a:cubicBezTo>
                  <a:cubicBezTo>
                    <a:pt x="1789" y="166"/>
                    <a:pt x="1785" y="170"/>
                    <a:pt x="1784" y="178"/>
                  </a:cubicBezTo>
                  <a:cubicBezTo>
                    <a:pt x="1776" y="175"/>
                    <a:pt x="1787" y="169"/>
                    <a:pt x="1784" y="159"/>
                  </a:cubicBezTo>
                  <a:cubicBezTo>
                    <a:pt x="1781" y="159"/>
                    <a:pt x="1782" y="164"/>
                    <a:pt x="1781" y="167"/>
                  </a:cubicBezTo>
                  <a:cubicBezTo>
                    <a:pt x="1778" y="164"/>
                    <a:pt x="1778" y="158"/>
                    <a:pt x="1773" y="159"/>
                  </a:cubicBezTo>
                  <a:cubicBezTo>
                    <a:pt x="1773" y="156"/>
                    <a:pt x="1773" y="152"/>
                    <a:pt x="1773" y="148"/>
                  </a:cubicBezTo>
                  <a:cubicBezTo>
                    <a:pt x="1770" y="147"/>
                    <a:pt x="1764" y="159"/>
                    <a:pt x="1770" y="159"/>
                  </a:cubicBezTo>
                  <a:cubicBezTo>
                    <a:pt x="1769" y="163"/>
                    <a:pt x="1764" y="163"/>
                    <a:pt x="1765" y="170"/>
                  </a:cubicBezTo>
                  <a:cubicBezTo>
                    <a:pt x="1760" y="164"/>
                    <a:pt x="1762" y="171"/>
                    <a:pt x="1754" y="170"/>
                  </a:cubicBezTo>
                  <a:cubicBezTo>
                    <a:pt x="1754" y="160"/>
                    <a:pt x="1759" y="163"/>
                    <a:pt x="1754" y="156"/>
                  </a:cubicBezTo>
                  <a:cubicBezTo>
                    <a:pt x="1750" y="159"/>
                    <a:pt x="1749" y="165"/>
                    <a:pt x="1749" y="174"/>
                  </a:cubicBezTo>
                  <a:cubicBezTo>
                    <a:pt x="1747" y="172"/>
                    <a:pt x="1744" y="171"/>
                    <a:pt x="1744" y="167"/>
                  </a:cubicBezTo>
                  <a:cubicBezTo>
                    <a:pt x="1741" y="168"/>
                    <a:pt x="1741" y="170"/>
                    <a:pt x="1738" y="170"/>
                  </a:cubicBezTo>
                  <a:cubicBezTo>
                    <a:pt x="1734" y="171"/>
                    <a:pt x="1734" y="167"/>
                    <a:pt x="1730" y="167"/>
                  </a:cubicBezTo>
                  <a:cubicBezTo>
                    <a:pt x="1725" y="166"/>
                    <a:pt x="1722" y="176"/>
                    <a:pt x="1722" y="163"/>
                  </a:cubicBezTo>
                  <a:cubicBezTo>
                    <a:pt x="1717" y="159"/>
                    <a:pt x="1718" y="170"/>
                    <a:pt x="1717" y="170"/>
                  </a:cubicBezTo>
                  <a:cubicBezTo>
                    <a:pt x="1716" y="171"/>
                    <a:pt x="1706" y="163"/>
                    <a:pt x="1698" y="167"/>
                  </a:cubicBezTo>
                  <a:cubicBezTo>
                    <a:pt x="1700" y="155"/>
                    <a:pt x="1695" y="153"/>
                    <a:pt x="1695" y="145"/>
                  </a:cubicBezTo>
                  <a:cubicBezTo>
                    <a:pt x="1704" y="146"/>
                    <a:pt x="1704" y="160"/>
                    <a:pt x="1711" y="163"/>
                  </a:cubicBezTo>
                  <a:close/>
                  <a:moveTo>
                    <a:pt x="1832" y="196"/>
                  </a:moveTo>
                  <a:cubicBezTo>
                    <a:pt x="1824" y="194"/>
                    <a:pt x="1836" y="191"/>
                    <a:pt x="1835" y="185"/>
                  </a:cubicBezTo>
                  <a:cubicBezTo>
                    <a:pt x="1844" y="189"/>
                    <a:pt x="1832" y="193"/>
                    <a:pt x="1832" y="196"/>
                  </a:cubicBezTo>
                  <a:close/>
                  <a:moveTo>
                    <a:pt x="1838" y="1199"/>
                  </a:moveTo>
                  <a:cubicBezTo>
                    <a:pt x="1841" y="1198"/>
                    <a:pt x="1840" y="1202"/>
                    <a:pt x="1840" y="1202"/>
                  </a:cubicBezTo>
                  <a:cubicBezTo>
                    <a:pt x="1843" y="1203"/>
                    <a:pt x="1854" y="1199"/>
                    <a:pt x="1851" y="1210"/>
                  </a:cubicBezTo>
                  <a:cubicBezTo>
                    <a:pt x="1843" y="1212"/>
                    <a:pt x="1841" y="1206"/>
                    <a:pt x="1835" y="1206"/>
                  </a:cubicBezTo>
                  <a:cubicBezTo>
                    <a:pt x="1836" y="1206"/>
                    <a:pt x="1837" y="1199"/>
                    <a:pt x="1838" y="1199"/>
                  </a:cubicBezTo>
                  <a:close/>
                  <a:moveTo>
                    <a:pt x="1784" y="244"/>
                  </a:moveTo>
                  <a:cubicBezTo>
                    <a:pt x="1785" y="239"/>
                    <a:pt x="1792" y="241"/>
                    <a:pt x="1789" y="230"/>
                  </a:cubicBezTo>
                  <a:cubicBezTo>
                    <a:pt x="1792" y="232"/>
                    <a:pt x="1793" y="236"/>
                    <a:pt x="1795" y="241"/>
                  </a:cubicBezTo>
                  <a:cubicBezTo>
                    <a:pt x="1797" y="238"/>
                    <a:pt x="1799" y="234"/>
                    <a:pt x="1800" y="230"/>
                  </a:cubicBezTo>
                  <a:cubicBezTo>
                    <a:pt x="1804" y="231"/>
                    <a:pt x="1802" y="239"/>
                    <a:pt x="1803" y="244"/>
                  </a:cubicBezTo>
                  <a:cubicBezTo>
                    <a:pt x="1807" y="249"/>
                    <a:pt x="1809" y="255"/>
                    <a:pt x="1816" y="255"/>
                  </a:cubicBezTo>
                  <a:cubicBezTo>
                    <a:pt x="1814" y="266"/>
                    <a:pt x="1808" y="250"/>
                    <a:pt x="1800" y="255"/>
                  </a:cubicBezTo>
                  <a:cubicBezTo>
                    <a:pt x="1801" y="238"/>
                    <a:pt x="1795" y="249"/>
                    <a:pt x="1784" y="244"/>
                  </a:cubicBezTo>
                  <a:close/>
                  <a:moveTo>
                    <a:pt x="1805" y="226"/>
                  </a:moveTo>
                  <a:cubicBezTo>
                    <a:pt x="1796" y="232"/>
                    <a:pt x="1804" y="213"/>
                    <a:pt x="1797" y="215"/>
                  </a:cubicBezTo>
                  <a:cubicBezTo>
                    <a:pt x="1800" y="205"/>
                    <a:pt x="1808" y="217"/>
                    <a:pt x="1805" y="226"/>
                  </a:cubicBezTo>
                  <a:close/>
                  <a:moveTo>
                    <a:pt x="1797" y="189"/>
                  </a:moveTo>
                  <a:cubicBezTo>
                    <a:pt x="1800" y="178"/>
                    <a:pt x="1804" y="194"/>
                    <a:pt x="1811" y="189"/>
                  </a:cubicBezTo>
                  <a:cubicBezTo>
                    <a:pt x="1810" y="198"/>
                    <a:pt x="1799" y="191"/>
                    <a:pt x="1797" y="189"/>
                  </a:cubicBezTo>
                  <a:close/>
                  <a:moveTo>
                    <a:pt x="1730" y="1254"/>
                  </a:moveTo>
                  <a:cubicBezTo>
                    <a:pt x="1728" y="1255"/>
                    <a:pt x="1727" y="1258"/>
                    <a:pt x="1725" y="1258"/>
                  </a:cubicBezTo>
                  <a:cubicBezTo>
                    <a:pt x="1720" y="1258"/>
                    <a:pt x="1723" y="1270"/>
                    <a:pt x="1719" y="1273"/>
                  </a:cubicBezTo>
                  <a:cubicBezTo>
                    <a:pt x="1715" y="1265"/>
                    <a:pt x="1716" y="1269"/>
                    <a:pt x="1709" y="1265"/>
                  </a:cubicBezTo>
                  <a:cubicBezTo>
                    <a:pt x="1708" y="1258"/>
                    <a:pt x="1718" y="1265"/>
                    <a:pt x="1719" y="1261"/>
                  </a:cubicBezTo>
                  <a:cubicBezTo>
                    <a:pt x="1720" y="1261"/>
                    <a:pt x="1715" y="1252"/>
                    <a:pt x="1717" y="1250"/>
                  </a:cubicBezTo>
                  <a:cubicBezTo>
                    <a:pt x="1719" y="1248"/>
                    <a:pt x="1730" y="1259"/>
                    <a:pt x="1727" y="1243"/>
                  </a:cubicBezTo>
                  <a:cubicBezTo>
                    <a:pt x="1731" y="1232"/>
                    <a:pt x="1728" y="1261"/>
                    <a:pt x="1738" y="1254"/>
                  </a:cubicBezTo>
                  <a:cubicBezTo>
                    <a:pt x="1748" y="1256"/>
                    <a:pt x="1728" y="1263"/>
                    <a:pt x="1730" y="1254"/>
                  </a:cubicBezTo>
                  <a:close/>
                  <a:moveTo>
                    <a:pt x="1738" y="1265"/>
                  </a:moveTo>
                  <a:cubicBezTo>
                    <a:pt x="1732" y="1277"/>
                    <a:pt x="1725" y="1255"/>
                    <a:pt x="1738" y="1265"/>
                  </a:cubicBezTo>
                  <a:close/>
                  <a:moveTo>
                    <a:pt x="1725" y="1206"/>
                  </a:moveTo>
                  <a:cubicBezTo>
                    <a:pt x="1721" y="1207"/>
                    <a:pt x="1724" y="1217"/>
                    <a:pt x="1719" y="1217"/>
                  </a:cubicBezTo>
                  <a:cubicBezTo>
                    <a:pt x="1720" y="1221"/>
                    <a:pt x="1724" y="1220"/>
                    <a:pt x="1727" y="1221"/>
                  </a:cubicBezTo>
                  <a:cubicBezTo>
                    <a:pt x="1727" y="1226"/>
                    <a:pt x="1727" y="1231"/>
                    <a:pt x="1727" y="1235"/>
                  </a:cubicBezTo>
                  <a:cubicBezTo>
                    <a:pt x="1725" y="1235"/>
                    <a:pt x="1725" y="1231"/>
                    <a:pt x="1725" y="1228"/>
                  </a:cubicBezTo>
                  <a:cubicBezTo>
                    <a:pt x="1724" y="1223"/>
                    <a:pt x="1718" y="1225"/>
                    <a:pt x="1714" y="1225"/>
                  </a:cubicBezTo>
                  <a:cubicBezTo>
                    <a:pt x="1713" y="1216"/>
                    <a:pt x="1715" y="1211"/>
                    <a:pt x="1719" y="1210"/>
                  </a:cubicBezTo>
                  <a:cubicBezTo>
                    <a:pt x="1719" y="1204"/>
                    <a:pt x="1711" y="1208"/>
                    <a:pt x="1711" y="1202"/>
                  </a:cubicBezTo>
                  <a:cubicBezTo>
                    <a:pt x="1709" y="1191"/>
                    <a:pt x="1717" y="1196"/>
                    <a:pt x="1722" y="1195"/>
                  </a:cubicBezTo>
                  <a:cubicBezTo>
                    <a:pt x="1722" y="1192"/>
                    <a:pt x="1722" y="1190"/>
                    <a:pt x="1722" y="1187"/>
                  </a:cubicBezTo>
                  <a:cubicBezTo>
                    <a:pt x="1726" y="1189"/>
                    <a:pt x="1724" y="1197"/>
                    <a:pt x="1725" y="1202"/>
                  </a:cubicBezTo>
                  <a:cubicBezTo>
                    <a:pt x="1733" y="1205"/>
                    <a:pt x="1733" y="1195"/>
                    <a:pt x="1738" y="1202"/>
                  </a:cubicBezTo>
                  <a:cubicBezTo>
                    <a:pt x="1739" y="1210"/>
                    <a:pt x="1729" y="1204"/>
                    <a:pt x="1725" y="1206"/>
                  </a:cubicBezTo>
                  <a:close/>
                  <a:moveTo>
                    <a:pt x="1719" y="577"/>
                  </a:moveTo>
                  <a:cubicBezTo>
                    <a:pt x="1719" y="581"/>
                    <a:pt x="1716" y="580"/>
                    <a:pt x="1714" y="581"/>
                  </a:cubicBezTo>
                  <a:cubicBezTo>
                    <a:pt x="1714" y="578"/>
                    <a:pt x="1713" y="577"/>
                    <a:pt x="1711" y="577"/>
                  </a:cubicBezTo>
                  <a:cubicBezTo>
                    <a:pt x="1712" y="573"/>
                    <a:pt x="1717" y="575"/>
                    <a:pt x="1717" y="570"/>
                  </a:cubicBezTo>
                  <a:cubicBezTo>
                    <a:pt x="1720" y="571"/>
                    <a:pt x="1718" y="574"/>
                    <a:pt x="1717" y="574"/>
                  </a:cubicBezTo>
                  <a:cubicBezTo>
                    <a:pt x="1716" y="577"/>
                    <a:pt x="1718" y="577"/>
                    <a:pt x="1719" y="577"/>
                  </a:cubicBezTo>
                  <a:close/>
                  <a:moveTo>
                    <a:pt x="1722" y="614"/>
                  </a:moveTo>
                  <a:cubicBezTo>
                    <a:pt x="1718" y="616"/>
                    <a:pt x="1717" y="611"/>
                    <a:pt x="1717" y="607"/>
                  </a:cubicBezTo>
                  <a:cubicBezTo>
                    <a:pt x="1711" y="608"/>
                    <a:pt x="1708" y="606"/>
                    <a:pt x="1709" y="599"/>
                  </a:cubicBezTo>
                  <a:cubicBezTo>
                    <a:pt x="1719" y="597"/>
                    <a:pt x="1728" y="606"/>
                    <a:pt x="1722" y="614"/>
                  </a:cubicBezTo>
                  <a:close/>
                  <a:moveTo>
                    <a:pt x="1741" y="559"/>
                  </a:moveTo>
                  <a:cubicBezTo>
                    <a:pt x="1744" y="560"/>
                    <a:pt x="1742" y="562"/>
                    <a:pt x="1741" y="562"/>
                  </a:cubicBezTo>
                  <a:cubicBezTo>
                    <a:pt x="1739" y="576"/>
                    <a:pt x="1754" y="590"/>
                    <a:pt x="1738" y="592"/>
                  </a:cubicBezTo>
                  <a:cubicBezTo>
                    <a:pt x="1739" y="589"/>
                    <a:pt x="1741" y="585"/>
                    <a:pt x="1744" y="585"/>
                  </a:cubicBezTo>
                  <a:cubicBezTo>
                    <a:pt x="1744" y="577"/>
                    <a:pt x="1734" y="583"/>
                    <a:pt x="1730" y="581"/>
                  </a:cubicBezTo>
                  <a:cubicBezTo>
                    <a:pt x="1733" y="573"/>
                    <a:pt x="1738" y="567"/>
                    <a:pt x="1741" y="559"/>
                  </a:cubicBezTo>
                  <a:close/>
                  <a:moveTo>
                    <a:pt x="1738" y="230"/>
                  </a:moveTo>
                  <a:cubicBezTo>
                    <a:pt x="1738" y="227"/>
                    <a:pt x="1738" y="225"/>
                    <a:pt x="1738" y="222"/>
                  </a:cubicBezTo>
                  <a:cubicBezTo>
                    <a:pt x="1744" y="220"/>
                    <a:pt x="1743" y="228"/>
                    <a:pt x="1744" y="233"/>
                  </a:cubicBezTo>
                  <a:cubicBezTo>
                    <a:pt x="1741" y="233"/>
                    <a:pt x="1741" y="230"/>
                    <a:pt x="1738" y="230"/>
                  </a:cubicBezTo>
                  <a:close/>
                  <a:moveTo>
                    <a:pt x="1754" y="222"/>
                  </a:moveTo>
                  <a:cubicBezTo>
                    <a:pt x="1761" y="224"/>
                    <a:pt x="1753" y="246"/>
                    <a:pt x="1762" y="244"/>
                  </a:cubicBezTo>
                  <a:cubicBezTo>
                    <a:pt x="1760" y="263"/>
                    <a:pt x="1753" y="236"/>
                    <a:pt x="1749" y="248"/>
                  </a:cubicBezTo>
                  <a:cubicBezTo>
                    <a:pt x="1742" y="247"/>
                    <a:pt x="1747" y="231"/>
                    <a:pt x="1754" y="237"/>
                  </a:cubicBezTo>
                  <a:cubicBezTo>
                    <a:pt x="1753" y="224"/>
                    <a:pt x="1746" y="231"/>
                    <a:pt x="1754" y="222"/>
                  </a:cubicBezTo>
                  <a:close/>
                  <a:moveTo>
                    <a:pt x="1754" y="204"/>
                  </a:moveTo>
                  <a:cubicBezTo>
                    <a:pt x="1754" y="199"/>
                    <a:pt x="1754" y="194"/>
                    <a:pt x="1754" y="189"/>
                  </a:cubicBezTo>
                  <a:cubicBezTo>
                    <a:pt x="1756" y="189"/>
                    <a:pt x="1758" y="189"/>
                    <a:pt x="1760" y="189"/>
                  </a:cubicBezTo>
                  <a:cubicBezTo>
                    <a:pt x="1760" y="194"/>
                    <a:pt x="1760" y="199"/>
                    <a:pt x="1760" y="204"/>
                  </a:cubicBezTo>
                  <a:cubicBezTo>
                    <a:pt x="1758" y="204"/>
                    <a:pt x="1756" y="204"/>
                    <a:pt x="1754" y="204"/>
                  </a:cubicBezTo>
                  <a:close/>
                  <a:moveTo>
                    <a:pt x="1754" y="618"/>
                  </a:moveTo>
                  <a:cubicBezTo>
                    <a:pt x="1759" y="617"/>
                    <a:pt x="1759" y="621"/>
                    <a:pt x="1762" y="622"/>
                  </a:cubicBezTo>
                  <a:cubicBezTo>
                    <a:pt x="1763" y="629"/>
                    <a:pt x="1750" y="627"/>
                    <a:pt x="1754" y="618"/>
                  </a:cubicBezTo>
                  <a:close/>
                  <a:moveTo>
                    <a:pt x="1741" y="784"/>
                  </a:moveTo>
                  <a:cubicBezTo>
                    <a:pt x="1741" y="785"/>
                    <a:pt x="1743" y="777"/>
                    <a:pt x="1744" y="777"/>
                  </a:cubicBezTo>
                  <a:cubicBezTo>
                    <a:pt x="1744" y="777"/>
                    <a:pt x="1743" y="773"/>
                    <a:pt x="1744" y="773"/>
                  </a:cubicBezTo>
                  <a:cubicBezTo>
                    <a:pt x="1753" y="771"/>
                    <a:pt x="1744" y="790"/>
                    <a:pt x="1741" y="784"/>
                  </a:cubicBezTo>
                  <a:close/>
                  <a:moveTo>
                    <a:pt x="1735" y="640"/>
                  </a:moveTo>
                  <a:cubicBezTo>
                    <a:pt x="1736" y="636"/>
                    <a:pt x="1735" y="634"/>
                    <a:pt x="1733" y="633"/>
                  </a:cubicBezTo>
                  <a:cubicBezTo>
                    <a:pt x="1737" y="619"/>
                    <a:pt x="1737" y="641"/>
                    <a:pt x="1744" y="636"/>
                  </a:cubicBezTo>
                  <a:cubicBezTo>
                    <a:pt x="1743" y="645"/>
                    <a:pt x="1740" y="652"/>
                    <a:pt x="1738" y="659"/>
                  </a:cubicBezTo>
                  <a:cubicBezTo>
                    <a:pt x="1734" y="667"/>
                    <a:pt x="1739" y="635"/>
                    <a:pt x="1735" y="640"/>
                  </a:cubicBezTo>
                  <a:close/>
                  <a:moveTo>
                    <a:pt x="1730" y="603"/>
                  </a:moveTo>
                  <a:cubicBezTo>
                    <a:pt x="1736" y="612"/>
                    <a:pt x="1744" y="596"/>
                    <a:pt x="1744" y="614"/>
                  </a:cubicBezTo>
                  <a:cubicBezTo>
                    <a:pt x="1739" y="611"/>
                    <a:pt x="1729" y="614"/>
                    <a:pt x="1730" y="603"/>
                  </a:cubicBezTo>
                  <a:close/>
                  <a:moveTo>
                    <a:pt x="1733" y="566"/>
                  </a:moveTo>
                  <a:cubicBezTo>
                    <a:pt x="1731" y="568"/>
                    <a:pt x="1727" y="565"/>
                    <a:pt x="1727" y="570"/>
                  </a:cubicBezTo>
                  <a:cubicBezTo>
                    <a:pt x="1723" y="568"/>
                    <a:pt x="1725" y="564"/>
                    <a:pt x="1727" y="562"/>
                  </a:cubicBezTo>
                  <a:cubicBezTo>
                    <a:pt x="1731" y="560"/>
                    <a:pt x="1741" y="559"/>
                    <a:pt x="1733" y="566"/>
                  </a:cubicBezTo>
                  <a:close/>
                  <a:moveTo>
                    <a:pt x="1727" y="688"/>
                  </a:moveTo>
                  <a:cubicBezTo>
                    <a:pt x="1726" y="695"/>
                    <a:pt x="1731" y="711"/>
                    <a:pt x="1722" y="707"/>
                  </a:cubicBezTo>
                  <a:cubicBezTo>
                    <a:pt x="1727" y="700"/>
                    <a:pt x="1722" y="687"/>
                    <a:pt x="1717" y="684"/>
                  </a:cubicBezTo>
                  <a:cubicBezTo>
                    <a:pt x="1721" y="671"/>
                    <a:pt x="1721" y="693"/>
                    <a:pt x="1727" y="688"/>
                  </a:cubicBezTo>
                  <a:close/>
                  <a:moveTo>
                    <a:pt x="1738" y="1165"/>
                  </a:moveTo>
                  <a:cubicBezTo>
                    <a:pt x="1742" y="1168"/>
                    <a:pt x="1743" y="1173"/>
                    <a:pt x="1744" y="1180"/>
                  </a:cubicBezTo>
                  <a:cubicBezTo>
                    <a:pt x="1739" y="1179"/>
                    <a:pt x="1737" y="1174"/>
                    <a:pt x="1738" y="1165"/>
                  </a:cubicBezTo>
                  <a:close/>
                  <a:moveTo>
                    <a:pt x="1757" y="1206"/>
                  </a:moveTo>
                  <a:cubicBezTo>
                    <a:pt x="1750" y="1207"/>
                    <a:pt x="1751" y="1199"/>
                    <a:pt x="1744" y="1202"/>
                  </a:cubicBezTo>
                  <a:cubicBezTo>
                    <a:pt x="1744" y="1191"/>
                    <a:pt x="1760" y="1192"/>
                    <a:pt x="1757" y="1206"/>
                  </a:cubicBezTo>
                  <a:close/>
                  <a:moveTo>
                    <a:pt x="1757" y="1235"/>
                  </a:moveTo>
                  <a:cubicBezTo>
                    <a:pt x="1760" y="1237"/>
                    <a:pt x="1763" y="1240"/>
                    <a:pt x="1762" y="1247"/>
                  </a:cubicBezTo>
                  <a:cubicBezTo>
                    <a:pt x="1753" y="1250"/>
                    <a:pt x="1753" y="1241"/>
                    <a:pt x="1757" y="1235"/>
                  </a:cubicBezTo>
                  <a:close/>
                  <a:moveTo>
                    <a:pt x="1760" y="696"/>
                  </a:moveTo>
                  <a:cubicBezTo>
                    <a:pt x="1764" y="695"/>
                    <a:pt x="1765" y="699"/>
                    <a:pt x="1762" y="699"/>
                  </a:cubicBezTo>
                  <a:cubicBezTo>
                    <a:pt x="1763" y="709"/>
                    <a:pt x="1767" y="711"/>
                    <a:pt x="1762" y="718"/>
                  </a:cubicBezTo>
                  <a:cubicBezTo>
                    <a:pt x="1756" y="717"/>
                    <a:pt x="1761" y="702"/>
                    <a:pt x="1760" y="696"/>
                  </a:cubicBezTo>
                  <a:close/>
                  <a:moveTo>
                    <a:pt x="1706" y="640"/>
                  </a:moveTo>
                  <a:cubicBezTo>
                    <a:pt x="1711" y="640"/>
                    <a:pt x="1705" y="656"/>
                    <a:pt x="1698" y="651"/>
                  </a:cubicBezTo>
                  <a:cubicBezTo>
                    <a:pt x="1698" y="644"/>
                    <a:pt x="1707" y="649"/>
                    <a:pt x="1706" y="640"/>
                  </a:cubicBezTo>
                  <a:close/>
                  <a:moveTo>
                    <a:pt x="1698" y="540"/>
                  </a:moveTo>
                  <a:cubicBezTo>
                    <a:pt x="1699" y="533"/>
                    <a:pt x="1701" y="543"/>
                    <a:pt x="1700" y="548"/>
                  </a:cubicBezTo>
                  <a:cubicBezTo>
                    <a:pt x="1700" y="555"/>
                    <a:pt x="1697" y="545"/>
                    <a:pt x="1698" y="540"/>
                  </a:cubicBezTo>
                  <a:close/>
                  <a:moveTo>
                    <a:pt x="1698" y="200"/>
                  </a:moveTo>
                  <a:cubicBezTo>
                    <a:pt x="1700" y="200"/>
                    <a:pt x="1701" y="200"/>
                    <a:pt x="1703" y="200"/>
                  </a:cubicBezTo>
                  <a:cubicBezTo>
                    <a:pt x="1704" y="210"/>
                    <a:pt x="1683" y="199"/>
                    <a:pt x="1698" y="200"/>
                  </a:cubicBezTo>
                  <a:close/>
                  <a:moveTo>
                    <a:pt x="1684" y="566"/>
                  </a:moveTo>
                  <a:cubicBezTo>
                    <a:pt x="1684" y="560"/>
                    <a:pt x="1699" y="560"/>
                    <a:pt x="1695" y="570"/>
                  </a:cubicBezTo>
                  <a:cubicBezTo>
                    <a:pt x="1690" y="570"/>
                    <a:pt x="1689" y="565"/>
                    <a:pt x="1684" y="566"/>
                  </a:cubicBezTo>
                  <a:close/>
                  <a:moveTo>
                    <a:pt x="1692" y="622"/>
                  </a:moveTo>
                  <a:cubicBezTo>
                    <a:pt x="1692" y="624"/>
                    <a:pt x="1692" y="627"/>
                    <a:pt x="1692" y="629"/>
                  </a:cubicBezTo>
                  <a:cubicBezTo>
                    <a:pt x="1691" y="629"/>
                    <a:pt x="1689" y="629"/>
                    <a:pt x="1687" y="629"/>
                  </a:cubicBezTo>
                  <a:cubicBezTo>
                    <a:pt x="1687" y="627"/>
                    <a:pt x="1687" y="624"/>
                    <a:pt x="1687" y="622"/>
                  </a:cubicBezTo>
                  <a:cubicBezTo>
                    <a:pt x="1689" y="622"/>
                    <a:pt x="1691" y="622"/>
                    <a:pt x="1692" y="622"/>
                  </a:cubicBezTo>
                  <a:close/>
                  <a:moveTo>
                    <a:pt x="1690" y="63"/>
                  </a:moveTo>
                  <a:cubicBezTo>
                    <a:pt x="1699" y="70"/>
                    <a:pt x="1686" y="73"/>
                    <a:pt x="1684" y="71"/>
                  </a:cubicBezTo>
                  <a:cubicBezTo>
                    <a:pt x="1683" y="69"/>
                    <a:pt x="1691" y="66"/>
                    <a:pt x="1690" y="63"/>
                  </a:cubicBezTo>
                  <a:close/>
                  <a:moveTo>
                    <a:pt x="1684" y="1184"/>
                  </a:moveTo>
                  <a:cubicBezTo>
                    <a:pt x="1695" y="1183"/>
                    <a:pt x="1685" y="1187"/>
                    <a:pt x="1687" y="1195"/>
                  </a:cubicBezTo>
                  <a:cubicBezTo>
                    <a:pt x="1699" y="1195"/>
                    <a:pt x="1691" y="1186"/>
                    <a:pt x="1695" y="1180"/>
                  </a:cubicBezTo>
                  <a:cubicBezTo>
                    <a:pt x="1703" y="1180"/>
                    <a:pt x="1693" y="1203"/>
                    <a:pt x="1700" y="1202"/>
                  </a:cubicBezTo>
                  <a:cubicBezTo>
                    <a:pt x="1696" y="1213"/>
                    <a:pt x="1688" y="1197"/>
                    <a:pt x="1679" y="1202"/>
                  </a:cubicBezTo>
                  <a:cubicBezTo>
                    <a:pt x="1680" y="1195"/>
                    <a:pt x="1687" y="1196"/>
                    <a:pt x="1684" y="1184"/>
                  </a:cubicBezTo>
                  <a:close/>
                  <a:moveTo>
                    <a:pt x="1671" y="185"/>
                  </a:moveTo>
                  <a:cubicBezTo>
                    <a:pt x="1677" y="183"/>
                    <a:pt x="1681" y="207"/>
                    <a:pt x="1671" y="204"/>
                  </a:cubicBezTo>
                  <a:cubicBezTo>
                    <a:pt x="1675" y="198"/>
                    <a:pt x="1673" y="192"/>
                    <a:pt x="1666" y="193"/>
                  </a:cubicBezTo>
                  <a:cubicBezTo>
                    <a:pt x="1666" y="189"/>
                    <a:pt x="1671" y="190"/>
                    <a:pt x="1671" y="185"/>
                  </a:cubicBezTo>
                  <a:close/>
                  <a:moveTo>
                    <a:pt x="1668" y="215"/>
                  </a:moveTo>
                  <a:cubicBezTo>
                    <a:pt x="1676" y="215"/>
                    <a:pt x="1674" y="209"/>
                    <a:pt x="1679" y="215"/>
                  </a:cubicBezTo>
                  <a:cubicBezTo>
                    <a:pt x="1678" y="218"/>
                    <a:pt x="1676" y="221"/>
                    <a:pt x="1676" y="226"/>
                  </a:cubicBezTo>
                  <a:cubicBezTo>
                    <a:pt x="1668" y="229"/>
                    <a:pt x="1673" y="214"/>
                    <a:pt x="1666" y="215"/>
                  </a:cubicBezTo>
                  <a:cubicBezTo>
                    <a:pt x="1660" y="212"/>
                    <a:pt x="1668" y="209"/>
                    <a:pt x="1668" y="215"/>
                  </a:cubicBezTo>
                  <a:close/>
                  <a:moveTo>
                    <a:pt x="1668" y="237"/>
                  </a:moveTo>
                  <a:cubicBezTo>
                    <a:pt x="1669" y="234"/>
                    <a:pt x="1671" y="233"/>
                    <a:pt x="1671" y="230"/>
                  </a:cubicBezTo>
                  <a:cubicBezTo>
                    <a:pt x="1674" y="231"/>
                    <a:pt x="1676" y="234"/>
                    <a:pt x="1676" y="241"/>
                  </a:cubicBezTo>
                  <a:cubicBezTo>
                    <a:pt x="1672" y="242"/>
                    <a:pt x="1672" y="237"/>
                    <a:pt x="1668" y="237"/>
                  </a:cubicBezTo>
                  <a:close/>
                  <a:moveTo>
                    <a:pt x="1676" y="692"/>
                  </a:moveTo>
                  <a:cubicBezTo>
                    <a:pt x="1676" y="694"/>
                    <a:pt x="1676" y="697"/>
                    <a:pt x="1676" y="699"/>
                  </a:cubicBezTo>
                  <a:cubicBezTo>
                    <a:pt x="1675" y="699"/>
                    <a:pt x="1673" y="699"/>
                    <a:pt x="1671" y="699"/>
                  </a:cubicBezTo>
                  <a:cubicBezTo>
                    <a:pt x="1671" y="697"/>
                    <a:pt x="1671" y="694"/>
                    <a:pt x="1671" y="692"/>
                  </a:cubicBezTo>
                  <a:cubicBezTo>
                    <a:pt x="1673" y="692"/>
                    <a:pt x="1675" y="692"/>
                    <a:pt x="1676" y="692"/>
                  </a:cubicBezTo>
                  <a:close/>
                  <a:moveTo>
                    <a:pt x="1668" y="648"/>
                  </a:moveTo>
                  <a:cubicBezTo>
                    <a:pt x="1660" y="661"/>
                    <a:pt x="1659" y="636"/>
                    <a:pt x="1668" y="648"/>
                  </a:cubicBezTo>
                  <a:close/>
                  <a:moveTo>
                    <a:pt x="1663" y="1162"/>
                  </a:moveTo>
                  <a:cubicBezTo>
                    <a:pt x="1661" y="1161"/>
                    <a:pt x="1660" y="1163"/>
                    <a:pt x="1660" y="1165"/>
                  </a:cubicBezTo>
                  <a:cubicBezTo>
                    <a:pt x="1657" y="1165"/>
                    <a:pt x="1658" y="1159"/>
                    <a:pt x="1657" y="1154"/>
                  </a:cubicBezTo>
                  <a:cubicBezTo>
                    <a:pt x="1662" y="1153"/>
                    <a:pt x="1663" y="1157"/>
                    <a:pt x="1663" y="1162"/>
                  </a:cubicBezTo>
                  <a:close/>
                  <a:moveTo>
                    <a:pt x="1655" y="233"/>
                  </a:moveTo>
                  <a:cubicBezTo>
                    <a:pt x="1658" y="234"/>
                    <a:pt x="1657" y="241"/>
                    <a:pt x="1660" y="241"/>
                  </a:cubicBezTo>
                  <a:cubicBezTo>
                    <a:pt x="1659" y="251"/>
                    <a:pt x="1652" y="241"/>
                    <a:pt x="1655" y="233"/>
                  </a:cubicBezTo>
                  <a:close/>
                  <a:moveTo>
                    <a:pt x="1671" y="1254"/>
                  </a:moveTo>
                  <a:cubicBezTo>
                    <a:pt x="1670" y="1260"/>
                    <a:pt x="1673" y="1261"/>
                    <a:pt x="1676" y="1261"/>
                  </a:cubicBezTo>
                  <a:cubicBezTo>
                    <a:pt x="1675" y="1272"/>
                    <a:pt x="1668" y="1261"/>
                    <a:pt x="1666" y="1261"/>
                  </a:cubicBezTo>
                  <a:cubicBezTo>
                    <a:pt x="1660" y="1262"/>
                    <a:pt x="1659" y="1268"/>
                    <a:pt x="1652" y="1269"/>
                  </a:cubicBezTo>
                  <a:cubicBezTo>
                    <a:pt x="1652" y="1259"/>
                    <a:pt x="1660" y="1259"/>
                    <a:pt x="1663" y="1254"/>
                  </a:cubicBezTo>
                  <a:cubicBezTo>
                    <a:pt x="1662" y="1250"/>
                    <a:pt x="1658" y="1251"/>
                    <a:pt x="1655" y="1250"/>
                  </a:cubicBezTo>
                  <a:cubicBezTo>
                    <a:pt x="1652" y="1253"/>
                    <a:pt x="1652" y="1259"/>
                    <a:pt x="1647" y="1258"/>
                  </a:cubicBezTo>
                  <a:cubicBezTo>
                    <a:pt x="1643" y="1243"/>
                    <a:pt x="1655" y="1249"/>
                    <a:pt x="1655" y="1239"/>
                  </a:cubicBezTo>
                  <a:cubicBezTo>
                    <a:pt x="1657" y="1239"/>
                    <a:pt x="1657" y="1241"/>
                    <a:pt x="1657" y="1243"/>
                  </a:cubicBezTo>
                  <a:cubicBezTo>
                    <a:pt x="1662" y="1251"/>
                    <a:pt x="1679" y="1244"/>
                    <a:pt x="1684" y="1250"/>
                  </a:cubicBezTo>
                  <a:cubicBezTo>
                    <a:pt x="1683" y="1254"/>
                    <a:pt x="1678" y="1264"/>
                    <a:pt x="1687" y="1261"/>
                  </a:cubicBezTo>
                  <a:cubicBezTo>
                    <a:pt x="1680" y="1282"/>
                    <a:pt x="1683" y="1249"/>
                    <a:pt x="1671" y="1254"/>
                  </a:cubicBezTo>
                  <a:close/>
                  <a:moveTo>
                    <a:pt x="1690" y="1258"/>
                  </a:moveTo>
                  <a:cubicBezTo>
                    <a:pt x="1680" y="1250"/>
                    <a:pt x="1696" y="1247"/>
                    <a:pt x="1698" y="1243"/>
                  </a:cubicBezTo>
                  <a:cubicBezTo>
                    <a:pt x="1700" y="1242"/>
                    <a:pt x="1700" y="1244"/>
                    <a:pt x="1700" y="1247"/>
                  </a:cubicBezTo>
                  <a:cubicBezTo>
                    <a:pt x="1701" y="1252"/>
                    <a:pt x="1707" y="1250"/>
                    <a:pt x="1711" y="1250"/>
                  </a:cubicBezTo>
                  <a:cubicBezTo>
                    <a:pt x="1719" y="1260"/>
                    <a:pt x="1690" y="1248"/>
                    <a:pt x="1690" y="1258"/>
                  </a:cubicBezTo>
                  <a:close/>
                  <a:moveTo>
                    <a:pt x="1700" y="1273"/>
                  </a:moveTo>
                  <a:cubicBezTo>
                    <a:pt x="1697" y="1273"/>
                    <a:pt x="1697" y="1260"/>
                    <a:pt x="1706" y="1261"/>
                  </a:cubicBezTo>
                  <a:cubicBezTo>
                    <a:pt x="1705" y="1263"/>
                    <a:pt x="1702" y="1272"/>
                    <a:pt x="1700" y="1273"/>
                  </a:cubicBezTo>
                  <a:close/>
                  <a:moveTo>
                    <a:pt x="1730" y="1298"/>
                  </a:moveTo>
                  <a:cubicBezTo>
                    <a:pt x="1728" y="1299"/>
                    <a:pt x="1726" y="1312"/>
                    <a:pt x="1717" y="1306"/>
                  </a:cubicBezTo>
                  <a:cubicBezTo>
                    <a:pt x="1716" y="1305"/>
                    <a:pt x="1718" y="1295"/>
                    <a:pt x="1717" y="1295"/>
                  </a:cubicBezTo>
                  <a:cubicBezTo>
                    <a:pt x="1712" y="1293"/>
                    <a:pt x="1709" y="1301"/>
                    <a:pt x="1703" y="1298"/>
                  </a:cubicBezTo>
                  <a:cubicBezTo>
                    <a:pt x="1701" y="1288"/>
                    <a:pt x="1709" y="1291"/>
                    <a:pt x="1709" y="1284"/>
                  </a:cubicBezTo>
                  <a:cubicBezTo>
                    <a:pt x="1711" y="1283"/>
                    <a:pt x="1713" y="1291"/>
                    <a:pt x="1714" y="1291"/>
                  </a:cubicBezTo>
                  <a:cubicBezTo>
                    <a:pt x="1716" y="1292"/>
                    <a:pt x="1720" y="1286"/>
                    <a:pt x="1725" y="1287"/>
                  </a:cubicBezTo>
                  <a:cubicBezTo>
                    <a:pt x="1725" y="1287"/>
                    <a:pt x="1725" y="1295"/>
                    <a:pt x="1725" y="1295"/>
                  </a:cubicBezTo>
                  <a:cubicBezTo>
                    <a:pt x="1727" y="1295"/>
                    <a:pt x="1732" y="1290"/>
                    <a:pt x="1733" y="1287"/>
                  </a:cubicBezTo>
                  <a:cubicBezTo>
                    <a:pt x="1736" y="1290"/>
                    <a:pt x="1738" y="1295"/>
                    <a:pt x="1738" y="1302"/>
                  </a:cubicBezTo>
                  <a:cubicBezTo>
                    <a:pt x="1735" y="1306"/>
                    <a:pt x="1730" y="1298"/>
                    <a:pt x="1730" y="1298"/>
                  </a:cubicBezTo>
                  <a:close/>
                  <a:moveTo>
                    <a:pt x="1735" y="1324"/>
                  </a:moveTo>
                  <a:cubicBezTo>
                    <a:pt x="1733" y="1314"/>
                    <a:pt x="1741" y="1320"/>
                    <a:pt x="1744" y="1317"/>
                  </a:cubicBezTo>
                  <a:cubicBezTo>
                    <a:pt x="1748" y="1311"/>
                    <a:pt x="1745" y="1318"/>
                    <a:pt x="1752" y="1324"/>
                  </a:cubicBezTo>
                  <a:cubicBezTo>
                    <a:pt x="1751" y="1331"/>
                    <a:pt x="1743" y="1320"/>
                    <a:pt x="1735" y="1324"/>
                  </a:cubicBezTo>
                  <a:close/>
                  <a:moveTo>
                    <a:pt x="1752" y="1302"/>
                  </a:moveTo>
                  <a:cubicBezTo>
                    <a:pt x="1750" y="1302"/>
                    <a:pt x="1748" y="1302"/>
                    <a:pt x="1746" y="1302"/>
                  </a:cubicBezTo>
                  <a:cubicBezTo>
                    <a:pt x="1746" y="1300"/>
                    <a:pt x="1746" y="1297"/>
                    <a:pt x="1746" y="1295"/>
                  </a:cubicBezTo>
                  <a:cubicBezTo>
                    <a:pt x="1748" y="1295"/>
                    <a:pt x="1750" y="1295"/>
                    <a:pt x="1752" y="1295"/>
                  </a:cubicBezTo>
                  <a:cubicBezTo>
                    <a:pt x="1752" y="1297"/>
                    <a:pt x="1752" y="1300"/>
                    <a:pt x="1752" y="1302"/>
                  </a:cubicBezTo>
                  <a:close/>
                  <a:moveTo>
                    <a:pt x="1757" y="1269"/>
                  </a:moveTo>
                  <a:cubicBezTo>
                    <a:pt x="1752" y="1270"/>
                    <a:pt x="1754" y="1261"/>
                    <a:pt x="1752" y="1258"/>
                  </a:cubicBezTo>
                  <a:cubicBezTo>
                    <a:pt x="1750" y="1255"/>
                    <a:pt x="1745" y="1256"/>
                    <a:pt x="1744" y="1254"/>
                  </a:cubicBezTo>
                  <a:cubicBezTo>
                    <a:pt x="1741" y="1251"/>
                    <a:pt x="1742" y="1244"/>
                    <a:pt x="1738" y="1243"/>
                  </a:cubicBezTo>
                  <a:cubicBezTo>
                    <a:pt x="1741" y="1233"/>
                    <a:pt x="1749" y="1245"/>
                    <a:pt x="1746" y="1254"/>
                  </a:cubicBezTo>
                  <a:cubicBezTo>
                    <a:pt x="1753" y="1249"/>
                    <a:pt x="1756" y="1252"/>
                    <a:pt x="1762" y="1254"/>
                  </a:cubicBezTo>
                  <a:cubicBezTo>
                    <a:pt x="1762" y="1261"/>
                    <a:pt x="1755" y="1259"/>
                    <a:pt x="1757" y="1269"/>
                  </a:cubicBezTo>
                  <a:close/>
                  <a:moveTo>
                    <a:pt x="1762" y="1269"/>
                  </a:moveTo>
                  <a:cubicBezTo>
                    <a:pt x="1767" y="1261"/>
                    <a:pt x="1772" y="1268"/>
                    <a:pt x="1768" y="1254"/>
                  </a:cubicBezTo>
                  <a:cubicBezTo>
                    <a:pt x="1777" y="1256"/>
                    <a:pt x="1773" y="1273"/>
                    <a:pt x="1762" y="1269"/>
                  </a:cubicBezTo>
                  <a:close/>
                  <a:moveTo>
                    <a:pt x="1773" y="1210"/>
                  </a:moveTo>
                  <a:cubicBezTo>
                    <a:pt x="1771" y="1207"/>
                    <a:pt x="1767" y="1206"/>
                    <a:pt x="1762" y="1206"/>
                  </a:cubicBezTo>
                  <a:cubicBezTo>
                    <a:pt x="1762" y="1199"/>
                    <a:pt x="1777" y="1199"/>
                    <a:pt x="1773" y="1210"/>
                  </a:cubicBezTo>
                  <a:close/>
                  <a:moveTo>
                    <a:pt x="1776" y="241"/>
                  </a:moveTo>
                  <a:cubicBezTo>
                    <a:pt x="1771" y="240"/>
                    <a:pt x="1770" y="245"/>
                    <a:pt x="1765" y="244"/>
                  </a:cubicBezTo>
                  <a:cubicBezTo>
                    <a:pt x="1765" y="241"/>
                    <a:pt x="1765" y="237"/>
                    <a:pt x="1765" y="233"/>
                  </a:cubicBezTo>
                  <a:cubicBezTo>
                    <a:pt x="1768" y="238"/>
                    <a:pt x="1778" y="235"/>
                    <a:pt x="1778" y="244"/>
                  </a:cubicBezTo>
                  <a:cubicBezTo>
                    <a:pt x="1777" y="250"/>
                    <a:pt x="1776" y="245"/>
                    <a:pt x="1776" y="241"/>
                  </a:cubicBezTo>
                  <a:close/>
                  <a:moveTo>
                    <a:pt x="1776" y="1206"/>
                  </a:moveTo>
                  <a:cubicBezTo>
                    <a:pt x="1777" y="1201"/>
                    <a:pt x="1782" y="1203"/>
                    <a:pt x="1787" y="1202"/>
                  </a:cubicBezTo>
                  <a:cubicBezTo>
                    <a:pt x="1787" y="1200"/>
                    <a:pt x="1787" y="1197"/>
                    <a:pt x="1787" y="1195"/>
                  </a:cubicBezTo>
                  <a:cubicBezTo>
                    <a:pt x="1789" y="1194"/>
                    <a:pt x="1789" y="1196"/>
                    <a:pt x="1789" y="1199"/>
                  </a:cubicBezTo>
                  <a:cubicBezTo>
                    <a:pt x="1789" y="1207"/>
                    <a:pt x="1799" y="1200"/>
                    <a:pt x="1803" y="1202"/>
                  </a:cubicBezTo>
                  <a:cubicBezTo>
                    <a:pt x="1805" y="1202"/>
                    <a:pt x="1805" y="1198"/>
                    <a:pt x="1805" y="1195"/>
                  </a:cubicBezTo>
                  <a:cubicBezTo>
                    <a:pt x="1808" y="1197"/>
                    <a:pt x="1810" y="1199"/>
                    <a:pt x="1811" y="1195"/>
                  </a:cubicBezTo>
                  <a:cubicBezTo>
                    <a:pt x="1814" y="1194"/>
                    <a:pt x="1812" y="1201"/>
                    <a:pt x="1813" y="1202"/>
                  </a:cubicBezTo>
                  <a:cubicBezTo>
                    <a:pt x="1817" y="1206"/>
                    <a:pt x="1827" y="1196"/>
                    <a:pt x="1824" y="1210"/>
                  </a:cubicBezTo>
                  <a:cubicBezTo>
                    <a:pt x="1818" y="1204"/>
                    <a:pt x="1813" y="1210"/>
                    <a:pt x="1805" y="1210"/>
                  </a:cubicBezTo>
                  <a:cubicBezTo>
                    <a:pt x="1797" y="1209"/>
                    <a:pt x="1787" y="1203"/>
                    <a:pt x="1776" y="1206"/>
                  </a:cubicBezTo>
                  <a:close/>
                  <a:moveTo>
                    <a:pt x="1797" y="1225"/>
                  </a:moveTo>
                  <a:cubicBezTo>
                    <a:pt x="1805" y="1211"/>
                    <a:pt x="1806" y="1236"/>
                    <a:pt x="1797" y="1225"/>
                  </a:cubicBezTo>
                  <a:close/>
                  <a:moveTo>
                    <a:pt x="1787" y="1276"/>
                  </a:moveTo>
                  <a:cubicBezTo>
                    <a:pt x="1782" y="1273"/>
                    <a:pt x="1780" y="1266"/>
                    <a:pt x="1784" y="1261"/>
                  </a:cubicBezTo>
                  <a:cubicBezTo>
                    <a:pt x="1792" y="1265"/>
                    <a:pt x="1787" y="1267"/>
                    <a:pt x="1787" y="1276"/>
                  </a:cubicBezTo>
                  <a:close/>
                  <a:moveTo>
                    <a:pt x="1778" y="1258"/>
                  </a:moveTo>
                  <a:cubicBezTo>
                    <a:pt x="1779" y="1254"/>
                    <a:pt x="1782" y="1255"/>
                    <a:pt x="1784" y="1254"/>
                  </a:cubicBezTo>
                  <a:cubicBezTo>
                    <a:pt x="1787" y="1254"/>
                    <a:pt x="1789" y="1254"/>
                    <a:pt x="1792" y="1254"/>
                  </a:cubicBezTo>
                  <a:cubicBezTo>
                    <a:pt x="1792" y="1262"/>
                    <a:pt x="1782" y="1256"/>
                    <a:pt x="1778" y="1258"/>
                  </a:cubicBezTo>
                  <a:close/>
                  <a:moveTo>
                    <a:pt x="1800" y="1276"/>
                  </a:moveTo>
                  <a:cubicBezTo>
                    <a:pt x="1795" y="1276"/>
                    <a:pt x="1798" y="1264"/>
                    <a:pt x="1792" y="1265"/>
                  </a:cubicBezTo>
                  <a:cubicBezTo>
                    <a:pt x="1792" y="1261"/>
                    <a:pt x="1797" y="1262"/>
                    <a:pt x="1800" y="1261"/>
                  </a:cubicBezTo>
                  <a:cubicBezTo>
                    <a:pt x="1796" y="1256"/>
                    <a:pt x="1790" y="1252"/>
                    <a:pt x="1792" y="1239"/>
                  </a:cubicBezTo>
                  <a:cubicBezTo>
                    <a:pt x="1802" y="1236"/>
                    <a:pt x="1800" y="1269"/>
                    <a:pt x="1805" y="1261"/>
                  </a:cubicBezTo>
                  <a:cubicBezTo>
                    <a:pt x="1816" y="1270"/>
                    <a:pt x="1796" y="1265"/>
                    <a:pt x="1800" y="1276"/>
                  </a:cubicBezTo>
                  <a:close/>
                  <a:moveTo>
                    <a:pt x="1811" y="1221"/>
                  </a:moveTo>
                  <a:cubicBezTo>
                    <a:pt x="1811" y="1208"/>
                    <a:pt x="1820" y="1229"/>
                    <a:pt x="1819" y="1217"/>
                  </a:cubicBezTo>
                  <a:cubicBezTo>
                    <a:pt x="1820" y="1216"/>
                    <a:pt x="1822" y="1224"/>
                    <a:pt x="1822" y="1225"/>
                  </a:cubicBezTo>
                  <a:cubicBezTo>
                    <a:pt x="1821" y="1225"/>
                    <a:pt x="1816" y="1223"/>
                    <a:pt x="1816" y="1225"/>
                  </a:cubicBezTo>
                  <a:cubicBezTo>
                    <a:pt x="1814" y="1232"/>
                    <a:pt x="1814" y="1235"/>
                    <a:pt x="1813" y="1243"/>
                  </a:cubicBezTo>
                  <a:cubicBezTo>
                    <a:pt x="1801" y="1236"/>
                    <a:pt x="1818" y="1227"/>
                    <a:pt x="1811" y="1221"/>
                  </a:cubicBezTo>
                  <a:close/>
                  <a:moveTo>
                    <a:pt x="1811" y="1254"/>
                  </a:moveTo>
                  <a:cubicBezTo>
                    <a:pt x="1806" y="1252"/>
                    <a:pt x="1814" y="1248"/>
                    <a:pt x="1813" y="1254"/>
                  </a:cubicBezTo>
                  <a:cubicBezTo>
                    <a:pt x="1820" y="1254"/>
                    <a:pt x="1822" y="1247"/>
                    <a:pt x="1827" y="1254"/>
                  </a:cubicBezTo>
                  <a:cubicBezTo>
                    <a:pt x="1825" y="1264"/>
                    <a:pt x="1824" y="1275"/>
                    <a:pt x="1813" y="1273"/>
                  </a:cubicBezTo>
                  <a:cubicBezTo>
                    <a:pt x="1812" y="1267"/>
                    <a:pt x="1817" y="1253"/>
                    <a:pt x="1811" y="1254"/>
                  </a:cubicBezTo>
                  <a:close/>
                  <a:moveTo>
                    <a:pt x="1827" y="1295"/>
                  </a:moveTo>
                  <a:cubicBezTo>
                    <a:pt x="1820" y="1296"/>
                    <a:pt x="1821" y="1288"/>
                    <a:pt x="1813" y="1291"/>
                  </a:cubicBezTo>
                  <a:cubicBezTo>
                    <a:pt x="1813" y="1285"/>
                    <a:pt x="1831" y="1284"/>
                    <a:pt x="1827" y="1295"/>
                  </a:cubicBezTo>
                  <a:close/>
                  <a:moveTo>
                    <a:pt x="1835" y="1306"/>
                  </a:moveTo>
                  <a:cubicBezTo>
                    <a:pt x="1832" y="1305"/>
                    <a:pt x="1833" y="1299"/>
                    <a:pt x="1832" y="1295"/>
                  </a:cubicBezTo>
                  <a:cubicBezTo>
                    <a:pt x="1837" y="1293"/>
                    <a:pt x="1837" y="1298"/>
                    <a:pt x="1838" y="1302"/>
                  </a:cubicBezTo>
                  <a:cubicBezTo>
                    <a:pt x="1835" y="1301"/>
                    <a:pt x="1835" y="1304"/>
                    <a:pt x="1835" y="1306"/>
                  </a:cubicBezTo>
                  <a:close/>
                  <a:moveTo>
                    <a:pt x="1843" y="1269"/>
                  </a:moveTo>
                  <a:cubicBezTo>
                    <a:pt x="1842" y="1282"/>
                    <a:pt x="1831" y="1262"/>
                    <a:pt x="1832" y="1273"/>
                  </a:cubicBezTo>
                  <a:cubicBezTo>
                    <a:pt x="1823" y="1272"/>
                    <a:pt x="1838" y="1260"/>
                    <a:pt x="1830" y="1261"/>
                  </a:cubicBezTo>
                  <a:cubicBezTo>
                    <a:pt x="1829" y="1256"/>
                    <a:pt x="1845" y="1257"/>
                    <a:pt x="1835" y="1250"/>
                  </a:cubicBezTo>
                  <a:cubicBezTo>
                    <a:pt x="1837" y="1245"/>
                    <a:pt x="1839" y="1251"/>
                    <a:pt x="1846" y="1247"/>
                  </a:cubicBezTo>
                  <a:cubicBezTo>
                    <a:pt x="1846" y="1251"/>
                    <a:pt x="1845" y="1253"/>
                    <a:pt x="1843" y="1254"/>
                  </a:cubicBezTo>
                  <a:cubicBezTo>
                    <a:pt x="1843" y="1258"/>
                    <a:pt x="1846" y="1257"/>
                    <a:pt x="1848" y="1258"/>
                  </a:cubicBezTo>
                  <a:cubicBezTo>
                    <a:pt x="1847" y="1262"/>
                    <a:pt x="1828" y="1265"/>
                    <a:pt x="1843" y="1269"/>
                  </a:cubicBezTo>
                  <a:close/>
                  <a:moveTo>
                    <a:pt x="1862" y="1309"/>
                  </a:moveTo>
                  <a:cubicBezTo>
                    <a:pt x="1861" y="1311"/>
                    <a:pt x="1859" y="1300"/>
                    <a:pt x="1856" y="1302"/>
                  </a:cubicBezTo>
                  <a:cubicBezTo>
                    <a:pt x="1861" y="1290"/>
                    <a:pt x="1864" y="1307"/>
                    <a:pt x="1862" y="1309"/>
                  </a:cubicBezTo>
                  <a:close/>
                  <a:moveTo>
                    <a:pt x="1867" y="1273"/>
                  </a:moveTo>
                  <a:cubicBezTo>
                    <a:pt x="1862" y="1276"/>
                    <a:pt x="1856" y="1279"/>
                    <a:pt x="1854" y="1287"/>
                  </a:cubicBezTo>
                  <a:cubicBezTo>
                    <a:pt x="1845" y="1279"/>
                    <a:pt x="1860" y="1274"/>
                    <a:pt x="1859" y="1265"/>
                  </a:cubicBezTo>
                  <a:cubicBezTo>
                    <a:pt x="1859" y="1261"/>
                    <a:pt x="1854" y="1262"/>
                    <a:pt x="1851" y="1261"/>
                  </a:cubicBezTo>
                  <a:cubicBezTo>
                    <a:pt x="1853" y="1256"/>
                    <a:pt x="1857" y="1255"/>
                    <a:pt x="1862" y="1254"/>
                  </a:cubicBezTo>
                  <a:cubicBezTo>
                    <a:pt x="1859" y="1249"/>
                    <a:pt x="1861" y="1248"/>
                    <a:pt x="1862" y="1243"/>
                  </a:cubicBezTo>
                  <a:cubicBezTo>
                    <a:pt x="1868" y="1242"/>
                    <a:pt x="1860" y="1260"/>
                    <a:pt x="1870" y="1254"/>
                  </a:cubicBezTo>
                  <a:cubicBezTo>
                    <a:pt x="1869" y="1259"/>
                    <a:pt x="1866" y="1262"/>
                    <a:pt x="1862" y="1261"/>
                  </a:cubicBezTo>
                  <a:cubicBezTo>
                    <a:pt x="1862" y="1269"/>
                    <a:pt x="1868" y="1262"/>
                    <a:pt x="1867" y="1261"/>
                  </a:cubicBezTo>
                  <a:cubicBezTo>
                    <a:pt x="1870" y="1263"/>
                    <a:pt x="1870" y="1271"/>
                    <a:pt x="1875" y="1269"/>
                  </a:cubicBezTo>
                  <a:cubicBezTo>
                    <a:pt x="1875" y="1273"/>
                    <a:pt x="1870" y="1272"/>
                    <a:pt x="1867" y="1273"/>
                  </a:cubicBezTo>
                  <a:close/>
                  <a:moveTo>
                    <a:pt x="1867" y="1165"/>
                  </a:moveTo>
                  <a:cubicBezTo>
                    <a:pt x="1865" y="1165"/>
                    <a:pt x="1864" y="1165"/>
                    <a:pt x="1862" y="1165"/>
                  </a:cubicBezTo>
                  <a:cubicBezTo>
                    <a:pt x="1862" y="1163"/>
                    <a:pt x="1862" y="1160"/>
                    <a:pt x="1862" y="1158"/>
                  </a:cubicBezTo>
                  <a:cubicBezTo>
                    <a:pt x="1864" y="1158"/>
                    <a:pt x="1865" y="1158"/>
                    <a:pt x="1867" y="1158"/>
                  </a:cubicBezTo>
                  <a:cubicBezTo>
                    <a:pt x="1867" y="1160"/>
                    <a:pt x="1867" y="1163"/>
                    <a:pt x="1867" y="1165"/>
                  </a:cubicBezTo>
                  <a:close/>
                  <a:moveTo>
                    <a:pt x="1873" y="1173"/>
                  </a:moveTo>
                  <a:cubicBezTo>
                    <a:pt x="1873" y="1175"/>
                    <a:pt x="1873" y="1178"/>
                    <a:pt x="1873" y="1180"/>
                  </a:cubicBezTo>
                  <a:cubicBezTo>
                    <a:pt x="1871" y="1180"/>
                    <a:pt x="1869" y="1180"/>
                    <a:pt x="1867" y="1180"/>
                  </a:cubicBezTo>
                  <a:cubicBezTo>
                    <a:pt x="1867" y="1178"/>
                    <a:pt x="1867" y="1175"/>
                    <a:pt x="1867" y="1173"/>
                  </a:cubicBezTo>
                  <a:cubicBezTo>
                    <a:pt x="1869" y="1173"/>
                    <a:pt x="1871" y="1173"/>
                    <a:pt x="1873" y="1173"/>
                  </a:cubicBezTo>
                  <a:close/>
                  <a:moveTo>
                    <a:pt x="1873" y="1191"/>
                  </a:moveTo>
                  <a:cubicBezTo>
                    <a:pt x="1871" y="1197"/>
                    <a:pt x="1870" y="1191"/>
                    <a:pt x="1870" y="1187"/>
                  </a:cubicBezTo>
                  <a:cubicBezTo>
                    <a:pt x="1867" y="1187"/>
                    <a:pt x="1865" y="1188"/>
                    <a:pt x="1865" y="1191"/>
                  </a:cubicBezTo>
                  <a:cubicBezTo>
                    <a:pt x="1854" y="1184"/>
                    <a:pt x="1875" y="1179"/>
                    <a:pt x="1873" y="1191"/>
                  </a:cubicBezTo>
                  <a:close/>
                  <a:moveTo>
                    <a:pt x="1867" y="1210"/>
                  </a:moveTo>
                  <a:cubicBezTo>
                    <a:pt x="1866" y="1192"/>
                    <a:pt x="1879" y="1201"/>
                    <a:pt x="1878" y="1213"/>
                  </a:cubicBezTo>
                  <a:cubicBezTo>
                    <a:pt x="1876" y="1211"/>
                    <a:pt x="1872" y="1209"/>
                    <a:pt x="1867" y="1210"/>
                  </a:cubicBezTo>
                  <a:close/>
                  <a:moveTo>
                    <a:pt x="1873" y="174"/>
                  </a:moveTo>
                  <a:cubicBezTo>
                    <a:pt x="1868" y="183"/>
                    <a:pt x="1863" y="171"/>
                    <a:pt x="1859" y="170"/>
                  </a:cubicBezTo>
                  <a:cubicBezTo>
                    <a:pt x="1858" y="170"/>
                    <a:pt x="1854" y="170"/>
                    <a:pt x="1854" y="170"/>
                  </a:cubicBezTo>
                  <a:cubicBezTo>
                    <a:pt x="1850" y="176"/>
                    <a:pt x="1856" y="179"/>
                    <a:pt x="1846" y="174"/>
                  </a:cubicBezTo>
                  <a:cubicBezTo>
                    <a:pt x="1843" y="185"/>
                    <a:pt x="1852" y="181"/>
                    <a:pt x="1856" y="182"/>
                  </a:cubicBezTo>
                  <a:cubicBezTo>
                    <a:pt x="1856" y="188"/>
                    <a:pt x="1848" y="184"/>
                    <a:pt x="1848" y="193"/>
                  </a:cubicBezTo>
                  <a:cubicBezTo>
                    <a:pt x="1851" y="203"/>
                    <a:pt x="1856" y="187"/>
                    <a:pt x="1859" y="196"/>
                  </a:cubicBezTo>
                  <a:cubicBezTo>
                    <a:pt x="1864" y="199"/>
                    <a:pt x="1856" y="202"/>
                    <a:pt x="1856" y="196"/>
                  </a:cubicBezTo>
                  <a:cubicBezTo>
                    <a:pt x="1854" y="196"/>
                    <a:pt x="1854" y="201"/>
                    <a:pt x="1854" y="204"/>
                  </a:cubicBezTo>
                  <a:cubicBezTo>
                    <a:pt x="1848" y="205"/>
                    <a:pt x="1847" y="201"/>
                    <a:pt x="1843" y="200"/>
                  </a:cubicBezTo>
                  <a:cubicBezTo>
                    <a:pt x="1842" y="208"/>
                    <a:pt x="1844" y="214"/>
                    <a:pt x="1848" y="215"/>
                  </a:cubicBezTo>
                  <a:cubicBezTo>
                    <a:pt x="1842" y="227"/>
                    <a:pt x="1839" y="204"/>
                    <a:pt x="1838" y="196"/>
                  </a:cubicBezTo>
                  <a:cubicBezTo>
                    <a:pt x="1847" y="195"/>
                    <a:pt x="1846" y="185"/>
                    <a:pt x="1840" y="178"/>
                  </a:cubicBezTo>
                  <a:cubicBezTo>
                    <a:pt x="1840" y="171"/>
                    <a:pt x="1848" y="173"/>
                    <a:pt x="1846" y="163"/>
                  </a:cubicBezTo>
                  <a:cubicBezTo>
                    <a:pt x="1855" y="164"/>
                    <a:pt x="1863" y="162"/>
                    <a:pt x="1870" y="159"/>
                  </a:cubicBezTo>
                  <a:cubicBezTo>
                    <a:pt x="1869" y="162"/>
                    <a:pt x="1867" y="163"/>
                    <a:pt x="1867" y="167"/>
                  </a:cubicBezTo>
                  <a:cubicBezTo>
                    <a:pt x="1871" y="170"/>
                    <a:pt x="1875" y="163"/>
                    <a:pt x="1875" y="163"/>
                  </a:cubicBezTo>
                  <a:cubicBezTo>
                    <a:pt x="1879" y="164"/>
                    <a:pt x="1876" y="169"/>
                    <a:pt x="1878" y="170"/>
                  </a:cubicBezTo>
                  <a:cubicBezTo>
                    <a:pt x="1882" y="174"/>
                    <a:pt x="1889" y="167"/>
                    <a:pt x="1883" y="167"/>
                  </a:cubicBezTo>
                  <a:cubicBezTo>
                    <a:pt x="1883" y="167"/>
                    <a:pt x="1885" y="161"/>
                    <a:pt x="1886" y="163"/>
                  </a:cubicBezTo>
                  <a:cubicBezTo>
                    <a:pt x="1888" y="166"/>
                    <a:pt x="1891" y="166"/>
                    <a:pt x="1891" y="170"/>
                  </a:cubicBezTo>
                  <a:cubicBezTo>
                    <a:pt x="1897" y="170"/>
                    <a:pt x="1888" y="161"/>
                    <a:pt x="1891" y="152"/>
                  </a:cubicBezTo>
                  <a:cubicBezTo>
                    <a:pt x="1902" y="153"/>
                    <a:pt x="1896" y="131"/>
                    <a:pt x="1908" y="133"/>
                  </a:cubicBezTo>
                  <a:cubicBezTo>
                    <a:pt x="1903" y="144"/>
                    <a:pt x="1891" y="164"/>
                    <a:pt x="1902" y="174"/>
                  </a:cubicBezTo>
                  <a:cubicBezTo>
                    <a:pt x="1897" y="182"/>
                    <a:pt x="1893" y="205"/>
                    <a:pt x="1902" y="211"/>
                  </a:cubicBezTo>
                  <a:cubicBezTo>
                    <a:pt x="1900" y="218"/>
                    <a:pt x="1893" y="224"/>
                    <a:pt x="1889" y="218"/>
                  </a:cubicBezTo>
                  <a:cubicBezTo>
                    <a:pt x="1890" y="211"/>
                    <a:pt x="1893" y="211"/>
                    <a:pt x="1897" y="215"/>
                  </a:cubicBezTo>
                  <a:cubicBezTo>
                    <a:pt x="1892" y="209"/>
                    <a:pt x="1897" y="189"/>
                    <a:pt x="1886" y="193"/>
                  </a:cubicBezTo>
                  <a:cubicBezTo>
                    <a:pt x="1887" y="188"/>
                    <a:pt x="1891" y="190"/>
                    <a:pt x="1894" y="189"/>
                  </a:cubicBezTo>
                  <a:cubicBezTo>
                    <a:pt x="1891" y="177"/>
                    <a:pt x="1886" y="188"/>
                    <a:pt x="1881" y="178"/>
                  </a:cubicBezTo>
                  <a:cubicBezTo>
                    <a:pt x="1878" y="179"/>
                    <a:pt x="1879" y="182"/>
                    <a:pt x="1881" y="182"/>
                  </a:cubicBezTo>
                  <a:cubicBezTo>
                    <a:pt x="1880" y="191"/>
                    <a:pt x="1870" y="182"/>
                    <a:pt x="1873" y="174"/>
                  </a:cubicBezTo>
                  <a:close/>
                  <a:moveTo>
                    <a:pt x="1899" y="1317"/>
                  </a:moveTo>
                  <a:cubicBezTo>
                    <a:pt x="1889" y="1322"/>
                    <a:pt x="1899" y="1300"/>
                    <a:pt x="1889" y="1306"/>
                  </a:cubicBezTo>
                  <a:cubicBezTo>
                    <a:pt x="1890" y="1301"/>
                    <a:pt x="1895" y="1303"/>
                    <a:pt x="1899" y="1302"/>
                  </a:cubicBezTo>
                  <a:cubicBezTo>
                    <a:pt x="1899" y="1307"/>
                    <a:pt x="1899" y="1312"/>
                    <a:pt x="1899" y="1317"/>
                  </a:cubicBezTo>
                  <a:close/>
                  <a:moveTo>
                    <a:pt x="1937" y="1258"/>
                  </a:moveTo>
                  <a:cubicBezTo>
                    <a:pt x="1935" y="1258"/>
                    <a:pt x="1935" y="1253"/>
                    <a:pt x="1934" y="1250"/>
                  </a:cubicBezTo>
                  <a:cubicBezTo>
                    <a:pt x="1928" y="1251"/>
                    <a:pt x="1934" y="1262"/>
                    <a:pt x="1934" y="1261"/>
                  </a:cubicBezTo>
                  <a:cubicBezTo>
                    <a:pt x="1934" y="1269"/>
                    <a:pt x="1927" y="1263"/>
                    <a:pt x="1932" y="1276"/>
                  </a:cubicBezTo>
                  <a:cubicBezTo>
                    <a:pt x="1924" y="1279"/>
                    <a:pt x="1925" y="1271"/>
                    <a:pt x="1918" y="1273"/>
                  </a:cubicBezTo>
                  <a:cubicBezTo>
                    <a:pt x="1919" y="1268"/>
                    <a:pt x="1923" y="1269"/>
                    <a:pt x="1926" y="1269"/>
                  </a:cubicBezTo>
                  <a:cubicBezTo>
                    <a:pt x="1924" y="1260"/>
                    <a:pt x="1913" y="1260"/>
                    <a:pt x="1913" y="1273"/>
                  </a:cubicBezTo>
                  <a:cubicBezTo>
                    <a:pt x="1907" y="1275"/>
                    <a:pt x="1909" y="1265"/>
                    <a:pt x="1905" y="1265"/>
                  </a:cubicBezTo>
                  <a:cubicBezTo>
                    <a:pt x="1902" y="1266"/>
                    <a:pt x="1903" y="1269"/>
                    <a:pt x="1905" y="1269"/>
                  </a:cubicBezTo>
                  <a:cubicBezTo>
                    <a:pt x="1904" y="1279"/>
                    <a:pt x="1886" y="1266"/>
                    <a:pt x="1886" y="1276"/>
                  </a:cubicBezTo>
                  <a:cubicBezTo>
                    <a:pt x="1882" y="1275"/>
                    <a:pt x="1885" y="1265"/>
                    <a:pt x="1881" y="1265"/>
                  </a:cubicBezTo>
                  <a:cubicBezTo>
                    <a:pt x="1880" y="1258"/>
                    <a:pt x="1886" y="1261"/>
                    <a:pt x="1889" y="1258"/>
                  </a:cubicBezTo>
                  <a:cubicBezTo>
                    <a:pt x="1890" y="1256"/>
                    <a:pt x="1890" y="1242"/>
                    <a:pt x="1897" y="1247"/>
                  </a:cubicBezTo>
                  <a:cubicBezTo>
                    <a:pt x="1897" y="1257"/>
                    <a:pt x="1891" y="1260"/>
                    <a:pt x="1886" y="1265"/>
                  </a:cubicBezTo>
                  <a:cubicBezTo>
                    <a:pt x="1886" y="1273"/>
                    <a:pt x="1896" y="1267"/>
                    <a:pt x="1899" y="1269"/>
                  </a:cubicBezTo>
                  <a:cubicBezTo>
                    <a:pt x="1899" y="1265"/>
                    <a:pt x="1896" y="1266"/>
                    <a:pt x="1894" y="1265"/>
                  </a:cubicBezTo>
                  <a:cubicBezTo>
                    <a:pt x="1894" y="1262"/>
                    <a:pt x="1897" y="1262"/>
                    <a:pt x="1899" y="1261"/>
                  </a:cubicBezTo>
                  <a:cubicBezTo>
                    <a:pt x="1898" y="1254"/>
                    <a:pt x="1901" y="1252"/>
                    <a:pt x="1902" y="1247"/>
                  </a:cubicBezTo>
                  <a:cubicBezTo>
                    <a:pt x="1906" y="1247"/>
                    <a:pt x="1903" y="1258"/>
                    <a:pt x="1908" y="1258"/>
                  </a:cubicBezTo>
                  <a:cubicBezTo>
                    <a:pt x="1912" y="1258"/>
                    <a:pt x="1910" y="1230"/>
                    <a:pt x="1913" y="1250"/>
                  </a:cubicBezTo>
                  <a:cubicBezTo>
                    <a:pt x="1915" y="1255"/>
                    <a:pt x="1919" y="1257"/>
                    <a:pt x="1924" y="1258"/>
                  </a:cubicBezTo>
                  <a:cubicBezTo>
                    <a:pt x="1928" y="1254"/>
                    <a:pt x="1929" y="1246"/>
                    <a:pt x="1937" y="1247"/>
                  </a:cubicBezTo>
                  <a:cubicBezTo>
                    <a:pt x="1937" y="1250"/>
                    <a:pt x="1937" y="1254"/>
                    <a:pt x="1937" y="1258"/>
                  </a:cubicBezTo>
                  <a:close/>
                  <a:moveTo>
                    <a:pt x="1945" y="1217"/>
                  </a:moveTo>
                  <a:cubicBezTo>
                    <a:pt x="1942" y="1212"/>
                    <a:pt x="1944" y="1218"/>
                    <a:pt x="1940" y="1217"/>
                  </a:cubicBezTo>
                  <a:cubicBezTo>
                    <a:pt x="1937" y="1217"/>
                    <a:pt x="1934" y="1210"/>
                    <a:pt x="1932" y="1221"/>
                  </a:cubicBezTo>
                  <a:cubicBezTo>
                    <a:pt x="1929" y="1221"/>
                    <a:pt x="1930" y="1216"/>
                    <a:pt x="1929" y="1213"/>
                  </a:cubicBezTo>
                  <a:cubicBezTo>
                    <a:pt x="1925" y="1213"/>
                    <a:pt x="1920" y="1213"/>
                    <a:pt x="1916" y="1213"/>
                  </a:cubicBezTo>
                  <a:cubicBezTo>
                    <a:pt x="1913" y="1216"/>
                    <a:pt x="1913" y="1222"/>
                    <a:pt x="1908" y="1221"/>
                  </a:cubicBezTo>
                  <a:cubicBezTo>
                    <a:pt x="1912" y="1208"/>
                    <a:pt x="1900" y="1217"/>
                    <a:pt x="1894" y="1213"/>
                  </a:cubicBezTo>
                  <a:cubicBezTo>
                    <a:pt x="1892" y="1212"/>
                    <a:pt x="1892" y="1205"/>
                    <a:pt x="1889" y="1206"/>
                  </a:cubicBezTo>
                  <a:cubicBezTo>
                    <a:pt x="1887" y="1196"/>
                    <a:pt x="1901" y="1209"/>
                    <a:pt x="1899" y="1199"/>
                  </a:cubicBezTo>
                  <a:cubicBezTo>
                    <a:pt x="1901" y="1206"/>
                    <a:pt x="1914" y="1198"/>
                    <a:pt x="1916" y="1206"/>
                  </a:cubicBezTo>
                  <a:cubicBezTo>
                    <a:pt x="1919" y="1198"/>
                    <a:pt x="1927" y="1201"/>
                    <a:pt x="1942" y="1202"/>
                  </a:cubicBezTo>
                  <a:cubicBezTo>
                    <a:pt x="1943" y="1202"/>
                    <a:pt x="1942" y="1206"/>
                    <a:pt x="1942" y="1206"/>
                  </a:cubicBezTo>
                  <a:cubicBezTo>
                    <a:pt x="1945" y="1207"/>
                    <a:pt x="1945" y="1205"/>
                    <a:pt x="1945" y="1202"/>
                  </a:cubicBezTo>
                  <a:cubicBezTo>
                    <a:pt x="1948" y="1203"/>
                    <a:pt x="1947" y="1206"/>
                    <a:pt x="1945" y="1206"/>
                  </a:cubicBezTo>
                  <a:cubicBezTo>
                    <a:pt x="1945" y="1210"/>
                    <a:pt x="1946" y="1214"/>
                    <a:pt x="1948" y="1213"/>
                  </a:cubicBezTo>
                  <a:cubicBezTo>
                    <a:pt x="1951" y="1213"/>
                    <a:pt x="1953" y="1206"/>
                    <a:pt x="1959" y="1213"/>
                  </a:cubicBezTo>
                  <a:cubicBezTo>
                    <a:pt x="1962" y="1218"/>
                    <a:pt x="1947" y="1220"/>
                    <a:pt x="1945" y="1217"/>
                  </a:cubicBezTo>
                  <a:close/>
                  <a:moveTo>
                    <a:pt x="1967" y="1339"/>
                  </a:moveTo>
                  <a:cubicBezTo>
                    <a:pt x="1959" y="1342"/>
                    <a:pt x="1961" y="1332"/>
                    <a:pt x="1956" y="1332"/>
                  </a:cubicBezTo>
                  <a:cubicBezTo>
                    <a:pt x="1958" y="1327"/>
                    <a:pt x="1962" y="1325"/>
                    <a:pt x="1967" y="1324"/>
                  </a:cubicBezTo>
                  <a:cubicBezTo>
                    <a:pt x="1967" y="1329"/>
                    <a:pt x="1967" y="1334"/>
                    <a:pt x="1967" y="1339"/>
                  </a:cubicBezTo>
                  <a:close/>
                  <a:moveTo>
                    <a:pt x="1969" y="1269"/>
                  </a:moveTo>
                  <a:cubicBezTo>
                    <a:pt x="1970" y="1266"/>
                    <a:pt x="1968" y="1265"/>
                    <a:pt x="1967" y="1265"/>
                  </a:cubicBezTo>
                  <a:cubicBezTo>
                    <a:pt x="1967" y="1262"/>
                    <a:pt x="1970" y="1262"/>
                    <a:pt x="1972" y="1261"/>
                  </a:cubicBezTo>
                  <a:cubicBezTo>
                    <a:pt x="1967" y="1253"/>
                    <a:pt x="1973" y="1257"/>
                    <a:pt x="1975" y="1250"/>
                  </a:cubicBezTo>
                  <a:cubicBezTo>
                    <a:pt x="1983" y="1254"/>
                    <a:pt x="1971" y="1260"/>
                    <a:pt x="1975" y="1269"/>
                  </a:cubicBezTo>
                  <a:cubicBezTo>
                    <a:pt x="1973" y="1269"/>
                    <a:pt x="1971" y="1269"/>
                    <a:pt x="1969" y="1269"/>
                  </a:cubicBezTo>
                  <a:close/>
                  <a:moveTo>
                    <a:pt x="1977" y="1306"/>
                  </a:moveTo>
                  <a:cubicBezTo>
                    <a:pt x="1984" y="1296"/>
                    <a:pt x="1986" y="1310"/>
                    <a:pt x="1994" y="1309"/>
                  </a:cubicBezTo>
                  <a:cubicBezTo>
                    <a:pt x="1994" y="1315"/>
                    <a:pt x="1974" y="1318"/>
                    <a:pt x="1977" y="1306"/>
                  </a:cubicBezTo>
                  <a:close/>
                  <a:moveTo>
                    <a:pt x="1980" y="1232"/>
                  </a:moveTo>
                  <a:cubicBezTo>
                    <a:pt x="1981" y="1225"/>
                    <a:pt x="1985" y="1223"/>
                    <a:pt x="1991" y="1225"/>
                  </a:cubicBezTo>
                  <a:cubicBezTo>
                    <a:pt x="1989" y="1229"/>
                    <a:pt x="1985" y="1231"/>
                    <a:pt x="1980" y="1232"/>
                  </a:cubicBezTo>
                  <a:close/>
                  <a:moveTo>
                    <a:pt x="2015" y="1269"/>
                  </a:moveTo>
                  <a:cubicBezTo>
                    <a:pt x="2004" y="1271"/>
                    <a:pt x="2007" y="1255"/>
                    <a:pt x="2007" y="1243"/>
                  </a:cubicBezTo>
                  <a:cubicBezTo>
                    <a:pt x="2010" y="1245"/>
                    <a:pt x="2010" y="1252"/>
                    <a:pt x="2015" y="1250"/>
                  </a:cubicBezTo>
                  <a:cubicBezTo>
                    <a:pt x="2015" y="1257"/>
                    <a:pt x="2015" y="1263"/>
                    <a:pt x="2015" y="1269"/>
                  </a:cubicBezTo>
                  <a:close/>
                  <a:moveTo>
                    <a:pt x="2020" y="1261"/>
                  </a:moveTo>
                  <a:cubicBezTo>
                    <a:pt x="2028" y="1259"/>
                    <a:pt x="2019" y="1279"/>
                    <a:pt x="2026" y="1276"/>
                  </a:cubicBezTo>
                  <a:cubicBezTo>
                    <a:pt x="2021" y="1289"/>
                    <a:pt x="2019" y="1269"/>
                    <a:pt x="2020" y="1261"/>
                  </a:cubicBezTo>
                  <a:close/>
                  <a:moveTo>
                    <a:pt x="2026" y="1217"/>
                  </a:moveTo>
                  <a:cubicBezTo>
                    <a:pt x="2026" y="1217"/>
                    <a:pt x="2022" y="1221"/>
                    <a:pt x="2023" y="1221"/>
                  </a:cubicBezTo>
                  <a:cubicBezTo>
                    <a:pt x="2021" y="1221"/>
                    <a:pt x="2018" y="1213"/>
                    <a:pt x="2018" y="1213"/>
                  </a:cubicBezTo>
                  <a:cubicBezTo>
                    <a:pt x="2014" y="1214"/>
                    <a:pt x="2013" y="1220"/>
                    <a:pt x="2010" y="1221"/>
                  </a:cubicBezTo>
                  <a:cubicBezTo>
                    <a:pt x="2001" y="1223"/>
                    <a:pt x="1995" y="1212"/>
                    <a:pt x="1988" y="1221"/>
                  </a:cubicBezTo>
                  <a:cubicBezTo>
                    <a:pt x="1985" y="1222"/>
                    <a:pt x="1979" y="1210"/>
                    <a:pt x="1986" y="1210"/>
                  </a:cubicBezTo>
                  <a:cubicBezTo>
                    <a:pt x="1985" y="1206"/>
                    <a:pt x="1982" y="1207"/>
                    <a:pt x="1980" y="1206"/>
                  </a:cubicBezTo>
                  <a:cubicBezTo>
                    <a:pt x="1981" y="1198"/>
                    <a:pt x="1996" y="1201"/>
                    <a:pt x="1991" y="1213"/>
                  </a:cubicBezTo>
                  <a:cubicBezTo>
                    <a:pt x="1994" y="1213"/>
                    <a:pt x="1994" y="1202"/>
                    <a:pt x="1991" y="1202"/>
                  </a:cubicBezTo>
                  <a:cubicBezTo>
                    <a:pt x="1991" y="1198"/>
                    <a:pt x="1996" y="1199"/>
                    <a:pt x="1999" y="1199"/>
                  </a:cubicBezTo>
                  <a:cubicBezTo>
                    <a:pt x="1999" y="1202"/>
                    <a:pt x="1999" y="1206"/>
                    <a:pt x="1999" y="1210"/>
                  </a:cubicBezTo>
                  <a:cubicBezTo>
                    <a:pt x="2009" y="1209"/>
                    <a:pt x="2004" y="1201"/>
                    <a:pt x="2012" y="1206"/>
                  </a:cubicBezTo>
                  <a:cubicBezTo>
                    <a:pt x="2013" y="1206"/>
                    <a:pt x="2017" y="1205"/>
                    <a:pt x="2018" y="1206"/>
                  </a:cubicBezTo>
                  <a:cubicBezTo>
                    <a:pt x="2018" y="1206"/>
                    <a:pt x="2019" y="1212"/>
                    <a:pt x="2020" y="1210"/>
                  </a:cubicBezTo>
                  <a:cubicBezTo>
                    <a:pt x="2025" y="1204"/>
                    <a:pt x="2023" y="1215"/>
                    <a:pt x="2031" y="1213"/>
                  </a:cubicBezTo>
                  <a:cubicBezTo>
                    <a:pt x="2031" y="1217"/>
                    <a:pt x="2028" y="1216"/>
                    <a:pt x="2026" y="1217"/>
                  </a:cubicBezTo>
                  <a:close/>
                  <a:moveTo>
                    <a:pt x="2031" y="588"/>
                  </a:moveTo>
                  <a:cubicBezTo>
                    <a:pt x="2033" y="585"/>
                    <a:pt x="2034" y="580"/>
                    <a:pt x="2034" y="574"/>
                  </a:cubicBezTo>
                  <a:cubicBezTo>
                    <a:pt x="2039" y="572"/>
                    <a:pt x="2039" y="594"/>
                    <a:pt x="2031" y="588"/>
                  </a:cubicBezTo>
                  <a:close/>
                  <a:moveTo>
                    <a:pt x="2039" y="1210"/>
                  </a:moveTo>
                  <a:cubicBezTo>
                    <a:pt x="2044" y="1209"/>
                    <a:pt x="2044" y="1213"/>
                    <a:pt x="2047" y="1213"/>
                  </a:cubicBezTo>
                  <a:cubicBezTo>
                    <a:pt x="2046" y="1218"/>
                    <a:pt x="2042" y="1220"/>
                    <a:pt x="2037" y="1221"/>
                  </a:cubicBezTo>
                  <a:cubicBezTo>
                    <a:pt x="2038" y="1218"/>
                    <a:pt x="2039" y="1215"/>
                    <a:pt x="2039" y="1210"/>
                  </a:cubicBezTo>
                  <a:close/>
                  <a:moveTo>
                    <a:pt x="2039" y="1306"/>
                  </a:moveTo>
                  <a:cubicBezTo>
                    <a:pt x="2042" y="1309"/>
                    <a:pt x="2045" y="1310"/>
                    <a:pt x="2050" y="1309"/>
                  </a:cubicBezTo>
                  <a:cubicBezTo>
                    <a:pt x="2051" y="1316"/>
                    <a:pt x="2035" y="1316"/>
                    <a:pt x="2039" y="1306"/>
                  </a:cubicBezTo>
                  <a:close/>
                  <a:moveTo>
                    <a:pt x="2050" y="1269"/>
                  </a:moveTo>
                  <a:cubicBezTo>
                    <a:pt x="2048" y="1268"/>
                    <a:pt x="2048" y="1270"/>
                    <a:pt x="2047" y="1273"/>
                  </a:cubicBezTo>
                  <a:cubicBezTo>
                    <a:pt x="2044" y="1272"/>
                    <a:pt x="2045" y="1266"/>
                    <a:pt x="2045" y="1261"/>
                  </a:cubicBezTo>
                  <a:cubicBezTo>
                    <a:pt x="2048" y="1263"/>
                    <a:pt x="2049" y="1268"/>
                    <a:pt x="2053" y="1269"/>
                  </a:cubicBezTo>
                  <a:cubicBezTo>
                    <a:pt x="2052" y="1273"/>
                    <a:pt x="2050" y="1271"/>
                    <a:pt x="2050" y="1269"/>
                  </a:cubicBezTo>
                  <a:close/>
                  <a:moveTo>
                    <a:pt x="2064" y="1213"/>
                  </a:moveTo>
                  <a:cubicBezTo>
                    <a:pt x="2061" y="1219"/>
                    <a:pt x="2057" y="1221"/>
                    <a:pt x="2050" y="1221"/>
                  </a:cubicBezTo>
                  <a:cubicBezTo>
                    <a:pt x="2050" y="1214"/>
                    <a:pt x="2059" y="1218"/>
                    <a:pt x="2058" y="1210"/>
                  </a:cubicBezTo>
                  <a:cubicBezTo>
                    <a:pt x="2058" y="1206"/>
                    <a:pt x="2055" y="1207"/>
                    <a:pt x="2053" y="1206"/>
                  </a:cubicBezTo>
                  <a:cubicBezTo>
                    <a:pt x="2054" y="1201"/>
                    <a:pt x="2059" y="1203"/>
                    <a:pt x="2064" y="1202"/>
                  </a:cubicBezTo>
                  <a:cubicBezTo>
                    <a:pt x="2064" y="1209"/>
                    <a:pt x="2059" y="1212"/>
                    <a:pt x="2064" y="1213"/>
                  </a:cubicBezTo>
                  <a:close/>
                  <a:moveTo>
                    <a:pt x="2055" y="1195"/>
                  </a:moveTo>
                  <a:cubicBezTo>
                    <a:pt x="2055" y="1191"/>
                    <a:pt x="2055" y="1187"/>
                    <a:pt x="2055" y="1184"/>
                  </a:cubicBezTo>
                  <a:cubicBezTo>
                    <a:pt x="2060" y="1180"/>
                    <a:pt x="2064" y="1195"/>
                    <a:pt x="2066" y="1184"/>
                  </a:cubicBezTo>
                  <a:cubicBezTo>
                    <a:pt x="2072" y="1186"/>
                    <a:pt x="2063" y="1198"/>
                    <a:pt x="2055" y="1195"/>
                  </a:cubicBezTo>
                  <a:close/>
                  <a:moveTo>
                    <a:pt x="2069" y="204"/>
                  </a:moveTo>
                  <a:cubicBezTo>
                    <a:pt x="2065" y="208"/>
                    <a:pt x="2064" y="215"/>
                    <a:pt x="2058" y="207"/>
                  </a:cubicBezTo>
                  <a:cubicBezTo>
                    <a:pt x="2062" y="202"/>
                    <a:pt x="2071" y="196"/>
                    <a:pt x="2072" y="207"/>
                  </a:cubicBezTo>
                  <a:cubicBezTo>
                    <a:pt x="2070" y="213"/>
                    <a:pt x="2069" y="208"/>
                    <a:pt x="2069" y="204"/>
                  </a:cubicBezTo>
                  <a:close/>
                  <a:moveTo>
                    <a:pt x="2074" y="182"/>
                  </a:moveTo>
                  <a:cubicBezTo>
                    <a:pt x="2069" y="181"/>
                    <a:pt x="2074" y="174"/>
                    <a:pt x="2074" y="174"/>
                  </a:cubicBezTo>
                  <a:cubicBezTo>
                    <a:pt x="2074" y="170"/>
                    <a:pt x="2069" y="164"/>
                    <a:pt x="2074" y="159"/>
                  </a:cubicBezTo>
                  <a:cubicBezTo>
                    <a:pt x="2082" y="163"/>
                    <a:pt x="2073" y="175"/>
                    <a:pt x="2074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</p:grpSp>
      <p:sp>
        <p:nvSpPr>
          <p:cNvPr id="112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792107" y="4619607"/>
            <a:ext cx="4232424" cy="749300"/>
          </a:xfrm>
        </p:spPr>
        <p:txBody>
          <a:bodyPr/>
          <a:lstStyle>
            <a:lvl1pPr>
              <a:defRPr>
                <a:solidFill>
                  <a:srgbClr val="C25327"/>
                </a:solidFill>
              </a:defRPr>
            </a:lvl1pPr>
            <a:lvl2pPr>
              <a:defRPr>
                <a:solidFill>
                  <a:srgbClr val="C25327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  <a:endParaRPr lang="en-AU"/>
          </a:p>
        </p:txBody>
      </p:sp>
      <p:sp>
        <p:nvSpPr>
          <p:cNvPr id="113" name="Title 4124"/>
          <p:cNvSpPr>
            <a:spLocks noGrp="1"/>
          </p:cNvSpPr>
          <p:nvPr>
            <p:ph type="title"/>
          </p:nvPr>
        </p:nvSpPr>
        <p:spPr>
          <a:xfrm>
            <a:off x="5735264" y="1927683"/>
            <a:ext cx="5486400" cy="2603500"/>
          </a:xfrm>
        </p:spPr>
        <p:txBody>
          <a:bodyPr/>
          <a:lstStyle>
            <a:lvl1pPr>
              <a:defRPr sz="7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8149366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splash">
    <p:bg>
      <p:bgPr>
        <a:solidFill>
          <a:srgbClr val="8321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" name="Group 110"/>
          <p:cNvGrpSpPr/>
          <p:nvPr userDrawn="1"/>
        </p:nvGrpSpPr>
        <p:grpSpPr>
          <a:xfrm>
            <a:off x="3388559" y="1687629"/>
            <a:ext cx="8814356" cy="4310435"/>
            <a:chOff x="2541419" y="1687628"/>
            <a:chExt cx="6610767" cy="4310435"/>
          </a:xfrm>
          <a:solidFill>
            <a:schemeClr val="accent5"/>
          </a:solidFill>
        </p:grpSpPr>
        <p:sp>
          <p:nvSpPr>
            <p:cNvPr id="145" name="Freeform 7"/>
            <p:cNvSpPr>
              <a:spLocks/>
            </p:cNvSpPr>
            <p:nvPr userDrawn="1"/>
          </p:nvSpPr>
          <p:spPr bwMode="auto">
            <a:xfrm>
              <a:off x="3782953" y="1707783"/>
              <a:ext cx="34935" cy="79275"/>
            </a:xfrm>
            <a:custGeom>
              <a:avLst/>
              <a:gdLst>
                <a:gd name="T0" fmla="*/ 11 w 11"/>
                <a:gd name="T1" fmla="*/ 13 h 25"/>
                <a:gd name="T2" fmla="*/ 11 w 11"/>
                <a:gd name="T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25">
                  <a:moveTo>
                    <a:pt x="11" y="13"/>
                  </a:moveTo>
                  <a:cubicBezTo>
                    <a:pt x="0" y="0"/>
                    <a:pt x="4" y="25"/>
                    <a:pt x="1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6" name="Freeform 8"/>
            <p:cNvSpPr>
              <a:spLocks/>
            </p:cNvSpPr>
            <p:nvPr userDrawn="1"/>
          </p:nvSpPr>
          <p:spPr bwMode="auto">
            <a:xfrm>
              <a:off x="4782630" y="1722563"/>
              <a:ext cx="30904" cy="67183"/>
            </a:xfrm>
            <a:custGeom>
              <a:avLst/>
              <a:gdLst>
                <a:gd name="T0" fmla="*/ 10 w 10"/>
                <a:gd name="T1" fmla="*/ 11 h 21"/>
                <a:gd name="T2" fmla="*/ 0 w 10"/>
                <a:gd name="T3" fmla="*/ 11 h 21"/>
                <a:gd name="T4" fmla="*/ 10 w 10"/>
                <a:gd name="T5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1">
                  <a:moveTo>
                    <a:pt x="10" y="11"/>
                  </a:moveTo>
                  <a:cubicBezTo>
                    <a:pt x="5" y="15"/>
                    <a:pt x="1" y="0"/>
                    <a:pt x="0" y="11"/>
                  </a:cubicBezTo>
                  <a:cubicBezTo>
                    <a:pt x="1" y="13"/>
                    <a:pt x="10" y="21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7" name="Freeform 9"/>
            <p:cNvSpPr>
              <a:spLocks/>
            </p:cNvSpPr>
            <p:nvPr userDrawn="1"/>
          </p:nvSpPr>
          <p:spPr bwMode="auto">
            <a:xfrm>
              <a:off x="8294936" y="1770934"/>
              <a:ext cx="34935" cy="51059"/>
            </a:xfrm>
            <a:custGeom>
              <a:avLst/>
              <a:gdLst>
                <a:gd name="T0" fmla="*/ 3 w 11"/>
                <a:gd name="T1" fmla="*/ 0 h 16"/>
                <a:gd name="T2" fmla="*/ 0 w 11"/>
                <a:gd name="T3" fmla="*/ 15 h 16"/>
                <a:gd name="T4" fmla="*/ 3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3" y="0"/>
                  </a:moveTo>
                  <a:cubicBezTo>
                    <a:pt x="4" y="7"/>
                    <a:pt x="0" y="8"/>
                    <a:pt x="0" y="15"/>
                  </a:cubicBezTo>
                  <a:cubicBezTo>
                    <a:pt x="8" y="16"/>
                    <a:pt x="11" y="1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8" name="Freeform 10"/>
            <p:cNvSpPr>
              <a:spLocks/>
            </p:cNvSpPr>
            <p:nvPr userDrawn="1"/>
          </p:nvSpPr>
          <p:spPr bwMode="auto">
            <a:xfrm>
              <a:off x="8345995" y="1783027"/>
              <a:ext cx="18811" cy="57777"/>
            </a:xfrm>
            <a:custGeom>
              <a:avLst/>
              <a:gdLst>
                <a:gd name="T0" fmla="*/ 6 w 6"/>
                <a:gd name="T1" fmla="*/ 18 h 18"/>
                <a:gd name="T2" fmla="*/ 1 w 6"/>
                <a:gd name="T3" fmla="*/ 0 h 18"/>
                <a:gd name="T4" fmla="*/ 6 w 6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8">
                  <a:moveTo>
                    <a:pt x="6" y="18"/>
                  </a:moveTo>
                  <a:cubicBezTo>
                    <a:pt x="6" y="9"/>
                    <a:pt x="5" y="3"/>
                    <a:pt x="1" y="0"/>
                  </a:cubicBezTo>
                  <a:cubicBezTo>
                    <a:pt x="0" y="9"/>
                    <a:pt x="0" y="18"/>
                    <a:pt x="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9" name="Freeform 11"/>
            <p:cNvSpPr>
              <a:spLocks/>
            </p:cNvSpPr>
            <p:nvPr userDrawn="1"/>
          </p:nvSpPr>
          <p:spPr bwMode="auto">
            <a:xfrm>
              <a:off x="8921078" y="1783027"/>
              <a:ext cx="79275" cy="123616"/>
            </a:xfrm>
            <a:custGeom>
              <a:avLst/>
              <a:gdLst>
                <a:gd name="T0" fmla="*/ 5 w 25"/>
                <a:gd name="T1" fmla="*/ 33 h 39"/>
                <a:gd name="T2" fmla="*/ 10 w 25"/>
                <a:gd name="T3" fmla="*/ 37 h 39"/>
                <a:gd name="T4" fmla="*/ 13 w 25"/>
                <a:gd name="T5" fmla="*/ 33 h 39"/>
                <a:gd name="T6" fmla="*/ 19 w 25"/>
                <a:gd name="T7" fmla="*/ 26 h 39"/>
                <a:gd name="T8" fmla="*/ 24 w 25"/>
                <a:gd name="T9" fmla="*/ 18 h 39"/>
                <a:gd name="T10" fmla="*/ 16 w 25"/>
                <a:gd name="T11" fmla="*/ 0 h 39"/>
                <a:gd name="T12" fmla="*/ 2 w 25"/>
                <a:gd name="T13" fmla="*/ 15 h 39"/>
                <a:gd name="T14" fmla="*/ 13 w 25"/>
                <a:gd name="T15" fmla="*/ 11 h 39"/>
                <a:gd name="T16" fmla="*/ 10 w 25"/>
                <a:gd name="T17" fmla="*/ 30 h 39"/>
                <a:gd name="T18" fmla="*/ 0 w 25"/>
                <a:gd name="T19" fmla="*/ 26 h 39"/>
                <a:gd name="T20" fmla="*/ 2 w 25"/>
                <a:gd name="T21" fmla="*/ 37 h 39"/>
                <a:gd name="T22" fmla="*/ 5 w 25"/>
                <a:gd name="T23" fmla="*/ 3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39">
                  <a:moveTo>
                    <a:pt x="5" y="33"/>
                  </a:moveTo>
                  <a:cubicBezTo>
                    <a:pt x="8" y="32"/>
                    <a:pt x="9" y="38"/>
                    <a:pt x="10" y="37"/>
                  </a:cubicBezTo>
                  <a:cubicBezTo>
                    <a:pt x="12" y="36"/>
                    <a:pt x="10" y="33"/>
                    <a:pt x="13" y="33"/>
                  </a:cubicBezTo>
                  <a:cubicBezTo>
                    <a:pt x="17" y="33"/>
                    <a:pt x="16" y="26"/>
                    <a:pt x="19" y="26"/>
                  </a:cubicBezTo>
                  <a:cubicBezTo>
                    <a:pt x="22" y="25"/>
                    <a:pt x="21" y="20"/>
                    <a:pt x="24" y="18"/>
                  </a:cubicBezTo>
                  <a:cubicBezTo>
                    <a:pt x="25" y="8"/>
                    <a:pt x="19" y="6"/>
                    <a:pt x="16" y="0"/>
                  </a:cubicBezTo>
                  <a:cubicBezTo>
                    <a:pt x="10" y="3"/>
                    <a:pt x="0" y="0"/>
                    <a:pt x="2" y="15"/>
                  </a:cubicBezTo>
                  <a:cubicBezTo>
                    <a:pt x="9" y="20"/>
                    <a:pt x="11" y="0"/>
                    <a:pt x="13" y="11"/>
                  </a:cubicBezTo>
                  <a:cubicBezTo>
                    <a:pt x="14" y="21"/>
                    <a:pt x="3" y="20"/>
                    <a:pt x="10" y="30"/>
                  </a:cubicBezTo>
                  <a:cubicBezTo>
                    <a:pt x="5" y="23"/>
                    <a:pt x="5" y="32"/>
                    <a:pt x="0" y="26"/>
                  </a:cubicBezTo>
                  <a:cubicBezTo>
                    <a:pt x="0" y="30"/>
                    <a:pt x="0" y="35"/>
                    <a:pt x="2" y="37"/>
                  </a:cubicBezTo>
                  <a:cubicBezTo>
                    <a:pt x="5" y="39"/>
                    <a:pt x="5" y="33"/>
                    <a:pt x="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0" name="Freeform 12"/>
            <p:cNvSpPr>
              <a:spLocks/>
            </p:cNvSpPr>
            <p:nvPr userDrawn="1"/>
          </p:nvSpPr>
          <p:spPr bwMode="auto">
            <a:xfrm>
              <a:off x="8399741" y="1817962"/>
              <a:ext cx="16124" cy="22842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3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1" name="Freeform 13"/>
            <p:cNvSpPr>
              <a:spLocks/>
            </p:cNvSpPr>
            <p:nvPr userDrawn="1"/>
          </p:nvSpPr>
          <p:spPr bwMode="auto">
            <a:xfrm>
              <a:off x="7350349" y="1840804"/>
              <a:ext cx="14780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2" name="Freeform 14"/>
            <p:cNvSpPr>
              <a:spLocks/>
            </p:cNvSpPr>
            <p:nvPr userDrawn="1"/>
          </p:nvSpPr>
          <p:spPr bwMode="auto">
            <a:xfrm>
              <a:off x="8534106" y="1840804"/>
              <a:ext cx="28217" cy="72557"/>
            </a:xfrm>
            <a:custGeom>
              <a:avLst/>
              <a:gdLst>
                <a:gd name="T0" fmla="*/ 9 w 9"/>
                <a:gd name="T1" fmla="*/ 23 h 23"/>
                <a:gd name="T2" fmla="*/ 3 w 9"/>
                <a:gd name="T3" fmla="*/ 0 h 23"/>
                <a:gd name="T4" fmla="*/ 9 w 9"/>
                <a:gd name="T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3">
                  <a:moveTo>
                    <a:pt x="9" y="23"/>
                  </a:moveTo>
                  <a:cubicBezTo>
                    <a:pt x="6" y="16"/>
                    <a:pt x="8" y="4"/>
                    <a:pt x="3" y="0"/>
                  </a:cubicBezTo>
                  <a:cubicBezTo>
                    <a:pt x="0" y="5"/>
                    <a:pt x="1" y="23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3" name="Freeform 15"/>
            <p:cNvSpPr>
              <a:spLocks/>
            </p:cNvSpPr>
            <p:nvPr userDrawn="1"/>
          </p:nvSpPr>
          <p:spPr bwMode="auto">
            <a:xfrm>
              <a:off x="8986917" y="1831399"/>
              <a:ext cx="38966" cy="104805"/>
            </a:xfrm>
            <a:custGeom>
              <a:avLst/>
              <a:gdLst>
                <a:gd name="T0" fmla="*/ 3 w 12"/>
                <a:gd name="T1" fmla="*/ 33 h 33"/>
                <a:gd name="T2" fmla="*/ 8 w 12"/>
                <a:gd name="T3" fmla="*/ 33 h 33"/>
                <a:gd name="T4" fmla="*/ 11 w 12"/>
                <a:gd name="T5" fmla="*/ 29 h 33"/>
                <a:gd name="T6" fmla="*/ 6 w 12"/>
                <a:gd name="T7" fmla="*/ 18 h 33"/>
                <a:gd name="T8" fmla="*/ 3 w 12"/>
                <a:gd name="T9" fmla="*/ 3 h 33"/>
                <a:gd name="T10" fmla="*/ 3 w 12"/>
                <a:gd name="T1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33">
                  <a:moveTo>
                    <a:pt x="3" y="33"/>
                  </a:moveTo>
                  <a:cubicBezTo>
                    <a:pt x="5" y="33"/>
                    <a:pt x="7" y="33"/>
                    <a:pt x="8" y="33"/>
                  </a:cubicBezTo>
                  <a:cubicBezTo>
                    <a:pt x="9" y="31"/>
                    <a:pt x="9" y="29"/>
                    <a:pt x="11" y="29"/>
                  </a:cubicBezTo>
                  <a:cubicBezTo>
                    <a:pt x="12" y="22"/>
                    <a:pt x="7" y="22"/>
                    <a:pt x="6" y="18"/>
                  </a:cubicBezTo>
                  <a:cubicBezTo>
                    <a:pt x="8" y="15"/>
                    <a:pt x="12" y="0"/>
                    <a:pt x="3" y="3"/>
                  </a:cubicBezTo>
                  <a:cubicBezTo>
                    <a:pt x="0" y="17"/>
                    <a:pt x="1" y="24"/>
                    <a:pt x="3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4" name="Freeform 16"/>
            <p:cNvSpPr>
              <a:spLocks/>
            </p:cNvSpPr>
            <p:nvPr userDrawn="1"/>
          </p:nvSpPr>
          <p:spPr bwMode="auto">
            <a:xfrm>
              <a:off x="8476329" y="1887832"/>
              <a:ext cx="60464" cy="83306"/>
            </a:xfrm>
            <a:custGeom>
              <a:avLst/>
              <a:gdLst>
                <a:gd name="T0" fmla="*/ 11 w 19"/>
                <a:gd name="T1" fmla="*/ 26 h 26"/>
                <a:gd name="T2" fmla="*/ 19 w 19"/>
                <a:gd name="T3" fmla="*/ 15 h 26"/>
                <a:gd name="T4" fmla="*/ 19 w 19"/>
                <a:gd name="T5" fmla="*/ 0 h 26"/>
                <a:gd name="T6" fmla="*/ 11 w 19"/>
                <a:gd name="T7" fmla="*/ 0 h 26"/>
                <a:gd name="T8" fmla="*/ 11 w 19"/>
                <a:gd name="T9" fmla="*/ 15 h 26"/>
                <a:gd name="T10" fmla="*/ 11 w 19"/>
                <a:gd name="T1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6">
                  <a:moveTo>
                    <a:pt x="11" y="26"/>
                  </a:moveTo>
                  <a:cubicBezTo>
                    <a:pt x="14" y="23"/>
                    <a:pt x="11" y="12"/>
                    <a:pt x="19" y="15"/>
                  </a:cubicBezTo>
                  <a:cubicBezTo>
                    <a:pt x="19" y="10"/>
                    <a:pt x="19" y="5"/>
                    <a:pt x="19" y="0"/>
                  </a:cubicBezTo>
                  <a:cubicBezTo>
                    <a:pt x="16" y="0"/>
                    <a:pt x="13" y="0"/>
                    <a:pt x="11" y="0"/>
                  </a:cubicBezTo>
                  <a:cubicBezTo>
                    <a:pt x="7" y="10"/>
                    <a:pt x="11" y="11"/>
                    <a:pt x="11" y="15"/>
                  </a:cubicBezTo>
                  <a:cubicBezTo>
                    <a:pt x="10" y="17"/>
                    <a:pt x="0" y="23"/>
                    <a:pt x="11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5" name="Freeform 17"/>
            <p:cNvSpPr>
              <a:spLocks/>
            </p:cNvSpPr>
            <p:nvPr userDrawn="1"/>
          </p:nvSpPr>
          <p:spPr bwMode="auto">
            <a:xfrm>
              <a:off x="8771933" y="1885145"/>
              <a:ext cx="37622" cy="81963"/>
            </a:xfrm>
            <a:custGeom>
              <a:avLst/>
              <a:gdLst>
                <a:gd name="T0" fmla="*/ 12 w 12"/>
                <a:gd name="T1" fmla="*/ 23 h 26"/>
                <a:gd name="T2" fmla="*/ 1 w 12"/>
                <a:gd name="T3" fmla="*/ 1 h 26"/>
                <a:gd name="T4" fmla="*/ 6 w 12"/>
                <a:gd name="T5" fmla="*/ 16 h 26"/>
                <a:gd name="T6" fmla="*/ 12 w 12"/>
                <a:gd name="T7" fmla="*/ 2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12" y="23"/>
                  </a:moveTo>
                  <a:cubicBezTo>
                    <a:pt x="9" y="15"/>
                    <a:pt x="11" y="0"/>
                    <a:pt x="1" y="1"/>
                  </a:cubicBezTo>
                  <a:cubicBezTo>
                    <a:pt x="0" y="7"/>
                    <a:pt x="5" y="12"/>
                    <a:pt x="6" y="16"/>
                  </a:cubicBezTo>
                  <a:cubicBezTo>
                    <a:pt x="8" y="19"/>
                    <a:pt x="6" y="26"/>
                    <a:pt x="1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6" name="Freeform 18"/>
            <p:cNvSpPr>
              <a:spLocks/>
            </p:cNvSpPr>
            <p:nvPr userDrawn="1"/>
          </p:nvSpPr>
          <p:spPr bwMode="auto">
            <a:xfrm>
              <a:off x="4985522" y="1901268"/>
              <a:ext cx="18811" cy="21498"/>
            </a:xfrm>
            <a:custGeom>
              <a:avLst/>
              <a:gdLst>
                <a:gd name="T0" fmla="*/ 0 w 6"/>
                <a:gd name="T1" fmla="*/ 7 h 7"/>
                <a:gd name="T2" fmla="*/ 6 w 6"/>
                <a:gd name="T3" fmla="*/ 7 h 7"/>
                <a:gd name="T4" fmla="*/ 6 w 6"/>
                <a:gd name="T5" fmla="*/ 0 h 7"/>
                <a:gd name="T6" fmla="*/ 0 w 6"/>
                <a:gd name="T7" fmla="*/ 0 h 7"/>
                <a:gd name="T8" fmla="*/ 0 w 6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7"/>
                  </a:moveTo>
                  <a:cubicBezTo>
                    <a:pt x="2" y="7"/>
                    <a:pt x="4" y="7"/>
                    <a:pt x="6" y="7"/>
                  </a:cubicBezTo>
                  <a:cubicBezTo>
                    <a:pt x="6" y="5"/>
                    <a:pt x="6" y="2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7" name="Freeform 19"/>
            <p:cNvSpPr>
              <a:spLocks/>
            </p:cNvSpPr>
            <p:nvPr userDrawn="1"/>
          </p:nvSpPr>
          <p:spPr bwMode="auto">
            <a:xfrm>
              <a:off x="7707760" y="1901268"/>
              <a:ext cx="16124" cy="21498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4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8" name="Freeform 20"/>
            <p:cNvSpPr>
              <a:spLocks/>
            </p:cNvSpPr>
            <p:nvPr userDrawn="1"/>
          </p:nvSpPr>
          <p:spPr bwMode="auto">
            <a:xfrm>
              <a:off x="5395336" y="1910674"/>
              <a:ext cx="44341" cy="44341"/>
            </a:xfrm>
            <a:custGeom>
              <a:avLst/>
              <a:gdLst>
                <a:gd name="T0" fmla="*/ 0 w 14"/>
                <a:gd name="T1" fmla="*/ 8 h 14"/>
                <a:gd name="T2" fmla="*/ 14 w 14"/>
                <a:gd name="T3" fmla="*/ 4 h 14"/>
                <a:gd name="T4" fmla="*/ 0 w 14"/>
                <a:gd name="T5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0" y="8"/>
                  </a:moveTo>
                  <a:cubicBezTo>
                    <a:pt x="4" y="14"/>
                    <a:pt x="11" y="11"/>
                    <a:pt x="14" y="4"/>
                  </a:cubicBezTo>
                  <a:cubicBezTo>
                    <a:pt x="10" y="6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9" name="Freeform 21"/>
            <p:cNvSpPr>
              <a:spLocks/>
            </p:cNvSpPr>
            <p:nvPr userDrawn="1"/>
          </p:nvSpPr>
          <p:spPr bwMode="auto">
            <a:xfrm>
              <a:off x="7086993" y="1910674"/>
              <a:ext cx="37622" cy="85994"/>
            </a:xfrm>
            <a:custGeom>
              <a:avLst/>
              <a:gdLst>
                <a:gd name="T0" fmla="*/ 2 w 12"/>
                <a:gd name="T1" fmla="*/ 4 h 27"/>
                <a:gd name="T2" fmla="*/ 0 w 12"/>
                <a:gd name="T3" fmla="*/ 19 h 27"/>
                <a:gd name="T4" fmla="*/ 2 w 12"/>
                <a:gd name="T5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7">
                  <a:moveTo>
                    <a:pt x="2" y="4"/>
                  </a:moveTo>
                  <a:cubicBezTo>
                    <a:pt x="2" y="11"/>
                    <a:pt x="2" y="16"/>
                    <a:pt x="0" y="19"/>
                  </a:cubicBezTo>
                  <a:cubicBezTo>
                    <a:pt x="10" y="27"/>
                    <a:pt x="12" y="0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0" name="Freeform 22"/>
            <p:cNvSpPr>
              <a:spLocks/>
            </p:cNvSpPr>
            <p:nvPr userDrawn="1"/>
          </p:nvSpPr>
          <p:spPr bwMode="auto">
            <a:xfrm>
              <a:off x="8844490" y="1906643"/>
              <a:ext cx="22842" cy="69870"/>
            </a:xfrm>
            <a:custGeom>
              <a:avLst/>
              <a:gdLst>
                <a:gd name="T0" fmla="*/ 0 w 7"/>
                <a:gd name="T1" fmla="*/ 5 h 22"/>
                <a:gd name="T2" fmla="*/ 0 w 7"/>
                <a:gd name="T3" fmla="*/ 16 h 22"/>
                <a:gd name="T4" fmla="*/ 0 w 7"/>
                <a:gd name="T5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2">
                  <a:moveTo>
                    <a:pt x="0" y="5"/>
                  </a:moveTo>
                  <a:cubicBezTo>
                    <a:pt x="0" y="9"/>
                    <a:pt x="0" y="13"/>
                    <a:pt x="0" y="16"/>
                  </a:cubicBezTo>
                  <a:cubicBezTo>
                    <a:pt x="7" y="22"/>
                    <a:pt x="7" y="0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1" name="Freeform 23"/>
            <p:cNvSpPr>
              <a:spLocks/>
            </p:cNvSpPr>
            <p:nvPr userDrawn="1"/>
          </p:nvSpPr>
          <p:spPr bwMode="auto">
            <a:xfrm>
              <a:off x="5778276" y="1906643"/>
              <a:ext cx="34935" cy="79275"/>
            </a:xfrm>
            <a:custGeom>
              <a:avLst/>
              <a:gdLst>
                <a:gd name="T0" fmla="*/ 11 w 11"/>
                <a:gd name="T1" fmla="*/ 13 h 25"/>
                <a:gd name="T2" fmla="*/ 11 w 11"/>
                <a:gd name="T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25">
                  <a:moveTo>
                    <a:pt x="11" y="13"/>
                  </a:moveTo>
                  <a:cubicBezTo>
                    <a:pt x="0" y="0"/>
                    <a:pt x="5" y="25"/>
                    <a:pt x="1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2" name="Freeform 24"/>
            <p:cNvSpPr>
              <a:spLocks/>
            </p:cNvSpPr>
            <p:nvPr userDrawn="1"/>
          </p:nvSpPr>
          <p:spPr bwMode="auto">
            <a:xfrm>
              <a:off x="5870988" y="1926798"/>
              <a:ext cx="47028" cy="30904"/>
            </a:xfrm>
            <a:custGeom>
              <a:avLst/>
              <a:gdLst>
                <a:gd name="T0" fmla="*/ 9 w 15"/>
                <a:gd name="T1" fmla="*/ 10 h 10"/>
                <a:gd name="T2" fmla="*/ 14 w 15"/>
                <a:gd name="T3" fmla="*/ 3 h 10"/>
                <a:gd name="T4" fmla="*/ 9 w 15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9" y="10"/>
                  </a:moveTo>
                  <a:cubicBezTo>
                    <a:pt x="8" y="7"/>
                    <a:pt x="15" y="5"/>
                    <a:pt x="14" y="3"/>
                  </a:cubicBezTo>
                  <a:cubicBezTo>
                    <a:pt x="12" y="0"/>
                    <a:pt x="0" y="4"/>
                    <a:pt x="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3" name="Freeform 25"/>
            <p:cNvSpPr>
              <a:spLocks/>
            </p:cNvSpPr>
            <p:nvPr userDrawn="1"/>
          </p:nvSpPr>
          <p:spPr bwMode="auto">
            <a:xfrm>
              <a:off x="6940535" y="1932172"/>
              <a:ext cx="25529" cy="38966"/>
            </a:xfrm>
            <a:custGeom>
              <a:avLst/>
              <a:gdLst>
                <a:gd name="T0" fmla="*/ 8 w 8"/>
                <a:gd name="T1" fmla="*/ 5 h 12"/>
                <a:gd name="T2" fmla="*/ 0 w 8"/>
                <a:gd name="T3" fmla="*/ 1 h 12"/>
                <a:gd name="T4" fmla="*/ 0 w 8"/>
                <a:gd name="T5" fmla="*/ 12 h 12"/>
                <a:gd name="T6" fmla="*/ 5 w 8"/>
                <a:gd name="T7" fmla="*/ 12 h 12"/>
                <a:gd name="T8" fmla="*/ 8 w 8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8" y="5"/>
                  </a:moveTo>
                  <a:cubicBezTo>
                    <a:pt x="5" y="4"/>
                    <a:pt x="4" y="0"/>
                    <a:pt x="0" y="1"/>
                  </a:cubicBezTo>
                  <a:cubicBezTo>
                    <a:pt x="0" y="5"/>
                    <a:pt x="0" y="8"/>
                    <a:pt x="0" y="12"/>
                  </a:cubicBezTo>
                  <a:cubicBezTo>
                    <a:pt x="2" y="12"/>
                    <a:pt x="3" y="12"/>
                    <a:pt x="5" y="12"/>
                  </a:cubicBezTo>
                  <a:cubicBezTo>
                    <a:pt x="5" y="8"/>
                    <a:pt x="7" y="8"/>
                    <a:pt x="8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4" name="Freeform 26"/>
            <p:cNvSpPr>
              <a:spLocks/>
            </p:cNvSpPr>
            <p:nvPr userDrawn="1"/>
          </p:nvSpPr>
          <p:spPr bwMode="auto">
            <a:xfrm>
              <a:off x="5959669" y="1938891"/>
              <a:ext cx="37622" cy="44341"/>
            </a:xfrm>
            <a:custGeom>
              <a:avLst/>
              <a:gdLst>
                <a:gd name="T0" fmla="*/ 10 w 12"/>
                <a:gd name="T1" fmla="*/ 3 h 14"/>
                <a:gd name="T2" fmla="*/ 2 w 12"/>
                <a:gd name="T3" fmla="*/ 6 h 14"/>
                <a:gd name="T4" fmla="*/ 10 w 12"/>
                <a:gd name="T5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4">
                  <a:moveTo>
                    <a:pt x="10" y="3"/>
                  </a:moveTo>
                  <a:cubicBezTo>
                    <a:pt x="8" y="0"/>
                    <a:pt x="3" y="5"/>
                    <a:pt x="2" y="6"/>
                  </a:cubicBezTo>
                  <a:cubicBezTo>
                    <a:pt x="0" y="14"/>
                    <a:pt x="12" y="5"/>
                    <a:pt x="1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5" name="Freeform 27"/>
            <p:cNvSpPr>
              <a:spLocks/>
            </p:cNvSpPr>
            <p:nvPr userDrawn="1"/>
          </p:nvSpPr>
          <p:spPr bwMode="auto">
            <a:xfrm>
              <a:off x="6343954" y="1948296"/>
              <a:ext cx="16124" cy="22842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6" name="Freeform 28"/>
            <p:cNvSpPr>
              <a:spLocks/>
            </p:cNvSpPr>
            <p:nvPr userDrawn="1"/>
          </p:nvSpPr>
          <p:spPr bwMode="auto">
            <a:xfrm>
              <a:off x="8902267" y="1948296"/>
              <a:ext cx="18811" cy="22842"/>
            </a:xfrm>
            <a:custGeom>
              <a:avLst/>
              <a:gdLst>
                <a:gd name="T0" fmla="*/ 6 w 6"/>
                <a:gd name="T1" fmla="*/ 0 h 7"/>
                <a:gd name="T2" fmla="*/ 0 w 6"/>
                <a:gd name="T3" fmla="*/ 0 h 7"/>
                <a:gd name="T4" fmla="*/ 0 w 6"/>
                <a:gd name="T5" fmla="*/ 7 h 7"/>
                <a:gd name="T6" fmla="*/ 6 w 6"/>
                <a:gd name="T7" fmla="*/ 7 h 7"/>
                <a:gd name="T8" fmla="*/ 6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4" y="7"/>
                    <a:pt x="6" y="7"/>
                  </a:cubicBezTo>
                  <a:cubicBezTo>
                    <a:pt x="6" y="5"/>
                    <a:pt x="6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7" name="Freeform 29"/>
            <p:cNvSpPr>
              <a:spLocks/>
            </p:cNvSpPr>
            <p:nvPr userDrawn="1"/>
          </p:nvSpPr>
          <p:spPr bwMode="auto">
            <a:xfrm>
              <a:off x="8986917" y="1948296"/>
              <a:ext cx="29560" cy="37622"/>
            </a:xfrm>
            <a:custGeom>
              <a:avLst/>
              <a:gdLst>
                <a:gd name="T0" fmla="*/ 8 w 9"/>
                <a:gd name="T1" fmla="*/ 11 h 12"/>
                <a:gd name="T2" fmla="*/ 3 w 9"/>
                <a:gd name="T3" fmla="*/ 0 h 12"/>
                <a:gd name="T4" fmla="*/ 0 w 9"/>
                <a:gd name="T5" fmla="*/ 7 h 12"/>
                <a:gd name="T6" fmla="*/ 8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11"/>
                  </a:moveTo>
                  <a:cubicBezTo>
                    <a:pt x="9" y="4"/>
                    <a:pt x="6" y="1"/>
                    <a:pt x="3" y="0"/>
                  </a:cubicBezTo>
                  <a:cubicBezTo>
                    <a:pt x="3" y="3"/>
                    <a:pt x="1" y="4"/>
                    <a:pt x="0" y="7"/>
                  </a:cubicBezTo>
                  <a:cubicBezTo>
                    <a:pt x="4" y="7"/>
                    <a:pt x="4" y="12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8" name="Freeform 30"/>
            <p:cNvSpPr>
              <a:spLocks/>
            </p:cNvSpPr>
            <p:nvPr userDrawn="1"/>
          </p:nvSpPr>
          <p:spPr bwMode="auto">
            <a:xfrm>
              <a:off x="9037976" y="1938891"/>
              <a:ext cx="32248" cy="44341"/>
            </a:xfrm>
            <a:custGeom>
              <a:avLst/>
              <a:gdLst>
                <a:gd name="T0" fmla="*/ 0 w 10"/>
                <a:gd name="T1" fmla="*/ 10 h 14"/>
                <a:gd name="T2" fmla="*/ 8 w 10"/>
                <a:gd name="T3" fmla="*/ 14 h 14"/>
                <a:gd name="T4" fmla="*/ 0 w 10"/>
                <a:gd name="T5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4">
                  <a:moveTo>
                    <a:pt x="0" y="10"/>
                  </a:moveTo>
                  <a:cubicBezTo>
                    <a:pt x="4" y="10"/>
                    <a:pt x="6" y="12"/>
                    <a:pt x="8" y="14"/>
                  </a:cubicBezTo>
                  <a:cubicBezTo>
                    <a:pt x="10" y="2"/>
                    <a:pt x="1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9" name="Freeform 31"/>
            <p:cNvSpPr>
              <a:spLocks/>
            </p:cNvSpPr>
            <p:nvPr userDrawn="1"/>
          </p:nvSpPr>
          <p:spPr bwMode="auto">
            <a:xfrm>
              <a:off x="6521316" y="1983231"/>
              <a:ext cx="48371" cy="51059"/>
            </a:xfrm>
            <a:custGeom>
              <a:avLst/>
              <a:gdLst>
                <a:gd name="T0" fmla="*/ 6 w 15"/>
                <a:gd name="T1" fmla="*/ 11 h 16"/>
                <a:gd name="T2" fmla="*/ 3 w 15"/>
                <a:gd name="T3" fmla="*/ 15 h 16"/>
                <a:gd name="T4" fmla="*/ 14 w 15"/>
                <a:gd name="T5" fmla="*/ 0 h 16"/>
                <a:gd name="T6" fmla="*/ 0 w 15"/>
                <a:gd name="T7" fmla="*/ 7 h 16"/>
                <a:gd name="T8" fmla="*/ 6 w 15"/>
                <a:gd name="T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6" y="11"/>
                  </a:moveTo>
                  <a:cubicBezTo>
                    <a:pt x="4" y="11"/>
                    <a:pt x="2" y="11"/>
                    <a:pt x="3" y="15"/>
                  </a:cubicBezTo>
                  <a:cubicBezTo>
                    <a:pt x="11" y="16"/>
                    <a:pt x="15" y="11"/>
                    <a:pt x="14" y="0"/>
                  </a:cubicBezTo>
                  <a:cubicBezTo>
                    <a:pt x="9" y="2"/>
                    <a:pt x="2" y="2"/>
                    <a:pt x="0" y="7"/>
                  </a:cubicBezTo>
                  <a:cubicBezTo>
                    <a:pt x="2" y="8"/>
                    <a:pt x="5" y="7"/>
                    <a:pt x="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0" name="Freeform 32"/>
            <p:cNvSpPr>
              <a:spLocks/>
            </p:cNvSpPr>
            <p:nvPr userDrawn="1"/>
          </p:nvSpPr>
          <p:spPr bwMode="auto">
            <a:xfrm>
              <a:off x="7397377" y="1973826"/>
              <a:ext cx="51059" cy="37622"/>
            </a:xfrm>
            <a:custGeom>
              <a:avLst/>
              <a:gdLst>
                <a:gd name="T0" fmla="*/ 12 w 16"/>
                <a:gd name="T1" fmla="*/ 10 h 12"/>
                <a:gd name="T2" fmla="*/ 1 w 16"/>
                <a:gd name="T3" fmla="*/ 6 h 12"/>
                <a:gd name="T4" fmla="*/ 12 w 16"/>
                <a:gd name="T5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2" y="10"/>
                  </a:moveTo>
                  <a:cubicBezTo>
                    <a:pt x="16" y="0"/>
                    <a:pt x="0" y="0"/>
                    <a:pt x="1" y="6"/>
                  </a:cubicBezTo>
                  <a:cubicBezTo>
                    <a:pt x="5" y="8"/>
                    <a:pt x="6" y="12"/>
                    <a:pt x="1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1" name="Freeform 33"/>
            <p:cNvSpPr>
              <a:spLocks/>
            </p:cNvSpPr>
            <p:nvPr userDrawn="1"/>
          </p:nvSpPr>
          <p:spPr bwMode="auto">
            <a:xfrm>
              <a:off x="7508900" y="1983231"/>
              <a:ext cx="40310" cy="37622"/>
            </a:xfrm>
            <a:custGeom>
              <a:avLst/>
              <a:gdLst>
                <a:gd name="T0" fmla="*/ 12 w 13"/>
                <a:gd name="T1" fmla="*/ 11 h 12"/>
                <a:gd name="T2" fmla="*/ 1 w 13"/>
                <a:gd name="T3" fmla="*/ 0 h 12"/>
                <a:gd name="T4" fmla="*/ 12 w 13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2" y="11"/>
                  </a:moveTo>
                  <a:cubicBezTo>
                    <a:pt x="13" y="1"/>
                    <a:pt x="6" y="1"/>
                    <a:pt x="1" y="0"/>
                  </a:cubicBezTo>
                  <a:cubicBezTo>
                    <a:pt x="0" y="9"/>
                    <a:pt x="5" y="12"/>
                    <a:pt x="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2" name="Freeform 34"/>
            <p:cNvSpPr>
              <a:spLocks/>
            </p:cNvSpPr>
            <p:nvPr userDrawn="1"/>
          </p:nvSpPr>
          <p:spPr bwMode="auto">
            <a:xfrm>
              <a:off x="6061787" y="1989949"/>
              <a:ext cx="24186" cy="28217"/>
            </a:xfrm>
            <a:custGeom>
              <a:avLst/>
              <a:gdLst>
                <a:gd name="T0" fmla="*/ 0 w 8"/>
                <a:gd name="T1" fmla="*/ 1 h 9"/>
                <a:gd name="T2" fmla="*/ 0 w 8"/>
                <a:gd name="T3" fmla="*/ 9 h 9"/>
                <a:gd name="T4" fmla="*/ 8 w 8"/>
                <a:gd name="T5" fmla="*/ 9 h 9"/>
                <a:gd name="T6" fmla="*/ 0 w 8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3" y="9"/>
                    <a:pt x="5" y="9"/>
                    <a:pt x="8" y="9"/>
                  </a:cubicBezTo>
                  <a:cubicBezTo>
                    <a:pt x="8" y="2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3" name="Freeform 35"/>
            <p:cNvSpPr>
              <a:spLocks/>
            </p:cNvSpPr>
            <p:nvPr userDrawn="1"/>
          </p:nvSpPr>
          <p:spPr bwMode="auto">
            <a:xfrm>
              <a:off x="6290208" y="1976513"/>
              <a:ext cx="60464" cy="69870"/>
            </a:xfrm>
            <a:custGeom>
              <a:avLst/>
              <a:gdLst>
                <a:gd name="T0" fmla="*/ 19 w 19"/>
                <a:gd name="T1" fmla="*/ 13 h 22"/>
                <a:gd name="T2" fmla="*/ 0 w 19"/>
                <a:gd name="T3" fmla="*/ 13 h 22"/>
                <a:gd name="T4" fmla="*/ 19 w 19"/>
                <a:gd name="T5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22">
                  <a:moveTo>
                    <a:pt x="19" y="13"/>
                  </a:moveTo>
                  <a:cubicBezTo>
                    <a:pt x="13" y="11"/>
                    <a:pt x="2" y="0"/>
                    <a:pt x="0" y="13"/>
                  </a:cubicBezTo>
                  <a:cubicBezTo>
                    <a:pt x="9" y="8"/>
                    <a:pt x="17" y="22"/>
                    <a:pt x="19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4" name="Freeform 36"/>
            <p:cNvSpPr>
              <a:spLocks/>
            </p:cNvSpPr>
            <p:nvPr userDrawn="1"/>
          </p:nvSpPr>
          <p:spPr bwMode="auto">
            <a:xfrm>
              <a:off x="6632839" y="1980544"/>
              <a:ext cx="72557" cy="72557"/>
            </a:xfrm>
            <a:custGeom>
              <a:avLst/>
              <a:gdLst>
                <a:gd name="T0" fmla="*/ 14 w 23"/>
                <a:gd name="T1" fmla="*/ 23 h 23"/>
                <a:gd name="T2" fmla="*/ 14 w 23"/>
                <a:gd name="T3" fmla="*/ 4 h 23"/>
                <a:gd name="T4" fmla="*/ 3 w 23"/>
                <a:gd name="T5" fmla="*/ 4 h 23"/>
                <a:gd name="T6" fmla="*/ 0 w 23"/>
                <a:gd name="T7" fmla="*/ 16 h 23"/>
                <a:gd name="T8" fmla="*/ 14 w 23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4" y="23"/>
                  </a:moveTo>
                  <a:cubicBezTo>
                    <a:pt x="15" y="16"/>
                    <a:pt x="23" y="7"/>
                    <a:pt x="14" y="4"/>
                  </a:cubicBezTo>
                  <a:cubicBezTo>
                    <a:pt x="13" y="22"/>
                    <a:pt x="10" y="0"/>
                    <a:pt x="3" y="4"/>
                  </a:cubicBezTo>
                  <a:cubicBezTo>
                    <a:pt x="3" y="10"/>
                    <a:pt x="1" y="13"/>
                    <a:pt x="0" y="16"/>
                  </a:cubicBezTo>
                  <a:cubicBezTo>
                    <a:pt x="9" y="12"/>
                    <a:pt x="8" y="21"/>
                    <a:pt x="14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5" name="Freeform 37"/>
            <p:cNvSpPr>
              <a:spLocks/>
            </p:cNvSpPr>
            <p:nvPr userDrawn="1"/>
          </p:nvSpPr>
          <p:spPr bwMode="auto">
            <a:xfrm>
              <a:off x="8397054" y="1989949"/>
              <a:ext cx="32248" cy="51059"/>
            </a:xfrm>
            <a:custGeom>
              <a:avLst/>
              <a:gdLst>
                <a:gd name="T0" fmla="*/ 1 w 10"/>
                <a:gd name="T1" fmla="*/ 1 h 16"/>
                <a:gd name="T2" fmla="*/ 9 w 10"/>
                <a:gd name="T3" fmla="*/ 16 h 16"/>
                <a:gd name="T4" fmla="*/ 1 w 10"/>
                <a:gd name="T5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6">
                  <a:moveTo>
                    <a:pt x="1" y="1"/>
                  </a:moveTo>
                  <a:cubicBezTo>
                    <a:pt x="0" y="11"/>
                    <a:pt x="5" y="13"/>
                    <a:pt x="9" y="16"/>
                  </a:cubicBezTo>
                  <a:cubicBezTo>
                    <a:pt x="10" y="7"/>
                    <a:pt x="8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6" name="Freeform 38"/>
            <p:cNvSpPr>
              <a:spLocks/>
            </p:cNvSpPr>
            <p:nvPr userDrawn="1"/>
          </p:nvSpPr>
          <p:spPr bwMode="auto">
            <a:xfrm>
              <a:off x="7178362" y="2002042"/>
              <a:ext cx="76588" cy="83306"/>
            </a:xfrm>
            <a:custGeom>
              <a:avLst/>
              <a:gdLst>
                <a:gd name="T0" fmla="*/ 14 w 24"/>
                <a:gd name="T1" fmla="*/ 16 h 26"/>
                <a:gd name="T2" fmla="*/ 24 w 24"/>
                <a:gd name="T3" fmla="*/ 16 h 26"/>
                <a:gd name="T4" fmla="*/ 16 w 24"/>
                <a:gd name="T5" fmla="*/ 16 h 26"/>
                <a:gd name="T6" fmla="*/ 11 w 24"/>
                <a:gd name="T7" fmla="*/ 5 h 26"/>
                <a:gd name="T8" fmla="*/ 6 w 24"/>
                <a:gd name="T9" fmla="*/ 5 h 26"/>
                <a:gd name="T10" fmla="*/ 0 w 24"/>
                <a:gd name="T11" fmla="*/ 20 h 26"/>
                <a:gd name="T12" fmla="*/ 14 w 24"/>
                <a:gd name="T13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6">
                  <a:moveTo>
                    <a:pt x="14" y="16"/>
                  </a:moveTo>
                  <a:cubicBezTo>
                    <a:pt x="16" y="22"/>
                    <a:pt x="24" y="26"/>
                    <a:pt x="24" y="16"/>
                  </a:cubicBezTo>
                  <a:cubicBezTo>
                    <a:pt x="22" y="16"/>
                    <a:pt x="19" y="16"/>
                    <a:pt x="16" y="16"/>
                  </a:cubicBezTo>
                  <a:cubicBezTo>
                    <a:pt x="17" y="9"/>
                    <a:pt x="13" y="9"/>
                    <a:pt x="11" y="5"/>
                  </a:cubicBezTo>
                  <a:cubicBezTo>
                    <a:pt x="11" y="1"/>
                    <a:pt x="6" y="0"/>
                    <a:pt x="6" y="5"/>
                  </a:cubicBezTo>
                  <a:cubicBezTo>
                    <a:pt x="14" y="10"/>
                    <a:pt x="1" y="15"/>
                    <a:pt x="0" y="20"/>
                  </a:cubicBezTo>
                  <a:cubicBezTo>
                    <a:pt x="6" y="21"/>
                    <a:pt x="11" y="19"/>
                    <a:pt x="1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7" name="Freeform 39"/>
            <p:cNvSpPr>
              <a:spLocks/>
            </p:cNvSpPr>
            <p:nvPr userDrawn="1"/>
          </p:nvSpPr>
          <p:spPr bwMode="auto">
            <a:xfrm>
              <a:off x="6733613" y="2018166"/>
              <a:ext cx="25529" cy="22842"/>
            </a:xfrm>
            <a:custGeom>
              <a:avLst/>
              <a:gdLst>
                <a:gd name="T0" fmla="*/ 8 w 8"/>
                <a:gd name="T1" fmla="*/ 0 h 7"/>
                <a:gd name="T2" fmla="*/ 0 w 8"/>
                <a:gd name="T3" fmla="*/ 7 h 7"/>
                <a:gd name="T4" fmla="*/ 8 w 8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7">
                  <a:moveTo>
                    <a:pt x="8" y="0"/>
                  </a:moveTo>
                  <a:cubicBezTo>
                    <a:pt x="4" y="0"/>
                    <a:pt x="2" y="3"/>
                    <a:pt x="0" y="7"/>
                  </a:cubicBezTo>
                  <a:cubicBezTo>
                    <a:pt x="5" y="7"/>
                    <a:pt x="7" y="4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8" name="Freeform 40"/>
            <p:cNvSpPr>
              <a:spLocks/>
            </p:cNvSpPr>
            <p:nvPr userDrawn="1"/>
          </p:nvSpPr>
          <p:spPr bwMode="auto">
            <a:xfrm>
              <a:off x="8993635" y="2015479"/>
              <a:ext cx="28217" cy="44341"/>
            </a:xfrm>
            <a:custGeom>
              <a:avLst/>
              <a:gdLst>
                <a:gd name="T0" fmla="*/ 9 w 9"/>
                <a:gd name="T1" fmla="*/ 1 h 14"/>
                <a:gd name="T2" fmla="*/ 1 w 9"/>
                <a:gd name="T3" fmla="*/ 12 h 14"/>
                <a:gd name="T4" fmla="*/ 9 w 9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9" y="1"/>
                  </a:moveTo>
                  <a:cubicBezTo>
                    <a:pt x="3" y="0"/>
                    <a:pt x="0" y="4"/>
                    <a:pt x="1" y="12"/>
                  </a:cubicBezTo>
                  <a:cubicBezTo>
                    <a:pt x="8" y="14"/>
                    <a:pt x="6" y="4"/>
                    <a:pt x="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9" name="Freeform 41"/>
            <p:cNvSpPr>
              <a:spLocks/>
            </p:cNvSpPr>
            <p:nvPr userDrawn="1"/>
          </p:nvSpPr>
          <p:spPr bwMode="auto">
            <a:xfrm>
              <a:off x="6949941" y="2027572"/>
              <a:ext cx="56433" cy="95399"/>
            </a:xfrm>
            <a:custGeom>
              <a:avLst/>
              <a:gdLst>
                <a:gd name="T0" fmla="*/ 13 w 18"/>
                <a:gd name="T1" fmla="*/ 26 h 30"/>
                <a:gd name="T2" fmla="*/ 8 w 18"/>
                <a:gd name="T3" fmla="*/ 19 h 30"/>
                <a:gd name="T4" fmla="*/ 16 w 18"/>
                <a:gd name="T5" fmla="*/ 1 h 30"/>
                <a:gd name="T6" fmla="*/ 0 w 18"/>
                <a:gd name="T7" fmla="*/ 15 h 30"/>
                <a:gd name="T8" fmla="*/ 13 w 18"/>
                <a:gd name="T9" fmla="*/ 2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30">
                  <a:moveTo>
                    <a:pt x="13" y="26"/>
                  </a:moveTo>
                  <a:cubicBezTo>
                    <a:pt x="14" y="9"/>
                    <a:pt x="11" y="13"/>
                    <a:pt x="8" y="19"/>
                  </a:cubicBezTo>
                  <a:cubicBezTo>
                    <a:pt x="5" y="5"/>
                    <a:pt x="18" y="13"/>
                    <a:pt x="16" y="1"/>
                  </a:cubicBezTo>
                  <a:cubicBezTo>
                    <a:pt x="7" y="0"/>
                    <a:pt x="5" y="10"/>
                    <a:pt x="0" y="15"/>
                  </a:cubicBezTo>
                  <a:cubicBezTo>
                    <a:pt x="9" y="13"/>
                    <a:pt x="3" y="30"/>
                    <a:pt x="13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0" name="Freeform 42"/>
            <p:cNvSpPr>
              <a:spLocks/>
            </p:cNvSpPr>
            <p:nvPr userDrawn="1"/>
          </p:nvSpPr>
          <p:spPr bwMode="auto">
            <a:xfrm>
              <a:off x="7061464" y="2020853"/>
              <a:ext cx="40310" cy="60464"/>
            </a:xfrm>
            <a:custGeom>
              <a:avLst/>
              <a:gdLst>
                <a:gd name="T0" fmla="*/ 13 w 13"/>
                <a:gd name="T1" fmla="*/ 6 h 19"/>
                <a:gd name="T2" fmla="*/ 0 w 13"/>
                <a:gd name="T3" fmla="*/ 10 h 19"/>
                <a:gd name="T4" fmla="*/ 13 w 13"/>
                <a:gd name="T5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9">
                  <a:moveTo>
                    <a:pt x="13" y="6"/>
                  </a:moveTo>
                  <a:cubicBezTo>
                    <a:pt x="7" y="4"/>
                    <a:pt x="3" y="0"/>
                    <a:pt x="0" y="10"/>
                  </a:cubicBezTo>
                  <a:cubicBezTo>
                    <a:pt x="8" y="8"/>
                    <a:pt x="11" y="19"/>
                    <a:pt x="1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1" name="Freeform 43"/>
            <p:cNvSpPr>
              <a:spLocks/>
            </p:cNvSpPr>
            <p:nvPr userDrawn="1"/>
          </p:nvSpPr>
          <p:spPr bwMode="auto">
            <a:xfrm>
              <a:off x="7250919" y="2041008"/>
              <a:ext cx="67183" cy="49715"/>
            </a:xfrm>
            <a:custGeom>
              <a:avLst/>
              <a:gdLst>
                <a:gd name="T0" fmla="*/ 9 w 21"/>
                <a:gd name="T1" fmla="*/ 0 h 16"/>
                <a:gd name="T2" fmla="*/ 4 w 21"/>
                <a:gd name="T3" fmla="*/ 0 h 16"/>
                <a:gd name="T4" fmla="*/ 9 w 2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6">
                  <a:moveTo>
                    <a:pt x="9" y="0"/>
                  </a:moveTo>
                  <a:cubicBezTo>
                    <a:pt x="9" y="5"/>
                    <a:pt x="6" y="2"/>
                    <a:pt x="4" y="0"/>
                  </a:cubicBezTo>
                  <a:cubicBezTo>
                    <a:pt x="0" y="16"/>
                    <a:pt x="21" y="4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2" name="Freeform 44"/>
            <p:cNvSpPr>
              <a:spLocks/>
            </p:cNvSpPr>
            <p:nvPr userDrawn="1"/>
          </p:nvSpPr>
          <p:spPr bwMode="auto">
            <a:xfrm>
              <a:off x="7324820" y="2034290"/>
              <a:ext cx="44341" cy="88681"/>
            </a:xfrm>
            <a:custGeom>
              <a:avLst/>
              <a:gdLst>
                <a:gd name="T0" fmla="*/ 8 w 14"/>
                <a:gd name="T1" fmla="*/ 28 h 28"/>
                <a:gd name="T2" fmla="*/ 13 w 14"/>
                <a:gd name="T3" fmla="*/ 21 h 28"/>
                <a:gd name="T4" fmla="*/ 5 w 14"/>
                <a:gd name="T5" fmla="*/ 2 h 28"/>
                <a:gd name="T6" fmla="*/ 8 w 14"/>
                <a:gd name="T7" fmla="*/ 17 h 28"/>
                <a:gd name="T8" fmla="*/ 8 w 14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8">
                  <a:moveTo>
                    <a:pt x="8" y="28"/>
                  </a:moveTo>
                  <a:cubicBezTo>
                    <a:pt x="8" y="23"/>
                    <a:pt x="13" y="25"/>
                    <a:pt x="13" y="21"/>
                  </a:cubicBezTo>
                  <a:cubicBezTo>
                    <a:pt x="7" y="19"/>
                    <a:pt x="14" y="0"/>
                    <a:pt x="5" y="2"/>
                  </a:cubicBezTo>
                  <a:cubicBezTo>
                    <a:pt x="0" y="10"/>
                    <a:pt x="6" y="9"/>
                    <a:pt x="8" y="17"/>
                  </a:cubicBezTo>
                  <a:cubicBezTo>
                    <a:pt x="4" y="17"/>
                    <a:pt x="5" y="27"/>
                    <a:pt x="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3" name="Freeform 45"/>
            <p:cNvSpPr>
              <a:spLocks/>
            </p:cNvSpPr>
            <p:nvPr userDrawn="1"/>
          </p:nvSpPr>
          <p:spPr bwMode="auto">
            <a:xfrm>
              <a:off x="7504869" y="2041008"/>
              <a:ext cx="51059" cy="116898"/>
            </a:xfrm>
            <a:custGeom>
              <a:avLst/>
              <a:gdLst>
                <a:gd name="T0" fmla="*/ 7 w 16"/>
                <a:gd name="T1" fmla="*/ 0 h 37"/>
                <a:gd name="T2" fmla="*/ 5 w 16"/>
                <a:gd name="T3" fmla="*/ 15 h 37"/>
                <a:gd name="T4" fmla="*/ 10 w 16"/>
                <a:gd name="T5" fmla="*/ 22 h 37"/>
                <a:gd name="T6" fmla="*/ 5 w 16"/>
                <a:gd name="T7" fmla="*/ 37 h 37"/>
                <a:gd name="T8" fmla="*/ 16 w 16"/>
                <a:gd name="T9" fmla="*/ 30 h 37"/>
                <a:gd name="T10" fmla="*/ 13 w 16"/>
                <a:gd name="T11" fmla="*/ 22 h 37"/>
                <a:gd name="T12" fmla="*/ 7 w 16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37">
                  <a:moveTo>
                    <a:pt x="7" y="0"/>
                  </a:moveTo>
                  <a:cubicBezTo>
                    <a:pt x="2" y="10"/>
                    <a:pt x="8" y="10"/>
                    <a:pt x="5" y="15"/>
                  </a:cubicBezTo>
                  <a:cubicBezTo>
                    <a:pt x="3" y="17"/>
                    <a:pt x="10" y="21"/>
                    <a:pt x="10" y="22"/>
                  </a:cubicBezTo>
                  <a:cubicBezTo>
                    <a:pt x="10" y="25"/>
                    <a:pt x="0" y="30"/>
                    <a:pt x="5" y="37"/>
                  </a:cubicBezTo>
                  <a:cubicBezTo>
                    <a:pt x="10" y="37"/>
                    <a:pt x="14" y="35"/>
                    <a:pt x="16" y="30"/>
                  </a:cubicBezTo>
                  <a:cubicBezTo>
                    <a:pt x="9" y="30"/>
                    <a:pt x="12" y="28"/>
                    <a:pt x="13" y="22"/>
                  </a:cubicBezTo>
                  <a:cubicBezTo>
                    <a:pt x="14" y="14"/>
                    <a:pt x="9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4" name="Freeform 46"/>
            <p:cNvSpPr>
              <a:spLocks/>
            </p:cNvSpPr>
            <p:nvPr userDrawn="1"/>
          </p:nvSpPr>
          <p:spPr bwMode="auto">
            <a:xfrm>
              <a:off x="6753768" y="2046383"/>
              <a:ext cx="37622" cy="57777"/>
            </a:xfrm>
            <a:custGeom>
              <a:avLst/>
              <a:gdLst>
                <a:gd name="T0" fmla="*/ 2 w 12"/>
                <a:gd name="T1" fmla="*/ 6 h 18"/>
                <a:gd name="T2" fmla="*/ 0 w 12"/>
                <a:gd name="T3" fmla="*/ 13 h 18"/>
                <a:gd name="T4" fmla="*/ 2 w 12"/>
                <a:gd name="T5" fmla="*/ 2 h 18"/>
                <a:gd name="T6" fmla="*/ 2 w 12"/>
                <a:gd name="T7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8">
                  <a:moveTo>
                    <a:pt x="2" y="6"/>
                  </a:moveTo>
                  <a:cubicBezTo>
                    <a:pt x="2" y="6"/>
                    <a:pt x="0" y="13"/>
                    <a:pt x="0" y="13"/>
                  </a:cubicBezTo>
                  <a:cubicBezTo>
                    <a:pt x="3" y="18"/>
                    <a:pt x="12" y="0"/>
                    <a:pt x="2" y="2"/>
                  </a:cubicBezTo>
                  <a:cubicBezTo>
                    <a:pt x="2" y="2"/>
                    <a:pt x="3" y="5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5" name="Freeform 47"/>
            <p:cNvSpPr>
              <a:spLocks/>
            </p:cNvSpPr>
            <p:nvPr userDrawn="1"/>
          </p:nvSpPr>
          <p:spPr bwMode="auto">
            <a:xfrm>
              <a:off x="6171966" y="2071912"/>
              <a:ext cx="48371" cy="29560"/>
            </a:xfrm>
            <a:custGeom>
              <a:avLst/>
              <a:gdLst>
                <a:gd name="T0" fmla="*/ 8 w 15"/>
                <a:gd name="T1" fmla="*/ 1 h 9"/>
                <a:gd name="T2" fmla="*/ 0 w 15"/>
                <a:gd name="T3" fmla="*/ 5 h 9"/>
                <a:gd name="T4" fmla="*/ 8 w 15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8" y="1"/>
                  </a:moveTo>
                  <a:cubicBezTo>
                    <a:pt x="6" y="0"/>
                    <a:pt x="0" y="2"/>
                    <a:pt x="0" y="5"/>
                  </a:cubicBezTo>
                  <a:cubicBezTo>
                    <a:pt x="0" y="9"/>
                    <a:pt x="15" y="7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6" name="Freeform 48"/>
            <p:cNvSpPr>
              <a:spLocks/>
            </p:cNvSpPr>
            <p:nvPr userDrawn="1"/>
          </p:nvSpPr>
          <p:spPr bwMode="auto">
            <a:xfrm>
              <a:off x="7054746" y="2075943"/>
              <a:ext cx="34935" cy="34935"/>
            </a:xfrm>
            <a:custGeom>
              <a:avLst/>
              <a:gdLst>
                <a:gd name="T0" fmla="*/ 10 w 11"/>
                <a:gd name="T1" fmla="*/ 11 h 11"/>
                <a:gd name="T2" fmla="*/ 2 w 11"/>
                <a:gd name="T3" fmla="*/ 0 h 11"/>
                <a:gd name="T4" fmla="*/ 10 w 11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1">
                  <a:moveTo>
                    <a:pt x="10" y="11"/>
                  </a:moveTo>
                  <a:cubicBezTo>
                    <a:pt x="11" y="1"/>
                    <a:pt x="4" y="4"/>
                    <a:pt x="2" y="0"/>
                  </a:cubicBezTo>
                  <a:cubicBezTo>
                    <a:pt x="0" y="10"/>
                    <a:pt x="7" y="8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7" name="Freeform 49"/>
            <p:cNvSpPr>
              <a:spLocks/>
            </p:cNvSpPr>
            <p:nvPr userDrawn="1"/>
          </p:nvSpPr>
          <p:spPr bwMode="auto">
            <a:xfrm>
              <a:off x="7111179" y="2075943"/>
              <a:ext cx="48371" cy="72557"/>
            </a:xfrm>
            <a:custGeom>
              <a:avLst/>
              <a:gdLst>
                <a:gd name="T0" fmla="*/ 2 w 15"/>
                <a:gd name="T1" fmla="*/ 0 h 23"/>
                <a:gd name="T2" fmla="*/ 2 w 15"/>
                <a:gd name="T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3">
                  <a:moveTo>
                    <a:pt x="2" y="0"/>
                  </a:moveTo>
                  <a:cubicBezTo>
                    <a:pt x="0" y="23"/>
                    <a:pt x="15" y="3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8" name="Freeform 50"/>
            <p:cNvSpPr>
              <a:spLocks/>
            </p:cNvSpPr>
            <p:nvPr userDrawn="1"/>
          </p:nvSpPr>
          <p:spPr bwMode="auto">
            <a:xfrm>
              <a:off x="7143427" y="2088036"/>
              <a:ext cx="28217" cy="37622"/>
            </a:xfrm>
            <a:custGeom>
              <a:avLst/>
              <a:gdLst>
                <a:gd name="T0" fmla="*/ 8 w 9"/>
                <a:gd name="T1" fmla="*/ 11 h 12"/>
                <a:gd name="T2" fmla="*/ 3 w 9"/>
                <a:gd name="T3" fmla="*/ 0 h 12"/>
                <a:gd name="T4" fmla="*/ 0 w 9"/>
                <a:gd name="T5" fmla="*/ 7 h 12"/>
                <a:gd name="T6" fmla="*/ 8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11"/>
                  </a:moveTo>
                  <a:cubicBezTo>
                    <a:pt x="9" y="5"/>
                    <a:pt x="6" y="2"/>
                    <a:pt x="3" y="0"/>
                  </a:cubicBezTo>
                  <a:cubicBezTo>
                    <a:pt x="3" y="4"/>
                    <a:pt x="1" y="4"/>
                    <a:pt x="0" y="7"/>
                  </a:cubicBezTo>
                  <a:cubicBezTo>
                    <a:pt x="4" y="8"/>
                    <a:pt x="4" y="12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9" name="Freeform 51"/>
            <p:cNvSpPr>
              <a:spLocks/>
            </p:cNvSpPr>
            <p:nvPr userDrawn="1"/>
          </p:nvSpPr>
          <p:spPr bwMode="auto">
            <a:xfrm>
              <a:off x="6765860" y="2097442"/>
              <a:ext cx="41653" cy="38966"/>
            </a:xfrm>
            <a:custGeom>
              <a:avLst/>
              <a:gdLst>
                <a:gd name="T0" fmla="*/ 12 w 13"/>
                <a:gd name="T1" fmla="*/ 4 h 12"/>
                <a:gd name="T2" fmla="*/ 4 w 13"/>
                <a:gd name="T3" fmla="*/ 1 h 12"/>
                <a:gd name="T4" fmla="*/ 12 w 13"/>
                <a:gd name="T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2" y="4"/>
                  </a:moveTo>
                  <a:cubicBezTo>
                    <a:pt x="8" y="4"/>
                    <a:pt x="8" y="0"/>
                    <a:pt x="4" y="1"/>
                  </a:cubicBezTo>
                  <a:cubicBezTo>
                    <a:pt x="0" y="10"/>
                    <a:pt x="13" y="12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0" name="Freeform 52"/>
            <p:cNvSpPr>
              <a:spLocks/>
            </p:cNvSpPr>
            <p:nvPr userDrawn="1"/>
          </p:nvSpPr>
          <p:spPr bwMode="auto">
            <a:xfrm>
              <a:off x="7400064" y="2148500"/>
              <a:ext cx="32248" cy="34935"/>
            </a:xfrm>
            <a:custGeom>
              <a:avLst/>
              <a:gdLst>
                <a:gd name="T0" fmla="*/ 8 w 10"/>
                <a:gd name="T1" fmla="*/ 11 h 11"/>
                <a:gd name="T2" fmla="*/ 0 w 10"/>
                <a:gd name="T3" fmla="*/ 0 h 11"/>
                <a:gd name="T4" fmla="*/ 8 w 10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8" y="11"/>
                  </a:moveTo>
                  <a:cubicBezTo>
                    <a:pt x="10" y="1"/>
                    <a:pt x="3" y="3"/>
                    <a:pt x="0" y="0"/>
                  </a:cubicBezTo>
                  <a:cubicBezTo>
                    <a:pt x="0" y="8"/>
                    <a:pt x="2" y="11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1" name="Freeform 53"/>
            <p:cNvSpPr>
              <a:spLocks/>
            </p:cNvSpPr>
            <p:nvPr userDrawn="1"/>
          </p:nvSpPr>
          <p:spPr bwMode="auto">
            <a:xfrm>
              <a:off x="7674169" y="2155219"/>
              <a:ext cx="37622" cy="37622"/>
            </a:xfrm>
            <a:custGeom>
              <a:avLst/>
              <a:gdLst>
                <a:gd name="T0" fmla="*/ 6 w 12"/>
                <a:gd name="T1" fmla="*/ 12 h 12"/>
                <a:gd name="T2" fmla="*/ 11 w 12"/>
                <a:gd name="T3" fmla="*/ 1 h 12"/>
                <a:gd name="T4" fmla="*/ 0 w 12"/>
                <a:gd name="T5" fmla="*/ 5 h 12"/>
                <a:gd name="T6" fmla="*/ 6 w 12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6" y="7"/>
                    <a:pt x="12" y="9"/>
                    <a:pt x="11" y="1"/>
                  </a:cubicBezTo>
                  <a:cubicBezTo>
                    <a:pt x="7" y="2"/>
                    <a:pt x="1" y="0"/>
                    <a:pt x="0" y="5"/>
                  </a:cubicBezTo>
                  <a:cubicBezTo>
                    <a:pt x="4" y="5"/>
                    <a:pt x="3" y="11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2" name="Freeform 54"/>
            <p:cNvSpPr>
              <a:spLocks/>
            </p:cNvSpPr>
            <p:nvPr userDrawn="1"/>
          </p:nvSpPr>
          <p:spPr bwMode="auto">
            <a:xfrm>
              <a:off x="7991271" y="2157906"/>
              <a:ext cx="56433" cy="47028"/>
            </a:xfrm>
            <a:custGeom>
              <a:avLst/>
              <a:gdLst>
                <a:gd name="T0" fmla="*/ 13 w 18"/>
                <a:gd name="T1" fmla="*/ 15 h 15"/>
                <a:gd name="T2" fmla="*/ 18 w 18"/>
                <a:gd name="T3" fmla="*/ 4 h 15"/>
                <a:gd name="T4" fmla="*/ 0 w 18"/>
                <a:gd name="T5" fmla="*/ 11 h 15"/>
                <a:gd name="T6" fmla="*/ 13 w 18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13" y="15"/>
                  </a:moveTo>
                  <a:cubicBezTo>
                    <a:pt x="12" y="8"/>
                    <a:pt x="17" y="8"/>
                    <a:pt x="18" y="4"/>
                  </a:cubicBezTo>
                  <a:cubicBezTo>
                    <a:pt x="15" y="0"/>
                    <a:pt x="1" y="2"/>
                    <a:pt x="0" y="11"/>
                  </a:cubicBezTo>
                  <a:cubicBezTo>
                    <a:pt x="11" y="9"/>
                    <a:pt x="9" y="8"/>
                    <a:pt x="13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3" name="Freeform 55"/>
            <p:cNvSpPr>
              <a:spLocks/>
            </p:cNvSpPr>
            <p:nvPr userDrawn="1"/>
          </p:nvSpPr>
          <p:spPr bwMode="auto">
            <a:xfrm>
              <a:off x="7359755" y="2190154"/>
              <a:ext cx="14780" cy="37622"/>
            </a:xfrm>
            <a:custGeom>
              <a:avLst/>
              <a:gdLst>
                <a:gd name="T0" fmla="*/ 0 w 5"/>
                <a:gd name="T1" fmla="*/ 1 h 12"/>
                <a:gd name="T2" fmla="*/ 0 w 5"/>
                <a:gd name="T3" fmla="*/ 9 h 12"/>
                <a:gd name="T4" fmla="*/ 5 w 5"/>
                <a:gd name="T5" fmla="*/ 12 h 12"/>
                <a:gd name="T6" fmla="*/ 0 w 5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2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3" y="12"/>
                    <a:pt x="5" y="12"/>
                  </a:cubicBezTo>
                  <a:cubicBezTo>
                    <a:pt x="5" y="7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4" name="Freeform 56"/>
            <p:cNvSpPr>
              <a:spLocks/>
            </p:cNvSpPr>
            <p:nvPr userDrawn="1"/>
          </p:nvSpPr>
          <p:spPr bwMode="auto">
            <a:xfrm>
              <a:off x="7742695" y="2202246"/>
              <a:ext cx="25529" cy="51059"/>
            </a:xfrm>
            <a:custGeom>
              <a:avLst/>
              <a:gdLst>
                <a:gd name="T0" fmla="*/ 0 w 8"/>
                <a:gd name="T1" fmla="*/ 1 h 16"/>
                <a:gd name="T2" fmla="*/ 5 w 8"/>
                <a:gd name="T3" fmla="*/ 16 h 16"/>
                <a:gd name="T4" fmla="*/ 8 w 8"/>
                <a:gd name="T5" fmla="*/ 5 h 16"/>
                <a:gd name="T6" fmla="*/ 0 w 8"/>
                <a:gd name="T7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6">
                  <a:moveTo>
                    <a:pt x="0" y="1"/>
                  </a:moveTo>
                  <a:cubicBezTo>
                    <a:pt x="0" y="8"/>
                    <a:pt x="1" y="13"/>
                    <a:pt x="5" y="16"/>
                  </a:cubicBezTo>
                  <a:cubicBezTo>
                    <a:pt x="5" y="11"/>
                    <a:pt x="6" y="8"/>
                    <a:pt x="8" y="5"/>
                  </a:cubicBezTo>
                  <a:cubicBezTo>
                    <a:pt x="4" y="5"/>
                    <a:pt x="4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5" name="Freeform 57"/>
            <p:cNvSpPr>
              <a:spLocks/>
            </p:cNvSpPr>
            <p:nvPr userDrawn="1"/>
          </p:nvSpPr>
          <p:spPr bwMode="auto">
            <a:xfrm>
              <a:off x="7698355" y="2225089"/>
              <a:ext cx="34935" cy="63152"/>
            </a:xfrm>
            <a:custGeom>
              <a:avLst/>
              <a:gdLst>
                <a:gd name="T0" fmla="*/ 0 w 11"/>
                <a:gd name="T1" fmla="*/ 9 h 20"/>
                <a:gd name="T2" fmla="*/ 11 w 11"/>
                <a:gd name="T3" fmla="*/ 9 h 20"/>
                <a:gd name="T4" fmla="*/ 0 w 11"/>
                <a:gd name="T5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0">
                  <a:moveTo>
                    <a:pt x="0" y="9"/>
                  </a:moveTo>
                  <a:cubicBezTo>
                    <a:pt x="5" y="5"/>
                    <a:pt x="9" y="20"/>
                    <a:pt x="11" y="9"/>
                  </a:cubicBezTo>
                  <a:cubicBezTo>
                    <a:pt x="9" y="8"/>
                    <a:pt x="1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6" name="Freeform 58"/>
            <p:cNvSpPr>
              <a:spLocks/>
            </p:cNvSpPr>
            <p:nvPr userDrawn="1"/>
          </p:nvSpPr>
          <p:spPr bwMode="auto">
            <a:xfrm>
              <a:off x="7749414" y="2329893"/>
              <a:ext cx="18811" cy="40310"/>
            </a:xfrm>
            <a:custGeom>
              <a:avLst/>
              <a:gdLst>
                <a:gd name="T0" fmla="*/ 0 w 6"/>
                <a:gd name="T1" fmla="*/ 2 h 13"/>
                <a:gd name="T2" fmla="*/ 0 w 6"/>
                <a:gd name="T3" fmla="*/ 9 h 13"/>
                <a:gd name="T4" fmla="*/ 6 w 6"/>
                <a:gd name="T5" fmla="*/ 13 h 13"/>
                <a:gd name="T6" fmla="*/ 0 w 6"/>
                <a:gd name="T7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3">
                  <a:moveTo>
                    <a:pt x="0" y="2"/>
                  </a:moveTo>
                  <a:cubicBezTo>
                    <a:pt x="0" y="4"/>
                    <a:pt x="0" y="7"/>
                    <a:pt x="0" y="9"/>
                  </a:cubicBezTo>
                  <a:cubicBezTo>
                    <a:pt x="3" y="9"/>
                    <a:pt x="4" y="12"/>
                    <a:pt x="6" y="13"/>
                  </a:cubicBezTo>
                  <a:cubicBezTo>
                    <a:pt x="5" y="7"/>
                    <a:pt x="6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7" name="Freeform 59"/>
            <p:cNvSpPr>
              <a:spLocks/>
            </p:cNvSpPr>
            <p:nvPr userDrawn="1"/>
          </p:nvSpPr>
          <p:spPr bwMode="auto">
            <a:xfrm>
              <a:off x="6892164" y="2354079"/>
              <a:ext cx="67183" cy="38966"/>
            </a:xfrm>
            <a:custGeom>
              <a:avLst/>
              <a:gdLst>
                <a:gd name="T0" fmla="*/ 20 w 21"/>
                <a:gd name="T1" fmla="*/ 1 h 12"/>
                <a:gd name="T2" fmla="*/ 15 w 21"/>
                <a:gd name="T3" fmla="*/ 1 h 12"/>
                <a:gd name="T4" fmla="*/ 20 w 21"/>
                <a:gd name="T5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2">
                  <a:moveTo>
                    <a:pt x="20" y="1"/>
                  </a:moveTo>
                  <a:cubicBezTo>
                    <a:pt x="18" y="1"/>
                    <a:pt x="17" y="1"/>
                    <a:pt x="15" y="1"/>
                  </a:cubicBezTo>
                  <a:cubicBezTo>
                    <a:pt x="0" y="0"/>
                    <a:pt x="21" y="12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8" name="Freeform 60"/>
            <p:cNvSpPr>
              <a:spLocks/>
            </p:cNvSpPr>
            <p:nvPr userDrawn="1"/>
          </p:nvSpPr>
          <p:spPr bwMode="auto">
            <a:xfrm>
              <a:off x="2995573" y="2386327"/>
              <a:ext cx="18811" cy="67183"/>
            </a:xfrm>
            <a:custGeom>
              <a:avLst/>
              <a:gdLst>
                <a:gd name="T0" fmla="*/ 3 w 6"/>
                <a:gd name="T1" fmla="*/ 21 h 21"/>
                <a:gd name="T2" fmla="*/ 1 w 6"/>
                <a:gd name="T3" fmla="*/ 13 h 21"/>
                <a:gd name="T4" fmla="*/ 3 w 6"/>
                <a:gd name="T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1">
                  <a:moveTo>
                    <a:pt x="3" y="21"/>
                  </a:moveTo>
                  <a:cubicBezTo>
                    <a:pt x="6" y="20"/>
                    <a:pt x="5" y="0"/>
                    <a:pt x="1" y="13"/>
                  </a:cubicBezTo>
                  <a:cubicBezTo>
                    <a:pt x="0" y="16"/>
                    <a:pt x="2" y="21"/>
                    <a:pt x="3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9" name="Freeform 61"/>
            <p:cNvSpPr>
              <a:spLocks/>
            </p:cNvSpPr>
            <p:nvPr userDrawn="1"/>
          </p:nvSpPr>
          <p:spPr bwMode="auto">
            <a:xfrm>
              <a:off x="2970044" y="2423949"/>
              <a:ext cx="18811" cy="38966"/>
            </a:xfrm>
            <a:custGeom>
              <a:avLst/>
              <a:gdLst>
                <a:gd name="T0" fmla="*/ 3 w 6"/>
                <a:gd name="T1" fmla="*/ 12 h 12"/>
                <a:gd name="T2" fmla="*/ 6 w 6"/>
                <a:gd name="T3" fmla="*/ 9 h 12"/>
                <a:gd name="T4" fmla="*/ 0 w 6"/>
                <a:gd name="T5" fmla="*/ 1 h 12"/>
                <a:gd name="T6" fmla="*/ 3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3" y="12"/>
                  </a:moveTo>
                  <a:cubicBezTo>
                    <a:pt x="3" y="10"/>
                    <a:pt x="4" y="8"/>
                    <a:pt x="6" y="9"/>
                  </a:cubicBezTo>
                  <a:cubicBezTo>
                    <a:pt x="6" y="4"/>
                    <a:pt x="5" y="0"/>
                    <a:pt x="0" y="1"/>
                  </a:cubicBezTo>
                  <a:cubicBezTo>
                    <a:pt x="1" y="6"/>
                    <a:pt x="0" y="12"/>
                    <a:pt x="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0" name="Freeform 62"/>
            <p:cNvSpPr>
              <a:spLocks/>
            </p:cNvSpPr>
            <p:nvPr userDrawn="1"/>
          </p:nvSpPr>
          <p:spPr bwMode="auto">
            <a:xfrm>
              <a:off x="3023790" y="2440073"/>
              <a:ext cx="41653" cy="38966"/>
            </a:xfrm>
            <a:custGeom>
              <a:avLst/>
              <a:gdLst>
                <a:gd name="T0" fmla="*/ 13 w 13"/>
                <a:gd name="T1" fmla="*/ 4 h 12"/>
                <a:gd name="T2" fmla="*/ 2 w 13"/>
                <a:gd name="T3" fmla="*/ 11 h 12"/>
                <a:gd name="T4" fmla="*/ 13 w 13"/>
                <a:gd name="T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4"/>
                  </a:moveTo>
                  <a:cubicBezTo>
                    <a:pt x="8" y="5"/>
                    <a:pt x="0" y="0"/>
                    <a:pt x="2" y="11"/>
                  </a:cubicBezTo>
                  <a:cubicBezTo>
                    <a:pt x="9" y="12"/>
                    <a:pt x="13" y="10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1" name="Freeform 63"/>
            <p:cNvSpPr>
              <a:spLocks/>
            </p:cNvSpPr>
            <p:nvPr userDrawn="1"/>
          </p:nvSpPr>
          <p:spPr bwMode="auto">
            <a:xfrm>
              <a:off x="3792359" y="3484090"/>
              <a:ext cx="28217" cy="64495"/>
            </a:xfrm>
            <a:custGeom>
              <a:avLst/>
              <a:gdLst>
                <a:gd name="T0" fmla="*/ 8 w 9"/>
                <a:gd name="T1" fmla="*/ 19 h 20"/>
                <a:gd name="T2" fmla="*/ 0 w 9"/>
                <a:gd name="T3" fmla="*/ 0 h 20"/>
                <a:gd name="T4" fmla="*/ 8 w 9"/>
                <a:gd name="T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0">
                  <a:moveTo>
                    <a:pt x="8" y="19"/>
                  </a:moveTo>
                  <a:cubicBezTo>
                    <a:pt x="9" y="7"/>
                    <a:pt x="4" y="4"/>
                    <a:pt x="0" y="0"/>
                  </a:cubicBezTo>
                  <a:cubicBezTo>
                    <a:pt x="2" y="7"/>
                    <a:pt x="0" y="20"/>
                    <a:pt x="8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2" name="Freeform 64"/>
            <p:cNvSpPr>
              <a:spLocks/>
            </p:cNvSpPr>
            <p:nvPr userDrawn="1"/>
          </p:nvSpPr>
          <p:spPr bwMode="auto">
            <a:xfrm>
              <a:off x="3338205" y="3532462"/>
              <a:ext cx="47028" cy="75245"/>
            </a:xfrm>
            <a:custGeom>
              <a:avLst/>
              <a:gdLst>
                <a:gd name="T0" fmla="*/ 6 w 15"/>
                <a:gd name="T1" fmla="*/ 0 h 24"/>
                <a:gd name="T2" fmla="*/ 6 w 15"/>
                <a:gd name="T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4">
                  <a:moveTo>
                    <a:pt x="6" y="0"/>
                  </a:moveTo>
                  <a:cubicBezTo>
                    <a:pt x="0" y="24"/>
                    <a:pt x="15" y="1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3" name="Freeform 65"/>
            <p:cNvSpPr>
              <a:spLocks/>
            </p:cNvSpPr>
            <p:nvPr userDrawn="1"/>
          </p:nvSpPr>
          <p:spPr bwMode="auto">
            <a:xfrm>
              <a:off x="3748018" y="3523056"/>
              <a:ext cx="37622" cy="81963"/>
            </a:xfrm>
            <a:custGeom>
              <a:avLst/>
              <a:gdLst>
                <a:gd name="T0" fmla="*/ 3 w 12"/>
                <a:gd name="T1" fmla="*/ 3 h 26"/>
                <a:gd name="T2" fmla="*/ 0 w 12"/>
                <a:gd name="T3" fmla="*/ 25 h 26"/>
                <a:gd name="T4" fmla="*/ 6 w 12"/>
                <a:gd name="T5" fmla="*/ 14 h 26"/>
                <a:gd name="T6" fmla="*/ 3 w 12"/>
                <a:gd name="T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3" y="3"/>
                  </a:moveTo>
                  <a:cubicBezTo>
                    <a:pt x="5" y="14"/>
                    <a:pt x="0" y="16"/>
                    <a:pt x="0" y="25"/>
                  </a:cubicBezTo>
                  <a:cubicBezTo>
                    <a:pt x="7" y="26"/>
                    <a:pt x="4" y="21"/>
                    <a:pt x="6" y="14"/>
                  </a:cubicBezTo>
                  <a:cubicBezTo>
                    <a:pt x="7" y="9"/>
                    <a:pt x="12" y="0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4" name="Freeform 66"/>
            <p:cNvSpPr>
              <a:spLocks/>
            </p:cNvSpPr>
            <p:nvPr userDrawn="1"/>
          </p:nvSpPr>
          <p:spPr bwMode="auto">
            <a:xfrm>
              <a:off x="2998261" y="3574115"/>
              <a:ext cx="32248" cy="63152"/>
            </a:xfrm>
            <a:custGeom>
              <a:avLst/>
              <a:gdLst>
                <a:gd name="T0" fmla="*/ 0 w 10"/>
                <a:gd name="T1" fmla="*/ 9 h 20"/>
                <a:gd name="T2" fmla="*/ 10 w 10"/>
                <a:gd name="T3" fmla="*/ 9 h 20"/>
                <a:gd name="T4" fmla="*/ 0 w 10"/>
                <a:gd name="T5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9"/>
                  </a:moveTo>
                  <a:cubicBezTo>
                    <a:pt x="5" y="6"/>
                    <a:pt x="9" y="20"/>
                    <a:pt x="10" y="9"/>
                  </a:cubicBezTo>
                  <a:cubicBezTo>
                    <a:pt x="9" y="8"/>
                    <a:pt x="0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" name="Freeform 67"/>
            <p:cNvSpPr>
              <a:spLocks/>
            </p:cNvSpPr>
            <p:nvPr userDrawn="1"/>
          </p:nvSpPr>
          <p:spPr bwMode="auto">
            <a:xfrm>
              <a:off x="3151437" y="3672202"/>
              <a:ext cx="44341" cy="69870"/>
            </a:xfrm>
            <a:custGeom>
              <a:avLst/>
              <a:gdLst>
                <a:gd name="T0" fmla="*/ 3 w 14"/>
                <a:gd name="T1" fmla="*/ 0 h 22"/>
                <a:gd name="T2" fmla="*/ 3 w 14"/>
                <a:gd name="T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22">
                  <a:moveTo>
                    <a:pt x="3" y="0"/>
                  </a:moveTo>
                  <a:cubicBezTo>
                    <a:pt x="0" y="22"/>
                    <a:pt x="14" y="2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" name="Freeform 68"/>
            <p:cNvSpPr>
              <a:spLocks/>
            </p:cNvSpPr>
            <p:nvPr userDrawn="1"/>
          </p:nvSpPr>
          <p:spPr bwMode="auto">
            <a:xfrm>
              <a:off x="3140688" y="3872406"/>
              <a:ext cx="20155" cy="24186"/>
            </a:xfrm>
            <a:custGeom>
              <a:avLst/>
              <a:gdLst>
                <a:gd name="T0" fmla="*/ 6 w 6"/>
                <a:gd name="T1" fmla="*/ 0 h 8"/>
                <a:gd name="T2" fmla="*/ 0 w 6"/>
                <a:gd name="T3" fmla="*/ 0 h 8"/>
                <a:gd name="T4" fmla="*/ 0 w 6"/>
                <a:gd name="T5" fmla="*/ 8 h 8"/>
                <a:gd name="T6" fmla="*/ 6 w 6"/>
                <a:gd name="T7" fmla="*/ 8 h 8"/>
                <a:gd name="T8" fmla="*/ 6 w 6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6" y="8"/>
                  </a:cubicBezTo>
                  <a:cubicBezTo>
                    <a:pt x="6" y="5"/>
                    <a:pt x="6" y="3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" name="Freeform 69"/>
            <p:cNvSpPr>
              <a:spLocks/>
            </p:cNvSpPr>
            <p:nvPr userDrawn="1"/>
          </p:nvSpPr>
          <p:spPr bwMode="auto">
            <a:xfrm>
              <a:off x="3081567" y="3919434"/>
              <a:ext cx="72557" cy="116898"/>
            </a:xfrm>
            <a:custGeom>
              <a:avLst/>
              <a:gdLst>
                <a:gd name="T0" fmla="*/ 11 w 23"/>
                <a:gd name="T1" fmla="*/ 4 h 37"/>
                <a:gd name="T2" fmla="*/ 3 w 23"/>
                <a:gd name="T3" fmla="*/ 0 h 37"/>
                <a:gd name="T4" fmla="*/ 3 w 23"/>
                <a:gd name="T5" fmla="*/ 33 h 37"/>
                <a:gd name="T6" fmla="*/ 22 w 23"/>
                <a:gd name="T7" fmla="*/ 26 h 37"/>
                <a:gd name="T8" fmla="*/ 17 w 23"/>
                <a:gd name="T9" fmla="*/ 15 h 37"/>
                <a:gd name="T10" fmla="*/ 14 w 23"/>
                <a:gd name="T11" fmla="*/ 4 h 37"/>
                <a:gd name="T12" fmla="*/ 6 w 23"/>
                <a:gd name="T13" fmla="*/ 11 h 37"/>
                <a:gd name="T14" fmla="*/ 11 w 23"/>
                <a:gd name="T15" fmla="*/ 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7">
                  <a:moveTo>
                    <a:pt x="11" y="4"/>
                  </a:moveTo>
                  <a:cubicBezTo>
                    <a:pt x="8" y="4"/>
                    <a:pt x="5" y="2"/>
                    <a:pt x="3" y="0"/>
                  </a:cubicBezTo>
                  <a:cubicBezTo>
                    <a:pt x="2" y="17"/>
                    <a:pt x="0" y="18"/>
                    <a:pt x="3" y="33"/>
                  </a:cubicBezTo>
                  <a:cubicBezTo>
                    <a:pt x="14" y="37"/>
                    <a:pt x="10" y="20"/>
                    <a:pt x="22" y="26"/>
                  </a:cubicBezTo>
                  <a:cubicBezTo>
                    <a:pt x="23" y="18"/>
                    <a:pt x="18" y="19"/>
                    <a:pt x="17" y="15"/>
                  </a:cubicBezTo>
                  <a:cubicBezTo>
                    <a:pt x="16" y="13"/>
                    <a:pt x="22" y="4"/>
                    <a:pt x="14" y="4"/>
                  </a:cubicBezTo>
                  <a:cubicBezTo>
                    <a:pt x="16" y="11"/>
                    <a:pt x="7" y="20"/>
                    <a:pt x="6" y="11"/>
                  </a:cubicBezTo>
                  <a:cubicBezTo>
                    <a:pt x="9" y="11"/>
                    <a:pt x="12" y="10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8" name="Freeform 70"/>
            <p:cNvSpPr>
              <a:spLocks/>
            </p:cNvSpPr>
            <p:nvPr userDrawn="1"/>
          </p:nvSpPr>
          <p:spPr bwMode="auto">
            <a:xfrm>
              <a:off x="3058725" y="3912715"/>
              <a:ext cx="32248" cy="60464"/>
            </a:xfrm>
            <a:custGeom>
              <a:avLst/>
              <a:gdLst>
                <a:gd name="T0" fmla="*/ 0 w 10"/>
                <a:gd name="T1" fmla="*/ 9 h 19"/>
                <a:gd name="T2" fmla="*/ 7 w 10"/>
                <a:gd name="T3" fmla="*/ 17 h 19"/>
                <a:gd name="T4" fmla="*/ 0 w 10"/>
                <a:gd name="T5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9">
                  <a:moveTo>
                    <a:pt x="0" y="9"/>
                  </a:moveTo>
                  <a:cubicBezTo>
                    <a:pt x="4" y="10"/>
                    <a:pt x="2" y="19"/>
                    <a:pt x="7" y="17"/>
                  </a:cubicBezTo>
                  <a:cubicBezTo>
                    <a:pt x="10" y="9"/>
                    <a:pt x="1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9" name="Freeform 71"/>
            <p:cNvSpPr>
              <a:spLocks/>
            </p:cNvSpPr>
            <p:nvPr userDrawn="1"/>
          </p:nvSpPr>
          <p:spPr bwMode="auto">
            <a:xfrm>
              <a:off x="3125908" y="4049768"/>
              <a:ext cx="75245" cy="126303"/>
            </a:xfrm>
            <a:custGeom>
              <a:avLst/>
              <a:gdLst>
                <a:gd name="T0" fmla="*/ 0 w 24"/>
                <a:gd name="T1" fmla="*/ 29 h 40"/>
                <a:gd name="T2" fmla="*/ 19 w 24"/>
                <a:gd name="T3" fmla="*/ 22 h 40"/>
                <a:gd name="T4" fmla="*/ 21 w 24"/>
                <a:gd name="T5" fmla="*/ 40 h 40"/>
                <a:gd name="T6" fmla="*/ 24 w 24"/>
                <a:gd name="T7" fmla="*/ 18 h 40"/>
                <a:gd name="T8" fmla="*/ 16 w 24"/>
                <a:gd name="T9" fmla="*/ 0 h 40"/>
                <a:gd name="T10" fmla="*/ 13 w 24"/>
                <a:gd name="T11" fmla="*/ 18 h 40"/>
                <a:gd name="T12" fmla="*/ 0 w 24"/>
                <a:gd name="T13" fmla="*/ 2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0">
                  <a:moveTo>
                    <a:pt x="0" y="29"/>
                  </a:moveTo>
                  <a:cubicBezTo>
                    <a:pt x="8" y="30"/>
                    <a:pt x="8" y="18"/>
                    <a:pt x="19" y="22"/>
                  </a:cubicBezTo>
                  <a:cubicBezTo>
                    <a:pt x="15" y="27"/>
                    <a:pt x="17" y="37"/>
                    <a:pt x="21" y="40"/>
                  </a:cubicBezTo>
                  <a:cubicBezTo>
                    <a:pt x="21" y="31"/>
                    <a:pt x="21" y="23"/>
                    <a:pt x="24" y="18"/>
                  </a:cubicBezTo>
                  <a:cubicBezTo>
                    <a:pt x="16" y="20"/>
                    <a:pt x="22" y="1"/>
                    <a:pt x="16" y="0"/>
                  </a:cubicBezTo>
                  <a:cubicBezTo>
                    <a:pt x="12" y="8"/>
                    <a:pt x="10" y="7"/>
                    <a:pt x="13" y="18"/>
                  </a:cubicBezTo>
                  <a:cubicBezTo>
                    <a:pt x="5" y="16"/>
                    <a:pt x="2" y="23"/>
                    <a:pt x="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0" name="Freeform 72"/>
            <p:cNvSpPr>
              <a:spLocks/>
            </p:cNvSpPr>
            <p:nvPr userDrawn="1"/>
          </p:nvSpPr>
          <p:spPr bwMode="auto">
            <a:xfrm>
              <a:off x="2792682" y="4059173"/>
              <a:ext cx="14780" cy="47028"/>
            </a:xfrm>
            <a:custGeom>
              <a:avLst/>
              <a:gdLst>
                <a:gd name="T0" fmla="*/ 5 w 5"/>
                <a:gd name="T1" fmla="*/ 15 h 15"/>
                <a:gd name="T2" fmla="*/ 5 w 5"/>
                <a:gd name="T3" fmla="*/ 0 h 15"/>
                <a:gd name="T4" fmla="*/ 0 w 5"/>
                <a:gd name="T5" fmla="*/ 0 h 15"/>
                <a:gd name="T6" fmla="*/ 0 w 5"/>
                <a:gd name="T7" fmla="*/ 15 h 15"/>
                <a:gd name="T8" fmla="*/ 5 w 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5">
                  <a:moveTo>
                    <a:pt x="5" y="15"/>
                  </a:moveTo>
                  <a:cubicBezTo>
                    <a:pt x="5" y="10"/>
                    <a:pt x="5" y="5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5"/>
                    <a:pt x="0" y="10"/>
                    <a:pt x="0" y="15"/>
                  </a:cubicBezTo>
                  <a:cubicBezTo>
                    <a:pt x="2" y="15"/>
                    <a:pt x="4" y="15"/>
                    <a:pt x="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1" name="Freeform 73"/>
            <p:cNvSpPr>
              <a:spLocks/>
            </p:cNvSpPr>
            <p:nvPr userDrawn="1"/>
          </p:nvSpPr>
          <p:spPr bwMode="auto">
            <a:xfrm>
              <a:off x="2823586" y="4059173"/>
              <a:ext cx="44341" cy="72557"/>
            </a:xfrm>
            <a:custGeom>
              <a:avLst/>
              <a:gdLst>
                <a:gd name="T0" fmla="*/ 9 w 14"/>
                <a:gd name="T1" fmla="*/ 23 h 23"/>
                <a:gd name="T2" fmla="*/ 14 w 14"/>
                <a:gd name="T3" fmla="*/ 8 h 23"/>
                <a:gd name="T4" fmla="*/ 4 w 14"/>
                <a:gd name="T5" fmla="*/ 0 h 23"/>
                <a:gd name="T6" fmla="*/ 9 w 14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3">
                  <a:moveTo>
                    <a:pt x="9" y="23"/>
                  </a:moveTo>
                  <a:cubicBezTo>
                    <a:pt x="10" y="17"/>
                    <a:pt x="13" y="13"/>
                    <a:pt x="14" y="8"/>
                  </a:cubicBezTo>
                  <a:cubicBezTo>
                    <a:pt x="10" y="6"/>
                    <a:pt x="7" y="2"/>
                    <a:pt x="4" y="0"/>
                  </a:cubicBezTo>
                  <a:cubicBezTo>
                    <a:pt x="9" y="11"/>
                    <a:pt x="0" y="19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2" name="Freeform 74"/>
            <p:cNvSpPr>
              <a:spLocks/>
            </p:cNvSpPr>
            <p:nvPr userDrawn="1"/>
          </p:nvSpPr>
          <p:spPr bwMode="auto">
            <a:xfrm>
              <a:off x="2867927" y="4084703"/>
              <a:ext cx="51059" cy="60464"/>
            </a:xfrm>
            <a:custGeom>
              <a:avLst/>
              <a:gdLst>
                <a:gd name="T0" fmla="*/ 16 w 16"/>
                <a:gd name="T1" fmla="*/ 18 h 19"/>
                <a:gd name="T2" fmla="*/ 3 w 16"/>
                <a:gd name="T3" fmla="*/ 0 h 19"/>
                <a:gd name="T4" fmla="*/ 0 w 16"/>
                <a:gd name="T5" fmla="*/ 15 h 19"/>
                <a:gd name="T6" fmla="*/ 16 w 16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9">
                  <a:moveTo>
                    <a:pt x="16" y="18"/>
                  </a:moveTo>
                  <a:cubicBezTo>
                    <a:pt x="15" y="8"/>
                    <a:pt x="11" y="1"/>
                    <a:pt x="3" y="0"/>
                  </a:cubicBezTo>
                  <a:cubicBezTo>
                    <a:pt x="5" y="12"/>
                    <a:pt x="5" y="7"/>
                    <a:pt x="0" y="15"/>
                  </a:cubicBezTo>
                  <a:cubicBezTo>
                    <a:pt x="3" y="19"/>
                    <a:pt x="10" y="19"/>
                    <a:pt x="1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3" name="Freeform 75"/>
            <p:cNvSpPr>
              <a:spLocks/>
            </p:cNvSpPr>
            <p:nvPr userDrawn="1"/>
          </p:nvSpPr>
          <p:spPr bwMode="auto">
            <a:xfrm>
              <a:off x="3090973" y="4084703"/>
              <a:ext cx="65839" cy="56433"/>
            </a:xfrm>
            <a:custGeom>
              <a:avLst/>
              <a:gdLst>
                <a:gd name="T0" fmla="*/ 8 w 21"/>
                <a:gd name="T1" fmla="*/ 0 h 18"/>
                <a:gd name="T2" fmla="*/ 0 w 21"/>
                <a:gd name="T3" fmla="*/ 7 h 18"/>
                <a:gd name="T4" fmla="*/ 6 w 21"/>
                <a:gd name="T5" fmla="*/ 18 h 18"/>
                <a:gd name="T6" fmla="*/ 8 w 21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8">
                  <a:moveTo>
                    <a:pt x="8" y="0"/>
                  </a:moveTo>
                  <a:cubicBezTo>
                    <a:pt x="8" y="5"/>
                    <a:pt x="2" y="4"/>
                    <a:pt x="0" y="7"/>
                  </a:cubicBezTo>
                  <a:cubicBezTo>
                    <a:pt x="0" y="14"/>
                    <a:pt x="2" y="17"/>
                    <a:pt x="6" y="18"/>
                  </a:cubicBezTo>
                  <a:cubicBezTo>
                    <a:pt x="5" y="7"/>
                    <a:pt x="21" y="6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4" name="Freeform 76"/>
            <p:cNvSpPr>
              <a:spLocks/>
            </p:cNvSpPr>
            <p:nvPr userDrawn="1"/>
          </p:nvSpPr>
          <p:spPr bwMode="auto">
            <a:xfrm>
              <a:off x="2937796" y="4112919"/>
              <a:ext cx="73901" cy="102118"/>
            </a:xfrm>
            <a:custGeom>
              <a:avLst/>
              <a:gdLst>
                <a:gd name="T0" fmla="*/ 0 w 23"/>
                <a:gd name="T1" fmla="*/ 2 h 32"/>
                <a:gd name="T2" fmla="*/ 0 w 23"/>
                <a:gd name="T3" fmla="*/ 17 h 32"/>
                <a:gd name="T4" fmla="*/ 16 w 23"/>
                <a:gd name="T5" fmla="*/ 13 h 32"/>
                <a:gd name="T6" fmla="*/ 10 w 23"/>
                <a:gd name="T7" fmla="*/ 31 h 32"/>
                <a:gd name="T8" fmla="*/ 19 w 23"/>
                <a:gd name="T9" fmla="*/ 6 h 32"/>
                <a:gd name="T10" fmla="*/ 0 w 23"/>
                <a:gd name="T11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32">
                  <a:moveTo>
                    <a:pt x="0" y="2"/>
                  </a:moveTo>
                  <a:cubicBezTo>
                    <a:pt x="0" y="7"/>
                    <a:pt x="0" y="12"/>
                    <a:pt x="0" y="17"/>
                  </a:cubicBezTo>
                  <a:cubicBezTo>
                    <a:pt x="8" y="21"/>
                    <a:pt x="14" y="4"/>
                    <a:pt x="16" y="13"/>
                  </a:cubicBezTo>
                  <a:cubicBezTo>
                    <a:pt x="9" y="20"/>
                    <a:pt x="13" y="19"/>
                    <a:pt x="10" y="31"/>
                  </a:cubicBezTo>
                  <a:cubicBezTo>
                    <a:pt x="20" y="32"/>
                    <a:pt x="23" y="12"/>
                    <a:pt x="19" y="6"/>
                  </a:cubicBezTo>
                  <a:cubicBezTo>
                    <a:pt x="9" y="9"/>
                    <a:pt x="8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5" name="Freeform 77"/>
            <p:cNvSpPr>
              <a:spLocks/>
            </p:cNvSpPr>
            <p:nvPr userDrawn="1"/>
          </p:nvSpPr>
          <p:spPr bwMode="auto">
            <a:xfrm>
              <a:off x="2814181" y="4115607"/>
              <a:ext cx="79275" cy="51059"/>
            </a:xfrm>
            <a:custGeom>
              <a:avLst/>
              <a:gdLst>
                <a:gd name="T0" fmla="*/ 12 w 25"/>
                <a:gd name="T1" fmla="*/ 16 h 16"/>
                <a:gd name="T2" fmla="*/ 20 w 25"/>
                <a:gd name="T3" fmla="*/ 16 h 16"/>
                <a:gd name="T4" fmla="*/ 12 w 25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16">
                  <a:moveTo>
                    <a:pt x="12" y="16"/>
                  </a:moveTo>
                  <a:cubicBezTo>
                    <a:pt x="13" y="10"/>
                    <a:pt x="18" y="13"/>
                    <a:pt x="20" y="16"/>
                  </a:cubicBezTo>
                  <a:cubicBezTo>
                    <a:pt x="25" y="0"/>
                    <a:pt x="0" y="10"/>
                    <a:pt x="1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6" name="Freeform 78"/>
            <p:cNvSpPr>
              <a:spLocks/>
            </p:cNvSpPr>
            <p:nvPr userDrawn="1"/>
          </p:nvSpPr>
          <p:spPr bwMode="auto">
            <a:xfrm>
              <a:off x="3033196" y="4138449"/>
              <a:ext cx="32248" cy="67183"/>
            </a:xfrm>
            <a:custGeom>
              <a:avLst/>
              <a:gdLst>
                <a:gd name="T0" fmla="*/ 5 w 10"/>
                <a:gd name="T1" fmla="*/ 20 h 21"/>
                <a:gd name="T2" fmla="*/ 10 w 10"/>
                <a:gd name="T3" fmla="*/ 1 h 21"/>
                <a:gd name="T4" fmla="*/ 5 w 10"/>
                <a:gd name="T5" fmla="*/ 1 h 21"/>
                <a:gd name="T6" fmla="*/ 5 w 10"/>
                <a:gd name="T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1">
                  <a:moveTo>
                    <a:pt x="5" y="20"/>
                  </a:moveTo>
                  <a:cubicBezTo>
                    <a:pt x="8" y="15"/>
                    <a:pt x="7" y="6"/>
                    <a:pt x="10" y="1"/>
                  </a:cubicBezTo>
                  <a:cubicBezTo>
                    <a:pt x="8" y="1"/>
                    <a:pt x="7" y="1"/>
                    <a:pt x="5" y="1"/>
                  </a:cubicBezTo>
                  <a:cubicBezTo>
                    <a:pt x="0" y="0"/>
                    <a:pt x="0" y="21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7" name="Freeform 79"/>
            <p:cNvSpPr>
              <a:spLocks/>
            </p:cNvSpPr>
            <p:nvPr userDrawn="1"/>
          </p:nvSpPr>
          <p:spPr bwMode="auto">
            <a:xfrm>
              <a:off x="3004979" y="4176071"/>
              <a:ext cx="28217" cy="34935"/>
            </a:xfrm>
            <a:custGeom>
              <a:avLst/>
              <a:gdLst>
                <a:gd name="T0" fmla="*/ 8 w 9"/>
                <a:gd name="T1" fmla="*/ 8 h 11"/>
                <a:gd name="T2" fmla="*/ 3 w 9"/>
                <a:gd name="T3" fmla="*/ 0 h 11"/>
                <a:gd name="T4" fmla="*/ 0 w 9"/>
                <a:gd name="T5" fmla="*/ 11 h 11"/>
                <a:gd name="T6" fmla="*/ 6 w 9"/>
                <a:gd name="T7" fmla="*/ 11 h 11"/>
                <a:gd name="T8" fmla="*/ 8 w 9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8" y="8"/>
                  </a:moveTo>
                  <a:cubicBezTo>
                    <a:pt x="5" y="8"/>
                    <a:pt x="6" y="1"/>
                    <a:pt x="3" y="0"/>
                  </a:cubicBezTo>
                  <a:cubicBezTo>
                    <a:pt x="3" y="5"/>
                    <a:pt x="0" y="6"/>
                    <a:pt x="0" y="11"/>
                  </a:cubicBezTo>
                  <a:cubicBezTo>
                    <a:pt x="2" y="11"/>
                    <a:pt x="4" y="11"/>
                    <a:pt x="6" y="11"/>
                  </a:cubicBezTo>
                  <a:cubicBezTo>
                    <a:pt x="7" y="11"/>
                    <a:pt x="9" y="11"/>
                    <a:pt x="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8" name="Freeform 80"/>
            <p:cNvSpPr>
              <a:spLocks/>
            </p:cNvSpPr>
            <p:nvPr userDrawn="1"/>
          </p:nvSpPr>
          <p:spPr bwMode="auto">
            <a:xfrm>
              <a:off x="3624403" y="4215037"/>
              <a:ext cx="40310" cy="40310"/>
            </a:xfrm>
            <a:custGeom>
              <a:avLst/>
              <a:gdLst>
                <a:gd name="T0" fmla="*/ 2 w 13"/>
                <a:gd name="T1" fmla="*/ 11 h 13"/>
                <a:gd name="T2" fmla="*/ 12 w 13"/>
                <a:gd name="T3" fmla="*/ 7 h 13"/>
                <a:gd name="T4" fmla="*/ 2 w 13"/>
                <a:gd name="T5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2" y="11"/>
                  </a:moveTo>
                  <a:cubicBezTo>
                    <a:pt x="3" y="13"/>
                    <a:pt x="13" y="10"/>
                    <a:pt x="12" y="7"/>
                  </a:cubicBezTo>
                  <a:cubicBezTo>
                    <a:pt x="9" y="0"/>
                    <a:pt x="0" y="9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9" name="Freeform 81"/>
            <p:cNvSpPr>
              <a:spLocks/>
            </p:cNvSpPr>
            <p:nvPr userDrawn="1"/>
          </p:nvSpPr>
          <p:spPr bwMode="auto">
            <a:xfrm>
              <a:off x="2792682" y="4205631"/>
              <a:ext cx="34935" cy="79275"/>
            </a:xfrm>
            <a:custGeom>
              <a:avLst/>
              <a:gdLst>
                <a:gd name="T0" fmla="*/ 8 w 11"/>
                <a:gd name="T1" fmla="*/ 25 h 25"/>
                <a:gd name="T2" fmla="*/ 11 w 11"/>
                <a:gd name="T3" fmla="*/ 17 h 25"/>
                <a:gd name="T4" fmla="*/ 0 w 11"/>
                <a:gd name="T5" fmla="*/ 14 h 25"/>
                <a:gd name="T6" fmla="*/ 3 w 11"/>
                <a:gd name="T7" fmla="*/ 25 h 25"/>
                <a:gd name="T8" fmla="*/ 8 w 11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5">
                  <a:moveTo>
                    <a:pt x="8" y="25"/>
                  </a:moveTo>
                  <a:cubicBezTo>
                    <a:pt x="8" y="21"/>
                    <a:pt x="10" y="20"/>
                    <a:pt x="11" y="17"/>
                  </a:cubicBezTo>
                  <a:cubicBezTo>
                    <a:pt x="4" y="22"/>
                    <a:pt x="4" y="0"/>
                    <a:pt x="0" y="14"/>
                  </a:cubicBezTo>
                  <a:cubicBezTo>
                    <a:pt x="3" y="14"/>
                    <a:pt x="3" y="19"/>
                    <a:pt x="3" y="25"/>
                  </a:cubicBezTo>
                  <a:cubicBezTo>
                    <a:pt x="5" y="25"/>
                    <a:pt x="6" y="25"/>
                    <a:pt x="8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0" name="Freeform 82"/>
            <p:cNvSpPr>
              <a:spLocks/>
            </p:cNvSpPr>
            <p:nvPr userDrawn="1"/>
          </p:nvSpPr>
          <p:spPr bwMode="auto">
            <a:xfrm>
              <a:off x="2960639" y="4236535"/>
              <a:ext cx="30904" cy="48371"/>
            </a:xfrm>
            <a:custGeom>
              <a:avLst/>
              <a:gdLst>
                <a:gd name="T0" fmla="*/ 1 w 10"/>
                <a:gd name="T1" fmla="*/ 4 h 15"/>
                <a:gd name="T2" fmla="*/ 6 w 10"/>
                <a:gd name="T3" fmla="*/ 15 h 15"/>
                <a:gd name="T4" fmla="*/ 9 w 10"/>
                <a:gd name="T5" fmla="*/ 0 h 15"/>
                <a:gd name="T6" fmla="*/ 3 w 10"/>
                <a:gd name="T7" fmla="*/ 0 h 15"/>
                <a:gd name="T8" fmla="*/ 1 w 10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1" y="4"/>
                  </a:moveTo>
                  <a:cubicBezTo>
                    <a:pt x="5" y="4"/>
                    <a:pt x="2" y="14"/>
                    <a:pt x="6" y="15"/>
                  </a:cubicBezTo>
                  <a:cubicBezTo>
                    <a:pt x="7" y="10"/>
                    <a:pt x="10" y="8"/>
                    <a:pt x="9" y="0"/>
                  </a:cubicBezTo>
                  <a:cubicBezTo>
                    <a:pt x="7" y="0"/>
                    <a:pt x="5" y="0"/>
                    <a:pt x="3" y="0"/>
                  </a:cubicBezTo>
                  <a:cubicBezTo>
                    <a:pt x="2" y="0"/>
                    <a:pt x="0" y="0"/>
                    <a:pt x="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1" name="Freeform 83"/>
            <p:cNvSpPr>
              <a:spLocks/>
            </p:cNvSpPr>
            <p:nvPr userDrawn="1"/>
          </p:nvSpPr>
          <p:spPr bwMode="auto">
            <a:xfrm>
              <a:off x="2998261" y="4227130"/>
              <a:ext cx="41653" cy="67183"/>
            </a:xfrm>
            <a:custGeom>
              <a:avLst/>
              <a:gdLst>
                <a:gd name="T0" fmla="*/ 0 w 13"/>
                <a:gd name="T1" fmla="*/ 10 h 21"/>
                <a:gd name="T2" fmla="*/ 13 w 13"/>
                <a:gd name="T3" fmla="*/ 10 h 21"/>
                <a:gd name="T4" fmla="*/ 0 w 13"/>
                <a:gd name="T5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1">
                  <a:moveTo>
                    <a:pt x="0" y="10"/>
                  </a:moveTo>
                  <a:cubicBezTo>
                    <a:pt x="6" y="5"/>
                    <a:pt x="11" y="21"/>
                    <a:pt x="13" y="10"/>
                  </a:cubicBezTo>
                  <a:cubicBezTo>
                    <a:pt x="8" y="5"/>
                    <a:pt x="4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2" name="Freeform 84"/>
            <p:cNvSpPr>
              <a:spLocks/>
            </p:cNvSpPr>
            <p:nvPr userDrawn="1"/>
          </p:nvSpPr>
          <p:spPr bwMode="auto">
            <a:xfrm>
              <a:off x="2802088" y="4249972"/>
              <a:ext cx="85994" cy="114210"/>
            </a:xfrm>
            <a:custGeom>
              <a:avLst/>
              <a:gdLst>
                <a:gd name="T0" fmla="*/ 11 w 27"/>
                <a:gd name="T1" fmla="*/ 33 h 36"/>
                <a:gd name="T2" fmla="*/ 21 w 27"/>
                <a:gd name="T3" fmla="*/ 33 h 36"/>
                <a:gd name="T4" fmla="*/ 21 w 27"/>
                <a:gd name="T5" fmla="*/ 0 h 36"/>
                <a:gd name="T6" fmla="*/ 13 w 27"/>
                <a:gd name="T7" fmla="*/ 0 h 36"/>
                <a:gd name="T8" fmla="*/ 11 w 27"/>
                <a:gd name="T9" fmla="*/ 11 h 36"/>
                <a:gd name="T10" fmla="*/ 11 w 27"/>
                <a:gd name="T11" fmla="*/ 3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36">
                  <a:moveTo>
                    <a:pt x="11" y="33"/>
                  </a:moveTo>
                  <a:cubicBezTo>
                    <a:pt x="12" y="22"/>
                    <a:pt x="16" y="36"/>
                    <a:pt x="21" y="33"/>
                  </a:cubicBezTo>
                  <a:cubicBezTo>
                    <a:pt x="17" y="21"/>
                    <a:pt x="20" y="13"/>
                    <a:pt x="21" y="0"/>
                  </a:cubicBezTo>
                  <a:cubicBezTo>
                    <a:pt x="19" y="0"/>
                    <a:pt x="16" y="0"/>
                    <a:pt x="13" y="0"/>
                  </a:cubicBezTo>
                  <a:cubicBezTo>
                    <a:pt x="13" y="5"/>
                    <a:pt x="12" y="8"/>
                    <a:pt x="11" y="11"/>
                  </a:cubicBezTo>
                  <a:cubicBezTo>
                    <a:pt x="27" y="13"/>
                    <a:pt x="0" y="27"/>
                    <a:pt x="11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3" name="Freeform 85"/>
            <p:cNvSpPr>
              <a:spLocks/>
            </p:cNvSpPr>
            <p:nvPr userDrawn="1"/>
          </p:nvSpPr>
          <p:spPr bwMode="auto">
            <a:xfrm>
              <a:off x="2867927" y="4255347"/>
              <a:ext cx="55090" cy="64495"/>
            </a:xfrm>
            <a:custGeom>
              <a:avLst/>
              <a:gdLst>
                <a:gd name="T0" fmla="*/ 8 w 17"/>
                <a:gd name="T1" fmla="*/ 9 h 20"/>
                <a:gd name="T2" fmla="*/ 6 w 17"/>
                <a:gd name="T3" fmla="*/ 9 h 20"/>
                <a:gd name="T4" fmla="*/ 3 w 17"/>
                <a:gd name="T5" fmla="*/ 1 h 20"/>
                <a:gd name="T6" fmla="*/ 0 w 17"/>
                <a:gd name="T7" fmla="*/ 16 h 20"/>
                <a:gd name="T8" fmla="*/ 16 w 17"/>
                <a:gd name="T9" fmla="*/ 20 h 20"/>
                <a:gd name="T10" fmla="*/ 8 w 17"/>
                <a:gd name="T11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20">
                  <a:moveTo>
                    <a:pt x="8" y="9"/>
                  </a:moveTo>
                  <a:cubicBezTo>
                    <a:pt x="6" y="10"/>
                    <a:pt x="9" y="13"/>
                    <a:pt x="6" y="9"/>
                  </a:cubicBezTo>
                  <a:cubicBezTo>
                    <a:pt x="4" y="7"/>
                    <a:pt x="6" y="0"/>
                    <a:pt x="3" y="1"/>
                  </a:cubicBezTo>
                  <a:cubicBezTo>
                    <a:pt x="3" y="8"/>
                    <a:pt x="2" y="13"/>
                    <a:pt x="0" y="16"/>
                  </a:cubicBezTo>
                  <a:cubicBezTo>
                    <a:pt x="9" y="13"/>
                    <a:pt x="10" y="20"/>
                    <a:pt x="16" y="20"/>
                  </a:cubicBezTo>
                  <a:cubicBezTo>
                    <a:pt x="17" y="10"/>
                    <a:pt x="12" y="7"/>
                    <a:pt x="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4" name="Freeform 86"/>
            <p:cNvSpPr>
              <a:spLocks/>
            </p:cNvSpPr>
            <p:nvPr userDrawn="1"/>
          </p:nvSpPr>
          <p:spPr bwMode="auto">
            <a:xfrm>
              <a:off x="3081567" y="4243254"/>
              <a:ext cx="25529" cy="69870"/>
            </a:xfrm>
            <a:custGeom>
              <a:avLst/>
              <a:gdLst>
                <a:gd name="T0" fmla="*/ 0 w 8"/>
                <a:gd name="T1" fmla="*/ 13 h 22"/>
                <a:gd name="T2" fmla="*/ 6 w 8"/>
                <a:gd name="T3" fmla="*/ 20 h 22"/>
                <a:gd name="T4" fmla="*/ 0 w 8"/>
                <a:gd name="T5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2">
                  <a:moveTo>
                    <a:pt x="0" y="13"/>
                  </a:moveTo>
                  <a:cubicBezTo>
                    <a:pt x="3" y="11"/>
                    <a:pt x="5" y="22"/>
                    <a:pt x="6" y="20"/>
                  </a:cubicBezTo>
                  <a:cubicBezTo>
                    <a:pt x="8" y="17"/>
                    <a:pt x="5" y="0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5" name="Freeform 87"/>
            <p:cNvSpPr>
              <a:spLocks/>
            </p:cNvSpPr>
            <p:nvPr userDrawn="1"/>
          </p:nvSpPr>
          <p:spPr bwMode="auto">
            <a:xfrm>
              <a:off x="2928391" y="4284907"/>
              <a:ext cx="69870" cy="116898"/>
            </a:xfrm>
            <a:custGeom>
              <a:avLst/>
              <a:gdLst>
                <a:gd name="T0" fmla="*/ 6 w 22"/>
                <a:gd name="T1" fmla="*/ 26 h 37"/>
                <a:gd name="T2" fmla="*/ 13 w 22"/>
                <a:gd name="T3" fmla="*/ 37 h 37"/>
                <a:gd name="T4" fmla="*/ 22 w 22"/>
                <a:gd name="T5" fmla="*/ 29 h 37"/>
                <a:gd name="T6" fmla="*/ 6 w 22"/>
                <a:gd name="T7" fmla="*/ 11 h 37"/>
                <a:gd name="T8" fmla="*/ 16 w 22"/>
                <a:gd name="T9" fmla="*/ 18 h 37"/>
                <a:gd name="T10" fmla="*/ 19 w 22"/>
                <a:gd name="T11" fmla="*/ 7 h 37"/>
                <a:gd name="T12" fmla="*/ 8 w 22"/>
                <a:gd name="T13" fmla="*/ 0 h 37"/>
                <a:gd name="T14" fmla="*/ 0 w 22"/>
                <a:gd name="T15" fmla="*/ 11 h 37"/>
                <a:gd name="T16" fmla="*/ 6 w 22"/>
                <a:gd name="T17" fmla="*/ 2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37">
                  <a:moveTo>
                    <a:pt x="6" y="26"/>
                  </a:moveTo>
                  <a:cubicBezTo>
                    <a:pt x="8" y="30"/>
                    <a:pt x="12" y="34"/>
                    <a:pt x="13" y="37"/>
                  </a:cubicBezTo>
                  <a:cubicBezTo>
                    <a:pt x="14" y="31"/>
                    <a:pt x="21" y="35"/>
                    <a:pt x="22" y="29"/>
                  </a:cubicBezTo>
                  <a:cubicBezTo>
                    <a:pt x="17" y="23"/>
                    <a:pt x="5" y="25"/>
                    <a:pt x="6" y="11"/>
                  </a:cubicBezTo>
                  <a:cubicBezTo>
                    <a:pt x="11" y="11"/>
                    <a:pt x="9" y="21"/>
                    <a:pt x="16" y="18"/>
                  </a:cubicBezTo>
                  <a:cubicBezTo>
                    <a:pt x="16" y="13"/>
                    <a:pt x="18" y="10"/>
                    <a:pt x="19" y="7"/>
                  </a:cubicBezTo>
                  <a:cubicBezTo>
                    <a:pt x="12" y="10"/>
                    <a:pt x="13" y="0"/>
                    <a:pt x="8" y="0"/>
                  </a:cubicBezTo>
                  <a:cubicBezTo>
                    <a:pt x="7" y="5"/>
                    <a:pt x="4" y="9"/>
                    <a:pt x="0" y="11"/>
                  </a:cubicBezTo>
                  <a:cubicBezTo>
                    <a:pt x="0" y="17"/>
                    <a:pt x="3" y="22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6" name="Freeform 88"/>
            <p:cNvSpPr>
              <a:spLocks/>
            </p:cNvSpPr>
            <p:nvPr userDrawn="1"/>
          </p:nvSpPr>
          <p:spPr bwMode="auto">
            <a:xfrm>
              <a:off x="3061412" y="4319842"/>
              <a:ext cx="29560" cy="44341"/>
            </a:xfrm>
            <a:custGeom>
              <a:avLst/>
              <a:gdLst>
                <a:gd name="T0" fmla="*/ 9 w 9"/>
                <a:gd name="T1" fmla="*/ 11 h 14"/>
                <a:gd name="T2" fmla="*/ 4 w 9"/>
                <a:gd name="T3" fmla="*/ 0 h 14"/>
                <a:gd name="T4" fmla="*/ 9 w 9"/>
                <a:gd name="T5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9" y="11"/>
                  </a:moveTo>
                  <a:cubicBezTo>
                    <a:pt x="9" y="4"/>
                    <a:pt x="7" y="1"/>
                    <a:pt x="4" y="0"/>
                  </a:cubicBezTo>
                  <a:cubicBezTo>
                    <a:pt x="0" y="5"/>
                    <a:pt x="0" y="14"/>
                    <a:pt x="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7" name="Freeform 89"/>
            <p:cNvSpPr>
              <a:spLocks/>
            </p:cNvSpPr>
            <p:nvPr userDrawn="1"/>
          </p:nvSpPr>
          <p:spPr bwMode="auto">
            <a:xfrm>
              <a:off x="2988855" y="4329247"/>
              <a:ext cx="16124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8" name="Freeform 90"/>
            <p:cNvSpPr>
              <a:spLocks/>
            </p:cNvSpPr>
            <p:nvPr userDrawn="1"/>
          </p:nvSpPr>
          <p:spPr bwMode="auto">
            <a:xfrm>
              <a:off x="3072162" y="4389712"/>
              <a:ext cx="30904" cy="56433"/>
            </a:xfrm>
            <a:custGeom>
              <a:avLst/>
              <a:gdLst>
                <a:gd name="T0" fmla="*/ 3 w 10"/>
                <a:gd name="T1" fmla="*/ 18 h 18"/>
                <a:gd name="T2" fmla="*/ 1 w 10"/>
                <a:gd name="T3" fmla="*/ 4 h 18"/>
                <a:gd name="T4" fmla="*/ 3 w 10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3" y="18"/>
                  </a:moveTo>
                  <a:cubicBezTo>
                    <a:pt x="5" y="16"/>
                    <a:pt x="10" y="0"/>
                    <a:pt x="1" y="4"/>
                  </a:cubicBezTo>
                  <a:cubicBezTo>
                    <a:pt x="1" y="9"/>
                    <a:pt x="0" y="17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9" name="Freeform 91"/>
            <p:cNvSpPr>
              <a:spLocks/>
            </p:cNvSpPr>
            <p:nvPr userDrawn="1"/>
          </p:nvSpPr>
          <p:spPr bwMode="auto">
            <a:xfrm>
              <a:off x="3131282" y="4401805"/>
              <a:ext cx="22842" cy="44341"/>
            </a:xfrm>
            <a:custGeom>
              <a:avLst/>
              <a:gdLst>
                <a:gd name="T0" fmla="*/ 6 w 7"/>
                <a:gd name="T1" fmla="*/ 14 h 14"/>
                <a:gd name="T2" fmla="*/ 1 w 7"/>
                <a:gd name="T3" fmla="*/ 0 h 14"/>
                <a:gd name="T4" fmla="*/ 6 w 7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6" y="14"/>
                  </a:moveTo>
                  <a:cubicBezTo>
                    <a:pt x="7" y="6"/>
                    <a:pt x="5" y="1"/>
                    <a:pt x="1" y="0"/>
                  </a:cubicBezTo>
                  <a:cubicBezTo>
                    <a:pt x="0" y="8"/>
                    <a:pt x="1" y="14"/>
                    <a:pt x="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0" name="Freeform 92"/>
            <p:cNvSpPr>
              <a:spLocks/>
            </p:cNvSpPr>
            <p:nvPr userDrawn="1"/>
          </p:nvSpPr>
          <p:spPr bwMode="auto">
            <a:xfrm>
              <a:off x="2807462" y="4378963"/>
              <a:ext cx="45684" cy="115554"/>
            </a:xfrm>
            <a:custGeom>
              <a:avLst/>
              <a:gdLst>
                <a:gd name="T0" fmla="*/ 14 w 14"/>
                <a:gd name="T1" fmla="*/ 18 h 36"/>
                <a:gd name="T2" fmla="*/ 11 w 14"/>
                <a:gd name="T3" fmla="*/ 14 h 36"/>
                <a:gd name="T4" fmla="*/ 14 w 14"/>
                <a:gd name="T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36">
                  <a:moveTo>
                    <a:pt x="14" y="18"/>
                  </a:moveTo>
                  <a:cubicBezTo>
                    <a:pt x="11" y="19"/>
                    <a:pt x="12" y="15"/>
                    <a:pt x="11" y="14"/>
                  </a:cubicBezTo>
                  <a:cubicBezTo>
                    <a:pt x="0" y="0"/>
                    <a:pt x="4" y="36"/>
                    <a:pt x="1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1" name="Freeform 93"/>
            <p:cNvSpPr>
              <a:spLocks/>
            </p:cNvSpPr>
            <p:nvPr userDrawn="1"/>
          </p:nvSpPr>
          <p:spPr bwMode="auto">
            <a:xfrm>
              <a:off x="2923016" y="4439427"/>
              <a:ext cx="81963" cy="83306"/>
            </a:xfrm>
            <a:custGeom>
              <a:avLst/>
              <a:gdLst>
                <a:gd name="T0" fmla="*/ 18 w 26"/>
                <a:gd name="T1" fmla="*/ 21 h 26"/>
                <a:gd name="T2" fmla="*/ 24 w 26"/>
                <a:gd name="T3" fmla="*/ 2 h 26"/>
                <a:gd name="T4" fmla="*/ 8 w 26"/>
                <a:gd name="T5" fmla="*/ 17 h 26"/>
                <a:gd name="T6" fmla="*/ 18 w 26"/>
                <a:gd name="T7" fmla="*/ 2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6">
                  <a:moveTo>
                    <a:pt x="18" y="21"/>
                  </a:moveTo>
                  <a:cubicBezTo>
                    <a:pt x="14" y="7"/>
                    <a:pt x="26" y="14"/>
                    <a:pt x="24" y="2"/>
                  </a:cubicBezTo>
                  <a:cubicBezTo>
                    <a:pt x="15" y="0"/>
                    <a:pt x="0" y="9"/>
                    <a:pt x="8" y="17"/>
                  </a:cubicBezTo>
                  <a:cubicBezTo>
                    <a:pt x="10" y="6"/>
                    <a:pt x="12" y="26"/>
                    <a:pt x="18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2" name="Freeform 94"/>
            <p:cNvSpPr>
              <a:spLocks/>
            </p:cNvSpPr>
            <p:nvPr userDrawn="1"/>
          </p:nvSpPr>
          <p:spPr bwMode="auto">
            <a:xfrm>
              <a:off x="3252211" y="4446145"/>
              <a:ext cx="34935" cy="85994"/>
            </a:xfrm>
            <a:custGeom>
              <a:avLst/>
              <a:gdLst>
                <a:gd name="T0" fmla="*/ 11 w 11"/>
                <a:gd name="T1" fmla="*/ 23 h 27"/>
                <a:gd name="T2" fmla="*/ 3 w 11"/>
                <a:gd name="T3" fmla="*/ 0 h 27"/>
                <a:gd name="T4" fmla="*/ 11 w 11"/>
                <a:gd name="T5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7">
                  <a:moveTo>
                    <a:pt x="11" y="23"/>
                  </a:moveTo>
                  <a:cubicBezTo>
                    <a:pt x="10" y="13"/>
                    <a:pt x="7" y="6"/>
                    <a:pt x="3" y="0"/>
                  </a:cubicBezTo>
                  <a:cubicBezTo>
                    <a:pt x="1" y="4"/>
                    <a:pt x="0" y="27"/>
                    <a:pt x="1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3" name="Freeform 95"/>
            <p:cNvSpPr>
              <a:spLocks/>
            </p:cNvSpPr>
            <p:nvPr userDrawn="1"/>
          </p:nvSpPr>
          <p:spPr bwMode="auto">
            <a:xfrm>
              <a:off x="2827617" y="4483767"/>
              <a:ext cx="28217" cy="22842"/>
            </a:xfrm>
            <a:custGeom>
              <a:avLst/>
              <a:gdLst>
                <a:gd name="T0" fmla="*/ 3 w 9"/>
                <a:gd name="T1" fmla="*/ 0 h 7"/>
                <a:gd name="T2" fmla="*/ 0 w 9"/>
                <a:gd name="T3" fmla="*/ 7 h 7"/>
                <a:gd name="T4" fmla="*/ 8 w 9"/>
                <a:gd name="T5" fmla="*/ 0 h 7"/>
                <a:gd name="T6" fmla="*/ 3 w 9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3" y="0"/>
                  </a:moveTo>
                  <a:cubicBezTo>
                    <a:pt x="3" y="3"/>
                    <a:pt x="0" y="4"/>
                    <a:pt x="0" y="7"/>
                  </a:cubicBezTo>
                  <a:cubicBezTo>
                    <a:pt x="4" y="7"/>
                    <a:pt x="9" y="7"/>
                    <a:pt x="8" y="0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4" name="Freeform 96"/>
            <p:cNvSpPr>
              <a:spLocks/>
            </p:cNvSpPr>
            <p:nvPr userDrawn="1"/>
          </p:nvSpPr>
          <p:spPr bwMode="auto">
            <a:xfrm>
              <a:off x="3109784" y="4483767"/>
              <a:ext cx="47028" cy="69870"/>
            </a:xfrm>
            <a:custGeom>
              <a:avLst/>
              <a:gdLst>
                <a:gd name="T0" fmla="*/ 8 w 15"/>
                <a:gd name="T1" fmla="*/ 22 h 22"/>
                <a:gd name="T2" fmla="*/ 13 w 15"/>
                <a:gd name="T3" fmla="*/ 22 h 22"/>
                <a:gd name="T4" fmla="*/ 8 w 15"/>
                <a:gd name="T5" fmla="*/ 7 h 22"/>
                <a:gd name="T6" fmla="*/ 8 w 15"/>
                <a:gd name="T7" fmla="*/ 0 h 22"/>
                <a:gd name="T8" fmla="*/ 8 w 15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2">
                  <a:moveTo>
                    <a:pt x="8" y="22"/>
                  </a:moveTo>
                  <a:cubicBezTo>
                    <a:pt x="8" y="17"/>
                    <a:pt x="11" y="19"/>
                    <a:pt x="13" y="22"/>
                  </a:cubicBezTo>
                  <a:cubicBezTo>
                    <a:pt x="15" y="12"/>
                    <a:pt x="8" y="14"/>
                    <a:pt x="8" y="7"/>
                  </a:cubicBezTo>
                  <a:cubicBezTo>
                    <a:pt x="10" y="7"/>
                    <a:pt x="11" y="0"/>
                    <a:pt x="8" y="0"/>
                  </a:cubicBezTo>
                  <a:cubicBezTo>
                    <a:pt x="4" y="8"/>
                    <a:pt x="0" y="16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5" name="Freeform 97"/>
            <p:cNvSpPr>
              <a:spLocks/>
            </p:cNvSpPr>
            <p:nvPr userDrawn="1"/>
          </p:nvSpPr>
          <p:spPr bwMode="auto">
            <a:xfrm>
              <a:off x="3151437" y="4481080"/>
              <a:ext cx="24186" cy="44341"/>
            </a:xfrm>
            <a:custGeom>
              <a:avLst/>
              <a:gdLst>
                <a:gd name="T0" fmla="*/ 8 w 8"/>
                <a:gd name="T1" fmla="*/ 1 h 14"/>
                <a:gd name="T2" fmla="*/ 0 w 8"/>
                <a:gd name="T3" fmla="*/ 12 h 14"/>
                <a:gd name="T4" fmla="*/ 8 w 8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4">
                  <a:moveTo>
                    <a:pt x="8" y="1"/>
                  </a:moveTo>
                  <a:cubicBezTo>
                    <a:pt x="2" y="0"/>
                    <a:pt x="0" y="4"/>
                    <a:pt x="0" y="12"/>
                  </a:cubicBezTo>
                  <a:cubicBezTo>
                    <a:pt x="7" y="14"/>
                    <a:pt x="5" y="4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6" name="Freeform 98"/>
            <p:cNvSpPr>
              <a:spLocks/>
            </p:cNvSpPr>
            <p:nvPr userDrawn="1"/>
          </p:nvSpPr>
          <p:spPr bwMode="auto">
            <a:xfrm>
              <a:off x="3217276" y="4513328"/>
              <a:ext cx="25529" cy="69870"/>
            </a:xfrm>
            <a:custGeom>
              <a:avLst/>
              <a:gdLst>
                <a:gd name="T0" fmla="*/ 3 w 8"/>
                <a:gd name="T1" fmla="*/ 2 h 22"/>
                <a:gd name="T2" fmla="*/ 1 w 8"/>
                <a:gd name="T3" fmla="*/ 16 h 22"/>
                <a:gd name="T4" fmla="*/ 3 w 8"/>
                <a:gd name="T5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2">
                  <a:moveTo>
                    <a:pt x="3" y="2"/>
                  </a:moveTo>
                  <a:cubicBezTo>
                    <a:pt x="4" y="9"/>
                    <a:pt x="0" y="10"/>
                    <a:pt x="1" y="16"/>
                  </a:cubicBezTo>
                  <a:cubicBezTo>
                    <a:pt x="8" y="22"/>
                    <a:pt x="8" y="0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7" name="Freeform 99"/>
            <p:cNvSpPr>
              <a:spLocks/>
            </p:cNvSpPr>
            <p:nvPr userDrawn="1"/>
          </p:nvSpPr>
          <p:spPr bwMode="auto">
            <a:xfrm>
              <a:off x="3252211" y="4499891"/>
              <a:ext cx="16124" cy="67183"/>
            </a:xfrm>
            <a:custGeom>
              <a:avLst/>
              <a:gdLst>
                <a:gd name="T0" fmla="*/ 3 w 5"/>
                <a:gd name="T1" fmla="*/ 20 h 21"/>
                <a:gd name="T2" fmla="*/ 0 w 5"/>
                <a:gd name="T3" fmla="*/ 13 h 21"/>
                <a:gd name="T4" fmla="*/ 3 w 5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1">
                  <a:moveTo>
                    <a:pt x="3" y="20"/>
                  </a:moveTo>
                  <a:cubicBezTo>
                    <a:pt x="5" y="20"/>
                    <a:pt x="4" y="0"/>
                    <a:pt x="0" y="13"/>
                  </a:cubicBezTo>
                  <a:cubicBezTo>
                    <a:pt x="0" y="15"/>
                    <a:pt x="1" y="21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8" name="Freeform 100"/>
            <p:cNvSpPr>
              <a:spLocks/>
            </p:cNvSpPr>
            <p:nvPr userDrawn="1"/>
          </p:nvSpPr>
          <p:spPr bwMode="auto">
            <a:xfrm>
              <a:off x="2704001" y="4563043"/>
              <a:ext cx="40310" cy="102118"/>
            </a:xfrm>
            <a:custGeom>
              <a:avLst/>
              <a:gdLst>
                <a:gd name="T0" fmla="*/ 4 w 13"/>
                <a:gd name="T1" fmla="*/ 0 h 32"/>
                <a:gd name="T2" fmla="*/ 1 w 13"/>
                <a:gd name="T3" fmla="*/ 8 h 32"/>
                <a:gd name="T4" fmla="*/ 4 w 13"/>
                <a:gd name="T5" fmla="*/ 19 h 32"/>
                <a:gd name="T6" fmla="*/ 4 w 13"/>
                <a:gd name="T7" fmla="*/ 26 h 32"/>
                <a:gd name="T8" fmla="*/ 9 w 13"/>
                <a:gd name="T9" fmla="*/ 26 h 32"/>
                <a:gd name="T10" fmla="*/ 4 w 13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32">
                  <a:moveTo>
                    <a:pt x="4" y="0"/>
                  </a:moveTo>
                  <a:cubicBezTo>
                    <a:pt x="3" y="3"/>
                    <a:pt x="4" y="8"/>
                    <a:pt x="1" y="8"/>
                  </a:cubicBezTo>
                  <a:cubicBezTo>
                    <a:pt x="0" y="13"/>
                    <a:pt x="4" y="16"/>
                    <a:pt x="4" y="19"/>
                  </a:cubicBezTo>
                  <a:cubicBezTo>
                    <a:pt x="5" y="25"/>
                    <a:pt x="1" y="22"/>
                    <a:pt x="4" y="26"/>
                  </a:cubicBezTo>
                  <a:cubicBezTo>
                    <a:pt x="5" y="28"/>
                    <a:pt x="8" y="32"/>
                    <a:pt x="9" y="26"/>
                  </a:cubicBezTo>
                  <a:cubicBezTo>
                    <a:pt x="3" y="19"/>
                    <a:pt x="13" y="7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9" name="Freeform 101"/>
            <p:cNvSpPr>
              <a:spLocks/>
            </p:cNvSpPr>
            <p:nvPr userDrawn="1"/>
          </p:nvSpPr>
          <p:spPr bwMode="auto">
            <a:xfrm>
              <a:off x="3074849" y="4563043"/>
              <a:ext cx="16124" cy="25529"/>
            </a:xfrm>
            <a:custGeom>
              <a:avLst/>
              <a:gdLst>
                <a:gd name="T0" fmla="*/ 0 w 5"/>
                <a:gd name="T1" fmla="*/ 8 h 8"/>
                <a:gd name="T2" fmla="*/ 5 w 5"/>
                <a:gd name="T3" fmla="*/ 8 h 8"/>
                <a:gd name="T4" fmla="*/ 5 w 5"/>
                <a:gd name="T5" fmla="*/ 0 h 8"/>
                <a:gd name="T6" fmla="*/ 0 w 5"/>
                <a:gd name="T7" fmla="*/ 0 h 8"/>
                <a:gd name="T8" fmla="*/ 0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0" y="8"/>
                  </a:moveTo>
                  <a:cubicBezTo>
                    <a:pt x="2" y="8"/>
                    <a:pt x="3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0" name="Freeform 102"/>
            <p:cNvSpPr>
              <a:spLocks/>
            </p:cNvSpPr>
            <p:nvPr userDrawn="1"/>
          </p:nvSpPr>
          <p:spPr bwMode="auto">
            <a:xfrm>
              <a:off x="3335517" y="4563043"/>
              <a:ext cx="59121" cy="64495"/>
            </a:xfrm>
            <a:custGeom>
              <a:avLst/>
              <a:gdLst>
                <a:gd name="T0" fmla="*/ 12 w 19"/>
                <a:gd name="T1" fmla="*/ 0 h 20"/>
                <a:gd name="T2" fmla="*/ 4 w 19"/>
                <a:gd name="T3" fmla="*/ 15 h 20"/>
                <a:gd name="T4" fmla="*/ 12 w 19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20">
                  <a:moveTo>
                    <a:pt x="12" y="0"/>
                  </a:moveTo>
                  <a:cubicBezTo>
                    <a:pt x="11" y="8"/>
                    <a:pt x="0" y="1"/>
                    <a:pt x="4" y="15"/>
                  </a:cubicBezTo>
                  <a:cubicBezTo>
                    <a:pt x="12" y="20"/>
                    <a:pt x="19" y="5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1" name="Freeform 103"/>
            <p:cNvSpPr>
              <a:spLocks/>
            </p:cNvSpPr>
            <p:nvPr userDrawn="1"/>
          </p:nvSpPr>
          <p:spPr bwMode="auto">
            <a:xfrm>
              <a:off x="3240118" y="4588572"/>
              <a:ext cx="30904" cy="64495"/>
            </a:xfrm>
            <a:custGeom>
              <a:avLst/>
              <a:gdLst>
                <a:gd name="T0" fmla="*/ 4 w 10"/>
                <a:gd name="T1" fmla="*/ 0 h 20"/>
                <a:gd name="T2" fmla="*/ 10 w 10"/>
                <a:gd name="T3" fmla="*/ 11 h 20"/>
                <a:gd name="T4" fmla="*/ 4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4" y="0"/>
                  </a:moveTo>
                  <a:cubicBezTo>
                    <a:pt x="0" y="8"/>
                    <a:pt x="5" y="20"/>
                    <a:pt x="10" y="11"/>
                  </a:cubicBezTo>
                  <a:cubicBezTo>
                    <a:pt x="5" y="11"/>
                    <a:pt x="8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2" name="Freeform 104"/>
            <p:cNvSpPr>
              <a:spLocks/>
            </p:cNvSpPr>
            <p:nvPr userDrawn="1"/>
          </p:nvSpPr>
          <p:spPr bwMode="auto">
            <a:xfrm>
              <a:off x="2998261" y="4585885"/>
              <a:ext cx="60464" cy="47028"/>
            </a:xfrm>
            <a:custGeom>
              <a:avLst/>
              <a:gdLst>
                <a:gd name="T0" fmla="*/ 19 w 19"/>
                <a:gd name="T1" fmla="*/ 5 h 15"/>
                <a:gd name="T2" fmla="*/ 0 w 19"/>
                <a:gd name="T3" fmla="*/ 8 h 15"/>
                <a:gd name="T4" fmla="*/ 10 w 19"/>
                <a:gd name="T5" fmla="*/ 8 h 15"/>
                <a:gd name="T6" fmla="*/ 16 w 19"/>
                <a:gd name="T7" fmla="*/ 12 h 15"/>
                <a:gd name="T8" fmla="*/ 19 w 19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19" y="5"/>
                  </a:moveTo>
                  <a:cubicBezTo>
                    <a:pt x="13" y="7"/>
                    <a:pt x="1" y="0"/>
                    <a:pt x="0" y="8"/>
                  </a:cubicBezTo>
                  <a:cubicBezTo>
                    <a:pt x="3" y="15"/>
                    <a:pt x="7" y="9"/>
                    <a:pt x="10" y="8"/>
                  </a:cubicBezTo>
                  <a:cubicBezTo>
                    <a:pt x="11" y="8"/>
                    <a:pt x="12" y="14"/>
                    <a:pt x="16" y="12"/>
                  </a:cubicBezTo>
                  <a:cubicBezTo>
                    <a:pt x="17" y="11"/>
                    <a:pt x="17" y="5"/>
                    <a:pt x="19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3" name="Freeform 105"/>
            <p:cNvSpPr>
              <a:spLocks/>
            </p:cNvSpPr>
            <p:nvPr userDrawn="1"/>
          </p:nvSpPr>
          <p:spPr bwMode="auto">
            <a:xfrm>
              <a:off x="3284459" y="4604696"/>
              <a:ext cx="25529" cy="76588"/>
            </a:xfrm>
            <a:custGeom>
              <a:avLst/>
              <a:gdLst>
                <a:gd name="T0" fmla="*/ 1 w 8"/>
                <a:gd name="T1" fmla="*/ 6 h 24"/>
                <a:gd name="T2" fmla="*/ 1 w 8"/>
                <a:gd name="T3" fmla="*/ 21 h 24"/>
                <a:gd name="T4" fmla="*/ 4 w 8"/>
                <a:gd name="T5" fmla="*/ 6 h 24"/>
                <a:gd name="T6" fmla="*/ 6 w 8"/>
                <a:gd name="T7" fmla="*/ 2 h 24"/>
                <a:gd name="T8" fmla="*/ 1 w 8"/>
                <a:gd name="T9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4">
                  <a:moveTo>
                    <a:pt x="1" y="6"/>
                  </a:moveTo>
                  <a:cubicBezTo>
                    <a:pt x="1" y="8"/>
                    <a:pt x="0" y="19"/>
                    <a:pt x="1" y="21"/>
                  </a:cubicBezTo>
                  <a:cubicBezTo>
                    <a:pt x="3" y="24"/>
                    <a:pt x="4" y="9"/>
                    <a:pt x="4" y="6"/>
                  </a:cubicBezTo>
                  <a:cubicBezTo>
                    <a:pt x="4" y="6"/>
                    <a:pt x="8" y="5"/>
                    <a:pt x="6" y="2"/>
                  </a:cubicBezTo>
                  <a:cubicBezTo>
                    <a:pt x="5" y="0"/>
                    <a:pt x="1" y="5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4" name="Freeform 106"/>
            <p:cNvSpPr>
              <a:spLocks/>
            </p:cNvSpPr>
            <p:nvPr userDrawn="1"/>
          </p:nvSpPr>
          <p:spPr bwMode="auto">
            <a:xfrm>
              <a:off x="3131282" y="4623507"/>
              <a:ext cx="41653" cy="34935"/>
            </a:xfrm>
            <a:custGeom>
              <a:avLst/>
              <a:gdLst>
                <a:gd name="T0" fmla="*/ 3 w 13"/>
                <a:gd name="T1" fmla="*/ 11 h 11"/>
                <a:gd name="T2" fmla="*/ 9 w 13"/>
                <a:gd name="T3" fmla="*/ 11 h 11"/>
                <a:gd name="T4" fmla="*/ 1 w 13"/>
                <a:gd name="T5" fmla="*/ 7 h 11"/>
                <a:gd name="T6" fmla="*/ 3 w 13"/>
                <a:gd name="T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3" y="11"/>
                  </a:moveTo>
                  <a:cubicBezTo>
                    <a:pt x="5" y="11"/>
                    <a:pt x="7" y="11"/>
                    <a:pt x="9" y="11"/>
                  </a:cubicBezTo>
                  <a:cubicBezTo>
                    <a:pt x="13" y="2"/>
                    <a:pt x="0" y="0"/>
                    <a:pt x="1" y="7"/>
                  </a:cubicBezTo>
                  <a:cubicBezTo>
                    <a:pt x="2" y="8"/>
                    <a:pt x="4" y="8"/>
                    <a:pt x="3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5" name="Freeform 107"/>
            <p:cNvSpPr>
              <a:spLocks/>
            </p:cNvSpPr>
            <p:nvPr userDrawn="1"/>
          </p:nvSpPr>
          <p:spPr bwMode="auto">
            <a:xfrm>
              <a:off x="3433604" y="4636944"/>
              <a:ext cx="16124" cy="21498"/>
            </a:xfrm>
            <a:custGeom>
              <a:avLst/>
              <a:gdLst>
                <a:gd name="T0" fmla="*/ 0 w 5"/>
                <a:gd name="T1" fmla="*/ 7 h 7"/>
                <a:gd name="T2" fmla="*/ 5 w 5"/>
                <a:gd name="T3" fmla="*/ 7 h 7"/>
                <a:gd name="T4" fmla="*/ 5 w 5"/>
                <a:gd name="T5" fmla="*/ 0 h 7"/>
                <a:gd name="T6" fmla="*/ 0 w 5"/>
                <a:gd name="T7" fmla="*/ 0 h 7"/>
                <a:gd name="T8" fmla="*/ 0 w 5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0" y="7"/>
                  </a:moveTo>
                  <a:cubicBezTo>
                    <a:pt x="2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6" name="Freeform 108"/>
            <p:cNvSpPr>
              <a:spLocks/>
            </p:cNvSpPr>
            <p:nvPr userDrawn="1"/>
          </p:nvSpPr>
          <p:spPr bwMode="auto">
            <a:xfrm>
              <a:off x="2923016" y="4646349"/>
              <a:ext cx="49715" cy="95399"/>
            </a:xfrm>
            <a:custGeom>
              <a:avLst/>
              <a:gdLst>
                <a:gd name="T0" fmla="*/ 5 w 16"/>
                <a:gd name="T1" fmla="*/ 0 h 30"/>
                <a:gd name="T2" fmla="*/ 13 w 16"/>
                <a:gd name="T3" fmla="*/ 30 h 30"/>
                <a:gd name="T4" fmla="*/ 8 w 16"/>
                <a:gd name="T5" fmla="*/ 4 h 30"/>
                <a:gd name="T6" fmla="*/ 5 w 16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0">
                  <a:moveTo>
                    <a:pt x="5" y="0"/>
                  </a:moveTo>
                  <a:cubicBezTo>
                    <a:pt x="0" y="17"/>
                    <a:pt x="7" y="19"/>
                    <a:pt x="13" y="30"/>
                  </a:cubicBezTo>
                  <a:cubicBezTo>
                    <a:pt x="16" y="15"/>
                    <a:pt x="7" y="15"/>
                    <a:pt x="8" y="4"/>
                  </a:cubicBezTo>
                  <a:cubicBezTo>
                    <a:pt x="7" y="2"/>
                    <a:pt x="7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7" name="Freeform 109"/>
            <p:cNvSpPr>
              <a:spLocks/>
            </p:cNvSpPr>
            <p:nvPr userDrawn="1"/>
          </p:nvSpPr>
          <p:spPr bwMode="auto">
            <a:xfrm>
              <a:off x="3100378" y="4646349"/>
              <a:ext cx="16124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8" name="Freeform 110"/>
            <p:cNvSpPr>
              <a:spLocks/>
            </p:cNvSpPr>
            <p:nvPr userDrawn="1"/>
          </p:nvSpPr>
          <p:spPr bwMode="auto">
            <a:xfrm>
              <a:off x="3201152" y="4627538"/>
              <a:ext cx="34935" cy="65839"/>
            </a:xfrm>
            <a:custGeom>
              <a:avLst/>
              <a:gdLst>
                <a:gd name="T0" fmla="*/ 0 w 11"/>
                <a:gd name="T1" fmla="*/ 10 h 21"/>
                <a:gd name="T2" fmla="*/ 8 w 11"/>
                <a:gd name="T3" fmla="*/ 21 h 21"/>
                <a:gd name="T4" fmla="*/ 0 w 11"/>
                <a:gd name="T5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1">
                  <a:moveTo>
                    <a:pt x="0" y="10"/>
                  </a:moveTo>
                  <a:cubicBezTo>
                    <a:pt x="6" y="9"/>
                    <a:pt x="3" y="21"/>
                    <a:pt x="8" y="21"/>
                  </a:cubicBezTo>
                  <a:cubicBezTo>
                    <a:pt x="11" y="12"/>
                    <a:pt x="3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9" name="Freeform 111"/>
            <p:cNvSpPr>
              <a:spLocks/>
            </p:cNvSpPr>
            <p:nvPr userDrawn="1"/>
          </p:nvSpPr>
          <p:spPr bwMode="auto">
            <a:xfrm>
              <a:off x="2893456" y="4671879"/>
              <a:ext cx="18811" cy="44341"/>
            </a:xfrm>
            <a:custGeom>
              <a:avLst/>
              <a:gdLst>
                <a:gd name="T0" fmla="*/ 0 w 6"/>
                <a:gd name="T1" fmla="*/ 14 h 14"/>
                <a:gd name="T2" fmla="*/ 6 w 6"/>
                <a:gd name="T3" fmla="*/ 14 h 14"/>
                <a:gd name="T4" fmla="*/ 6 w 6"/>
                <a:gd name="T5" fmla="*/ 0 h 14"/>
                <a:gd name="T6" fmla="*/ 0 w 6"/>
                <a:gd name="T7" fmla="*/ 0 h 14"/>
                <a:gd name="T8" fmla="*/ 0 w 6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2" y="14"/>
                    <a:pt x="4" y="14"/>
                    <a:pt x="6" y="14"/>
                  </a:cubicBezTo>
                  <a:cubicBezTo>
                    <a:pt x="6" y="10"/>
                    <a:pt x="6" y="5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0" name="Freeform 112"/>
            <p:cNvSpPr>
              <a:spLocks/>
            </p:cNvSpPr>
            <p:nvPr userDrawn="1"/>
          </p:nvSpPr>
          <p:spPr bwMode="auto">
            <a:xfrm>
              <a:off x="3370452" y="4671879"/>
              <a:ext cx="21498" cy="44341"/>
            </a:xfrm>
            <a:custGeom>
              <a:avLst/>
              <a:gdLst>
                <a:gd name="T0" fmla="*/ 1 w 7"/>
                <a:gd name="T1" fmla="*/ 0 h 14"/>
                <a:gd name="T2" fmla="*/ 4 w 7"/>
                <a:gd name="T3" fmla="*/ 14 h 14"/>
                <a:gd name="T4" fmla="*/ 1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1" y="0"/>
                  </a:moveTo>
                  <a:cubicBezTo>
                    <a:pt x="1" y="5"/>
                    <a:pt x="0" y="13"/>
                    <a:pt x="4" y="14"/>
                  </a:cubicBezTo>
                  <a:cubicBezTo>
                    <a:pt x="7" y="10"/>
                    <a:pt x="7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1" name="Freeform 113"/>
            <p:cNvSpPr>
              <a:spLocks/>
            </p:cNvSpPr>
            <p:nvPr userDrawn="1"/>
          </p:nvSpPr>
          <p:spPr bwMode="auto">
            <a:xfrm>
              <a:off x="3280428" y="4681284"/>
              <a:ext cx="32248" cy="34935"/>
            </a:xfrm>
            <a:custGeom>
              <a:avLst/>
              <a:gdLst>
                <a:gd name="T0" fmla="*/ 5 w 10"/>
                <a:gd name="T1" fmla="*/ 0 h 11"/>
                <a:gd name="T2" fmla="*/ 5 w 10"/>
                <a:gd name="T3" fmla="*/ 11 h 11"/>
                <a:gd name="T4" fmla="*/ 5 w 10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5" y="0"/>
                  </a:moveTo>
                  <a:cubicBezTo>
                    <a:pt x="4" y="5"/>
                    <a:pt x="0" y="9"/>
                    <a:pt x="5" y="11"/>
                  </a:cubicBezTo>
                  <a:cubicBezTo>
                    <a:pt x="5" y="7"/>
                    <a:pt x="10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2" name="Freeform 114"/>
            <p:cNvSpPr>
              <a:spLocks/>
            </p:cNvSpPr>
            <p:nvPr userDrawn="1"/>
          </p:nvSpPr>
          <p:spPr bwMode="auto">
            <a:xfrm>
              <a:off x="3410762" y="4690690"/>
              <a:ext cx="29560" cy="79275"/>
            </a:xfrm>
            <a:custGeom>
              <a:avLst/>
              <a:gdLst>
                <a:gd name="T0" fmla="*/ 1 w 9"/>
                <a:gd name="T1" fmla="*/ 20 h 25"/>
                <a:gd name="T2" fmla="*/ 4 w 9"/>
                <a:gd name="T3" fmla="*/ 1 h 25"/>
                <a:gd name="T4" fmla="*/ 1 w 9"/>
                <a:gd name="T5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5">
                  <a:moveTo>
                    <a:pt x="1" y="20"/>
                  </a:moveTo>
                  <a:cubicBezTo>
                    <a:pt x="9" y="25"/>
                    <a:pt x="8" y="0"/>
                    <a:pt x="4" y="1"/>
                  </a:cubicBezTo>
                  <a:cubicBezTo>
                    <a:pt x="6" y="12"/>
                    <a:pt x="0" y="11"/>
                    <a:pt x="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3" name="Freeform 115"/>
            <p:cNvSpPr>
              <a:spLocks/>
            </p:cNvSpPr>
            <p:nvPr userDrawn="1"/>
          </p:nvSpPr>
          <p:spPr bwMode="auto">
            <a:xfrm>
              <a:off x="3468539" y="4712188"/>
              <a:ext cx="25529" cy="29560"/>
            </a:xfrm>
            <a:custGeom>
              <a:avLst/>
              <a:gdLst>
                <a:gd name="T0" fmla="*/ 0 w 8"/>
                <a:gd name="T1" fmla="*/ 1 h 9"/>
                <a:gd name="T2" fmla="*/ 0 w 8"/>
                <a:gd name="T3" fmla="*/ 9 h 9"/>
                <a:gd name="T4" fmla="*/ 8 w 8"/>
                <a:gd name="T5" fmla="*/ 9 h 9"/>
                <a:gd name="T6" fmla="*/ 0 w 8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5" y="9"/>
                    <a:pt x="8" y="9"/>
                  </a:cubicBezTo>
                  <a:cubicBezTo>
                    <a:pt x="8" y="2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4" name="Freeform 116"/>
            <p:cNvSpPr>
              <a:spLocks/>
            </p:cNvSpPr>
            <p:nvPr userDrawn="1"/>
          </p:nvSpPr>
          <p:spPr bwMode="auto">
            <a:xfrm>
              <a:off x="3135313" y="4737718"/>
              <a:ext cx="51059" cy="57777"/>
            </a:xfrm>
            <a:custGeom>
              <a:avLst/>
              <a:gdLst>
                <a:gd name="T0" fmla="*/ 0 w 16"/>
                <a:gd name="T1" fmla="*/ 8 h 18"/>
                <a:gd name="T2" fmla="*/ 13 w 16"/>
                <a:gd name="T3" fmla="*/ 16 h 18"/>
                <a:gd name="T4" fmla="*/ 16 w 16"/>
                <a:gd name="T5" fmla="*/ 5 h 18"/>
                <a:gd name="T6" fmla="*/ 0 w 16"/>
                <a:gd name="T7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8">
                  <a:moveTo>
                    <a:pt x="0" y="8"/>
                  </a:moveTo>
                  <a:cubicBezTo>
                    <a:pt x="8" y="6"/>
                    <a:pt x="5" y="18"/>
                    <a:pt x="13" y="16"/>
                  </a:cubicBezTo>
                  <a:cubicBezTo>
                    <a:pt x="13" y="11"/>
                    <a:pt x="14" y="8"/>
                    <a:pt x="16" y="5"/>
                  </a:cubicBezTo>
                  <a:cubicBezTo>
                    <a:pt x="11" y="7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5" name="Freeform 117"/>
            <p:cNvSpPr>
              <a:spLocks/>
            </p:cNvSpPr>
            <p:nvPr userDrawn="1"/>
          </p:nvSpPr>
          <p:spPr bwMode="auto">
            <a:xfrm>
              <a:off x="3379858" y="4776684"/>
              <a:ext cx="47028" cy="65839"/>
            </a:xfrm>
            <a:custGeom>
              <a:avLst/>
              <a:gdLst>
                <a:gd name="T0" fmla="*/ 3 w 15"/>
                <a:gd name="T1" fmla="*/ 0 h 21"/>
                <a:gd name="T2" fmla="*/ 3 w 15"/>
                <a:gd name="T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1">
                  <a:moveTo>
                    <a:pt x="3" y="0"/>
                  </a:moveTo>
                  <a:cubicBezTo>
                    <a:pt x="0" y="21"/>
                    <a:pt x="15" y="2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6" name="Freeform 118"/>
            <p:cNvSpPr>
              <a:spLocks/>
            </p:cNvSpPr>
            <p:nvPr userDrawn="1"/>
          </p:nvSpPr>
          <p:spPr bwMode="auto">
            <a:xfrm>
              <a:off x="3452415" y="4798182"/>
              <a:ext cx="32248" cy="79275"/>
            </a:xfrm>
            <a:custGeom>
              <a:avLst/>
              <a:gdLst>
                <a:gd name="T0" fmla="*/ 5 w 10"/>
                <a:gd name="T1" fmla="*/ 0 h 25"/>
                <a:gd name="T2" fmla="*/ 2 w 10"/>
                <a:gd name="T3" fmla="*/ 19 h 25"/>
                <a:gd name="T4" fmla="*/ 5 w 10"/>
                <a:gd name="T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5">
                  <a:moveTo>
                    <a:pt x="5" y="0"/>
                  </a:moveTo>
                  <a:cubicBezTo>
                    <a:pt x="6" y="9"/>
                    <a:pt x="0" y="8"/>
                    <a:pt x="2" y="19"/>
                  </a:cubicBezTo>
                  <a:cubicBezTo>
                    <a:pt x="10" y="25"/>
                    <a:pt x="9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7" name="Freeform 119"/>
            <p:cNvSpPr>
              <a:spLocks/>
            </p:cNvSpPr>
            <p:nvPr userDrawn="1"/>
          </p:nvSpPr>
          <p:spPr bwMode="auto">
            <a:xfrm>
              <a:off x="3357016" y="4807588"/>
              <a:ext cx="104805" cy="69870"/>
            </a:xfrm>
            <a:custGeom>
              <a:avLst/>
              <a:gdLst>
                <a:gd name="T0" fmla="*/ 2 w 33"/>
                <a:gd name="T1" fmla="*/ 5 h 22"/>
                <a:gd name="T2" fmla="*/ 16 w 33"/>
                <a:gd name="T3" fmla="*/ 12 h 22"/>
                <a:gd name="T4" fmla="*/ 24 w 33"/>
                <a:gd name="T5" fmla="*/ 20 h 22"/>
                <a:gd name="T6" fmla="*/ 2 w 33"/>
                <a:gd name="T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22">
                  <a:moveTo>
                    <a:pt x="2" y="5"/>
                  </a:moveTo>
                  <a:cubicBezTo>
                    <a:pt x="0" y="17"/>
                    <a:pt x="11" y="10"/>
                    <a:pt x="16" y="12"/>
                  </a:cubicBezTo>
                  <a:cubicBezTo>
                    <a:pt x="18" y="13"/>
                    <a:pt x="18" y="22"/>
                    <a:pt x="24" y="20"/>
                  </a:cubicBezTo>
                  <a:cubicBezTo>
                    <a:pt x="33" y="6"/>
                    <a:pt x="7" y="0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8" name="Freeform 120"/>
            <p:cNvSpPr>
              <a:spLocks/>
            </p:cNvSpPr>
            <p:nvPr userDrawn="1"/>
          </p:nvSpPr>
          <p:spPr bwMode="auto">
            <a:xfrm>
              <a:off x="3484663" y="4802213"/>
              <a:ext cx="84650" cy="107492"/>
            </a:xfrm>
            <a:custGeom>
              <a:avLst/>
              <a:gdLst>
                <a:gd name="T0" fmla="*/ 16 w 27"/>
                <a:gd name="T1" fmla="*/ 14 h 34"/>
                <a:gd name="T2" fmla="*/ 21 w 27"/>
                <a:gd name="T3" fmla="*/ 3 h 34"/>
                <a:gd name="T4" fmla="*/ 11 w 27"/>
                <a:gd name="T5" fmla="*/ 18 h 34"/>
                <a:gd name="T6" fmla="*/ 5 w 27"/>
                <a:gd name="T7" fmla="*/ 22 h 34"/>
                <a:gd name="T8" fmla="*/ 21 w 27"/>
                <a:gd name="T9" fmla="*/ 22 h 34"/>
                <a:gd name="T10" fmla="*/ 27 w 27"/>
                <a:gd name="T11" fmla="*/ 33 h 34"/>
                <a:gd name="T12" fmla="*/ 27 w 27"/>
                <a:gd name="T13" fmla="*/ 18 h 34"/>
                <a:gd name="T14" fmla="*/ 16 w 27"/>
                <a:gd name="T15" fmla="*/ 1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34">
                  <a:moveTo>
                    <a:pt x="16" y="14"/>
                  </a:moveTo>
                  <a:cubicBezTo>
                    <a:pt x="21" y="15"/>
                    <a:pt x="22" y="10"/>
                    <a:pt x="21" y="3"/>
                  </a:cubicBezTo>
                  <a:cubicBezTo>
                    <a:pt x="12" y="0"/>
                    <a:pt x="17" y="17"/>
                    <a:pt x="11" y="18"/>
                  </a:cubicBezTo>
                  <a:cubicBezTo>
                    <a:pt x="7" y="18"/>
                    <a:pt x="0" y="19"/>
                    <a:pt x="5" y="22"/>
                  </a:cubicBezTo>
                  <a:cubicBezTo>
                    <a:pt x="14" y="20"/>
                    <a:pt x="16" y="30"/>
                    <a:pt x="21" y="22"/>
                  </a:cubicBezTo>
                  <a:cubicBezTo>
                    <a:pt x="22" y="27"/>
                    <a:pt x="21" y="34"/>
                    <a:pt x="27" y="33"/>
                  </a:cubicBezTo>
                  <a:cubicBezTo>
                    <a:pt x="27" y="28"/>
                    <a:pt x="27" y="23"/>
                    <a:pt x="27" y="18"/>
                  </a:cubicBezTo>
                  <a:cubicBezTo>
                    <a:pt x="23" y="9"/>
                    <a:pt x="19" y="25"/>
                    <a:pt x="1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9" name="Freeform 121"/>
            <p:cNvSpPr>
              <a:spLocks/>
            </p:cNvSpPr>
            <p:nvPr userDrawn="1"/>
          </p:nvSpPr>
          <p:spPr bwMode="auto">
            <a:xfrm>
              <a:off x="3585437" y="4823711"/>
              <a:ext cx="34935" cy="53746"/>
            </a:xfrm>
            <a:custGeom>
              <a:avLst/>
              <a:gdLst>
                <a:gd name="T0" fmla="*/ 0 w 11"/>
                <a:gd name="T1" fmla="*/ 0 h 17"/>
                <a:gd name="T2" fmla="*/ 3 w 11"/>
                <a:gd name="T3" fmla="*/ 7 h 17"/>
                <a:gd name="T4" fmla="*/ 11 w 11"/>
                <a:gd name="T5" fmla="*/ 15 h 17"/>
                <a:gd name="T6" fmla="*/ 0 w 11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7">
                  <a:moveTo>
                    <a:pt x="0" y="0"/>
                  </a:moveTo>
                  <a:cubicBezTo>
                    <a:pt x="1" y="3"/>
                    <a:pt x="0" y="7"/>
                    <a:pt x="3" y="7"/>
                  </a:cubicBezTo>
                  <a:cubicBezTo>
                    <a:pt x="7" y="7"/>
                    <a:pt x="5" y="17"/>
                    <a:pt x="11" y="15"/>
                  </a:cubicBezTo>
                  <a:cubicBezTo>
                    <a:pt x="11" y="5"/>
                    <a:pt x="7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0" name="Freeform 122"/>
            <p:cNvSpPr>
              <a:spLocks/>
            </p:cNvSpPr>
            <p:nvPr userDrawn="1"/>
          </p:nvSpPr>
          <p:spPr bwMode="auto">
            <a:xfrm>
              <a:off x="3569313" y="4849241"/>
              <a:ext cx="41653" cy="57777"/>
            </a:xfrm>
            <a:custGeom>
              <a:avLst/>
              <a:gdLst>
                <a:gd name="T0" fmla="*/ 2 w 13"/>
                <a:gd name="T1" fmla="*/ 3 h 18"/>
                <a:gd name="T2" fmla="*/ 13 w 13"/>
                <a:gd name="T3" fmla="*/ 10 h 18"/>
                <a:gd name="T4" fmla="*/ 2 w 13"/>
                <a:gd name="T5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2" y="3"/>
                  </a:moveTo>
                  <a:cubicBezTo>
                    <a:pt x="0" y="11"/>
                    <a:pt x="12" y="18"/>
                    <a:pt x="13" y="10"/>
                  </a:cubicBezTo>
                  <a:cubicBezTo>
                    <a:pt x="8" y="10"/>
                    <a:pt x="10" y="0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1" name="Freeform 123"/>
            <p:cNvSpPr>
              <a:spLocks/>
            </p:cNvSpPr>
            <p:nvPr userDrawn="1"/>
          </p:nvSpPr>
          <p:spPr bwMode="auto">
            <a:xfrm>
              <a:off x="3692929" y="4881488"/>
              <a:ext cx="22842" cy="47028"/>
            </a:xfrm>
            <a:custGeom>
              <a:avLst/>
              <a:gdLst>
                <a:gd name="T0" fmla="*/ 1 w 7"/>
                <a:gd name="T1" fmla="*/ 0 h 15"/>
                <a:gd name="T2" fmla="*/ 4 w 7"/>
                <a:gd name="T3" fmla="*/ 15 h 15"/>
                <a:gd name="T4" fmla="*/ 1 w 7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5">
                  <a:moveTo>
                    <a:pt x="1" y="0"/>
                  </a:moveTo>
                  <a:cubicBezTo>
                    <a:pt x="2" y="6"/>
                    <a:pt x="0" y="14"/>
                    <a:pt x="4" y="15"/>
                  </a:cubicBezTo>
                  <a:cubicBezTo>
                    <a:pt x="7" y="10"/>
                    <a:pt x="7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2" name="Freeform 124"/>
            <p:cNvSpPr>
              <a:spLocks/>
            </p:cNvSpPr>
            <p:nvPr userDrawn="1"/>
          </p:nvSpPr>
          <p:spPr bwMode="auto">
            <a:xfrm>
              <a:off x="6318424" y="5769642"/>
              <a:ext cx="16124" cy="37622"/>
            </a:xfrm>
            <a:custGeom>
              <a:avLst/>
              <a:gdLst>
                <a:gd name="T0" fmla="*/ 0 w 5"/>
                <a:gd name="T1" fmla="*/ 1 h 12"/>
                <a:gd name="T2" fmla="*/ 0 w 5"/>
                <a:gd name="T3" fmla="*/ 9 h 12"/>
                <a:gd name="T4" fmla="*/ 5 w 5"/>
                <a:gd name="T5" fmla="*/ 12 h 12"/>
                <a:gd name="T6" fmla="*/ 0 w 5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2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3" y="12"/>
                    <a:pt x="5" y="12"/>
                  </a:cubicBezTo>
                  <a:cubicBezTo>
                    <a:pt x="5" y="7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3" name="Freeform 125"/>
            <p:cNvSpPr>
              <a:spLocks/>
            </p:cNvSpPr>
            <p:nvPr userDrawn="1"/>
          </p:nvSpPr>
          <p:spPr bwMode="auto">
            <a:xfrm>
              <a:off x="6753768" y="5832794"/>
              <a:ext cx="47028" cy="69870"/>
            </a:xfrm>
            <a:custGeom>
              <a:avLst/>
              <a:gdLst>
                <a:gd name="T0" fmla="*/ 2 w 15"/>
                <a:gd name="T1" fmla="*/ 0 h 22"/>
                <a:gd name="T2" fmla="*/ 2 w 15"/>
                <a:gd name="T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2">
                  <a:moveTo>
                    <a:pt x="2" y="0"/>
                  </a:moveTo>
                  <a:cubicBezTo>
                    <a:pt x="0" y="22"/>
                    <a:pt x="15" y="2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4" name="Freeform 126"/>
            <p:cNvSpPr>
              <a:spLocks/>
            </p:cNvSpPr>
            <p:nvPr userDrawn="1"/>
          </p:nvSpPr>
          <p:spPr bwMode="auto">
            <a:xfrm>
              <a:off x="7911995" y="5820701"/>
              <a:ext cx="47028" cy="126303"/>
            </a:xfrm>
            <a:custGeom>
              <a:avLst/>
              <a:gdLst>
                <a:gd name="T0" fmla="*/ 0 w 15"/>
                <a:gd name="T1" fmla="*/ 30 h 40"/>
                <a:gd name="T2" fmla="*/ 11 w 15"/>
                <a:gd name="T3" fmla="*/ 37 h 40"/>
                <a:gd name="T4" fmla="*/ 6 w 15"/>
                <a:gd name="T5" fmla="*/ 26 h 40"/>
                <a:gd name="T6" fmla="*/ 8 w 15"/>
                <a:gd name="T7" fmla="*/ 15 h 40"/>
                <a:gd name="T8" fmla="*/ 14 w 15"/>
                <a:gd name="T9" fmla="*/ 11 h 40"/>
                <a:gd name="T10" fmla="*/ 0 w 15"/>
                <a:gd name="T11" fmla="*/ 3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40">
                  <a:moveTo>
                    <a:pt x="0" y="30"/>
                  </a:moveTo>
                  <a:cubicBezTo>
                    <a:pt x="6" y="30"/>
                    <a:pt x="4" y="40"/>
                    <a:pt x="11" y="37"/>
                  </a:cubicBezTo>
                  <a:cubicBezTo>
                    <a:pt x="12" y="30"/>
                    <a:pt x="8" y="30"/>
                    <a:pt x="6" y="26"/>
                  </a:cubicBezTo>
                  <a:cubicBezTo>
                    <a:pt x="10" y="27"/>
                    <a:pt x="7" y="18"/>
                    <a:pt x="8" y="15"/>
                  </a:cubicBezTo>
                  <a:cubicBezTo>
                    <a:pt x="10" y="13"/>
                    <a:pt x="15" y="16"/>
                    <a:pt x="14" y="11"/>
                  </a:cubicBezTo>
                  <a:cubicBezTo>
                    <a:pt x="5" y="0"/>
                    <a:pt x="2" y="19"/>
                    <a:pt x="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5" name="Freeform 127"/>
            <p:cNvSpPr>
              <a:spLocks/>
            </p:cNvSpPr>
            <p:nvPr userDrawn="1"/>
          </p:nvSpPr>
          <p:spPr bwMode="auto">
            <a:xfrm>
              <a:off x="6912318" y="5846230"/>
              <a:ext cx="40310" cy="34935"/>
            </a:xfrm>
            <a:custGeom>
              <a:avLst/>
              <a:gdLst>
                <a:gd name="T0" fmla="*/ 1 w 13"/>
                <a:gd name="T1" fmla="*/ 7 h 11"/>
                <a:gd name="T2" fmla="*/ 3 w 13"/>
                <a:gd name="T3" fmla="*/ 11 h 11"/>
                <a:gd name="T4" fmla="*/ 9 w 13"/>
                <a:gd name="T5" fmla="*/ 11 h 11"/>
                <a:gd name="T6" fmla="*/ 1 w 13"/>
                <a:gd name="T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1" y="7"/>
                  </a:moveTo>
                  <a:cubicBezTo>
                    <a:pt x="2" y="7"/>
                    <a:pt x="4" y="7"/>
                    <a:pt x="3" y="11"/>
                  </a:cubicBezTo>
                  <a:cubicBezTo>
                    <a:pt x="5" y="11"/>
                    <a:pt x="7" y="11"/>
                    <a:pt x="9" y="11"/>
                  </a:cubicBezTo>
                  <a:cubicBezTo>
                    <a:pt x="13" y="2"/>
                    <a:pt x="0" y="0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6" name="Freeform 128"/>
            <p:cNvSpPr>
              <a:spLocks/>
            </p:cNvSpPr>
            <p:nvPr userDrawn="1"/>
          </p:nvSpPr>
          <p:spPr bwMode="auto">
            <a:xfrm>
              <a:off x="7280479" y="5839512"/>
              <a:ext cx="56433" cy="67183"/>
            </a:xfrm>
            <a:custGeom>
              <a:avLst/>
              <a:gdLst>
                <a:gd name="T0" fmla="*/ 0 w 18"/>
                <a:gd name="T1" fmla="*/ 13 h 21"/>
                <a:gd name="T2" fmla="*/ 14 w 18"/>
                <a:gd name="T3" fmla="*/ 20 h 21"/>
                <a:gd name="T4" fmla="*/ 0 w 18"/>
                <a:gd name="T5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cubicBezTo>
                    <a:pt x="6" y="14"/>
                    <a:pt x="7" y="21"/>
                    <a:pt x="14" y="20"/>
                  </a:cubicBezTo>
                  <a:cubicBezTo>
                    <a:pt x="18" y="4"/>
                    <a:pt x="2" y="0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7" name="Freeform 129"/>
            <p:cNvSpPr>
              <a:spLocks/>
            </p:cNvSpPr>
            <p:nvPr userDrawn="1"/>
          </p:nvSpPr>
          <p:spPr bwMode="auto">
            <a:xfrm>
              <a:off x="7365129" y="5855636"/>
              <a:ext cx="41653" cy="34935"/>
            </a:xfrm>
            <a:custGeom>
              <a:avLst/>
              <a:gdLst>
                <a:gd name="T0" fmla="*/ 0 w 13"/>
                <a:gd name="T1" fmla="*/ 8 h 11"/>
                <a:gd name="T2" fmla="*/ 6 w 13"/>
                <a:gd name="T3" fmla="*/ 11 h 11"/>
                <a:gd name="T4" fmla="*/ 0 w 13"/>
                <a:gd name="T5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8"/>
                  </a:moveTo>
                  <a:cubicBezTo>
                    <a:pt x="3" y="8"/>
                    <a:pt x="4" y="11"/>
                    <a:pt x="6" y="11"/>
                  </a:cubicBezTo>
                  <a:cubicBezTo>
                    <a:pt x="13" y="4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8" name="Freeform 130"/>
            <p:cNvSpPr>
              <a:spLocks/>
            </p:cNvSpPr>
            <p:nvPr userDrawn="1"/>
          </p:nvSpPr>
          <p:spPr bwMode="auto">
            <a:xfrm>
              <a:off x="8921078" y="1980544"/>
              <a:ext cx="72557" cy="142427"/>
            </a:xfrm>
            <a:custGeom>
              <a:avLst/>
              <a:gdLst>
                <a:gd name="T0" fmla="*/ 21 w 23"/>
                <a:gd name="T1" fmla="*/ 30 h 45"/>
                <a:gd name="T2" fmla="*/ 16 w 23"/>
                <a:gd name="T3" fmla="*/ 8 h 45"/>
                <a:gd name="T4" fmla="*/ 2 w 23"/>
                <a:gd name="T5" fmla="*/ 4 h 45"/>
                <a:gd name="T6" fmla="*/ 13 w 23"/>
                <a:gd name="T7" fmla="*/ 19 h 45"/>
                <a:gd name="T8" fmla="*/ 13 w 23"/>
                <a:gd name="T9" fmla="*/ 30 h 45"/>
                <a:gd name="T10" fmla="*/ 5 w 23"/>
                <a:gd name="T11" fmla="*/ 23 h 45"/>
                <a:gd name="T12" fmla="*/ 16 w 23"/>
                <a:gd name="T13" fmla="*/ 45 h 45"/>
                <a:gd name="T14" fmla="*/ 21 w 23"/>
                <a:gd name="T15" fmla="*/ 3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45">
                  <a:moveTo>
                    <a:pt x="21" y="30"/>
                  </a:moveTo>
                  <a:cubicBezTo>
                    <a:pt x="23" y="21"/>
                    <a:pt x="18" y="10"/>
                    <a:pt x="16" y="8"/>
                  </a:cubicBezTo>
                  <a:cubicBezTo>
                    <a:pt x="12" y="20"/>
                    <a:pt x="9" y="0"/>
                    <a:pt x="2" y="4"/>
                  </a:cubicBezTo>
                  <a:cubicBezTo>
                    <a:pt x="0" y="17"/>
                    <a:pt x="12" y="11"/>
                    <a:pt x="13" y="19"/>
                  </a:cubicBezTo>
                  <a:cubicBezTo>
                    <a:pt x="14" y="24"/>
                    <a:pt x="18" y="28"/>
                    <a:pt x="13" y="30"/>
                  </a:cubicBezTo>
                  <a:cubicBezTo>
                    <a:pt x="9" y="30"/>
                    <a:pt x="11" y="21"/>
                    <a:pt x="5" y="23"/>
                  </a:cubicBezTo>
                  <a:cubicBezTo>
                    <a:pt x="6" y="35"/>
                    <a:pt x="7" y="45"/>
                    <a:pt x="16" y="45"/>
                  </a:cubicBezTo>
                  <a:cubicBezTo>
                    <a:pt x="11" y="36"/>
                    <a:pt x="22" y="26"/>
                    <a:pt x="2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9" name="Freeform 131"/>
            <p:cNvSpPr>
              <a:spLocks/>
            </p:cNvSpPr>
            <p:nvPr userDrawn="1"/>
          </p:nvSpPr>
          <p:spPr bwMode="auto">
            <a:xfrm>
              <a:off x="2601884" y="2917069"/>
              <a:ext cx="72557" cy="154520"/>
            </a:xfrm>
            <a:custGeom>
              <a:avLst/>
              <a:gdLst>
                <a:gd name="T0" fmla="*/ 17 w 23"/>
                <a:gd name="T1" fmla="*/ 31 h 49"/>
                <a:gd name="T2" fmla="*/ 12 w 23"/>
                <a:gd name="T3" fmla="*/ 46 h 49"/>
                <a:gd name="T4" fmla="*/ 17 w 23"/>
                <a:gd name="T5" fmla="*/ 35 h 49"/>
                <a:gd name="T6" fmla="*/ 22 w 23"/>
                <a:gd name="T7" fmla="*/ 28 h 49"/>
                <a:gd name="T8" fmla="*/ 17 w 23"/>
                <a:gd name="T9" fmla="*/ 16 h 49"/>
                <a:gd name="T10" fmla="*/ 12 w 23"/>
                <a:gd name="T11" fmla="*/ 2 h 49"/>
                <a:gd name="T12" fmla="*/ 4 w 23"/>
                <a:gd name="T13" fmla="*/ 9 h 49"/>
                <a:gd name="T14" fmla="*/ 1 w 23"/>
                <a:gd name="T15" fmla="*/ 13 h 49"/>
                <a:gd name="T16" fmla="*/ 9 w 23"/>
                <a:gd name="T17" fmla="*/ 20 h 49"/>
                <a:gd name="T18" fmla="*/ 1 w 23"/>
                <a:gd name="T19" fmla="*/ 20 h 49"/>
                <a:gd name="T20" fmla="*/ 6 w 23"/>
                <a:gd name="T21" fmla="*/ 28 h 49"/>
                <a:gd name="T22" fmla="*/ 17 w 23"/>
                <a:gd name="T23" fmla="*/ 3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9">
                  <a:moveTo>
                    <a:pt x="17" y="31"/>
                  </a:moveTo>
                  <a:cubicBezTo>
                    <a:pt x="13" y="34"/>
                    <a:pt x="12" y="39"/>
                    <a:pt x="12" y="46"/>
                  </a:cubicBezTo>
                  <a:cubicBezTo>
                    <a:pt x="19" y="49"/>
                    <a:pt x="15" y="40"/>
                    <a:pt x="17" y="35"/>
                  </a:cubicBezTo>
                  <a:cubicBezTo>
                    <a:pt x="18" y="32"/>
                    <a:pt x="23" y="32"/>
                    <a:pt x="22" y="28"/>
                  </a:cubicBezTo>
                  <a:cubicBezTo>
                    <a:pt x="15" y="29"/>
                    <a:pt x="19" y="22"/>
                    <a:pt x="17" y="16"/>
                  </a:cubicBezTo>
                  <a:cubicBezTo>
                    <a:pt x="16" y="13"/>
                    <a:pt x="7" y="9"/>
                    <a:pt x="12" y="2"/>
                  </a:cubicBezTo>
                  <a:cubicBezTo>
                    <a:pt x="6" y="0"/>
                    <a:pt x="6" y="7"/>
                    <a:pt x="4" y="9"/>
                  </a:cubicBezTo>
                  <a:cubicBezTo>
                    <a:pt x="2" y="9"/>
                    <a:pt x="0" y="10"/>
                    <a:pt x="1" y="13"/>
                  </a:cubicBezTo>
                  <a:cubicBezTo>
                    <a:pt x="5" y="13"/>
                    <a:pt x="10" y="12"/>
                    <a:pt x="9" y="20"/>
                  </a:cubicBezTo>
                  <a:cubicBezTo>
                    <a:pt x="6" y="20"/>
                    <a:pt x="3" y="14"/>
                    <a:pt x="1" y="20"/>
                  </a:cubicBezTo>
                  <a:cubicBezTo>
                    <a:pt x="4" y="21"/>
                    <a:pt x="5" y="24"/>
                    <a:pt x="6" y="28"/>
                  </a:cubicBezTo>
                  <a:cubicBezTo>
                    <a:pt x="13" y="27"/>
                    <a:pt x="15" y="21"/>
                    <a:pt x="1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0" name="Freeform 132"/>
            <p:cNvSpPr>
              <a:spLocks/>
            </p:cNvSpPr>
            <p:nvPr userDrawn="1"/>
          </p:nvSpPr>
          <p:spPr bwMode="auto">
            <a:xfrm>
              <a:off x="4563615" y="1735999"/>
              <a:ext cx="37622" cy="47028"/>
            </a:xfrm>
            <a:custGeom>
              <a:avLst/>
              <a:gdLst>
                <a:gd name="T0" fmla="*/ 12 w 12"/>
                <a:gd name="T1" fmla="*/ 0 h 15"/>
                <a:gd name="T2" fmla="*/ 1 w 12"/>
                <a:gd name="T3" fmla="*/ 4 h 15"/>
                <a:gd name="T4" fmla="*/ 12 w 1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12" y="0"/>
                  </a:moveTo>
                  <a:cubicBezTo>
                    <a:pt x="7" y="3"/>
                    <a:pt x="0" y="1"/>
                    <a:pt x="1" y="4"/>
                  </a:cubicBezTo>
                  <a:cubicBezTo>
                    <a:pt x="3" y="6"/>
                    <a:pt x="12" y="15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1" name="Freeform 133"/>
            <p:cNvSpPr>
              <a:spLocks/>
            </p:cNvSpPr>
            <p:nvPr userDrawn="1"/>
          </p:nvSpPr>
          <p:spPr bwMode="auto">
            <a:xfrm>
              <a:off x="7891841" y="1729281"/>
              <a:ext cx="99430" cy="76588"/>
            </a:xfrm>
            <a:custGeom>
              <a:avLst/>
              <a:gdLst>
                <a:gd name="T0" fmla="*/ 28 w 31"/>
                <a:gd name="T1" fmla="*/ 17 h 24"/>
                <a:gd name="T2" fmla="*/ 28 w 31"/>
                <a:gd name="T3" fmla="*/ 2 h 24"/>
                <a:gd name="T4" fmla="*/ 20 w 31"/>
                <a:gd name="T5" fmla="*/ 13 h 24"/>
                <a:gd name="T6" fmla="*/ 12 w 31"/>
                <a:gd name="T7" fmla="*/ 2 h 24"/>
                <a:gd name="T8" fmla="*/ 1 w 31"/>
                <a:gd name="T9" fmla="*/ 6 h 24"/>
                <a:gd name="T10" fmla="*/ 4 w 31"/>
                <a:gd name="T11" fmla="*/ 21 h 24"/>
                <a:gd name="T12" fmla="*/ 28 w 31"/>
                <a:gd name="T13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4">
                  <a:moveTo>
                    <a:pt x="28" y="17"/>
                  </a:moveTo>
                  <a:cubicBezTo>
                    <a:pt x="28" y="12"/>
                    <a:pt x="28" y="7"/>
                    <a:pt x="28" y="2"/>
                  </a:cubicBezTo>
                  <a:cubicBezTo>
                    <a:pt x="17" y="0"/>
                    <a:pt x="31" y="12"/>
                    <a:pt x="20" y="13"/>
                  </a:cubicBezTo>
                  <a:cubicBezTo>
                    <a:pt x="17" y="10"/>
                    <a:pt x="19" y="0"/>
                    <a:pt x="12" y="2"/>
                  </a:cubicBezTo>
                  <a:cubicBezTo>
                    <a:pt x="12" y="24"/>
                    <a:pt x="11" y="1"/>
                    <a:pt x="1" y="6"/>
                  </a:cubicBezTo>
                  <a:cubicBezTo>
                    <a:pt x="0" y="13"/>
                    <a:pt x="4" y="14"/>
                    <a:pt x="4" y="21"/>
                  </a:cubicBezTo>
                  <a:cubicBezTo>
                    <a:pt x="16" y="17"/>
                    <a:pt x="20" y="11"/>
                    <a:pt x="2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2" name="Freeform 134"/>
            <p:cNvSpPr>
              <a:spLocks/>
            </p:cNvSpPr>
            <p:nvPr userDrawn="1"/>
          </p:nvSpPr>
          <p:spPr bwMode="auto">
            <a:xfrm>
              <a:off x="8168633" y="1726594"/>
              <a:ext cx="104805" cy="110179"/>
            </a:xfrm>
            <a:custGeom>
              <a:avLst/>
              <a:gdLst>
                <a:gd name="T0" fmla="*/ 5 w 33"/>
                <a:gd name="T1" fmla="*/ 18 h 35"/>
                <a:gd name="T2" fmla="*/ 32 w 33"/>
                <a:gd name="T3" fmla="*/ 10 h 35"/>
                <a:gd name="T4" fmla="*/ 24 w 33"/>
                <a:gd name="T5" fmla="*/ 18 h 35"/>
                <a:gd name="T6" fmla="*/ 0 w 33"/>
                <a:gd name="T7" fmla="*/ 7 h 35"/>
                <a:gd name="T8" fmla="*/ 5 w 33"/>
                <a:gd name="T9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5">
                  <a:moveTo>
                    <a:pt x="5" y="18"/>
                  </a:moveTo>
                  <a:cubicBezTo>
                    <a:pt x="10" y="7"/>
                    <a:pt x="33" y="35"/>
                    <a:pt x="32" y="10"/>
                  </a:cubicBezTo>
                  <a:cubicBezTo>
                    <a:pt x="27" y="9"/>
                    <a:pt x="27" y="15"/>
                    <a:pt x="24" y="18"/>
                  </a:cubicBezTo>
                  <a:cubicBezTo>
                    <a:pt x="17" y="9"/>
                    <a:pt x="4" y="0"/>
                    <a:pt x="0" y="7"/>
                  </a:cubicBezTo>
                  <a:cubicBezTo>
                    <a:pt x="5" y="7"/>
                    <a:pt x="2" y="17"/>
                    <a:pt x="5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3" name="Freeform 135"/>
            <p:cNvSpPr>
              <a:spLocks/>
            </p:cNvSpPr>
            <p:nvPr userDrawn="1"/>
          </p:nvSpPr>
          <p:spPr bwMode="auto">
            <a:xfrm>
              <a:off x="4878030" y="1748092"/>
              <a:ext cx="79275" cy="48371"/>
            </a:xfrm>
            <a:custGeom>
              <a:avLst/>
              <a:gdLst>
                <a:gd name="T0" fmla="*/ 18 w 25"/>
                <a:gd name="T1" fmla="*/ 3 h 15"/>
                <a:gd name="T2" fmla="*/ 5 w 25"/>
                <a:gd name="T3" fmla="*/ 0 h 15"/>
                <a:gd name="T4" fmla="*/ 13 w 25"/>
                <a:gd name="T5" fmla="*/ 11 h 15"/>
                <a:gd name="T6" fmla="*/ 18 w 25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5">
                  <a:moveTo>
                    <a:pt x="18" y="3"/>
                  </a:moveTo>
                  <a:cubicBezTo>
                    <a:pt x="16" y="14"/>
                    <a:pt x="9" y="0"/>
                    <a:pt x="5" y="0"/>
                  </a:cubicBezTo>
                  <a:cubicBezTo>
                    <a:pt x="0" y="13"/>
                    <a:pt x="14" y="2"/>
                    <a:pt x="13" y="11"/>
                  </a:cubicBezTo>
                  <a:cubicBezTo>
                    <a:pt x="18" y="15"/>
                    <a:pt x="25" y="5"/>
                    <a:pt x="1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4" name="Freeform 136"/>
            <p:cNvSpPr>
              <a:spLocks/>
            </p:cNvSpPr>
            <p:nvPr userDrawn="1"/>
          </p:nvSpPr>
          <p:spPr bwMode="auto">
            <a:xfrm>
              <a:off x="4804129" y="1773622"/>
              <a:ext cx="146458" cy="73901"/>
            </a:xfrm>
            <a:custGeom>
              <a:avLst/>
              <a:gdLst>
                <a:gd name="T0" fmla="*/ 3 w 46"/>
                <a:gd name="T1" fmla="*/ 18 h 23"/>
                <a:gd name="T2" fmla="*/ 14 w 46"/>
                <a:gd name="T3" fmla="*/ 18 h 23"/>
                <a:gd name="T4" fmla="*/ 33 w 46"/>
                <a:gd name="T5" fmla="*/ 15 h 23"/>
                <a:gd name="T6" fmla="*/ 33 w 46"/>
                <a:gd name="T7" fmla="*/ 14 h 23"/>
                <a:gd name="T8" fmla="*/ 33 w 46"/>
                <a:gd name="T9" fmla="*/ 15 h 23"/>
                <a:gd name="T10" fmla="*/ 44 w 46"/>
                <a:gd name="T11" fmla="*/ 14 h 23"/>
                <a:gd name="T12" fmla="*/ 36 w 46"/>
                <a:gd name="T13" fmla="*/ 3 h 23"/>
                <a:gd name="T14" fmla="*/ 3 w 46"/>
                <a:gd name="T15" fmla="*/ 7 h 23"/>
                <a:gd name="T16" fmla="*/ 3 w 46"/>
                <a:gd name="T17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23">
                  <a:moveTo>
                    <a:pt x="3" y="18"/>
                  </a:moveTo>
                  <a:cubicBezTo>
                    <a:pt x="11" y="16"/>
                    <a:pt x="11" y="13"/>
                    <a:pt x="14" y="18"/>
                  </a:cubicBezTo>
                  <a:cubicBezTo>
                    <a:pt x="17" y="23"/>
                    <a:pt x="30" y="17"/>
                    <a:pt x="33" y="15"/>
                  </a:cubicBezTo>
                  <a:cubicBezTo>
                    <a:pt x="32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5"/>
                  </a:cubicBezTo>
                  <a:cubicBezTo>
                    <a:pt x="34" y="17"/>
                    <a:pt x="46" y="22"/>
                    <a:pt x="44" y="14"/>
                  </a:cubicBezTo>
                  <a:cubicBezTo>
                    <a:pt x="41" y="10"/>
                    <a:pt x="34" y="13"/>
                    <a:pt x="36" y="3"/>
                  </a:cubicBezTo>
                  <a:cubicBezTo>
                    <a:pt x="29" y="14"/>
                    <a:pt x="7" y="0"/>
                    <a:pt x="3" y="7"/>
                  </a:cubicBezTo>
                  <a:cubicBezTo>
                    <a:pt x="16" y="8"/>
                    <a:pt x="0" y="8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5" name="Freeform 137"/>
            <p:cNvSpPr>
              <a:spLocks/>
            </p:cNvSpPr>
            <p:nvPr userDrawn="1"/>
          </p:nvSpPr>
          <p:spPr bwMode="auto">
            <a:xfrm>
              <a:off x="4953274" y="1726594"/>
              <a:ext cx="486402" cy="151833"/>
            </a:xfrm>
            <a:custGeom>
              <a:avLst/>
              <a:gdLst>
                <a:gd name="T0" fmla="*/ 7 w 153"/>
                <a:gd name="T1" fmla="*/ 25 h 48"/>
                <a:gd name="T2" fmla="*/ 13 w 153"/>
                <a:gd name="T3" fmla="*/ 22 h 48"/>
                <a:gd name="T4" fmla="*/ 32 w 153"/>
                <a:gd name="T5" fmla="*/ 29 h 48"/>
                <a:gd name="T6" fmla="*/ 37 w 153"/>
                <a:gd name="T7" fmla="*/ 33 h 48"/>
                <a:gd name="T8" fmla="*/ 37 w 153"/>
                <a:gd name="T9" fmla="*/ 36 h 48"/>
                <a:gd name="T10" fmla="*/ 69 w 153"/>
                <a:gd name="T11" fmla="*/ 40 h 48"/>
                <a:gd name="T12" fmla="*/ 94 w 153"/>
                <a:gd name="T13" fmla="*/ 40 h 48"/>
                <a:gd name="T14" fmla="*/ 104 w 153"/>
                <a:gd name="T15" fmla="*/ 36 h 48"/>
                <a:gd name="T16" fmla="*/ 115 w 153"/>
                <a:gd name="T17" fmla="*/ 36 h 48"/>
                <a:gd name="T18" fmla="*/ 115 w 153"/>
                <a:gd name="T19" fmla="*/ 33 h 48"/>
                <a:gd name="T20" fmla="*/ 123 w 153"/>
                <a:gd name="T21" fmla="*/ 36 h 48"/>
                <a:gd name="T22" fmla="*/ 115 w 153"/>
                <a:gd name="T23" fmla="*/ 40 h 48"/>
                <a:gd name="T24" fmla="*/ 131 w 153"/>
                <a:gd name="T25" fmla="*/ 36 h 48"/>
                <a:gd name="T26" fmla="*/ 139 w 153"/>
                <a:gd name="T27" fmla="*/ 40 h 48"/>
                <a:gd name="T28" fmla="*/ 150 w 153"/>
                <a:gd name="T29" fmla="*/ 40 h 48"/>
                <a:gd name="T30" fmla="*/ 153 w 153"/>
                <a:gd name="T31" fmla="*/ 33 h 48"/>
                <a:gd name="T32" fmla="*/ 142 w 153"/>
                <a:gd name="T33" fmla="*/ 33 h 48"/>
                <a:gd name="T34" fmla="*/ 145 w 153"/>
                <a:gd name="T35" fmla="*/ 22 h 48"/>
                <a:gd name="T36" fmla="*/ 126 w 153"/>
                <a:gd name="T37" fmla="*/ 33 h 48"/>
                <a:gd name="T38" fmla="*/ 131 w 153"/>
                <a:gd name="T39" fmla="*/ 18 h 48"/>
                <a:gd name="T40" fmla="*/ 118 w 153"/>
                <a:gd name="T41" fmla="*/ 22 h 48"/>
                <a:gd name="T42" fmla="*/ 118 w 153"/>
                <a:gd name="T43" fmla="*/ 25 h 48"/>
                <a:gd name="T44" fmla="*/ 112 w 153"/>
                <a:gd name="T45" fmla="*/ 18 h 48"/>
                <a:gd name="T46" fmla="*/ 107 w 153"/>
                <a:gd name="T47" fmla="*/ 25 h 48"/>
                <a:gd name="T48" fmla="*/ 104 w 153"/>
                <a:gd name="T49" fmla="*/ 18 h 48"/>
                <a:gd name="T50" fmla="*/ 102 w 153"/>
                <a:gd name="T51" fmla="*/ 25 h 48"/>
                <a:gd name="T52" fmla="*/ 102 w 153"/>
                <a:gd name="T53" fmla="*/ 18 h 48"/>
                <a:gd name="T54" fmla="*/ 88 w 153"/>
                <a:gd name="T55" fmla="*/ 29 h 48"/>
                <a:gd name="T56" fmla="*/ 91 w 153"/>
                <a:gd name="T57" fmla="*/ 10 h 48"/>
                <a:gd name="T58" fmla="*/ 72 w 153"/>
                <a:gd name="T59" fmla="*/ 18 h 48"/>
                <a:gd name="T60" fmla="*/ 75 w 153"/>
                <a:gd name="T61" fmla="*/ 18 h 48"/>
                <a:gd name="T62" fmla="*/ 83 w 153"/>
                <a:gd name="T63" fmla="*/ 14 h 48"/>
                <a:gd name="T64" fmla="*/ 85 w 153"/>
                <a:gd name="T65" fmla="*/ 25 h 48"/>
                <a:gd name="T66" fmla="*/ 32 w 153"/>
                <a:gd name="T67" fmla="*/ 25 h 48"/>
                <a:gd name="T68" fmla="*/ 24 w 153"/>
                <a:gd name="T69" fmla="*/ 18 h 48"/>
                <a:gd name="T70" fmla="*/ 21 w 153"/>
                <a:gd name="T71" fmla="*/ 10 h 48"/>
                <a:gd name="T72" fmla="*/ 13 w 153"/>
                <a:gd name="T73" fmla="*/ 18 h 48"/>
                <a:gd name="T74" fmla="*/ 7 w 153"/>
                <a:gd name="T75" fmla="*/ 2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3" h="48">
                  <a:moveTo>
                    <a:pt x="7" y="25"/>
                  </a:moveTo>
                  <a:cubicBezTo>
                    <a:pt x="8" y="22"/>
                    <a:pt x="10" y="21"/>
                    <a:pt x="13" y="22"/>
                  </a:cubicBezTo>
                  <a:cubicBezTo>
                    <a:pt x="12" y="34"/>
                    <a:pt x="27" y="35"/>
                    <a:pt x="32" y="29"/>
                  </a:cubicBezTo>
                  <a:cubicBezTo>
                    <a:pt x="29" y="39"/>
                    <a:pt x="37" y="33"/>
                    <a:pt x="37" y="33"/>
                  </a:cubicBezTo>
                  <a:cubicBezTo>
                    <a:pt x="37" y="33"/>
                    <a:pt x="37" y="36"/>
                    <a:pt x="37" y="36"/>
                  </a:cubicBezTo>
                  <a:cubicBezTo>
                    <a:pt x="46" y="38"/>
                    <a:pt x="64" y="39"/>
                    <a:pt x="69" y="40"/>
                  </a:cubicBezTo>
                  <a:cubicBezTo>
                    <a:pt x="84" y="43"/>
                    <a:pt x="84" y="41"/>
                    <a:pt x="94" y="40"/>
                  </a:cubicBezTo>
                  <a:cubicBezTo>
                    <a:pt x="99" y="39"/>
                    <a:pt x="101" y="40"/>
                    <a:pt x="104" y="36"/>
                  </a:cubicBezTo>
                  <a:cubicBezTo>
                    <a:pt x="106" y="35"/>
                    <a:pt x="113" y="37"/>
                    <a:pt x="115" y="36"/>
                  </a:cubicBezTo>
                  <a:cubicBezTo>
                    <a:pt x="115" y="36"/>
                    <a:pt x="115" y="33"/>
                    <a:pt x="115" y="33"/>
                  </a:cubicBezTo>
                  <a:cubicBezTo>
                    <a:pt x="116" y="31"/>
                    <a:pt x="124" y="34"/>
                    <a:pt x="123" y="36"/>
                  </a:cubicBezTo>
                  <a:cubicBezTo>
                    <a:pt x="120" y="37"/>
                    <a:pt x="115" y="36"/>
                    <a:pt x="115" y="40"/>
                  </a:cubicBezTo>
                  <a:cubicBezTo>
                    <a:pt x="121" y="48"/>
                    <a:pt x="126" y="39"/>
                    <a:pt x="131" y="36"/>
                  </a:cubicBezTo>
                  <a:cubicBezTo>
                    <a:pt x="136" y="43"/>
                    <a:pt x="136" y="36"/>
                    <a:pt x="139" y="40"/>
                  </a:cubicBezTo>
                  <a:cubicBezTo>
                    <a:pt x="141" y="43"/>
                    <a:pt x="148" y="38"/>
                    <a:pt x="150" y="40"/>
                  </a:cubicBezTo>
                  <a:cubicBezTo>
                    <a:pt x="151" y="37"/>
                    <a:pt x="150" y="33"/>
                    <a:pt x="153" y="33"/>
                  </a:cubicBezTo>
                  <a:cubicBezTo>
                    <a:pt x="148" y="26"/>
                    <a:pt x="149" y="33"/>
                    <a:pt x="142" y="33"/>
                  </a:cubicBezTo>
                  <a:cubicBezTo>
                    <a:pt x="137" y="24"/>
                    <a:pt x="143" y="29"/>
                    <a:pt x="145" y="22"/>
                  </a:cubicBezTo>
                  <a:cubicBezTo>
                    <a:pt x="135" y="18"/>
                    <a:pt x="130" y="40"/>
                    <a:pt x="126" y="33"/>
                  </a:cubicBezTo>
                  <a:cubicBezTo>
                    <a:pt x="122" y="21"/>
                    <a:pt x="134" y="30"/>
                    <a:pt x="131" y="18"/>
                  </a:cubicBezTo>
                  <a:cubicBezTo>
                    <a:pt x="123" y="19"/>
                    <a:pt x="121" y="15"/>
                    <a:pt x="118" y="22"/>
                  </a:cubicBezTo>
                  <a:cubicBezTo>
                    <a:pt x="118" y="22"/>
                    <a:pt x="122" y="24"/>
                    <a:pt x="118" y="25"/>
                  </a:cubicBezTo>
                  <a:cubicBezTo>
                    <a:pt x="118" y="25"/>
                    <a:pt x="114" y="17"/>
                    <a:pt x="112" y="18"/>
                  </a:cubicBezTo>
                  <a:cubicBezTo>
                    <a:pt x="111" y="18"/>
                    <a:pt x="112" y="30"/>
                    <a:pt x="107" y="25"/>
                  </a:cubicBezTo>
                  <a:cubicBezTo>
                    <a:pt x="106" y="22"/>
                    <a:pt x="107" y="18"/>
                    <a:pt x="104" y="18"/>
                  </a:cubicBezTo>
                  <a:cubicBezTo>
                    <a:pt x="104" y="20"/>
                    <a:pt x="104" y="26"/>
                    <a:pt x="102" y="25"/>
                  </a:cubicBezTo>
                  <a:cubicBezTo>
                    <a:pt x="101" y="25"/>
                    <a:pt x="102" y="18"/>
                    <a:pt x="102" y="18"/>
                  </a:cubicBezTo>
                  <a:cubicBezTo>
                    <a:pt x="96" y="14"/>
                    <a:pt x="96" y="25"/>
                    <a:pt x="88" y="29"/>
                  </a:cubicBezTo>
                  <a:cubicBezTo>
                    <a:pt x="89" y="25"/>
                    <a:pt x="99" y="15"/>
                    <a:pt x="91" y="10"/>
                  </a:cubicBezTo>
                  <a:cubicBezTo>
                    <a:pt x="87" y="22"/>
                    <a:pt x="73" y="0"/>
                    <a:pt x="72" y="18"/>
                  </a:cubicBezTo>
                  <a:cubicBezTo>
                    <a:pt x="75" y="19"/>
                    <a:pt x="78" y="22"/>
                    <a:pt x="75" y="18"/>
                  </a:cubicBezTo>
                  <a:cubicBezTo>
                    <a:pt x="75" y="14"/>
                    <a:pt x="79" y="14"/>
                    <a:pt x="83" y="14"/>
                  </a:cubicBezTo>
                  <a:cubicBezTo>
                    <a:pt x="83" y="19"/>
                    <a:pt x="84" y="22"/>
                    <a:pt x="85" y="25"/>
                  </a:cubicBezTo>
                  <a:cubicBezTo>
                    <a:pt x="61" y="26"/>
                    <a:pt x="50" y="22"/>
                    <a:pt x="32" y="25"/>
                  </a:cubicBezTo>
                  <a:cubicBezTo>
                    <a:pt x="28" y="24"/>
                    <a:pt x="27" y="19"/>
                    <a:pt x="24" y="18"/>
                  </a:cubicBezTo>
                  <a:cubicBezTo>
                    <a:pt x="23" y="24"/>
                    <a:pt x="20" y="18"/>
                    <a:pt x="21" y="10"/>
                  </a:cubicBezTo>
                  <a:cubicBezTo>
                    <a:pt x="16" y="9"/>
                    <a:pt x="16" y="15"/>
                    <a:pt x="13" y="18"/>
                  </a:cubicBezTo>
                  <a:cubicBezTo>
                    <a:pt x="14" y="8"/>
                    <a:pt x="0" y="26"/>
                    <a:pt x="7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6" name="Freeform 138"/>
            <p:cNvSpPr>
              <a:spLocks/>
            </p:cNvSpPr>
            <p:nvPr userDrawn="1"/>
          </p:nvSpPr>
          <p:spPr bwMode="auto">
            <a:xfrm>
              <a:off x="5439676" y="1792433"/>
              <a:ext cx="116898" cy="67183"/>
            </a:xfrm>
            <a:custGeom>
              <a:avLst/>
              <a:gdLst>
                <a:gd name="T0" fmla="*/ 24 w 37"/>
                <a:gd name="T1" fmla="*/ 15 h 21"/>
                <a:gd name="T2" fmla="*/ 35 w 37"/>
                <a:gd name="T3" fmla="*/ 19 h 21"/>
                <a:gd name="T4" fmla="*/ 37 w 37"/>
                <a:gd name="T5" fmla="*/ 4 h 21"/>
                <a:gd name="T6" fmla="*/ 16 w 37"/>
                <a:gd name="T7" fmla="*/ 12 h 21"/>
                <a:gd name="T8" fmla="*/ 10 w 37"/>
                <a:gd name="T9" fmla="*/ 8 h 21"/>
                <a:gd name="T10" fmla="*/ 8 w 37"/>
                <a:gd name="T11" fmla="*/ 12 h 21"/>
                <a:gd name="T12" fmla="*/ 0 w 37"/>
                <a:gd name="T13" fmla="*/ 12 h 21"/>
                <a:gd name="T14" fmla="*/ 0 w 37"/>
                <a:gd name="T15" fmla="*/ 19 h 21"/>
                <a:gd name="T16" fmla="*/ 24 w 37"/>
                <a:gd name="T1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21">
                  <a:moveTo>
                    <a:pt x="24" y="15"/>
                  </a:moveTo>
                  <a:cubicBezTo>
                    <a:pt x="28" y="16"/>
                    <a:pt x="29" y="21"/>
                    <a:pt x="35" y="19"/>
                  </a:cubicBezTo>
                  <a:cubicBezTo>
                    <a:pt x="34" y="13"/>
                    <a:pt x="35" y="8"/>
                    <a:pt x="37" y="4"/>
                  </a:cubicBezTo>
                  <a:cubicBezTo>
                    <a:pt x="27" y="0"/>
                    <a:pt x="22" y="10"/>
                    <a:pt x="16" y="12"/>
                  </a:cubicBezTo>
                  <a:cubicBezTo>
                    <a:pt x="13" y="12"/>
                    <a:pt x="13" y="8"/>
                    <a:pt x="10" y="8"/>
                  </a:cubicBezTo>
                  <a:cubicBezTo>
                    <a:pt x="11" y="8"/>
                    <a:pt x="9" y="11"/>
                    <a:pt x="8" y="12"/>
                  </a:cubicBezTo>
                  <a:cubicBezTo>
                    <a:pt x="7" y="12"/>
                    <a:pt x="0" y="12"/>
                    <a:pt x="0" y="12"/>
                  </a:cubicBezTo>
                  <a:cubicBezTo>
                    <a:pt x="0" y="12"/>
                    <a:pt x="0" y="19"/>
                    <a:pt x="0" y="19"/>
                  </a:cubicBezTo>
                  <a:cubicBezTo>
                    <a:pt x="7" y="19"/>
                    <a:pt x="15" y="14"/>
                    <a:pt x="2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7" name="Freeform 139"/>
            <p:cNvSpPr>
              <a:spLocks/>
            </p:cNvSpPr>
            <p:nvPr userDrawn="1"/>
          </p:nvSpPr>
          <p:spPr bwMode="auto">
            <a:xfrm>
              <a:off x="9003041" y="1796464"/>
              <a:ext cx="149145" cy="139740"/>
            </a:xfrm>
            <a:custGeom>
              <a:avLst/>
              <a:gdLst>
                <a:gd name="T0" fmla="*/ 36 w 47"/>
                <a:gd name="T1" fmla="*/ 11 h 44"/>
                <a:gd name="T2" fmla="*/ 36 w 47"/>
                <a:gd name="T3" fmla="*/ 3 h 44"/>
                <a:gd name="T4" fmla="*/ 25 w 47"/>
                <a:gd name="T5" fmla="*/ 0 h 44"/>
                <a:gd name="T6" fmla="*/ 22 w 47"/>
                <a:gd name="T7" fmla="*/ 18 h 44"/>
                <a:gd name="T8" fmla="*/ 9 w 47"/>
                <a:gd name="T9" fmla="*/ 18 h 44"/>
                <a:gd name="T10" fmla="*/ 6 w 47"/>
                <a:gd name="T11" fmla="*/ 18 h 44"/>
                <a:gd name="T12" fmla="*/ 14 w 47"/>
                <a:gd name="T13" fmla="*/ 44 h 44"/>
                <a:gd name="T14" fmla="*/ 19 w 47"/>
                <a:gd name="T15" fmla="*/ 26 h 44"/>
                <a:gd name="T16" fmla="*/ 30 w 47"/>
                <a:gd name="T17" fmla="*/ 29 h 44"/>
                <a:gd name="T18" fmla="*/ 46 w 47"/>
                <a:gd name="T19" fmla="*/ 18 h 44"/>
                <a:gd name="T20" fmla="*/ 36 w 47"/>
                <a:gd name="T21" fmla="*/ 1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44">
                  <a:moveTo>
                    <a:pt x="36" y="11"/>
                  </a:moveTo>
                  <a:cubicBezTo>
                    <a:pt x="35" y="9"/>
                    <a:pt x="36" y="4"/>
                    <a:pt x="36" y="3"/>
                  </a:cubicBezTo>
                  <a:cubicBezTo>
                    <a:pt x="33" y="0"/>
                    <a:pt x="26" y="5"/>
                    <a:pt x="25" y="0"/>
                  </a:cubicBezTo>
                  <a:cubicBezTo>
                    <a:pt x="17" y="6"/>
                    <a:pt x="28" y="18"/>
                    <a:pt x="22" y="18"/>
                  </a:cubicBezTo>
                  <a:cubicBezTo>
                    <a:pt x="22" y="10"/>
                    <a:pt x="15" y="23"/>
                    <a:pt x="9" y="18"/>
                  </a:cubicBezTo>
                  <a:cubicBezTo>
                    <a:pt x="9" y="16"/>
                    <a:pt x="7" y="14"/>
                    <a:pt x="6" y="18"/>
                  </a:cubicBezTo>
                  <a:cubicBezTo>
                    <a:pt x="18" y="21"/>
                    <a:pt x="0" y="42"/>
                    <a:pt x="14" y="44"/>
                  </a:cubicBezTo>
                  <a:cubicBezTo>
                    <a:pt x="19" y="44"/>
                    <a:pt x="9" y="25"/>
                    <a:pt x="19" y="26"/>
                  </a:cubicBezTo>
                  <a:cubicBezTo>
                    <a:pt x="20" y="31"/>
                    <a:pt x="26" y="29"/>
                    <a:pt x="30" y="29"/>
                  </a:cubicBezTo>
                  <a:cubicBezTo>
                    <a:pt x="26" y="14"/>
                    <a:pt x="47" y="29"/>
                    <a:pt x="46" y="18"/>
                  </a:cubicBezTo>
                  <a:cubicBezTo>
                    <a:pt x="44" y="16"/>
                    <a:pt x="36" y="15"/>
                    <a:pt x="3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8" name="Freeform 140"/>
            <p:cNvSpPr>
              <a:spLocks/>
            </p:cNvSpPr>
            <p:nvPr userDrawn="1"/>
          </p:nvSpPr>
          <p:spPr bwMode="auto">
            <a:xfrm>
              <a:off x="5772902" y="1805869"/>
              <a:ext cx="40310" cy="41653"/>
            </a:xfrm>
            <a:custGeom>
              <a:avLst/>
              <a:gdLst>
                <a:gd name="T0" fmla="*/ 13 w 13"/>
                <a:gd name="T1" fmla="*/ 4 h 13"/>
                <a:gd name="T2" fmla="*/ 0 w 13"/>
                <a:gd name="T3" fmla="*/ 4 h 13"/>
                <a:gd name="T4" fmla="*/ 13 w 13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13" y="4"/>
                  </a:moveTo>
                  <a:cubicBezTo>
                    <a:pt x="8" y="2"/>
                    <a:pt x="0" y="0"/>
                    <a:pt x="0" y="4"/>
                  </a:cubicBezTo>
                  <a:cubicBezTo>
                    <a:pt x="1" y="6"/>
                    <a:pt x="12" y="13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9" name="Freeform 141"/>
            <p:cNvSpPr>
              <a:spLocks/>
            </p:cNvSpPr>
            <p:nvPr userDrawn="1"/>
          </p:nvSpPr>
          <p:spPr bwMode="auto">
            <a:xfrm>
              <a:off x="8429301" y="1770934"/>
              <a:ext cx="30904" cy="104805"/>
            </a:xfrm>
            <a:custGeom>
              <a:avLst/>
              <a:gdLst>
                <a:gd name="T0" fmla="*/ 10 w 10"/>
                <a:gd name="T1" fmla="*/ 30 h 33"/>
                <a:gd name="T2" fmla="*/ 4 w 10"/>
                <a:gd name="T3" fmla="*/ 19 h 33"/>
                <a:gd name="T4" fmla="*/ 10 w 10"/>
                <a:gd name="T5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33">
                  <a:moveTo>
                    <a:pt x="10" y="30"/>
                  </a:moveTo>
                  <a:cubicBezTo>
                    <a:pt x="10" y="22"/>
                    <a:pt x="6" y="22"/>
                    <a:pt x="4" y="19"/>
                  </a:cubicBezTo>
                  <a:cubicBezTo>
                    <a:pt x="0" y="0"/>
                    <a:pt x="1" y="33"/>
                    <a:pt x="1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0" name="Freeform 142"/>
            <p:cNvSpPr>
              <a:spLocks/>
            </p:cNvSpPr>
            <p:nvPr userDrawn="1"/>
          </p:nvSpPr>
          <p:spPr bwMode="auto">
            <a:xfrm>
              <a:off x="8485735" y="1817962"/>
              <a:ext cx="25529" cy="67183"/>
            </a:xfrm>
            <a:custGeom>
              <a:avLst/>
              <a:gdLst>
                <a:gd name="T0" fmla="*/ 5 w 8"/>
                <a:gd name="T1" fmla="*/ 7 h 21"/>
                <a:gd name="T2" fmla="*/ 8 w 8"/>
                <a:gd name="T3" fmla="*/ 0 h 21"/>
                <a:gd name="T4" fmla="*/ 2 w 8"/>
                <a:gd name="T5" fmla="*/ 7 h 21"/>
                <a:gd name="T6" fmla="*/ 5 w 8"/>
                <a:gd name="T7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1">
                  <a:moveTo>
                    <a:pt x="5" y="7"/>
                  </a:moveTo>
                  <a:cubicBezTo>
                    <a:pt x="7" y="7"/>
                    <a:pt x="8" y="4"/>
                    <a:pt x="8" y="0"/>
                  </a:cubicBezTo>
                  <a:cubicBezTo>
                    <a:pt x="4" y="0"/>
                    <a:pt x="5" y="6"/>
                    <a:pt x="2" y="7"/>
                  </a:cubicBezTo>
                  <a:cubicBezTo>
                    <a:pt x="0" y="21"/>
                    <a:pt x="7" y="21"/>
                    <a:pt x="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1" name="Freeform 143"/>
            <p:cNvSpPr>
              <a:spLocks/>
            </p:cNvSpPr>
            <p:nvPr userDrawn="1"/>
          </p:nvSpPr>
          <p:spPr bwMode="auto">
            <a:xfrm>
              <a:off x="8651004" y="1817962"/>
              <a:ext cx="142427" cy="139740"/>
            </a:xfrm>
            <a:custGeom>
              <a:avLst/>
              <a:gdLst>
                <a:gd name="T0" fmla="*/ 9 w 45"/>
                <a:gd name="T1" fmla="*/ 37 h 44"/>
                <a:gd name="T2" fmla="*/ 20 w 45"/>
                <a:gd name="T3" fmla="*/ 33 h 44"/>
                <a:gd name="T4" fmla="*/ 17 w 45"/>
                <a:gd name="T5" fmla="*/ 30 h 44"/>
                <a:gd name="T6" fmla="*/ 31 w 45"/>
                <a:gd name="T7" fmla="*/ 30 h 44"/>
                <a:gd name="T8" fmla="*/ 36 w 45"/>
                <a:gd name="T9" fmla="*/ 44 h 44"/>
                <a:gd name="T10" fmla="*/ 36 w 45"/>
                <a:gd name="T11" fmla="*/ 0 h 44"/>
                <a:gd name="T12" fmla="*/ 17 w 45"/>
                <a:gd name="T13" fmla="*/ 22 h 44"/>
                <a:gd name="T14" fmla="*/ 1 w 45"/>
                <a:gd name="T15" fmla="*/ 19 h 44"/>
                <a:gd name="T16" fmla="*/ 9 w 45"/>
                <a:gd name="T17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44">
                  <a:moveTo>
                    <a:pt x="9" y="37"/>
                  </a:moveTo>
                  <a:cubicBezTo>
                    <a:pt x="10" y="24"/>
                    <a:pt x="21" y="44"/>
                    <a:pt x="20" y="33"/>
                  </a:cubicBezTo>
                  <a:cubicBezTo>
                    <a:pt x="19" y="33"/>
                    <a:pt x="17" y="33"/>
                    <a:pt x="17" y="30"/>
                  </a:cubicBezTo>
                  <a:cubicBezTo>
                    <a:pt x="20" y="19"/>
                    <a:pt x="26" y="32"/>
                    <a:pt x="31" y="30"/>
                  </a:cubicBezTo>
                  <a:cubicBezTo>
                    <a:pt x="30" y="38"/>
                    <a:pt x="32" y="43"/>
                    <a:pt x="36" y="44"/>
                  </a:cubicBezTo>
                  <a:cubicBezTo>
                    <a:pt x="29" y="30"/>
                    <a:pt x="45" y="15"/>
                    <a:pt x="36" y="0"/>
                  </a:cubicBezTo>
                  <a:cubicBezTo>
                    <a:pt x="26" y="1"/>
                    <a:pt x="24" y="15"/>
                    <a:pt x="17" y="22"/>
                  </a:cubicBezTo>
                  <a:cubicBezTo>
                    <a:pt x="8" y="21"/>
                    <a:pt x="11" y="12"/>
                    <a:pt x="1" y="19"/>
                  </a:cubicBezTo>
                  <a:cubicBezTo>
                    <a:pt x="0" y="30"/>
                    <a:pt x="5" y="34"/>
                    <a:pt x="9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2" name="Freeform 144"/>
            <p:cNvSpPr>
              <a:spLocks/>
            </p:cNvSpPr>
            <p:nvPr userDrawn="1"/>
          </p:nvSpPr>
          <p:spPr bwMode="auto">
            <a:xfrm>
              <a:off x="5568667" y="1917392"/>
              <a:ext cx="48371" cy="30904"/>
            </a:xfrm>
            <a:custGeom>
              <a:avLst/>
              <a:gdLst>
                <a:gd name="T0" fmla="*/ 10 w 15"/>
                <a:gd name="T1" fmla="*/ 6 h 10"/>
                <a:gd name="T2" fmla="*/ 15 w 15"/>
                <a:gd name="T3" fmla="*/ 10 h 10"/>
                <a:gd name="T4" fmla="*/ 10 w 15"/>
                <a:gd name="T5" fmla="*/ 2 h 10"/>
                <a:gd name="T6" fmla="*/ 10 w 15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0">
                  <a:moveTo>
                    <a:pt x="10" y="6"/>
                  </a:moveTo>
                  <a:cubicBezTo>
                    <a:pt x="10" y="9"/>
                    <a:pt x="12" y="10"/>
                    <a:pt x="15" y="10"/>
                  </a:cubicBezTo>
                  <a:cubicBezTo>
                    <a:pt x="15" y="5"/>
                    <a:pt x="10" y="6"/>
                    <a:pt x="10" y="2"/>
                  </a:cubicBezTo>
                  <a:cubicBezTo>
                    <a:pt x="0" y="0"/>
                    <a:pt x="0" y="9"/>
                    <a:pt x="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3" name="Freeform 145"/>
            <p:cNvSpPr>
              <a:spLocks/>
            </p:cNvSpPr>
            <p:nvPr userDrawn="1"/>
          </p:nvSpPr>
          <p:spPr bwMode="auto">
            <a:xfrm>
              <a:off x="6854541" y="1948296"/>
              <a:ext cx="92712" cy="158551"/>
            </a:xfrm>
            <a:custGeom>
              <a:avLst/>
              <a:gdLst>
                <a:gd name="T0" fmla="*/ 14 w 29"/>
                <a:gd name="T1" fmla="*/ 40 h 50"/>
                <a:gd name="T2" fmla="*/ 5 w 29"/>
                <a:gd name="T3" fmla="*/ 33 h 50"/>
                <a:gd name="T4" fmla="*/ 27 w 29"/>
                <a:gd name="T5" fmla="*/ 37 h 50"/>
                <a:gd name="T6" fmla="*/ 19 w 29"/>
                <a:gd name="T7" fmla="*/ 22 h 50"/>
                <a:gd name="T8" fmla="*/ 19 w 29"/>
                <a:gd name="T9" fmla="*/ 7 h 50"/>
                <a:gd name="T10" fmla="*/ 5 w 29"/>
                <a:gd name="T11" fmla="*/ 0 h 50"/>
                <a:gd name="T12" fmla="*/ 3 w 29"/>
                <a:gd name="T13" fmla="*/ 14 h 50"/>
                <a:gd name="T14" fmla="*/ 11 w 29"/>
                <a:gd name="T15" fmla="*/ 26 h 50"/>
                <a:gd name="T16" fmla="*/ 3 w 29"/>
                <a:gd name="T17" fmla="*/ 18 h 50"/>
                <a:gd name="T18" fmla="*/ 14 w 29"/>
                <a:gd name="T19" fmla="*/ 4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50">
                  <a:moveTo>
                    <a:pt x="14" y="40"/>
                  </a:moveTo>
                  <a:cubicBezTo>
                    <a:pt x="10" y="39"/>
                    <a:pt x="7" y="36"/>
                    <a:pt x="5" y="33"/>
                  </a:cubicBezTo>
                  <a:cubicBezTo>
                    <a:pt x="13" y="30"/>
                    <a:pt x="19" y="29"/>
                    <a:pt x="27" y="37"/>
                  </a:cubicBezTo>
                  <a:cubicBezTo>
                    <a:pt x="29" y="25"/>
                    <a:pt x="20" y="29"/>
                    <a:pt x="19" y="22"/>
                  </a:cubicBezTo>
                  <a:cubicBezTo>
                    <a:pt x="19" y="17"/>
                    <a:pt x="19" y="12"/>
                    <a:pt x="19" y="7"/>
                  </a:cubicBezTo>
                  <a:cubicBezTo>
                    <a:pt x="10" y="10"/>
                    <a:pt x="11" y="1"/>
                    <a:pt x="5" y="0"/>
                  </a:cubicBezTo>
                  <a:cubicBezTo>
                    <a:pt x="6" y="6"/>
                    <a:pt x="5" y="11"/>
                    <a:pt x="3" y="14"/>
                  </a:cubicBezTo>
                  <a:cubicBezTo>
                    <a:pt x="10" y="12"/>
                    <a:pt x="12" y="16"/>
                    <a:pt x="11" y="26"/>
                  </a:cubicBezTo>
                  <a:cubicBezTo>
                    <a:pt x="7" y="25"/>
                    <a:pt x="6" y="19"/>
                    <a:pt x="3" y="18"/>
                  </a:cubicBezTo>
                  <a:cubicBezTo>
                    <a:pt x="0" y="32"/>
                    <a:pt x="8" y="50"/>
                    <a:pt x="14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4" name="Freeform 146"/>
            <p:cNvSpPr>
              <a:spLocks/>
            </p:cNvSpPr>
            <p:nvPr userDrawn="1"/>
          </p:nvSpPr>
          <p:spPr bwMode="auto">
            <a:xfrm>
              <a:off x="6385607" y="1989949"/>
              <a:ext cx="56433" cy="47028"/>
            </a:xfrm>
            <a:custGeom>
              <a:avLst/>
              <a:gdLst>
                <a:gd name="T0" fmla="*/ 6 w 18"/>
                <a:gd name="T1" fmla="*/ 13 h 15"/>
                <a:gd name="T2" fmla="*/ 14 w 18"/>
                <a:gd name="T3" fmla="*/ 1 h 15"/>
                <a:gd name="T4" fmla="*/ 6 w 18"/>
                <a:gd name="T5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6" y="13"/>
                  </a:moveTo>
                  <a:cubicBezTo>
                    <a:pt x="4" y="4"/>
                    <a:pt x="18" y="15"/>
                    <a:pt x="14" y="1"/>
                  </a:cubicBezTo>
                  <a:cubicBezTo>
                    <a:pt x="8" y="0"/>
                    <a:pt x="0" y="11"/>
                    <a:pt x="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5" name="Freeform 147"/>
            <p:cNvSpPr>
              <a:spLocks/>
            </p:cNvSpPr>
            <p:nvPr userDrawn="1"/>
          </p:nvSpPr>
          <p:spPr bwMode="auto">
            <a:xfrm>
              <a:off x="7387971" y="2204934"/>
              <a:ext cx="47028" cy="48371"/>
            </a:xfrm>
            <a:custGeom>
              <a:avLst/>
              <a:gdLst>
                <a:gd name="T0" fmla="*/ 15 w 15"/>
                <a:gd name="T1" fmla="*/ 0 h 15"/>
                <a:gd name="T2" fmla="*/ 1 w 15"/>
                <a:gd name="T3" fmla="*/ 0 h 15"/>
                <a:gd name="T4" fmla="*/ 15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5" y="0"/>
                  </a:moveTo>
                  <a:cubicBezTo>
                    <a:pt x="8" y="0"/>
                    <a:pt x="7" y="7"/>
                    <a:pt x="1" y="0"/>
                  </a:cubicBezTo>
                  <a:cubicBezTo>
                    <a:pt x="0" y="15"/>
                    <a:pt x="14" y="5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6" name="Freeform 148"/>
            <p:cNvSpPr>
              <a:spLocks/>
            </p:cNvSpPr>
            <p:nvPr userDrawn="1"/>
          </p:nvSpPr>
          <p:spPr bwMode="auto">
            <a:xfrm>
              <a:off x="3808483" y="3544555"/>
              <a:ext cx="44341" cy="57777"/>
            </a:xfrm>
            <a:custGeom>
              <a:avLst/>
              <a:gdLst>
                <a:gd name="T0" fmla="*/ 11 w 14"/>
                <a:gd name="T1" fmla="*/ 3 h 18"/>
                <a:gd name="T2" fmla="*/ 13 w 14"/>
                <a:gd name="T3" fmla="*/ 0 h 18"/>
                <a:gd name="T4" fmla="*/ 0 w 14"/>
                <a:gd name="T5" fmla="*/ 14 h 18"/>
                <a:gd name="T6" fmla="*/ 11 w 14"/>
                <a:gd name="T7" fmla="*/ 18 h 18"/>
                <a:gd name="T8" fmla="*/ 11 w 14"/>
                <a:gd name="T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8">
                  <a:moveTo>
                    <a:pt x="11" y="3"/>
                  </a:moveTo>
                  <a:cubicBezTo>
                    <a:pt x="11" y="7"/>
                    <a:pt x="14" y="6"/>
                    <a:pt x="13" y="0"/>
                  </a:cubicBezTo>
                  <a:cubicBezTo>
                    <a:pt x="7" y="2"/>
                    <a:pt x="0" y="3"/>
                    <a:pt x="0" y="14"/>
                  </a:cubicBezTo>
                  <a:cubicBezTo>
                    <a:pt x="5" y="14"/>
                    <a:pt x="8" y="15"/>
                    <a:pt x="11" y="18"/>
                  </a:cubicBezTo>
                  <a:cubicBezTo>
                    <a:pt x="13" y="11"/>
                    <a:pt x="3" y="6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7" name="Freeform 149"/>
            <p:cNvSpPr>
              <a:spLocks/>
            </p:cNvSpPr>
            <p:nvPr userDrawn="1"/>
          </p:nvSpPr>
          <p:spPr bwMode="auto">
            <a:xfrm>
              <a:off x="2630100" y="3649360"/>
              <a:ext cx="79275" cy="48371"/>
            </a:xfrm>
            <a:custGeom>
              <a:avLst/>
              <a:gdLst>
                <a:gd name="T0" fmla="*/ 5 w 25"/>
                <a:gd name="T1" fmla="*/ 11 h 15"/>
                <a:gd name="T2" fmla="*/ 0 w 25"/>
                <a:gd name="T3" fmla="*/ 7 h 15"/>
                <a:gd name="T4" fmla="*/ 5 w 25"/>
                <a:gd name="T5" fmla="*/ 15 h 15"/>
                <a:gd name="T6" fmla="*/ 5 w 25"/>
                <a:gd name="T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5">
                  <a:moveTo>
                    <a:pt x="5" y="11"/>
                  </a:moveTo>
                  <a:cubicBezTo>
                    <a:pt x="4" y="10"/>
                    <a:pt x="2" y="0"/>
                    <a:pt x="0" y="7"/>
                  </a:cubicBezTo>
                  <a:cubicBezTo>
                    <a:pt x="3" y="8"/>
                    <a:pt x="4" y="11"/>
                    <a:pt x="5" y="15"/>
                  </a:cubicBezTo>
                  <a:cubicBezTo>
                    <a:pt x="25" y="12"/>
                    <a:pt x="12" y="15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8" name="Freeform 150"/>
            <p:cNvSpPr>
              <a:spLocks/>
            </p:cNvSpPr>
            <p:nvPr userDrawn="1"/>
          </p:nvSpPr>
          <p:spPr bwMode="auto">
            <a:xfrm>
              <a:off x="3074849" y="4150542"/>
              <a:ext cx="44341" cy="108836"/>
            </a:xfrm>
            <a:custGeom>
              <a:avLst/>
              <a:gdLst>
                <a:gd name="T0" fmla="*/ 5 w 14"/>
                <a:gd name="T1" fmla="*/ 27 h 34"/>
                <a:gd name="T2" fmla="*/ 2 w 14"/>
                <a:gd name="T3" fmla="*/ 19 h 34"/>
                <a:gd name="T4" fmla="*/ 11 w 14"/>
                <a:gd name="T5" fmla="*/ 19 h 34"/>
                <a:gd name="T6" fmla="*/ 8 w 14"/>
                <a:gd name="T7" fmla="*/ 1 h 34"/>
                <a:gd name="T8" fmla="*/ 2 w 14"/>
                <a:gd name="T9" fmla="*/ 5 h 34"/>
                <a:gd name="T10" fmla="*/ 0 w 14"/>
                <a:gd name="T11" fmla="*/ 23 h 34"/>
                <a:gd name="T12" fmla="*/ 5 w 14"/>
                <a:gd name="T1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34">
                  <a:moveTo>
                    <a:pt x="5" y="27"/>
                  </a:moveTo>
                  <a:cubicBezTo>
                    <a:pt x="5" y="23"/>
                    <a:pt x="3" y="22"/>
                    <a:pt x="2" y="19"/>
                  </a:cubicBezTo>
                  <a:cubicBezTo>
                    <a:pt x="5" y="19"/>
                    <a:pt x="8" y="19"/>
                    <a:pt x="11" y="19"/>
                  </a:cubicBezTo>
                  <a:cubicBezTo>
                    <a:pt x="9" y="14"/>
                    <a:pt x="14" y="0"/>
                    <a:pt x="8" y="1"/>
                  </a:cubicBezTo>
                  <a:cubicBezTo>
                    <a:pt x="7" y="4"/>
                    <a:pt x="6" y="5"/>
                    <a:pt x="2" y="5"/>
                  </a:cubicBezTo>
                  <a:cubicBezTo>
                    <a:pt x="3" y="13"/>
                    <a:pt x="2" y="19"/>
                    <a:pt x="0" y="23"/>
                  </a:cubicBezTo>
                  <a:cubicBezTo>
                    <a:pt x="4" y="23"/>
                    <a:pt x="3" y="34"/>
                    <a:pt x="5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9" name="Freeform 151"/>
            <p:cNvSpPr>
              <a:spLocks/>
            </p:cNvSpPr>
            <p:nvPr userDrawn="1"/>
          </p:nvSpPr>
          <p:spPr bwMode="auto">
            <a:xfrm>
              <a:off x="3096347" y="4173384"/>
              <a:ext cx="67183" cy="85994"/>
            </a:xfrm>
            <a:custGeom>
              <a:avLst/>
              <a:gdLst>
                <a:gd name="T0" fmla="*/ 12 w 21"/>
                <a:gd name="T1" fmla="*/ 1 h 27"/>
                <a:gd name="T2" fmla="*/ 6 w 21"/>
                <a:gd name="T3" fmla="*/ 9 h 27"/>
                <a:gd name="T4" fmla="*/ 6 w 21"/>
                <a:gd name="T5" fmla="*/ 16 h 27"/>
                <a:gd name="T6" fmla="*/ 1 w 21"/>
                <a:gd name="T7" fmla="*/ 20 h 27"/>
                <a:gd name="T8" fmla="*/ 9 w 21"/>
                <a:gd name="T9" fmla="*/ 16 h 27"/>
                <a:gd name="T10" fmla="*/ 20 w 21"/>
                <a:gd name="T11" fmla="*/ 16 h 27"/>
                <a:gd name="T12" fmla="*/ 12 w 21"/>
                <a:gd name="T13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7">
                  <a:moveTo>
                    <a:pt x="12" y="1"/>
                  </a:moveTo>
                  <a:cubicBezTo>
                    <a:pt x="14" y="9"/>
                    <a:pt x="8" y="6"/>
                    <a:pt x="6" y="9"/>
                  </a:cubicBezTo>
                  <a:cubicBezTo>
                    <a:pt x="5" y="10"/>
                    <a:pt x="7" y="15"/>
                    <a:pt x="6" y="16"/>
                  </a:cubicBezTo>
                  <a:cubicBezTo>
                    <a:pt x="5" y="18"/>
                    <a:pt x="0" y="15"/>
                    <a:pt x="1" y="20"/>
                  </a:cubicBezTo>
                  <a:cubicBezTo>
                    <a:pt x="7" y="27"/>
                    <a:pt x="4" y="19"/>
                    <a:pt x="9" y="16"/>
                  </a:cubicBezTo>
                  <a:cubicBezTo>
                    <a:pt x="13" y="16"/>
                    <a:pt x="16" y="16"/>
                    <a:pt x="20" y="16"/>
                  </a:cubicBezTo>
                  <a:cubicBezTo>
                    <a:pt x="21" y="7"/>
                    <a:pt x="19" y="0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0" name="Freeform 152"/>
            <p:cNvSpPr>
              <a:spLocks/>
            </p:cNvSpPr>
            <p:nvPr userDrawn="1"/>
          </p:nvSpPr>
          <p:spPr bwMode="auto">
            <a:xfrm>
              <a:off x="2874645" y="4319842"/>
              <a:ext cx="44341" cy="100774"/>
            </a:xfrm>
            <a:custGeom>
              <a:avLst/>
              <a:gdLst>
                <a:gd name="T0" fmla="*/ 12 w 14"/>
                <a:gd name="T1" fmla="*/ 3 h 32"/>
                <a:gd name="T2" fmla="*/ 6 w 14"/>
                <a:gd name="T3" fmla="*/ 18 h 32"/>
                <a:gd name="T4" fmla="*/ 9 w 14"/>
                <a:gd name="T5" fmla="*/ 15 h 32"/>
                <a:gd name="T6" fmla="*/ 12 w 14"/>
                <a:gd name="T7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2">
                  <a:moveTo>
                    <a:pt x="12" y="3"/>
                  </a:moveTo>
                  <a:cubicBezTo>
                    <a:pt x="5" y="0"/>
                    <a:pt x="0" y="16"/>
                    <a:pt x="6" y="18"/>
                  </a:cubicBezTo>
                  <a:cubicBezTo>
                    <a:pt x="7" y="16"/>
                    <a:pt x="7" y="14"/>
                    <a:pt x="9" y="15"/>
                  </a:cubicBezTo>
                  <a:cubicBezTo>
                    <a:pt x="14" y="32"/>
                    <a:pt x="7" y="7"/>
                    <a:pt x="1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1" name="Freeform 153"/>
            <p:cNvSpPr>
              <a:spLocks/>
            </p:cNvSpPr>
            <p:nvPr userDrawn="1"/>
          </p:nvSpPr>
          <p:spPr bwMode="auto">
            <a:xfrm>
              <a:off x="2767153" y="4376275"/>
              <a:ext cx="60464" cy="48371"/>
            </a:xfrm>
            <a:custGeom>
              <a:avLst/>
              <a:gdLst>
                <a:gd name="T0" fmla="*/ 5 w 19"/>
                <a:gd name="T1" fmla="*/ 11 h 15"/>
                <a:gd name="T2" fmla="*/ 0 w 19"/>
                <a:gd name="T3" fmla="*/ 15 h 15"/>
                <a:gd name="T4" fmla="*/ 11 w 19"/>
                <a:gd name="T5" fmla="*/ 15 h 15"/>
                <a:gd name="T6" fmla="*/ 16 w 19"/>
                <a:gd name="T7" fmla="*/ 0 h 15"/>
                <a:gd name="T8" fmla="*/ 5 w 19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5" y="11"/>
                  </a:moveTo>
                  <a:cubicBezTo>
                    <a:pt x="7" y="10"/>
                    <a:pt x="0" y="7"/>
                    <a:pt x="0" y="15"/>
                  </a:cubicBezTo>
                  <a:cubicBezTo>
                    <a:pt x="4" y="15"/>
                    <a:pt x="7" y="15"/>
                    <a:pt x="11" y="15"/>
                  </a:cubicBezTo>
                  <a:cubicBezTo>
                    <a:pt x="8" y="3"/>
                    <a:pt x="19" y="12"/>
                    <a:pt x="16" y="0"/>
                  </a:cubicBezTo>
                  <a:cubicBezTo>
                    <a:pt x="9" y="2"/>
                    <a:pt x="10" y="7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2" name="Freeform 154"/>
            <p:cNvSpPr>
              <a:spLocks/>
            </p:cNvSpPr>
            <p:nvPr userDrawn="1"/>
          </p:nvSpPr>
          <p:spPr bwMode="auto">
            <a:xfrm>
              <a:off x="2842397" y="4360151"/>
              <a:ext cx="92712" cy="155864"/>
            </a:xfrm>
            <a:custGeom>
              <a:avLst/>
              <a:gdLst>
                <a:gd name="T0" fmla="*/ 16 w 29"/>
                <a:gd name="T1" fmla="*/ 27 h 49"/>
                <a:gd name="T2" fmla="*/ 11 w 29"/>
                <a:gd name="T3" fmla="*/ 13 h 49"/>
                <a:gd name="T4" fmla="*/ 0 w 29"/>
                <a:gd name="T5" fmla="*/ 13 h 49"/>
                <a:gd name="T6" fmla="*/ 8 w 29"/>
                <a:gd name="T7" fmla="*/ 31 h 49"/>
                <a:gd name="T8" fmla="*/ 6 w 29"/>
                <a:gd name="T9" fmla="*/ 46 h 49"/>
                <a:gd name="T10" fmla="*/ 14 w 29"/>
                <a:gd name="T11" fmla="*/ 31 h 49"/>
                <a:gd name="T12" fmla="*/ 24 w 29"/>
                <a:gd name="T13" fmla="*/ 27 h 49"/>
                <a:gd name="T14" fmla="*/ 27 w 29"/>
                <a:gd name="T15" fmla="*/ 31 h 49"/>
                <a:gd name="T16" fmla="*/ 16 w 29"/>
                <a:gd name="T17" fmla="*/ 2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49">
                  <a:moveTo>
                    <a:pt x="16" y="27"/>
                  </a:moveTo>
                  <a:cubicBezTo>
                    <a:pt x="11" y="21"/>
                    <a:pt x="14" y="16"/>
                    <a:pt x="11" y="13"/>
                  </a:cubicBezTo>
                  <a:cubicBezTo>
                    <a:pt x="9" y="27"/>
                    <a:pt x="1" y="0"/>
                    <a:pt x="0" y="13"/>
                  </a:cubicBezTo>
                  <a:cubicBezTo>
                    <a:pt x="4" y="17"/>
                    <a:pt x="4" y="27"/>
                    <a:pt x="8" y="31"/>
                  </a:cubicBezTo>
                  <a:cubicBezTo>
                    <a:pt x="9" y="38"/>
                    <a:pt x="8" y="43"/>
                    <a:pt x="6" y="46"/>
                  </a:cubicBezTo>
                  <a:cubicBezTo>
                    <a:pt x="18" y="49"/>
                    <a:pt x="9" y="32"/>
                    <a:pt x="14" y="31"/>
                  </a:cubicBezTo>
                  <a:cubicBezTo>
                    <a:pt x="19" y="39"/>
                    <a:pt x="21" y="32"/>
                    <a:pt x="24" y="27"/>
                  </a:cubicBezTo>
                  <a:cubicBezTo>
                    <a:pt x="25" y="30"/>
                    <a:pt x="25" y="32"/>
                    <a:pt x="27" y="31"/>
                  </a:cubicBezTo>
                  <a:cubicBezTo>
                    <a:pt x="29" y="18"/>
                    <a:pt x="18" y="25"/>
                    <a:pt x="1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3" name="Freeform 155"/>
            <p:cNvSpPr>
              <a:spLocks/>
            </p:cNvSpPr>
            <p:nvPr userDrawn="1"/>
          </p:nvSpPr>
          <p:spPr bwMode="auto">
            <a:xfrm>
              <a:off x="3156812" y="4385681"/>
              <a:ext cx="57777" cy="216328"/>
            </a:xfrm>
            <a:custGeom>
              <a:avLst/>
              <a:gdLst>
                <a:gd name="T0" fmla="*/ 11 w 18"/>
                <a:gd name="T1" fmla="*/ 12 h 68"/>
                <a:gd name="T2" fmla="*/ 1 w 18"/>
                <a:gd name="T3" fmla="*/ 12 h 68"/>
                <a:gd name="T4" fmla="*/ 3 w 18"/>
                <a:gd name="T5" fmla="*/ 16 h 68"/>
                <a:gd name="T6" fmla="*/ 1 w 18"/>
                <a:gd name="T7" fmla="*/ 27 h 68"/>
                <a:gd name="T8" fmla="*/ 9 w 18"/>
                <a:gd name="T9" fmla="*/ 19 h 68"/>
                <a:gd name="T10" fmla="*/ 11 w 18"/>
                <a:gd name="T11" fmla="*/ 38 h 68"/>
                <a:gd name="T12" fmla="*/ 6 w 18"/>
                <a:gd name="T13" fmla="*/ 60 h 68"/>
                <a:gd name="T14" fmla="*/ 6 w 18"/>
                <a:gd name="T15" fmla="*/ 68 h 68"/>
                <a:gd name="T16" fmla="*/ 14 w 18"/>
                <a:gd name="T17" fmla="*/ 56 h 68"/>
                <a:gd name="T18" fmla="*/ 14 w 18"/>
                <a:gd name="T19" fmla="*/ 34 h 68"/>
                <a:gd name="T20" fmla="*/ 11 w 18"/>
                <a:gd name="T21" fmla="*/ 1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68">
                  <a:moveTo>
                    <a:pt x="11" y="12"/>
                  </a:moveTo>
                  <a:cubicBezTo>
                    <a:pt x="9" y="26"/>
                    <a:pt x="2" y="0"/>
                    <a:pt x="1" y="12"/>
                  </a:cubicBezTo>
                  <a:cubicBezTo>
                    <a:pt x="2" y="12"/>
                    <a:pt x="4" y="13"/>
                    <a:pt x="3" y="16"/>
                  </a:cubicBezTo>
                  <a:cubicBezTo>
                    <a:pt x="3" y="20"/>
                    <a:pt x="0" y="21"/>
                    <a:pt x="1" y="27"/>
                  </a:cubicBezTo>
                  <a:cubicBezTo>
                    <a:pt x="6" y="28"/>
                    <a:pt x="6" y="22"/>
                    <a:pt x="9" y="19"/>
                  </a:cubicBezTo>
                  <a:cubicBezTo>
                    <a:pt x="8" y="28"/>
                    <a:pt x="9" y="34"/>
                    <a:pt x="11" y="38"/>
                  </a:cubicBezTo>
                  <a:cubicBezTo>
                    <a:pt x="5" y="38"/>
                    <a:pt x="6" y="50"/>
                    <a:pt x="6" y="60"/>
                  </a:cubicBezTo>
                  <a:cubicBezTo>
                    <a:pt x="6" y="64"/>
                    <a:pt x="2" y="66"/>
                    <a:pt x="6" y="68"/>
                  </a:cubicBezTo>
                  <a:cubicBezTo>
                    <a:pt x="9" y="64"/>
                    <a:pt x="11" y="60"/>
                    <a:pt x="14" y="56"/>
                  </a:cubicBezTo>
                  <a:cubicBezTo>
                    <a:pt x="12" y="46"/>
                    <a:pt x="12" y="45"/>
                    <a:pt x="14" y="34"/>
                  </a:cubicBezTo>
                  <a:cubicBezTo>
                    <a:pt x="9" y="25"/>
                    <a:pt x="18" y="19"/>
                    <a:pt x="1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4" name="Freeform 156"/>
            <p:cNvSpPr>
              <a:spLocks/>
            </p:cNvSpPr>
            <p:nvPr userDrawn="1"/>
          </p:nvSpPr>
          <p:spPr bwMode="auto">
            <a:xfrm>
              <a:off x="2709376" y="4439427"/>
              <a:ext cx="57777" cy="118241"/>
            </a:xfrm>
            <a:custGeom>
              <a:avLst/>
              <a:gdLst>
                <a:gd name="T0" fmla="*/ 7 w 18"/>
                <a:gd name="T1" fmla="*/ 2 h 37"/>
                <a:gd name="T2" fmla="*/ 2 w 18"/>
                <a:gd name="T3" fmla="*/ 17 h 37"/>
                <a:gd name="T4" fmla="*/ 10 w 18"/>
                <a:gd name="T5" fmla="*/ 32 h 37"/>
                <a:gd name="T6" fmla="*/ 13 w 18"/>
                <a:gd name="T7" fmla="*/ 36 h 37"/>
                <a:gd name="T8" fmla="*/ 15 w 18"/>
                <a:gd name="T9" fmla="*/ 17 h 37"/>
                <a:gd name="T10" fmla="*/ 15 w 18"/>
                <a:gd name="T11" fmla="*/ 10 h 37"/>
                <a:gd name="T12" fmla="*/ 18 w 18"/>
                <a:gd name="T13" fmla="*/ 10 h 37"/>
                <a:gd name="T14" fmla="*/ 7 w 18"/>
                <a:gd name="T15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37">
                  <a:moveTo>
                    <a:pt x="7" y="2"/>
                  </a:moveTo>
                  <a:cubicBezTo>
                    <a:pt x="11" y="12"/>
                    <a:pt x="11" y="28"/>
                    <a:pt x="2" y="17"/>
                  </a:cubicBezTo>
                  <a:cubicBezTo>
                    <a:pt x="0" y="29"/>
                    <a:pt x="11" y="22"/>
                    <a:pt x="10" y="32"/>
                  </a:cubicBezTo>
                  <a:cubicBezTo>
                    <a:pt x="7" y="32"/>
                    <a:pt x="8" y="37"/>
                    <a:pt x="13" y="36"/>
                  </a:cubicBezTo>
                  <a:cubicBezTo>
                    <a:pt x="12" y="27"/>
                    <a:pt x="13" y="21"/>
                    <a:pt x="15" y="17"/>
                  </a:cubicBezTo>
                  <a:cubicBezTo>
                    <a:pt x="13" y="17"/>
                    <a:pt x="12" y="11"/>
                    <a:pt x="15" y="10"/>
                  </a:cubicBezTo>
                  <a:cubicBezTo>
                    <a:pt x="15" y="12"/>
                    <a:pt x="18" y="14"/>
                    <a:pt x="18" y="10"/>
                  </a:cubicBezTo>
                  <a:cubicBezTo>
                    <a:pt x="13" y="10"/>
                    <a:pt x="15" y="0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5" name="Freeform 157"/>
            <p:cNvSpPr>
              <a:spLocks/>
            </p:cNvSpPr>
            <p:nvPr userDrawn="1"/>
          </p:nvSpPr>
          <p:spPr bwMode="auto">
            <a:xfrm>
              <a:off x="3214589" y="4446145"/>
              <a:ext cx="30904" cy="60464"/>
            </a:xfrm>
            <a:custGeom>
              <a:avLst/>
              <a:gdLst>
                <a:gd name="T0" fmla="*/ 10 w 10"/>
                <a:gd name="T1" fmla="*/ 15 h 19"/>
                <a:gd name="T2" fmla="*/ 2 w 10"/>
                <a:gd name="T3" fmla="*/ 0 h 19"/>
                <a:gd name="T4" fmla="*/ 2 w 10"/>
                <a:gd name="T5" fmla="*/ 19 h 19"/>
                <a:gd name="T6" fmla="*/ 7 w 10"/>
                <a:gd name="T7" fmla="*/ 19 h 19"/>
                <a:gd name="T8" fmla="*/ 10 w 10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9">
                  <a:moveTo>
                    <a:pt x="10" y="15"/>
                  </a:moveTo>
                  <a:cubicBezTo>
                    <a:pt x="2" y="17"/>
                    <a:pt x="7" y="1"/>
                    <a:pt x="2" y="0"/>
                  </a:cubicBezTo>
                  <a:cubicBezTo>
                    <a:pt x="0" y="12"/>
                    <a:pt x="7" y="12"/>
                    <a:pt x="2" y="19"/>
                  </a:cubicBezTo>
                  <a:cubicBezTo>
                    <a:pt x="3" y="19"/>
                    <a:pt x="5" y="19"/>
                    <a:pt x="7" y="19"/>
                  </a:cubicBezTo>
                  <a:cubicBezTo>
                    <a:pt x="9" y="19"/>
                    <a:pt x="10" y="18"/>
                    <a:pt x="1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6" name="Freeform 158"/>
            <p:cNvSpPr>
              <a:spLocks/>
            </p:cNvSpPr>
            <p:nvPr userDrawn="1"/>
          </p:nvSpPr>
          <p:spPr bwMode="auto">
            <a:xfrm>
              <a:off x="2998261" y="4427334"/>
              <a:ext cx="92712" cy="100774"/>
            </a:xfrm>
            <a:custGeom>
              <a:avLst/>
              <a:gdLst>
                <a:gd name="T0" fmla="*/ 21 w 29"/>
                <a:gd name="T1" fmla="*/ 25 h 32"/>
                <a:gd name="T2" fmla="*/ 2 w 29"/>
                <a:gd name="T3" fmla="*/ 14 h 32"/>
                <a:gd name="T4" fmla="*/ 5 w 29"/>
                <a:gd name="T5" fmla="*/ 21 h 32"/>
                <a:gd name="T6" fmla="*/ 0 w 29"/>
                <a:gd name="T7" fmla="*/ 25 h 32"/>
                <a:gd name="T8" fmla="*/ 13 w 29"/>
                <a:gd name="T9" fmla="*/ 18 h 32"/>
                <a:gd name="T10" fmla="*/ 16 w 29"/>
                <a:gd name="T11" fmla="*/ 32 h 32"/>
                <a:gd name="T12" fmla="*/ 29 w 29"/>
                <a:gd name="T13" fmla="*/ 32 h 32"/>
                <a:gd name="T14" fmla="*/ 29 w 29"/>
                <a:gd name="T15" fmla="*/ 14 h 32"/>
                <a:gd name="T16" fmla="*/ 19 w 29"/>
                <a:gd name="T17" fmla="*/ 10 h 32"/>
                <a:gd name="T18" fmla="*/ 21 w 29"/>
                <a:gd name="T19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2">
                  <a:moveTo>
                    <a:pt x="21" y="25"/>
                  </a:moveTo>
                  <a:cubicBezTo>
                    <a:pt x="15" y="24"/>
                    <a:pt x="11" y="0"/>
                    <a:pt x="2" y="14"/>
                  </a:cubicBezTo>
                  <a:cubicBezTo>
                    <a:pt x="4" y="15"/>
                    <a:pt x="5" y="17"/>
                    <a:pt x="5" y="21"/>
                  </a:cubicBezTo>
                  <a:cubicBezTo>
                    <a:pt x="3" y="22"/>
                    <a:pt x="0" y="21"/>
                    <a:pt x="0" y="25"/>
                  </a:cubicBezTo>
                  <a:cubicBezTo>
                    <a:pt x="9" y="21"/>
                    <a:pt x="8" y="26"/>
                    <a:pt x="13" y="18"/>
                  </a:cubicBezTo>
                  <a:cubicBezTo>
                    <a:pt x="13" y="24"/>
                    <a:pt x="14" y="29"/>
                    <a:pt x="16" y="32"/>
                  </a:cubicBezTo>
                  <a:cubicBezTo>
                    <a:pt x="22" y="32"/>
                    <a:pt x="24" y="25"/>
                    <a:pt x="29" y="32"/>
                  </a:cubicBezTo>
                  <a:cubicBezTo>
                    <a:pt x="29" y="26"/>
                    <a:pt x="29" y="20"/>
                    <a:pt x="29" y="14"/>
                  </a:cubicBezTo>
                  <a:cubicBezTo>
                    <a:pt x="25" y="14"/>
                    <a:pt x="21" y="13"/>
                    <a:pt x="19" y="10"/>
                  </a:cubicBezTo>
                  <a:cubicBezTo>
                    <a:pt x="15" y="19"/>
                    <a:pt x="29" y="22"/>
                    <a:pt x="21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7" name="Freeform 159"/>
            <p:cNvSpPr>
              <a:spLocks/>
            </p:cNvSpPr>
            <p:nvPr userDrawn="1"/>
          </p:nvSpPr>
          <p:spPr bwMode="auto">
            <a:xfrm>
              <a:off x="2970044" y="4494517"/>
              <a:ext cx="53746" cy="84650"/>
            </a:xfrm>
            <a:custGeom>
              <a:avLst/>
              <a:gdLst>
                <a:gd name="T0" fmla="*/ 9 w 17"/>
                <a:gd name="T1" fmla="*/ 19 h 27"/>
                <a:gd name="T2" fmla="*/ 17 w 17"/>
                <a:gd name="T3" fmla="*/ 19 h 27"/>
                <a:gd name="T4" fmla="*/ 9 w 17"/>
                <a:gd name="T5" fmla="*/ 15 h 27"/>
                <a:gd name="T6" fmla="*/ 0 w 17"/>
                <a:gd name="T7" fmla="*/ 19 h 27"/>
                <a:gd name="T8" fmla="*/ 9 w 17"/>
                <a:gd name="T9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7">
                  <a:moveTo>
                    <a:pt x="9" y="19"/>
                  </a:moveTo>
                  <a:cubicBezTo>
                    <a:pt x="9" y="27"/>
                    <a:pt x="16" y="27"/>
                    <a:pt x="17" y="19"/>
                  </a:cubicBezTo>
                  <a:cubicBezTo>
                    <a:pt x="12" y="16"/>
                    <a:pt x="3" y="0"/>
                    <a:pt x="9" y="15"/>
                  </a:cubicBezTo>
                  <a:cubicBezTo>
                    <a:pt x="5" y="16"/>
                    <a:pt x="1" y="14"/>
                    <a:pt x="0" y="19"/>
                  </a:cubicBezTo>
                  <a:cubicBezTo>
                    <a:pt x="4" y="20"/>
                    <a:pt x="5" y="23"/>
                    <a:pt x="9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8" name="Freeform 160"/>
            <p:cNvSpPr>
              <a:spLocks/>
            </p:cNvSpPr>
            <p:nvPr userDrawn="1"/>
          </p:nvSpPr>
          <p:spPr bwMode="auto">
            <a:xfrm>
              <a:off x="2979450" y="4636944"/>
              <a:ext cx="57777" cy="126303"/>
            </a:xfrm>
            <a:custGeom>
              <a:avLst/>
              <a:gdLst>
                <a:gd name="T0" fmla="*/ 8 w 18"/>
                <a:gd name="T1" fmla="*/ 25 h 40"/>
                <a:gd name="T2" fmla="*/ 6 w 18"/>
                <a:gd name="T3" fmla="*/ 0 h 40"/>
                <a:gd name="T4" fmla="*/ 0 w 18"/>
                <a:gd name="T5" fmla="*/ 18 h 40"/>
                <a:gd name="T6" fmla="*/ 6 w 18"/>
                <a:gd name="T7" fmla="*/ 40 h 40"/>
                <a:gd name="T8" fmla="*/ 14 w 18"/>
                <a:gd name="T9" fmla="*/ 40 h 40"/>
                <a:gd name="T10" fmla="*/ 8 w 18"/>
                <a:gd name="T11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0">
                  <a:moveTo>
                    <a:pt x="8" y="25"/>
                  </a:moveTo>
                  <a:cubicBezTo>
                    <a:pt x="7" y="19"/>
                    <a:pt x="14" y="6"/>
                    <a:pt x="6" y="0"/>
                  </a:cubicBezTo>
                  <a:cubicBezTo>
                    <a:pt x="3" y="12"/>
                    <a:pt x="14" y="21"/>
                    <a:pt x="0" y="18"/>
                  </a:cubicBezTo>
                  <a:cubicBezTo>
                    <a:pt x="1" y="31"/>
                    <a:pt x="12" y="25"/>
                    <a:pt x="6" y="40"/>
                  </a:cubicBezTo>
                  <a:cubicBezTo>
                    <a:pt x="8" y="40"/>
                    <a:pt x="11" y="40"/>
                    <a:pt x="14" y="40"/>
                  </a:cubicBezTo>
                  <a:cubicBezTo>
                    <a:pt x="18" y="31"/>
                    <a:pt x="9" y="32"/>
                    <a:pt x="8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9" name="Freeform 161"/>
            <p:cNvSpPr>
              <a:spLocks/>
            </p:cNvSpPr>
            <p:nvPr userDrawn="1"/>
          </p:nvSpPr>
          <p:spPr bwMode="auto">
            <a:xfrm>
              <a:off x="3046632" y="4667848"/>
              <a:ext cx="91368" cy="118241"/>
            </a:xfrm>
            <a:custGeom>
              <a:avLst/>
              <a:gdLst>
                <a:gd name="T0" fmla="*/ 25 w 29"/>
                <a:gd name="T1" fmla="*/ 19 h 37"/>
                <a:gd name="T2" fmla="*/ 9 w 29"/>
                <a:gd name="T3" fmla="*/ 15 h 37"/>
                <a:gd name="T4" fmla="*/ 1 w 29"/>
                <a:gd name="T5" fmla="*/ 23 h 37"/>
                <a:gd name="T6" fmla="*/ 11 w 29"/>
                <a:gd name="T7" fmla="*/ 34 h 37"/>
                <a:gd name="T8" fmla="*/ 17 w 29"/>
                <a:gd name="T9" fmla="*/ 27 h 37"/>
                <a:gd name="T10" fmla="*/ 25 w 29"/>
                <a:gd name="T11" fmla="*/ 30 h 37"/>
                <a:gd name="T12" fmla="*/ 25 w 29"/>
                <a:gd name="T13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37">
                  <a:moveTo>
                    <a:pt x="25" y="19"/>
                  </a:moveTo>
                  <a:cubicBezTo>
                    <a:pt x="19" y="36"/>
                    <a:pt x="14" y="0"/>
                    <a:pt x="9" y="15"/>
                  </a:cubicBezTo>
                  <a:cubicBezTo>
                    <a:pt x="17" y="23"/>
                    <a:pt x="0" y="9"/>
                    <a:pt x="1" y="23"/>
                  </a:cubicBezTo>
                  <a:cubicBezTo>
                    <a:pt x="8" y="22"/>
                    <a:pt x="3" y="37"/>
                    <a:pt x="11" y="34"/>
                  </a:cubicBezTo>
                  <a:cubicBezTo>
                    <a:pt x="15" y="34"/>
                    <a:pt x="14" y="28"/>
                    <a:pt x="17" y="27"/>
                  </a:cubicBezTo>
                  <a:cubicBezTo>
                    <a:pt x="17" y="31"/>
                    <a:pt x="21" y="31"/>
                    <a:pt x="25" y="30"/>
                  </a:cubicBezTo>
                  <a:cubicBezTo>
                    <a:pt x="24" y="24"/>
                    <a:pt x="29" y="21"/>
                    <a:pt x="2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0" name="Freeform 162"/>
            <p:cNvSpPr>
              <a:spLocks/>
            </p:cNvSpPr>
            <p:nvPr userDrawn="1"/>
          </p:nvSpPr>
          <p:spPr bwMode="auto">
            <a:xfrm>
              <a:off x="3191747" y="4753841"/>
              <a:ext cx="79275" cy="67183"/>
            </a:xfrm>
            <a:custGeom>
              <a:avLst/>
              <a:gdLst>
                <a:gd name="T0" fmla="*/ 0 w 25"/>
                <a:gd name="T1" fmla="*/ 11 h 21"/>
                <a:gd name="T2" fmla="*/ 14 w 25"/>
                <a:gd name="T3" fmla="*/ 18 h 21"/>
                <a:gd name="T4" fmla="*/ 25 w 25"/>
                <a:gd name="T5" fmla="*/ 7 h 21"/>
                <a:gd name="T6" fmla="*/ 14 w 25"/>
                <a:gd name="T7" fmla="*/ 11 h 21"/>
                <a:gd name="T8" fmla="*/ 0 w 25"/>
                <a:gd name="T9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1">
                  <a:moveTo>
                    <a:pt x="0" y="11"/>
                  </a:moveTo>
                  <a:cubicBezTo>
                    <a:pt x="9" y="8"/>
                    <a:pt x="6" y="21"/>
                    <a:pt x="14" y="18"/>
                  </a:cubicBezTo>
                  <a:cubicBezTo>
                    <a:pt x="18" y="14"/>
                    <a:pt x="22" y="12"/>
                    <a:pt x="25" y="7"/>
                  </a:cubicBezTo>
                  <a:cubicBezTo>
                    <a:pt x="20" y="7"/>
                    <a:pt x="19" y="11"/>
                    <a:pt x="14" y="11"/>
                  </a:cubicBezTo>
                  <a:cubicBezTo>
                    <a:pt x="11" y="11"/>
                    <a:pt x="2" y="0"/>
                    <a:pt x="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1" name="Freeform 163"/>
            <p:cNvSpPr>
              <a:spLocks/>
            </p:cNvSpPr>
            <p:nvPr userDrawn="1"/>
          </p:nvSpPr>
          <p:spPr bwMode="auto">
            <a:xfrm>
              <a:off x="3030508" y="3239546"/>
              <a:ext cx="69870" cy="64495"/>
            </a:xfrm>
            <a:custGeom>
              <a:avLst/>
              <a:gdLst>
                <a:gd name="T0" fmla="*/ 19 w 22"/>
                <a:gd name="T1" fmla="*/ 0 h 20"/>
                <a:gd name="T2" fmla="*/ 3 w 22"/>
                <a:gd name="T3" fmla="*/ 0 h 20"/>
                <a:gd name="T4" fmla="*/ 0 w 22"/>
                <a:gd name="T5" fmla="*/ 11 h 20"/>
                <a:gd name="T6" fmla="*/ 22 w 22"/>
                <a:gd name="T7" fmla="*/ 18 h 20"/>
                <a:gd name="T8" fmla="*/ 19 w 22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0">
                  <a:moveTo>
                    <a:pt x="19" y="0"/>
                  </a:moveTo>
                  <a:cubicBezTo>
                    <a:pt x="14" y="0"/>
                    <a:pt x="9" y="0"/>
                    <a:pt x="3" y="0"/>
                  </a:cubicBezTo>
                  <a:cubicBezTo>
                    <a:pt x="3" y="5"/>
                    <a:pt x="2" y="8"/>
                    <a:pt x="0" y="11"/>
                  </a:cubicBezTo>
                  <a:cubicBezTo>
                    <a:pt x="6" y="15"/>
                    <a:pt x="11" y="20"/>
                    <a:pt x="22" y="18"/>
                  </a:cubicBezTo>
                  <a:cubicBezTo>
                    <a:pt x="21" y="5"/>
                    <a:pt x="15" y="13"/>
                    <a:pt x="1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2" name="Freeform 164"/>
            <p:cNvSpPr>
              <a:spLocks/>
            </p:cNvSpPr>
            <p:nvPr userDrawn="1"/>
          </p:nvSpPr>
          <p:spPr bwMode="auto">
            <a:xfrm>
              <a:off x="3116502" y="4325216"/>
              <a:ext cx="44341" cy="64495"/>
            </a:xfrm>
            <a:custGeom>
              <a:avLst/>
              <a:gdLst>
                <a:gd name="T0" fmla="*/ 6 w 14"/>
                <a:gd name="T1" fmla="*/ 1 h 20"/>
                <a:gd name="T2" fmla="*/ 3 w 14"/>
                <a:gd name="T3" fmla="*/ 20 h 20"/>
                <a:gd name="T4" fmla="*/ 14 w 14"/>
                <a:gd name="T5" fmla="*/ 20 h 20"/>
                <a:gd name="T6" fmla="*/ 6 w 14"/>
                <a:gd name="T7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0">
                  <a:moveTo>
                    <a:pt x="6" y="1"/>
                  </a:moveTo>
                  <a:cubicBezTo>
                    <a:pt x="0" y="9"/>
                    <a:pt x="8" y="13"/>
                    <a:pt x="3" y="20"/>
                  </a:cubicBezTo>
                  <a:cubicBezTo>
                    <a:pt x="7" y="20"/>
                    <a:pt x="10" y="20"/>
                    <a:pt x="14" y="20"/>
                  </a:cubicBezTo>
                  <a:cubicBezTo>
                    <a:pt x="14" y="9"/>
                    <a:pt x="14" y="0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3" name="Freeform 165"/>
            <p:cNvSpPr>
              <a:spLocks/>
            </p:cNvSpPr>
            <p:nvPr userDrawn="1"/>
          </p:nvSpPr>
          <p:spPr bwMode="auto">
            <a:xfrm>
              <a:off x="7714479" y="2323175"/>
              <a:ext cx="4031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4" name="Freeform 166"/>
            <p:cNvSpPr>
              <a:spLocks/>
            </p:cNvSpPr>
            <p:nvPr userDrawn="1"/>
          </p:nvSpPr>
          <p:spPr bwMode="auto">
            <a:xfrm>
              <a:off x="2783277" y="4115607"/>
              <a:ext cx="56433" cy="51059"/>
            </a:xfrm>
            <a:custGeom>
              <a:avLst/>
              <a:gdLst>
                <a:gd name="T0" fmla="*/ 11 w 18"/>
                <a:gd name="T1" fmla="*/ 8 h 16"/>
                <a:gd name="T2" fmla="*/ 14 w 18"/>
                <a:gd name="T3" fmla="*/ 16 h 16"/>
                <a:gd name="T4" fmla="*/ 6 w 18"/>
                <a:gd name="T5" fmla="*/ 5 h 16"/>
                <a:gd name="T6" fmla="*/ 6 w 18"/>
                <a:gd name="T7" fmla="*/ 1 h 16"/>
                <a:gd name="T8" fmla="*/ 0 w 18"/>
                <a:gd name="T9" fmla="*/ 1 h 16"/>
                <a:gd name="T10" fmla="*/ 11 w 1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6">
                  <a:moveTo>
                    <a:pt x="11" y="8"/>
                  </a:moveTo>
                  <a:cubicBezTo>
                    <a:pt x="12" y="11"/>
                    <a:pt x="11" y="16"/>
                    <a:pt x="14" y="16"/>
                  </a:cubicBezTo>
                  <a:cubicBezTo>
                    <a:pt x="18" y="2"/>
                    <a:pt x="9" y="7"/>
                    <a:pt x="6" y="5"/>
                  </a:cubicBezTo>
                  <a:cubicBezTo>
                    <a:pt x="5" y="4"/>
                    <a:pt x="6" y="1"/>
                    <a:pt x="6" y="1"/>
                  </a:cubicBezTo>
                  <a:cubicBezTo>
                    <a:pt x="5" y="0"/>
                    <a:pt x="1" y="2"/>
                    <a:pt x="0" y="1"/>
                  </a:cubicBezTo>
                  <a:cubicBezTo>
                    <a:pt x="2" y="6"/>
                    <a:pt x="6" y="8"/>
                    <a:pt x="1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5" name="Freeform 167"/>
            <p:cNvSpPr>
              <a:spLocks/>
            </p:cNvSpPr>
            <p:nvPr userDrawn="1"/>
          </p:nvSpPr>
          <p:spPr bwMode="auto">
            <a:xfrm>
              <a:off x="3414793" y="2509943"/>
              <a:ext cx="2687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6" name="Freeform 168"/>
            <p:cNvSpPr>
              <a:spLocks noEditPoints="1"/>
            </p:cNvSpPr>
            <p:nvPr userDrawn="1"/>
          </p:nvSpPr>
          <p:spPr bwMode="auto">
            <a:xfrm>
              <a:off x="2541419" y="1687628"/>
              <a:ext cx="6608080" cy="4310435"/>
            </a:xfrm>
            <a:custGeom>
              <a:avLst/>
              <a:gdLst>
                <a:gd name="T0" fmla="*/ 1924 w 2082"/>
                <a:gd name="T1" fmla="*/ 100 h 1358"/>
                <a:gd name="T2" fmla="*/ 1692 w 2082"/>
                <a:gd name="T3" fmla="*/ 41 h 1358"/>
                <a:gd name="T4" fmla="*/ 1606 w 2082"/>
                <a:gd name="T5" fmla="*/ 174 h 1358"/>
                <a:gd name="T6" fmla="*/ 1364 w 2082"/>
                <a:gd name="T7" fmla="*/ 145 h 1358"/>
                <a:gd name="T8" fmla="*/ 1063 w 2082"/>
                <a:gd name="T9" fmla="*/ 100 h 1358"/>
                <a:gd name="T10" fmla="*/ 738 w 2082"/>
                <a:gd name="T11" fmla="*/ 78 h 1358"/>
                <a:gd name="T12" fmla="*/ 356 w 2082"/>
                <a:gd name="T13" fmla="*/ 22 h 1358"/>
                <a:gd name="T14" fmla="*/ 17 w 2082"/>
                <a:gd name="T15" fmla="*/ 333 h 1358"/>
                <a:gd name="T16" fmla="*/ 36 w 2082"/>
                <a:gd name="T17" fmla="*/ 751 h 1358"/>
                <a:gd name="T18" fmla="*/ 176 w 2082"/>
                <a:gd name="T19" fmla="*/ 662 h 1358"/>
                <a:gd name="T20" fmla="*/ 243 w 2082"/>
                <a:gd name="T21" fmla="*/ 884 h 1358"/>
                <a:gd name="T22" fmla="*/ 698 w 2082"/>
                <a:gd name="T23" fmla="*/ 1210 h 1358"/>
                <a:gd name="T24" fmla="*/ 1101 w 2082"/>
                <a:gd name="T25" fmla="*/ 1287 h 1358"/>
                <a:gd name="T26" fmla="*/ 1480 w 2082"/>
                <a:gd name="T27" fmla="*/ 1317 h 1358"/>
                <a:gd name="T28" fmla="*/ 1881 w 2082"/>
                <a:gd name="T29" fmla="*/ 1350 h 1358"/>
                <a:gd name="T30" fmla="*/ 189 w 2082"/>
                <a:gd name="T31" fmla="*/ 644 h 1358"/>
                <a:gd name="T32" fmla="*/ 146 w 2082"/>
                <a:gd name="T33" fmla="*/ 403 h 1358"/>
                <a:gd name="T34" fmla="*/ 111 w 2082"/>
                <a:gd name="T35" fmla="*/ 599 h 1358"/>
                <a:gd name="T36" fmla="*/ 135 w 2082"/>
                <a:gd name="T37" fmla="*/ 485 h 1358"/>
                <a:gd name="T38" fmla="*/ 165 w 2082"/>
                <a:gd name="T39" fmla="*/ 267 h 1358"/>
                <a:gd name="T40" fmla="*/ 74 w 2082"/>
                <a:gd name="T41" fmla="*/ 218 h 1358"/>
                <a:gd name="T42" fmla="*/ 130 w 2082"/>
                <a:gd name="T43" fmla="*/ 659 h 1358"/>
                <a:gd name="T44" fmla="*/ 157 w 2082"/>
                <a:gd name="T45" fmla="*/ 448 h 1358"/>
                <a:gd name="T46" fmla="*/ 447 w 2082"/>
                <a:gd name="T47" fmla="*/ 648 h 1358"/>
                <a:gd name="T48" fmla="*/ 353 w 2082"/>
                <a:gd name="T49" fmla="*/ 755 h 1358"/>
                <a:gd name="T50" fmla="*/ 267 w 2082"/>
                <a:gd name="T51" fmla="*/ 537 h 1358"/>
                <a:gd name="T52" fmla="*/ 246 w 2082"/>
                <a:gd name="T53" fmla="*/ 448 h 1358"/>
                <a:gd name="T54" fmla="*/ 386 w 2082"/>
                <a:gd name="T55" fmla="*/ 307 h 1358"/>
                <a:gd name="T56" fmla="*/ 375 w 2082"/>
                <a:gd name="T57" fmla="*/ 311 h 1358"/>
                <a:gd name="T58" fmla="*/ 321 w 2082"/>
                <a:gd name="T59" fmla="*/ 570 h 1358"/>
                <a:gd name="T60" fmla="*/ 316 w 2082"/>
                <a:gd name="T61" fmla="*/ 385 h 1358"/>
                <a:gd name="T62" fmla="*/ 294 w 2082"/>
                <a:gd name="T63" fmla="*/ 699 h 1358"/>
                <a:gd name="T64" fmla="*/ 351 w 2082"/>
                <a:gd name="T65" fmla="*/ 651 h 1358"/>
                <a:gd name="T66" fmla="*/ 412 w 2082"/>
                <a:gd name="T67" fmla="*/ 614 h 1358"/>
                <a:gd name="T68" fmla="*/ 353 w 2082"/>
                <a:gd name="T69" fmla="*/ 307 h 1358"/>
                <a:gd name="T70" fmla="*/ 275 w 2082"/>
                <a:gd name="T71" fmla="*/ 178 h 1358"/>
                <a:gd name="T72" fmla="*/ 230 w 2082"/>
                <a:gd name="T73" fmla="*/ 163 h 1358"/>
                <a:gd name="T74" fmla="*/ 254 w 2082"/>
                <a:gd name="T75" fmla="*/ 670 h 1358"/>
                <a:gd name="T76" fmla="*/ 308 w 2082"/>
                <a:gd name="T77" fmla="*/ 762 h 1358"/>
                <a:gd name="T78" fmla="*/ 496 w 2082"/>
                <a:gd name="T79" fmla="*/ 807 h 1358"/>
                <a:gd name="T80" fmla="*/ 918 w 2082"/>
                <a:gd name="T81" fmla="*/ 1235 h 1358"/>
                <a:gd name="T82" fmla="*/ 1176 w 2082"/>
                <a:gd name="T83" fmla="*/ 1217 h 1358"/>
                <a:gd name="T84" fmla="*/ 1260 w 2082"/>
                <a:gd name="T85" fmla="*/ 237 h 1358"/>
                <a:gd name="T86" fmla="*/ 1319 w 2082"/>
                <a:gd name="T87" fmla="*/ 196 h 1358"/>
                <a:gd name="T88" fmla="*/ 1566 w 2082"/>
                <a:gd name="T89" fmla="*/ 263 h 1358"/>
                <a:gd name="T90" fmla="*/ 1448 w 2082"/>
                <a:gd name="T91" fmla="*/ 167 h 1358"/>
                <a:gd name="T92" fmla="*/ 1367 w 2082"/>
                <a:gd name="T93" fmla="*/ 599 h 1358"/>
                <a:gd name="T94" fmla="*/ 1415 w 2082"/>
                <a:gd name="T95" fmla="*/ 1306 h 1358"/>
                <a:gd name="T96" fmla="*/ 1467 w 2082"/>
                <a:gd name="T97" fmla="*/ 640 h 1358"/>
                <a:gd name="T98" fmla="*/ 1553 w 2082"/>
                <a:gd name="T99" fmla="*/ 1291 h 1358"/>
                <a:gd name="T100" fmla="*/ 2055 w 2082"/>
                <a:gd name="T101" fmla="*/ 562 h 1358"/>
                <a:gd name="T102" fmla="*/ 1996 w 2082"/>
                <a:gd name="T103" fmla="*/ 537 h 1358"/>
                <a:gd name="T104" fmla="*/ 1948 w 2082"/>
                <a:gd name="T105" fmla="*/ 178 h 1358"/>
                <a:gd name="T106" fmla="*/ 1918 w 2082"/>
                <a:gd name="T107" fmla="*/ 71 h 1358"/>
                <a:gd name="T108" fmla="*/ 1840 w 2082"/>
                <a:gd name="T109" fmla="*/ 170 h 1358"/>
                <a:gd name="T110" fmla="*/ 1738 w 2082"/>
                <a:gd name="T111" fmla="*/ 1265 h 1358"/>
                <a:gd name="T112" fmla="*/ 1730 w 2082"/>
                <a:gd name="T113" fmla="*/ 603 h 1358"/>
                <a:gd name="T114" fmla="*/ 1666 w 2082"/>
                <a:gd name="T115" fmla="*/ 215 h 1358"/>
                <a:gd name="T116" fmla="*/ 1746 w 2082"/>
                <a:gd name="T117" fmla="*/ 1295 h 1358"/>
                <a:gd name="T118" fmla="*/ 1811 w 2082"/>
                <a:gd name="T119" fmla="*/ 1254 h 1358"/>
                <a:gd name="T120" fmla="*/ 1848 w 2082"/>
                <a:gd name="T121" fmla="*/ 215 h 1358"/>
                <a:gd name="T122" fmla="*/ 1899 w 2082"/>
                <a:gd name="T123" fmla="*/ 1199 h 1358"/>
                <a:gd name="T124" fmla="*/ 2039 w 2082"/>
                <a:gd name="T125" fmla="*/ 1306 h 1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82" h="1358">
                  <a:moveTo>
                    <a:pt x="2050" y="100"/>
                  </a:moveTo>
                  <a:cubicBezTo>
                    <a:pt x="2048" y="103"/>
                    <a:pt x="2053" y="115"/>
                    <a:pt x="2045" y="119"/>
                  </a:cubicBezTo>
                  <a:cubicBezTo>
                    <a:pt x="2041" y="120"/>
                    <a:pt x="2037" y="118"/>
                    <a:pt x="2034" y="119"/>
                  </a:cubicBezTo>
                  <a:cubicBezTo>
                    <a:pt x="2032" y="131"/>
                    <a:pt x="2045" y="123"/>
                    <a:pt x="2042" y="137"/>
                  </a:cubicBezTo>
                  <a:cubicBezTo>
                    <a:pt x="2047" y="138"/>
                    <a:pt x="2047" y="132"/>
                    <a:pt x="2050" y="130"/>
                  </a:cubicBezTo>
                  <a:cubicBezTo>
                    <a:pt x="2050" y="133"/>
                    <a:pt x="2050" y="137"/>
                    <a:pt x="2050" y="141"/>
                  </a:cubicBezTo>
                  <a:cubicBezTo>
                    <a:pt x="2057" y="143"/>
                    <a:pt x="2071" y="136"/>
                    <a:pt x="2074" y="145"/>
                  </a:cubicBezTo>
                  <a:cubicBezTo>
                    <a:pt x="2074" y="147"/>
                    <a:pt x="2074" y="152"/>
                    <a:pt x="2072" y="152"/>
                  </a:cubicBezTo>
                  <a:cubicBezTo>
                    <a:pt x="2067" y="151"/>
                    <a:pt x="2062" y="141"/>
                    <a:pt x="2058" y="145"/>
                  </a:cubicBezTo>
                  <a:cubicBezTo>
                    <a:pt x="2057" y="146"/>
                    <a:pt x="2059" y="153"/>
                    <a:pt x="2055" y="152"/>
                  </a:cubicBezTo>
                  <a:cubicBezTo>
                    <a:pt x="2053" y="144"/>
                    <a:pt x="2049" y="139"/>
                    <a:pt x="2039" y="141"/>
                  </a:cubicBezTo>
                  <a:cubicBezTo>
                    <a:pt x="2041" y="153"/>
                    <a:pt x="2037" y="158"/>
                    <a:pt x="2037" y="167"/>
                  </a:cubicBezTo>
                  <a:cubicBezTo>
                    <a:pt x="2048" y="170"/>
                    <a:pt x="2047" y="157"/>
                    <a:pt x="2053" y="152"/>
                  </a:cubicBezTo>
                  <a:cubicBezTo>
                    <a:pt x="2050" y="162"/>
                    <a:pt x="2057" y="162"/>
                    <a:pt x="2055" y="170"/>
                  </a:cubicBezTo>
                  <a:cubicBezTo>
                    <a:pt x="2059" y="171"/>
                    <a:pt x="2062" y="171"/>
                    <a:pt x="2061" y="178"/>
                  </a:cubicBezTo>
                  <a:cubicBezTo>
                    <a:pt x="2057" y="172"/>
                    <a:pt x="2050" y="170"/>
                    <a:pt x="2045" y="167"/>
                  </a:cubicBezTo>
                  <a:cubicBezTo>
                    <a:pt x="2042" y="172"/>
                    <a:pt x="2043" y="181"/>
                    <a:pt x="2034" y="178"/>
                  </a:cubicBezTo>
                  <a:cubicBezTo>
                    <a:pt x="2038" y="165"/>
                    <a:pt x="2033" y="151"/>
                    <a:pt x="2037" y="137"/>
                  </a:cubicBezTo>
                  <a:cubicBezTo>
                    <a:pt x="2032" y="137"/>
                    <a:pt x="2034" y="128"/>
                    <a:pt x="2029" y="130"/>
                  </a:cubicBezTo>
                  <a:cubicBezTo>
                    <a:pt x="2028" y="137"/>
                    <a:pt x="2032" y="137"/>
                    <a:pt x="2034" y="141"/>
                  </a:cubicBezTo>
                  <a:cubicBezTo>
                    <a:pt x="2028" y="144"/>
                    <a:pt x="2032" y="154"/>
                    <a:pt x="2031" y="159"/>
                  </a:cubicBezTo>
                  <a:cubicBezTo>
                    <a:pt x="2031" y="160"/>
                    <a:pt x="2029" y="160"/>
                    <a:pt x="2029" y="163"/>
                  </a:cubicBezTo>
                  <a:cubicBezTo>
                    <a:pt x="2028" y="168"/>
                    <a:pt x="2028" y="171"/>
                    <a:pt x="2026" y="174"/>
                  </a:cubicBezTo>
                  <a:cubicBezTo>
                    <a:pt x="2023" y="180"/>
                    <a:pt x="2024" y="190"/>
                    <a:pt x="2020" y="193"/>
                  </a:cubicBezTo>
                  <a:cubicBezTo>
                    <a:pt x="2013" y="185"/>
                    <a:pt x="2023" y="171"/>
                    <a:pt x="2026" y="167"/>
                  </a:cubicBezTo>
                  <a:cubicBezTo>
                    <a:pt x="2027" y="155"/>
                    <a:pt x="2019" y="157"/>
                    <a:pt x="2018" y="148"/>
                  </a:cubicBezTo>
                  <a:cubicBezTo>
                    <a:pt x="2021" y="148"/>
                    <a:pt x="2022" y="153"/>
                    <a:pt x="2026" y="152"/>
                  </a:cubicBezTo>
                  <a:cubicBezTo>
                    <a:pt x="2029" y="152"/>
                    <a:pt x="2029" y="142"/>
                    <a:pt x="2026" y="141"/>
                  </a:cubicBezTo>
                  <a:cubicBezTo>
                    <a:pt x="2026" y="156"/>
                    <a:pt x="2022" y="141"/>
                    <a:pt x="2020" y="137"/>
                  </a:cubicBezTo>
                  <a:cubicBezTo>
                    <a:pt x="2012" y="140"/>
                    <a:pt x="2015" y="140"/>
                    <a:pt x="2007" y="137"/>
                  </a:cubicBezTo>
                  <a:cubicBezTo>
                    <a:pt x="2000" y="144"/>
                    <a:pt x="2009" y="172"/>
                    <a:pt x="2002" y="178"/>
                  </a:cubicBezTo>
                  <a:cubicBezTo>
                    <a:pt x="1999" y="168"/>
                    <a:pt x="1995" y="172"/>
                    <a:pt x="1999" y="167"/>
                  </a:cubicBezTo>
                  <a:cubicBezTo>
                    <a:pt x="2001" y="164"/>
                    <a:pt x="1990" y="162"/>
                    <a:pt x="1991" y="159"/>
                  </a:cubicBezTo>
                  <a:cubicBezTo>
                    <a:pt x="1990" y="153"/>
                    <a:pt x="1995" y="150"/>
                    <a:pt x="1991" y="148"/>
                  </a:cubicBezTo>
                  <a:cubicBezTo>
                    <a:pt x="1991" y="150"/>
                    <a:pt x="1989" y="152"/>
                    <a:pt x="1988" y="148"/>
                  </a:cubicBezTo>
                  <a:cubicBezTo>
                    <a:pt x="1994" y="147"/>
                    <a:pt x="1995" y="141"/>
                    <a:pt x="1999" y="137"/>
                  </a:cubicBezTo>
                  <a:cubicBezTo>
                    <a:pt x="2000" y="143"/>
                    <a:pt x="2002" y="136"/>
                    <a:pt x="2007" y="137"/>
                  </a:cubicBezTo>
                  <a:cubicBezTo>
                    <a:pt x="2009" y="134"/>
                    <a:pt x="2008" y="129"/>
                    <a:pt x="2010" y="126"/>
                  </a:cubicBezTo>
                  <a:cubicBezTo>
                    <a:pt x="2010" y="126"/>
                    <a:pt x="2012" y="126"/>
                    <a:pt x="2012" y="126"/>
                  </a:cubicBezTo>
                  <a:cubicBezTo>
                    <a:pt x="2013" y="121"/>
                    <a:pt x="2010" y="118"/>
                    <a:pt x="2010" y="115"/>
                  </a:cubicBezTo>
                  <a:cubicBezTo>
                    <a:pt x="2010" y="115"/>
                    <a:pt x="2013" y="114"/>
                    <a:pt x="2012" y="111"/>
                  </a:cubicBezTo>
                  <a:cubicBezTo>
                    <a:pt x="2012" y="111"/>
                    <a:pt x="2007" y="109"/>
                    <a:pt x="2007" y="108"/>
                  </a:cubicBezTo>
                  <a:cubicBezTo>
                    <a:pt x="2007" y="113"/>
                    <a:pt x="2007" y="120"/>
                    <a:pt x="2002" y="119"/>
                  </a:cubicBezTo>
                  <a:cubicBezTo>
                    <a:pt x="2001" y="112"/>
                    <a:pt x="2005" y="111"/>
                    <a:pt x="2004" y="104"/>
                  </a:cubicBezTo>
                  <a:cubicBezTo>
                    <a:pt x="2001" y="104"/>
                    <a:pt x="1998" y="106"/>
                    <a:pt x="1996" y="108"/>
                  </a:cubicBezTo>
                  <a:cubicBezTo>
                    <a:pt x="2003" y="102"/>
                    <a:pt x="1993" y="95"/>
                    <a:pt x="1988" y="96"/>
                  </a:cubicBezTo>
                  <a:cubicBezTo>
                    <a:pt x="1985" y="98"/>
                    <a:pt x="1986" y="102"/>
                    <a:pt x="1983" y="104"/>
                  </a:cubicBezTo>
                  <a:cubicBezTo>
                    <a:pt x="1983" y="99"/>
                    <a:pt x="1984" y="96"/>
                    <a:pt x="1986" y="93"/>
                  </a:cubicBezTo>
                  <a:cubicBezTo>
                    <a:pt x="1982" y="93"/>
                    <a:pt x="1978" y="93"/>
                    <a:pt x="1975" y="93"/>
                  </a:cubicBezTo>
                  <a:cubicBezTo>
                    <a:pt x="1974" y="97"/>
                    <a:pt x="1975" y="103"/>
                    <a:pt x="1972" y="104"/>
                  </a:cubicBezTo>
                  <a:cubicBezTo>
                    <a:pt x="1969" y="104"/>
                    <a:pt x="1970" y="97"/>
                    <a:pt x="1967" y="96"/>
                  </a:cubicBezTo>
                  <a:cubicBezTo>
                    <a:pt x="1967" y="97"/>
                    <a:pt x="1960" y="104"/>
                    <a:pt x="1956" y="100"/>
                  </a:cubicBezTo>
                  <a:cubicBezTo>
                    <a:pt x="1955" y="90"/>
                    <a:pt x="1948" y="87"/>
                    <a:pt x="1940" y="85"/>
                  </a:cubicBezTo>
                  <a:cubicBezTo>
                    <a:pt x="1939" y="93"/>
                    <a:pt x="1943" y="93"/>
                    <a:pt x="1945" y="96"/>
                  </a:cubicBezTo>
                  <a:cubicBezTo>
                    <a:pt x="1936" y="90"/>
                    <a:pt x="1937" y="97"/>
                    <a:pt x="1932" y="104"/>
                  </a:cubicBezTo>
                  <a:cubicBezTo>
                    <a:pt x="1930" y="93"/>
                    <a:pt x="1936" y="93"/>
                    <a:pt x="1934" y="82"/>
                  </a:cubicBezTo>
                  <a:cubicBezTo>
                    <a:pt x="1924" y="83"/>
                    <a:pt x="1936" y="98"/>
                    <a:pt x="1924" y="100"/>
                  </a:cubicBezTo>
                  <a:cubicBezTo>
                    <a:pt x="1928" y="88"/>
                    <a:pt x="1922" y="81"/>
                    <a:pt x="1924" y="63"/>
                  </a:cubicBezTo>
                  <a:cubicBezTo>
                    <a:pt x="1920" y="64"/>
                    <a:pt x="1915" y="60"/>
                    <a:pt x="1916" y="56"/>
                  </a:cubicBezTo>
                  <a:cubicBezTo>
                    <a:pt x="1916" y="56"/>
                    <a:pt x="1920" y="54"/>
                    <a:pt x="1918" y="52"/>
                  </a:cubicBezTo>
                  <a:cubicBezTo>
                    <a:pt x="1914" y="48"/>
                    <a:pt x="1902" y="50"/>
                    <a:pt x="1905" y="52"/>
                  </a:cubicBezTo>
                  <a:cubicBezTo>
                    <a:pt x="1908" y="54"/>
                    <a:pt x="1910" y="57"/>
                    <a:pt x="1910" y="63"/>
                  </a:cubicBezTo>
                  <a:cubicBezTo>
                    <a:pt x="1905" y="59"/>
                    <a:pt x="1897" y="69"/>
                    <a:pt x="1905" y="71"/>
                  </a:cubicBezTo>
                  <a:cubicBezTo>
                    <a:pt x="1905" y="67"/>
                    <a:pt x="1910" y="66"/>
                    <a:pt x="1910" y="71"/>
                  </a:cubicBezTo>
                  <a:cubicBezTo>
                    <a:pt x="1909" y="76"/>
                    <a:pt x="1906" y="80"/>
                    <a:pt x="1902" y="82"/>
                  </a:cubicBezTo>
                  <a:cubicBezTo>
                    <a:pt x="1896" y="73"/>
                    <a:pt x="1893" y="76"/>
                    <a:pt x="1886" y="82"/>
                  </a:cubicBezTo>
                  <a:cubicBezTo>
                    <a:pt x="1884" y="95"/>
                    <a:pt x="1889" y="100"/>
                    <a:pt x="1891" y="108"/>
                  </a:cubicBezTo>
                  <a:cubicBezTo>
                    <a:pt x="1888" y="112"/>
                    <a:pt x="1881" y="109"/>
                    <a:pt x="1878" y="104"/>
                  </a:cubicBezTo>
                  <a:cubicBezTo>
                    <a:pt x="1881" y="102"/>
                    <a:pt x="1884" y="99"/>
                    <a:pt x="1883" y="93"/>
                  </a:cubicBezTo>
                  <a:cubicBezTo>
                    <a:pt x="1877" y="93"/>
                    <a:pt x="1875" y="100"/>
                    <a:pt x="1873" y="89"/>
                  </a:cubicBezTo>
                  <a:cubicBezTo>
                    <a:pt x="1871" y="83"/>
                    <a:pt x="1876" y="67"/>
                    <a:pt x="1870" y="67"/>
                  </a:cubicBezTo>
                  <a:cubicBezTo>
                    <a:pt x="1870" y="84"/>
                    <a:pt x="1861" y="97"/>
                    <a:pt x="1862" y="111"/>
                  </a:cubicBezTo>
                  <a:cubicBezTo>
                    <a:pt x="1862" y="119"/>
                    <a:pt x="1874" y="123"/>
                    <a:pt x="1865" y="130"/>
                  </a:cubicBezTo>
                  <a:cubicBezTo>
                    <a:pt x="1854" y="127"/>
                    <a:pt x="1867" y="117"/>
                    <a:pt x="1856" y="115"/>
                  </a:cubicBezTo>
                  <a:cubicBezTo>
                    <a:pt x="1852" y="121"/>
                    <a:pt x="1857" y="147"/>
                    <a:pt x="1848" y="156"/>
                  </a:cubicBezTo>
                  <a:cubicBezTo>
                    <a:pt x="1850" y="144"/>
                    <a:pt x="1844" y="145"/>
                    <a:pt x="1846" y="133"/>
                  </a:cubicBezTo>
                  <a:cubicBezTo>
                    <a:pt x="1855" y="137"/>
                    <a:pt x="1850" y="122"/>
                    <a:pt x="1851" y="115"/>
                  </a:cubicBezTo>
                  <a:cubicBezTo>
                    <a:pt x="1842" y="117"/>
                    <a:pt x="1840" y="91"/>
                    <a:pt x="1846" y="85"/>
                  </a:cubicBezTo>
                  <a:cubicBezTo>
                    <a:pt x="1849" y="86"/>
                    <a:pt x="1852" y="105"/>
                    <a:pt x="1856" y="93"/>
                  </a:cubicBezTo>
                  <a:cubicBezTo>
                    <a:pt x="1850" y="85"/>
                    <a:pt x="1863" y="96"/>
                    <a:pt x="1865" y="89"/>
                  </a:cubicBezTo>
                  <a:cubicBezTo>
                    <a:pt x="1865" y="79"/>
                    <a:pt x="1863" y="68"/>
                    <a:pt x="1867" y="63"/>
                  </a:cubicBezTo>
                  <a:cubicBezTo>
                    <a:pt x="1862" y="62"/>
                    <a:pt x="1861" y="67"/>
                    <a:pt x="1856" y="67"/>
                  </a:cubicBezTo>
                  <a:cubicBezTo>
                    <a:pt x="1853" y="67"/>
                    <a:pt x="1852" y="59"/>
                    <a:pt x="1848" y="60"/>
                  </a:cubicBezTo>
                  <a:cubicBezTo>
                    <a:pt x="1847" y="60"/>
                    <a:pt x="1847" y="65"/>
                    <a:pt x="1843" y="63"/>
                  </a:cubicBezTo>
                  <a:cubicBezTo>
                    <a:pt x="1843" y="63"/>
                    <a:pt x="1843" y="57"/>
                    <a:pt x="1843" y="56"/>
                  </a:cubicBezTo>
                  <a:cubicBezTo>
                    <a:pt x="1837" y="57"/>
                    <a:pt x="1832" y="60"/>
                    <a:pt x="1827" y="63"/>
                  </a:cubicBezTo>
                  <a:cubicBezTo>
                    <a:pt x="1827" y="57"/>
                    <a:pt x="1827" y="50"/>
                    <a:pt x="1822" y="52"/>
                  </a:cubicBezTo>
                  <a:cubicBezTo>
                    <a:pt x="1821" y="56"/>
                    <a:pt x="1822" y="63"/>
                    <a:pt x="1819" y="63"/>
                  </a:cubicBezTo>
                  <a:cubicBezTo>
                    <a:pt x="1817" y="57"/>
                    <a:pt x="1816" y="65"/>
                    <a:pt x="1813" y="67"/>
                  </a:cubicBezTo>
                  <a:cubicBezTo>
                    <a:pt x="1810" y="55"/>
                    <a:pt x="1818" y="58"/>
                    <a:pt x="1819" y="52"/>
                  </a:cubicBezTo>
                  <a:cubicBezTo>
                    <a:pt x="1810" y="55"/>
                    <a:pt x="1813" y="55"/>
                    <a:pt x="1808" y="48"/>
                  </a:cubicBezTo>
                  <a:cubicBezTo>
                    <a:pt x="1809" y="54"/>
                    <a:pt x="1798" y="61"/>
                    <a:pt x="1797" y="52"/>
                  </a:cubicBezTo>
                  <a:cubicBezTo>
                    <a:pt x="1796" y="44"/>
                    <a:pt x="1808" y="57"/>
                    <a:pt x="1800" y="48"/>
                  </a:cubicBezTo>
                  <a:cubicBezTo>
                    <a:pt x="1798" y="36"/>
                    <a:pt x="1792" y="64"/>
                    <a:pt x="1792" y="48"/>
                  </a:cubicBezTo>
                  <a:cubicBezTo>
                    <a:pt x="1792" y="43"/>
                    <a:pt x="1783" y="41"/>
                    <a:pt x="1778" y="41"/>
                  </a:cubicBezTo>
                  <a:cubicBezTo>
                    <a:pt x="1778" y="45"/>
                    <a:pt x="1779" y="51"/>
                    <a:pt x="1776" y="52"/>
                  </a:cubicBezTo>
                  <a:cubicBezTo>
                    <a:pt x="1778" y="34"/>
                    <a:pt x="1767" y="40"/>
                    <a:pt x="1765" y="41"/>
                  </a:cubicBezTo>
                  <a:cubicBezTo>
                    <a:pt x="1756" y="44"/>
                    <a:pt x="1758" y="34"/>
                    <a:pt x="1752" y="37"/>
                  </a:cubicBezTo>
                  <a:cubicBezTo>
                    <a:pt x="1750" y="38"/>
                    <a:pt x="1752" y="46"/>
                    <a:pt x="1749" y="45"/>
                  </a:cubicBezTo>
                  <a:cubicBezTo>
                    <a:pt x="1748" y="40"/>
                    <a:pt x="1749" y="34"/>
                    <a:pt x="1746" y="34"/>
                  </a:cubicBezTo>
                  <a:cubicBezTo>
                    <a:pt x="1744" y="42"/>
                    <a:pt x="1729" y="44"/>
                    <a:pt x="1727" y="30"/>
                  </a:cubicBezTo>
                  <a:cubicBezTo>
                    <a:pt x="1728" y="24"/>
                    <a:pt x="1734" y="27"/>
                    <a:pt x="1735" y="22"/>
                  </a:cubicBezTo>
                  <a:cubicBezTo>
                    <a:pt x="1735" y="23"/>
                    <a:pt x="1731" y="19"/>
                    <a:pt x="1735" y="19"/>
                  </a:cubicBezTo>
                  <a:cubicBezTo>
                    <a:pt x="1741" y="16"/>
                    <a:pt x="1741" y="27"/>
                    <a:pt x="1744" y="26"/>
                  </a:cubicBezTo>
                  <a:cubicBezTo>
                    <a:pt x="1744" y="26"/>
                    <a:pt x="1749" y="14"/>
                    <a:pt x="1749" y="22"/>
                  </a:cubicBezTo>
                  <a:cubicBezTo>
                    <a:pt x="1749" y="28"/>
                    <a:pt x="1755" y="27"/>
                    <a:pt x="1757" y="30"/>
                  </a:cubicBezTo>
                  <a:cubicBezTo>
                    <a:pt x="1757" y="26"/>
                    <a:pt x="1757" y="19"/>
                    <a:pt x="1760" y="19"/>
                  </a:cubicBezTo>
                  <a:cubicBezTo>
                    <a:pt x="1759" y="25"/>
                    <a:pt x="1763" y="29"/>
                    <a:pt x="1765" y="22"/>
                  </a:cubicBezTo>
                  <a:cubicBezTo>
                    <a:pt x="1751" y="5"/>
                    <a:pt x="1742" y="19"/>
                    <a:pt x="1725" y="11"/>
                  </a:cubicBezTo>
                  <a:cubicBezTo>
                    <a:pt x="1719" y="18"/>
                    <a:pt x="1724" y="25"/>
                    <a:pt x="1725" y="34"/>
                  </a:cubicBezTo>
                  <a:cubicBezTo>
                    <a:pt x="1716" y="39"/>
                    <a:pt x="1713" y="35"/>
                    <a:pt x="1703" y="34"/>
                  </a:cubicBezTo>
                  <a:cubicBezTo>
                    <a:pt x="1703" y="37"/>
                    <a:pt x="1703" y="40"/>
                    <a:pt x="1700" y="41"/>
                  </a:cubicBezTo>
                  <a:cubicBezTo>
                    <a:pt x="1698" y="42"/>
                    <a:pt x="1698" y="38"/>
                    <a:pt x="1698" y="37"/>
                  </a:cubicBezTo>
                  <a:cubicBezTo>
                    <a:pt x="1695" y="36"/>
                    <a:pt x="1694" y="41"/>
                    <a:pt x="1692" y="41"/>
                  </a:cubicBezTo>
                  <a:cubicBezTo>
                    <a:pt x="1693" y="41"/>
                    <a:pt x="1691" y="38"/>
                    <a:pt x="1690" y="37"/>
                  </a:cubicBezTo>
                  <a:cubicBezTo>
                    <a:pt x="1687" y="36"/>
                    <a:pt x="1684" y="38"/>
                    <a:pt x="1682" y="37"/>
                  </a:cubicBezTo>
                  <a:cubicBezTo>
                    <a:pt x="1681" y="40"/>
                    <a:pt x="1682" y="45"/>
                    <a:pt x="1679" y="45"/>
                  </a:cubicBezTo>
                  <a:cubicBezTo>
                    <a:pt x="1676" y="36"/>
                    <a:pt x="1666" y="51"/>
                    <a:pt x="1666" y="34"/>
                  </a:cubicBezTo>
                  <a:cubicBezTo>
                    <a:pt x="1670" y="34"/>
                    <a:pt x="1675" y="34"/>
                    <a:pt x="1679" y="34"/>
                  </a:cubicBezTo>
                  <a:cubicBezTo>
                    <a:pt x="1680" y="18"/>
                    <a:pt x="1672" y="29"/>
                    <a:pt x="1671" y="22"/>
                  </a:cubicBezTo>
                  <a:cubicBezTo>
                    <a:pt x="1673" y="22"/>
                    <a:pt x="1674" y="22"/>
                    <a:pt x="1674" y="19"/>
                  </a:cubicBezTo>
                  <a:cubicBezTo>
                    <a:pt x="1665" y="23"/>
                    <a:pt x="1657" y="20"/>
                    <a:pt x="1652" y="22"/>
                  </a:cubicBezTo>
                  <a:cubicBezTo>
                    <a:pt x="1651" y="23"/>
                    <a:pt x="1648" y="29"/>
                    <a:pt x="1647" y="30"/>
                  </a:cubicBezTo>
                  <a:cubicBezTo>
                    <a:pt x="1644" y="32"/>
                    <a:pt x="1641" y="30"/>
                    <a:pt x="1639" y="34"/>
                  </a:cubicBezTo>
                  <a:cubicBezTo>
                    <a:pt x="1636" y="38"/>
                    <a:pt x="1638" y="46"/>
                    <a:pt x="1636" y="52"/>
                  </a:cubicBezTo>
                  <a:cubicBezTo>
                    <a:pt x="1635" y="55"/>
                    <a:pt x="1629" y="55"/>
                    <a:pt x="1628" y="60"/>
                  </a:cubicBezTo>
                  <a:cubicBezTo>
                    <a:pt x="1640" y="53"/>
                    <a:pt x="1641" y="69"/>
                    <a:pt x="1644" y="71"/>
                  </a:cubicBezTo>
                  <a:cubicBezTo>
                    <a:pt x="1649" y="73"/>
                    <a:pt x="1655" y="66"/>
                    <a:pt x="1660" y="74"/>
                  </a:cubicBezTo>
                  <a:cubicBezTo>
                    <a:pt x="1647" y="75"/>
                    <a:pt x="1648" y="95"/>
                    <a:pt x="1633" y="93"/>
                  </a:cubicBezTo>
                  <a:cubicBezTo>
                    <a:pt x="1633" y="98"/>
                    <a:pt x="1633" y="103"/>
                    <a:pt x="1633" y="108"/>
                  </a:cubicBezTo>
                  <a:cubicBezTo>
                    <a:pt x="1637" y="108"/>
                    <a:pt x="1643" y="106"/>
                    <a:pt x="1644" y="111"/>
                  </a:cubicBezTo>
                  <a:cubicBezTo>
                    <a:pt x="1644" y="115"/>
                    <a:pt x="1646" y="116"/>
                    <a:pt x="1647" y="119"/>
                  </a:cubicBezTo>
                  <a:cubicBezTo>
                    <a:pt x="1642" y="122"/>
                    <a:pt x="1637" y="125"/>
                    <a:pt x="1631" y="126"/>
                  </a:cubicBezTo>
                  <a:cubicBezTo>
                    <a:pt x="1629" y="139"/>
                    <a:pt x="1641" y="132"/>
                    <a:pt x="1641" y="141"/>
                  </a:cubicBezTo>
                  <a:cubicBezTo>
                    <a:pt x="1649" y="136"/>
                    <a:pt x="1647" y="141"/>
                    <a:pt x="1652" y="141"/>
                  </a:cubicBezTo>
                  <a:cubicBezTo>
                    <a:pt x="1652" y="141"/>
                    <a:pt x="1653" y="138"/>
                    <a:pt x="1655" y="137"/>
                  </a:cubicBezTo>
                  <a:cubicBezTo>
                    <a:pt x="1657" y="137"/>
                    <a:pt x="1660" y="138"/>
                    <a:pt x="1660" y="141"/>
                  </a:cubicBezTo>
                  <a:cubicBezTo>
                    <a:pt x="1654" y="143"/>
                    <a:pt x="1646" y="144"/>
                    <a:pt x="1647" y="156"/>
                  </a:cubicBezTo>
                  <a:cubicBezTo>
                    <a:pt x="1654" y="158"/>
                    <a:pt x="1664" y="145"/>
                    <a:pt x="1668" y="156"/>
                  </a:cubicBezTo>
                  <a:cubicBezTo>
                    <a:pt x="1657" y="155"/>
                    <a:pt x="1652" y="162"/>
                    <a:pt x="1652" y="178"/>
                  </a:cubicBezTo>
                  <a:cubicBezTo>
                    <a:pt x="1663" y="184"/>
                    <a:pt x="1653" y="162"/>
                    <a:pt x="1660" y="163"/>
                  </a:cubicBezTo>
                  <a:cubicBezTo>
                    <a:pt x="1666" y="165"/>
                    <a:pt x="1678" y="158"/>
                    <a:pt x="1679" y="167"/>
                  </a:cubicBezTo>
                  <a:cubicBezTo>
                    <a:pt x="1678" y="179"/>
                    <a:pt x="1663" y="178"/>
                    <a:pt x="1663" y="185"/>
                  </a:cubicBezTo>
                  <a:cubicBezTo>
                    <a:pt x="1662" y="195"/>
                    <a:pt x="1655" y="189"/>
                    <a:pt x="1655" y="196"/>
                  </a:cubicBezTo>
                  <a:cubicBezTo>
                    <a:pt x="1661" y="199"/>
                    <a:pt x="1656" y="217"/>
                    <a:pt x="1657" y="226"/>
                  </a:cubicBezTo>
                  <a:cubicBezTo>
                    <a:pt x="1644" y="218"/>
                    <a:pt x="1654" y="243"/>
                    <a:pt x="1647" y="244"/>
                  </a:cubicBezTo>
                  <a:cubicBezTo>
                    <a:pt x="1648" y="231"/>
                    <a:pt x="1642" y="234"/>
                    <a:pt x="1641" y="230"/>
                  </a:cubicBezTo>
                  <a:cubicBezTo>
                    <a:pt x="1641" y="229"/>
                    <a:pt x="1646" y="230"/>
                    <a:pt x="1647" y="230"/>
                  </a:cubicBezTo>
                  <a:cubicBezTo>
                    <a:pt x="1648" y="228"/>
                    <a:pt x="1643" y="223"/>
                    <a:pt x="1644" y="222"/>
                  </a:cubicBezTo>
                  <a:cubicBezTo>
                    <a:pt x="1643" y="209"/>
                    <a:pt x="1637" y="235"/>
                    <a:pt x="1636" y="222"/>
                  </a:cubicBezTo>
                  <a:cubicBezTo>
                    <a:pt x="1636" y="208"/>
                    <a:pt x="1640" y="201"/>
                    <a:pt x="1644" y="193"/>
                  </a:cubicBezTo>
                  <a:cubicBezTo>
                    <a:pt x="1642" y="193"/>
                    <a:pt x="1640" y="192"/>
                    <a:pt x="1639" y="193"/>
                  </a:cubicBezTo>
                  <a:cubicBezTo>
                    <a:pt x="1635" y="194"/>
                    <a:pt x="1637" y="196"/>
                    <a:pt x="1636" y="200"/>
                  </a:cubicBezTo>
                  <a:cubicBezTo>
                    <a:pt x="1636" y="200"/>
                    <a:pt x="1633" y="200"/>
                    <a:pt x="1633" y="200"/>
                  </a:cubicBezTo>
                  <a:cubicBezTo>
                    <a:pt x="1632" y="203"/>
                    <a:pt x="1634" y="211"/>
                    <a:pt x="1633" y="215"/>
                  </a:cubicBezTo>
                  <a:cubicBezTo>
                    <a:pt x="1633" y="219"/>
                    <a:pt x="1630" y="220"/>
                    <a:pt x="1631" y="226"/>
                  </a:cubicBezTo>
                  <a:cubicBezTo>
                    <a:pt x="1631" y="231"/>
                    <a:pt x="1635" y="233"/>
                    <a:pt x="1633" y="241"/>
                  </a:cubicBezTo>
                  <a:cubicBezTo>
                    <a:pt x="1628" y="234"/>
                    <a:pt x="1627" y="240"/>
                    <a:pt x="1620" y="241"/>
                  </a:cubicBezTo>
                  <a:cubicBezTo>
                    <a:pt x="1620" y="231"/>
                    <a:pt x="1608" y="237"/>
                    <a:pt x="1612" y="222"/>
                  </a:cubicBezTo>
                  <a:cubicBezTo>
                    <a:pt x="1615" y="223"/>
                    <a:pt x="1617" y="227"/>
                    <a:pt x="1623" y="226"/>
                  </a:cubicBezTo>
                  <a:cubicBezTo>
                    <a:pt x="1622" y="215"/>
                    <a:pt x="1623" y="213"/>
                    <a:pt x="1628" y="218"/>
                  </a:cubicBezTo>
                  <a:cubicBezTo>
                    <a:pt x="1625" y="212"/>
                    <a:pt x="1629" y="201"/>
                    <a:pt x="1630" y="200"/>
                  </a:cubicBezTo>
                  <a:cubicBezTo>
                    <a:pt x="1629" y="199"/>
                    <a:pt x="1624" y="199"/>
                    <a:pt x="1625" y="196"/>
                  </a:cubicBezTo>
                  <a:cubicBezTo>
                    <a:pt x="1627" y="193"/>
                    <a:pt x="1637" y="199"/>
                    <a:pt x="1633" y="189"/>
                  </a:cubicBezTo>
                  <a:cubicBezTo>
                    <a:pt x="1629" y="189"/>
                    <a:pt x="1624" y="189"/>
                    <a:pt x="1620" y="189"/>
                  </a:cubicBezTo>
                  <a:cubicBezTo>
                    <a:pt x="1620" y="202"/>
                    <a:pt x="1621" y="215"/>
                    <a:pt x="1614" y="218"/>
                  </a:cubicBezTo>
                  <a:cubicBezTo>
                    <a:pt x="1614" y="211"/>
                    <a:pt x="1607" y="224"/>
                    <a:pt x="1606" y="211"/>
                  </a:cubicBezTo>
                  <a:cubicBezTo>
                    <a:pt x="1612" y="210"/>
                    <a:pt x="1618" y="210"/>
                    <a:pt x="1617" y="200"/>
                  </a:cubicBezTo>
                  <a:cubicBezTo>
                    <a:pt x="1612" y="198"/>
                    <a:pt x="1601" y="205"/>
                    <a:pt x="1601" y="196"/>
                  </a:cubicBezTo>
                  <a:cubicBezTo>
                    <a:pt x="1602" y="191"/>
                    <a:pt x="1605" y="189"/>
                    <a:pt x="1604" y="182"/>
                  </a:cubicBezTo>
                  <a:cubicBezTo>
                    <a:pt x="1590" y="179"/>
                    <a:pt x="1607" y="180"/>
                    <a:pt x="1606" y="174"/>
                  </a:cubicBezTo>
                  <a:cubicBezTo>
                    <a:pt x="1603" y="174"/>
                    <a:pt x="1599" y="175"/>
                    <a:pt x="1598" y="170"/>
                  </a:cubicBezTo>
                  <a:cubicBezTo>
                    <a:pt x="1610" y="173"/>
                    <a:pt x="1596" y="163"/>
                    <a:pt x="1604" y="163"/>
                  </a:cubicBezTo>
                  <a:cubicBezTo>
                    <a:pt x="1606" y="176"/>
                    <a:pt x="1618" y="182"/>
                    <a:pt x="1612" y="196"/>
                  </a:cubicBezTo>
                  <a:cubicBezTo>
                    <a:pt x="1622" y="199"/>
                    <a:pt x="1615" y="179"/>
                    <a:pt x="1617" y="170"/>
                  </a:cubicBezTo>
                  <a:cubicBezTo>
                    <a:pt x="1618" y="169"/>
                    <a:pt x="1624" y="171"/>
                    <a:pt x="1623" y="167"/>
                  </a:cubicBezTo>
                  <a:cubicBezTo>
                    <a:pt x="1621" y="167"/>
                    <a:pt x="1619" y="166"/>
                    <a:pt x="1620" y="163"/>
                  </a:cubicBezTo>
                  <a:cubicBezTo>
                    <a:pt x="1617" y="163"/>
                    <a:pt x="1617" y="160"/>
                    <a:pt x="1614" y="159"/>
                  </a:cubicBezTo>
                  <a:cubicBezTo>
                    <a:pt x="1613" y="164"/>
                    <a:pt x="1612" y="168"/>
                    <a:pt x="1609" y="170"/>
                  </a:cubicBezTo>
                  <a:cubicBezTo>
                    <a:pt x="1614" y="153"/>
                    <a:pt x="1602" y="159"/>
                    <a:pt x="1598" y="152"/>
                  </a:cubicBezTo>
                  <a:cubicBezTo>
                    <a:pt x="1598" y="147"/>
                    <a:pt x="1614" y="147"/>
                    <a:pt x="1604" y="141"/>
                  </a:cubicBezTo>
                  <a:cubicBezTo>
                    <a:pt x="1602" y="152"/>
                    <a:pt x="1600" y="135"/>
                    <a:pt x="1596" y="137"/>
                  </a:cubicBezTo>
                  <a:cubicBezTo>
                    <a:pt x="1596" y="143"/>
                    <a:pt x="1588" y="139"/>
                    <a:pt x="1588" y="145"/>
                  </a:cubicBezTo>
                  <a:cubicBezTo>
                    <a:pt x="1590" y="148"/>
                    <a:pt x="1597" y="146"/>
                    <a:pt x="1596" y="156"/>
                  </a:cubicBezTo>
                  <a:cubicBezTo>
                    <a:pt x="1579" y="151"/>
                    <a:pt x="1596" y="170"/>
                    <a:pt x="1588" y="174"/>
                  </a:cubicBezTo>
                  <a:cubicBezTo>
                    <a:pt x="1584" y="174"/>
                    <a:pt x="1582" y="168"/>
                    <a:pt x="1580" y="174"/>
                  </a:cubicBezTo>
                  <a:cubicBezTo>
                    <a:pt x="1591" y="170"/>
                    <a:pt x="1585" y="192"/>
                    <a:pt x="1585" y="193"/>
                  </a:cubicBezTo>
                  <a:cubicBezTo>
                    <a:pt x="1585" y="194"/>
                    <a:pt x="1592" y="192"/>
                    <a:pt x="1590" y="196"/>
                  </a:cubicBezTo>
                  <a:cubicBezTo>
                    <a:pt x="1583" y="199"/>
                    <a:pt x="1588" y="217"/>
                    <a:pt x="1580" y="218"/>
                  </a:cubicBezTo>
                  <a:cubicBezTo>
                    <a:pt x="1574" y="217"/>
                    <a:pt x="1574" y="208"/>
                    <a:pt x="1569" y="207"/>
                  </a:cubicBezTo>
                  <a:cubicBezTo>
                    <a:pt x="1568" y="210"/>
                    <a:pt x="1569" y="215"/>
                    <a:pt x="1566" y="215"/>
                  </a:cubicBezTo>
                  <a:cubicBezTo>
                    <a:pt x="1564" y="204"/>
                    <a:pt x="1570" y="205"/>
                    <a:pt x="1569" y="196"/>
                  </a:cubicBezTo>
                  <a:cubicBezTo>
                    <a:pt x="1564" y="198"/>
                    <a:pt x="1560" y="183"/>
                    <a:pt x="1566" y="182"/>
                  </a:cubicBezTo>
                  <a:cubicBezTo>
                    <a:pt x="1566" y="188"/>
                    <a:pt x="1569" y="190"/>
                    <a:pt x="1574" y="189"/>
                  </a:cubicBezTo>
                  <a:cubicBezTo>
                    <a:pt x="1573" y="199"/>
                    <a:pt x="1575" y="205"/>
                    <a:pt x="1582" y="204"/>
                  </a:cubicBezTo>
                  <a:cubicBezTo>
                    <a:pt x="1581" y="191"/>
                    <a:pt x="1575" y="199"/>
                    <a:pt x="1580" y="185"/>
                  </a:cubicBezTo>
                  <a:cubicBezTo>
                    <a:pt x="1568" y="190"/>
                    <a:pt x="1575" y="170"/>
                    <a:pt x="1569" y="167"/>
                  </a:cubicBezTo>
                  <a:cubicBezTo>
                    <a:pt x="1565" y="181"/>
                    <a:pt x="1568" y="156"/>
                    <a:pt x="1563" y="159"/>
                  </a:cubicBezTo>
                  <a:cubicBezTo>
                    <a:pt x="1558" y="172"/>
                    <a:pt x="1554" y="153"/>
                    <a:pt x="1547" y="156"/>
                  </a:cubicBezTo>
                  <a:cubicBezTo>
                    <a:pt x="1550" y="161"/>
                    <a:pt x="1548" y="171"/>
                    <a:pt x="1550" y="174"/>
                  </a:cubicBezTo>
                  <a:cubicBezTo>
                    <a:pt x="1552" y="177"/>
                    <a:pt x="1557" y="177"/>
                    <a:pt x="1558" y="182"/>
                  </a:cubicBezTo>
                  <a:cubicBezTo>
                    <a:pt x="1554" y="182"/>
                    <a:pt x="1553" y="188"/>
                    <a:pt x="1550" y="189"/>
                  </a:cubicBezTo>
                  <a:cubicBezTo>
                    <a:pt x="1547" y="176"/>
                    <a:pt x="1530" y="182"/>
                    <a:pt x="1523" y="174"/>
                  </a:cubicBezTo>
                  <a:cubicBezTo>
                    <a:pt x="1522" y="177"/>
                    <a:pt x="1521" y="178"/>
                    <a:pt x="1518" y="178"/>
                  </a:cubicBezTo>
                  <a:cubicBezTo>
                    <a:pt x="1518" y="166"/>
                    <a:pt x="1510" y="187"/>
                    <a:pt x="1510" y="174"/>
                  </a:cubicBezTo>
                  <a:cubicBezTo>
                    <a:pt x="1510" y="169"/>
                    <a:pt x="1514" y="168"/>
                    <a:pt x="1515" y="163"/>
                  </a:cubicBezTo>
                  <a:cubicBezTo>
                    <a:pt x="1504" y="168"/>
                    <a:pt x="1506" y="156"/>
                    <a:pt x="1502" y="152"/>
                  </a:cubicBezTo>
                  <a:cubicBezTo>
                    <a:pt x="1501" y="156"/>
                    <a:pt x="1501" y="161"/>
                    <a:pt x="1496" y="159"/>
                  </a:cubicBezTo>
                  <a:cubicBezTo>
                    <a:pt x="1498" y="156"/>
                    <a:pt x="1502" y="146"/>
                    <a:pt x="1493" y="148"/>
                  </a:cubicBezTo>
                  <a:cubicBezTo>
                    <a:pt x="1485" y="147"/>
                    <a:pt x="1500" y="159"/>
                    <a:pt x="1491" y="159"/>
                  </a:cubicBezTo>
                  <a:cubicBezTo>
                    <a:pt x="1489" y="154"/>
                    <a:pt x="1487" y="150"/>
                    <a:pt x="1483" y="148"/>
                  </a:cubicBezTo>
                  <a:cubicBezTo>
                    <a:pt x="1483" y="164"/>
                    <a:pt x="1458" y="151"/>
                    <a:pt x="1450" y="156"/>
                  </a:cubicBezTo>
                  <a:cubicBezTo>
                    <a:pt x="1450" y="152"/>
                    <a:pt x="1450" y="148"/>
                    <a:pt x="1450" y="145"/>
                  </a:cubicBezTo>
                  <a:cubicBezTo>
                    <a:pt x="1445" y="143"/>
                    <a:pt x="1445" y="151"/>
                    <a:pt x="1442" y="152"/>
                  </a:cubicBezTo>
                  <a:cubicBezTo>
                    <a:pt x="1438" y="154"/>
                    <a:pt x="1433" y="151"/>
                    <a:pt x="1429" y="152"/>
                  </a:cubicBezTo>
                  <a:cubicBezTo>
                    <a:pt x="1428" y="150"/>
                    <a:pt x="1430" y="142"/>
                    <a:pt x="1429" y="141"/>
                  </a:cubicBezTo>
                  <a:cubicBezTo>
                    <a:pt x="1425" y="137"/>
                    <a:pt x="1406" y="140"/>
                    <a:pt x="1391" y="137"/>
                  </a:cubicBezTo>
                  <a:cubicBezTo>
                    <a:pt x="1388" y="137"/>
                    <a:pt x="1388" y="134"/>
                    <a:pt x="1383" y="133"/>
                  </a:cubicBezTo>
                  <a:cubicBezTo>
                    <a:pt x="1375" y="133"/>
                    <a:pt x="1377" y="140"/>
                    <a:pt x="1373" y="133"/>
                  </a:cubicBezTo>
                  <a:cubicBezTo>
                    <a:pt x="1370" y="130"/>
                    <a:pt x="1351" y="133"/>
                    <a:pt x="1354" y="137"/>
                  </a:cubicBezTo>
                  <a:cubicBezTo>
                    <a:pt x="1355" y="144"/>
                    <a:pt x="1366" y="137"/>
                    <a:pt x="1367" y="145"/>
                  </a:cubicBezTo>
                  <a:cubicBezTo>
                    <a:pt x="1362" y="152"/>
                    <a:pt x="1368" y="161"/>
                    <a:pt x="1367" y="163"/>
                  </a:cubicBezTo>
                  <a:cubicBezTo>
                    <a:pt x="1367" y="164"/>
                    <a:pt x="1362" y="162"/>
                    <a:pt x="1362" y="163"/>
                  </a:cubicBezTo>
                  <a:cubicBezTo>
                    <a:pt x="1361" y="164"/>
                    <a:pt x="1362" y="170"/>
                    <a:pt x="1362" y="170"/>
                  </a:cubicBezTo>
                  <a:cubicBezTo>
                    <a:pt x="1359" y="172"/>
                    <a:pt x="1354" y="170"/>
                    <a:pt x="1354" y="167"/>
                  </a:cubicBezTo>
                  <a:cubicBezTo>
                    <a:pt x="1357" y="166"/>
                    <a:pt x="1360" y="166"/>
                    <a:pt x="1359" y="159"/>
                  </a:cubicBezTo>
                  <a:cubicBezTo>
                    <a:pt x="1352" y="162"/>
                    <a:pt x="1349" y="158"/>
                    <a:pt x="1351" y="148"/>
                  </a:cubicBezTo>
                  <a:cubicBezTo>
                    <a:pt x="1354" y="153"/>
                    <a:pt x="1364" y="154"/>
                    <a:pt x="1364" y="145"/>
                  </a:cubicBezTo>
                  <a:cubicBezTo>
                    <a:pt x="1352" y="148"/>
                    <a:pt x="1351" y="136"/>
                    <a:pt x="1346" y="130"/>
                  </a:cubicBezTo>
                  <a:cubicBezTo>
                    <a:pt x="1345" y="135"/>
                    <a:pt x="1347" y="138"/>
                    <a:pt x="1348" y="141"/>
                  </a:cubicBezTo>
                  <a:cubicBezTo>
                    <a:pt x="1345" y="141"/>
                    <a:pt x="1342" y="143"/>
                    <a:pt x="1340" y="145"/>
                  </a:cubicBezTo>
                  <a:cubicBezTo>
                    <a:pt x="1339" y="140"/>
                    <a:pt x="1332" y="144"/>
                    <a:pt x="1329" y="141"/>
                  </a:cubicBezTo>
                  <a:cubicBezTo>
                    <a:pt x="1328" y="139"/>
                    <a:pt x="1330" y="132"/>
                    <a:pt x="1327" y="133"/>
                  </a:cubicBezTo>
                  <a:cubicBezTo>
                    <a:pt x="1322" y="151"/>
                    <a:pt x="1306" y="131"/>
                    <a:pt x="1297" y="141"/>
                  </a:cubicBezTo>
                  <a:cubicBezTo>
                    <a:pt x="1297" y="136"/>
                    <a:pt x="1298" y="133"/>
                    <a:pt x="1300" y="130"/>
                  </a:cubicBezTo>
                  <a:cubicBezTo>
                    <a:pt x="1291" y="132"/>
                    <a:pt x="1293" y="117"/>
                    <a:pt x="1286" y="126"/>
                  </a:cubicBezTo>
                  <a:cubicBezTo>
                    <a:pt x="1287" y="121"/>
                    <a:pt x="1285" y="118"/>
                    <a:pt x="1284" y="115"/>
                  </a:cubicBezTo>
                  <a:cubicBezTo>
                    <a:pt x="1283" y="112"/>
                    <a:pt x="1284" y="108"/>
                    <a:pt x="1281" y="108"/>
                  </a:cubicBezTo>
                  <a:cubicBezTo>
                    <a:pt x="1281" y="117"/>
                    <a:pt x="1280" y="123"/>
                    <a:pt x="1276" y="126"/>
                  </a:cubicBezTo>
                  <a:cubicBezTo>
                    <a:pt x="1268" y="131"/>
                    <a:pt x="1262" y="116"/>
                    <a:pt x="1260" y="126"/>
                  </a:cubicBezTo>
                  <a:cubicBezTo>
                    <a:pt x="1262" y="127"/>
                    <a:pt x="1263" y="129"/>
                    <a:pt x="1262" y="133"/>
                  </a:cubicBezTo>
                  <a:cubicBezTo>
                    <a:pt x="1255" y="133"/>
                    <a:pt x="1248" y="133"/>
                    <a:pt x="1241" y="133"/>
                  </a:cubicBezTo>
                  <a:cubicBezTo>
                    <a:pt x="1248" y="120"/>
                    <a:pt x="1234" y="134"/>
                    <a:pt x="1225" y="130"/>
                  </a:cubicBezTo>
                  <a:cubicBezTo>
                    <a:pt x="1225" y="109"/>
                    <a:pt x="1222" y="127"/>
                    <a:pt x="1219" y="126"/>
                  </a:cubicBezTo>
                  <a:cubicBezTo>
                    <a:pt x="1217" y="125"/>
                    <a:pt x="1220" y="119"/>
                    <a:pt x="1217" y="119"/>
                  </a:cubicBezTo>
                  <a:cubicBezTo>
                    <a:pt x="1216" y="119"/>
                    <a:pt x="1216" y="126"/>
                    <a:pt x="1214" y="126"/>
                  </a:cubicBezTo>
                  <a:cubicBezTo>
                    <a:pt x="1213" y="126"/>
                    <a:pt x="1211" y="117"/>
                    <a:pt x="1208" y="119"/>
                  </a:cubicBezTo>
                  <a:cubicBezTo>
                    <a:pt x="1208" y="122"/>
                    <a:pt x="1208" y="126"/>
                    <a:pt x="1206" y="126"/>
                  </a:cubicBezTo>
                  <a:cubicBezTo>
                    <a:pt x="1205" y="122"/>
                    <a:pt x="1206" y="116"/>
                    <a:pt x="1203" y="115"/>
                  </a:cubicBezTo>
                  <a:cubicBezTo>
                    <a:pt x="1197" y="120"/>
                    <a:pt x="1207" y="124"/>
                    <a:pt x="1200" y="126"/>
                  </a:cubicBezTo>
                  <a:cubicBezTo>
                    <a:pt x="1197" y="125"/>
                    <a:pt x="1197" y="120"/>
                    <a:pt x="1198" y="115"/>
                  </a:cubicBezTo>
                  <a:cubicBezTo>
                    <a:pt x="1190" y="116"/>
                    <a:pt x="1179" y="112"/>
                    <a:pt x="1179" y="122"/>
                  </a:cubicBezTo>
                  <a:cubicBezTo>
                    <a:pt x="1182" y="123"/>
                    <a:pt x="1187" y="122"/>
                    <a:pt x="1187" y="126"/>
                  </a:cubicBezTo>
                  <a:cubicBezTo>
                    <a:pt x="1182" y="126"/>
                    <a:pt x="1178" y="126"/>
                    <a:pt x="1173" y="126"/>
                  </a:cubicBezTo>
                  <a:cubicBezTo>
                    <a:pt x="1170" y="121"/>
                    <a:pt x="1172" y="105"/>
                    <a:pt x="1165" y="115"/>
                  </a:cubicBezTo>
                  <a:cubicBezTo>
                    <a:pt x="1169" y="103"/>
                    <a:pt x="1161" y="106"/>
                    <a:pt x="1160" y="100"/>
                  </a:cubicBezTo>
                  <a:cubicBezTo>
                    <a:pt x="1164" y="100"/>
                    <a:pt x="1170" y="101"/>
                    <a:pt x="1171" y="96"/>
                  </a:cubicBezTo>
                  <a:cubicBezTo>
                    <a:pt x="1163" y="97"/>
                    <a:pt x="1168" y="78"/>
                    <a:pt x="1160" y="78"/>
                  </a:cubicBezTo>
                  <a:cubicBezTo>
                    <a:pt x="1157" y="87"/>
                    <a:pt x="1168" y="93"/>
                    <a:pt x="1160" y="96"/>
                  </a:cubicBezTo>
                  <a:cubicBezTo>
                    <a:pt x="1158" y="94"/>
                    <a:pt x="1145" y="88"/>
                    <a:pt x="1144" y="96"/>
                  </a:cubicBezTo>
                  <a:cubicBezTo>
                    <a:pt x="1147" y="100"/>
                    <a:pt x="1151" y="101"/>
                    <a:pt x="1157" y="100"/>
                  </a:cubicBezTo>
                  <a:cubicBezTo>
                    <a:pt x="1161" y="105"/>
                    <a:pt x="1161" y="118"/>
                    <a:pt x="1155" y="119"/>
                  </a:cubicBezTo>
                  <a:cubicBezTo>
                    <a:pt x="1154" y="112"/>
                    <a:pt x="1145" y="98"/>
                    <a:pt x="1141" y="108"/>
                  </a:cubicBezTo>
                  <a:cubicBezTo>
                    <a:pt x="1144" y="109"/>
                    <a:pt x="1145" y="112"/>
                    <a:pt x="1147" y="115"/>
                  </a:cubicBezTo>
                  <a:cubicBezTo>
                    <a:pt x="1149" y="118"/>
                    <a:pt x="1152" y="119"/>
                    <a:pt x="1155" y="122"/>
                  </a:cubicBezTo>
                  <a:cubicBezTo>
                    <a:pt x="1156" y="123"/>
                    <a:pt x="1154" y="128"/>
                    <a:pt x="1155" y="130"/>
                  </a:cubicBezTo>
                  <a:cubicBezTo>
                    <a:pt x="1156" y="132"/>
                    <a:pt x="1161" y="129"/>
                    <a:pt x="1160" y="133"/>
                  </a:cubicBezTo>
                  <a:cubicBezTo>
                    <a:pt x="1155" y="134"/>
                    <a:pt x="1162" y="140"/>
                    <a:pt x="1157" y="141"/>
                  </a:cubicBezTo>
                  <a:cubicBezTo>
                    <a:pt x="1151" y="135"/>
                    <a:pt x="1147" y="142"/>
                    <a:pt x="1144" y="137"/>
                  </a:cubicBezTo>
                  <a:cubicBezTo>
                    <a:pt x="1140" y="131"/>
                    <a:pt x="1131" y="142"/>
                    <a:pt x="1131" y="141"/>
                  </a:cubicBezTo>
                  <a:cubicBezTo>
                    <a:pt x="1134" y="132"/>
                    <a:pt x="1120" y="129"/>
                    <a:pt x="1128" y="126"/>
                  </a:cubicBezTo>
                  <a:cubicBezTo>
                    <a:pt x="1134" y="127"/>
                    <a:pt x="1139" y="134"/>
                    <a:pt x="1141" y="122"/>
                  </a:cubicBezTo>
                  <a:cubicBezTo>
                    <a:pt x="1134" y="123"/>
                    <a:pt x="1132" y="117"/>
                    <a:pt x="1133" y="108"/>
                  </a:cubicBezTo>
                  <a:cubicBezTo>
                    <a:pt x="1124" y="111"/>
                    <a:pt x="1113" y="109"/>
                    <a:pt x="1098" y="104"/>
                  </a:cubicBezTo>
                  <a:cubicBezTo>
                    <a:pt x="1092" y="109"/>
                    <a:pt x="1102" y="113"/>
                    <a:pt x="1096" y="115"/>
                  </a:cubicBezTo>
                  <a:cubicBezTo>
                    <a:pt x="1091" y="115"/>
                    <a:pt x="1086" y="114"/>
                    <a:pt x="1087" y="122"/>
                  </a:cubicBezTo>
                  <a:cubicBezTo>
                    <a:pt x="1097" y="123"/>
                    <a:pt x="1095" y="117"/>
                    <a:pt x="1098" y="122"/>
                  </a:cubicBezTo>
                  <a:cubicBezTo>
                    <a:pt x="1099" y="123"/>
                    <a:pt x="1103" y="122"/>
                    <a:pt x="1104" y="122"/>
                  </a:cubicBezTo>
                  <a:cubicBezTo>
                    <a:pt x="1109" y="123"/>
                    <a:pt x="1123" y="119"/>
                    <a:pt x="1122" y="130"/>
                  </a:cubicBezTo>
                  <a:cubicBezTo>
                    <a:pt x="1119" y="130"/>
                    <a:pt x="1120" y="136"/>
                    <a:pt x="1117" y="137"/>
                  </a:cubicBezTo>
                  <a:cubicBezTo>
                    <a:pt x="1117" y="135"/>
                    <a:pt x="1117" y="132"/>
                    <a:pt x="1117" y="130"/>
                  </a:cubicBezTo>
                  <a:cubicBezTo>
                    <a:pt x="1104" y="125"/>
                    <a:pt x="1081" y="135"/>
                    <a:pt x="1085" y="108"/>
                  </a:cubicBezTo>
                  <a:cubicBezTo>
                    <a:pt x="1079" y="105"/>
                    <a:pt x="1073" y="95"/>
                    <a:pt x="1071" y="108"/>
                  </a:cubicBezTo>
                  <a:cubicBezTo>
                    <a:pt x="1076" y="105"/>
                    <a:pt x="1083" y="115"/>
                    <a:pt x="1077" y="115"/>
                  </a:cubicBezTo>
                  <a:cubicBezTo>
                    <a:pt x="1069" y="112"/>
                    <a:pt x="1070" y="101"/>
                    <a:pt x="1063" y="100"/>
                  </a:cubicBezTo>
                  <a:cubicBezTo>
                    <a:pt x="1063" y="100"/>
                    <a:pt x="1063" y="106"/>
                    <a:pt x="1061" y="104"/>
                  </a:cubicBezTo>
                  <a:cubicBezTo>
                    <a:pt x="1059" y="103"/>
                    <a:pt x="1060" y="94"/>
                    <a:pt x="1058" y="93"/>
                  </a:cubicBezTo>
                  <a:cubicBezTo>
                    <a:pt x="1055" y="91"/>
                    <a:pt x="1050" y="94"/>
                    <a:pt x="1047" y="93"/>
                  </a:cubicBezTo>
                  <a:cubicBezTo>
                    <a:pt x="1048" y="102"/>
                    <a:pt x="1043" y="104"/>
                    <a:pt x="1039" y="108"/>
                  </a:cubicBezTo>
                  <a:cubicBezTo>
                    <a:pt x="1041" y="93"/>
                    <a:pt x="1031" y="110"/>
                    <a:pt x="1028" y="111"/>
                  </a:cubicBezTo>
                  <a:cubicBezTo>
                    <a:pt x="1028" y="111"/>
                    <a:pt x="1029" y="104"/>
                    <a:pt x="1028" y="104"/>
                  </a:cubicBezTo>
                  <a:cubicBezTo>
                    <a:pt x="1025" y="99"/>
                    <a:pt x="1017" y="111"/>
                    <a:pt x="1020" y="115"/>
                  </a:cubicBezTo>
                  <a:cubicBezTo>
                    <a:pt x="1031" y="116"/>
                    <a:pt x="1046" y="111"/>
                    <a:pt x="1050" y="122"/>
                  </a:cubicBezTo>
                  <a:cubicBezTo>
                    <a:pt x="1039" y="118"/>
                    <a:pt x="1033" y="124"/>
                    <a:pt x="1018" y="122"/>
                  </a:cubicBezTo>
                  <a:cubicBezTo>
                    <a:pt x="1015" y="105"/>
                    <a:pt x="1020" y="94"/>
                    <a:pt x="1012" y="89"/>
                  </a:cubicBezTo>
                  <a:cubicBezTo>
                    <a:pt x="1008" y="103"/>
                    <a:pt x="1014" y="113"/>
                    <a:pt x="1009" y="119"/>
                  </a:cubicBezTo>
                  <a:cubicBezTo>
                    <a:pt x="1007" y="114"/>
                    <a:pt x="1008" y="111"/>
                    <a:pt x="1007" y="104"/>
                  </a:cubicBezTo>
                  <a:cubicBezTo>
                    <a:pt x="1006" y="101"/>
                    <a:pt x="1004" y="101"/>
                    <a:pt x="1004" y="100"/>
                  </a:cubicBezTo>
                  <a:cubicBezTo>
                    <a:pt x="1003" y="97"/>
                    <a:pt x="1007" y="95"/>
                    <a:pt x="1007" y="93"/>
                  </a:cubicBezTo>
                  <a:cubicBezTo>
                    <a:pt x="1006" y="90"/>
                    <a:pt x="999" y="89"/>
                    <a:pt x="1001" y="82"/>
                  </a:cubicBezTo>
                  <a:cubicBezTo>
                    <a:pt x="1005" y="81"/>
                    <a:pt x="1009" y="82"/>
                    <a:pt x="1009" y="78"/>
                  </a:cubicBezTo>
                  <a:cubicBezTo>
                    <a:pt x="1006" y="78"/>
                    <a:pt x="1002" y="78"/>
                    <a:pt x="999" y="78"/>
                  </a:cubicBezTo>
                  <a:cubicBezTo>
                    <a:pt x="999" y="84"/>
                    <a:pt x="998" y="89"/>
                    <a:pt x="996" y="93"/>
                  </a:cubicBezTo>
                  <a:cubicBezTo>
                    <a:pt x="998" y="94"/>
                    <a:pt x="1008" y="103"/>
                    <a:pt x="1001" y="104"/>
                  </a:cubicBezTo>
                  <a:cubicBezTo>
                    <a:pt x="993" y="107"/>
                    <a:pt x="998" y="92"/>
                    <a:pt x="991" y="93"/>
                  </a:cubicBezTo>
                  <a:cubicBezTo>
                    <a:pt x="982" y="104"/>
                    <a:pt x="968" y="88"/>
                    <a:pt x="966" y="96"/>
                  </a:cubicBezTo>
                  <a:cubicBezTo>
                    <a:pt x="970" y="98"/>
                    <a:pt x="972" y="100"/>
                    <a:pt x="975" y="104"/>
                  </a:cubicBezTo>
                  <a:cubicBezTo>
                    <a:pt x="972" y="107"/>
                    <a:pt x="974" y="111"/>
                    <a:pt x="972" y="122"/>
                  </a:cubicBezTo>
                  <a:cubicBezTo>
                    <a:pt x="970" y="124"/>
                    <a:pt x="959" y="131"/>
                    <a:pt x="958" y="122"/>
                  </a:cubicBezTo>
                  <a:cubicBezTo>
                    <a:pt x="958" y="115"/>
                    <a:pt x="962" y="115"/>
                    <a:pt x="964" y="111"/>
                  </a:cubicBezTo>
                  <a:cubicBezTo>
                    <a:pt x="959" y="110"/>
                    <a:pt x="965" y="105"/>
                    <a:pt x="961" y="104"/>
                  </a:cubicBezTo>
                  <a:cubicBezTo>
                    <a:pt x="959" y="113"/>
                    <a:pt x="952" y="91"/>
                    <a:pt x="950" y="108"/>
                  </a:cubicBezTo>
                  <a:cubicBezTo>
                    <a:pt x="952" y="108"/>
                    <a:pt x="956" y="108"/>
                    <a:pt x="956" y="111"/>
                  </a:cubicBezTo>
                  <a:cubicBezTo>
                    <a:pt x="951" y="111"/>
                    <a:pt x="947" y="109"/>
                    <a:pt x="945" y="104"/>
                  </a:cubicBezTo>
                  <a:cubicBezTo>
                    <a:pt x="947" y="95"/>
                    <a:pt x="949" y="87"/>
                    <a:pt x="940" y="85"/>
                  </a:cubicBezTo>
                  <a:cubicBezTo>
                    <a:pt x="937" y="99"/>
                    <a:pt x="947" y="108"/>
                    <a:pt x="937" y="111"/>
                  </a:cubicBezTo>
                  <a:cubicBezTo>
                    <a:pt x="935" y="94"/>
                    <a:pt x="924" y="96"/>
                    <a:pt x="918" y="108"/>
                  </a:cubicBezTo>
                  <a:cubicBezTo>
                    <a:pt x="917" y="99"/>
                    <a:pt x="919" y="93"/>
                    <a:pt x="921" y="89"/>
                  </a:cubicBezTo>
                  <a:cubicBezTo>
                    <a:pt x="912" y="83"/>
                    <a:pt x="904" y="87"/>
                    <a:pt x="894" y="89"/>
                  </a:cubicBezTo>
                  <a:cubicBezTo>
                    <a:pt x="890" y="84"/>
                    <a:pt x="890" y="75"/>
                    <a:pt x="894" y="71"/>
                  </a:cubicBezTo>
                  <a:cubicBezTo>
                    <a:pt x="890" y="71"/>
                    <a:pt x="887" y="71"/>
                    <a:pt x="883" y="71"/>
                  </a:cubicBezTo>
                  <a:cubicBezTo>
                    <a:pt x="881" y="82"/>
                    <a:pt x="892" y="75"/>
                    <a:pt x="889" y="89"/>
                  </a:cubicBezTo>
                  <a:cubicBezTo>
                    <a:pt x="875" y="87"/>
                    <a:pt x="875" y="90"/>
                    <a:pt x="867" y="82"/>
                  </a:cubicBezTo>
                  <a:cubicBezTo>
                    <a:pt x="865" y="94"/>
                    <a:pt x="858" y="80"/>
                    <a:pt x="856" y="82"/>
                  </a:cubicBezTo>
                  <a:cubicBezTo>
                    <a:pt x="854" y="83"/>
                    <a:pt x="856" y="95"/>
                    <a:pt x="851" y="93"/>
                  </a:cubicBezTo>
                  <a:cubicBezTo>
                    <a:pt x="853" y="81"/>
                    <a:pt x="847" y="81"/>
                    <a:pt x="843" y="78"/>
                  </a:cubicBezTo>
                  <a:cubicBezTo>
                    <a:pt x="841" y="96"/>
                    <a:pt x="839" y="103"/>
                    <a:pt x="843" y="115"/>
                  </a:cubicBezTo>
                  <a:cubicBezTo>
                    <a:pt x="838" y="115"/>
                    <a:pt x="834" y="115"/>
                    <a:pt x="829" y="115"/>
                  </a:cubicBezTo>
                  <a:cubicBezTo>
                    <a:pt x="829" y="109"/>
                    <a:pt x="829" y="103"/>
                    <a:pt x="827" y="100"/>
                  </a:cubicBezTo>
                  <a:cubicBezTo>
                    <a:pt x="829" y="94"/>
                    <a:pt x="840" y="101"/>
                    <a:pt x="837" y="89"/>
                  </a:cubicBezTo>
                  <a:cubicBezTo>
                    <a:pt x="830" y="90"/>
                    <a:pt x="826" y="88"/>
                    <a:pt x="827" y="78"/>
                  </a:cubicBezTo>
                  <a:cubicBezTo>
                    <a:pt x="818" y="75"/>
                    <a:pt x="823" y="91"/>
                    <a:pt x="813" y="85"/>
                  </a:cubicBezTo>
                  <a:cubicBezTo>
                    <a:pt x="817" y="72"/>
                    <a:pt x="806" y="62"/>
                    <a:pt x="802" y="71"/>
                  </a:cubicBezTo>
                  <a:cubicBezTo>
                    <a:pt x="808" y="70"/>
                    <a:pt x="811" y="74"/>
                    <a:pt x="810" y="82"/>
                  </a:cubicBezTo>
                  <a:cubicBezTo>
                    <a:pt x="807" y="85"/>
                    <a:pt x="801" y="85"/>
                    <a:pt x="797" y="89"/>
                  </a:cubicBezTo>
                  <a:cubicBezTo>
                    <a:pt x="797" y="82"/>
                    <a:pt x="797" y="74"/>
                    <a:pt x="797" y="67"/>
                  </a:cubicBezTo>
                  <a:cubicBezTo>
                    <a:pt x="784" y="67"/>
                    <a:pt x="795" y="82"/>
                    <a:pt x="789" y="85"/>
                  </a:cubicBezTo>
                  <a:cubicBezTo>
                    <a:pt x="776" y="81"/>
                    <a:pt x="771" y="88"/>
                    <a:pt x="765" y="78"/>
                  </a:cubicBezTo>
                  <a:cubicBezTo>
                    <a:pt x="758" y="79"/>
                    <a:pt x="755" y="84"/>
                    <a:pt x="746" y="82"/>
                  </a:cubicBezTo>
                  <a:cubicBezTo>
                    <a:pt x="746" y="78"/>
                    <a:pt x="744" y="77"/>
                    <a:pt x="743" y="74"/>
                  </a:cubicBezTo>
                  <a:cubicBezTo>
                    <a:pt x="744" y="70"/>
                    <a:pt x="747" y="67"/>
                    <a:pt x="741" y="67"/>
                  </a:cubicBezTo>
                  <a:cubicBezTo>
                    <a:pt x="732" y="66"/>
                    <a:pt x="747" y="78"/>
                    <a:pt x="738" y="78"/>
                  </a:cubicBezTo>
                  <a:cubicBezTo>
                    <a:pt x="733" y="78"/>
                    <a:pt x="736" y="66"/>
                    <a:pt x="730" y="67"/>
                  </a:cubicBezTo>
                  <a:cubicBezTo>
                    <a:pt x="729" y="71"/>
                    <a:pt x="727" y="73"/>
                    <a:pt x="724" y="74"/>
                  </a:cubicBezTo>
                  <a:cubicBezTo>
                    <a:pt x="718" y="57"/>
                    <a:pt x="687" y="71"/>
                    <a:pt x="681" y="52"/>
                  </a:cubicBezTo>
                  <a:cubicBezTo>
                    <a:pt x="691" y="55"/>
                    <a:pt x="692" y="44"/>
                    <a:pt x="700" y="45"/>
                  </a:cubicBezTo>
                  <a:cubicBezTo>
                    <a:pt x="700" y="48"/>
                    <a:pt x="700" y="52"/>
                    <a:pt x="700" y="56"/>
                  </a:cubicBezTo>
                  <a:cubicBezTo>
                    <a:pt x="707" y="55"/>
                    <a:pt x="710" y="49"/>
                    <a:pt x="714" y="45"/>
                  </a:cubicBezTo>
                  <a:cubicBezTo>
                    <a:pt x="710" y="41"/>
                    <a:pt x="707" y="34"/>
                    <a:pt x="703" y="30"/>
                  </a:cubicBezTo>
                  <a:cubicBezTo>
                    <a:pt x="702" y="34"/>
                    <a:pt x="700" y="38"/>
                    <a:pt x="698" y="41"/>
                  </a:cubicBezTo>
                  <a:cubicBezTo>
                    <a:pt x="697" y="31"/>
                    <a:pt x="693" y="46"/>
                    <a:pt x="687" y="41"/>
                  </a:cubicBezTo>
                  <a:cubicBezTo>
                    <a:pt x="687" y="35"/>
                    <a:pt x="680" y="38"/>
                    <a:pt x="681" y="30"/>
                  </a:cubicBezTo>
                  <a:cubicBezTo>
                    <a:pt x="673" y="25"/>
                    <a:pt x="679" y="42"/>
                    <a:pt x="671" y="37"/>
                  </a:cubicBezTo>
                  <a:cubicBezTo>
                    <a:pt x="667" y="38"/>
                    <a:pt x="668" y="30"/>
                    <a:pt x="665" y="30"/>
                  </a:cubicBezTo>
                  <a:cubicBezTo>
                    <a:pt x="664" y="30"/>
                    <a:pt x="664" y="36"/>
                    <a:pt x="660" y="34"/>
                  </a:cubicBezTo>
                  <a:cubicBezTo>
                    <a:pt x="659" y="33"/>
                    <a:pt x="660" y="27"/>
                    <a:pt x="660" y="26"/>
                  </a:cubicBezTo>
                  <a:cubicBezTo>
                    <a:pt x="646" y="29"/>
                    <a:pt x="636" y="25"/>
                    <a:pt x="630" y="15"/>
                  </a:cubicBezTo>
                  <a:cubicBezTo>
                    <a:pt x="631" y="22"/>
                    <a:pt x="627" y="22"/>
                    <a:pt x="625" y="26"/>
                  </a:cubicBezTo>
                  <a:cubicBezTo>
                    <a:pt x="626" y="26"/>
                    <a:pt x="628" y="29"/>
                    <a:pt x="625" y="30"/>
                  </a:cubicBezTo>
                  <a:cubicBezTo>
                    <a:pt x="625" y="26"/>
                    <a:pt x="621" y="24"/>
                    <a:pt x="625" y="22"/>
                  </a:cubicBezTo>
                  <a:cubicBezTo>
                    <a:pt x="626" y="18"/>
                    <a:pt x="629" y="15"/>
                    <a:pt x="622" y="15"/>
                  </a:cubicBezTo>
                  <a:cubicBezTo>
                    <a:pt x="618" y="15"/>
                    <a:pt x="621" y="25"/>
                    <a:pt x="617" y="26"/>
                  </a:cubicBezTo>
                  <a:cubicBezTo>
                    <a:pt x="608" y="12"/>
                    <a:pt x="600" y="36"/>
                    <a:pt x="593" y="34"/>
                  </a:cubicBezTo>
                  <a:cubicBezTo>
                    <a:pt x="591" y="33"/>
                    <a:pt x="590" y="22"/>
                    <a:pt x="587" y="22"/>
                  </a:cubicBezTo>
                  <a:cubicBezTo>
                    <a:pt x="587" y="28"/>
                    <a:pt x="588" y="36"/>
                    <a:pt x="585" y="37"/>
                  </a:cubicBezTo>
                  <a:cubicBezTo>
                    <a:pt x="584" y="33"/>
                    <a:pt x="580" y="33"/>
                    <a:pt x="577" y="34"/>
                  </a:cubicBezTo>
                  <a:cubicBezTo>
                    <a:pt x="578" y="24"/>
                    <a:pt x="571" y="26"/>
                    <a:pt x="568" y="22"/>
                  </a:cubicBezTo>
                  <a:cubicBezTo>
                    <a:pt x="568" y="26"/>
                    <a:pt x="566" y="27"/>
                    <a:pt x="566" y="30"/>
                  </a:cubicBezTo>
                  <a:cubicBezTo>
                    <a:pt x="566" y="34"/>
                    <a:pt x="570" y="36"/>
                    <a:pt x="566" y="37"/>
                  </a:cubicBezTo>
                  <a:cubicBezTo>
                    <a:pt x="565" y="32"/>
                    <a:pt x="562" y="30"/>
                    <a:pt x="563" y="22"/>
                  </a:cubicBezTo>
                  <a:cubicBezTo>
                    <a:pt x="557" y="30"/>
                    <a:pt x="548" y="16"/>
                    <a:pt x="542" y="26"/>
                  </a:cubicBezTo>
                  <a:cubicBezTo>
                    <a:pt x="544" y="30"/>
                    <a:pt x="547" y="34"/>
                    <a:pt x="550" y="37"/>
                  </a:cubicBezTo>
                  <a:cubicBezTo>
                    <a:pt x="541" y="38"/>
                    <a:pt x="542" y="26"/>
                    <a:pt x="531" y="30"/>
                  </a:cubicBezTo>
                  <a:cubicBezTo>
                    <a:pt x="528" y="24"/>
                    <a:pt x="527" y="18"/>
                    <a:pt x="520" y="19"/>
                  </a:cubicBezTo>
                  <a:cubicBezTo>
                    <a:pt x="519" y="16"/>
                    <a:pt x="520" y="12"/>
                    <a:pt x="517" y="11"/>
                  </a:cubicBezTo>
                  <a:cubicBezTo>
                    <a:pt x="519" y="29"/>
                    <a:pt x="509" y="18"/>
                    <a:pt x="515" y="26"/>
                  </a:cubicBezTo>
                  <a:cubicBezTo>
                    <a:pt x="516" y="28"/>
                    <a:pt x="517" y="34"/>
                    <a:pt x="515" y="34"/>
                  </a:cubicBezTo>
                  <a:cubicBezTo>
                    <a:pt x="510" y="32"/>
                    <a:pt x="513" y="19"/>
                    <a:pt x="504" y="22"/>
                  </a:cubicBezTo>
                  <a:cubicBezTo>
                    <a:pt x="501" y="29"/>
                    <a:pt x="512" y="35"/>
                    <a:pt x="504" y="37"/>
                  </a:cubicBezTo>
                  <a:cubicBezTo>
                    <a:pt x="500" y="33"/>
                    <a:pt x="503" y="19"/>
                    <a:pt x="496" y="19"/>
                  </a:cubicBezTo>
                  <a:cubicBezTo>
                    <a:pt x="497" y="29"/>
                    <a:pt x="486" y="10"/>
                    <a:pt x="485" y="22"/>
                  </a:cubicBezTo>
                  <a:cubicBezTo>
                    <a:pt x="489" y="25"/>
                    <a:pt x="492" y="28"/>
                    <a:pt x="493" y="34"/>
                  </a:cubicBezTo>
                  <a:cubicBezTo>
                    <a:pt x="487" y="29"/>
                    <a:pt x="483" y="43"/>
                    <a:pt x="482" y="34"/>
                  </a:cubicBezTo>
                  <a:cubicBezTo>
                    <a:pt x="482" y="29"/>
                    <a:pt x="487" y="30"/>
                    <a:pt x="488" y="26"/>
                  </a:cubicBezTo>
                  <a:cubicBezTo>
                    <a:pt x="488" y="26"/>
                    <a:pt x="482" y="22"/>
                    <a:pt x="482" y="19"/>
                  </a:cubicBezTo>
                  <a:cubicBezTo>
                    <a:pt x="483" y="17"/>
                    <a:pt x="489" y="15"/>
                    <a:pt x="488" y="11"/>
                  </a:cubicBezTo>
                  <a:cubicBezTo>
                    <a:pt x="479" y="8"/>
                    <a:pt x="484" y="24"/>
                    <a:pt x="477" y="22"/>
                  </a:cubicBezTo>
                  <a:cubicBezTo>
                    <a:pt x="467" y="27"/>
                    <a:pt x="462" y="15"/>
                    <a:pt x="458" y="22"/>
                  </a:cubicBezTo>
                  <a:cubicBezTo>
                    <a:pt x="459" y="22"/>
                    <a:pt x="462" y="26"/>
                    <a:pt x="458" y="26"/>
                  </a:cubicBezTo>
                  <a:cubicBezTo>
                    <a:pt x="459" y="16"/>
                    <a:pt x="441" y="31"/>
                    <a:pt x="445" y="15"/>
                  </a:cubicBezTo>
                  <a:cubicBezTo>
                    <a:pt x="440" y="14"/>
                    <a:pt x="439" y="20"/>
                    <a:pt x="437" y="22"/>
                  </a:cubicBezTo>
                  <a:cubicBezTo>
                    <a:pt x="435" y="18"/>
                    <a:pt x="434" y="14"/>
                    <a:pt x="431" y="11"/>
                  </a:cubicBezTo>
                  <a:cubicBezTo>
                    <a:pt x="425" y="29"/>
                    <a:pt x="405" y="19"/>
                    <a:pt x="399" y="30"/>
                  </a:cubicBezTo>
                  <a:cubicBezTo>
                    <a:pt x="397" y="25"/>
                    <a:pt x="393" y="23"/>
                    <a:pt x="388" y="22"/>
                  </a:cubicBezTo>
                  <a:cubicBezTo>
                    <a:pt x="388" y="18"/>
                    <a:pt x="388" y="14"/>
                    <a:pt x="383" y="15"/>
                  </a:cubicBezTo>
                  <a:cubicBezTo>
                    <a:pt x="378" y="18"/>
                    <a:pt x="379" y="29"/>
                    <a:pt x="372" y="30"/>
                  </a:cubicBezTo>
                  <a:cubicBezTo>
                    <a:pt x="372" y="26"/>
                    <a:pt x="370" y="26"/>
                    <a:pt x="367" y="26"/>
                  </a:cubicBezTo>
                  <a:cubicBezTo>
                    <a:pt x="364" y="26"/>
                    <a:pt x="365" y="23"/>
                    <a:pt x="364" y="22"/>
                  </a:cubicBezTo>
                  <a:cubicBezTo>
                    <a:pt x="362" y="21"/>
                    <a:pt x="359" y="23"/>
                    <a:pt x="356" y="22"/>
                  </a:cubicBezTo>
                  <a:cubicBezTo>
                    <a:pt x="354" y="22"/>
                    <a:pt x="352" y="19"/>
                    <a:pt x="351" y="19"/>
                  </a:cubicBezTo>
                  <a:cubicBezTo>
                    <a:pt x="349" y="19"/>
                    <a:pt x="348" y="30"/>
                    <a:pt x="343" y="26"/>
                  </a:cubicBezTo>
                  <a:cubicBezTo>
                    <a:pt x="342" y="21"/>
                    <a:pt x="344" y="13"/>
                    <a:pt x="340" y="11"/>
                  </a:cubicBezTo>
                  <a:cubicBezTo>
                    <a:pt x="339" y="14"/>
                    <a:pt x="340" y="19"/>
                    <a:pt x="337" y="19"/>
                  </a:cubicBezTo>
                  <a:cubicBezTo>
                    <a:pt x="333" y="23"/>
                    <a:pt x="333" y="20"/>
                    <a:pt x="329" y="19"/>
                  </a:cubicBezTo>
                  <a:cubicBezTo>
                    <a:pt x="324" y="17"/>
                    <a:pt x="321" y="23"/>
                    <a:pt x="318" y="22"/>
                  </a:cubicBezTo>
                  <a:cubicBezTo>
                    <a:pt x="317" y="22"/>
                    <a:pt x="317" y="18"/>
                    <a:pt x="313" y="19"/>
                  </a:cubicBezTo>
                  <a:cubicBezTo>
                    <a:pt x="311" y="19"/>
                    <a:pt x="312" y="23"/>
                    <a:pt x="308" y="22"/>
                  </a:cubicBezTo>
                  <a:cubicBezTo>
                    <a:pt x="307" y="22"/>
                    <a:pt x="303" y="15"/>
                    <a:pt x="302" y="15"/>
                  </a:cubicBezTo>
                  <a:cubicBezTo>
                    <a:pt x="288" y="21"/>
                    <a:pt x="275" y="26"/>
                    <a:pt x="265" y="15"/>
                  </a:cubicBezTo>
                  <a:cubicBezTo>
                    <a:pt x="265" y="21"/>
                    <a:pt x="253" y="23"/>
                    <a:pt x="251" y="22"/>
                  </a:cubicBezTo>
                  <a:cubicBezTo>
                    <a:pt x="249" y="22"/>
                    <a:pt x="249" y="19"/>
                    <a:pt x="249" y="19"/>
                  </a:cubicBezTo>
                  <a:cubicBezTo>
                    <a:pt x="243" y="18"/>
                    <a:pt x="234" y="31"/>
                    <a:pt x="235" y="15"/>
                  </a:cubicBezTo>
                  <a:cubicBezTo>
                    <a:pt x="225" y="18"/>
                    <a:pt x="215" y="19"/>
                    <a:pt x="205" y="22"/>
                  </a:cubicBezTo>
                  <a:cubicBezTo>
                    <a:pt x="202" y="22"/>
                    <a:pt x="201" y="18"/>
                    <a:pt x="200" y="15"/>
                  </a:cubicBezTo>
                  <a:cubicBezTo>
                    <a:pt x="195" y="12"/>
                    <a:pt x="195" y="21"/>
                    <a:pt x="189" y="22"/>
                  </a:cubicBezTo>
                  <a:cubicBezTo>
                    <a:pt x="189" y="22"/>
                    <a:pt x="187" y="18"/>
                    <a:pt x="184" y="19"/>
                  </a:cubicBezTo>
                  <a:cubicBezTo>
                    <a:pt x="184" y="19"/>
                    <a:pt x="184" y="22"/>
                    <a:pt x="184" y="22"/>
                  </a:cubicBezTo>
                  <a:cubicBezTo>
                    <a:pt x="182" y="25"/>
                    <a:pt x="166" y="23"/>
                    <a:pt x="165" y="22"/>
                  </a:cubicBezTo>
                  <a:cubicBezTo>
                    <a:pt x="161" y="21"/>
                    <a:pt x="162" y="19"/>
                    <a:pt x="160" y="22"/>
                  </a:cubicBezTo>
                  <a:cubicBezTo>
                    <a:pt x="158" y="26"/>
                    <a:pt x="145" y="22"/>
                    <a:pt x="144" y="22"/>
                  </a:cubicBezTo>
                  <a:cubicBezTo>
                    <a:pt x="140" y="24"/>
                    <a:pt x="140" y="26"/>
                    <a:pt x="138" y="22"/>
                  </a:cubicBezTo>
                  <a:cubicBezTo>
                    <a:pt x="138" y="22"/>
                    <a:pt x="134" y="23"/>
                    <a:pt x="133" y="22"/>
                  </a:cubicBezTo>
                  <a:cubicBezTo>
                    <a:pt x="123" y="21"/>
                    <a:pt x="120" y="19"/>
                    <a:pt x="114" y="19"/>
                  </a:cubicBezTo>
                  <a:cubicBezTo>
                    <a:pt x="110" y="18"/>
                    <a:pt x="111" y="23"/>
                    <a:pt x="109" y="19"/>
                  </a:cubicBezTo>
                  <a:cubicBezTo>
                    <a:pt x="108" y="18"/>
                    <a:pt x="104" y="19"/>
                    <a:pt x="103" y="19"/>
                  </a:cubicBezTo>
                  <a:cubicBezTo>
                    <a:pt x="99" y="17"/>
                    <a:pt x="97" y="16"/>
                    <a:pt x="95" y="19"/>
                  </a:cubicBezTo>
                  <a:cubicBezTo>
                    <a:pt x="95" y="19"/>
                    <a:pt x="91" y="19"/>
                    <a:pt x="90" y="19"/>
                  </a:cubicBezTo>
                  <a:cubicBezTo>
                    <a:pt x="80" y="19"/>
                    <a:pt x="79" y="14"/>
                    <a:pt x="76" y="19"/>
                  </a:cubicBezTo>
                  <a:cubicBezTo>
                    <a:pt x="74" y="23"/>
                    <a:pt x="64" y="15"/>
                    <a:pt x="63" y="15"/>
                  </a:cubicBezTo>
                  <a:cubicBezTo>
                    <a:pt x="55" y="13"/>
                    <a:pt x="48" y="12"/>
                    <a:pt x="39" y="11"/>
                  </a:cubicBezTo>
                  <a:cubicBezTo>
                    <a:pt x="39" y="7"/>
                    <a:pt x="42" y="6"/>
                    <a:pt x="41" y="0"/>
                  </a:cubicBezTo>
                  <a:cubicBezTo>
                    <a:pt x="28" y="7"/>
                    <a:pt x="16" y="24"/>
                    <a:pt x="12" y="37"/>
                  </a:cubicBezTo>
                  <a:cubicBezTo>
                    <a:pt x="11" y="39"/>
                    <a:pt x="9" y="43"/>
                    <a:pt x="9" y="45"/>
                  </a:cubicBezTo>
                  <a:cubicBezTo>
                    <a:pt x="9" y="48"/>
                    <a:pt x="7" y="47"/>
                    <a:pt x="7" y="48"/>
                  </a:cubicBezTo>
                  <a:cubicBezTo>
                    <a:pt x="4" y="56"/>
                    <a:pt x="5" y="69"/>
                    <a:pt x="4" y="78"/>
                  </a:cubicBezTo>
                  <a:cubicBezTo>
                    <a:pt x="4" y="78"/>
                    <a:pt x="2" y="79"/>
                    <a:pt x="1" y="82"/>
                  </a:cubicBezTo>
                  <a:cubicBezTo>
                    <a:pt x="0" y="85"/>
                    <a:pt x="2" y="89"/>
                    <a:pt x="1" y="93"/>
                  </a:cubicBezTo>
                  <a:cubicBezTo>
                    <a:pt x="18" y="99"/>
                    <a:pt x="3" y="124"/>
                    <a:pt x="4" y="141"/>
                  </a:cubicBezTo>
                  <a:cubicBezTo>
                    <a:pt x="9" y="138"/>
                    <a:pt x="8" y="146"/>
                    <a:pt x="9" y="148"/>
                  </a:cubicBezTo>
                  <a:cubicBezTo>
                    <a:pt x="12" y="151"/>
                    <a:pt x="18" y="149"/>
                    <a:pt x="17" y="156"/>
                  </a:cubicBezTo>
                  <a:cubicBezTo>
                    <a:pt x="15" y="156"/>
                    <a:pt x="14" y="156"/>
                    <a:pt x="12" y="156"/>
                  </a:cubicBezTo>
                  <a:cubicBezTo>
                    <a:pt x="15" y="172"/>
                    <a:pt x="3" y="168"/>
                    <a:pt x="4" y="182"/>
                  </a:cubicBezTo>
                  <a:cubicBezTo>
                    <a:pt x="7" y="182"/>
                    <a:pt x="11" y="181"/>
                    <a:pt x="12" y="185"/>
                  </a:cubicBezTo>
                  <a:cubicBezTo>
                    <a:pt x="13" y="199"/>
                    <a:pt x="19" y="203"/>
                    <a:pt x="15" y="215"/>
                  </a:cubicBezTo>
                  <a:cubicBezTo>
                    <a:pt x="20" y="212"/>
                    <a:pt x="18" y="220"/>
                    <a:pt x="20" y="222"/>
                  </a:cubicBezTo>
                  <a:cubicBezTo>
                    <a:pt x="21" y="224"/>
                    <a:pt x="26" y="222"/>
                    <a:pt x="25" y="226"/>
                  </a:cubicBezTo>
                  <a:cubicBezTo>
                    <a:pt x="25" y="232"/>
                    <a:pt x="26" y="237"/>
                    <a:pt x="28" y="241"/>
                  </a:cubicBezTo>
                  <a:cubicBezTo>
                    <a:pt x="25" y="241"/>
                    <a:pt x="23" y="241"/>
                    <a:pt x="20" y="241"/>
                  </a:cubicBezTo>
                  <a:cubicBezTo>
                    <a:pt x="23" y="252"/>
                    <a:pt x="22" y="255"/>
                    <a:pt x="17" y="263"/>
                  </a:cubicBezTo>
                  <a:cubicBezTo>
                    <a:pt x="22" y="264"/>
                    <a:pt x="24" y="257"/>
                    <a:pt x="25" y="263"/>
                  </a:cubicBezTo>
                  <a:cubicBezTo>
                    <a:pt x="24" y="268"/>
                    <a:pt x="20" y="270"/>
                    <a:pt x="15" y="270"/>
                  </a:cubicBezTo>
                  <a:cubicBezTo>
                    <a:pt x="12" y="282"/>
                    <a:pt x="22" y="278"/>
                    <a:pt x="23" y="285"/>
                  </a:cubicBezTo>
                  <a:cubicBezTo>
                    <a:pt x="14" y="288"/>
                    <a:pt x="18" y="297"/>
                    <a:pt x="15" y="300"/>
                  </a:cubicBezTo>
                  <a:cubicBezTo>
                    <a:pt x="7" y="310"/>
                    <a:pt x="12" y="294"/>
                    <a:pt x="7" y="292"/>
                  </a:cubicBezTo>
                  <a:cubicBezTo>
                    <a:pt x="1" y="306"/>
                    <a:pt x="12" y="313"/>
                    <a:pt x="15" y="322"/>
                  </a:cubicBezTo>
                  <a:cubicBezTo>
                    <a:pt x="16" y="325"/>
                    <a:pt x="9" y="334"/>
                    <a:pt x="17" y="333"/>
                  </a:cubicBezTo>
                  <a:cubicBezTo>
                    <a:pt x="18" y="329"/>
                    <a:pt x="17" y="323"/>
                    <a:pt x="20" y="322"/>
                  </a:cubicBezTo>
                  <a:cubicBezTo>
                    <a:pt x="19" y="334"/>
                    <a:pt x="25" y="335"/>
                    <a:pt x="23" y="348"/>
                  </a:cubicBezTo>
                  <a:cubicBezTo>
                    <a:pt x="22" y="352"/>
                    <a:pt x="6" y="352"/>
                    <a:pt x="15" y="355"/>
                  </a:cubicBezTo>
                  <a:cubicBezTo>
                    <a:pt x="23" y="357"/>
                    <a:pt x="26" y="347"/>
                    <a:pt x="28" y="359"/>
                  </a:cubicBezTo>
                  <a:cubicBezTo>
                    <a:pt x="25" y="358"/>
                    <a:pt x="23" y="353"/>
                    <a:pt x="23" y="363"/>
                  </a:cubicBezTo>
                  <a:cubicBezTo>
                    <a:pt x="31" y="367"/>
                    <a:pt x="29" y="357"/>
                    <a:pt x="33" y="355"/>
                  </a:cubicBezTo>
                  <a:cubicBezTo>
                    <a:pt x="34" y="363"/>
                    <a:pt x="43" y="359"/>
                    <a:pt x="44" y="366"/>
                  </a:cubicBezTo>
                  <a:cubicBezTo>
                    <a:pt x="39" y="374"/>
                    <a:pt x="45" y="374"/>
                    <a:pt x="47" y="381"/>
                  </a:cubicBezTo>
                  <a:cubicBezTo>
                    <a:pt x="43" y="380"/>
                    <a:pt x="42" y="377"/>
                    <a:pt x="39" y="381"/>
                  </a:cubicBezTo>
                  <a:cubicBezTo>
                    <a:pt x="41" y="369"/>
                    <a:pt x="33" y="376"/>
                    <a:pt x="33" y="381"/>
                  </a:cubicBezTo>
                  <a:cubicBezTo>
                    <a:pt x="40" y="382"/>
                    <a:pt x="43" y="388"/>
                    <a:pt x="47" y="392"/>
                  </a:cubicBezTo>
                  <a:cubicBezTo>
                    <a:pt x="42" y="392"/>
                    <a:pt x="38" y="392"/>
                    <a:pt x="33" y="392"/>
                  </a:cubicBezTo>
                  <a:cubicBezTo>
                    <a:pt x="31" y="404"/>
                    <a:pt x="41" y="399"/>
                    <a:pt x="39" y="411"/>
                  </a:cubicBezTo>
                  <a:cubicBezTo>
                    <a:pt x="45" y="416"/>
                    <a:pt x="50" y="400"/>
                    <a:pt x="52" y="411"/>
                  </a:cubicBezTo>
                  <a:cubicBezTo>
                    <a:pt x="49" y="411"/>
                    <a:pt x="46" y="412"/>
                    <a:pt x="47" y="418"/>
                  </a:cubicBezTo>
                  <a:cubicBezTo>
                    <a:pt x="47" y="423"/>
                    <a:pt x="51" y="422"/>
                    <a:pt x="52" y="426"/>
                  </a:cubicBezTo>
                  <a:cubicBezTo>
                    <a:pt x="46" y="425"/>
                    <a:pt x="42" y="427"/>
                    <a:pt x="41" y="433"/>
                  </a:cubicBezTo>
                  <a:cubicBezTo>
                    <a:pt x="45" y="434"/>
                    <a:pt x="44" y="439"/>
                    <a:pt x="44" y="444"/>
                  </a:cubicBezTo>
                  <a:cubicBezTo>
                    <a:pt x="52" y="450"/>
                    <a:pt x="56" y="439"/>
                    <a:pt x="58" y="455"/>
                  </a:cubicBezTo>
                  <a:cubicBezTo>
                    <a:pt x="48" y="458"/>
                    <a:pt x="46" y="451"/>
                    <a:pt x="41" y="448"/>
                  </a:cubicBezTo>
                  <a:cubicBezTo>
                    <a:pt x="45" y="457"/>
                    <a:pt x="31" y="459"/>
                    <a:pt x="39" y="463"/>
                  </a:cubicBezTo>
                  <a:cubicBezTo>
                    <a:pt x="39" y="458"/>
                    <a:pt x="46" y="458"/>
                    <a:pt x="47" y="463"/>
                  </a:cubicBezTo>
                  <a:cubicBezTo>
                    <a:pt x="36" y="459"/>
                    <a:pt x="51" y="487"/>
                    <a:pt x="36" y="485"/>
                  </a:cubicBezTo>
                  <a:cubicBezTo>
                    <a:pt x="38" y="499"/>
                    <a:pt x="44" y="506"/>
                    <a:pt x="47" y="518"/>
                  </a:cubicBezTo>
                  <a:cubicBezTo>
                    <a:pt x="39" y="526"/>
                    <a:pt x="47" y="532"/>
                    <a:pt x="39" y="537"/>
                  </a:cubicBezTo>
                  <a:cubicBezTo>
                    <a:pt x="40" y="534"/>
                    <a:pt x="36" y="533"/>
                    <a:pt x="36" y="533"/>
                  </a:cubicBezTo>
                  <a:cubicBezTo>
                    <a:pt x="36" y="530"/>
                    <a:pt x="39" y="528"/>
                    <a:pt x="39" y="529"/>
                  </a:cubicBezTo>
                  <a:cubicBezTo>
                    <a:pt x="38" y="525"/>
                    <a:pt x="36" y="520"/>
                    <a:pt x="36" y="518"/>
                  </a:cubicBezTo>
                  <a:cubicBezTo>
                    <a:pt x="36" y="518"/>
                    <a:pt x="41" y="517"/>
                    <a:pt x="41" y="514"/>
                  </a:cubicBezTo>
                  <a:cubicBezTo>
                    <a:pt x="42" y="511"/>
                    <a:pt x="37" y="508"/>
                    <a:pt x="36" y="507"/>
                  </a:cubicBezTo>
                  <a:cubicBezTo>
                    <a:pt x="31" y="519"/>
                    <a:pt x="41" y="530"/>
                    <a:pt x="28" y="533"/>
                  </a:cubicBezTo>
                  <a:cubicBezTo>
                    <a:pt x="28" y="539"/>
                    <a:pt x="28" y="545"/>
                    <a:pt x="28" y="551"/>
                  </a:cubicBezTo>
                  <a:cubicBezTo>
                    <a:pt x="38" y="557"/>
                    <a:pt x="29" y="535"/>
                    <a:pt x="39" y="540"/>
                  </a:cubicBezTo>
                  <a:cubicBezTo>
                    <a:pt x="34" y="547"/>
                    <a:pt x="38" y="550"/>
                    <a:pt x="39" y="559"/>
                  </a:cubicBezTo>
                  <a:cubicBezTo>
                    <a:pt x="37" y="560"/>
                    <a:pt x="34" y="559"/>
                    <a:pt x="33" y="562"/>
                  </a:cubicBezTo>
                  <a:cubicBezTo>
                    <a:pt x="37" y="572"/>
                    <a:pt x="41" y="556"/>
                    <a:pt x="44" y="566"/>
                  </a:cubicBezTo>
                  <a:cubicBezTo>
                    <a:pt x="39" y="564"/>
                    <a:pt x="36" y="583"/>
                    <a:pt x="41" y="585"/>
                  </a:cubicBezTo>
                  <a:cubicBezTo>
                    <a:pt x="45" y="579"/>
                    <a:pt x="46" y="569"/>
                    <a:pt x="52" y="566"/>
                  </a:cubicBezTo>
                  <a:cubicBezTo>
                    <a:pt x="57" y="573"/>
                    <a:pt x="50" y="579"/>
                    <a:pt x="47" y="585"/>
                  </a:cubicBezTo>
                  <a:cubicBezTo>
                    <a:pt x="44" y="585"/>
                    <a:pt x="44" y="588"/>
                    <a:pt x="41" y="588"/>
                  </a:cubicBezTo>
                  <a:cubicBezTo>
                    <a:pt x="35" y="593"/>
                    <a:pt x="31" y="579"/>
                    <a:pt x="31" y="588"/>
                  </a:cubicBezTo>
                  <a:cubicBezTo>
                    <a:pt x="34" y="598"/>
                    <a:pt x="52" y="589"/>
                    <a:pt x="49" y="607"/>
                  </a:cubicBezTo>
                  <a:cubicBezTo>
                    <a:pt x="46" y="602"/>
                    <a:pt x="38" y="604"/>
                    <a:pt x="39" y="614"/>
                  </a:cubicBezTo>
                  <a:cubicBezTo>
                    <a:pt x="49" y="609"/>
                    <a:pt x="45" y="622"/>
                    <a:pt x="47" y="625"/>
                  </a:cubicBezTo>
                  <a:cubicBezTo>
                    <a:pt x="48" y="627"/>
                    <a:pt x="53" y="625"/>
                    <a:pt x="52" y="629"/>
                  </a:cubicBezTo>
                  <a:cubicBezTo>
                    <a:pt x="50" y="649"/>
                    <a:pt x="39" y="636"/>
                    <a:pt x="33" y="648"/>
                  </a:cubicBezTo>
                  <a:cubicBezTo>
                    <a:pt x="42" y="647"/>
                    <a:pt x="35" y="663"/>
                    <a:pt x="36" y="670"/>
                  </a:cubicBezTo>
                  <a:cubicBezTo>
                    <a:pt x="36" y="670"/>
                    <a:pt x="41" y="671"/>
                    <a:pt x="41" y="673"/>
                  </a:cubicBezTo>
                  <a:cubicBezTo>
                    <a:pt x="42" y="678"/>
                    <a:pt x="37" y="679"/>
                    <a:pt x="39" y="684"/>
                  </a:cubicBezTo>
                  <a:cubicBezTo>
                    <a:pt x="41" y="685"/>
                    <a:pt x="42" y="688"/>
                    <a:pt x="41" y="692"/>
                  </a:cubicBezTo>
                  <a:cubicBezTo>
                    <a:pt x="46" y="692"/>
                    <a:pt x="51" y="691"/>
                    <a:pt x="49" y="699"/>
                  </a:cubicBezTo>
                  <a:cubicBezTo>
                    <a:pt x="46" y="699"/>
                    <a:pt x="46" y="695"/>
                    <a:pt x="41" y="696"/>
                  </a:cubicBezTo>
                  <a:cubicBezTo>
                    <a:pt x="45" y="707"/>
                    <a:pt x="37" y="705"/>
                    <a:pt x="36" y="710"/>
                  </a:cubicBezTo>
                  <a:cubicBezTo>
                    <a:pt x="40" y="712"/>
                    <a:pt x="43" y="716"/>
                    <a:pt x="44" y="721"/>
                  </a:cubicBezTo>
                  <a:cubicBezTo>
                    <a:pt x="39" y="722"/>
                    <a:pt x="36" y="721"/>
                    <a:pt x="33" y="718"/>
                  </a:cubicBezTo>
                  <a:cubicBezTo>
                    <a:pt x="31" y="730"/>
                    <a:pt x="36" y="732"/>
                    <a:pt x="39" y="736"/>
                  </a:cubicBezTo>
                  <a:cubicBezTo>
                    <a:pt x="31" y="730"/>
                    <a:pt x="31" y="752"/>
                    <a:pt x="36" y="751"/>
                  </a:cubicBezTo>
                  <a:cubicBezTo>
                    <a:pt x="38" y="733"/>
                    <a:pt x="37" y="755"/>
                    <a:pt x="41" y="755"/>
                  </a:cubicBezTo>
                  <a:cubicBezTo>
                    <a:pt x="40" y="748"/>
                    <a:pt x="49" y="736"/>
                    <a:pt x="49" y="744"/>
                  </a:cubicBezTo>
                  <a:cubicBezTo>
                    <a:pt x="49" y="751"/>
                    <a:pt x="42" y="748"/>
                    <a:pt x="44" y="759"/>
                  </a:cubicBezTo>
                  <a:cubicBezTo>
                    <a:pt x="47" y="757"/>
                    <a:pt x="53" y="769"/>
                    <a:pt x="47" y="770"/>
                  </a:cubicBezTo>
                  <a:cubicBezTo>
                    <a:pt x="50" y="760"/>
                    <a:pt x="38" y="753"/>
                    <a:pt x="36" y="762"/>
                  </a:cubicBezTo>
                  <a:cubicBezTo>
                    <a:pt x="42" y="763"/>
                    <a:pt x="42" y="772"/>
                    <a:pt x="39" y="777"/>
                  </a:cubicBezTo>
                  <a:cubicBezTo>
                    <a:pt x="44" y="781"/>
                    <a:pt x="48" y="766"/>
                    <a:pt x="49" y="777"/>
                  </a:cubicBezTo>
                  <a:cubicBezTo>
                    <a:pt x="51" y="791"/>
                    <a:pt x="38" y="783"/>
                    <a:pt x="36" y="792"/>
                  </a:cubicBezTo>
                  <a:cubicBezTo>
                    <a:pt x="39" y="792"/>
                    <a:pt x="39" y="798"/>
                    <a:pt x="39" y="803"/>
                  </a:cubicBezTo>
                  <a:cubicBezTo>
                    <a:pt x="44" y="807"/>
                    <a:pt x="50" y="809"/>
                    <a:pt x="52" y="818"/>
                  </a:cubicBezTo>
                  <a:cubicBezTo>
                    <a:pt x="48" y="814"/>
                    <a:pt x="46" y="814"/>
                    <a:pt x="44" y="821"/>
                  </a:cubicBezTo>
                  <a:cubicBezTo>
                    <a:pt x="46" y="828"/>
                    <a:pt x="57" y="821"/>
                    <a:pt x="58" y="829"/>
                  </a:cubicBezTo>
                  <a:cubicBezTo>
                    <a:pt x="58" y="837"/>
                    <a:pt x="57" y="843"/>
                    <a:pt x="52" y="844"/>
                  </a:cubicBezTo>
                  <a:cubicBezTo>
                    <a:pt x="52" y="839"/>
                    <a:pt x="56" y="838"/>
                    <a:pt x="55" y="832"/>
                  </a:cubicBezTo>
                  <a:cubicBezTo>
                    <a:pt x="47" y="831"/>
                    <a:pt x="49" y="839"/>
                    <a:pt x="44" y="840"/>
                  </a:cubicBezTo>
                  <a:cubicBezTo>
                    <a:pt x="45" y="840"/>
                    <a:pt x="42" y="833"/>
                    <a:pt x="41" y="832"/>
                  </a:cubicBezTo>
                  <a:cubicBezTo>
                    <a:pt x="39" y="831"/>
                    <a:pt x="37" y="838"/>
                    <a:pt x="36" y="840"/>
                  </a:cubicBezTo>
                  <a:cubicBezTo>
                    <a:pt x="39" y="841"/>
                    <a:pt x="42" y="845"/>
                    <a:pt x="41" y="851"/>
                  </a:cubicBezTo>
                  <a:cubicBezTo>
                    <a:pt x="45" y="852"/>
                    <a:pt x="49" y="845"/>
                    <a:pt x="49" y="851"/>
                  </a:cubicBezTo>
                  <a:cubicBezTo>
                    <a:pt x="49" y="852"/>
                    <a:pt x="47" y="858"/>
                    <a:pt x="47" y="858"/>
                  </a:cubicBezTo>
                  <a:cubicBezTo>
                    <a:pt x="55" y="864"/>
                    <a:pt x="56" y="859"/>
                    <a:pt x="63" y="858"/>
                  </a:cubicBezTo>
                  <a:cubicBezTo>
                    <a:pt x="62" y="864"/>
                    <a:pt x="67" y="868"/>
                    <a:pt x="68" y="862"/>
                  </a:cubicBezTo>
                  <a:cubicBezTo>
                    <a:pt x="64" y="862"/>
                    <a:pt x="73" y="838"/>
                    <a:pt x="66" y="832"/>
                  </a:cubicBezTo>
                  <a:cubicBezTo>
                    <a:pt x="76" y="835"/>
                    <a:pt x="67" y="801"/>
                    <a:pt x="79" y="818"/>
                  </a:cubicBezTo>
                  <a:cubicBezTo>
                    <a:pt x="81" y="807"/>
                    <a:pt x="75" y="808"/>
                    <a:pt x="76" y="799"/>
                  </a:cubicBezTo>
                  <a:cubicBezTo>
                    <a:pt x="70" y="800"/>
                    <a:pt x="66" y="798"/>
                    <a:pt x="66" y="792"/>
                  </a:cubicBezTo>
                  <a:cubicBezTo>
                    <a:pt x="71" y="792"/>
                    <a:pt x="65" y="787"/>
                    <a:pt x="66" y="784"/>
                  </a:cubicBezTo>
                  <a:cubicBezTo>
                    <a:pt x="66" y="783"/>
                    <a:pt x="71" y="785"/>
                    <a:pt x="71" y="784"/>
                  </a:cubicBezTo>
                  <a:cubicBezTo>
                    <a:pt x="73" y="780"/>
                    <a:pt x="69" y="763"/>
                    <a:pt x="76" y="766"/>
                  </a:cubicBezTo>
                  <a:cubicBezTo>
                    <a:pt x="70" y="760"/>
                    <a:pt x="77" y="755"/>
                    <a:pt x="76" y="751"/>
                  </a:cubicBezTo>
                  <a:cubicBezTo>
                    <a:pt x="76" y="749"/>
                    <a:pt x="64" y="739"/>
                    <a:pt x="74" y="736"/>
                  </a:cubicBezTo>
                  <a:cubicBezTo>
                    <a:pt x="77" y="741"/>
                    <a:pt x="86" y="739"/>
                    <a:pt x="90" y="744"/>
                  </a:cubicBezTo>
                  <a:cubicBezTo>
                    <a:pt x="88" y="735"/>
                    <a:pt x="86" y="726"/>
                    <a:pt x="95" y="725"/>
                  </a:cubicBezTo>
                  <a:cubicBezTo>
                    <a:pt x="92" y="739"/>
                    <a:pt x="100" y="756"/>
                    <a:pt x="106" y="744"/>
                  </a:cubicBezTo>
                  <a:cubicBezTo>
                    <a:pt x="102" y="741"/>
                    <a:pt x="101" y="739"/>
                    <a:pt x="103" y="736"/>
                  </a:cubicBezTo>
                  <a:cubicBezTo>
                    <a:pt x="104" y="736"/>
                    <a:pt x="96" y="719"/>
                    <a:pt x="103" y="721"/>
                  </a:cubicBezTo>
                  <a:cubicBezTo>
                    <a:pt x="107" y="735"/>
                    <a:pt x="113" y="734"/>
                    <a:pt x="109" y="751"/>
                  </a:cubicBezTo>
                  <a:cubicBezTo>
                    <a:pt x="113" y="751"/>
                    <a:pt x="117" y="752"/>
                    <a:pt x="119" y="755"/>
                  </a:cubicBezTo>
                  <a:cubicBezTo>
                    <a:pt x="119" y="746"/>
                    <a:pt x="114" y="739"/>
                    <a:pt x="122" y="736"/>
                  </a:cubicBezTo>
                  <a:cubicBezTo>
                    <a:pt x="122" y="752"/>
                    <a:pt x="124" y="745"/>
                    <a:pt x="128" y="740"/>
                  </a:cubicBezTo>
                  <a:cubicBezTo>
                    <a:pt x="125" y="764"/>
                    <a:pt x="138" y="764"/>
                    <a:pt x="149" y="770"/>
                  </a:cubicBezTo>
                  <a:cubicBezTo>
                    <a:pt x="149" y="765"/>
                    <a:pt x="150" y="761"/>
                    <a:pt x="154" y="762"/>
                  </a:cubicBezTo>
                  <a:cubicBezTo>
                    <a:pt x="155" y="758"/>
                    <a:pt x="155" y="753"/>
                    <a:pt x="160" y="755"/>
                  </a:cubicBezTo>
                  <a:cubicBezTo>
                    <a:pt x="163" y="767"/>
                    <a:pt x="151" y="758"/>
                    <a:pt x="154" y="770"/>
                  </a:cubicBezTo>
                  <a:cubicBezTo>
                    <a:pt x="158" y="769"/>
                    <a:pt x="164" y="771"/>
                    <a:pt x="165" y="766"/>
                  </a:cubicBezTo>
                  <a:cubicBezTo>
                    <a:pt x="161" y="766"/>
                    <a:pt x="165" y="762"/>
                    <a:pt x="165" y="762"/>
                  </a:cubicBezTo>
                  <a:cubicBezTo>
                    <a:pt x="165" y="760"/>
                    <a:pt x="162" y="756"/>
                    <a:pt x="163" y="755"/>
                  </a:cubicBezTo>
                  <a:cubicBezTo>
                    <a:pt x="163" y="751"/>
                    <a:pt x="168" y="752"/>
                    <a:pt x="168" y="744"/>
                  </a:cubicBezTo>
                  <a:cubicBezTo>
                    <a:pt x="168" y="744"/>
                    <a:pt x="165" y="744"/>
                    <a:pt x="165" y="744"/>
                  </a:cubicBezTo>
                  <a:cubicBezTo>
                    <a:pt x="163" y="741"/>
                    <a:pt x="161" y="721"/>
                    <a:pt x="168" y="729"/>
                  </a:cubicBezTo>
                  <a:cubicBezTo>
                    <a:pt x="169" y="715"/>
                    <a:pt x="157" y="719"/>
                    <a:pt x="160" y="703"/>
                  </a:cubicBezTo>
                  <a:cubicBezTo>
                    <a:pt x="166" y="702"/>
                    <a:pt x="171" y="699"/>
                    <a:pt x="176" y="696"/>
                  </a:cubicBezTo>
                  <a:cubicBezTo>
                    <a:pt x="176" y="691"/>
                    <a:pt x="176" y="686"/>
                    <a:pt x="176" y="681"/>
                  </a:cubicBezTo>
                  <a:cubicBezTo>
                    <a:pt x="165" y="683"/>
                    <a:pt x="174" y="672"/>
                    <a:pt x="173" y="670"/>
                  </a:cubicBezTo>
                  <a:cubicBezTo>
                    <a:pt x="173" y="667"/>
                    <a:pt x="168" y="666"/>
                    <a:pt x="168" y="662"/>
                  </a:cubicBezTo>
                  <a:cubicBezTo>
                    <a:pt x="167" y="658"/>
                    <a:pt x="168" y="652"/>
                    <a:pt x="170" y="651"/>
                  </a:cubicBezTo>
                  <a:cubicBezTo>
                    <a:pt x="174" y="653"/>
                    <a:pt x="173" y="659"/>
                    <a:pt x="176" y="662"/>
                  </a:cubicBezTo>
                  <a:cubicBezTo>
                    <a:pt x="175" y="661"/>
                    <a:pt x="177" y="658"/>
                    <a:pt x="178" y="658"/>
                  </a:cubicBezTo>
                  <a:cubicBezTo>
                    <a:pt x="177" y="659"/>
                    <a:pt x="188" y="675"/>
                    <a:pt x="187" y="662"/>
                  </a:cubicBezTo>
                  <a:cubicBezTo>
                    <a:pt x="184" y="661"/>
                    <a:pt x="183" y="655"/>
                    <a:pt x="181" y="651"/>
                  </a:cubicBezTo>
                  <a:cubicBezTo>
                    <a:pt x="177" y="641"/>
                    <a:pt x="184" y="646"/>
                    <a:pt x="181" y="636"/>
                  </a:cubicBezTo>
                  <a:cubicBezTo>
                    <a:pt x="181" y="634"/>
                    <a:pt x="176" y="634"/>
                    <a:pt x="176" y="629"/>
                  </a:cubicBezTo>
                  <a:cubicBezTo>
                    <a:pt x="176" y="629"/>
                    <a:pt x="181" y="626"/>
                    <a:pt x="181" y="625"/>
                  </a:cubicBezTo>
                  <a:cubicBezTo>
                    <a:pt x="184" y="619"/>
                    <a:pt x="180" y="610"/>
                    <a:pt x="184" y="607"/>
                  </a:cubicBezTo>
                  <a:cubicBezTo>
                    <a:pt x="177" y="609"/>
                    <a:pt x="174" y="605"/>
                    <a:pt x="176" y="596"/>
                  </a:cubicBezTo>
                  <a:cubicBezTo>
                    <a:pt x="181" y="595"/>
                    <a:pt x="182" y="600"/>
                    <a:pt x="187" y="599"/>
                  </a:cubicBezTo>
                  <a:cubicBezTo>
                    <a:pt x="187" y="597"/>
                    <a:pt x="187" y="592"/>
                    <a:pt x="189" y="592"/>
                  </a:cubicBezTo>
                  <a:cubicBezTo>
                    <a:pt x="189" y="597"/>
                    <a:pt x="190" y="606"/>
                    <a:pt x="192" y="599"/>
                  </a:cubicBezTo>
                  <a:cubicBezTo>
                    <a:pt x="191" y="591"/>
                    <a:pt x="193" y="586"/>
                    <a:pt x="197" y="585"/>
                  </a:cubicBezTo>
                  <a:cubicBezTo>
                    <a:pt x="195" y="598"/>
                    <a:pt x="197" y="594"/>
                    <a:pt x="195" y="607"/>
                  </a:cubicBezTo>
                  <a:cubicBezTo>
                    <a:pt x="202" y="604"/>
                    <a:pt x="193" y="624"/>
                    <a:pt x="200" y="622"/>
                  </a:cubicBezTo>
                  <a:cubicBezTo>
                    <a:pt x="206" y="611"/>
                    <a:pt x="195" y="608"/>
                    <a:pt x="200" y="603"/>
                  </a:cubicBezTo>
                  <a:cubicBezTo>
                    <a:pt x="208" y="613"/>
                    <a:pt x="210" y="635"/>
                    <a:pt x="200" y="644"/>
                  </a:cubicBezTo>
                  <a:cubicBezTo>
                    <a:pt x="197" y="640"/>
                    <a:pt x="191" y="640"/>
                    <a:pt x="184" y="640"/>
                  </a:cubicBezTo>
                  <a:cubicBezTo>
                    <a:pt x="185" y="650"/>
                    <a:pt x="187" y="658"/>
                    <a:pt x="192" y="662"/>
                  </a:cubicBezTo>
                  <a:cubicBezTo>
                    <a:pt x="187" y="664"/>
                    <a:pt x="193" y="667"/>
                    <a:pt x="192" y="673"/>
                  </a:cubicBezTo>
                  <a:cubicBezTo>
                    <a:pt x="185" y="673"/>
                    <a:pt x="184" y="666"/>
                    <a:pt x="181" y="677"/>
                  </a:cubicBezTo>
                  <a:cubicBezTo>
                    <a:pt x="188" y="675"/>
                    <a:pt x="175" y="694"/>
                    <a:pt x="184" y="696"/>
                  </a:cubicBezTo>
                  <a:cubicBezTo>
                    <a:pt x="188" y="691"/>
                    <a:pt x="184" y="676"/>
                    <a:pt x="195" y="681"/>
                  </a:cubicBezTo>
                  <a:cubicBezTo>
                    <a:pt x="194" y="668"/>
                    <a:pt x="199" y="665"/>
                    <a:pt x="203" y="659"/>
                  </a:cubicBezTo>
                  <a:cubicBezTo>
                    <a:pt x="207" y="661"/>
                    <a:pt x="202" y="677"/>
                    <a:pt x="211" y="673"/>
                  </a:cubicBezTo>
                  <a:cubicBezTo>
                    <a:pt x="212" y="667"/>
                    <a:pt x="207" y="664"/>
                    <a:pt x="211" y="662"/>
                  </a:cubicBezTo>
                  <a:cubicBezTo>
                    <a:pt x="213" y="663"/>
                    <a:pt x="216" y="662"/>
                    <a:pt x="216" y="666"/>
                  </a:cubicBezTo>
                  <a:cubicBezTo>
                    <a:pt x="212" y="668"/>
                    <a:pt x="216" y="680"/>
                    <a:pt x="211" y="681"/>
                  </a:cubicBezTo>
                  <a:cubicBezTo>
                    <a:pt x="205" y="679"/>
                    <a:pt x="206" y="670"/>
                    <a:pt x="200" y="677"/>
                  </a:cubicBezTo>
                  <a:cubicBezTo>
                    <a:pt x="199" y="691"/>
                    <a:pt x="201" y="701"/>
                    <a:pt x="205" y="707"/>
                  </a:cubicBezTo>
                  <a:cubicBezTo>
                    <a:pt x="199" y="706"/>
                    <a:pt x="197" y="700"/>
                    <a:pt x="195" y="710"/>
                  </a:cubicBezTo>
                  <a:cubicBezTo>
                    <a:pt x="202" y="714"/>
                    <a:pt x="191" y="722"/>
                    <a:pt x="195" y="733"/>
                  </a:cubicBezTo>
                  <a:cubicBezTo>
                    <a:pt x="200" y="736"/>
                    <a:pt x="204" y="722"/>
                    <a:pt x="205" y="733"/>
                  </a:cubicBezTo>
                  <a:cubicBezTo>
                    <a:pt x="200" y="731"/>
                    <a:pt x="200" y="738"/>
                    <a:pt x="197" y="740"/>
                  </a:cubicBezTo>
                  <a:cubicBezTo>
                    <a:pt x="196" y="740"/>
                    <a:pt x="194" y="741"/>
                    <a:pt x="195" y="744"/>
                  </a:cubicBezTo>
                  <a:cubicBezTo>
                    <a:pt x="203" y="747"/>
                    <a:pt x="208" y="728"/>
                    <a:pt x="211" y="736"/>
                  </a:cubicBezTo>
                  <a:cubicBezTo>
                    <a:pt x="204" y="742"/>
                    <a:pt x="210" y="762"/>
                    <a:pt x="211" y="770"/>
                  </a:cubicBezTo>
                  <a:cubicBezTo>
                    <a:pt x="211" y="779"/>
                    <a:pt x="211" y="789"/>
                    <a:pt x="211" y="799"/>
                  </a:cubicBezTo>
                  <a:cubicBezTo>
                    <a:pt x="201" y="797"/>
                    <a:pt x="199" y="806"/>
                    <a:pt x="189" y="803"/>
                  </a:cubicBezTo>
                  <a:cubicBezTo>
                    <a:pt x="188" y="817"/>
                    <a:pt x="206" y="804"/>
                    <a:pt x="200" y="825"/>
                  </a:cubicBezTo>
                  <a:cubicBezTo>
                    <a:pt x="209" y="826"/>
                    <a:pt x="206" y="811"/>
                    <a:pt x="214" y="810"/>
                  </a:cubicBezTo>
                  <a:cubicBezTo>
                    <a:pt x="218" y="823"/>
                    <a:pt x="214" y="823"/>
                    <a:pt x="214" y="840"/>
                  </a:cubicBezTo>
                  <a:cubicBezTo>
                    <a:pt x="208" y="837"/>
                    <a:pt x="203" y="852"/>
                    <a:pt x="208" y="851"/>
                  </a:cubicBezTo>
                  <a:cubicBezTo>
                    <a:pt x="209" y="847"/>
                    <a:pt x="212" y="847"/>
                    <a:pt x="216" y="847"/>
                  </a:cubicBezTo>
                  <a:cubicBezTo>
                    <a:pt x="210" y="855"/>
                    <a:pt x="219" y="859"/>
                    <a:pt x="214" y="866"/>
                  </a:cubicBezTo>
                  <a:cubicBezTo>
                    <a:pt x="223" y="869"/>
                    <a:pt x="216" y="849"/>
                    <a:pt x="224" y="851"/>
                  </a:cubicBezTo>
                  <a:cubicBezTo>
                    <a:pt x="227" y="854"/>
                    <a:pt x="225" y="865"/>
                    <a:pt x="232" y="862"/>
                  </a:cubicBezTo>
                  <a:cubicBezTo>
                    <a:pt x="229" y="850"/>
                    <a:pt x="241" y="859"/>
                    <a:pt x="238" y="847"/>
                  </a:cubicBezTo>
                  <a:cubicBezTo>
                    <a:pt x="229" y="843"/>
                    <a:pt x="236" y="859"/>
                    <a:pt x="227" y="855"/>
                  </a:cubicBezTo>
                  <a:cubicBezTo>
                    <a:pt x="231" y="840"/>
                    <a:pt x="220" y="847"/>
                    <a:pt x="219" y="840"/>
                  </a:cubicBezTo>
                  <a:cubicBezTo>
                    <a:pt x="222" y="837"/>
                    <a:pt x="226" y="835"/>
                    <a:pt x="232" y="836"/>
                  </a:cubicBezTo>
                  <a:cubicBezTo>
                    <a:pt x="233" y="831"/>
                    <a:pt x="231" y="822"/>
                    <a:pt x="235" y="821"/>
                  </a:cubicBezTo>
                  <a:cubicBezTo>
                    <a:pt x="239" y="830"/>
                    <a:pt x="243" y="815"/>
                    <a:pt x="246" y="825"/>
                  </a:cubicBezTo>
                  <a:cubicBezTo>
                    <a:pt x="242" y="834"/>
                    <a:pt x="247" y="832"/>
                    <a:pt x="243" y="836"/>
                  </a:cubicBezTo>
                  <a:cubicBezTo>
                    <a:pt x="242" y="837"/>
                    <a:pt x="243" y="842"/>
                    <a:pt x="243" y="844"/>
                  </a:cubicBezTo>
                  <a:cubicBezTo>
                    <a:pt x="240" y="853"/>
                    <a:pt x="245" y="849"/>
                    <a:pt x="243" y="858"/>
                  </a:cubicBezTo>
                  <a:cubicBezTo>
                    <a:pt x="243" y="861"/>
                    <a:pt x="235" y="862"/>
                    <a:pt x="238" y="869"/>
                  </a:cubicBezTo>
                  <a:cubicBezTo>
                    <a:pt x="241" y="872"/>
                    <a:pt x="243" y="877"/>
                    <a:pt x="243" y="884"/>
                  </a:cubicBezTo>
                  <a:cubicBezTo>
                    <a:pt x="240" y="885"/>
                    <a:pt x="239" y="879"/>
                    <a:pt x="238" y="884"/>
                  </a:cubicBezTo>
                  <a:cubicBezTo>
                    <a:pt x="241" y="885"/>
                    <a:pt x="241" y="890"/>
                    <a:pt x="240" y="895"/>
                  </a:cubicBezTo>
                  <a:cubicBezTo>
                    <a:pt x="237" y="896"/>
                    <a:pt x="233" y="895"/>
                    <a:pt x="232" y="899"/>
                  </a:cubicBezTo>
                  <a:cubicBezTo>
                    <a:pt x="238" y="898"/>
                    <a:pt x="234" y="912"/>
                    <a:pt x="235" y="918"/>
                  </a:cubicBezTo>
                  <a:cubicBezTo>
                    <a:pt x="245" y="916"/>
                    <a:pt x="249" y="907"/>
                    <a:pt x="251" y="895"/>
                  </a:cubicBezTo>
                  <a:cubicBezTo>
                    <a:pt x="249" y="894"/>
                    <a:pt x="246" y="895"/>
                    <a:pt x="246" y="892"/>
                  </a:cubicBezTo>
                  <a:cubicBezTo>
                    <a:pt x="254" y="879"/>
                    <a:pt x="238" y="856"/>
                    <a:pt x="254" y="855"/>
                  </a:cubicBezTo>
                  <a:cubicBezTo>
                    <a:pt x="255" y="866"/>
                    <a:pt x="249" y="868"/>
                    <a:pt x="251" y="881"/>
                  </a:cubicBezTo>
                  <a:cubicBezTo>
                    <a:pt x="256" y="879"/>
                    <a:pt x="257" y="886"/>
                    <a:pt x="259" y="888"/>
                  </a:cubicBezTo>
                  <a:cubicBezTo>
                    <a:pt x="265" y="875"/>
                    <a:pt x="267" y="899"/>
                    <a:pt x="273" y="899"/>
                  </a:cubicBezTo>
                  <a:cubicBezTo>
                    <a:pt x="273" y="895"/>
                    <a:pt x="277" y="894"/>
                    <a:pt x="278" y="899"/>
                  </a:cubicBezTo>
                  <a:cubicBezTo>
                    <a:pt x="283" y="911"/>
                    <a:pt x="268" y="914"/>
                    <a:pt x="275" y="918"/>
                  </a:cubicBezTo>
                  <a:cubicBezTo>
                    <a:pt x="276" y="909"/>
                    <a:pt x="287" y="916"/>
                    <a:pt x="292" y="914"/>
                  </a:cubicBezTo>
                  <a:cubicBezTo>
                    <a:pt x="291" y="919"/>
                    <a:pt x="293" y="922"/>
                    <a:pt x="294" y="925"/>
                  </a:cubicBezTo>
                  <a:cubicBezTo>
                    <a:pt x="304" y="925"/>
                    <a:pt x="310" y="931"/>
                    <a:pt x="313" y="940"/>
                  </a:cubicBezTo>
                  <a:cubicBezTo>
                    <a:pt x="312" y="940"/>
                    <a:pt x="310" y="943"/>
                    <a:pt x="313" y="943"/>
                  </a:cubicBezTo>
                  <a:cubicBezTo>
                    <a:pt x="314" y="937"/>
                    <a:pt x="319" y="941"/>
                    <a:pt x="321" y="943"/>
                  </a:cubicBezTo>
                  <a:cubicBezTo>
                    <a:pt x="323" y="945"/>
                    <a:pt x="325" y="946"/>
                    <a:pt x="326" y="947"/>
                  </a:cubicBezTo>
                  <a:cubicBezTo>
                    <a:pt x="329" y="949"/>
                    <a:pt x="332" y="954"/>
                    <a:pt x="335" y="954"/>
                  </a:cubicBezTo>
                  <a:cubicBezTo>
                    <a:pt x="334" y="954"/>
                    <a:pt x="335" y="948"/>
                    <a:pt x="337" y="951"/>
                  </a:cubicBezTo>
                  <a:cubicBezTo>
                    <a:pt x="339" y="953"/>
                    <a:pt x="336" y="958"/>
                    <a:pt x="340" y="958"/>
                  </a:cubicBezTo>
                  <a:cubicBezTo>
                    <a:pt x="344" y="959"/>
                    <a:pt x="345" y="969"/>
                    <a:pt x="345" y="973"/>
                  </a:cubicBezTo>
                  <a:cubicBezTo>
                    <a:pt x="364" y="976"/>
                    <a:pt x="367" y="1002"/>
                    <a:pt x="388" y="1003"/>
                  </a:cubicBezTo>
                  <a:cubicBezTo>
                    <a:pt x="391" y="1008"/>
                    <a:pt x="394" y="1015"/>
                    <a:pt x="396" y="1017"/>
                  </a:cubicBezTo>
                  <a:cubicBezTo>
                    <a:pt x="400" y="1021"/>
                    <a:pt x="406" y="1018"/>
                    <a:pt x="410" y="1021"/>
                  </a:cubicBezTo>
                  <a:cubicBezTo>
                    <a:pt x="411" y="1022"/>
                    <a:pt x="411" y="1028"/>
                    <a:pt x="412" y="1028"/>
                  </a:cubicBezTo>
                  <a:cubicBezTo>
                    <a:pt x="415" y="1030"/>
                    <a:pt x="418" y="1028"/>
                    <a:pt x="421" y="1028"/>
                  </a:cubicBezTo>
                  <a:cubicBezTo>
                    <a:pt x="421" y="1029"/>
                    <a:pt x="420" y="1032"/>
                    <a:pt x="421" y="1032"/>
                  </a:cubicBezTo>
                  <a:cubicBezTo>
                    <a:pt x="421" y="1033"/>
                    <a:pt x="428" y="1035"/>
                    <a:pt x="429" y="1036"/>
                  </a:cubicBezTo>
                  <a:cubicBezTo>
                    <a:pt x="433" y="1040"/>
                    <a:pt x="436" y="1038"/>
                    <a:pt x="442" y="1040"/>
                  </a:cubicBezTo>
                  <a:cubicBezTo>
                    <a:pt x="442" y="1040"/>
                    <a:pt x="443" y="1043"/>
                    <a:pt x="445" y="1043"/>
                  </a:cubicBezTo>
                  <a:cubicBezTo>
                    <a:pt x="448" y="1044"/>
                    <a:pt x="450" y="1046"/>
                    <a:pt x="453" y="1047"/>
                  </a:cubicBezTo>
                  <a:cubicBezTo>
                    <a:pt x="460" y="1049"/>
                    <a:pt x="461" y="1051"/>
                    <a:pt x="464" y="1058"/>
                  </a:cubicBezTo>
                  <a:cubicBezTo>
                    <a:pt x="469" y="1058"/>
                    <a:pt x="474" y="1058"/>
                    <a:pt x="480" y="1058"/>
                  </a:cubicBezTo>
                  <a:cubicBezTo>
                    <a:pt x="480" y="1065"/>
                    <a:pt x="481" y="1064"/>
                    <a:pt x="485" y="1065"/>
                  </a:cubicBezTo>
                  <a:cubicBezTo>
                    <a:pt x="486" y="1066"/>
                    <a:pt x="489" y="1069"/>
                    <a:pt x="488" y="1069"/>
                  </a:cubicBezTo>
                  <a:cubicBezTo>
                    <a:pt x="491" y="1069"/>
                    <a:pt x="495" y="1065"/>
                    <a:pt x="496" y="1065"/>
                  </a:cubicBezTo>
                  <a:cubicBezTo>
                    <a:pt x="496" y="1066"/>
                    <a:pt x="495" y="1072"/>
                    <a:pt x="496" y="1073"/>
                  </a:cubicBezTo>
                  <a:cubicBezTo>
                    <a:pt x="497" y="1074"/>
                    <a:pt x="500" y="1072"/>
                    <a:pt x="501" y="1073"/>
                  </a:cubicBezTo>
                  <a:cubicBezTo>
                    <a:pt x="502" y="1073"/>
                    <a:pt x="505" y="1077"/>
                    <a:pt x="504" y="1077"/>
                  </a:cubicBezTo>
                  <a:cubicBezTo>
                    <a:pt x="507" y="1077"/>
                    <a:pt x="511" y="1072"/>
                    <a:pt x="512" y="1073"/>
                  </a:cubicBezTo>
                  <a:cubicBezTo>
                    <a:pt x="514" y="1074"/>
                    <a:pt x="515" y="1082"/>
                    <a:pt x="517" y="1084"/>
                  </a:cubicBezTo>
                  <a:cubicBezTo>
                    <a:pt x="526" y="1087"/>
                    <a:pt x="523" y="1074"/>
                    <a:pt x="531" y="1077"/>
                  </a:cubicBezTo>
                  <a:cubicBezTo>
                    <a:pt x="532" y="1087"/>
                    <a:pt x="545" y="1082"/>
                    <a:pt x="542" y="1099"/>
                  </a:cubicBezTo>
                  <a:cubicBezTo>
                    <a:pt x="550" y="1098"/>
                    <a:pt x="553" y="1105"/>
                    <a:pt x="563" y="1102"/>
                  </a:cubicBezTo>
                  <a:cubicBezTo>
                    <a:pt x="565" y="1112"/>
                    <a:pt x="571" y="1117"/>
                    <a:pt x="574" y="1125"/>
                  </a:cubicBezTo>
                  <a:cubicBezTo>
                    <a:pt x="576" y="1129"/>
                    <a:pt x="574" y="1129"/>
                    <a:pt x="577" y="1132"/>
                  </a:cubicBezTo>
                  <a:cubicBezTo>
                    <a:pt x="577" y="1133"/>
                    <a:pt x="576" y="1138"/>
                    <a:pt x="577" y="1139"/>
                  </a:cubicBezTo>
                  <a:cubicBezTo>
                    <a:pt x="577" y="1140"/>
                    <a:pt x="579" y="1139"/>
                    <a:pt x="579" y="1139"/>
                  </a:cubicBezTo>
                  <a:cubicBezTo>
                    <a:pt x="580" y="1140"/>
                    <a:pt x="579" y="1145"/>
                    <a:pt x="579" y="1147"/>
                  </a:cubicBezTo>
                  <a:cubicBezTo>
                    <a:pt x="580" y="1148"/>
                    <a:pt x="584" y="1149"/>
                    <a:pt x="585" y="1151"/>
                  </a:cubicBezTo>
                  <a:cubicBezTo>
                    <a:pt x="586" y="1154"/>
                    <a:pt x="585" y="1159"/>
                    <a:pt x="587" y="1162"/>
                  </a:cubicBezTo>
                  <a:cubicBezTo>
                    <a:pt x="589" y="1165"/>
                    <a:pt x="593" y="1163"/>
                    <a:pt x="595" y="1165"/>
                  </a:cubicBezTo>
                  <a:cubicBezTo>
                    <a:pt x="599" y="1169"/>
                    <a:pt x="603" y="1175"/>
                    <a:pt x="606" y="1180"/>
                  </a:cubicBezTo>
                  <a:cubicBezTo>
                    <a:pt x="611" y="1186"/>
                    <a:pt x="614" y="1193"/>
                    <a:pt x="617" y="1199"/>
                  </a:cubicBezTo>
                  <a:cubicBezTo>
                    <a:pt x="634" y="1201"/>
                    <a:pt x="644" y="1194"/>
                    <a:pt x="660" y="1195"/>
                  </a:cubicBezTo>
                  <a:cubicBezTo>
                    <a:pt x="670" y="1210"/>
                    <a:pt x="684" y="1205"/>
                    <a:pt x="698" y="1210"/>
                  </a:cubicBezTo>
                  <a:cubicBezTo>
                    <a:pt x="699" y="1210"/>
                    <a:pt x="702" y="1216"/>
                    <a:pt x="703" y="1217"/>
                  </a:cubicBezTo>
                  <a:cubicBezTo>
                    <a:pt x="706" y="1218"/>
                    <a:pt x="710" y="1216"/>
                    <a:pt x="714" y="1217"/>
                  </a:cubicBezTo>
                  <a:cubicBezTo>
                    <a:pt x="714" y="1217"/>
                    <a:pt x="714" y="1220"/>
                    <a:pt x="716" y="1221"/>
                  </a:cubicBezTo>
                  <a:cubicBezTo>
                    <a:pt x="720" y="1222"/>
                    <a:pt x="722" y="1222"/>
                    <a:pt x="724" y="1225"/>
                  </a:cubicBezTo>
                  <a:cubicBezTo>
                    <a:pt x="730" y="1230"/>
                    <a:pt x="736" y="1226"/>
                    <a:pt x="743" y="1228"/>
                  </a:cubicBezTo>
                  <a:cubicBezTo>
                    <a:pt x="744" y="1228"/>
                    <a:pt x="747" y="1235"/>
                    <a:pt x="749" y="1235"/>
                  </a:cubicBezTo>
                  <a:cubicBezTo>
                    <a:pt x="752" y="1237"/>
                    <a:pt x="755" y="1232"/>
                    <a:pt x="757" y="1232"/>
                  </a:cubicBezTo>
                  <a:cubicBezTo>
                    <a:pt x="756" y="1232"/>
                    <a:pt x="758" y="1235"/>
                    <a:pt x="759" y="1235"/>
                  </a:cubicBezTo>
                  <a:cubicBezTo>
                    <a:pt x="763" y="1237"/>
                    <a:pt x="765" y="1238"/>
                    <a:pt x="767" y="1239"/>
                  </a:cubicBezTo>
                  <a:cubicBezTo>
                    <a:pt x="775" y="1242"/>
                    <a:pt x="773" y="1245"/>
                    <a:pt x="778" y="1247"/>
                  </a:cubicBezTo>
                  <a:cubicBezTo>
                    <a:pt x="777" y="1246"/>
                    <a:pt x="780" y="1243"/>
                    <a:pt x="781" y="1243"/>
                  </a:cubicBezTo>
                  <a:cubicBezTo>
                    <a:pt x="784" y="1242"/>
                    <a:pt x="788" y="1245"/>
                    <a:pt x="789" y="1247"/>
                  </a:cubicBezTo>
                  <a:cubicBezTo>
                    <a:pt x="795" y="1255"/>
                    <a:pt x="799" y="1246"/>
                    <a:pt x="805" y="1247"/>
                  </a:cubicBezTo>
                  <a:cubicBezTo>
                    <a:pt x="805" y="1247"/>
                    <a:pt x="806" y="1250"/>
                    <a:pt x="808" y="1250"/>
                  </a:cubicBezTo>
                  <a:cubicBezTo>
                    <a:pt x="809" y="1251"/>
                    <a:pt x="812" y="1250"/>
                    <a:pt x="813" y="1250"/>
                  </a:cubicBezTo>
                  <a:cubicBezTo>
                    <a:pt x="813" y="1251"/>
                    <a:pt x="813" y="1254"/>
                    <a:pt x="813" y="1254"/>
                  </a:cubicBezTo>
                  <a:cubicBezTo>
                    <a:pt x="817" y="1256"/>
                    <a:pt x="823" y="1255"/>
                    <a:pt x="827" y="1258"/>
                  </a:cubicBezTo>
                  <a:cubicBezTo>
                    <a:pt x="827" y="1255"/>
                    <a:pt x="827" y="1250"/>
                    <a:pt x="829" y="1250"/>
                  </a:cubicBezTo>
                  <a:cubicBezTo>
                    <a:pt x="835" y="1258"/>
                    <a:pt x="835" y="1249"/>
                    <a:pt x="840" y="1247"/>
                  </a:cubicBezTo>
                  <a:cubicBezTo>
                    <a:pt x="840" y="1252"/>
                    <a:pt x="840" y="1257"/>
                    <a:pt x="840" y="1261"/>
                  </a:cubicBezTo>
                  <a:cubicBezTo>
                    <a:pt x="845" y="1263"/>
                    <a:pt x="845" y="1256"/>
                    <a:pt x="848" y="1254"/>
                  </a:cubicBezTo>
                  <a:cubicBezTo>
                    <a:pt x="849" y="1258"/>
                    <a:pt x="851" y="1260"/>
                    <a:pt x="854" y="1261"/>
                  </a:cubicBezTo>
                  <a:cubicBezTo>
                    <a:pt x="854" y="1257"/>
                    <a:pt x="853" y="1251"/>
                    <a:pt x="856" y="1250"/>
                  </a:cubicBezTo>
                  <a:cubicBezTo>
                    <a:pt x="864" y="1260"/>
                    <a:pt x="866" y="1254"/>
                    <a:pt x="878" y="1258"/>
                  </a:cubicBezTo>
                  <a:cubicBezTo>
                    <a:pt x="878" y="1262"/>
                    <a:pt x="878" y="1266"/>
                    <a:pt x="883" y="1265"/>
                  </a:cubicBezTo>
                  <a:cubicBezTo>
                    <a:pt x="884" y="1253"/>
                    <a:pt x="888" y="1263"/>
                    <a:pt x="897" y="1258"/>
                  </a:cubicBezTo>
                  <a:cubicBezTo>
                    <a:pt x="896" y="1264"/>
                    <a:pt x="899" y="1267"/>
                    <a:pt x="902" y="1269"/>
                  </a:cubicBezTo>
                  <a:cubicBezTo>
                    <a:pt x="904" y="1263"/>
                    <a:pt x="905" y="1269"/>
                    <a:pt x="907" y="1265"/>
                  </a:cubicBezTo>
                  <a:cubicBezTo>
                    <a:pt x="911" y="1260"/>
                    <a:pt x="921" y="1269"/>
                    <a:pt x="921" y="1269"/>
                  </a:cubicBezTo>
                  <a:cubicBezTo>
                    <a:pt x="923" y="1268"/>
                    <a:pt x="926" y="1255"/>
                    <a:pt x="931" y="1261"/>
                  </a:cubicBezTo>
                  <a:cubicBezTo>
                    <a:pt x="930" y="1276"/>
                    <a:pt x="940" y="1266"/>
                    <a:pt x="945" y="1265"/>
                  </a:cubicBezTo>
                  <a:cubicBezTo>
                    <a:pt x="948" y="1265"/>
                    <a:pt x="949" y="1269"/>
                    <a:pt x="953" y="1269"/>
                  </a:cubicBezTo>
                  <a:cubicBezTo>
                    <a:pt x="952" y="1269"/>
                    <a:pt x="955" y="1265"/>
                    <a:pt x="956" y="1265"/>
                  </a:cubicBezTo>
                  <a:cubicBezTo>
                    <a:pt x="968" y="1258"/>
                    <a:pt x="952" y="1267"/>
                    <a:pt x="953" y="1258"/>
                  </a:cubicBezTo>
                  <a:cubicBezTo>
                    <a:pt x="957" y="1258"/>
                    <a:pt x="959" y="1256"/>
                    <a:pt x="961" y="1254"/>
                  </a:cubicBezTo>
                  <a:cubicBezTo>
                    <a:pt x="966" y="1259"/>
                    <a:pt x="961" y="1276"/>
                    <a:pt x="969" y="1276"/>
                  </a:cubicBezTo>
                  <a:cubicBezTo>
                    <a:pt x="968" y="1266"/>
                    <a:pt x="984" y="1279"/>
                    <a:pt x="983" y="1269"/>
                  </a:cubicBezTo>
                  <a:cubicBezTo>
                    <a:pt x="980" y="1268"/>
                    <a:pt x="978" y="1265"/>
                    <a:pt x="977" y="1261"/>
                  </a:cubicBezTo>
                  <a:cubicBezTo>
                    <a:pt x="990" y="1261"/>
                    <a:pt x="987" y="1259"/>
                    <a:pt x="999" y="1254"/>
                  </a:cubicBezTo>
                  <a:cubicBezTo>
                    <a:pt x="999" y="1260"/>
                    <a:pt x="998" y="1268"/>
                    <a:pt x="1001" y="1269"/>
                  </a:cubicBezTo>
                  <a:cubicBezTo>
                    <a:pt x="1002" y="1264"/>
                    <a:pt x="1002" y="1260"/>
                    <a:pt x="1007" y="1261"/>
                  </a:cubicBezTo>
                  <a:cubicBezTo>
                    <a:pt x="1007" y="1269"/>
                    <a:pt x="999" y="1266"/>
                    <a:pt x="1001" y="1276"/>
                  </a:cubicBezTo>
                  <a:cubicBezTo>
                    <a:pt x="1010" y="1279"/>
                    <a:pt x="1007" y="1267"/>
                    <a:pt x="1012" y="1265"/>
                  </a:cubicBezTo>
                  <a:cubicBezTo>
                    <a:pt x="1016" y="1264"/>
                    <a:pt x="1016" y="1272"/>
                    <a:pt x="1018" y="1273"/>
                  </a:cubicBezTo>
                  <a:cubicBezTo>
                    <a:pt x="1023" y="1275"/>
                    <a:pt x="1027" y="1266"/>
                    <a:pt x="1031" y="1269"/>
                  </a:cubicBezTo>
                  <a:cubicBezTo>
                    <a:pt x="1037" y="1273"/>
                    <a:pt x="1028" y="1282"/>
                    <a:pt x="1034" y="1280"/>
                  </a:cubicBezTo>
                  <a:cubicBezTo>
                    <a:pt x="1036" y="1279"/>
                    <a:pt x="1040" y="1267"/>
                    <a:pt x="1042" y="1265"/>
                  </a:cubicBezTo>
                  <a:cubicBezTo>
                    <a:pt x="1037" y="1264"/>
                    <a:pt x="1035" y="1271"/>
                    <a:pt x="1034" y="1265"/>
                  </a:cubicBezTo>
                  <a:cubicBezTo>
                    <a:pt x="1037" y="1255"/>
                    <a:pt x="1046" y="1268"/>
                    <a:pt x="1050" y="1269"/>
                  </a:cubicBezTo>
                  <a:cubicBezTo>
                    <a:pt x="1050" y="1254"/>
                    <a:pt x="1054" y="1269"/>
                    <a:pt x="1058" y="1269"/>
                  </a:cubicBezTo>
                  <a:cubicBezTo>
                    <a:pt x="1059" y="1269"/>
                    <a:pt x="1059" y="1263"/>
                    <a:pt x="1063" y="1265"/>
                  </a:cubicBezTo>
                  <a:cubicBezTo>
                    <a:pt x="1063" y="1265"/>
                    <a:pt x="1066" y="1269"/>
                    <a:pt x="1066" y="1269"/>
                  </a:cubicBezTo>
                  <a:cubicBezTo>
                    <a:pt x="1072" y="1275"/>
                    <a:pt x="1069" y="1268"/>
                    <a:pt x="1077" y="1269"/>
                  </a:cubicBezTo>
                  <a:cubicBezTo>
                    <a:pt x="1071" y="1277"/>
                    <a:pt x="1078" y="1277"/>
                    <a:pt x="1082" y="1273"/>
                  </a:cubicBezTo>
                  <a:cubicBezTo>
                    <a:pt x="1080" y="1284"/>
                    <a:pt x="1086" y="1284"/>
                    <a:pt x="1090" y="1287"/>
                  </a:cubicBezTo>
                  <a:cubicBezTo>
                    <a:pt x="1090" y="1281"/>
                    <a:pt x="1092" y="1278"/>
                    <a:pt x="1096" y="1276"/>
                  </a:cubicBezTo>
                  <a:cubicBezTo>
                    <a:pt x="1096" y="1282"/>
                    <a:pt x="1095" y="1289"/>
                    <a:pt x="1101" y="1287"/>
                  </a:cubicBezTo>
                  <a:cubicBezTo>
                    <a:pt x="1101" y="1281"/>
                    <a:pt x="1100" y="1276"/>
                    <a:pt x="1098" y="1273"/>
                  </a:cubicBezTo>
                  <a:cubicBezTo>
                    <a:pt x="1102" y="1273"/>
                    <a:pt x="1104" y="1271"/>
                    <a:pt x="1106" y="1269"/>
                  </a:cubicBezTo>
                  <a:cubicBezTo>
                    <a:pt x="1109" y="1274"/>
                    <a:pt x="1110" y="1284"/>
                    <a:pt x="1114" y="1287"/>
                  </a:cubicBezTo>
                  <a:cubicBezTo>
                    <a:pt x="1119" y="1280"/>
                    <a:pt x="1115" y="1278"/>
                    <a:pt x="1114" y="1269"/>
                  </a:cubicBezTo>
                  <a:cubicBezTo>
                    <a:pt x="1117" y="1275"/>
                    <a:pt x="1124" y="1269"/>
                    <a:pt x="1128" y="1273"/>
                  </a:cubicBezTo>
                  <a:cubicBezTo>
                    <a:pt x="1130" y="1274"/>
                    <a:pt x="1128" y="1285"/>
                    <a:pt x="1133" y="1284"/>
                  </a:cubicBezTo>
                  <a:cubicBezTo>
                    <a:pt x="1134" y="1279"/>
                    <a:pt x="1133" y="1273"/>
                    <a:pt x="1136" y="1273"/>
                  </a:cubicBezTo>
                  <a:cubicBezTo>
                    <a:pt x="1136" y="1277"/>
                    <a:pt x="1140" y="1277"/>
                    <a:pt x="1144" y="1276"/>
                  </a:cubicBezTo>
                  <a:cubicBezTo>
                    <a:pt x="1143" y="1284"/>
                    <a:pt x="1148" y="1284"/>
                    <a:pt x="1149" y="1287"/>
                  </a:cubicBezTo>
                  <a:cubicBezTo>
                    <a:pt x="1147" y="1288"/>
                    <a:pt x="1146" y="1290"/>
                    <a:pt x="1147" y="1295"/>
                  </a:cubicBezTo>
                  <a:cubicBezTo>
                    <a:pt x="1157" y="1295"/>
                    <a:pt x="1158" y="1280"/>
                    <a:pt x="1163" y="1273"/>
                  </a:cubicBezTo>
                  <a:cubicBezTo>
                    <a:pt x="1166" y="1273"/>
                    <a:pt x="1170" y="1273"/>
                    <a:pt x="1173" y="1273"/>
                  </a:cubicBezTo>
                  <a:cubicBezTo>
                    <a:pt x="1173" y="1282"/>
                    <a:pt x="1174" y="1288"/>
                    <a:pt x="1181" y="1287"/>
                  </a:cubicBezTo>
                  <a:cubicBezTo>
                    <a:pt x="1182" y="1282"/>
                    <a:pt x="1181" y="1274"/>
                    <a:pt x="1184" y="1273"/>
                  </a:cubicBezTo>
                  <a:cubicBezTo>
                    <a:pt x="1184" y="1277"/>
                    <a:pt x="1188" y="1274"/>
                    <a:pt x="1190" y="1276"/>
                  </a:cubicBezTo>
                  <a:cubicBezTo>
                    <a:pt x="1190" y="1277"/>
                    <a:pt x="1189" y="1283"/>
                    <a:pt x="1190" y="1284"/>
                  </a:cubicBezTo>
                  <a:cubicBezTo>
                    <a:pt x="1195" y="1287"/>
                    <a:pt x="1202" y="1281"/>
                    <a:pt x="1208" y="1280"/>
                  </a:cubicBezTo>
                  <a:cubicBezTo>
                    <a:pt x="1218" y="1287"/>
                    <a:pt x="1208" y="1278"/>
                    <a:pt x="1214" y="1276"/>
                  </a:cubicBezTo>
                  <a:cubicBezTo>
                    <a:pt x="1221" y="1282"/>
                    <a:pt x="1207" y="1306"/>
                    <a:pt x="1222" y="1306"/>
                  </a:cubicBezTo>
                  <a:cubicBezTo>
                    <a:pt x="1223" y="1300"/>
                    <a:pt x="1219" y="1287"/>
                    <a:pt x="1225" y="1287"/>
                  </a:cubicBezTo>
                  <a:cubicBezTo>
                    <a:pt x="1229" y="1301"/>
                    <a:pt x="1233" y="1282"/>
                    <a:pt x="1235" y="1280"/>
                  </a:cubicBezTo>
                  <a:cubicBezTo>
                    <a:pt x="1236" y="1281"/>
                    <a:pt x="1234" y="1290"/>
                    <a:pt x="1235" y="1291"/>
                  </a:cubicBezTo>
                  <a:cubicBezTo>
                    <a:pt x="1244" y="1297"/>
                    <a:pt x="1256" y="1287"/>
                    <a:pt x="1249" y="1306"/>
                  </a:cubicBezTo>
                  <a:cubicBezTo>
                    <a:pt x="1262" y="1313"/>
                    <a:pt x="1253" y="1289"/>
                    <a:pt x="1260" y="1287"/>
                  </a:cubicBezTo>
                  <a:cubicBezTo>
                    <a:pt x="1260" y="1291"/>
                    <a:pt x="1260" y="1295"/>
                    <a:pt x="1260" y="1298"/>
                  </a:cubicBezTo>
                  <a:cubicBezTo>
                    <a:pt x="1268" y="1302"/>
                    <a:pt x="1263" y="1286"/>
                    <a:pt x="1270" y="1287"/>
                  </a:cubicBezTo>
                  <a:cubicBezTo>
                    <a:pt x="1275" y="1289"/>
                    <a:pt x="1277" y="1282"/>
                    <a:pt x="1278" y="1287"/>
                  </a:cubicBezTo>
                  <a:cubicBezTo>
                    <a:pt x="1276" y="1292"/>
                    <a:pt x="1275" y="1297"/>
                    <a:pt x="1276" y="1306"/>
                  </a:cubicBezTo>
                  <a:cubicBezTo>
                    <a:pt x="1285" y="1306"/>
                    <a:pt x="1280" y="1287"/>
                    <a:pt x="1289" y="1287"/>
                  </a:cubicBezTo>
                  <a:cubicBezTo>
                    <a:pt x="1289" y="1294"/>
                    <a:pt x="1291" y="1300"/>
                    <a:pt x="1294" y="1302"/>
                  </a:cubicBezTo>
                  <a:cubicBezTo>
                    <a:pt x="1296" y="1295"/>
                    <a:pt x="1295" y="1286"/>
                    <a:pt x="1303" y="1287"/>
                  </a:cubicBezTo>
                  <a:cubicBezTo>
                    <a:pt x="1304" y="1295"/>
                    <a:pt x="1299" y="1312"/>
                    <a:pt x="1305" y="1313"/>
                  </a:cubicBezTo>
                  <a:cubicBezTo>
                    <a:pt x="1309" y="1311"/>
                    <a:pt x="1306" y="1299"/>
                    <a:pt x="1311" y="1298"/>
                  </a:cubicBezTo>
                  <a:cubicBezTo>
                    <a:pt x="1316" y="1300"/>
                    <a:pt x="1316" y="1293"/>
                    <a:pt x="1319" y="1291"/>
                  </a:cubicBezTo>
                  <a:cubicBezTo>
                    <a:pt x="1322" y="1291"/>
                    <a:pt x="1325" y="1289"/>
                    <a:pt x="1327" y="1287"/>
                  </a:cubicBezTo>
                  <a:cubicBezTo>
                    <a:pt x="1328" y="1296"/>
                    <a:pt x="1319" y="1291"/>
                    <a:pt x="1319" y="1298"/>
                  </a:cubicBezTo>
                  <a:cubicBezTo>
                    <a:pt x="1326" y="1309"/>
                    <a:pt x="1327" y="1291"/>
                    <a:pt x="1338" y="1295"/>
                  </a:cubicBezTo>
                  <a:cubicBezTo>
                    <a:pt x="1342" y="1297"/>
                    <a:pt x="1337" y="1312"/>
                    <a:pt x="1343" y="1313"/>
                  </a:cubicBezTo>
                  <a:cubicBezTo>
                    <a:pt x="1353" y="1295"/>
                    <a:pt x="1338" y="1295"/>
                    <a:pt x="1338" y="1284"/>
                  </a:cubicBezTo>
                  <a:cubicBezTo>
                    <a:pt x="1345" y="1284"/>
                    <a:pt x="1350" y="1288"/>
                    <a:pt x="1348" y="1302"/>
                  </a:cubicBezTo>
                  <a:cubicBezTo>
                    <a:pt x="1352" y="1302"/>
                    <a:pt x="1355" y="1302"/>
                    <a:pt x="1359" y="1302"/>
                  </a:cubicBezTo>
                  <a:cubicBezTo>
                    <a:pt x="1359" y="1290"/>
                    <a:pt x="1353" y="1284"/>
                    <a:pt x="1364" y="1284"/>
                  </a:cubicBezTo>
                  <a:cubicBezTo>
                    <a:pt x="1363" y="1297"/>
                    <a:pt x="1367" y="1305"/>
                    <a:pt x="1375" y="1306"/>
                  </a:cubicBezTo>
                  <a:cubicBezTo>
                    <a:pt x="1376" y="1300"/>
                    <a:pt x="1374" y="1292"/>
                    <a:pt x="1378" y="1291"/>
                  </a:cubicBezTo>
                  <a:cubicBezTo>
                    <a:pt x="1383" y="1292"/>
                    <a:pt x="1380" y="1300"/>
                    <a:pt x="1383" y="1295"/>
                  </a:cubicBezTo>
                  <a:cubicBezTo>
                    <a:pt x="1385" y="1292"/>
                    <a:pt x="1388" y="1292"/>
                    <a:pt x="1391" y="1291"/>
                  </a:cubicBezTo>
                  <a:cubicBezTo>
                    <a:pt x="1387" y="1304"/>
                    <a:pt x="1400" y="1293"/>
                    <a:pt x="1399" y="1302"/>
                  </a:cubicBezTo>
                  <a:cubicBezTo>
                    <a:pt x="1398" y="1309"/>
                    <a:pt x="1389" y="1305"/>
                    <a:pt x="1391" y="1317"/>
                  </a:cubicBezTo>
                  <a:cubicBezTo>
                    <a:pt x="1399" y="1320"/>
                    <a:pt x="1397" y="1310"/>
                    <a:pt x="1402" y="1309"/>
                  </a:cubicBezTo>
                  <a:cubicBezTo>
                    <a:pt x="1403" y="1314"/>
                    <a:pt x="1406" y="1314"/>
                    <a:pt x="1410" y="1313"/>
                  </a:cubicBezTo>
                  <a:cubicBezTo>
                    <a:pt x="1411" y="1318"/>
                    <a:pt x="1414" y="1321"/>
                    <a:pt x="1418" y="1321"/>
                  </a:cubicBezTo>
                  <a:cubicBezTo>
                    <a:pt x="1422" y="1307"/>
                    <a:pt x="1414" y="1301"/>
                    <a:pt x="1424" y="1295"/>
                  </a:cubicBezTo>
                  <a:cubicBezTo>
                    <a:pt x="1423" y="1303"/>
                    <a:pt x="1424" y="1309"/>
                    <a:pt x="1426" y="1313"/>
                  </a:cubicBezTo>
                  <a:cubicBezTo>
                    <a:pt x="1441" y="1318"/>
                    <a:pt x="1443" y="1304"/>
                    <a:pt x="1450" y="1298"/>
                  </a:cubicBezTo>
                  <a:cubicBezTo>
                    <a:pt x="1449" y="1312"/>
                    <a:pt x="1447" y="1315"/>
                    <a:pt x="1456" y="1321"/>
                  </a:cubicBezTo>
                  <a:cubicBezTo>
                    <a:pt x="1456" y="1313"/>
                    <a:pt x="1463" y="1313"/>
                    <a:pt x="1469" y="1313"/>
                  </a:cubicBezTo>
                  <a:cubicBezTo>
                    <a:pt x="1465" y="1324"/>
                    <a:pt x="1481" y="1323"/>
                    <a:pt x="1480" y="1317"/>
                  </a:cubicBezTo>
                  <a:cubicBezTo>
                    <a:pt x="1471" y="1314"/>
                    <a:pt x="1477" y="1305"/>
                    <a:pt x="1480" y="1302"/>
                  </a:cubicBezTo>
                  <a:cubicBezTo>
                    <a:pt x="1483" y="1299"/>
                    <a:pt x="1487" y="1307"/>
                    <a:pt x="1491" y="1306"/>
                  </a:cubicBezTo>
                  <a:cubicBezTo>
                    <a:pt x="1492" y="1305"/>
                    <a:pt x="1493" y="1298"/>
                    <a:pt x="1496" y="1298"/>
                  </a:cubicBezTo>
                  <a:cubicBezTo>
                    <a:pt x="1497" y="1298"/>
                    <a:pt x="1496" y="1305"/>
                    <a:pt x="1496" y="1306"/>
                  </a:cubicBezTo>
                  <a:cubicBezTo>
                    <a:pt x="1498" y="1309"/>
                    <a:pt x="1507" y="1304"/>
                    <a:pt x="1510" y="1306"/>
                  </a:cubicBezTo>
                  <a:cubicBezTo>
                    <a:pt x="1511" y="1313"/>
                    <a:pt x="1511" y="1322"/>
                    <a:pt x="1518" y="1321"/>
                  </a:cubicBezTo>
                  <a:cubicBezTo>
                    <a:pt x="1520" y="1309"/>
                    <a:pt x="1513" y="1309"/>
                    <a:pt x="1512" y="1302"/>
                  </a:cubicBezTo>
                  <a:cubicBezTo>
                    <a:pt x="1520" y="1305"/>
                    <a:pt x="1519" y="1297"/>
                    <a:pt x="1526" y="1298"/>
                  </a:cubicBezTo>
                  <a:cubicBezTo>
                    <a:pt x="1525" y="1309"/>
                    <a:pt x="1536" y="1302"/>
                    <a:pt x="1536" y="1309"/>
                  </a:cubicBezTo>
                  <a:cubicBezTo>
                    <a:pt x="1536" y="1316"/>
                    <a:pt x="1537" y="1321"/>
                    <a:pt x="1539" y="1324"/>
                  </a:cubicBezTo>
                  <a:cubicBezTo>
                    <a:pt x="1548" y="1321"/>
                    <a:pt x="1551" y="1313"/>
                    <a:pt x="1558" y="1324"/>
                  </a:cubicBezTo>
                  <a:cubicBezTo>
                    <a:pt x="1558" y="1321"/>
                    <a:pt x="1560" y="1320"/>
                    <a:pt x="1561" y="1317"/>
                  </a:cubicBezTo>
                  <a:cubicBezTo>
                    <a:pt x="1561" y="1313"/>
                    <a:pt x="1557" y="1311"/>
                    <a:pt x="1561" y="1309"/>
                  </a:cubicBezTo>
                  <a:cubicBezTo>
                    <a:pt x="1569" y="1304"/>
                    <a:pt x="1570" y="1313"/>
                    <a:pt x="1577" y="1306"/>
                  </a:cubicBezTo>
                  <a:cubicBezTo>
                    <a:pt x="1582" y="1313"/>
                    <a:pt x="1575" y="1313"/>
                    <a:pt x="1577" y="1324"/>
                  </a:cubicBezTo>
                  <a:cubicBezTo>
                    <a:pt x="1582" y="1325"/>
                    <a:pt x="1582" y="1319"/>
                    <a:pt x="1585" y="1317"/>
                  </a:cubicBezTo>
                  <a:cubicBezTo>
                    <a:pt x="1590" y="1317"/>
                    <a:pt x="1588" y="1307"/>
                    <a:pt x="1596" y="1309"/>
                  </a:cubicBezTo>
                  <a:cubicBezTo>
                    <a:pt x="1596" y="1331"/>
                    <a:pt x="1611" y="1299"/>
                    <a:pt x="1612" y="1309"/>
                  </a:cubicBezTo>
                  <a:cubicBezTo>
                    <a:pt x="1611" y="1317"/>
                    <a:pt x="1606" y="1319"/>
                    <a:pt x="1606" y="1328"/>
                  </a:cubicBezTo>
                  <a:cubicBezTo>
                    <a:pt x="1616" y="1329"/>
                    <a:pt x="1616" y="1317"/>
                    <a:pt x="1625" y="1317"/>
                  </a:cubicBezTo>
                  <a:cubicBezTo>
                    <a:pt x="1625" y="1322"/>
                    <a:pt x="1630" y="1320"/>
                    <a:pt x="1631" y="1324"/>
                  </a:cubicBezTo>
                  <a:cubicBezTo>
                    <a:pt x="1622" y="1328"/>
                    <a:pt x="1628" y="1333"/>
                    <a:pt x="1631" y="1339"/>
                  </a:cubicBezTo>
                  <a:cubicBezTo>
                    <a:pt x="1636" y="1339"/>
                    <a:pt x="1644" y="1332"/>
                    <a:pt x="1644" y="1332"/>
                  </a:cubicBezTo>
                  <a:cubicBezTo>
                    <a:pt x="1644" y="1332"/>
                    <a:pt x="1644" y="1339"/>
                    <a:pt x="1644" y="1339"/>
                  </a:cubicBezTo>
                  <a:cubicBezTo>
                    <a:pt x="1652" y="1336"/>
                    <a:pt x="1652" y="1336"/>
                    <a:pt x="1660" y="1324"/>
                  </a:cubicBezTo>
                  <a:cubicBezTo>
                    <a:pt x="1661" y="1329"/>
                    <a:pt x="1661" y="1333"/>
                    <a:pt x="1666" y="1332"/>
                  </a:cubicBezTo>
                  <a:cubicBezTo>
                    <a:pt x="1666" y="1327"/>
                    <a:pt x="1666" y="1323"/>
                    <a:pt x="1671" y="1324"/>
                  </a:cubicBezTo>
                  <a:cubicBezTo>
                    <a:pt x="1672" y="1320"/>
                    <a:pt x="1674" y="1316"/>
                    <a:pt x="1676" y="1313"/>
                  </a:cubicBezTo>
                  <a:cubicBezTo>
                    <a:pt x="1678" y="1320"/>
                    <a:pt x="1673" y="1336"/>
                    <a:pt x="1682" y="1332"/>
                  </a:cubicBezTo>
                  <a:cubicBezTo>
                    <a:pt x="1680" y="1318"/>
                    <a:pt x="1684" y="1312"/>
                    <a:pt x="1687" y="1306"/>
                  </a:cubicBezTo>
                  <a:cubicBezTo>
                    <a:pt x="1684" y="1304"/>
                    <a:pt x="1681" y="1302"/>
                    <a:pt x="1679" y="1298"/>
                  </a:cubicBezTo>
                  <a:cubicBezTo>
                    <a:pt x="1691" y="1301"/>
                    <a:pt x="1683" y="1284"/>
                    <a:pt x="1687" y="1284"/>
                  </a:cubicBezTo>
                  <a:cubicBezTo>
                    <a:pt x="1691" y="1285"/>
                    <a:pt x="1692" y="1288"/>
                    <a:pt x="1695" y="1284"/>
                  </a:cubicBezTo>
                  <a:cubicBezTo>
                    <a:pt x="1695" y="1290"/>
                    <a:pt x="1696" y="1295"/>
                    <a:pt x="1698" y="1298"/>
                  </a:cubicBezTo>
                  <a:cubicBezTo>
                    <a:pt x="1693" y="1298"/>
                    <a:pt x="1691" y="1301"/>
                    <a:pt x="1690" y="1306"/>
                  </a:cubicBezTo>
                  <a:cubicBezTo>
                    <a:pt x="1698" y="1306"/>
                    <a:pt x="1706" y="1306"/>
                    <a:pt x="1714" y="1306"/>
                  </a:cubicBezTo>
                  <a:cubicBezTo>
                    <a:pt x="1719" y="1315"/>
                    <a:pt x="1719" y="1332"/>
                    <a:pt x="1725" y="1339"/>
                  </a:cubicBezTo>
                  <a:cubicBezTo>
                    <a:pt x="1735" y="1342"/>
                    <a:pt x="1735" y="1331"/>
                    <a:pt x="1744" y="1332"/>
                  </a:cubicBezTo>
                  <a:cubicBezTo>
                    <a:pt x="1744" y="1337"/>
                    <a:pt x="1742" y="1340"/>
                    <a:pt x="1741" y="1343"/>
                  </a:cubicBezTo>
                  <a:cubicBezTo>
                    <a:pt x="1751" y="1347"/>
                    <a:pt x="1749" y="1334"/>
                    <a:pt x="1757" y="1335"/>
                  </a:cubicBezTo>
                  <a:cubicBezTo>
                    <a:pt x="1759" y="1342"/>
                    <a:pt x="1766" y="1342"/>
                    <a:pt x="1770" y="1347"/>
                  </a:cubicBezTo>
                  <a:cubicBezTo>
                    <a:pt x="1776" y="1344"/>
                    <a:pt x="1770" y="1326"/>
                    <a:pt x="1776" y="1324"/>
                  </a:cubicBezTo>
                  <a:cubicBezTo>
                    <a:pt x="1776" y="1330"/>
                    <a:pt x="1775" y="1338"/>
                    <a:pt x="1778" y="1339"/>
                  </a:cubicBezTo>
                  <a:cubicBezTo>
                    <a:pt x="1780" y="1335"/>
                    <a:pt x="1782" y="1332"/>
                    <a:pt x="1787" y="1332"/>
                  </a:cubicBezTo>
                  <a:cubicBezTo>
                    <a:pt x="1792" y="1337"/>
                    <a:pt x="1802" y="1326"/>
                    <a:pt x="1811" y="1324"/>
                  </a:cubicBezTo>
                  <a:cubicBezTo>
                    <a:pt x="1811" y="1329"/>
                    <a:pt x="1811" y="1334"/>
                    <a:pt x="1811" y="1339"/>
                  </a:cubicBezTo>
                  <a:cubicBezTo>
                    <a:pt x="1813" y="1339"/>
                    <a:pt x="1816" y="1339"/>
                    <a:pt x="1819" y="1339"/>
                  </a:cubicBezTo>
                  <a:cubicBezTo>
                    <a:pt x="1826" y="1334"/>
                    <a:pt x="1813" y="1320"/>
                    <a:pt x="1819" y="1317"/>
                  </a:cubicBezTo>
                  <a:cubicBezTo>
                    <a:pt x="1824" y="1321"/>
                    <a:pt x="1828" y="1327"/>
                    <a:pt x="1832" y="1332"/>
                  </a:cubicBezTo>
                  <a:cubicBezTo>
                    <a:pt x="1832" y="1337"/>
                    <a:pt x="1828" y="1335"/>
                    <a:pt x="1827" y="1339"/>
                  </a:cubicBezTo>
                  <a:cubicBezTo>
                    <a:pt x="1832" y="1342"/>
                    <a:pt x="1835" y="1348"/>
                    <a:pt x="1840" y="1350"/>
                  </a:cubicBezTo>
                  <a:cubicBezTo>
                    <a:pt x="1840" y="1339"/>
                    <a:pt x="1850" y="1346"/>
                    <a:pt x="1854" y="1343"/>
                  </a:cubicBezTo>
                  <a:cubicBezTo>
                    <a:pt x="1855" y="1342"/>
                    <a:pt x="1858" y="1337"/>
                    <a:pt x="1859" y="1335"/>
                  </a:cubicBezTo>
                  <a:cubicBezTo>
                    <a:pt x="1861" y="1333"/>
                    <a:pt x="1861" y="1328"/>
                    <a:pt x="1865" y="1328"/>
                  </a:cubicBezTo>
                  <a:cubicBezTo>
                    <a:pt x="1864" y="1337"/>
                    <a:pt x="1859" y="1340"/>
                    <a:pt x="1867" y="1343"/>
                  </a:cubicBezTo>
                  <a:cubicBezTo>
                    <a:pt x="1867" y="1334"/>
                    <a:pt x="1869" y="1327"/>
                    <a:pt x="1873" y="1324"/>
                  </a:cubicBezTo>
                  <a:cubicBezTo>
                    <a:pt x="1877" y="1331"/>
                    <a:pt x="1874" y="1347"/>
                    <a:pt x="1881" y="1350"/>
                  </a:cubicBezTo>
                  <a:cubicBezTo>
                    <a:pt x="1877" y="1329"/>
                    <a:pt x="1890" y="1349"/>
                    <a:pt x="1891" y="1339"/>
                  </a:cubicBezTo>
                  <a:cubicBezTo>
                    <a:pt x="1888" y="1338"/>
                    <a:pt x="1887" y="1335"/>
                    <a:pt x="1886" y="1332"/>
                  </a:cubicBezTo>
                  <a:cubicBezTo>
                    <a:pt x="1891" y="1332"/>
                    <a:pt x="1894" y="1331"/>
                    <a:pt x="1897" y="1328"/>
                  </a:cubicBezTo>
                  <a:cubicBezTo>
                    <a:pt x="1899" y="1340"/>
                    <a:pt x="1899" y="1336"/>
                    <a:pt x="1894" y="1343"/>
                  </a:cubicBezTo>
                  <a:cubicBezTo>
                    <a:pt x="1904" y="1347"/>
                    <a:pt x="1902" y="1334"/>
                    <a:pt x="1910" y="1335"/>
                  </a:cubicBezTo>
                  <a:cubicBezTo>
                    <a:pt x="1904" y="1343"/>
                    <a:pt x="1911" y="1347"/>
                    <a:pt x="1913" y="1354"/>
                  </a:cubicBezTo>
                  <a:cubicBezTo>
                    <a:pt x="1917" y="1354"/>
                    <a:pt x="1919" y="1352"/>
                    <a:pt x="1921" y="1350"/>
                  </a:cubicBezTo>
                  <a:cubicBezTo>
                    <a:pt x="1921" y="1344"/>
                    <a:pt x="1928" y="1348"/>
                    <a:pt x="1929" y="1343"/>
                  </a:cubicBezTo>
                  <a:cubicBezTo>
                    <a:pt x="1925" y="1343"/>
                    <a:pt x="1929" y="1340"/>
                    <a:pt x="1929" y="1339"/>
                  </a:cubicBezTo>
                  <a:cubicBezTo>
                    <a:pt x="1929" y="1334"/>
                    <a:pt x="1928" y="1331"/>
                    <a:pt x="1926" y="1328"/>
                  </a:cubicBezTo>
                  <a:cubicBezTo>
                    <a:pt x="1930" y="1329"/>
                    <a:pt x="1936" y="1327"/>
                    <a:pt x="1937" y="1332"/>
                  </a:cubicBezTo>
                  <a:cubicBezTo>
                    <a:pt x="1934" y="1332"/>
                    <a:pt x="1931" y="1333"/>
                    <a:pt x="1932" y="1339"/>
                  </a:cubicBezTo>
                  <a:cubicBezTo>
                    <a:pt x="1938" y="1348"/>
                    <a:pt x="1939" y="1333"/>
                    <a:pt x="1945" y="1332"/>
                  </a:cubicBezTo>
                  <a:cubicBezTo>
                    <a:pt x="1949" y="1336"/>
                    <a:pt x="1946" y="1350"/>
                    <a:pt x="1953" y="1350"/>
                  </a:cubicBezTo>
                  <a:cubicBezTo>
                    <a:pt x="1954" y="1346"/>
                    <a:pt x="1953" y="1340"/>
                    <a:pt x="1956" y="1339"/>
                  </a:cubicBezTo>
                  <a:cubicBezTo>
                    <a:pt x="1956" y="1344"/>
                    <a:pt x="1961" y="1343"/>
                    <a:pt x="1961" y="1347"/>
                  </a:cubicBezTo>
                  <a:cubicBezTo>
                    <a:pt x="1962" y="1351"/>
                    <a:pt x="1965" y="1354"/>
                    <a:pt x="1969" y="1354"/>
                  </a:cubicBezTo>
                  <a:cubicBezTo>
                    <a:pt x="1973" y="1353"/>
                    <a:pt x="1973" y="1349"/>
                    <a:pt x="1975" y="1347"/>
                  </a:cubicBezTo>
                  <a:cubicBezTo>
                    <a:pt x="1975" y="1345"/>
                    <a:pt x="1980" y="1339"/>
                    <a:pt x="1980" y="1339"/>
                  </a:cubicBezTo>
                  <a:cubicBezTo>
                    <a:pt x="1982" y="1333"/>
                    <a:pt x="1976" y="1330"/>
                    <a:pt x="1980" y="1328"/>
                  </a:cubicBezTo>
                  <a:cubicBezTo>
                    <a:pt x="1988" y="1331"/>
                    <a:pt x="1984" y="1349"/>
                    <a:pt x="1994" y="1350"/>
                  </a:cubicBezTo>
                  <a:cubicBezTo>
                    <a:pt x="1995" y="1345"/>
                    <a:pt x="1998" y="1341"/>
                    <a:pt x="2002" y="1339"/>
                  </a:cubicBezTo>
                  <a:cubicBezTo>
                    <a:pt x="2002" y="1334"/>
                    <a:pt x="2001" y="1325"/>
                    <a:pt x="2004" y="1324"/>
                  </a:cubicBezTo>
                  <a:cubicBezTo>
                    <a:pt x="2008" y="1326"/>
                    <a:pt x="2010" y="1329"/>
                    <a:pt x="2010" y="1335"/>
                  </a:cubicBezTo>
                  <a:cubicBezTo>
                    <a:pt x="2018" y="1342"/>
                    <a:pt x="2021" y="1322"/>
                    <a:pt x="2023" y="1332"/>
                  </a:cubicBezTo>
                  <a:cubicBezTo>
                    <a:pt x="2019" y="1335"/>
                    <a:pt x="2019" y="1344"/>
                    <a:pt x="2018" y="1350"/>
                  </a:cubicBezTo>
                  <a:cubicBezTo>
                    <a:pt x="2025" y="1351"/>
                    <a:pt x="2029" y="1357"/>
                    <a:pt x="2037" y="1358"/>
                  </a:cubicBezTo>
                  <a:cubicBezTo>
                    <a:pt x="2046" y="1349"/>
                    <a:pt x="2032" y="1329"/>
                    <a:pt x="2037" y="1328"/>
                  </a:cubicBezTo>
                  <a:cubicBezTo>
                    <a:pt x="2047" y="1331"/>
                    <a:pt x="2040" y="1341"/>
                    <a:pt x="2045" y="1347"/>
                  </a:cubicBezTo>
                  <a:cubicBezTo>
                    <a:pt x="2046" y="1342"/>
                    <a:pt x="2048" y="1338"/>
                    <a:pt x="2050" y="1335"/>
                  </a:cubicBezTo>
                  <a:cubicBezTo>
                    <a:pt x="2057" y="1340"/>
                    <a:pt x="2043" y="1351"/>
                    <a:pt x="2055" y="1350"/>
                  </a:cubicBezTo>
                  <a:cubicBezTo>
                    <a:pt x="2056" y="1345"/>
                    <a:pt x="2075" y="1337"/>
                    <a:pt x="2079" y="1335"/>
                  </a:cubicBezTo>
                  <a:cubicBezTo>
                    <a:pt x="2079" y="68"/>
                    <a:pt x="2079" y="68"/>
                    <a:pt x="2079" y="68"/>
                  </a:cubicBezTo>
                  <a:cubicBezTo>
                    <a:pt x="2079" y="68"/>
                    <a:pt x="2061" y="100"/>
                    <a:pt x="2061" y="100"/>
                  </a:cubicBezTo>
                  <a:cubicBezTo>
                    <a:pt x="2059" y="102"/>
                    <a:pt x="2052" y="98"/>
                    <a:pt x="2050" y="100"/>
                  </a:cubicBezTo>
                  <a:close/>
                  <a:moveTo>
                    <a:pt x="28" y="300"/>
                  </a:moveTo>
                  <a:cubicBezTo>
                    <a:pt x="24" y="315"/>
                    <a:pt x="23" y="298"/>
                    <a:pt x="17" y="296"/>
                  </a:cubicBezTo>
                  <a:cubicBezTo>
                    <a:pt x="22" y="283"/>
                    <a:pt x="21" y="305"/>
                    <a:pt x="28" y="300"/>
                  </a:cubicBezTo>
                  <a:close/>
                  <a:moveTo>
                    <a:pt x="17" y="318"/>
                  </a:moveTo>
                  <a:cubicBezTo>
                    <a:pt x="15" y="316"/>
                    <a:pt x="24" y="315"/>
                    <a:pt x="25" y="315"/>
                  </a:cubicBezTo>
                  <a:cubicBezTo>
                    <a:pt x="25" y="315"/>
                    <a:pt x="25" y="311"/>
                    <a:pt x="25" y="311"/>
                  </a:cubicBezTo>
                  <a:cubicBezTo>
                    <a:pt x="35" y="313"/>
                    <a:pt x="21" y="323"/>
                    <a:pt x="17" y="318"/>
                  </a:cubicBezTo>
                  <a:close/>
                  <a:moveTo>
                    <a:pt x="31" y="311"/>
                  </a:moveTo>
                  <a:cubicBezTo>
                    <a:pt x="32" y="307"/>
                    <a:pt x="43" y="299"/>
                    <a:pt x="36" y="296"/>
                  </a:cubicBezTo>
                  <a:cubicBezTo>
                    <a:pt x="44" y="282"/>
                    <a:pt x="44" y="321"/>
                    <a:pt x="31" y="311"/>
                  </a:cubicBezTo>
                  <a:close/>
                  <a:moveTo>
                    <a:pt x="39" y="352"/>
                  </a:moveTo>
                  <a:cubicBezTo>
                    <a:pt x="40" y="347"/>
                    <a:pt x="42" y="344"/>
                    <a:pt x="47" y="344"/>
                  </a:cubicBezTo>
                  <a:cubicBezTo>
                    <a:pt x="46" y="349"/>
                    <a:pt x="43" y="352"/>
                    <a:pt x="39" y="352"/>
                  </a:cubicBezTo>
                  <a:close/>
                  <a:moveTo>
                    <a:pt x="41" y="215"/>
                  </a:moveTo>
                  <a:cubicBezTo>
                    <a:pt x="45" y="216"/>
                    <a:pt x="47" y="220"/>
                    <a:pt x="47" y="226"/>
                  </a:cubicBezTo>
                  <a:cubicBezTo>
                    <a:pt x="44" y="224"/>
                    <a:pt x="41" y="221"/>
                    <a:pt x="41" y="215"/>
                  </a:cubicBezTo>
                  <a:close/>
                  <a:moveTo>
                    <a:pt x="41" y="677"/>
                  </a:moveTo>
                  <a:cubicBezTo>
                    <a:pt x="43" y="675"/>
                    <a:pt x="49" y="681"/>
                    <a:pt x="49" y="681"/>
                  </a:cubicBezTo>
                  <a:cubicBezTo>
                    <a:pt x="53" y="694"/>
                    <a:pt x="36" y="684"/>
                    <a:pt x="41" y="677"/>
                  </a:cubicBezTo>
                  <a:close/>
                  <a:moveTo>
                    <a:pt x="189" y="644"/>
                  </a:moveTo>
                  <a:cubicBezTo>
                    <a:pt x="194" y="643"/>
                    <a:pt x="194" y="647"/>
                    <a:pt x="197" y="648"/>
                  </a:cubicBezTo>
                  <a:cubicBezTo>
                    <a:pt x="198" y="655"/>
                    <a:pt x="185" y="653"/>
                    <a:pt x="189" y="644"/>
                  </a:cubicBezTo>
                  <a:close/>
                  <a:moveTo>
                    <a:pt x="192" y="337"/>
                  </a:moveTo>
                  <a:cubicBezTo>
                    <a:pt x="191" y="343"/>
                    <a:pt x="184" y="340"/>
                    <a:pt x="187" y="352"/>
                  </a:cubicBezTo>
                  <a:cubicBezTo>
                    <a:pt x="180" y="351"/>
                    <a:pt x="180" y="342"/>
                    <a:pt x="184" y="337"/>
                  </a:cubicBezTo>
                  <a:cubicBezTo>
                    <a:pt x="176" y="325"/>
                    <a:pt x="165" y="336"/>
                    <a:pt x="154" y="329"/>
                  </a:cubicBezTo>
                  <a:cubicBezTo>
                    <a:pt x="156" y="332"/>
                    <a:pt x="157" y="335"/>
                    <a:pt x="157" y="341"/>
                  </a:cubicBezTo>
                  <a:cubicBezTo>
                    <a:pt x="165" y="336"/>
                    <a:pt x="169" y="339"/>
                    <a:pt x="170" y="352"/>
                  </a:cubicBezTo>
                  <a:cubicBezTo>
                    <a:pt x="167" y="350"/>
                    <a:pt x="166" y="345"/>
                    <a:pt x="163" y="344"/>
                  </a:cubicBezTo>
                  <a:cubicBezTo>
                    <a:pt x="161" y="352"/>
                    <a:pt x="168" y="350"/>
                    <a:pt x="168" y="355"/>
                  </a:cubicBezTo>
                  <a:cubicBezTo>
                    <a:pt x="171" y="356"/>
                    <a:pt x="170" y="363"/>
                    <a:pt x="173" y="363"/>
                  </a:cubicBezTo>
                  <a:cubicBezTo>
                    <a:pt x="172" y="371"/>
                    <a:pt x="158" y="362"/>
                    <a:pt x="160" y="374"/>
                  </a:cubicBezTo>
                  <a:cubicBezTo>
                    <a:pt x="156" y="373"/>
                    <a:pt x="158" y="365"/>
                    <a:pt x="157" y="359"/>
                  </a:cubicBezTo>
                  <a:cubicBezTo>
                    <a:pt x="161" y="359"/>
                    <a:pt x="164" y="359"/>
                    <a:pt x="168" y="359"/>
                  </a:cubicBezTo>
                  <a:cubicBezTo>
                    <a:pt x="168" y="353"/>
                    <a:pt x="162" y="358"/>
                    <a:pt x="160" y="355"/>
                  </a:cubicBezTo>
                  <a:cubicBezTo>
                    <a:pt x="157" y="353"/>
                    <a:pt x="162" y="337"/>
                    <a:pt x="152" y="344"/>
                  </a:cubicBezTo>
                  <a:cubicBezTo>
                    <a:pt x="153" y="331"/>
                    <a:pt x="149" y="325"/>
                    <a:pt x="144" y="322"/>
                  </a:cubicBezTo>
                  <a:cubicBezTo>
                    <a:pt x="144" y="318"/>
                    <a:pt x="149" y="320"/>
                    <a:pt x="149" y="315"/>
                  </a:cubicBezTo>
                  <a:cubicBezTo>
                    <a:pt x="149" y="307"/>
                    <a:pt x="139" y="313"/>
                    <a:pt x="135" y="311"/>
                  </a:cubicBezTo>
                  <a:cubicBezTo>
                    <a:pt x="135" y="318"/>
                    <a:pt x="139" y="319"/>
                    <a:pt x="138" y="326"/>
                  </a:cubicBezTo>
                  <a:cubicBezTo>
                    <a:pt x="136" y="323"/>
                    <a:pt x="131" y="320"/>
                    <a:pt x="130" y="326"/>
                  </a:cubicBezTo>
                  <a:cubicBezTo>
                    <a:pt x="123" y="323"/>
                    <a:pt x="135" y="316"/>
                    <a:pt x="133" y="307"/>
                  </a:cubicBezTo>
                  <a:cubicBezTo>
                    <a:pt x="144" y="301"/>
                    <a:pt x="153" y="317"/>
                    <a:pt x="154" y="311"/>
                  </a:cubicBezTo>
                  <a:cubicBezTo>
                    <a:pt x="163" y="315"/>
                    <a:pt x="151" y="321"/>
                    <a:pt x="152" y="326"/>
                  </a:cubicBezTo>
                  <a:cubicBezTo>
                    <a:pt x="160" y="328"/>
                    <a:pt x="160" y="319"/>
                    <a:pt x="168" y="322"/>
                  </a:cubicBezTo>
                  <a:cubicBezTo>
                    <a:pt x="171" y="316"/>
                    <a:pt x="163" y="315"/>
                    <a:pt x="163" y="315"/>
                  </a:cubicBezTo>
                  <a:cubicBezTo>
                    <a:pt x="162" y="309"/>
                    <a:pt x="171" y="313"/>
                    <a:pt x="170" y="307"/>
                  </a:cubicBezTo>
                  <a:cubicBezTo>
                    <a:pt x="171" y="297"/>
                    <a:pt x="154" y="310"/>
                    <a:pt x="154" y="300"/>
                  </a:cubicBezTo>
                  <a:cubicBezTo>
                    <a:pt x="151" y="298"/>
                    <a:pt x="140" y="304"/>
                    <a:pt x="141" y="296"/>
                  </a:cubicBezTo>
                  <a:cubicBezTo>
                    <a:pt x="145" y="296"/>
                    <a:pt x="150" y="296"/>
                    <a:pt x="154" y="296"/>
                  </a:cubicBezTo>
                  <a:cubicBezTo>
                    <a:pt x="159" y="296"/>
                    <a:pt x="160" y="301"/>
                    <a:pt x="165" y="300"/>
                  </a:cubicBezTo>
                  <a:cubicBezTo>
                    <a:pt x="169" y="298"/>
                    <a:pt x="165" y="297"/>
                    <a:pt x="165" y="292"/>
                  </a:cubicBezTo>
                  <a:cubicBezTo>
                    <a:pt x="168" y="293"/>
                    <a:pt x="170" y="292"/>
                    <a:pt x="170" y="289"/>
                  </a:cubicBezTo>
                  <a:cubicBezTo>
                    <a:pt x="176" y="289"/>
                    <a:pt x="171" y="297"/>
                    <a:pt x="170" y="296"/>
                  </a:cubicBezTo>
                  <a:cubicBezTo>
                    <a:pt x="173" y="308"/>
                    <a:pt x="177" y="297"/>
                    <a:pt x="187" y="304"/>
                  </a:cubicBezTo>
                  <a:cubicBezTo>
                    <a:pt x="186" y="309"/>
                    <a:pt x="180" y="307"/>
                    <a:pt x="176" y="307"/>
                  </a:cubicBezTo>
                  <a:cubicBezTo>
                    <a:pt x="172" y="310"/>
                    <a:pt x="172" y="319"/>
                    <a:pt x="170" y="326"/>
                  </a:cubicBezTo>
                  <a:cubicBezTo>
                    <a:pt x="181" y="328"/>
                    <a:pt x="179" y="301"/>
                    <a:pt x="189" y="315"/>
                  </a:cubicBezTo>
                  <a:cubicBezTo>
                    <a:pt x="191" y="320"/>
                    <a:pt x="182" y="316"/>
                    <a:pt x="181" y="318"/>
                  </a:cubicBezTo>
                  <a:cubicBezTo>
                    <a:pt x="180" y="323"/>
                    <a:pt x="188" y="320"/>
                    <a:pt x="189" y="322"/>
                  </a:cubicBezTo>
                  <a:cubicBezTo>
                    <a:pt x="192" y="325"/>
                    <a:pt x="187" y="338"/>
                    <a:pt x="192" y="337"/>
                  </a:cubicBezTo>
                  <a:close/>
                  <a:moveTo>
                    <a:pt x="189" y="422"/>
                  </a:moveTo>
                  <a:cubicBezTo>
                    <a:pt x="190" y="425"/>
                    <a:pt x="178" y="426"/>
                    <a:pt x="173" y="422"/>
                  </a:cubicBezTo>
                  <a:cubicBezTo>
                    <a:pt x="171" y="420"/>
                    <a:pt x="181" y="416"/>
                    <a:pt x="181" y="418"/>
                  </a:cubicBezTo>
                  <a:cubicBezTo>
                    <a:pt x="180" y="412"/>
                    <a:pt x="176" y="418"/>
                    <a:pt x="173" y="415"/>
                  </a:cubicBezTo>
                  <a:cubicBezTo>
                    <a:pt x="173" y="414"/>
                    <a:pt x="172" y="408"/>
                    <a:pt x="170" y="411"/>
                  </a:cubicBezTo>
                  <a:cubicBezTo>
                    <a:pt x="170" y="411"/>
                    <a:pt x="170" y="415"/>
                    <a:pt x="170" y="415"/>
                  </a:cubicBezTo>
                  <a:cubicBezTo>
                    <a:pt x="168" y="414"/>
                    <a:pt x="166" y="412"/>
                    <a:pt x="163" y="411"/>
                  </a:cubicBezTo>
                  <a:cubicBezTo>
                    <a:pt x="159" y="410"/>
                    <a:pt x="157" y="407"/>
                    <a:pt x="154" y="407"/>
                  </a:cubicBezTo>
                  <a:cubicBezTo>
                    <a:pt x="152" y="407"/>
                    <a:pt x="151" y="414"/>
                    <a:pt x="152" y="415"/>
                  </a:cubicBezTo>
                  <a:cubicBezTo>
                    <a:pt x="148" y="414"/>
                    <a:pt x="151" y="409"/>
                    <a:pt x="149" y="407"/>
                  </a:cubicBezTo>
                  <a:cubicBezTo>
                    <a:pt x="146" y="405"/>
                    <a:pt x="137" y="416"/>
                    <a:pt x="138" y="403"/>
                  </a:cubicBezTo>
                  <a:cubicBezTo>
                    <a:pt x="131" y="406"/>
                    <a:pt x="134" y="405"/>
                    <a:pt x="128" y="403"/>
                  </a:cubicBezTo>
                  <a:cubicBezTo>
                    <a:pt x="123" y="402"/>
                    <a:pt x="113" y="406"/>
                    <a:pt x="117" y="396"/>
                  </a:cubicBezTo>
                  <a:cubicBezTo>
                    <a:pt x="124" y="396"/>
                    <a:pt x="122" y="402"/>
                    <a:pt x="128" y="396"/>
                  </a:cubicBezTo>
                  <a:cubicBezTo>
                    <a:pt x="127" y="392"/>
                    <a:pt x="123" y="393"/>
                    <a:pt x="119" y="392"/>
                  </a:cubicBezTo>
                  <a:cubicBezTo>
                    <a:pt x="123" y="376"/>
                    <a:pt x="130" y="393"/>
                    <a:pt x="133" y="400"/>
                  </a:cubicBezTo>
                  <a:cubicBezTo>
                    <a:pt x="137" y="403"/>
                    <a:pt x="141" y="396"/>
                    <a:pt x="141" y="396"/>
                  </a:cubicBezTo>
                  <a:cubicBezTo>
                    <a:pt x="144" y="396"/>
                    <a:pt x="145" y="403"/>
                    <a:pt x="146" y="403"/>
                  </a:cubicBezTo>
                  <a:cubicBezTo>
                    <a:pt x="147" y="404"/>
                    <a:pt x="158" y="393"/>
                    <a:pt x="160" y="403"/>
                  </a:cubicBezTo>
                  <a:cubicBezTo>
                    <a:pt x="162" y="403"/>
                    <a:pt x="162" y="400"/>
                    <a:pt x="165" y="400"/>
                  </a:cubicBezTo>
                  <a:cubicBezTo>
                    <a:pt x="162" y="396"/>
                    <a:pt x="164" y="386"/>
                    <a:pt x="157" y="389"/>
                  </a:cubicBezTo>
                  <a:cubicBezTo>
                    <a:pt x="159" y="385"/>
                    <a:pt x="163" y="385"/>
                    <a:pt x="163" y="378"/>
                  </a:cubicBezTo>
                  <a:cubicBezTo>
                    <a:pt x="167" y="378"/>
                    <a:pt x="171" y="378"/>
                    <a:pt x="176" y="378"/>
                  </a:cubicBezTo>
                  <a:cubicBezTo>
                    <a:pt x="176" y="386"/>
                    <a:pt x="174" y="389"/>
                    <a:pt x="168" y="389"/>
                  </a:cubicBezTo>
                  <a:cubicBezTo>
                    <a:pt x="167" y="398"/>
                    <a:pt x="173" y="397"/>
                    <a:pt x="170" y="407"/>
                  </a:cubicBezTo>
                  <a:cubicBezTo>
                    <a:pt x="174" y="408"/>
                    <a:pt x="175" y="406"/>
                    <a:pt x="176" y="403"/>
                  </a:cubicBezTo>
                  <a:cubicBezTo>
                    <a:pt x="183" y="412"/>
                    <a:pt x="183" y="408"/>
                    <a:pt x="192" y="411"/>
                  </a:cubicBezTo>
                  <a:cubicBezTo>
                    <a:pt x="192" y="414"/>
                    <a:pt x="189" y="414"/>
                    <a:pt x="187" y="415"/>
                  </a:cubicBezTo>
                  <a:cubicBezTo>
                    <a:pt x="186" y="419"/>
                    <a:pt x="187" y="421"/>
                    <a:pt x="189" y="422"/>
                  </a:cubicBezTo>
                  <a:close/>
                  <a:moveTo>
                    <a:pt x="168" y="440"/>
                  </a:moveTo>
                  <a:cubicBezTo>
                    <a:pt x="169" y="447"/>
                    <a:pt x="153" y="447"/>
                    <a:pt x="157" y="437"/>
                  </a:cubicBezTo>
                  <a:cubicBezTo>
                    <a:pt x="162" y="436"/>
                    <a:pt x="163" y="441"/>
                    <a:pt x="168" y="440"/>
                  </a:cubicBezTo>
                  <a:close/>
                  <a:moveTo>
                    <a:pt x="152" y="444"/>
                  </a:moveTo>
                  <a:cubicBezTo>
                    <a:pt x="149" y="438"/>
                    <a:pt x="142" y="443"/>
                    <a:pt x="138" y="440"/>
                  </a:cubicBezTo>
                  <a:cubicBezTo>
                    <a:pt x="136" y="439"/>
                    <a:pt x="137" y="433"/>
                    <a:pt x="133" y="433"/>
                  </a:cubicBezTo>
                  <a:cubicBezTo>
                    <a:pt x="130" y="433"/>
                    <a:pt x="131" y="428"/>
                    <a:pt x="130" y="426"/>
                  </a:cubicBezTo>
                  <a:cubicBezTo>
                    <a:pt x="127" y="426"/>
                    <a:pt x="128" y="432"/>
                    <a:pt x="128" y="437"/>
                  </a:cubicBezTo>
                  <a:cubicBezTo>
                    <a:pt x="122" y="435"/>
                    <a:pt x="116" y="435"/>
                    <a:pt x="117" y="426"/>
                  </a:cubicBezTo>
                  <a:cubicBezTo>
                    <a:pt x="109" y="425"/>
                    <a:pt x="111" y="432"/>
                    <a:pt x="106" y="426"/>
                  </a:cubicBezTo>
                  <a:cubicBezTo>
                    <a:pt x="109" y="409"/>
                    <a:pt x="114" y="425"/>
                    <a:pt x="119" y="426"/>
                  </a:cubicBezTo>
                  <a:cubicBezTo>
                    <a:pt x="124" y="426"/>
                    <a:pt x="125" y="421"/>
                    <a:pt x="130" y="422"/>
                  </a:cubicBezTo>
                  <a:cubicBezTo>
                    <a:pt x="133" y="430"/>
                    <a:pt x="138" y="435"/>
                    <a:pt x="146" y="437"/>
                  </a:cubicBezTo>
                  <a:cubicBezTo>
                    <a:pt x="153" y="438"/>
                    <a:pt x="145" y="420"/>
                    <a:pt x="154" y="426"/>
                  </a:cubicBezTo>
                  <a:cubicBezTo>
                    <a:pt x="157" y="430"/>
                    <a:pt x="157" y="433"/>
                    <a:pt x="152" y="433"/>
                  </a:cubicBezTo>
                  <a:cubicBezTo>
                    <a:pt x="155" y="438"/>
                    <a:pt x="153" y="439"/>
                    <a:pt x="152" y="444"/>
                  </a:cubicBezTo>
                  <a:close/>
                  <a:moveTo>
                    <a:pt x="141" y="518"/>
                  </a:moveTo>
                  <a:cubicBezTo>
                    <a:pt x="138" y="525"/>
                    <a:pt x="131" y="526"/>
                    <a:pt x="128" y="533"/>
                  </a:cubicBezTo>
                  <a:cubicBezTo>
                    <a:pt x="122" y="531"/>
                    <a:pt x="125" y="519"/>
                    <a:pt x="117" y="522"/>
                  </a:cubicBezTo>
                  <a:cubicBezTo>
                    <a:pt x="116" y="515"/>
                    <a:pt x="129" y="516"/>
                    <a:pt x="125" y="525"/>
                  </a:cubicBezTo>
                  <a:cubicBezTo>
                    <a:pt x="131" y="526"/>
                    <a:pt x="133" y="522"/>
                    <a:pt x="133" y="514"/>
                  </a:cubicBezTo>
                  <a:cubicBezTo>
                    <a:pt x="132" y="510"/>
                    <a:pt x="118" y="506"/>
                    <a:pt x="119" y="511"/>
                  </a:cubicBezTo>
                  <a:cubicBezTo>
                    <a:pt x="111" y="508"/>
                    <a:pt x="122" y="503"/>
                    <a:pt x="119" y="496"/>
                  </a:cubicBezTo>
                  <a:cubicBezTo>
                    <a:pt x="123" y="501"/>
                    <a:pt x="131" y="500"/>
                    <a:pt x="138" y="500"/>
                  </a:cubicBezTo>
                  <a:cubicBezTo>
                    <a:pt x="143" y="509"/>
                    <a:pt x="135" y="513"/>
                    <a:pt x="141" y="518"/>
                  </a:cubicBezTo>
                  <a:close/>
                  <a:moveTo>
                    <a:pt x="133" y="559"/>
                  </a:moveTo>
                  <a:cubicBezTo>
                    <a:pt x="135" y="545"/>
                    <a:pt x="145" y="579"/>
                    <a:pt x="133" y="574"/>
                  </a:cubicBezTo>
                  <a:cubicBezTo>
                    <a:pt x="129" y="565"/>
                    <a:pt x="140" y="560"/>
                    <a:pt x="133" y="559"/>
                  </a:cubicBezTo>
                  <a:close/>
                  <a:moveTo>
                    <a:pt x="130" y="533"/>
                  </a:moveTo>
                  <a:cubicBezTo>
                    <a:pt x="138" y="534"/>
                    <a:pt x="136" y="547"/>
                    <a:pt x="141" y="551"/>
                  </a:cubicBezTo>
                  <a:cubicBezTo>
                    <a:pt x="138" y="559"/>
                    <a:pt x="130" y="542"/>
                    <a:pt x="130" y="533"/>
                  </a:cubicBezTo>
                  <a:close/>
                  <a:moveTo>
                    <a:pt x="125" y="540"/>
                  </a:moveTo>
                  <a:cubicBezTo>
                    <a:pt x="123" y="539"/>
                    <a:pt x="118" y="542"/>
                    <a:pt x="117" y="540"/>
                  </a:cubicBezTo>
                  <a:cubicBezTo>
                    <a:pt x="112" y="531"/>
                    <a:pt x="134" y="538"/>
                    <a:pt x="128" y="548"/>
                  </a:cubicBezTo>
                  <a:cubicBezTo>
                    <a:pt x="126" y="550"/>
                    <a:pt x="125" y="540"/>
                    <a:pt x="125" y="540"/>
                  </a:cubicBezTo>
                  <a:close/>
                  <a:moveTo>
                    <a:pt x="125" y="574"/>
                  </a:moveTo>
                  <a:cubicBezTo>
                    <a:pt x="123" y="574"/>
                    <a:pt x="121" y="568"/>
                    <a:pt x="122" y="566"/>
                  </a:cubicBezTo>
                  <a:cubicBezTo>
                    <a:pt x="126" y="553"/>
                    <a:pt x="127" y="573"/>
                    <a:pt x="125" y="574"/>
                  </a:cubicBezTo>
                  <a:close/>
                  <a:moveTo>
                    <a:pt x="125" y="611"/>
                  </a:moveTo>
                  <a:cubicBezTo>
                    <a:pt x="124" y="615"/>
                    <a:pt x="122" y="613"/>
                    <a:pt x="122" y="611"/>
                  </a:cubicBezTo>
                  <a:cubicBezTo>
                    <a:pt x="120" y="612"/>
                    <a:pt x="117" y="614"/>
                    <a:pt x="117" y="618"/>
                  </a:cubicBezTo>
                  <a:cubicBezTo>
                    <a:pt x="110" y="616"/>
                    <a:pt x="116" y="604"/>
                    <a:pt x="122" y="607"/>
                  </a:cubicBezTo>
                  <a:cubicBezTo>
                    <a:pt x="122" y="610"/>
                    <a:pt x="123" y="610"/>
                    <a:pt x="125" y="611"/>
                  </a:cubicBezTo>
                  <a:close/>
                  <a:moveTo>
                    <a:pt x="111" y="599"/>
                  </a:moveTo>
                  <a:cubicBezTo>
                    <a:pt x="112" y="592"/>
                    <a:pt x="123" y="600"/>
                    <a:pt x="125" y="603"/>
                  </a:cubicBezTo>
                  <a:cubicBezTo>
                    <a:pt x="133" y="608"/>
                    <a:pt x="114" y="602"/>
                    <a:pt x="111" y="599"/>
                  </a:cubicBezTo>
                  <a:close/>
                  <a:moveTo>
                    <a:pt x="93" y="592"/>
                  </a:moveTo>
                  <a:cubicBezTo>
                    <a:pt x="95" y="592"/>
                    <a:pt x="95" y="597"/>
                    <a:pt x="95" y="599"/>
                  </a:cubicBezTo>
                  <a:cubicBezTo>
                    <a:pt x="97" y="594"/>
                    <a:pt x="106" y="599"/>
                    <a:pt x="106" y="592"/>
                  </a:cubicBezTo>
                  <a:cubicBezTo>
                    <a:pt x="109" y="593"/>
                    <a:pt x="109" y="599"/>
                    <a:pt x="106" y="599"/>
                  </a:cubicBezTo>
                  <a:cubicBezTo>
                    <a:pt x="99" y="598"/>
                    <a:pt x="104" y="614"/>
                    <a:pt x="95" y="611"/>
                  </a:cubicBezTo>
                  <a:cubicBezTo>
                    <a:pt x="96" y="602"/>
                    <a:pt x="90" y="603"/>
                    <a:pt x="93" y="592"/>
                  </a:cubicBezTo>
                  <a:close/>
                  <a:moveTo>
                    <a:pt x="93" y="389"/>
                  </a:moveTo>
                  <a:cubicBezTo>
                    <a:pt x="100" y="389"/>
                    <a:pt x="98" y="404"/>
                    <a:pt x="90" y="403"/>
                  </a:cubicBezTo>
                  <a:cubicBezTo>
                    <a:pt x="92" y="400"/>
                    <a:pt x="93" y="395"/>
                    <a:pt x="93" y="389"/>
                  </a:cubicBezTo>
                  <a:close/>
                  <a:moveTo>
                    <a:pt x="87" y="315"/>
                  </a:moveTo>
                  <a:cubicBezTo>
                    <a:pt x="87" y="312"/>
                    <a:pt x="87" y="310"/>
                    <a:pt x="87" y="307"/>
                  </a:cubicBezTo>
                  <a:cubicBezTo>
                    <a:pt x="89" y="308"/>
                    <a:pt x="90" y="306"/>
                    <a:pt x="90" y="304"/>
                  </a:cubicBezTo>
                  <a:cubicBezTo>
                    <a:pt x="95" y="302"/>
                    <a:pt x="94" y="320"/>
                    <a:pt x="87" y="315"/>
                  </a:cubicBezTo>
                  <a:close/>
                  <a:moveTo>
                    <a:pt x="122" y="352"/>
                  </a:moveTo>
                  <a:cubicBezTo>
                    <a:pt x="119" y="355"/>
                    <a:pt x="115" y="357"/>
                    <a:pt x="109" y="355"/>
                  </a:cubicBezTo>
                  <a:cubicBezTo>
                    <a:pt x="109" y="353"/>
                    <a:pt x="109" y="350"/>
                    <a:pt x="109" y="348"/>
                  </a:cubicBezTo>
                  <a:cubicBezTo>
                    <a:pt x="111" y="349"/>
                    <a:pt x="111" y="346"/>
                    <a:pt x="111" y="344"/>
                  </a:cubicBezTo>
                  <a:cubicBezTo>
                    <a:pt x="114" y="345"/>
                    <a:pt x="113" y="352"/>
                    <a:pt x="117" y="352"/>
                  </a:cubicBezTo>
                  <a:cubicBezTo>
                    <a:pt x="119" y="352"/>
                    <a:pt x="119" y="350"/>
                    <a:pt x="119" y="348"/>
                  </a:cubicBezTo>
                  <a:cubicBezTo>
                    <a:pt x="121" y="342"/>
                    <a:pt x="122" y="348"/>
                    <a:pt x="122" y="352"/>
                  </a:cubicBezTo>
                  <a:close/>
                  <a:moveTo>
                    <a:pt x="125" y="381"/>
                  </a:moveTo>
                  <a:cubicBezTo>
                    <a:pt x="115" y="380"/>
                    <a:pt x="118" y="372"/>
                    <a:pt x="119" y="363"/>
                  </a:cubicBezTo>
                  <a:cubicBezTo>
                    <a:pt x="123" y="366"/>
                    <a:pt x="123" y="375"/>
                    <a:pt x="125" y="381"/>
                  </a:cubicBezTo>
                  <a:close/>
                  <a:moveTo>
                    <a:pt x="106" y="318"/>
                  </a:moveTo>
                  <a:cubicBezTo>
                    <a:pt x="109" y="315"/>
                    <a:pt x="107" y="305"/>
                    <a:pt x="114" y="307"/>
                  </a:cubicBezTo>
                  <a:cubicBezTo>
                    <a:pt x="115" y="315"/>
                    <a:pt x="112" y="319"/>
                    <a:pt x="106" y="318"/>
                  </a:cubicBezTo>
                  <a:close/>
                  <a:moveTo>
                    <a:pt x="109" y="363"/>
                  </a:moveTo>
                  <a:cubicBezTo>
                    <a:pt x="110" y="369"/>
                    <a:pt x="117" y="366"/>
                    <a:pt x="114" y="378"/>
                  </a:cubicBezTo>
                  <a:cubicBezTo>
                    <a:pt x="102" y="376"/>
                    <a:pt x="110" y="370"/>
                    <a:pt x="106" y="359"/>
                  </a:cubicBezTo>
                  <a:cubicBezTo>
                    <a:pt x="108" y="358"/>
                    <a:pt x="109" y="360"/>
                    <a:pt x="109" y="363"/>
                  </a:cubicBezTo>
                  <a:close/>
                  <a:moveTo>
                    <a:pt x="114" y="407"/>
                  </a:moveTo>
                  <a:cubicBezTo>
                    <a:pt x="110" y="407"/>
                    <a:pt x="105" y="407"/>
                    <a:pt x="101" y="407"/>
                  </a:cubicBezTo>
                  <a:cubicBezTo>
                    <a:pt x="103" y="394"/>
                    <a:pt x="101" y="398"/>
                    <a:pt x="103" y="385"/>
                  </a:cubicBezTo>
                  <a:cubicBezTo>
                    <a:pt x="106" y="386"/>
                    <a:pt x="106" y="392"/>
                    <a:pt x="106" y="396"/>
                  </a:cubicBezTo>
                  <a:cubicBezTo>
                    <a:pt x="112" y="397"/>
                    <a:pt x="104" y="379"/>
                    <a:pt x="114" y="385"/>
                  </a:cubicBezTo>
                  <a:cubicBezTo>
                    <a:pt x="109" y="392"/>
                    <a:pt x="113" y="398"/>
                    <a:pt x="114" y="407"/>
                  </a:cubicBezTo>
                  <a:close/>
                  <a:moveTo>
                    <a:pt x="106" y="352"/>
                  </a:moveTo>
                  <a:cubicBezTo>
                    <a:pt x="102" y="368"/>
                    <a:pt x="95" y="334"/>
                    <a:pt x="106" y="341"/>
                  </a:cubicBezTo>
                  <a:cubicBezTo>
                    <a:pt x="104" y="344"/>
                    <a:pt x="102" y="351"/>
                    <a:pt x="106" y="352"/>
                  </a:cubicBezTo>
                  <a:close/>
                  <a:moveTo>
                    <a:pt x="103" y="433"/>
                  </a:moveTo>
                  <a:cubicBezTo>
                    <a:pt x="104" y="439"/>
                    <a:pt x="107" y="443"/>
                    <a:pt x="103" y="448"/>
                  </a:cubicBezTo>
                  <a:cubicBezTo>
                    <a:pt x="98" y="444"/>
                    <a:pt x="100" y="435"/>
                    <a:pt x="98" y="429"/>
                  </a:cubicBezTo>
                  <a:cubicBezTo>
                    <a:pt x="96" y="425"/>
                    <a:pt x="92" y="426"/>
                    <a:pt x="93" y="418"/>
                  </a:cubicBezTo>
                  <a:cubicBezTo>
                    <a:pt x="96" y="419"/>
                    <a:pt x="97" y="417"/>
                    <a:pt x="98" y="415"/>
                  </a:cubicBezTo>
                  <a:cubicBezTo>
                    <a:pt x="102" y="417"/>
                    <a:pt x="102" y="426"/>
                    <a:pt x="103" y="433"/>
                  </a:cubicBezTo>
                  <a:close/>
                  <a:moveTo>
                    <a:pt x="109" y="440"/>
                  </a:moveTo>
                  <a:cubicBezTo>
                    <a:pt x="111" y="440"/>
                    <a:pt x="114" y="440"/>
                    <a:pt x="117" y="440"/>
                  </a:cubicBezTo>
                  <a:cubicBezTo>
                    <a:pt x="117" y="447"/>
                    <a:pt x="112" y="455"/>
                    <a:pt x="114" y="459"/>
                  </a:cubicBezTo>
                  <a:cubicBezTo>
                    <a:pt x="115" y="461"/>
                    <a:pt x="117" y="456"/>
                    <a:pt x="117" y="455"/>
                  </a:cubicBezTo>
                  <a:cubicBezTo>
                    <a:pt x="117" y="454"/>
                    <a:pt x="121" y="457"/>
                    <a:pt x="119" y="459"/>
                  </a:cubicBezTo>
                  <a:cubicBezTo>
                    <a:pt x="115" y="464"/>
                    <a:pt x="120" y="463"/>
                    <a:pt x="117" y="474"/>
                  </a:cubicBezTo>
                  <a:cubicBezTo>
                    <a:pt x="111" y="475"/>
                    <a:pt x="108" y="473"/>
                    <a:pt x="109" y="466"/>
                  </a:cubicBezTo>
                  <a:cubicBezTo>
                    <a:pt x="104" y="468"/>
                    <a:pt x="106" y="478"/>
                    <a:pt x="98" y="474"/>
                  </a:cubicBezTo>
                  <a:cubicBezTo>
                    <a:pt x="103" y="465"/>
                    <a:pt x="104" y="463"/>
                    <a:pt x="95" y="459"/>
                  </a:cubicBezTo>
                  <a:cubicBezTo>
                    <a:pt x="96" y="456"/>
                    <a:pt x="104" y="448"/>
                    <a:pt x="103" y="455"/>
                  </a:cubicBezTo>
                  <a:cubicBezTo>
                    <a:pt x="112" y="452"/>
                    <a:pt x="104" y="447"/>
                    <a:pt x="109" y="440"/>
                  </a:cubicBezTo>
                  <a:close/>
                  <a:moveTo>
                    <a:pt x="135" y="485"/>
                  </a:moveTo>
                  <a:cubicBezTo>
                    <a:pt x="138" y="498"/>
                    <a:pt x="121" y="492"/>
                    <a:pt x="119" y="489"/>
                  </a:cubicBezTo>
                  <a:cubicBezTo>
                    <a:pt x="121" y="484"/>
                    <a:pt x="130" y="491"/>
                    <a:pt x="135" y="485"/>
                  </a:cubicBezTo>
                  <a:close/>
                  <a:moveTo>
                    <a:pt x="128" y="463"/>
                  </a:moveTo>
                  <a:cubicBezTo>
                    <a:pt x="128" y="456"/>
                    <a:pt x="134" y="461"/>
                    <a:pt x="135" y="452"/>
                  </a:cubicBezTo>
                  <a:cubicBezTo>
                    <a:pt x="139" y="452"/>
                    <a:pt x="137" y="455"/>
                    <a:pt x="135" y="455"/>
                  </a:cubicBezTo>
                  <a:cubicBezTo>
                    <a:pt x="133" y="469"/>
                    <a:pt x="135" y="473"/>
                    <a:pt x="133" y="481"/>
                  </a:cubicBezTo>
                  <a:cubicBezTo>
                    <a:pt x="127" y="482"/>
                    <a:pt x="123" y="480"/>
                    <a:pt x="122" y="474"/>
                  </a:cubicBezTo>
                  <a:cubicBezTo>
                    <a:pt x="121" y="466"/>
                    <a:pt x="127" y="468"/>
                    <a:pt x="128" y="463"/>
                  </a:cubicBezTo>
                  <a:close/>
                  <a:moveTo>
                    <a:pt x="111" y="507"/>
                  </a:moveTo>
                  <a:cubicBezTo>
                    <a:pt x="106" y="509"/>
                    <a:pt x="104" y="504"/>
                    <a:pt x="101" y="503"/>
                  </a:cubicBezTo>
                  <a:cubicBezTo>
                    <a:pt x="101" y="499"/>
                    <a:pt x="106" y="500"/>
                    <a:pt x="109" y="500"/>
                  </a:cubicBezTo>
                  <a:cubicBezTo>
                    <a:pt x="109" y="495"/>
                    <a:pt x="109" y="490"/>
                    <a:pt x="109" y="485"/>
                  </a:cubicBezTo>
                  <a:cubicBezTo>
                    <a:pt x="113" y="473"/>
                    <a:pt x="111" y="501"/>
                    <a:pt x="111" y="507"/>
                  </a:cubicBezTo>
                  <a:close/>
                  <a:moveTo>
                    <a:pt x="109" y="544"/>
                  </a:moveTo>
                  <a:cubicBezTo>
                    <a:pt x="103" y="544"/>
                    <a:pt x="105" y="534"/>
                    <a:pt x="98" y="537"/>
                  </a:cubicBezTo>
                  <a:cubicBezTo>
                    <a:pt x="90" y="526"/>
                    <a:pt x="110" y="542"/>
                    <a:pt x="109" y="533"/>
                  </a:cubicBezTo>
                  <a:cubicBezTo>
                    <a:pt x="113" y="534"/>
                    <a:pt x="108" y="538"/>
                    <a:pt x="109" y="544"/>
                  </a:cubicBezTo>
                  <a:close/>
                  <a:moveTo>
                    <a:pt x="101" y="585"/>
                  </a:moveTo>
                  <a:cubicBezTo>
                    <a:pt x="98" y="596"/>
                    <a:pt x="98" y="574"/>
                    <a:pt x="93" y="577"/>
                  </a:cubicBezTo>
                  <a:cubicBezTo>
                    <a:pt x="95" y="566"/>
                    <a:pt x="100" y="581"/>
                    <a:pt x="101" y="585"/>
                  </a:cubicBezTo>
                  <a:close/>
                  <a:moveTo>
                    <a:pt x="93" y="492"/>
                  </a:moveTo>
                  <a:cubicBezTo>
                    <a:pt x="101" y="479"/>
                    <a:pt x="102" y="503"/>
                    <a:pt x="93" y="492"/>
                  </a:cubicBezTo>
                  <a:close/>
                  <a:moveTo>
                    <a:pt x="111" y="607"/>
                  </a:moveTo>
                  <a:cubicBezTo>
                    <a:pt x="110" y="611"/>
                    <a:pt x="108" y="614"/>
                    <a:pt x="103" y="614"/>
                  </a:cubicBezTo>
                  <a:cubicBezTo>
                    <a:pt x="104" y="610"/>
                    <a:pt x="107" y="607"/>
                    <a:pt x="111" y="607"/>
                  </a:cubicBezTo>
                  <a:close/>
                  <a:moveTo>
                    <a:pt x="106" y="581"/>
                  </a:moveTo>
                  <a:cubicBezTo>
                    <a:pt x="106" y="577"/>
                    <a:pt x="111" y="578"/>
                    <a:pt x="114" y="577"/>
                  </a:cubicBezTo>
                  <a:cubicBezTo>
                    <a:pt x="114" y="567"/>
                    <a:pt x="110" y="570"/>
                    <a:pt x="114" y="562"/>
                  </a:cubicBezTo>
                  <a:cubicBezTo>
                    <a:pt x="123" y="565"/>
                    <a:pt x="111" y="586"/>
                    <a:pt x="117" y="585"/>
                  </a:cubicBezTo>
                  <a:cubicBezTo>
                    <a:pt x="114" y="596"/>
                    <a:pt x="108" y="583"/>
                    <a:pt x="106" y="581"/>
                  </a:cubicBezTo>
                  <a:close/>
                  <a:moveTo>
                    <a:pt x="128" y="352"/>
                  </a:moveTo>
                  <a:cubicBezTo>
                    <a:pt x="130" y="348"/>
                    <a:pt x="128" y="338"/>
                    <a:pt x="135" y="341"/>
                  </a:cubicBezTo>
                  <a:cubicBezTo>
                    <a:pt x="133" y="344"/>
                    <a:pt x="135" y="354"/>
                    <a:pt x="128" y="352"/>
                  </a:cubicBezTo>
                  <a:close/>
                  <a:moveTo>
                    <a:pt x="135" y="355"/>
                  </a:moveTo>
                  <a:cubicBezTo>
                    <a:pt x="135" y="358"/>
                    <a:pt x="135" y="360"/>
                    <a:pt x="135" y="363"/>
                  </a:cubicBezTo>
                  <a:cubicBezTo>
                    <a:pt x="134" y="363"/>
                    <a:pt x="132" y="363"/>
                    <a:pt x="130" y="363"/>
                  </a:cubicBezTo>
                  <a:cubicBezTo>
                    <a:pt x="130" y="360"/>
                    <a:pt x="130" y="358"/>
                    <a:pt x="130" y="355"/>
                  </a:cubicBezTo>
                  <a:cubicBezTo>
                    <a:pt x="132" y="355"/>
                    <a:pt x="134" y="355"/>
                    <a:pt x="135" y="355"/>
                  </a:cubicBezTo>
                  <a:close/>
                  <a:moveTo>
                    <a:pt x="141" y="333"/>
                  </a:moveTo>
                  <a:cubicBezTo>
                    <a:pt x="147" y="335"/>
                    <a:pt x="143" y="353"/>
                    <a:pt x="141" y="355"/>
                  </a:cubicBezTo>
                  <a:cubicBezTo>
                    <a:pt x="133" y="351"/>
                    <a:pt x="144" y="343"/>
                    <a:pt x="141" y="333"/>
                  </a:cubicBezTo>
                  <a:close/>
                  <a:moveTo>
                    <a:pt x="138" y="363"/>
                  </a:moveTo>
                  <a:cubicBezTo>
                    <a:pt x="139" y="358"/>
                    <a:pt x="143" y="360"/>
                    <a:pt x="146" y="359"/>
                  </a:cubicBezTo>
                  <a:cubicBezTo>
                    <a:pt x="149" y="359"/>
                    <a:pt x="148" y="355"/>
                    <a:pt x="149" y="352"/>
                  </a:cubicBezTo>
                  <a:cubicBezTo>
                    <a:pt x="155" y="350"/>
                    <a:pt x="154" y="357"/>
                    <a:pt x="154" y="363"/>
                  </a:cubicBezTo>
                  <a:cubicBezTo>
                    <a:pt x="150" y="370"/>
                    <a:pt x="148" y="360"/>
                    <a:pt x="138" y="363"/>
                  </a:cubicBezTo>
                  <a:close/>
                  <a:moveTo>
                    <a:pt x="149" y="378"/>
                  </a:moveTo>
                  <a:cubicBezTo>
                    <a:pt x="161" y="379"/>
                    <a:pt x="146" y="399"/>
                    <a:pt x="149" y="378"/>
                  </a:cubicBezTo>
                  <a:close/>
                  <a:moveTo>
                    <a:pt x="184" y="389"/>
                  </a:moveTo>
                  <a:cubicBezTo>
                    <a:pt x="185" y="396"/>
                    <a:pt x="172" y="394"/>
                    <a:pt x="176" y="385"/>
                  </a:cubicBezTo>
                  <a:cubicBezTo>
                    <a:pt x="180" y="384"/>
                    <a:pt x="181" y="388"/>
                    <a:pt x="184" y="389"/>
                  </a:cubicBezTo>
                  <a:close/>
                  <a:moveTo>
                    <a:pt x="160" y="263"/>
                  </a:moveTo>
                  <a:cubicBezTo>
                    <a:pt x="157" y="263"/>
                    <a:pt x="147" y="266"/>
                    <a:pt x="146" y="259"/>
                  </a:cubicBezTo>
                  <a:cubicBezTo>
                    <a:pt x="146" y="256"/>
                    <a:pt x="147" y="252"/>
                    <a:pt x="149" y="252"/>
                  </a:cubicBezTo>
                  <a:cubicBezTo>
                    <a:pt x="150" y="252"/>
                    <a:pt x="151" y="259"/>
                    <a:pt x="152" y="259"/>
                  </a:cubicBezTo>
                  <a:cubicBezTo>
                    <a:pt x="158" y="261"/>
                    <a:pt x="162" y="258"/>
                    <a:pt x="168" y="259"/>
                  </a:cubicBezTo>
                  <a:cubicBezTo>
                    <a:pt x="167" y="260"/>
                    <a:pt x="166" y="266"/>
                    <a:pt x="165" y="267"/>
                  </a:cubicBezTo>
                  <a:cubicBezTo>
                    <a:pt x="161" y="269"/>
                    <a:pt x="161" y="263"/>
                    <a:pt x="160" y="263"/>
                  </a:cubicBezTo>
                  <a:close/>
                  <a:moveTo>
                    <a:pt x="149" y="278"/>
                  </a:moveTo>
                  <a:cubicBezTo>
                    <a:pt x="148" y="276"/>
                    <a:pt x="156" y="267"/>
                    <a:pt x="160" y="274"/>
                  </a:cubicBezTo>
                  <a:cubicBezTo>
                    <a:pt x="161" y="277"/>
                    <a:pt x="151" y="280"/>
                    <a:pt x="149" y="278"/>
                  </a:cubicBezTo>
                  <a:close/>
                  <a:moveTo>
                    <a:pt x="189" y="263"/>
                  </a:moveTo>
                  <a:cubicBezTo>
                    <a:pt x="187" y="266"/>
                    <a:pt x="188" y="273"/>
                    <a:pt x="184" y="274"/>
                  </a:cubicBezTo>
                  <a:cubicBezTo>
                    <a:pt x="185" y="280"/>
                    <a:pt x="192" y="277"/>
                    <a:pt x="189" y="289"/>
                  </a:cubicBezTo>
                  <a:cubicBezTo>
                    <a:pt x="181" y="292"/>
                    <a:pt x="186" y="276"/>
                    <a:pt x="176" y="281"/>
                  </a:cubicBezTo>
                  <a:cubicBezTo>
                    <a:pt x="177" y="277"/>
                    <a:pt x="179" y="274"/>
                    <a:pt x="184" y="274"/>
                  </a:cubicBezTo>
                  <a:cubicBezTo>
                    <a:pt x="183" y="267"/>
                    <a:pt x="185" y="262"/>
                    <a:pt x="189" y="263"/>
                  </a:cubicBezTo>
                  <a:close/>
                  <a:moveTo>
                    <a:pt x="176" y="267"/>
                  </a:moveTo>
                  <a:cubicBezTo>
                    <a:pt x="176" y="264"/>
                    <a:pt x="179" y="263"/>
                    <a:pt x="179" y="259"/>
                  </a:cubicBezTo>
                  <a:cubicBezTo>
                    <a:pt x="178" y="256"/>
                    <a:pt x="175" y="256"/>
                    <a:pt x="173" y="255"/>
                  </a:cubicBezTo>
                  <a:cubicBezTo>
                    <a:pt x="174" y="251"/>
                    <a:pt x="178" y="250"/>
                    <a:pt x="179" y="244"/>
                  </a:cubicBezTo>
                  <a:cubicBezTo>
                    <a:pt x="187" y="245"/>
                    <a:pt x="184" y="267"/>
                    <a:pt x="176" y="267"/>
                  </a:cubicBezTo>
                  <a:close/>
                  <a:moveTo>
                    <a:pt x="176" y="170"/>
                  </a:moveTo>
                  <a:cubicBezTo>
                    <a:pt x="173" y="183"/>
                    <a:pt x="171" y="172"/>
                    <a:pt x="163" y="174"/>
                  </a:cubicBezTo>
                  <a:cubicBezTo>
                    <a:pt x="165" y="168"/>
                    <a:pt x="172" y="165"/>
                    <a:pt x="176" y="170"/>
                  </a:cubicBezTo>
                  <a:close/>
                  <a:moveTo>
                    <a:pt x="90" y="226"/>
                  </a:moveTo>
                  <a:cubicBezTo>
                    <a:pt x="90" y="223"/>
                    <a:pt x="90" y="221"/>
                    <a:pt x="90" y="218"/>
                  </a:cubicBezTo>
                  <a:cubicBezTo>
                    <a:pt x="98" y="225"/>
                    <a:pt x="99" y="216"/>
                    <a:pt x="111" y="218"/>
                  </a:cubicBezTo>
                  <a:cubicBezTo>
                    <a:pt x="117" y="219"/>
                    <a:pt x="117" y="225"/>
                    <a:pt x="125" y="222"/>
                  </a:cubicBezTo>
                  <a:cubicBezTo>
                    <a:pt x="128" y="221"/>
                    <a:pt x="135" y="218"/>
                    <a:pt x="141" y="226"/>
                  </a:cubicBezTo>
                  <a:cubicBezTo>
                    <a:pt x="142" y="228"/>
                    <a:pt x="158" y="224"/>
                    <a:pt x="165" y="226"/>
                  </a:cubicBezTo>
                  <a:cubicBezTo>
                    <a:pt x="171" y="227"/>
                    <a:pt x="184" y="227"/>
                    <a:pt x="181" y="241"/>
                  </a:cubicBezTo>
                  <a:cubicBezTo>
                    <a:pt x="178" y="240"/>
                    <a:pt x="180" y="233"/>
                    <a:pt x="176" y="233"/>
                  </a:cubicBezTo>
                  <a:cubicBezTo>
                    <a:pt x="172" y="234"/>
                    <a:pt x="174" y="243"/>
                    <a:pt x="173" y="248"/>
                  </a:cubicBezTo>
                  <a:cubicBezTo>
                    <a:pt x="163" y="239"/>
                    <a:pt x="175" y="252"/>
                    <a:pt x="168" y="255"/>
                  </a:cubicBezTo>
                  <a:cubicBezTo>
                    <a:pt x="160" y="259"/>
                    <a:pt x="166" y="248"/>
                    <a:pt x="165" y="248"/>
                  </a:cubicBezTo>
                  <a:cubicBezTo>
                    <a:pt x="164" y="247"/>
                    <a:pt x="158" y="255"/>
                    <a:pt x="154" y="252"/>
                  </a:cubicBezTo>
                  <a:cubicBezTo>
                    <a:pt x="154" y="246"/>
                    <a:pt x="146" y="250"/>
                    <a:pt x="146" y="244"/>
                  </a:cubicBezTo>
                  <a:cubicBezTo>
                    <a:pt x="144" y="247"/>
                    <a:pt x="142" y="251"/>
                    <a:pt x="141" y="255"/>
                  </a:cubicBezTo>
                  <a:cubicBezTo>
                    <a:pt x="132" y="249"/>
                    <a:pt x="129" y="242"/>
                    <a:pt x="133" y="226"/>
                  </a:cubicBezTo>
                  <a:cubicBezTo>
                    <a:pt x="131" y="226"/>
                    <a:pt x="129" y="226"/>
                    <a:pt x="128" y="226"/>
                  </a:cubicBezTo>
                  <a:cubicBezTo>
                    <a:pt x="124" y="227"/>
                    <a:pt x="125" y="233"/>
                    <a:pt x="128" y="233"/>
                  </a:cubicBezTo>
                  <a:cubicBezTo>
                    <a:pt x="127" y="237"/>
                    <a:pt x="124" y="236"/>
                    <a:pt x="122" y="237"/>
                  </a:cubicBezTo>
                  <a:cubicBezTo>
                    <a:pt x="125" y="249"/>
                    <a:pt x="122" y="245"/>
                    <a:pt x="122" y="259"/>
                  </a:cubicBezTo>
                  <a:cubicBezTo>
                    <a:pt x="118" y="256"/>
                    <a:pt x="118" y="247"/>
                    <a:pt x="117" y="241"/>
                  </a:cubicBezTo>
                  <a:cubicBezTo>
                    <a:pt x="112" y="242"/>
                    <a:pt x="110" y="249"/>
                    <a:pt x="103" y="248"/>
                  </a:cubicBezTo>
                  <a:cubicBezTo>
                    <a:pt x="101" y="231"/>
                    <a:pt x="108" y="240"/>
                    <a:pt x="114" y="241"/>
                  </a:cubicBezTo>
                  <a:cubicBezTo>
                    <a:pt x="116" y="231"/>
                    <a:pt x="109" y="234"/>
                    <a:pt x="106" y="230"/>
                  </a:cubicBezTo>
                  <a:cubicBezTo>
                    <a:pt x="99" y="228"/>
                    <a:pt x="103" y="243"/>
                    <a:pt x="98" y="244"/>
                  </a:cubicBezTo>
                  <a:cubicBezTo>
                    <a:pt x="84" y="246"/>
                    <a:pt x="104" y="223"/>
                    <a:pt x="87" y="230"/>
                  </a:cubicBezTo>
                  <a:cubicBezTo>
                    <a:pt x="87" y="226"/>
                    <a:pt x="88" y="226"/>
                    <a:pt x="90" y="226"/>
                  </a:cubicBezTo>
                  <a:close/>
                  <a:moveTo>
                    <a:pt x="58" y="407"/>
                  </a:moveTo>
                  <a:cubicBezTo>
                    <a:pt x="67" y="405"/>
                    <a:pt x="58" y="424"/>
                    <a:pt x="55" y="418"/>
                  </a:cubicBezTo>
                  <a:cubicBezTo>
                    <a:pt x="55" y="418"/>
                    <a:pt x="57" y="411"/>
                    <a:pt x="58" y="411"/>
                  </a:cubicBezTo>
                  <a:cubicBezTo>
                    <a:pt x="58" y="411"/>
                    <a:pt x="57" y="407"/>
                    <a:pt x="58" y="407"/>
                  </a:cubicBezTo>
                  <a:close/>
                  <a:moveTo>
                    <a:pt x="55" y="433"/>
                  </a:moveTo>
                  <a:cubicBezTo>
                    <a:pt x="54" y="425"/>
                    <a:pt x="59" y="426"/>
                    <a:pt x="63" y="426"/>
                  </a:cubicBezTo>
                  <a:cubicBezTo>
                    <a:pt x="62" y="430"/>
                    <a:pt x="60" y="433"/>
                    <a:pt x="55" y="433"/>
                  </a:cubicBezTo>
                  <a:close/>
                  <a:moveTo>
                    <a:pt x="60" y="655"/>
                  </a:moveTo>
                  <a:cubicBezTo>
                    <a:pt x="60" y="649"/>
                    <a:pt x="60" y="643"/>
                    <a:pt x="60" y="636"/>
                  </a:cubicBezTo>
                  <a:cubicBezTo>
                    <a:pt x="69" y="631"/>
                    <a:pt x="69" y="661"/>
                    <a:pt x="60" y="655"/>
                  </a:cubicBezTo>
                  <a:close/>
                  <a:moveTo>
                    <a:pt x="71" y="244"/>
                  </a:moveTo>
                  <a:cubicBezTo>
                    <a:pt x="75" y="239"/>
                    <a:pt x="75" y="230"/>
                    <a:pt x="66" y="233"/>
                  </a:cubicBezTo>
                  <a:cubicBezTo>
                    <a:pt x="68" y="228"/>
                    <a:pt x="73" y="226"/>
                    <a:pt x="74" y="218"/>
                  </a:cubicBezTo>
                  <a:cubicBezTo>
                    <a:pt x="77" y="218"/>
                    <a:pt x="75" y="224"/>
                    <a:pt x="76" y="226"/>
                  </a:cubicBezTo>
                  <a:cubicBezTo>
                    <a:pt x="80" y="233"/>
                    <a:pt x="89" y="230"/>
                    <a:pt x="90" y="241"/>
                  </a:cubicBezTo>
                  <a:cubicBezTo>
                    <a:pt x="88" y="233"/>
                    <a:pt x="80" y="243"/>
                    <a:pt x="79" y="237"/>
                  </a:cubicBezTo>
                  <a:cubicBezTo>
                    <a:pt x="76" y="239"/>
                    <a:pt x="76" y="246"/>
                    <a:pt x="71" y="244"/>
                  </a:cubicBezTo>
                  <a:close/>
                  <a:moveTo>
                    <a:pt x="93" y="721"/>
                  </a:moveTo>
                  <a:cubicBezTo>
                    <a:pt x="93" y="712"/>
                    <a:pt x="87" y="712"/>
                    <a:pt x="82" y="710"/>
                  </a:cubicBezTo>
                  <a:cubicBezTo>
                    <a:pt x="83" y="703"/>
                    <a:pt x="92" y="707"/>
                    <a:pt x="90" y="696"/>
                  </a:cubicBezTo>
                  <a:cubicBezTo>
                    <a:pt x="93" y="700"/>
                    <a:pt x="99" y="700"/>
                    <a:pt x="106" y="699"/>
                  </a:cubicBezTo>
                  <a:cubicBezTo>
                    <a:pt x="106" y="714"/>
                    <a:pt x="102" y="721"/>
                    <a:pt x="93" y="721"/>
                  </a:cubicBezTo>
                  <a:close/>
                  <a:moveTo>
                    <a:pt x="106" y="692"/>
                  </a:moveTo>
                  <a:cubicBezTo>
                    <a:pt x="104" y="692"/>
                    <a:pt x="102" y="692"/>
                    <a:pt x="101" y="692"/>
                  </a:cubicBezTo>
                  <a:cubicBezTo>
                    <a:pt x="101" y="689"/>
                    <a:pt x="101" y="687"/>
                    <a:pt x="101" y="684"/>
                  </a:cubicBezTo>
                  <a:cubicBezTo>
                    <a:pt x="102" y="684"/>
                    <a:pt x="104" y="684"/>
                    <a:pt x="106" y="684"/>
                  </a:cubicBezTo>
                  <a:cubicBezTo>
                    <a:pt x="106" y="687"/>
                    <a:pt x="106" y="689"/>
                    <a:pt x="106" y="692"/>
                  </a:cubicBezTo>
                  <a:close/>
                  <a:moveTo>
                    <a:pt x="109" y="677"/>
                  </a:moveTo>
                  <a:cubicBezTo>
                    <a:pt x="101" y="677"/>
                    <a:pt x="98" y="669"/>
                    <a:pt x="93" y="666"/>
                  </a:cubicBezTo>
                  <a:cubicBezTo>
                    <a:pt x="92" y="672"/>
                    <a:pt x="95" y="673"/>
                    <a:pt x="98" y="673"/>
                  </a:cubicBezTo>
                  <a:cubicBezTo>
                    <a:pt x="95" y="685"/>
                    <a:pt x="86" y="673"/>
                    <a:pt x="90" y="662"/>
                  </a:cubicBezTo>
                  <a:cubicBezTo>
                    <a:pt x="82" y="663"/>
                    <a:pt x="83" y="678"/>
                    <a:pt x="79" y="655"/>
                  </a:cubicBezTo>
                  <a:cubicBezTo>
                    <a:pt x="87" y="665"/>
                    <a:pt x="97" y="649"/>
                    <a:pt x="101" y="662"/>
                  </a:cubicBezTo>
                  <a:cubicBezTo>
                    <a:pt x="103" y="662"/>
                    <a:pt x="103" y="659"/>
                    <a:pt x="106" y="659"/>
                  </a:cubicBezTo>
                  <a:cubicBezTo>
                    <a:pt x="106" y="652"/>
                    <a:pt x="97" y="656"/>
                    <a:pt x="95" y="651"/>
                  </a:cubicBezTo>
                  <a:cubicBezTo>
                    <a:pt x="97" y="649"/>
                    <a:pt x="106" y="640"/>
                    <a:pt x="98" y="636"/>
                  </a:cubicBezTo>
                  <a:cubicBezTo>
                    <a:pt x="96" y="634"/>
                    <a:pt x="105" y="634"/>
                    <a:pt x="106" y="636"/>
                  </a:cubicBezTo>
                  <a:cubicBezTo>
                    <a:pt x="107" y="637"/>
                    <a:pt x="105" y="643"/>
                    <a:pt x="106" y="644"/>
                  </a:cubicBezTo>
                  <a:cubicBezTo>
                    <a:pt x="108" y="645"/>
                    <a:pt x="112" y="643"/>
                    <a:pt x="114" y="644"/>
                  </a:cubicBezTo>
                  <a:cubicBezTo>
                    <a:pt x="115" y="648"/>
                    <a:pt x="109" y="646"/>
                    <a:pt x="109" y="648"/>
                  </a:cubicBezTo>
                  <a:cubicBezTo>
                    <a:pt x="106" y="657"/>
                    <a:pt x="115" y="669"/>
                    <a:pt x="109" y="677"/>
                  </a:cubicBezTo>
                  <a:close/>
                  <a:moveTo>
                    <a:pt x="163" y="736"/>
                  </a:moveTo>
                  <a:cubicBezTo>
                    <a:pt x="160" y="749"/>
                    <a:pt x="157" y="732"/>
                    <a:pt x="154" y="733"/>
                  </a:cubicBezTo>
                  <a:cubicBezTo>
                    <a:pt x="150" y="739"/>
                    <a:pt x="155" y="742"/>
                    <a:pt x="152" y="755"/>
                  </a:cubicBezTo>
                  <a:cubicBezTo>
                    <a:pt x="149" y="755"/>
                    <a:pt x="150" y="750"/>
                    <a:pt x="149" y="747"/>
                  </a:cubicBezTo>
                  <a:cubicBezTo>
                    <a:pt x="149" y="739"/>
                    <a:pt x="144" y="737"/>
                    <a:pt x="146" y="725"/>
                  </a:cubicBezTo>
                  <a:cubicBezTo>
                    <a:pt x="149" y="726"/>
                    <a:pt x="151" y="724"/>
                    <a:pt x="152" y="721"/>
                  </a:cubicBezTo>
                  <a:cubicBezTo>
                    <a:pt x="156" y="726"/>
                    <a:pt x="158" y="732"/>
                    <a:pt x="163" y="736"/>
                  </a:cubicBezTo>
                  <a:close/>
                  <a:moveTo>
                    <a:pt x="173" y="688"/>
                  </a:moveTo>
                  <a:cubicBezTo>
                    <a:pt x="172" y="693"/>
                    <a:pt x="170" y="696"/>
                    <a:pt x="165" y="696"/>
                  </a:cubicBezTo>
                  <a:cubicBezTo>
                    <a:pt x="159" y="695"/>
                    <a:pt x="161" y="690"/>
                    <a:pt x="157" y="688"/>
                  </a:cubicBezTo>
                  <a:cubicBezTo>
                    <a:pt x="153" y="690"/>
                    <a:pt x="158" y="693"/>
                    <a:pt x="157" y="699"/>
                  </a:cubicBezTo>
                  <a:cubicBezTo>
                    <a:pt x="148" y="700"/>
                    <a:pt x="151" y="685"/>
                    <a:pt x="144" y="684"/>
                  </a:cubicBezTo>
                  <a:cubicBezTo>
                    <a:pt x="135" y="692"/>
                    <a:pt x="148" y="702"/>
                    <a:pt x="154" y="703"/>
                  </a:cubicBezTo>
                  <a:cubicBezTo>
                    <a:pt x="153" y="706"/>
                    <a:pt x="151" y="710"/>
                    <a:pt x="154" y="710"/>
                  </a:cubicBezTo>
                  <a:cubicBezTo>
                    <a:pt x="153" y="721"/>
                    <a:pt x="149" y="707"/>
                    <a:pt x="144" y="710"/>
                  </a:cubicBezTo>
                  <a:cubicBezTo>
                    <a:pt x="140" y="711"/>
                    <a:pt x="146" y="729"/>
                    <a:pt x="144" y="740"/>
                  </a:cubicBezTo>
                  <a:cubicBezTo>
                    <a:pt x="135" y="736"/>
                    <a:pt x="139" y="748"/>
                    <a:pt x="138" y="755"/>
                  </a:cubicBezTo>
                  <a:cubicBezTo>
                    <a:pt x="136" y="766"/>
                    <a:pt x="135" y="748"/>
                    <a:pt x="135" y="744"/>
                  </a:cubicBezTo>
                  <a:cubicBezTo>
                    <a:pt x="134" y="735"/>
                    <a:pt x="140" y="736"/>
                    <a:pt x="138" y="725"/>
                  </a:cubicBezTo>
                  <a:cubicBezTo>
                    <a:pt x="126" y="722"/>
                    <a:pt x="142" y="735"/>
                    <a:pt x="130" y="733"/>
                  </a:cubicBezTo>
                  <a:cubicBezTo>
                    <a:pt x="129" y="723"/>
                    <a:pt x="131" y="719"/>
                    <a:pt x="138" y="721"/>
                  </a:cubicBezTo>
                  <a:cubicBezTo>
                    <a:pt x="138" y="712"/>
                    <a:pt x="138" y="704"/>
                    <a:pt x="144" y="703"/>
                  </a:cubicBezTo>
                  <a:cubicBezTo>
                    <a:pt x="140" y="696"/>
                    <a:pt x="130" y="700"/>
                    <a:pt x="125" y="696"/>
                  </a:cubicBezTo>
                  <a:cubicBezTo>
                    <a:pt x="119" y="698"/>
                    <a:pt x="122" y="718"/>
                    <a:pt x="130" y="714"/>
                  </a:cubicBezTo>
                  <a:cubicBezTo>
                    <a:pt x="129" y="719"/>
                    <a:pt x="127" y="722"/>
                    <a:pt x="122" y="721"/>
                  </a:cubicBezTo>
                  <a:cubicBezTo>
                    <a:pt x="123" y="729"/>
                    <a:pt x="118" y="729"/>
                    <a:pt x="114" y="729"/>
                  </a:cubicBezTo>
                  <a:cubicBezTo>
                    <a:pt x="115" y="694"/>
                    <a:pt x="115" y="674"/>
                    <a:pt x="117" y="644"/>
                  </a:cubicBezTo>
                  <a:cubicBezTo>
                    <a:pt x="128" y="642"/>
                    <a:pt x="124" y="657"/>
                    <a:pt x="119" y="662"/>
                  </a:cubicBezTo>
                  <a:cubicBezTo>
                    <a:pt x="122" y="673"/>
                    <a:pt x="123" y="654"/>
                    <a:pt x="130" y="659"/>
                  </a:cubicBezTo>
                  <a:cubicBezTo>
                    <a:pt x="132" y="670"/>
                    <a:pt x="127" y="672"/>
                    <a:pt x="128" y="681"/>
                  </a:cubicBezTo>
                  <a:cubicBezTo>
                    <a:pt x="123" y="679"/>
                    <a:pt x="122" y="684"/>
                    <a:pt x="122" y="688"/>
                  </a:cubicBezTo>
                  <a:cubicBezTo>
                    <a:pt x="132" y="706"/>
                    <a:pt x="130" y="664"/>
                    <a:pt x="138" y="677"/>
                  </a:cubicBezTo>
                  <a:cubicBezTo>
                    <a:pt x="139" y="670"/>
                    <a:pt x="135" y="669"/>
                    <a:pt x="135" y="662"/>
                  </a:cubicBezTo>
                  <a:cubicBezTo>
                    <a:pt x="135" y="652"/>
                    <a:pt x="127" y="654"/>
                    <a:pt x="128" y="644"/>
                  </a:cubicBezTo>
                  <a:cubicBezTo>
                    <a:pt x="133" y="637"/>
                    <a:pt x="132" y="646"/>
                    <a:pt x="141" y="644"/>
                  </a:cubicBezTo>
                  <a:cubicBezTo>
                    <a:pt x="141" y="651"/>
                    <a:pt x="141" y="659"/>
                    <a:pt x="141" y="666"/>
                  </a:cubicBezTo>
                  <a:cubicBezTo>
                    <a:pt x="149" y="669"/>
                    <a:pt x="144" y="653"/>
                    <a:pt x="154" y="659"/>
                  </a:cubicBezTo>
                  <a:cubicBezTo>
                    <a:pt x="153" y="654"/>
                    <a:pt x="151" y="651"/>
                    <a:pt x="146" y="651"/>
                  </a:cubicBezTo>
                  <a:cubicBezTo>
                    <a:pt x="146" y="645"/>
                    <a:pt x="151" y="642"/>
                    <a:pt x="146" y="640"/>
                  </a:cubicBezTo>
                  <a:cubicBezTo>
                    <a:pt x="152" y="634"/>
                    <a:pt x="150" y="637"/>
                    <a:pt x="149" y="618"/>
                  </a:cubicBezTo>
                  <a:cubicBezTo>
                    <a:pt x="153" y="618"/>
                    <a:pt x="156" y="618"/>
                    <a:pt x="160" y="618"/>
                  </a:cubicBezTo>
                  <a:cubicBezTo>
                    <a:pt x="158" y="623"/>
                    <a:pt x="156" y="627"/>
                    <a:pt x="154" y="633"/>
                  </a:cubicBezTo>
                  <a:cubicBezTo>
                    <a:pt x="158" y="638"/>
                    <a:pt x="165" y="640"/>
                    <a:pt x="163" y="655"/>
                  </a:cubicBezTo>
                  <a:cubicBezTo>
                    <a:pt x="159" y="654"/>
                    <a:pt x="161" y="648"/>
                    <a:pt x="157" y="648"/>
                  </a:cubicBezTo>
                  <a:cubicBezTo>
                    <a:pt x="151" y="652"/>
                    <a:pt x="160" y="668"/>
                    <a:pt x="160" y="677"/>
                  </a:cubicBezTo>
                  <a:cubicBezTo>
                    <a:pt x="157" y="677"/>
                    <a:pt x="155" y="678"/>
                    <a:pt x="154" y="681"/>
                  </a:cubicBezTo>
                  <a:cubicBezTo>
                    <a:pt x="159" y="694"/>
                    <a:pt x="166" y="679"/>
                    <a:pt x="173" y="688"/>
                  </a:cubicBezTo>
                  <a:close/>
                  <a:moveTo>
                    <a:pt x="173" y="648"/>
                  </a:moveTo>
                  <a:cubicBezTo>
                    <a:pt x="170" y="648"/>
                    <a:pt x="172" y="643"/>
                    <a:pt x="170" y="640"/>
                  </a:cubicBezTo>
                  <a:cubicBezTo>
                    <a:pt x="168" y="633"/>
                    <a:pt x="164" y="631"/>
                    <a:pt x="168" y="625"/>
                  </a:cubicBezTo>
                  <a:cubicBezTo>
                    <a:pt x="175" y="630"/>
                    <a:pt x="176" y="637"/>
                    <a:pt x="173" y="648"/>
                  </a:cubicBezTo>
                  <a:close/>
                  <a:moveTo>
                    <a:pt x="189" y="577"/>
                  </a:moveTo>
                  <a:cubicBezTo>
                    <a:pt x="185" y="575"/>
                    <a:pt x="183" y="572"/>
                    <a:pt x="179" y="570"/>
                  </a:cubicBezTo>
                  <a:cubicBezTo>
                    <a:pt x="173" y="587"/>
                    <a:pt x="189" y="575"/>
                    <a:pt x="187" y="588"/>
                  </a:cubicBezTo>
                  <a:cubicBezTo>
                    <a:pt x="182" y="592"/>
                    <a:pt x="178" y="577"/>
                    <a:pt x="176" y="588"/>
                  </a:cubicBezTo>
                  <a:cubicBezTo>
                    <a:pt x="169" y="584"/>
                    <a:pt x="176" y="569"/>
                    <a:pt x="176" y="562"/>
                  </a:cubicBezTo>
                  <a:cubicBezTo>
                    <a:pt x="176" y="556"/>
                    <a:pt x="174" y="550"/>
                    <a:pt x="170" y="548"/>
                  </a:cubicBezTo>
                  <a:cubicBezTo>
                    <a:pt x="163" y="553"/>
                    <a:pt x="173" y="552"/>
                    <a:pt x="173" y="562"/>
                  </a:cubicBezTo>
                  <a:cubicBezTo>
                    <a:pt x="173" y="563"/>
                    <a:pt x="168" y="562"/>
                    <a:pt x="168" y="562"/>
                  </a:cubicBezTo>
                  <a:cubicBezTo>
                    <a:pt x="166" y="567"/>
                    <a:pt x="171" y="583"/>
                    <a:pt x="168" y="588"/>
                  </a:cubicBezTo>
                  <a:cubicBezTo>
                    <a:pt x="166" y="588"/>
                    <a:pt x="165" y="585"/>
                    <a:pt x="163" y="585"/>
                  </a:cubicBezTo>
                  <a:cubicBezTo>
                    <a:pt x="164" y="596"/>
                    <a:pt x="159" y="599"/>
                    <a:pt x="157" y="607"/>
                  </a:cubicBezTo>
                  <a:cubicBezTo>
                    <a:pt x="160" y="617"/>
                    <a:pt x="182" y="602"/>
                    <a:pt x="179" y="622"/>
                  </a:cubicBezTo>
                  <a:cubicBezTo>
                    <a:pt x="164" y="624"/>
                    <a:pt x="163" y="609"/>
                    <a:pt x="149" y="611"/>
                  </a:cubicBezTo>
                  <a:cubicBezTo>
                    <a:pt x="143" y="611"/>
                    <a:pt x="143" y="620"/>
                    <a:pt x="144" y="629"/>
                  </a:cubicBezTo>
                  <a:cubicBezTo>
                    <a:pt x="138" y="629"/>
                    <a:pt x="140" y="619"/>
                    <a:pt x="133" y="622"/>
                  </a:cubicBezTo>
                  <a:cubicBezTo>
                    <a:pt x="133" y="616"/>
                    <a:pt x="134" y="608"/>
                    <a:pt x="130" y="607"/>
                  </a:cubicBezTo>
                  <a:cubicBezTo>
                    <a:pt x="131" y="601"/>
                    <a:pt x="138" y="606"/>
                    <a:pt x="138" y="599"/>
                  </a:cubicBezTo>
                  <a:cubicBezTo>
                    <a:pt x="137" y="584"/>
                    <a:pt x="128" y="591"/>
                    <a:pt x="119" y="592"/>
                  </a:cubicBezTo>
                  <a:cubicBezTo>
                    <a:pt x="120" y="569"/>
                    <a:pt x="146" y="603"/>
                    <a:pt x="141" y="577"/>
                  </a:cubicBezTo>
                  <a:cubicBezTo>
                    <a:pt x="146" y="578"/>
                    <a:pt x="147" y="584"/>
                    <a:pt x="146" y="592"/>
                  </a:cubicBezTo>
                  <a:cubicBezTo>
                    <a:pt x="150" y="592"/>
                    <a:pt x="153" y="592"/>
                    <a:pt x="157" y="592"/>
                  </a:cubicBezTo>
                  <a:cubicBezTo>
                    <a:pt x="159" y="579"/>
                    <a:pt x="147" y="586"/>
                    <a:pt x="146" y="577"/>
                  </a:cubicBezTo>
                  <a:cubicBezTo>
                    <a:pt x="145" y="566"/>
                    <a:pt x="155" y="570"/>
                    <a:pt x="160" y="566"/>
                  </a:cubicBezTo>
                  <a:cubicBezTo>
                    <a:pt x="160" y="570"/>
                    <a:pt x="160" y="574"/>
                    <a:pt x="160" y="577"/>
                  </a:cubicBezTo>
                  <a:cubicBezTo>
                    <a:pt x="163" y="577"/>
                    <a:pt x="162" y="573"/>
                    <a:pt x="163" y="570"/>
                  </a:cubicBezTo>
                  <a:cubicBezTo>
                    <a:pt x="164" y="566"/>
                    <a:pt x="164" y="563"/>
                    <a:pt x="165" y="551"/>
                  </a:cubicBezTo>
                  <a:cubicBezTo>
                    <a:pt x="165" y="550"/>
                    <a:pt x="165" y="545"/>
                    <a:pt x="165" y="544"/>
                  </a:cubicBezTo>
                  <a:cubicBezTo>
                    <a:pt x="170" y="539"/>
                    <a:pt x="162" y="533"/>
                    <a:pt x="168" y="525"/>
                  </a:cubicBezTo>
                  <a:cubicBezTo>
                    <a:pt x="169" y="516"/>
                    <a:pt x="153" y="529"/>
                    <a:pt x="157" y="514"/>
                  </a:cubicBezTo>
                  <a:cubicBezTo>
                    <a:pt x="152" y="514"/>
                    <a:pt x="151" y="519"/>
                    <a:pt x="146" y="518"/>
                  </a:cubicBezTo>
                  <a:cubicBezTo>
                    <a:pt x="144" y="510"/>
                    <a:pt x="141" y="504"/>
                    <a:pt x="141" y="492"/>
                  </a:cubicBezTo>
                  <a:cubicBezTo>
                    <a:pt x="143" y="495"/>
                    <a:pt x="145" y="499"/>
                    <a:pt x="146" y="503"/>
                  </a:cubicBezTo>
                  <a:cubicBezTo>
                    <a:pt x="157" y="503"/>
                    <a:pt x="143" y="482"/>
                    <a:pt x="154" y="492"/>
                  </a:cubicBezTo>
                  <a:cubicBezTo>
                    <a:pt x="155" y="482"/>
                    <a:pt x="148" y="482"/>
                    <a:pt x="141" y="481"/>
                  </a:cubicBezTo>
                  <a:cubicBezTo>
                    <a:pt x="136" y="456"/>
                    <a:pt x="158" y="468"/>
                    <a:pt x="157" y="448"/>
                  </a:cubicBezTo>
                  <a:cubicBezTo>
                    <a:pt x="162" y="447"/>
                    <a:pt x="163" y="452"/>
                    <a:pt x="168" y="452"/>
                  </a:cubicBezTo>
                  <a:cubicBezTo>
                    <a:pt x="175" y="453"/>
                    <a:pt x="166" y="431"/>
                    <a:pt x="173" y="433"/>
                  </a:cubicBezTo>
                  <a:cubicBezTo>
                    <a:pt x="186" y="433"/>
                    <a:pt x="171" y="442"/>
                    <a:pt x="179" y="444"/>
                  </a:cubicBezTo>
                  <a:cubicBezTo>
                    <a:pt x="180" y="445"/>
                    <a:pt x="183" y="443"/>
                    <a:pt x="184" y="444"/>
                  </a:cubicBezTo>
                  <a:cubicBezTo>
                    <a:pt x="189" y="449"/>
                    <a:pt x="186" y="458"/>
                    <a:pt x="192" y="463"/>
                  </a:cubicBezTo>
                  <a:cubicBezTo>
                    <a:pt x="185" y="475"/>
                    <a:pt x="186" y="447"/>
                    <a:pt x="179" y="448"/>
                  </a:cubicBezTo>
                  <a:cubicBezTo>
                    <a:pt x="176" y="448"/>
                    <a:pt x="177" y="452"/>
                    <a:pt x="176" y="455"/>
                  </a:cubicBezTo>
                  <a:cubicBezTo>
                    <a:pt x="170" y="455"/>
                    <a:pt x="165" y="455"/>
                    <a:pt x="160" y="455"/>
                  </a:cubicBezTo>
                  <a:cubicBezTo>
                    <a:pt x="157" y="458"/>
                    <a:pt x="157" y="464"/>
                    <a:pt x="152" y="463"/>
                  </a:cubicBezTo>
                  <a:cubicBezTo>
                    <a:pt x="157" y="470"/>
                    <a:pt x="157" y="466"/>
                    <a:pt x="154" y="477"/>
                  </a:cubicBezTo>
                  <a:cubicBezTo>
                    <a:pt x="161" y="477"/>
                    <a:pt x="159" y="464"/>
                    <a:pt x="163" y="459"/>
                  </a:cubicBezTo>
                  <a:cubicBezTo>
                    <a:pt x="168" y="452"/>
                    <a:pt x="171" y="466"/>
                    <a:pt x="173" y="466"/>
                  </a:cubicBezTo>
                  <a:cubicBezTo>
                    <a:pt x="177" y="467"/>
                    <a:pt x="179" y="455"/>
                    <a:pt x="184" y="463"/>
                  </a:cubicBezTo>
                  <a:cubicBezTo>
                    <a:pt x="186" y="474"/>
                    <a:pt x="181" y="476"/>
                    <a:pt x="181" y="485"/>
                  </a:cubicBezTo>
                  <a:cubicBezTo>
                    <a:pt x="188" y="482"/>
                    <a:pt x="201" y="475"/>
                    <a:pt x="200" y="492"/>
                  </a:cubicBezTo>
                  <a:cubicBezTo>
                    <a:pt x="188" y="487"/>
                    <a:pt x="193" y="505"/>
                    <a:pt x="184" y="503"/>
                  </a:cubicBezTo>
                  <a:cubicBezTo>
                    <a:pt x="184" y="500"/>
                    <a:pt x="184" y="496"/>
                    <a:pt x="184" y="492"/>
                  </a:cubicBezTo>
                  <a:cubicBezTo>
                    <a:pt x="180" y="493"/>
                    <a:pt x="183" y="503"/>
                    <a:pt x="179" y="503"/>
                  </a:cubicBezTo>
                  <a:cubicBezTo>
                    <a:pt x="179" y="514"/>
                    <a:pt x="191" y="508"/>
                    <a:pt x="195" y="514"/>
                  </a:cubicBezTo>
                  <a:cubicBezTo>
                    <a:pt x="194" y="519"/>
                    <a:pt x="190" y="518"/>
                    <a:pt x="187" y="518"/>
                  </a:cubicBezTo>
                  <a:cubicBezTo>
                    <a:pt x="187" y="525"/>
                    <a:pt x="187" y="533"/>
                    <a:pt x="187" y="540"/>
                  </a:cubicBezTo>
                  <a:cubicBezTo>
                    <a:pt x="174" y="544"/>
                    <a:pt x="191" y="528"/>
                    <a:pt x="181" y="525"/>
                  </a:cubicBezTo>
                  <a:cubicBezTo>
                    <a:pt x="177" y="529"/>
                    <a:pt x="178" y="541"/>
                    <a:pt x="176" y="548"/>
                  </a:cubicBezTo>
                  <a:cubicBezTo>
                    <a:pt x="174" y="558"/>
                    <a:pt x="181" y="555"/>
                    <a:pt x="181" y="562"/>
                  </a:cubicBezTo>
                  <a:cubicBezTo>
                    <a:pt x="180" y="572"/>
                    <a:pt x="192" y="565"/>
                    <a:pt x="189" y="577"/>
                  </a:cubicBezTo>
                  <a:close/>
                  <a:moveTo>
                    <a:pt x="168" y="607"/>
                  </a:moveTo>
                  <a:cubicBezTo>
                    <a:pt x="160" y="604"/>
                    <a:pt x="165" y="601"/>
                    <a:pt x="165" y="592"/>
                  </a:cubicBezTo>
                  <a:cubicBezTo>
                    <a:pt x="168" y="593"/>
                    <a:pt x="167" y="599"/>
                    <a:pt x="170" y="599"/>
                  </a:cubicBezTo>
                  <a:cubicBezTo>
                    <a:pt x="176" y="599"/>
                    <a:pt x="168" y="604"/>
                    <a:pt x="168" y="607"/>
                  </a:cubicBezTo>
                  <a:close/>
                  <a:moveTo>
                    <a:pt x="149" y="525"/>
                  </a:moveTo>
                  <a:cubicBezTo>
                    <a:pt x="152" y="525"/>
                    <a:pt x="154" y="525"/>
                    <a:pt x="157" y="525"/>
                  </a:cubicBezTo>
                  <a:cubicBezTo>
                    <a:pt x="162" y="532"/>
                    <a:pt x="159" y="547"/>
                    <a:pt x="160" y="559"/>
                  </a:cubicBezTo>
                  <a:cubicBezTo>
                    <a:pt x="151" y="556"/>
                    <a:pt x="148" y="551"/>
                    <a:pt x="152" y="566"/>
                  </a:cubicBezTo>
                  <a:cubicBezTo>
                    <a:pt x="137" y="563"/>
                    <a:pt x="147" y="547"/>
                    <a:pt x="149" y="537"/>
                  </a:cubicBezTo>
                  <a:cubicBezTo>
                    <a:pt x="150" y="533"/>
                    <a:pt x="145" y="530"/>
                    <a:pt x="149" y="525"/>
                  </a:cubicBezTo>
                  <a:close/>
                  <a:moveTo>
                    <a:pt x="189" y="566"/>
                  </a:moveTo>
                  <a:cubicBezTo>
                    <a:pt x="185" y="563"/>
                    <a:pt x="181" y="561"/>
                    <a:pt x="181" y="551"/>
                  </a:cubicBezTo>
                  <a:cubicBezTo>
                    <a:pt x="183" y="554"/>
                    <a:pt x="189" y="557"/>
                    <a:pt x="189" y="551"/>
                  </a:cubicBezTo>
                  <a:cubicBezTo>
                    <a:pt x="196" y="552"/>
                    <a:pt x="190" y="564"/>
                    <a:pt x="189" y="566"/>
                  </a:cubicBezTo>
                  <a:close/>
                  <a:moveTo>
                    <a:pt x="195" y="548"/>
                  </a:moveTo>
                  <a:cubicBezTo>
                    <a:pt x="187" y="544"/>
                    <a:pt x="198" y="536"/>
                    <a:pt x="195" y="525"/>
                  </a:cubicBezTo>
                  <a:cubicBezTo>
                    <a:pt x="201" y="533"/>
                    <a:pt x="200" y="541"/>
                    <a:pt x="195" y="548"/>
                  </a:cubicBezTo>
                  <a:close/>
                  <a:moveTo>
                    <a:pt x="205" y="525"/>
                  </a:moveTo>
                  <a:cubicBezTo>
                    <a:pt x="202" y="525"/>
                    <a:pt x="205" y="514"/>
                    <a:pt x="200" y="514"/>
                  </a:cubicBezTo>
                  <a:cubicBezTo>
                    <a:pt x="200" y="511"/>
                    <a:pt x="201" y="511"/>
                    <a:pt x="203" y="511"/>
                  </a:cubicBezTo>
                  <a:cubicBezTo>
                    <a:pt x="205" y="511"/>
                    <a:pt x="206" y="511"/>
                    <a:pt x="208" y="511"/>
                  </a:cubicBezTo>
                  <a:cubicBezTo>
                    <a:pt x="208" y="517"/>
                    <a:pt x="205" y="519"/>
                    <a:pt x="205" y="525"/>
                  </a:cubicBezTo>
                  <a:close/>
                  <a:moveTo>
                    <a:pt x="208" y="285"/>
                  </a:moveTo>
                  <a:cubicBezTo>
                    <a:pt x="201" y="280"/>
                    <a:pt x="216" y="258"/>
                    <a:pt x="208" y="285"/>
                  </a:cubicBezTo>
                  <a:close/>
                  <a:moveTo>
                    <a:pt x="458" y="803"/>
                  </a:moveTo>
                  <a:cubicBezTo>
                    <a:pt x="458" y="809"/>
                    <a:pt x="442" y="796"/>
                    <a:pt x="445" y="814"/>
                  </a:cubicBezTo>
                  <a:cubicBezTo>
                    <a:pt x="440" y="822"/>
                    <a:pt x="445" y="790"/>
                    <a:pt x="447" y="784"/>
                  </a:cubicBezTo>
                  <a:cubicBezTo>
                    <a:pt x="456" y="788"/>
                    <a:pt x="447" y="799"/>
                    <a:pt x="458" y="803"/>
                  </a:cubicBezTo>
                  <a:close/>
                  <a:moveTo>
                    <a:pt x="453" y="655"/>
                  </a:moveTo>
                  <a:cubicBezTo>
                    <a:pt x="457" y="642"/>
                    <a:pt x="458" y="662"/>
                    <a:pt x="456" y="662"/>
                  </a:cubicBezTo>
                  <a:cubicBezTo>
                    <a:pt x="454" y="663"/>
                    <a:pt x="452" y="657"/>
                    <a:pt x="453" y="655"/>
                  </a:cubicBezTo>
                  <a:close/>
                  <a:moveTo>
                    <a:pt x="447" y="648"/>
                  </a:moveTo>
                  <a:cubicBezTo>
                    <a:pt x="455" y="651"/>
                    <a:pt x="446" y="659"/>
                    <a:pt x="447" y="666"/>
                  </a:cubicBezTo>
                  <a:cubicBezTo>
                    <a:pt x="448" y="670"/>
                    <a:pt x="451" y="669"/>
                    <a:pt x="453" y="670"/>
                  </a:cubicBezTo>
                  <a:cubicBezTo>
                    <a:pt x="452" y="679"/>
                    <a:pt x="444" y="671"/>
                    <a:pt x="442" y="670"/>
                  </a:cubicBezTo>
                  <a:cubicBezTo>
                    <a:pt x="439" y="670"/>
                    <a:pt x="440" y="674"/>
                    <a:pt x="439" y="677"/>
                  </a:cubicBezTo>
                  <a:cubicBezTo>
                    <a:pt x="435" y="677"/>
                    <a:pt x="430" y="677"/>
                    <a:pt x="426" y="677"/>
                  </a:cubicBezTo>
                  <a:cubicBezTo>
                    <a:pt x="427" y="671"/>
                    <a:pt x="434" y="674"/>
                    <a:pt x="431" y="662"/>
                  </a:cubicBezTo>
                  <a:cubicBezTo>
                    <a:pt x="434" y="665"/>
                    <a:pt x="437" y="666"/>
                    <a:pt x="442" y="666"/>
                  </a:cubicBezTo>
                  <a:cubicBezTo>
                    <a:pt x="448" y="665"/>
                    <a:pt x="443" y="650"/>
                    <a:pt x="447" y="648"/>
                  </a:cubicBezTo>
                  <a:close/>
                  <a:moveTo>
                    <a:pt x="423" y="799"/>
                  </a:moveTo>
                  <a:cubicBezTo>
                    <a:pt x="418" y="798"/>
                    <a:pt x="410" y="807"/>
                    <a:pt x="410" y="792"/>
                  </a:cubicBezTo>
                  <a:cubicBezTo>
                    <a:pt x="404" y="793"/>
                    <a:pt x="401" y="791"/>
                    <a:pt x="402" y="784"/>
                  </a:cubicBezTo>
                  <a:cubicBezTo>
                    <a:pt x="399" y="784"/>
                    <a:pt x="400" y="789"/>
                    <a:pt x="399" y="792"/>
                  </a:cubicBezTo>
                  <a:cubicBezTo>
                    <a:pt x="392" y="787"/>
                    <a:pt x="399" y="772"/>
                    <a:pt x="407" y="777"/>
                  </a:cubicBezTo>
                  <a:cubicBezTo>
                    <a:pt x="407" y="782"/>
                    <a:pt x="407" y="787"/>
                    <a:pt x="410" y="788"/>
                  </a:cubicBezTo>
                  <a:cubicBezTo>
                    <a:pt x="416" y="783"/>
                    <a:pt x="408" y="780"/>
                    <a:pt x="412" y="773"/>
                  </a:cubicBezTo>
                  <a:cubicBezTo>
                    <a:pt x="415" y="770"/>
                    <a:pt x="407" y="761"/>
                    <a:pt x="410" y="751"/>
                  </a:cubicBezTo>
                  <a:cubicBezTo>
                    <a:pt x="412" y="750"/>
                    <a:pt x="412" y="753"/>
                    <a:pt x="412" y="755"/>
                  </a:cubicBezTo>
                  <a:cubicBezTo>
                    <a:pt x="413" y="759"/>
                    <a:pt x="415" y="757"/>
                    <a:pt x="415" y="755"/>
                  </a:cubicBezTo>
                  <a:cubicBezTo>
                    <a:pt x="419" y="756"/>
                    <a:pt x="417" y="764"/>
                    <a:pt x="418" y="770"/>
                  </a:cubicBezTo>
                  <a:cubicBezTo>
                    <a:pt x="419" y="774"/>
                    <a:pt x="427" y="776"/>
                    <a:pt x="423" y="784"/>
                  </a:cubicBezTo>
                  <a:cubicBezTo>
                    <a:pt x="432" y="783"/>
                    <a:pt x="435" y="781"/>
                    <a:pt x="442" y="784"/>
                  </a:cubicBezTo>
                  <a:cubicBezTo>
                    <a:pt x="439" y="789"/>
                    <a:pt x="439" y="798"/>
                    <a:pt x="437" y="803"/>
                  </a:cubicBezTo>
                  <a:cubicBezTo>
                    <a:pt x="434" y="801"/>
                    <a:pt x="425" y="806"/>
                    <a:pt x="423" y="803"/>
                  </a:cubicBezTo>
                  <a:cubicBezTo>
                    <a:pt x="423" y="803"/>
                    <a:pt x="423" y="799"/>
                    <a:pt x="423" y="799"/>
                  </a:cubicBezTo>
                  <a:close/>
                  <a:moveTo>
                    <a:pt x="388" y="792"/>
                  </a:moveTo>
                  <a:cubicBezTo>
                    <a:pt x="385" y="790"/>
                    <a:pt x="384" y="785"/>
                    <a:pt x="380" y="784"/>
                  </a:cubicBezTo>
                  <a:cubicBezTo>
                    <a:pt x="378" y="787"/>
                    <a:pt x="378" y="793"/>
                    <a:pt x="372" y="792"/>
                  </a:cubicBezTo>
                  <a:cubicBezTo>
                    <a:pt x="376" y="787"/>
                    <a:pt x="377" y="770"/>
                    <a:pt x="370" y="770"/>
                  </a:cubicBezTo>
                  <a:cubicBezTo>
                    <a:pt x="367" y="773"/>
                    <a:pt x="364" y="777"/>
                    <a:pt x="361" y="781"/>
                  </a:cubicBezTo>
                  <a:cubicBezTo>
                    <a:pt x="356" y="779"/>
                    <a:pt x="356" y="775"/>
                    <a:pt x="359" y="770"/>
                  </a:cubicBezTo>
                  <a:cubicBezTo>
                    <a:pt x="351" y="769"/>
                    <a:pt x="353" y="776"/>
                    <a:pt x="348" y="770"/>
                  </a:cubicBezTo>
                  <a:cubicBezTo>
                    <a:pt x="349" y="765"/>
                    <a:pt x="353" y="764"/>
                    <a:pt x="353" y="759"/>
                  </a:cubicBezTo>
                  <a:cubicBezTo>
                    <a:pt x="357" y="764"/>
                    <a:pt x="359" y="770"/>
                    <a:pt x="359" y="755"/>
                  </a:cubicBezTo>
                  <a:cubicBezTo>
                    <a:pt x="367" y="752"/>
                    <a:pt x="362" y="767"/>
                    <a:pt x="370" y="766"/>
                  </a:cubicBezTo>
                  <a:cubicBezTo>
                    <a:pt x="373" y="765"/>
                    <a:pt x="373" y="755"/>
                    <a:pt x="370" y="755"/>
                  </a:cubicBezTo>
                  <a:cubicBezTo>
                    <a:pt x="373" y="750"/>
                    <a:pt x="373" y="742"/>
                    <a:pt x="372" y="733"/>
                  </a:cubicBezTo>
                  <a:cubicBezTo>
                    <a:pt x="383" y="730"/>
                    <a:pt x="373" y="757"/>
                    <a:pt x="386" y="751"/>
                  </a:cubicBezTo>
                  <a:cubicBezTo>
                    <a:pt x="383" y="755"/>
                    <a:pt x="385" y="765"/>
                    <a:pt x="378" y="762"/>
                  </a:cubicBezTo>
                  <a:cubicBezTo>
                    <a:pt x="384" y="771"/>
                    <a:pt x="380" y="772"/>
                    <a:pt x="383" y="781"/>
                  </a:cubicBezTo>
                  <a:cubicBezTo>
                    <a:pt x="386" y="778"/>
                    <a:pt x="386" y="772"/>
                    <a:pt x="391" y="773"/>
                  </a:cubicBezTo>
                  <a:cubicBezTo>
                    <a:pt x="398" y="782"/>
                    <a:pt x="387" y="780"/>
                    <a:pt x="388" y="792"/>
                  </a:cubicBezTo>
                  <a:close/>
                  <a:moveTo>
                    <a:pt x="345" y="740"/>
                  </a:moveTo>
                  <a:cubicBezTo>
                    <a:pt x="346" y="740"/>
                    <a:pt x="344" y="746"/>
                    <a:pt x="343" y="744"/>
                  </a:cubicBezTo>
                  <a:cubicBezTo>
                    <a:pt x="340" y="739"/>
                    <a:pt x="339" y="743"/>
                    <a:pt x="335" y="740"/>
                  </a:cubicBezTo>
                  <a:cubicBezTo>
                    <a:pt x="334" y="740"/>
                    <a:pt x="335" y="734"/>
                    <a:pt x="335" y="733"/>
                  </a:cubicBezTo>
                  <a:cubicBezTo>
                    <a:pt x="332" y="727"/>
                    <a:pt x="326" y="732"/>
                    <a:pt x="321" y="733"/>
                  </a:cubicBezTo>
                  <a:cubicBezTo>
                    <a:pt x="321" y="723"/>
                    <a:pt x="316" y="721"/>
                    <a:pt x="321" y="714"/>
                  </a:cubicBezTo>
                  <a:cubicBezTo>
                    <a:pt x="325" y="713"/>
                    <a:pt x="322" y="723"/>
                    <a:pt x="324" y="725"/>
                  </a:cubicBezTo>
                  <a:cubicBezTo>
                    <a:pt x="327" y="729"/>
                    <a:pt x="331" y="718"/>
                    <a:pt x="335" y="721"/>
                  </a:cubicBezTo>
                  <a:cubicBezTo>
                    <a:pt x="335" y="725"/>
                    <a:pt x="335" y="729"/>
                    <a:pt x="335" y="733"/>
                  </a:cubicBezTo>
                  <a:cubicBezTo>
                    <a:pt x="341" y="731"/>
                    <a:pt x="345" y="727"/>
                    <a:pt x="353" y="729"/>
                  </a:cubicBezTo>
                  <a:cubicBezTo>
                    <a:pt x="353" y="725"/>
                    <a:pt x="348" y="726"/>
                    <a:pt x="345" y="725"/>
                  </a:cubicBezTo>
                  <a:cubicBezTo>
                    <a:pt x="349" y="720"/>
                    <a:pt x="356" y="720"/>
                    <a:pt x="356" y="710"/>
                  </a:cubicBezTo>
                  <a:cubicBezTo>
                    <a:pt x="360" y="711"/>
                    <a:pt x="357" y="721"/>
                    <a:pt x="361" y="721"/>
                  </a:cubicBezTo>
                  <a:cubicBezTo>
                    <a:pt x="356" y="729"/>
                    <a:pt x="357" y="723"/>
                    <a:pt x="359" y="736"/>
                  </a:cubicBezTo>
                  <a:cubicBezTo>
                    <a:pt x="359" y="741"/>
                    <a:pt x="358" y="746"/>
                    <a:pt x="359" y="751"/>
                  </a:cubicBezTo>
                  <a:cubicBezTo>
                    <a:pt x="356" y="751"/>
                    <a:pt x="354" y="752"/>
                    <a:pt x="353" y="755"/>
                  </a:cubicBezTo>
                  <a:cubicBezTo>
                    <a:pt x="346" y="754"/>
                    <a:pt x="357" y="748"/>
                    <a:pt x="353" y="740"/>
                  </a:cubicBezTo>
                  <a:cubicBezTo>
                    <a:pt x="358" y="727"/>
                    <a:pt x="336" y="740"/>
                    <a:pt x="345" y="740"/>
                  </a:cubicBezTo>
                  <a:close/>
                  <a:moveTo>
                    <a:pt x="332" y="747"/>
                  </a:moveTo>
                  <a:cubicBezTo>
                    <a:pt x="337" y="748"/>
                    <a:pt x="345" y="744"/>
                    <a:pt x="343" y="755"/>
                  </a:cubicBezTo>
                  <a:cubicBezTo>
                    <a:pt x="340" y="755"/>
                    <a:pt x="340" y="753"/>
                    <a:pt x="340" y="751"/>
                  </a:cubicBezTo>
                  <a:cubicBezTo>
                    <a:pt x="337" y="751"/>
                    <a:pt x="338" y="756"/>
                    <a:pt x="337" y="759"/>
                  </a:cubicBezTo>
                  <a:cubicBezTo>
                    <a:pt x="335" y="758"/>
                    <a:pt x="335" y="755"/>
                    <a:pt x="332" y="755"/>
                  </a:cubicBezTo>
                  <a:cubicBezTo>
                    <a:pt x="332" y="752"/>
                    <a:pt x="332" y="750"/>
                    <a:pt x="332" y="747"/>
                  </a:cubicBezTo>
                  <a:close/>
                  <a:moveTo>
                    <a:pt x="326" y="744"/>
                  </a:moveTo>
                  <a:cubicBezTo>
                    <a:pt x="326" y="741"/>
                    <a:pt x="326" y="739"/>
                    <a:pt x="326" y="736"/>
                  </a:cubicBezTo>
                  <a:cubicBezTo>
                    <a:pt x="328" y="736"/>
                    <a:pt x="330" y="736"/>
                    <a:pt x="332" y="736"/>
                  </a:cubicBezTo>
                  <a:cubicBezTo>
                    <a:pt x="332" y="739"/>
                    <a:pt x="332" y="741"/>
                    <a:pt x="332" y="744"/>
                  </a:cubicBezTo>
                  <a:cubicBezTo>
                    <a:pt x="330" y="744"/>
                    <a:pt x="328" y="744"/>
                    <a:pt x="326" y="744"/>
                  </a:cubicBezTo>
                  <a:close/>
                  <a:moveTo>
                    <a:pt x="297" y="607"/>
                  </a:moveTo>
                  <a:cubicBezTo>
                    <a:pt x="296" y="598"/>
                    <a:pt x="309" y="609"/>
                    <a:pt x="305" y="596"/>
                  </a:cubicBezTo>
                  <a:cubicBezTo>
                    <a:pt x="309" y="598"/>
                    <a:pt x="312" y="601"/>
                    <a:pt x="316" y="603"/>
                  </a:cubicBezTo>
                  <a:cubicBezTo>
                    <a:pt x="317" y="607"/>
                    <a:pt x="311" y="605"/>
                    <a:pt x="310" y="607"/>
                  </a:cubicBezTo>
                  <a:cubicBezTo>
                    <a:pt x="310" y="609"/>
                    <a:pt x="314" y="613"/>
                    <a:pt x="313" y="618"/>
                  </a:cubicBezTo>
                  <a:cubicBezTo>
                    <a:pt x="313" y="619"/>
                    <a:pt x="310" y="618"/>
                    <a:pt x="310" y="622"/>
                  </a:cubicBezTo>
                  <a:cubicBezTo>
                    <a:pt x="310" y="635"/>
                    <a:pt x="315" y="658"/>
                    <a:pt x="302" y="655"/>
                  </a:cubicBezTo>
                  <a:cubicBezTo>
                    <a:pt x="303" y="651"/>
                    <a:pt x="308" y="652"/>
                    <a:pt x="308" y="648"/>
                  </a:cubicBezTo>
                  <a:cubicBezTo>
                    <a:pt x="306" y="644"/>
                    <a:pt x="301" y="644"/>
                    <a:pt x="302" y="636"/>
                  </a:cubicBezTo>
                  <a:cubicBezTo>
                    <a:pt x="302" y="635"/>
                    <a:pt x="305" y="631"/>
                    <a:pt x="305" y="633"/>
                  </a:cubicBezTo>
                  <a:cubicBezTo>
                    <a:pt x="305" y="625"/>
                    <a:pt x="296" y="624"/>
                    <a:pt x="300" y="614"/>
                  </a:cubicBezTo>
                  <a:cubicBezTo>
                    <a:pt x="302" y="617"/>
                    <a:pt x="304" y="621"/>
                    <a:pt x="305" y="625"/>
                  </a:cubicBezTo>
                  <a:cubicBezTo>
                    <a:pt x="313" y="619"/>
                    <a:pt x="305" y="604"/>
                    <a:pt x="297" y="607"/>
                  </a:cubicBezTo>
                  <a:close/>
                  <a:moveTo>
                    <a:pt x="289" y="562"/>
                  </a:moveTo>
                  <a:cubicBezTo>
                    <a:pt x="284" y="562"/>
                    <a:pt x="283" y="567"/>
                    <a:pt x="278" y="566"/>
                  </a:cubicBezTo>
                  <a:cubicBezTo>
                    <a:pt x="276" y="558"/>
                    <a:pt x="286" y="554"/>
                    <a:pt x="275" y="555"/>
                  </a:cubicBezTo>
                  <a:cubicBezTo>
                    <a:pt x="279" y="541"/>
                    <a:pt x="293" y="558"/>
                    <a:pt x="286" y="537"/>
                  </a:cubicBezTo>
                  <a:cubicBezTo>
                    <a:pt x="281" y="542"/>
                    <a:pt x="280" y="540"/>
                    <a:pt x="281" y="529"/>
                  </a:cubicBezTo>
                  <a:cubicBezTo>
                    <a:pt x="276" y="529"/>
                    <a:pt x="272" y="529"/>
                    <a:pt x="267" y="529"/>
                  </a:cubicBezTo>
                  <a:cubicBezTo>
                    <a:pt x="268" y="518"/>
                    <a:pt x="277" y="524"/>
                    <a:pt x="281" y="529"/>
                  </a:cubicBezTo>
                  <a:cubicBezTo>
                    <a:pt x="287" y="528"/>
                    <a:pt x="291" y="523"/>
                    <a:pt x="300" y="525"/>
                  </a:cubicBezTo>
                  <a:cubicBezTo>
                    <a:pt x="300" y="531"/>
                    <a:pt x="284" y="531"/>
                    <a:pt x="297" y="533"/>
                  </a:cubicBezTo>
                  <a:cubicBezTo>
                    <a:pt x="291" y="548"/>
                    <a:pt x="294" y="552"/>
                    <a:pt x="292" y="570"/>
                  </a:cubicBezTo>
                  <a:cubicBezTo>
                    <a:pt x="296" y="571"/>
                    <a:pt x="297" y="567"/>
                    <a:pt x="297" y="562"/>
                  </a:cubicBezTo>
                  <a:cubicBezTo>
                    <a:pt x="300" y="562"/>
                    <a:pt x="302" y="563"/>
                    <a:pt x="302" y="566"/>
                  </a:cubicBezTo>
                  <a:cubicBezTo>
                    <a:pt x="308" y="565"/>
                    <a:pt x="303" y="550"/>
                    <a:pt x="308" y="548"/>
                  </a:cubicBezTo>
                  <a:cubicBezTo>
                    <a:pt x="313" y="548"/>
                    <a:pt x="308" y="559"/>
                    <a:pt x="310" y="562"/>
                  </a:cubicBezTo>
                  <a:cubicBezTo>
                    <a:pt x="311" y="565"/>
                    <a:pt x="313" y="560"/>
                    <a:pt x="313" y="559"/>
                  </a:cubicBezTo>
                  <a:cubicBezTo>
                    <a:pt x="313" y="558"/>
                    <a:pt x="318" y="560"/>
                    <a:pt x="316" y="562"/>
                  </a:cubicBezTo>
                  <a:cubicBezTo>
                    <a:pt x="311" y="567"/>
                    <a:pt x="319" y="566"/>
                    <a:pt x="313" y="585"/>
                  </a:cubicBezTo>
                  <a:cubicBezTo>
                    <a:pt x="316" y="582"/>
                    <a:pt x="316" y="576"/>
                    <a:pt x="321" y="577"/>
                  </a:cubicBezTo>
                  <a:cubicBezTo>
                    <a:pt x="321" y="583"/>
                    <a:pt x="321" y="590"/>
                    <a:pt x="321" y="596"/>
                  </a:cubicBezTo>
                  <a:cubicBezTo>
                    <a:pt x="318" y="596"/>
                    <a:pt x="319" y="591"/>
                    <a:pt x="318" y="588"/>
                  </a:cubicBezTo>
                  <a:cubicBezTo>
                    <a:pt x="315" y="588"/>
                    <a:pt x="314" y="589"/>
                    <a:pt x="313" y="592"/>
                  </a:cubicBezTo>
                  <a:cubicBezTo>
                    <a:pt x="311" y="588"/>
                    <a:pt x="301" y="577"/>
                    <a:pt x="300" y="585"/>
                  </a:cubicBezTo>
                  <a:cubicBezTo>
                    <a:pt x="291" y="581"/>
                    <a:pt x="303" y="577"/>
                    <a:pt x="302" y="574"/>
                  </a:cubicBezTo>
                  <a:cubicBezTo>
                    <a:pt x="300" y="568"/>
                    <a:pt x="281" y="577"/>
                    <a:pt x="289" y="562"/>
                  </a:cubicBezTo>
                  <a:close/>
                  <a:moveTo>
                    <a:pt x="292" y="625"/>
                  </a:moveTo>
                  <a:cubicBezTo>
                    <a:pt x="284" y="626"/>
                    <a:pt x="285" y="615"/>
                    <a:pt x="281" y="611"/>
                  </a:cubicBezTo>
                  <a:cubicBezTo>
                    <a:pt x="277" y="615"/>
                    <a:pt x="274" y="615"/>
                    <a:pt x="270" y="611"/>
                  </a:cubicBezTo>
                  <a:cubicBezTo>
                    <a:pt x="270" y="606"/>
                    <a:pt x="270" y="601"/>
                    <a:pt x="270" y="596"/>
                  </a:cubicBezTo>
                  <a:cubicBezTo>
                    <a:pt x="270" y="591"/>
                    <a:pt x="273" y="588"/>
                    <a:pt x="273" y="585"/>
                  </a:cubicBezTo>
                  <a:cubicBezTo>
                    <a:pt x="272" y="579"/>
                    <a:pt x="268" y="575"/>
                    <a:pt x="267" y="570"/>
                  </a:cubicBezTo>
                  <a:cubicBezTo>
                    <a:pt x="267" y="560"/>
                    <a:pt x="271" y="550"/>
                    <a:pt x="267" y="537"/>
                  </a:cubicBezTo>
                  <a:cubicBezTo>
                    <a:pt x="270" y="538"/>
                    <a:pt x="272" y="540"/>
                    <a:pt x="273" y="544"/>
                  </a:cubicBezTo>
                  <a:cubicBezTo>
                    <a:pt x="272" y="543"/>
                    <a:pt x="269" y="546"/>
                    <a:pt x="270" y="548"/>
                  </a:cubicBezTo>
                  <a:cubicBezTo>
                    <a:pt x="272" y="550"/>
                    <a:pt x="274" y="557"/>
                    <a:pt x="273" y="574"/>
                  </a:cubicBezTo>
                  <a:cubicBezTo>
                    <a:pt x="273" y="578"/>
                    <a:pt x="275" y="576"/>
                    <a:pt x="275" y="574"/>
                  </a:cubicBezTo>
                  <a:cubicBezTo>
                    <a:pt x="283" y="571"/>
                    <a:pt x="273" y="591"/>
                    <a:pt x="281" y="588"/>
                  </a:cubicBezTo>
                  <a:cubicBezTo>
                    <a:pt x="280" y="597"/>
                    <a:pt x="280" y="606"/>
                    <a:pt x="283" y="611"/>
                  </a:cubicBezTo>
                  <a:cubicBezTo>
                    <a:pt x="287" y="609"/>
                    <a:pt x="286" y="601"/>
                    <a:pt x="286" y="596"/>
                  </a:cubicBezTo>
                  <a:cubicBezTo>
                    <a:pt x="289" y="598"/>
                    <a:pt x="289" y="604"/>
                    <a:pt x="294" y="603"/>
                  </a:cubicBezTo>
                  <a:cubicBezTo>
                    <a:pt x="294" y="612"/>
                    <a:pt x="290" y="614"/>
                    <a:pt x="292" y="625"/>
                  </a:cubicBezTo>
                  <a:close/>
                  <a:moveTo>
                    <a:pt x="283" y="644"/>
                  </a:moveTo>
                  <a:cubicBezTo>
                    <a:pt x="283" y="648"/>
                    <a:pt x="278" y="646"/>
                    <a:pt x="278" y="651"/>
                  </a:cubicBezTo>
                  <a:cubicBezTo>
                    <a:pt x="275" y="651"/>
                    <a:pt x="277" y="648"/>
                    <a:pt x="278" y="648"/>
                  </a:cubicBezTo>
                  <a:cubicBezTo>
                    <a:pt x="274" y="637"/>
                    <a:pt x="276" y="643"/>
                    <a:pt x="283" y="644"/>
                  </a:cubicBezTo>
                  <a:close/>
                  <a:moveTo>
                    <a:pt x="270" y="618"/>
                  </a:moveTo>
                  <a:cubicBezTo>
                    <a:pt x="274" y="617"/>
                    <a:pt x="275" y="621"/>
                    <a:pt x="278" y="622"/>
                  </a:cubicBezTo>
                  <a:cubicBezTo>
                    <a:pt x="279" y="629"/>
                    <a:pt x="266" y="627"/>
                    <a:pt x="270" y="618"/>
                  </a:cubicBezTo>
                  <a:close/>
                  <a:moveTo>
                    <a:pt x="273" y="636"/>
                  </a:moveTo>
                  <a:cubicBezTo>
                    <a:pt x="273" y="635"/>
                    <a:pt x="270" y="648"/>
                    <a:pt x="270" y="648"/>
                  </a:cubicBezTo>
                  <a:cubicBezTo>
                    <a:pt x="268" y="650"/>
                    <a:pt x="269" y="635"/>
                    <a:pt x="267" y="629"/>
                  </a:cubicBezTo>
                  <a:cubicBezTo>
                    <a:pt x="272" y="628"/>
                    <a:pt x="273" y="632"/>
                    <a:pt x="273" y="636"/>
                  </a:cubicBezTo>
                  <a:close/>
                  <a:moveTo>
                    <a:pt x="232" y="470"/>
                  </a:moveTo>
                  <a:cubicBezTo>
                    <a:pt x="227" y="469"/>
                    <a:pt x="230" y="456"/>
                    <a:pt x="224" y="455"/>
                  </a:cubicBezTo>
                  <a:cubicBezTo>
                    <a:pt x="216" y="446"/>
                    <a:pt x="232" y="459"/>
                    <a:pt x="230" y="452"/>
                  </a:cubicBezTo>
                  <a:cubicBezTo>
                    <a:pt x="235" y="451"/>
                    <a:pt x="231" y="465"/>
                    <a:pt x="232" y="470"/>
                  </a:cubicBezTo>
                  <a:close/>
                  <a:moveTo>
                    <a:pt x="232" y="581"/>
                  </a:moveTo>
                  <a:cubicBezTo>
                    <a:pt x="228" y="578"/>
                    <a:pt x="229" y="569"/>
                    <a:pt x="227" y="562"/>
                  </a:cubicBezTo>
                  <a:cubicBezTo>
                    <a:pt x="233" y="563"/>
                    <a:pt x="233" y="572"/>
                    <a:pt x="232" y="581"/>
                  </a:cubicBezTo>
                  <a:close/>
                  <a:moveTo>
                    <a:pt x="214" y="751"/>
                  </a:moveTo>
                  <a:cubicBezTo>
                    <a:pt x="213" y="741"/>
                    <a:pt x="215" y="735"/>
                    <a:pt x="222" y="736"/>
                  </a:cubicBezTo>
                  <a:cubicBezTo>
                    <a:pt x="222" y="746"/>
                    <a:pt x="221" y="752"/>
                    <a:pt x="214" y="751"/>
                  </a:cubicBezTo>
                  <a:close/>
                  <a:moveTo>
                    <a:pt x="219" y="766"/>
                  </a:moveTo>
                  <a:cubicBezTo>
                    <a:pt x="218" y="767"/>
                    <a:pt x="216" y="757"/>
                    <a:pt x="214" y="759"/>
                  </a:cubicBezTo>
                  <a:cubicBezTo>
                    <a:pt x="218" y="746"/>
                    <a:pt x="221" y="763"/>
                    <a:pt x="219" y="766"/>
                  </a:cubicBezTo>
                  <a:close/>
                  <a:moveTo>
                    <a:pt x="224" y="537"/>
                  </a:moveTo>
                  <a:cubicBezTo>
                    <a:pt x="223" y="538"/>
                    <a:pt x="221" y="527"/>
                    <a:pt x="219" y="529"/>
                  </a:cubicBezTo>
                  <a:cubicBezTo>
                    <a:pt x="224" y="517"/>
                    <a:pt x="226" y="534"/>
                    <a:pt x="224" y="537"/>
                  </a:cubicBezTo>
                  <a:close/>
                  <a:moveTo>
                    <a:pt x="224" y="381"/>
                  </a:moveTo>
                  <a:cubicBezTo>
                    <a:pt x="224" y="378"/>
                    <a:pt x="224" y="374"/>
                    <a:pt x="224" y="370"/>
                  </a:cubicBezTo>
                  <a:cubicBezTo>
                    <a:pt x="232" y="365"/>
                    <a:pt x="232" y="387"/>
                    <a:pt x="224" y="381"/>
                  </a:cubicBezTo>
                  <a:close/>
                  <a:moveTo>
                    <a:pt x="230" y="392"/>
                  </a:moveTo>
                  <a:cubicBezTo>
                    <a:pt x="220" y="384"/>
                    <a:pt x="242" y="388"/>
                    <a:pt x="235" y="370"/>
                  </a:cubicBezTo>
                  <a:cubicBezTo>
                    <a:pt x="237" y="372"/>
                    <a:pt x="239" y="374"/>
                    <a:pt x="243" y="374"/>
                  </a:cubicBezTo>
                  <a:cubicBezTo>
                    <a:pt x="240" y="378"/>
                    <a:pt x="235" y="381"/>
                    <a:pt x="238" y="392"/>
                  </a:cubicBezTo>
                  <a:cubicBezTo>
                    <a:pt x="233" y="393"/>
                    <a:pt x="231" y="386"/>
                    <a:pt x="230" y="392"/>
                  </a:cubicBezTo>
                  <a:close/>
                  <a:moveTo>
                    <a:pt x="249" y="433"/>
                  </a:moveTo>
                  <a:cubicBezTo>
                    <a:pt x="248" y="437"/>
                    <a:pt x="245" y="436"/>
                    <a:pt x="243" y="437"/>
                  </a:cubicBezTo>
                  <a:cubicBezTo>
                    <a:pt x="240" y="432"/>
                    <a:pt x="242" y="431"/>
                    <a:pt x="243" y="426"/>
                  </a:cubicBezTo>
                  <a:cubicBezTo>
                    <a:pt x="246" y="427"/>
                    <a:pt x="245" y="433"/>
                    <a:pt x="249" y="433"/>
                  </a:cubicBezTo>
                  <a:close/>
                  <a:moveTo>
                    <a:pt x="235" y="477"/>
                  </a:moveTo>
                  <a:cubicBezTo>
                    <a:pt x="239" y="478"/>
                    <a:pt x="236" y="488"/>
                    <a:pt x="240" y="489"/>
                  </a:cubicBezTo>
                  <a:cubicBezTo>
                    <a:pt x="237" y="500"/>
                    <a:pt x="233" y="485"/>
                    <a:pt x="235" y="477"/>
                  </a:cubicBezTo>
                  <a:close/>
                  <a:moveTo>
                    <a:pt x="238" y="466"/>
                  </a:moveTo>
                  <a:cubicBezTo>
                    <a:pt x="238" y="456"/>
                    <a:pt x="252" y="459"/>
                    <a:pt x="251" y="470"/>
                  </a:cubicBezTo>
                  <a:cubicBezTo>
                    <a:pt x="246" y="462"/>
                    <a:pt x="243" y="473"/>
                    <a:pt x="238" y="466"/>
                  </a:cubicBezTo>
                  <a:close/>
                  <a:moveTo>
                    <a:pt x="254" y="533"/>
                  </a:moveTo>
                  <a:cubicBezTo>
                    <a:pt x="248" y="545"/>
                    <a:pt x="243" y="520"/>
                    <a:pt x="254" y="533"/>
                  </a:cubicBezTo>
                  <a:close/>
                  <a:moveTo>
                    <a:pt x="246" y="448"/>
                  </a:moveTo>
                  <a:cubicBezTo>
                    <a:pt x="246" y="444"/>
                    <a:pt x="251" y="445"/>
                    <a:pt x="254" y="444"/>
                  </a:cubicBezTo>
                  <a:cubicBezTo>
                    <a:pt x="256" y="448"/>
                    <a:pt x="257" y="454"/>
                    <a:pt x="257" y="463"/>
                  </a:cubicBezTo>
                  <a:cubicBezTo>
                    <a:pt x="252" y="459"/>
                    <a:pt x="252" y="449"/>
                    <a:pt x="246" y="448"/>
                  </a:cubicBezTo>
                  <a:close/>
                  <a:moveTo>
                    <a:pt x="254" y="437"/>
                  </a:moveTo>
                  <a:cubicBezTo>
                    <a:pt x="254" y="434"/>
                    <a:pt x="253" y="433"/>
                    <a:pt x="251" y="433"/>
                  </a:cubicBezTo>
                  <a:cubicBezTo>
                    <a:pt x="251" y="429"/>
                    <a:pt x="254" y="430"/>
                    <a:pt x="257" y="429"/>
                  </a:cubicBezTo>
                  <a:cubicBezTo>
                    <a:pt x="255" y="426"/>
                    <a:pt x="254" y="423"/>
                    <a:pt x="251" y="422"/>
                  </a:cubicBezTo>
                  <a:cubicBezTo>
                    <a:pt x="252" y="418"/>
                    <a:pt x="256" y="419"/>
                    <a:pt x="259" y="418"/>
                  </a:cubicBezTo>
                  <a:cubicBezTo>
                    <a:pt x="259" y="424"/>
                    <a:pt x="259" y="431"/>
                    <a:pt x="259" y="437"/>
                  </a:cubicBezTo>
                  <a:cubicBezTo>
                    <a:pt x="257" y="437"/>
                    <a:pt x="256" y="437"/>
                    <a:pt x="254" y="437"/>
                  </a:cubicBezTo>
                  <a:close/>
                  <a:moveTo>
                    <a:pt x="259" y="359"/>
                  </a:moveTo>
                  <a:cubicBezTo>
                    <a:pt x="251" y="360"/>
                    <a:pt x="254" y="347"/>
                    <a:pt x="251" y="341"/>
                  </a:cubicBezTo>
                  <a:cubicBezTo>
                    <a:pt x="254" y="346"/>
                    <a:pt x="259" y="350"/>
                    <a:pt x="259" y="359"/>
                  </a:cubicBezTo>
                  <a:close/>
                  <a:moveTo>
                    <a:pt x="254" y="329"/>
                  </a:moveTo>
                  <a:cubicBezTo>
                    <a:pt x="253" y="320"/>
                    <a:pt x="258" y="318"/>
                    <a:pt x="259" y="311"/>
                  </a:cubicBezTo>
                  <a:cubicBezTo>
                    <a:pt x="264" y="312"/>
                    <a:pt x="260" y="332"/>
                    <a:pt x="254" y="329"/>
                  </a:cubicBezTo>
                  <a:close/>
                  <a:moveTo>
                    <a:pt x="259" y="448"/>
                  </a:moveTo>
                  <a:cubicBezTo>
                    <a:pt x="267" y="434"/>
                    <a:pt x="268" y="459"/>
                    <a:pt x="259" y="448"/>
                  </a:cubicBezTo>
                  <a:close/>
                  <a:moveTo>
                    <a:pt x="265" y="437"/>
                  </a:moveTo>
                  <a:cubicBezTo>
                    <a:pt x="264" y="432"/>
                    <a:pt x="265" y="430"/>
                    <a:pt x="267" y="429"/>
                  </a:cubicBezTo>
                  <a:cubicBezTo>
                    <a:pt x="259" y="417"/>
                    <a:pt x="276" y="429"/>
                    <a:pt x="267" y="418"/>
                  </a:cubicBezTo>
                  <a:cubicBezTo>
                    <a:pt x="270" y="407"/>
                    <a:pt x="275" y="422"/>
                    <a:pt x="278" y="422"/>
                  </a:cubicBezTo>
                  <a:cubicBezTo>
                    <a:pt x="279" y="429"/>
                    <a:pt x="263" y="430"/>
                    <a:pt x="273" y="437"/>
                  </a:cubicBezTo>
                  <a:cubicBezTo>
                    <a:pt x="272" y="442"/>
                    <a:pt x="269" y="435"/>
                    <a:pt x="265" y="437"/>
                  </a:cubicBezTo>
                  <a:close/>
                  <a:moveTo>
                    <a:pt x="294" y="270"/>
                  </a:moveTo>
                  <a:cubicBezTo>
                    <a:pt x="289" y="267"/>
                    <a:pt x="293" y="246"/>
                    <a:pt x="300" y="248"/>
                  </a:cubicBezTo>
                  <a:cubicBezTo>
                    <a:pt x="298" y="256"/>
                    <a:pt x="293" y="259"/>
                    <a:pt x="294" y="270"/>
                  </a:cubicBezTo>
                  <a:close/>
                  <a:moveTo>
                    <a:pt x="294" y="296"/>
                  </a:moveTo>
                  <a:cubicBezTo>
                    <a:pt x="292" y="296"/>
                    <a:pt x="289" y="296"/>
                    <a:pt x="286" y="296"/>
                  </a:cubicBezTo>
                  <a:cubicBezTo>
                    <a:pt x="286" y="294"/>
                    <a:pt x="286" y="291"/>
                    <a:pt x="286" y="289"/>
                  </a:cubicBezTo>
                  <a:cubicBezTo>
                    <a:pt x="292" y="288"/>
                    <a:pt x="295" y="290"/>
                    <a:pt x="294" y="296"/>
                  </a:cubicBezTo>
                  <a:close/>
                  <a:moveTo>
                    <a:pt x="294" y="333"/>
                  </a:moveTo>
                  <a:cubicBezTo>
                    <a:pt x="291" y="332"/>
                    <a:pt x="292" y="324"/>
                    <a:pt x="292" y="318"/>
                  </a:cubicBezTo>
                  <a:cubicBezTo>
                    <a:pt x="302" y="317"/>
                    <a:pt x="293" y="326"/>
                    <a:pt x="294" y="333"/>
                  </a:cubicBezTo>
                  <a:close/>
                  <a:moveTo>
                    <a:pt x="294" y="389"/>
                  </a:moveTo>
                  <a:cubicBezTo>
                    <a:pt x="297" y="390"/>
                    <a:pt x="296" y="396"/>
                    <a:pt x="300" y="396"/>
                  </a:cubicBezTo>
                  <a:cubicBezTo>
                    <a:pt x="297" y="401"/>
                    <a:pt x="292" y="403"/>
                    <a:pt x="292" y="411"/>
                  </a:cubicBezTo>
                  <a:cubicBezTo>
                    <a:pt x="284" y="406"/>
                    <a:pt x="296" y="398"/>
                    <a:pt x="294" y="389"/>
                  </a:cubicBezTo>
                  <a:close/>
                  <a:moveTo>
                    <a:pt x="343" y="248"/>
                  </a:moveTo>
                  <a:cubicBezTo>
                    <a:pt x="347" y="242"/>
                    <a:pt x="351" y="250"/>
                    <a:pt x="361" y="244"/>
                  </a:cubicBezTo>
                  <a:cubicBezTo>
                    <a:pt x="365" y="249"/>
                    <a:pt x="364" y="257"/>
                    <a:pt x="364" y="267"/>
                  </a:cubicBezTo>
                  <a:cubicBezTo>
                    <a:pt x="355" y="262"/>
                    <a:pt x="362" y="279"/>
                    <a:pt x="353" y="274"/>
                  </a:cubicBezTo>
                  <a:cubicBezTo>
                    <a:pt x="351" y="261"/>
                    <a:pt x="356" y="258"/>
                    <a:pt x="361" y="255"/>
                  </a:cubicBezTo>
                  <a:cubicBezTo>
                    <a:pt x="359" y="240"/>
                    <a:pt x="348" y="259"/>
                    <a:pt x="343" y="248"/>
                  </a:cubicBezTo>
                  <a:close/>
                  <a:moveTo>
                    <a:pt x="348" y="300"/>
                  </a:moveTo>
                  <a:cubicBezTo>
                    <a:pt x="344" y="297"/>
                    <a:pt x="338" y="297"/>
                    <a:pt x="340" y="285"/>
                  </a:cubicBezTo>
                  <a:cubicBezTo>
                    <a:pt x="342" y="284"/>
                    <a:pt x="342" y="286"/>
                    <a:pt x="343" y="289"/>
                  </a:cubicBezTo>
                  <a:cubicBezTo>
                    <a:pt x="344" y="293"/>
                    <a:pt x="349" y="293"/>
                    <a:pt x="348" y="300"/>
                  </a:cubicBezTo>
                  <a:close/>
                  <a:moveTo>
                    <a:pt x="383" y="263"/>
                  </a:moveTo>
                  <a:cubicBezTo>
                    <a:pt x="388" y="264"/>
                    <a:pt x="388" y="273"/>
                    <a:pt x="394" y="274"/>
                  </a:cubicBezTo>
                  <a:cubicBezTo>
                    <a:pt x="393" y="279"/>
                    <a:pt x="388" y="278"/>
                    <a:pt x="388" y="274"/>
                  </a:cubicBezTo>
                  <a:cubicBezTo>
                    <a:pt x="386" y="274"/>
                    <a:pt x="386" y="279"/>
                    <a:pt x="386" y="281"/>
                  </a:cubicBezTo>
                  <a:cubicBezTo>
                    <a:pt x="377" y="278"/>
                    <a:pt x="384" y="274"/>
                    <a:pt x="383" y="263"/>
                  </a:cubicBezTo>
                  <a:close/>
                  <a:moveTo>
                    <a:pt x="386" y="333"/>
                  </a:moveTo>
                  <a:cubicBezTo>
                    <a:pt x="381" y="330"/>
                    <a:pt x="379" y="320"/>
                    <a:pt x="383" y="315"/>
                  </a:cubicBezTo>
                  <a:cubicBezTo>
                    <a:pt x="389" y="314"/>
                    <a:pt x="384" y="328"/>
                    <a:pt x="386" y="333"/>
                  </a:cubicBezTo>
                  <a:close/>
                  <a:moveTo>
                    <a:pt x="386" y="307"/>
                  </a:moveTo>
                  <a:cubicBezTo>
                    <a:pt x="378" y="299"/>
                    <a:pt x="384" y="297"/>
                    <a:pt x="380" y="285"/>
                  </a:cubicBezTo>
                  <a:cubicBezTo>
                    <a:pt x="387" y="285"/>
                    <a:pt x="386" y="297"/>
                    <a:pt x="386" y="307"/>
                  </a:cubicBezTo>
                  <a:close/>
                  <a:moveTo>
                    <a:pt x="388" y="489"/>
                  </a:moveTo>
                  <a:cubicBezTo>
                    <a:pt x="389" y="489"/>
                    <a:pt x="388" y="496"/>
                    <a:pt x="388" y="496"/>
                  </a:cubicBezTo>
                  <a:cubicBezTo>
                    <a:pt x="390" y="496"/>
                    <a:pt x="393" y="491"/>
                    <a:pt x="394" y="489"/>
                  </a:cubicBezTo>
                  <a:cubicBezTo>
                    <a:pt x="395" y="487"/>
                    <a:pt x="397" y="495"/>
                    <a:pt x="396" y="496"/>
                  </a:cubicBezTo>
                  <a:cubicBezTo>
                    <a:pt x="396" y="497"/>
                    <a:pt x="391" y="495"/>
                    <a:pt x="391" y="496"/>
                  </a:cubicBezTo>
                  <a:cubicBezTo>
                    <a:pt x="389" y="502"/>
                    <a:pt x="392" y="510"/>
                    <a:pt x="383" y="511"/>
                  </a:cubicBezTo>
                  <a:cubicBezTo>
                    <a:pt x="379" y="520"/>
                    <a:pt x="389" y="519"/>
                    <a:pt x="391" y="522"/>
                  </a:cubicBezTo>
                  <a:cubicBezTo>
                    <a:pt x="393" y="526"/>
                    <a:pt x="389" y="536"/>
                    <a:pt x="396" y="533"/>
                  </a:cubicBezTo>
                  <a:cubicBezTo>
                    <a:pt x="398" y="544"/>
                    <a:pt x="391" y="545"/>
                    <a:pt x="383" y="544"/>
                  </a:cubicBezTo>
                  <a:cubicBezTo>
                    <a:pt x="381" y="537"/>
                    <a:pt x="386" y="534"/>
                    <a:pt x="386" y="529"/>
                  </a:cubicBezTo>
                  <a:cubicBezTo>
                    <a:pt x="384" y="522"/>
                    <a:pt x="380" y="526"/>
                    <a:pt x="378" y="522"/>
                  </a:cubicBezTo>
                  <a:cubicBezTo>
                    <a:pt x="376" y="519"/>
                    <a:pt x="380" y="513"/>
                    <a:pt x="380" y="514"/>
                  </a:cubicBezTo>
                  <a:cubicBezTo>
                    <a:pt x="375" y="506"/>
                    <a:pt x="375" y="505"/>
                    <a:pt x="367" y="507"/>
                  </a:cubicBezTo>
                  <a:cubicBezTo>
                    <a:pt x="366" y="499"/>
                    <a:pt x="369" y="497"/>
                    <a:pt x="370" y="492"/>
                  </a:cubicBezTo>
                  <a:cubicBezTo>
                    <a:pt x="375" y="493"/>
                    <a:pt x="371" y="504"/>
                    <a:pt x="378" y="503"/>
                  </a:cubicBezTo>
                  <a:cubicBezTo>
                    <a:pt x="380" y="504"/>
                    <a:pt x="380" y="502"/>
                    <a:pt x="380" y="500"/>
                  </a:cubicBezTo>
                  <a:cubicBezTo>
                    <a:pt x="380" y="496"/>
                    <a:pt x="377" y="497"/>
                    <a:pt x="375" y="496"/>
                  </a:cubicBezTo>
                  <a:cubicBezTo>
                    <a:pt x="374" y="492"/>
                    <a:pt x="376" y="488"/>
                    <a:pt x="378" y="489"/>
                  </a:cubicBezTo>
                  <a:cubicBezTo>
                    <a:pt x="378" y="489"/>
                    <a:pt x="380" y="496"/>
                    <a:pt x="380" y="496"/>
                  </a:cubicBezTo>
                  <a:cubicBezTo>
                    <a:pt x="381" y="496"/>
                    <a:pt x="385" y="484"/>
                    <a:pt x="388" y="489"/>
                  </a:cubicBezTo>
                  <a:close/>
                  <a:moveTo>
                    <a:pt x="404" y="296"/>
                  </a:moveTo>
                  <a:cubicBezTo>
                    <a:pt x="406" y="299"/>
                    <a:pt x="394" y="307"/>
                    <a:pt x="396" y="300"/>
                  </a:cubicBezTo>
                  <a:cubicBezTo>
                    <a:pt x="397" y="299"/>
                    <a:pt x="402" y="293"/>
                    <a:pt x="404" y="296"/>
                  </a:cubicBezTo>
                  <a:close/>
                  <a:moveTo>
                    <a:pt x="396" y="278"/>
                  </a:moveTo>
                  <a:cubicBezTo>
                    <a:pt x="397" y="275"/>
                    <a:pt x="399" y="274"/>
                    <a:pt x="399" y="270"/>
                  </a:cubicBezTo>
                  <a:cubicBezTo>
                    <a:pt x="401" y="271"/>
                    <a:pt x="402" y="274"/>
                    <a:pt x="404" y="274"/>
                  </a:cubicBezTo>
                  <a:cubicBezTo>
                    <a:pt x="404" y="277"/>
                    <a:pt x="402" y="278"/>
                    <a:pt x="402" y="281"/>
                  </a:cubicBezTo>
                  <a:cubicBezTo>
                    <a:pt x="400" y="281"/>
                    <a:pt x="399" y="278"/>
                    <a:pt x="396" y="278"/>
                  </a:cubicBezTo>
                  <a:close/>
                  <a:moveTo>
                    <a:pt x="421" y="525"/>
                  </a:moveTo>
                  <a:cubicBezTo>
                    <a:pt x="422" y="534"/>
                    <a:pt x="416" y="534"/>
                    <a:pt x="418" y="544"/>
                  </a:cubicBezTo>
                  <a:cubicBezTo>
                    <a:pt x="412" y="539"/>
                    <a:pt x="410" y="546"/>
                    <a:pt x="402" y="540"/>
                  </a:cubicBezTo>
                  <a:cubicBezTo>
                    <a:pt x="404" y="537"/>
                    <a:pt x="405" y="532"/>
                    <a:pt x="404" y="525"/>
                  </a:cubicBezTo>
                  <a:cubicBezTo>
                    <a:pt x="410" y="528"/>
                    <a:pt x="410" y="531"/>
                    <a:pt x="407" y="537"/>
                  </a:cubicBezTo>
                  <a:cubicBezTo>
                    <a:pt x="419" y="543"/>
                    <a:pt x="411" y="522"/>
                    <a:pt x="421" y="525"/>
                  </a:cubicBezTo>
                  <a:close/>
                  <a:moveTo>
                    <a:pt x="410" y="285"/>
                  </a:moveTo>
                  <a:cubicBezTo>
                    <a:pt x="422" y="287"/>
                    <a:pt x="407" y="307"/>
                    <a:pt x="410" y="285"/>
                  </a:cubicBezTo>
                  <a:close/>
                  <a:moveTo>
                    <a:pt x="412" y="281"/>
                  </a:moveTo>
                  <a:cubicBezTo>
                    <a:pt x="412" y="279"/>
                    <a:pt x="412" y="276"/>
                    <a:pt x="412" y="274"/>
                  </a:cubicBezTo>
                  <a:cubicBezTo>
                    <a:pt x="414" y="274"/>
                    <a:pt x="416" y="274"/>
                    <a:pt x="418" y="274"/>
                  </a:cubicBezTo>
                  <a:cubicBezTo>
                    <a:pt x="418" y="276"/>
                    <a:pt x="418" y="279"/>
                    <a:pt x="418" y="281"/>
                  </a:cubicBezTo>
                  <a:cubicBezTo>
                    <a:pt x="416" y="281"/>
                    <a:pt x="414" y="281"/>
                    <a:pt x="412" y="281"/>
                  </a:cubicBezTo>
                  <a:close/>
                  <a:moveTo>
                    <a:pt x="396" y="500"/>
                  </a:moveTo>
                  <a:cubicBezTo>
                    <a:pt x="403" y="501"/>
                    <a:pt x="403" y="509"/>
                    <a:pt x="399" y="514"/>
                  </a:cubicBezTo>
                  <a:cubicBezTo>
                    <a:pt x="395" y="513"/>
                    <a:pt x="397" y="505"/>
                    <a:pt x="396" y="500"/>
                  </a:cubicBezTo>
                  <a:close/>
                  <a:moveTo>
                    <a:pt x="351" y="489"/>
                  </a:moveTo>
                  <a:cubicBezTo>
                    <a:pt x="352" y="483"/>
                    <a:pt x="356" y="482"/>
                    <a:pt x="361" y="481"/>
                  </a:cubicBezTo>
                  <a:cubicBezTo>
                    <a:pt x="363" y="490"/>
                    <a:pt x="368" y="509"/>
                    <a:pt x="356" y="507"/>
                  </a:cubicBezTo>
                  <a:cubicBezTo>
                    <a:pt x="356" y="503"/>
                    <a:pt x="356" y="500"/>
                    <a:pt x="356" y="496"/>
                  </a:cubicBezTo>
                  <a:cubicBezTo>
                    <a:pt x="359" y="496"/>
                    <a:pt x="358" y="500"/>
                    <a:pt x="359" y="503"/>
                  </a:cubicBezTo>
                  <a:cubicBezTo>
                    <a:pt x="367" y="498"/>
                    <a:pt x="357" y="487"/>
                    <a:pt x="351" y="489"/>
                  </a:cubicBezTo>
                  <a:close/>
                  <a:moveTo>
                    <a:pt x="364" y="285"/>
                  </a:moveTo>
                  <a:cubicBezTo>
                    <a:pt x="363" y="279"/>
                    <a:pt x="379" y="280"/>
                    <a:pt x="372" y="289"/>
                  </a:cubicBezTo>
                  <a:cubicBezTo>
                    <a:pt x="373" y="287"/>
                    <a:pt x="364" y="285"/>
                    <a:pt x="364" y="285"/>
                  </a:cubicBezTo>
                  <a:close/>
                  <a:moveTo>
                    <a:pt x="372" y="296"/>
                  </a:moveTo>
                  <a:cubicBezTo>
                    <a:pt x="372" y="303"/>
                    <a:pt x="375" y="304"/>
                    <a:pt x="375" y="311"/>
                  </a:cubicBezTo>
                  <a:cubicBezTo>
                    <a:pt x="372" y="311"/>
                    <a:pt x="373" y="306"/>
                    <a:pt x="372" y="304"/>
                  </a:cubicBezTo>
                  <a:cubicBezTo>
                    <a:pt x="370" y="303"/>
                    <a:pt x="370" y="305"/>
                    <a:pt x="370" y="307"/>
                  </a:cubicBezTo>
                  <a:cubicBezTo>
                    <a:pt x="368" y="314"/>
                    <a:pt x="365" y="303"/>
                    <a:pt x="370" y="304"/>
                  </a:cubicBezTo>
                  <a:cubicBezTo>
                    <a:pt x="371" y="295"/>
                    <a:pt x="357" y="306"/>
                    <a:pt x="361" y="292"/>
                  </a:cubicBezTo>
                  <a:cubicBezTo>
                    <a:pt x="364" y="295"/>
                    <a:pt x="367" y="296"/>
                    <a:pt x="372" y="296"/>
                  </a:cubicBezTo>
                  <a:close/>
                  <a:moveTo>
                    <a:pt x="375" y="533"/>
                  </a:moveTo>
                  <a:cubicBezTo>
                    <a:pt x="367" y="548"/>
                    <a:pt x="368" y="521"/>
                    <a:pt x="361" y="522"/>
                  </a:cubicBezTo>
                  <a:cubicBezTo>
                    <a:pt x="363" y="511"/>
                    <a:pt x="367" y="525"/>
                    <a:pt x="372" y="522"/>
                  </a:cubicBezTo>
                  <a:cubicBezTo>
                    <a:pt x="372" y="527"/>
                    <a:pt x="372" y="532"/>
                    <a:pt x="375" y="533"/>
                  </a:cubicBezTo>
                  <a:close/>
                  <a:moveTo>
                    <a:pt x="364" y="474"/>
                  </a:moveTo>
                  <a:cubicBezTo>
                    <a:pt x="361" y="473"/>
                    <a:pt x="362" y="467"/>
                    <a:pt x="361" y="463"/>
                  </a:cubicBezTo>
                  <a:cubicBezTo>
                    <a:pt x="366" y="461"/>
                    <a:pt x="367" y="465"/>
                    <a:pt x="367" y="470"/>
                  </a:cubicBezTo>
                  <a:cubicBezTo>
                    <a:pt x="365" y="469"/>
                    <a:pt x="364" y="471"/>
                    <a:pt x="364" y="474"/>
                  </a:cubicBezTo>
                  <a:close/>
                  <a:moveTo>
                    <a:pt x="364" y="344"/>
                  </a:moveTo>
                  <a:cubicBezTo>
                    <a:pt x="363" y="336"/>
                    <a:pt x="369" y="339"/>
                    <a:pt x="370" y="333"/>
                  </a:cubicBezTo>
                  <a:cubicBezTo>
                    <a:pt x="373" y="334"/>
                    <a:pt x="372" y="340"/>
                    <a:pt x="372" y="344"/>
                  </a:cubicBezTo>
                  <a:cubicBezTo>
                    <a:pt x="370" y="344"/>
                    <a:pt x="367" y="344"/>
                    <a:pt x="364" y="344"/>
                  </a:cubicBezTo>
                  <a:close/>
                  <a:moveTo>
                    <a:pt x="361" y="555"/>
                  </a:moveTo>
                  <a:cubicBezTo>
                    <a:pt x="368" y="551"/>
                    <a:pt x="379" y="549"/>
                    <a:pt x="378" y="566"/>
                  </a:cubicBezTo>
                  <a:cubicBezTo>
                    <a:pt x="373" y="561"/>
                    <a:pt x="360" y="567"/>
                    <a:pt x="361" y="555"/>
                  </a:cubicBezTo>
                  <a:close/>
                  <a:moveTo>
                    <a:pt x="364" y="274"/>
                  </a:moveTo>
                  <a:cubicBezTo>
                    <a:pt x="366" y="269"/>
                    <a:pt x="370" y="267"/>
                    <a:pt x="375" y="267"/>
                  </a:cubicBezTo>
                  <a:cubicBezTo>
                    <a:pt x="378" y="278"/>
                    <a:pt x="369" y="273"/>
                    <a:pt x="364" y="274"/>
                  </a:cubicBezTo>
                  <a:close/>
                  <a:moveTo>
                    <a:pt x="353" y="363"/>
                  </a:moveTo>
                  <a:cubicBezTo>
                    <a:pt x="352" y="364"/>
                    <a:pt x="350" y="353"/>
                    <a:pt x="348" y="355"/>
                  </a:cubicBezTo>
                  <a:cubicBezTo>
                    <a:pt x="353" y="343"/>
                    <a:pt x="355" y="360"/>
                    <a:pt x="353" y="363"/>
                  </a:cubicBezTo>
                  <a:close/>
                  <a:moveTo>
                    <a:pt x="351" y="459"/>
                  </a:moveTo>
                  <a:cubicBezTo>
                    <a:pt x="351" y="463"/>
                    <a:pt x="351" y="466"/>
                    <a:pt x="351" y="470"/>
                  </a:cubicBezTo>
                  <a:cubicBezTo>
                    <a:pt x="348" y="470"/>
                    <a:pt x="349" y="465"/>
                    <a:pt x="348" y="463"/>
                  </a:cubicBezTo>
                  <a:cubicBezTo>
                    <a:pt x="346" y="466"/>
                    <a:pt x="341" y="465"/>
                    <a:pt x="337" y="459"/>
                  </a:cubicBezTo>
                  <a:cubicBezTo>
                    <a:pt x="336" y="456"/>
                    <a:pt x="334" y="454"/>
                    <a:pt x="335" y="448"/>
                  </a:cubicBezTo>
                  <a:cubicBezTo>
                    <a:pt x="337" y="451"/>
                    <a:pt x="339" y="454"/>
                    <a:pt x="340" y="459"/>
                  </a:cubicBezTo>
                  <a:cubicBezTo>
                    <a:pt x="344" y="459"/>
                    <a:pt x="347" y="459"/>
                    <a:pt x="351" y="459"/>
                  </a:cubicBezTo>
                  <a:close/>
                  <a:moveTo>
                    <a:pt x="340" y="559"/>
                  </a:moveTo>
                  <a:cubicBezTo>
                    <a:pt x="347" y="549"/>
                    <a:pt x="345" y="570"/>
                    <a:pt x="343" y="574"/>
                  </a:cubicBezTo>
                  <a:cubicBezTo>
                    <a:pt x="336" y="572"/>
                    <a:pt x="336" y="564"/>
                    <a:pt x="343" y="562"/>
                  </a:cubicBezTo>
                  <a:cubicBezTo>
                    <a:pt x="343" y="559"/>
                    <a:pt x="342" y="559"/>
                    <a:pt x="340" y="559"/>
                  </a:cubicBezTo>
                  <a:close/>
                  <a:moveTo>
                    <a:pt x="335" y="522"/>
                  </a:moveTo>
                  <a:cubicBezTo>
                    <a:pt x="334" y="521"/>
                    <a:pt x="335" y="518"/>
                    <a:pt x="335" y="518"/>
                  </a:cubicBezTo>
                  <a:cubicBezTo>
                    <a:pt x="332" y="517"/>
                    <a:pt x="320" y="521"/>
                    <a:pt x="324" y="511"/>
                  </a:cubicBezTo>
                  <a:cubicBezTo>
                    <a:pt x="334" y="513"/>
                    <a:pt x="331" y="517"/>
                    <a:pt x="329" y="503"/>
                  </a:cubicBezTo>
                  <a:cubicBezTo>
                    <a:pt x="332" y="503"/>
                    <a:pt x="335" y="503"/>
                    <a:pt x="337" y="503"/>
                  </a:cubicBezTo>
                  <a:cubicBezTo>
                    <a:pt x="334" y="516"/>
                    <a:pt x="336" y="519"/>
                    <a:pt x="345" y="514"/>
                  </a:cubicBezTo>
                  <a:cubicBezTo>
                    <a:pt x="347" y="517"/>
                    <a:pt x="338" y="528"/>
                    <a:pt x="335" y="522"/>
                  </a:cubicBezTo>
                  <a:close/>
                  <a:moveTo>
                    <a:pt x="324" y="707"/>
                  </a:moveTo>
                  <a:cubicBezTo>
                    <a:pt x="320" y="705"/>
                    <a:pt x="325" y="702"/>
                    <a:pt x="324" y="696"/>
                  </a:cubicBezTo>
                  <a:cubicBezTo>
                    <a:pt x="332" y="698"/>
                    <a:pt x="329" y="698"/>
                    <a:pt x="337" y="696"/>
                  </a:cubicBezTo>
                  <a:cubicBezTo>
                    <a:pt x="338" y="706"/>
                    <a:pt x="338" y="716"/>
                    <a:pt x="329" y="714"/>
                  </a:cubicBezTo>
                  <a:cubicBezTo>
                    <a:pt x="329" y="710"/>
                    <a:pt x="329" y="707"/>
                    <a:pt x="329" y="703"/>
                  </a:cubicBezTo>
                  <a:cubicBezTo>
                    <a:pt x="326" y="702"/>
                    <a:pt x="324" y="704"/>
                    <a:pt x="324" y="707"/>
                  </a:cubicBezTo>
                  <a:close/>
                  <a:moveTo>
                    <a:pt x="316" y="644"/>
                  </a:moveTo>
                  <a:cubicBezTo>
                    <a:pt x="322" y="632"/>
                    <a:pt x="323" y="658"/>
                    <a:pt x="324" y="666"/>
                  </a:cubicBezTo>
                  <a:cubicBezTo>
                    <a:pt x="308" y="668"/>
                    <a:pt x="324" y="649"/>
                    <a:pt x="316" y="644"/>
                  </a:cubicBezTo>
                  <a:close/>
                  <a:moveTo>
                    <a:pt x="335" y="562"/>
                  </a:moveTo>
                  <a:cubicBezTo>
                    <a:pt x="335" y="571"/>
                    <a:pt x="335" y="580"/>
                    <a:pt x="335" y="588"/>
                  </a:cubicBezTo>
                  <a:cubicBezTo>
                    <a:pt x="331" y="589"/>
                    <a:pt x="325" y="578"/>
                    <a:pt x="332" y="577"/>
                  </a:cubicBezTo>
                  <a:cubicBezTo>
                    <a:pt x="329" y="573"/>
                    <a:pt x="326" y="577"/>
                    <a:pt x="321" y="570"/>
                  </a:cubicBezTo>
                  <a:cubicBezTo>
                    <a:pt x="322" y="560"/>
                    <a:pt x="326" y="575"/>
                    <a:pt x="332" y="570"/>
                  </a:cubicBezTo>
                  <a:cubicBezTo>
                    <a:pt x="329" y="565"/>
                    <a:pt x="330" y="562"/>
                    <a:pt x="335" y="562"/>
                  </a:cubicBezTo>
                  <a:close/>
                  <a:moveTo>
                    <a:pt x="324" y="618"/>
                  </a:moveTo>
                  <a:cubicBezTo>
                    <a:pt x="327" y="616"/>
                    <a:pt x="327" y="609"/>
                    <a:pt x="332" y="611"/>
                  </a:cubicBezTo>
                  <a:cubicBezTo>
                    <a:pt x="333" y="620"/>
                    <a:pt x="326" y="620"/>
                    <a:pt x="321" y="622"/>
                  </a:cubicBezTo>
                  <a:cubicBezTo>
                    <a:pt x="321" y="618"/>
                    <a:pt x="322" y="618"/>
                    <a:pt x="324" y="618"/>
                  </a:cubicBezTo>
                  <a:close/>
                  <a:moveTo>
                    <a:pt x="337" y="677"/>
                  </a:moveTo>
                  <a:cubicBezTo>
                    <a:pt x="329" y="691"/>
                    <a:pt x="328" y="666"/>
                    <a:pt x="337" y="677"/>
                  </a:cubicBezTo>
                  <a:close/>
                  <a:moveTo>
                    <a:pt x="326" y="670"/>
                  </a:moveTo>
                  <a:cubicBezTo>
                    <a:pt x="326" y="662"/>
                    <a:pt x="327" y="658"/>
                    <a:pt x="332" y="659"/>
                  </a:cubicBezTo>
                  <a:cubicBezTo>
                    <a:pt x="332" y="652"/>
                    <a:pt x="332" y="646"/>
                    <a:pt x="332" y="640"/>
                  </a:cubicBezTo>
                  <a:cubicBezTo>
                    <a:pt x="341" y="642"/>
                    <a:pt x="339" y="675"/>
                    <a:pt x="326" y="670"/>
                  </a:cubicBezTo>
                  <a:close/>
                  <a:moveTo>
                    <a:pt x="326" y="555"/>
                  </a:moveTo>
                  <a:cubicBezTo>
                    <a:pt x="326" y="555"/>
                    <a:pt x="330" y="548"/>
                    <a:pt x="329" y="548"/>
                  </a:cubicBezTo>
                  <a:cubicBezTo>
                    <a:pt x="325" y="546"/>
                    <a:pt x="325" y="551"/>
                    <a:pt x="324" y="551"/>
                  </a:cubicBezTo>
                  <a:cubicBezTo>
                    <a:pt x="322" y="552"/>
                    <a:pt x="319" y="545"/>
                    <a:pt x="318" y="551"/>
                  </a:cubicBezTo>
                  <a:cubicBezTo>
                    <a:pt x="314" y="550"/>
                    <a:pt x="319" y="548"/>
                    <a:pt x="318" y="544"/>
                  </a:cubicBezTo>
                  <a:cubicBezTo>
                    <a:pt x="319" y="541"/>
                    <a:pt x="317" y="540"/>
                    <a:pt x="316" y="540"/>
                  </a:cubicBezTo>
                  <a:cubicBezTo>
                    <a:pt x="309" y="535"/>
                    <a:pt x="333" y="541"/>
                    <a:pt x="337" y="544"/>
                  </a:cubicBezTo>
                  <a:cubicBezTo>
                    <a:pt x="335" y="547"/>
                    <a:pt x="333" y="554"/>
                    <a:pt x="337" y="555"/>
                  </a:cubicBezTo>
                  <a:cubicBezTo>
                    <a:pt x="341" y="561"/>
                    <a:pt x="326" y="554"/>
                    <a:pt x="326" y="555"/>
                  </a:cubicBezTo>
                  <a:close/>
                  <a:moveTo>
                    <a:pt x="313" y="463"/>
                  </a:moveTo>
                  <a:cubicBezTo>
                    <a:pt x="313" y="463"/>
                    <a:pt x="318" y="467"/>
                    <a:pt x="318" y="466"/>
                  </a:cubicBezTo>
                  <a:cubicBezTo>
                    <a:pt x="318" y="467"/>
                    <a:pt x="312" y="474"/>
                    <a:pt x="313" y="474"/>
                  </a:cubicBezTo>
                  <a:cubicBezTo>
                    <a:pt x="309" y="473"/>
                    <a:pt x="313" y="471"/>
                    <a:pt x="313" y="470"/>
                  </a:cubicBezTo>
                  <a:cubicBezTo>
                    <a:pt x="314" y="469"/>
                    <a:pt x="312" y="463"/>
                    <a:pt x="313" y="463"/>
                  </a:cubicBezTo>
                  <a:close/>
                  <a:moveTo>
                    <a:pt x="345" y="492"/>
                  </a:moveTo>
                  <a:cubicBezTo>
                    <a:pt x="350" y="491"/>
                    <a:pt x="350" y="495"/>
                    <a:pt x="351" y="500"/>
                  </a:cubicBezTo>
                  <a:cubicBezTo>
                    <a:pt x="348" y="499"/>
                    <a:pt x="348" y="501"/>
                    <a:pt x="348" y="503"/>
                  </a:cubicBezTo>
                  <a:cubicBezTo>
                    <a:pt x="345" y="503"/>
                    <a:pt x="346" y="497"/>
                    <a:pt x="345" y="492"/>
                  </a:cubicBezTo>
                  <a:close/>
                  <a:moveTo>
                    <a:pt x="343" y="422"/>
                  </a:moveTo>
                  <a:cubicBezTo>
                    <a:pt x="337" y="422"/>
                    <a:pt x="339" y="412"/>
                    <a:pt x="332" y="415"/>
                  </a:cubicBezTo>
                  <a:cubicBezTo>
                    <a:pt x="334" y="406"/>
                    <a:pt x="345" y="413"/>
                    <a:pt x="343" y="422"/>
                  </a:cubicBezTo>
                  <a:close/>
                  <a:moveTo>
                    <a:pt x="340" y="477"/>
                  </a:moveTo>
                  <a:cubicBezTo>
                    <a:pt x="340" y="478"/>
                    <a:pt x="340" y="481"/>
                    <a:pt x="340" y="481"/>
                  </a:cubicBezTo>
                  <a:cubicBezTo>
                    <a:pt x="343" y="483"/>
                    <a:pt x="346" y="481"/>
                    <a:pt x="345" y="489"/>
                  </a:cubicBezTo>
                  <a:cubicBezTo>
                    <a:pt x="341" y="490"/>
                    <a:pt x="340" y="486"/>
                    <a:pt x="340" y="481"/>
                  </a:cubicBezTo>
                  <a:cubicBezTo>
                    <a:pt x="337" y="481"/>
                    <a:pt x="338" y="486"/>
                    <a:pt x="337" y="489"/>
                  </a:cubicBezTo>
                  <a:cubicBezTo>
                    <a:pt x="333" y="487"/>
                    <a:pt x="332" y="491"/>
                    <a:pt x="332" y="496"/>
                  </a:cubicBezTo>
                  <a:cubicBezTo>
                    <a:pt x="329" y="495"/>
                    <a:pt x="330" y="489"/>
                    <a:pt x="329" y="485"/>
                  </a:cubicBezTo>
                  <a:cubicBezTo>
                    <a:pt x="326" y="485"/>
                    <a:pt x="324" y="485"/>
                    <a:pt x="321" y="485"/>
                  </a:cubicBezTo>
                  <a:cubicBezTo>
                    <a:pt x="320" y="482"/>
                    <a:pt x="337" y="476"/>
                    <a:pt x="340" y="477"/>
                  </a:cubicBezTo>
                  <a:close/>
                  <a:moveTo>
                    <a:pt x="332" y="466"/>
                  </a:moveTo>
                  <a:cubicBezTo>
                    <a:pt x="326" y="477"/>
                    <a:pt x="323" y="454"/>
                    <a:pt x="324" y="444"/>
                  </a:cubicBezTo>
                  <a:cubicBezTo>
                    <a:pt x="327" y="447"/>
                    <a:pt x="327" y="453"/>
                    <a:pt x="332" y="452"/>
                  </a:cubicBezTo>
                  <a:cubicBezTo>
                    <a:pt x="331" y="454"/>
                    <a:pt x="325" y="466"/>
                    <a:pt x="332" y="466"/>
                  </a:cubicBezTo>
                  <a:close/>
                  <a:moveTo>
                    <a:pt x="329" y="411"/>
                  </a:moveTo>
                  <a:cubicBezTo>
                    <a:pt x="326" y="411"/>
                    <a:pt x="327" y="418"/>
                    <a:pt x="326" y="422"/>
                  </a:cubicBezTo>
                  <a:cubicBezTo>
                    <a:pt x="323" y="421"/>
                    <a:pt x="322" y="423"/>
                    <a:pt x="321" y="426"/>
                  </a:cubicBezTo>
                  <a:cubicBezTo>
                    <a:pt x="315" y="425"/>
                    <a:pt x="321" y="413"/>
                    <a:pt x="324" y="415"/>
                  </a:cubicBezTo>
                  <a:cubicBezTo>
                    <a:pt x="324" y="407"/>
                    <a:pt x="324" y="400"/>
                    <a:pt x="324" y="392"/>
                  </a:cubicBezTo>
                  <a:cubicBezTo>
                    <a:pt x="328" y="395"/>
                    <a:pt x="328" y="404"/>
                    <a:pt x="329" y="411"/>
                  </a:cubicBezTo>
                  <a:close/>
                  <a:moveTo>
                    <a:pt x="324" y="344"/>
                  </a:moveTo>
                  <a:cubicBezTo>
                    <a:pt x="328" y="343"/>
                    <a:pt x="329" y="347"/>
                    <a:pt x="329" y="352"/>
                  </a:cubicBezTo>
                  <a:cubicBezTo>
                    <a:pt x="327" y="351"/>
                    <a:pt x="327" y="353"/>
                    <a:pt x="326" y="355"/>
                  </a:cubicBezTo>
                  <a:cubicBezTo>
                    <a:pt x="323" y="355"/>
                    <a:pt x="324" y="349"/>
                    <a:pt x="324" y="344"/>
                  </a:cubicBezTo>
                  <a:close/>
                  <a:moveTo>
                    <a:pt x="316" y="385"/>
                  </a:moveTo>
                  <a:cubicBezTo>
                    <a:pt x="316" y="381"/>
                    <a:pt x="321" y="382"/>
                    <a:pt x="321" y="378"/>
                  </a:cubicBezTo>
                  <a:cubicBezTo>
                    <a:pt x="324" y="378"/>
                    <a:pt x="323" y="382"/>
                    <a:pt x="324" y="385"/>
                  </a:cubicBezTo>
                  <a:cubicBezTo>
                    <a:pt x="320" y="389"/>
                    <a:pt x="320" y="386"/>
                    <a:pt x="316" y="385"/>
                  </a:cubicBezTo>
                  <a:close/>
                  <a:moveTo>
                    <a:pt x="321" y="352"/>
                  </a:moveTo>
                  <a:cubicBezTo>
                    <a:pt x="318" y="354"/>
                    <a:pt x="319" y="348"/>
                    <a:pt x="318" y="348"/>
                  </a:cubicBezTo>
                  <a:cubicBezTo>
                    <a:pt x="317" y="347"/>
                    <a:pt x="311" y="349"/>
                    <a:pt x="310" y="348"/>
                  </a:cubicBezTo>
                  <a:cubicBezTo>
                    <a:pt x="307" y="343"/>
                    <a:pt x="323" y="336"/>
                    <a:pt x="321" y="352"/>
                  </a:cubicBezTo>
                  <a:close/>
                  <a:moveTo>
                    <a:pt x="310" y="537"/>
                  </a:moveTo>
                  <a:cubicBezTo>
                    <a:pt x="312" y="551"/>
                    <a:pt x="297" y="551"/>
                    <a:pt x="300" y="537"/>
                  </a:cubicBezTo>
                  <a:cubicBezTo>
                    <a:pt x="305" y="530"/>
                    <a:pt x="303" y="537"/>
                    <a:pt x="310" y="537"/>
                  </a:cubicBezTo>
                  <a:close/>
                  <a:moveTo>
                    <a:pt x="286" y="496"/>
                  </a:moveTo>
                  <a:cubicBezTo>
                    <a:pt x="285" y="489"/>
                    <a:pt x="284" y="493"/>
                    <a:pt x="286" y="481"/>
                  </a:cubicBezTo>
                  <a:cubicBezTo>
                    <a:pt x="293" y="485"/>
                    <a:pt x="293" y="499"/>
                    <a:pt x="286" y="503"/>
                  </a:cubicBezTo>
                  <a:cubicBezTo>
                    <a:pt x="281" y="512"/>
                    <a:pt x="287" y="503"/>
                    <a:pt x="286" y="496"/>
                  </a:cubicBezTo>
                  <a:close/>
                  <a:moveTo>
                    <a:pt x="286" y="466"/>
                  </a:moveTo>
                  <a:cubicBezTo>
                    <a:pt x="286" y="461"/>
                    <a:pt x="286" y="456"/>
                    <a:pt x="286" y="452"/>
                  </a:cubicBezTo>
                  <a:cubicBezTo>
                    <a:pt x="284" y="452"/>
                    <a:pt x="283" y="452"/>
                    <a:pt x="281" y="452"/>
                  </a:cubicBezTo>
                  <a:cubicBezTo>
                    <a:pt x="281" y="447"/>
                    <a:pt x="286" y="448"/>
                    <a:pt x="289" y="448"/>
                  </a:cubicBezTo>
                  <a:cubicBezTo>
                    <a:pt x="289" y="453"/>
                    <a:pt x="289" y="458"/>
                    <a:pt x="289" y="463"/>
                  </a:cubicBezTo>
                  <a:cubicBezTo>
                    <a:pt x="292" y="462"/>
                    <a:pt x="291" y="456"/>
                    <a:pt x="292" y="452"/>
                  </a:cubicBezTo>
                  <a:cubicBezTo>
                    <a:pt x="299" y="456"/>
                    <a:pt x="300" y="464"/>
                    <a:pt x="297" y="474"/>
                  </a:cubicBezTo>
                  <a:cubicBezTo>
                    <a:pt x="293" y="472"/>
                    <a:pt x="295" y="462"/>
                    <a:pt x="286" y="466"/>
                  </a:cubicBezTo>
                  <a:close/>
                  <a:moveTo>
                    <a:pt x="289" y="344"/>
                  </a:moveTo>
                  <a:cubicBezTo>
                    <a:pt x="283" y="356"/>
                    <a:pt x="278" y="331"/>
                    <a:pt x="289" y="344"/>
                  </a:cubicBezTo>
                  <a:close/>
                  <a:moveTo>
                    <a:pt x="286" y="326"/>
                  </a:moveTo>
                  <a:cubicBezTo>
                    <a:pt x="281" y="325"/>
                    <a:pt x="280" y="319"/>
                    <a:pt x="281" y="311"/>
                  </a:cubicBezTo>
                  <a:cubicBezTo>
                    <a:pt x="286" y="312"/>
                    <a:pt x="287" y="317"/>
                    <a:pt x="286" y="326"/>
                  </a:cubicBezTo>
                  <a:close/>
                  <a:moveTo>
                    <a:pt x="281" y="500"/>
                  </a:moveTo>
                  <a:cubicBezTo>
                    <a:pt x="271" y="494"/>
                    <a:pt x="277" y="485"/>
                    <a:pt x="278" y="481"/>
                  </a:cubicBezTo>
                  <a:cubicBezTo>
                    <a:pt x="279" y="478"/>
                    <a:pt x="281" y="479"/>
                    <a:pt x="281" y="481"/>
                  </a:cubicBezTo>
                  <a:cubicBezTo>
                    <a:pt x="280" y="488"/>
                    <a:pt x="279" y="486"/>
                    <a:pt x="281" y="500"/>
                  </a:cubicBezTo>
                  <a:close/>
                  <a:moveTo>
                    <a:pt x="270" y="366"/>
                  </a:moveTo>
                  <a:cubicBezTo>
                    <a:pt x="264" y="367"/>
                    <a:pt x="269" y="353"/>
                    <a:pt x="267" y="348"/>
                  </a:cubicBezTo>
                  <a:cubicBezTo>
                    <a:pt x="271" y="352"/>
                    <a:pt x="274" y="352"/>
                    <a:pt x="275" y="344"/>
                  </a:cubicBezTo>
                  <a:cubicBezTo>
                    <a:pt x="286" y="354"/>
                    <a:pt x="267" y="355"/>
                    <a:pt x="270" y="366"/>
                  </a:cubicBezTo>
                  <a:close/>
                  <a:moveTo>
                    <a:pt x="270" y="389"/>
                  </a:moveTo>
                  <a:cubicBezTo>
                    <a:pt x="280" y="400"/>
                    <a:pt x="262" y="401"/>
                    <a:pt x="270" y="389"/>
                  </a:cubicBezTo>
                  <a:close/>
                  <a:moveTo>
                    <a:pt x="270" y="452"/>
                  </a:moveTo>
                  <a:cubicBezTo>
                    <a:pt x="277" y="452"/>
                    <a:pt x="283" y="460"/>
                    <a:pt x="278" y="466"/>
                  </a:cubicBezTo>
                  <a:cubicBezTo>
                    <a:pt x="271" y="467"/>
                    <a:pt x="269" y="461"/>
                    <a:pt x="270" y="452"/>
                  </a:cubicBezTo>
                  <a:close/>
                  <a:moveTo>
                    <a:pt x="278" y="315"/>
                  </a:moveTo>
                  <a:cubicBezTo>
                    <a:pt x="274" y="323"/>
                    <a:pt x="270" y="307"/>
                    <a:pt x="270" y="322"/>
                  </a:cubicBezTo>
                  <a:cubicBezTo>
                    <a:pt x="258" y="316"/>
                    <a:pt x="280" y="308"/>
                    <a:pt x="270" y="304"/>
                  </a:cubicBezTo>
                  <a:cubicBezTo>
                    <a:pt x="272" y="297"/>
                    <a:pt x="275" y="303"/>
                    <a:pt x="278" y="304"/>
                  </a:cubicBezTo>
                  <a:cubicBezTo>
                    <a:pt x="280" y="290"/>
                    <a:pt x="269" y="294"/>
                    <a:pt x="265" y="289"/>
                  </a:cubicBezTo>
                  <a:cubicBezTo>
                    <a:pt x="265" y="280"/>
                    <a:pt x="271" y="291"/>
                    <a:pt x="273" y="289"/>
                  </a:cubicBezTo>
                  <a:cubicBezTo>
                    <a:pt x="276" y="285"/>
                    <a:pt x="274" y="289"/>
                    <a:pt x="283" y="289"/>
                  </a:cubicBezTo>
                  <a:cubicBezTo>
                    <a:pt x="284" y="300"/>
                    <a:pt x="276" y="301"/>
                    <a:pt x="278" y="315"/>
                  </a:cubicBezTo>
                  <a:close/>
                  <a:moveTo>
                    <a:pt x="305" y="696"/>
                  </a:moveTo>
                  <a:cubicBezTo>
                    <a:pt x="314" y="700"/>
                    <a:pt x="305" y="707"/>
                    <a:pt x="310" y="718"/>
                  </a:cubicBezTo>
                  <a:cubicBezTo>
                    <a:pt x="308" y="715"/>
                    <a:pt x="304" y="714"/>
                    <a:pt x="300" y="714"/>
                  </a:cubicBezTo>
                  <a:cubicBezTo>
                    <a:pt x="297" y="702"/>
                    <a:pt x="304" y="703"/>
                    <a:pt x="305" y="696"/>
                  </a:cubicBezTo>
                  <a:close/>
                  <a:moveTo>
                    <a:pt x="294" y="699"/>
                  </a:moveTo>
                  <a:cubicBezTo>
                    <a:pt x="294" y="697"/>
                    <a:pt x="294" y="694"/>
                    <a:pt x="294" y="692"/>
                  </a:cubicBezTo>
                  <a:cubicBezTo>
                    <a:pt x="296" y="692"/>
                    <a:pt x="298" y="692"/>
                    <a:pt x="300" y="692"/>
                  </a:cubicBezTo>
                  <a:cubicBezTo>
                    <a:pt x="300" y="694"/>
                    <a:pt x="300" y="697"/>
                    <a:pt x="300" y="699"/>
                  </a:cubicBezTo>
                  <a:cubicBezTo>
                    <a:pt x="298" y="699"/>
                    <a:pt x="296" y="699"/>
                    <a:pt x="294" y="699"/>
                  </a:cubicBezTo>
                  <a:close/>
                  <a:moveTo>
                    <a:pt x="316" y="721"/>
                  </a:moveTo>
                  <a:cubicBezTo>
                    <a:pt x="311" y="724"/>
                    <a:pt x="316" y="740"/>
                    <a:pt x="308" y="736"/>
                  </a:cubicBezTo>
                  <a:cubicBezTo>
                    <a:pt x="307" y="727"/>
                    <a:pt x="309" y="720"/>
                    <a:pt x="316" y="721"/>
                  </a:cubicBezTo>
                  <a:close/>
                  <a:moveTo>
                    <a:pt x="316" y="751"/>
                  </a:moveTo>
                  <a:cubicBezTo>
                    <a:pt x="324" y="737"/>
                    <a:pt x="325" y="762"/>
                    <a:pt x="316" y="751"/>
                  </a:cubicBezTo>
                  <a:close/>
                  <a:moveTo>
                    <a:pt x="351" y="681"/>
                  </a:moveTo>
                  <a:cubicBezTo>
                    <a:pt x="353" y="689"/>
                    <a:pt x="341" y="689"/>
                    <a:pt x="343" y="681"/>
                  </a:cubicBezTo>
                  <a:cubicBezTo>
                    <a:pt x="344" y="676"/>
                    <a:pt x="350" y="678"/>
                    <a:pt x="351" y="681"/>
                  </a:cubicBezTo>
                  <a:close/>
                  <a:moveTo>
                    <a:pt x="351" y="662"/>
                  </a:moveTo>
                  <a:cubicBezTo>
                    <a:pt x="356" y="670"/>
                    <a:pt x="359" y="680"/>
                    <a:pt x="367" y="684"/>
                  </a:cubicBezTo>
                  <a:cubicBezTo>
                    <a:pt x="365" y="687"/>
                    <a:pt x="364" y="691"/>
                    <a:pt x="364" y="696"/>
                  </a:cubicBezTo>
                  <a:cubicBezTo>
                    <a:pt x="361" y="696"/>
                    <a:pt x="363" y="690"/>
                    <a:pt x="361" y="688"/>
                  </a:cubicBezTo>
                  <a:cubicBezTo>
                    <a:pt x="357" y="680"/>
                    <a:pt x="349" y="678"/>
                    <a:pt x="351" y="662"/>
                  </a:cubicBezTo>
                  <a:close/>
                  <a:moveTo>
                    <a:pt x="348" y="718"/>
                  </a:moveTo>
                  <a:cubicBezTo>
                    <a:pt x="342" y="717"/>
                    <a:pt x="342" y="708"/>
                    <a:pt x="345" y="703"/>
                  </a:cubicBezTo>
                  <a:cubicBezTo>
                    <a:pt x="349" y="704"/>
                    <a:pt x="347" y="712"/>
                    <a:pt x="348" y="718"/>
                  </a:cubicBezTo>
                  <a:close/>
                  <a:moveTo>
                    <a:pt x="388" y="755"/>
                  </a:moveTo>
                  <a:cubicBezTo>
                    <a:pt x="389" y="750"/>
                    <a:pt x="396" y="752"/>
                    <a:pt x="396" y="755"/>
                  </a:cubicBezTo>
                  <a:cubicBezTo>
                    <a:pt x="399" y="763"/>
                    <a:pt x="387" y="763"/>
                    <a:pt x="388" y="755"/>
                  </a:cubicBezTo>
                  <a:close/>
                  <a:moveTo>
                    <a:pt x="399" y="684"/>
                  </a:moveTo>
                  <a:cubicBezTo>
                    <a:pt x="405" y="687"/>
                    <a:pt x="407" y="696"/>
                    <a:pt x="410" y="703"/>
                  </a:cubicBezTo>
                  <a:cubicBezTo>
                    <a:pt x="408" y="709"/>
                    <a:pt x="407" y="703"/>
                    <a:pt x="407" y="699"/>
                  </a:cubicBezTo>
                  <a:cubicBezTo>
                    <a:pt x="403" y="698"/>
                    <a:pt x="403" y="703"/>
                    <a:pt x="399" y="703"/>
                  </a:cubicBezTo>
                  <a:cubicBezTo>
                    <a:pt x="395" y="701"/>
                    <a:pt x="399" y="699"/>
                    <a:pt x="402" y="699"/>
                  </a:cubicBezTo>
                  <a:cubicBezTo>
                    <a:pt x="402" y="693"/>
                    <a:pt x="398" y="692"/>
                    <a:pt x="399" y="684"/>
                  </a:cubicBezTo>
                  <a:close/>
                  <a:moveTo>
                    <a:pt x="412" y="696"/>
                  </a:moveTo>
                  <a:cubicBezTo>
                    <a:pt x="412" y="692"/>
                    <a:pt x="412" y="688"/>
                    <a:pt x="412" y="684"/>
                  </a:cubicBezTo>
                  <a:cubicBezTo>
                    <a:pt x="416" y="686"/>
                    <a:pt x="417" y="691"/>
                    <a:pt x="421" y="692"/>
                  </a:cubicBezTo>
                  <a:cubicBezTo>
                    <a:pt x="421" y="695"/>
                    <a:pt x="420" y="695"/>
                    <a:pt x="418" y="696"/>
                  </a:cubicBezTo>
                  <a:cubicBezTo>
                    <a:pt x="416" y="696"/>
                    <a:pt x="414" y="696"/>
                    <a:pt x="412" y="696"/>
                  </a:cubicBezTo>
                  <a:close/>
                  <a:moveTo>
                    <a:pt x="439" y="692"/>
                  </a:moveTo>
                  <a:cubicBezTo>
                    <a:pt x="436" y="691"/>
                    <a:pt x="438" y="685"/>
                    <a:pt x="434" y="684"/>
                  </a:cubicBezTo>
                  <a:cubicBezTo>
                    <a:pt x="435" y="680"/>
                    <a:pt x="439" y="681"/>
                    <a:pt x="442" y="681"/>
                  </a:cubicBezTo>
                  <a:cubicBezTo>
                    <a:pt x="443" y="687"/>
                    <a:pt x="440" y="687"/>
                    <a:pt x="439" y="692"/>
                  </a:cubicBezTo>
                  <a:close/>
                  <a:moveTo>
                    <a:pt x="439" y="581"/>
                  </a:moveTo>
                  <a:cubicBezTo>
                    <a:pt x="442" y="582"/>
                    <a:pt x="441" y="588"/>
                    <a:pt x="445" y="588"/>
                  </a:cubicBezTo>
                  <a:cubicBezTo>
                    <a:pt x="444" y="599"/>
                    <a:pt x="436" y="589"/>
                    <a:pt x="439" y="581"/>
                  </a:cubicBezTo>
                  <a:close/>
                  <a:moveTo>
                    <a:pt x="439" y="655"/>
                  </a:moveTo>
                  <a:cubicBezTo>
                    <a:pt x="438" y="666"/>
                    <a:pt x="434" y="651"/>
                    <a:pt x="429" y="655"/>
                  </a:cubicBezTo>
                  <a:cubicBezTo>
                    <a:pt x="424" y="657"/>
                    <a:pt x="427" y="668"/>
                    <a:pt x="423" y="673"/>
                  </a:cubicBezTo>
                  <a:cubicBezTo>
                    <a:pt x="422" y="676"/>
                    <a:pt x="416" y="682"/>
                    <a:pt x="412" y="681"/>
                  </a:cubicBezTo>
                  <a:cubicBezTo>
                    <a:pt x="410" y="666"/>
                    <a:pt x="397" y="665"/>
                    <a:pt x="399" y="644"/>
                  </a:cubicBezTo>
                  <a:cubicBezTo>
                    <a:pt x="393" y="644"/>
                    <a:pt x="393" y="653"/>
                    <a:pt x="394" y="662"/>
                  </a:cubicBezTo>
                  <a:cubicBezTo>
                    <a:pt x="395" y="671"/>
                    <a:pt x="398" y="658"/>
                    <a:pt x="402" y="666"/>
                  </a:cubicBezTo>
                  <a:cubicBezTo>
                    <a:pt x="396" y="674"/>
                    <a:pt x="392" y="680"/>
                    <a:pt x="383" y="673"/>
                  </a:cubicBezTo>
                  <a:cubicBezTo>
                    <a:pt x="386" y="686"/>
                    <a:pt x="389" y="687"/>
                    <a:pt x="383" y="699"/>
                  </a:cubicBezTo>
                  <a:cubicBezTo>
                    <a:pt x="380" y="695"/>
                    <a:pt x="373" y="695"/>
                    <a:pt x="367" y="696"/>
                  </a:cubicBezTo>
                  <a:cubicBezTo>
                    <a:pt x="367" y="689"/>
                    <a:pt x="371" y="687"/>
                    <a:pt x="378" y="688"/>
                  </a:cubicBezTo>
                  <a:cubicBezTo>
                    <a:pt x="379" y="682"/>
                    <a:pt x="371" y="683"/>
                    <a:pt x="370" y="681"/>
                  </a:cubicBezTo>
                  <a:cubicBezTo>
                    <a:pt x="369" y="680"/>
                    <a:pt x="372" y="675"/>
                    <a:pt x="372" y="673"/>
                  </a:cubicBezTo>
                  <a:cubicBezTo>
                    <a:pt x="372" y="672"/>
                    <a:pt x="370" y="661"/>
                    <a:pt x="367" y="659"/>
                  </a:cubicBezTo>
                  <a:cubicBezTo>
                    <a:pt x="361" y="658"/>
                    <a:pt x="366" y="672"/>
                    <a:pt x="364" y="677"/>
                  </a:cubicBezTo>
                  <a:cubicBezTo>
                    <a:pt x="362" y="677"/>
                    <a:pt x="356" y="665"/>
                    <a:pt x="361" y="666"/>
                  </a:cubicBezTo>
                  <a:cubicBezTo>
                    <a:pt x="361" y="658"/>
                    <a:pt x="354" y="659"/>
                    <a:pt x="351" y="655"/>
                  </a:cubicBezTo>
                  <a:cubicBezTo>
                    <a:pt x="345" y="655"/>
                    <a:pt x="345" y="664"/>
                    <a:pt x="345" y="673"/>
                  </a:cubicBezTo>
                  <a:cubicBezTo>
                    <a:pt x="335" y="670"/>
                    <a:pt x="346" y="658"/>
                    <a:pt x="343" y="644"/>
                  </a:cubicBezTo>
                  <a:cubicBezTo>
                    <a:pt x="345" y="646"/>
                    <a:pt x="345" y="652"/>
                    <a:pt x="351" y="651"/>
                  </a:cubicBezTo>
                  <a:cubicBezTo>
                    <a:pt x="360" y="653"/>
                    <a:pt x="351" y="633"/>
                    <a:pt x="351" y="633"/>
                  </a:cubicBezTo>
                  <a:cubicBezTo>
                    <a:pt x="348" y="632"/>
                    <a:pt x="347" y="645"/>
                    <a:pt x="345" y="636"/>
                  </a:cubicBezTo>
                  <a:cubicBezTo>
                    <a:pt x="345" y="634"/>
                    <a:pt x="346" y="631"/>
                    <a:pt x="345" y="629"/>
                  </a:cubicBezTo>
                  <a:cubicBezTo>
                    <a:pt x="343" y="623"/>
                    <a:pt x="335" y="621"/>
                    <a:pt x="340" y="611"/>
                  </a:cubicBezTo>
                  <a:cubicBezTo>
                    <a:pt x="342" y="603"/>
                    <a:pt x="344" y="615"/>
                    <a:pt x="340" y="614"/>
                  </a:cubicBezTo>
                  <a:cubicBezTo>
                    <a:pt x="336" y="622"/>
                    <a:pt x="347" y="618"/>
                    <a:pt x="351" y="622"/>
                  </a:cubicBezTo>
                  <a:cubicBezTo>
                    <a:pt x="352" y="623"/>
                    <a:pt x="360" y="639"/>
                    <a:pt x="359" y="618"/>
                  </a:cubicBezTo>
                  <a:cubicBezTo>
                    <a:pt x="365" y="625"/>
                    <a:pt x="364" y="640"/>
                    <a:pt x="364" y="655"/>
                  </a:cubicBezTo>
                  <a:cubicBezTo>
                    <a:pt x="368" y="656"/>
                    <a:pt x="369" y="651"/>
                    <a:pt x="372" y="651"/>
                  </a:cubicBezTo>
                  <a:cubicBezTo>
                    <a:pt x="371" y="645"/>
                    <a:pt x="364" y="648"/>
                    <a:pt x="367" y="636"/>
                  </a:cubicBezTo>
                  <a:cubicBezTo>
                    <a:pt x="370" y="636"/>
                    <a:pt x="372" y="636"/>
                    <a:pt x="375" y="636"/>
                  </a:cubicBezTo>
                  <a:cubicBezTo>
                    <a:pt x="374" y="632"/>
                    <a:pt x="371" y="629"/>
                    <a:pt x="367" y="629"/>
                  </a:cubicBezTo>
                  <a:cubicBezTo>
                    <a:pt x="365" y="624"/>
                    <a:pt x="377" y="620"/>
                    <a:pt x="370" y="618"/>
                  </a:cubicBezTo>
                  <a:cubicBezTo>
                    <a:pt x="372" y="606"/>
                    <a:pt x="375" y="622"/>
                    <a:pt x="378" y="622"/>
                  </a:cubicBezTo>
                  <a:cubicBezTo>
                    <a:pt x="378" y="652"/>
                    <a:pt x="373" y="658"/>
                    <a:pt x="378" y="681"/>
                  </a:cubicBezTo>
                  <a:cubicBezTo>
                    <a:pt x="386" y="678"/>
                    <a:pt x="375" y="653"/>
                    <a:pt x="380" y="648"/>
                  </a:cubicBezTo>
                  <a:cubicBezTo>
                    <a:pt x="384" y="643"/>
                    <a:pt x="377" y="638"/>
                    <a:pt x="383" y="629"/>
                  </a:cubicBezTo>
                  <a:cubicBezTo>
                    <a:pt x="390" y="634"/>
                    <a:pt x="391" y="637"/>
                    <a:pt x="388" y="648"/>
                  </a:cubicBezTo>
                  <a:cubicBezTo>
                    <a:pt x="399" y="651"/>
                    <a:pt x="392" y="630"/>
                    <a:pt x="402" y="633"/>
                  </a:cubicBezTo>
                  <a:cubicBezTo>
                    <a:pt x="402" y="622"/>
                    <a:pt x="395" y="620"/>
                    <a:pt x="394" y="611"/>
                  </a:cubicBezTo>
                  <a:cubicBezTo>
                    <a:pt x="391" y="612"/>
                    <a:pt x="387" y="617"/>
                    <a:pt x="391" y="618"/>
                  </a:cubicBezTo>
                  <a:cubicBezTo>
                    <a:pt x="389" y="624"/>
                    <a:pt x="385" y="620"/>
                    <a:pt x="386" y="614"/>
                  </a:cubicBezTo>
                  <a:cubicBezTo>
                    <a:pt x="383" y="610"/>
                    <a:pt x="376" y="613"/>
                    <a:pt x="378" y="603"/>
                  </a:cubicBezTo>
                  <a:cubicBezTo>
                    <a:pt x="370" y="603"/>
                    <a:pt x="363" y="603"/>
                    <a:pt x="356" y="603"/>
                  </a:cubicBezTo>
                  <a:cubicBezTo>
                    <a:pt x="358" y="607"/>
                    <a:pt x="361" y="609"/>
                    <a:pt x="364" y="611"/>
                  </a:cubicBezTo>
                  <a:cubicBezTo>
                    <a:pt x="364" y="624"/>
                    <a:pt x="355" y="603"/>
                    <a:pt x="356" y="614"/>
                  </a:cubicBezTo>
                  <a:cubicBezTo>
                    <a:pt x="349" y="614"/>
                    <a:pt x="353" y="598"/>
                    <a:pt x="343" y="603"/>
                  </a:cubicBezTo>
                  <a:cubicBezTo>
                    <a:pt x="340" y="598"/>
                    <a:pt x="345" y="593"/>
                    <a:pt x="345" y="592"/>
                  </a:cubicBezTo>
                  <a:cubicBezTo>
                    <a:pt x="345" y="585"/>
                    <a:pt x="336" y="584"/>
                    <a:pt x="343" y="581"/>
                  </a:cubicBezTo>
                  <a:cubicBezTo>
                    <a:pt x="352" y="577"/>
                    <a:pt x="347" y="592"/>
                    <a:pt x="348" y="599"/>
                  </a:cubicBezTo>
                  <a:cubicBezTo>
                    <a:pt x="355" y="599"/>
                    <a:pt x="352" y="586"/>
                    <a:pt x="356" y="581"/>
                  </a:cubicBezTo>
                  <a:cubicBezTo>
                    <a:pt x="357" y="577"/>
                    <a:pt x="352" y="579"/>
                    <a:pt x="351" y="577"/>
                  </a:cubicBezTo>
                  <a:cubicBezTo>
                    <a:pt x="349" y="574"/>
                    <a:pt x="353" y="565"/>
                    <a:pt x="348" y="566"/>
                  </a:cubicBezTo>
                  <a:cubicBezTo>
                    <a:pt x="350" y="562"/>
                    <a:pt x="354" y="562"/>
                    <a:pt x="353" y="555"/>
                  </a:cubicBezTo>
                  <a:cubicBezTo>
                    <a:pt x="360" y="556"/>
                    <a:pt x="354" y="568"/>
                    <a:pt x="353" y="570"/>
                  </a:cubicBezTo>
                  <a:cubicBezTo>
                    <a:pt x="353" y="578"/>
                    <a:pt x="363" y="572"/>
                    <a:pt x="367" y="574"/>
                  </a:cubicBezTo>
                  <a:cubicBezTo>
                    <a:pt x="365" y="585"/>
                    <a:pt x="372" y="587"/>
                    <a:pt x="370" y="599"/>
                  </a:cubicBezTo>
                  <a:cubicBezTo>
                    <a:pt x="384" y="595"/>
                    <a:pt x="371" y="585"/>
                    <a:pt x="372" y="570"/>
                  </a:cubicBezTo>
                  <a:cubicBezTo>
                    <a:pt x="376" y="571"/>
                    <a:pt x="376" y="576"/>
                    <a:pt x="380" y="577"/>
                  </a:cubicBezTo>
                  <a:cubicBezTo>
                    <a:pt x="386" y="578"/>
                    <a:pt x="382" y="564"/>
                    <a:pt x="383" y="559"/>
                  </a:cubicBezTo>
                  <a:cubicBezTo>
                    <a:pt x="390" y="562"/>
                    <a:pt x="390" y="554"/>
                    <a:pt x="396" y="555"/>
                  </a:cubicBezTo>
                  <a:cubicBezTo>
                    <a:pt x="397" y="570"/>
                    <a:pt x="403" y="555"/>
                    <a:pt x="410" y="562"/>
                  </a:cubicBezTo>
                  <a:cubicBezTo>
                    <a:pt x="409" y="567"/>
                    <a:pt x="405" y="568"/>
                    <a:pt x="404" y="574"/>
                  </a:cubicBezTo>
                  <a:cubicBezTo>
                    <a:pt x="413" y="576"/>
                    <a:pt x="410" y="563"/>
                    <a:pt x="418" y="566"/>
                  </a:cubicBezTo>
                  <a:cubicBezTo>
                    <a:pt x="419" y="574"/>
                    <a:pt x="426" y="573"/>
                    <a:pt x="421" y="581"/>
                  </a:cubicBezTo>
                  <a:cubicBezTo>
                    <a:pt x="417" y="580"/>
                    <a:pt x="420" y="570"/>
                    <a:pt x="415" y="570"/>
                  </a:cubicBezTo>
                  <a:cubicBezTo>
                    <a:pt x="412" y="571"/>
                    <a:pt x="412" y="577"/>
                    <a:pt x="415" y="577"/>
                  </a:cubicBezTo>
                  <a:cubicBezTo>
                    <a:pt x="415" y="582"/>
                    <a:pt x="415" y="588"/>
                    <a:pt x="418" y="588"/>
                  </a:cubicBezTo>
                  <a:cubicBezTo>
                    <a:pt x="416" y="600"/>
                    <a:pt x="416" y="595"/>
                    <a:pt x="418" y="607"/>
                  </a:cubicBezTo>
                  <a:cubicBezTo>
                    <a:pt x="424" y="609"/>
                    <a:pt x="423" y="602"/>
                    <a:pt x="423" y="596"/>
                  </a:cubicBezTo>
                  <a:cubicBezTo>
                    <a:pt x="426" y="596"/>
                    <a:pt x="426" y="602"/>
                    <a:pt x="426" y="607"/>
                  </a:cubicBezTo>
                  <a:cubicBezTo>
                    <a:pt x="426" y="614"/>
                    <a:pt x="433" y="612"/>
                    <a:pt x="431" y="622"/>
                  </a:cubicBezTo>
                  <a:cubicBezTo>
                    <a:pt x="429" y="620"/>
                    <a:pt x="427" y="618"/>
                    <a:pt x="423" y="618"/>
                  </a:cubicBezTo>
                  <a:cubicBezTo>
                    <a:pt x="416" y="617"/>
                    <a:pt x="427" y="642"/>
                    <a:pt x="415" y="636"/>
                  </a:cubicBezTo>
                  <a:cubicBezTo>
                    <a:pt x="418" y="630"/>
                    <a:pt x="416" y="618"/>
                    <a:pt x="421" y="614"/>
                  </a:cubicBezTo>
                  <a:cubicBezTo>
                    <a:pt x="419" y="611"/>
                    <a:pt x="416" y="609"/>
                    <a:pt x="412" y="607"/>
                  </a:cubicBezTo>
                  <a:cubicBezTo>
                    <a:pt x="407" y="607"/>
                    <a:pt x="412" y="615"/>
                    <a:pt x="412" y="614"/>
                  </a:cubicBezTo>
                  <a:cubicBezTo>
                    <a:pt x="411" y="620"/>
                    <a:pt x="400" y="622"/>
                    <a:pt x="410" y="625"/>
                  </a:cubicBezTo>
                  <a:cubicBezTo>
                    <a:pt x="409" y="629"/>
                    <a:pt x="404" y="628"/>
                    <a:pt x="404" y="633"/>
                  </a:cubicBezTo>
                  <a:cubicBezTo>
                    <a:pt x="405" y="637"/>
                    <a:pt x="409" y="636"/>
                    <a:pt x="412" y="636"/>
                  </a:cubicBezTo>
                  <a:cubicBezTo>
                    <a:pt x="414" y="644"/>
                    <a:pt x="409" y="643"/>
                    <a:pt x="404" y="644"/>
                  </a:cubicBezTo>
                  <a:cubicBezTo>
                    <a:pt x="400" y="653"/>
                    <a:pt x="411" y="651"/>
                    <a:pt x="412" y="655"/>
                  </a:cubicBezTo>
                  <a:cubicBezTo>
                    <a:pt x="415" y="662"/>
                    <a:pt x="408" y="669"/>
                    <a:pt x="415" y="673"/>
                  </a:cubicBezTo>
                  <a:cubicBezTo>
                    <a:pt x="420" y="668"/>
                    <a:pt x="415" y="648"/>
                    <a:pt x="421" y="636"/>
                  </a:cubicBezTo>
                  <a:cubicBezTo>
                    <a:pt x="422" y="638"/>
                    <a:pt x="429" y="651"/>
                    <a:pt x="431" y="640"/>
                  </a:cubicBezTo>
                  <a:cubicBezTo>
                    <a:pt x="437" y="641"/>
                    <a:pt x="432" y="657"/>
                    <a:pt x="439" y="655"/>
                  </a:cubicBezTo>
                  <a:close/>
                  <a:moveTo>
                    <a:pt x="426" y="570"/>
                  </a:moveTo>
                  <a:cubicBezTo>
                    <a:pt x="434" y="566"/>
                    <a:pt x="439" y="597"/>
                    <a:pt x="429" y="596"/>
                  </a:cubicBezTo>
                  <a:cubicBezTo>
                    <a:pt x="427" y="592"/>
                    <a:pt x="431" y="593"/>
                    <a:pt x="431" y="592"/>
                  </a:cubicBezTo>
                  <a:cubicBezTo>
                    <a:pt x="432" y="587"/>
                    <a:pt x="426" y="591"/>
                    <a:pt x="426" y="588"/>
                  </a:cubicBezTo>
                  <a:cubicBezTo>
                    <a:pt x="425" y="583"/>
                    <a:pt x="427" y="576"/>
                    <a:pt x="426" y="570"/>
                  </a:cubicBezTo>
                  <a:close/>
                  <a:moveTo>
                    <a:pt x="437" y="285"/>
                  </a:moveTo>
                  <a:cubicBezTo>
                    <a:pt x="435" y="284"/>
                    <a:pt x="434" y="281"/>
                    <a:pt x="431" y="281"/>
                  </a:cubicBezTo>
                  <a:cubicBezTo>
                    <a:pt x="427" y="283"/>
                    <a:pt x="435" y="294"/>
                    <a:pt x="423" y="292"/>
                  </a:cubicBezTo>
                  <a:cubicBezTo>
                    <a:pt x="425" y="290"/>
                    <a:pt x="427" y="282"/>
                    <a:pt x="423" y="281"/>
                  </a:cubicBezTo>
                  <a:cubicBezTo>
                    <a:pt x="423" y="275"/>
                    <a:pt x="441" y="274"/>
                    <a:pt x="437" y="285"/>
                  </a:cubicBezTo>
                  <a:close/>
                  <a:moveTo>
                    <a:pt x="426" y="30"/>
                  </a:moveTo>
                  <a:cubicBezTo>
                    <a:pt x="426" y="26"/>
                    <a:pt x="426" y="26"/>
                    <a:pt x="426" y="26"/>
                  </a:cubicBezTo>
                  <a:cubicBezTo>
                    <a:pt x="436" y="28"/>
                    <a:pt x="421" y="38"/>
                    <a:pt x="418" y="34"/>
                  </a:cubicBezTo>
                  <a:cubicBezTo>
                    <a:pt x="416" y="31"/>
                    <a:pt x="425" y="30"/>
                    <a:pt x="426" y="30"/>
                  </a:cubicBezTo>
                  <a:close/>
                  <a:moveTo>
                    <a:pt x="407" y="174"/>
                  </a:moveTo>
                  <a:cubicBezTo>
                    <a:pt x="413" y="173"/>
                    <a:pt x="422" y="196"/>
                    <a:pt x="410" y="196"/>
                  </a:cubicBezTo>
                  <a:cubicBezTo>
                    <a:pt x="410" y="193"/>
                    <a:pt x="412" y="193"/>
                    <a:pt x="412" y="189"/>
                  </a:cubicBezTo>
                  <a:cubicBezTo>
                    <a:pt x="410" y="183"/>
                    <a:pt x="404" y="184"/>
                    <a:pt x="399" y="182"/>
                  </a:cubicBezTo>
                  <a:cubicBezTo>
                    <a:pt x="400" y="176"/>
                    <a:pt x="407" y="180"/>
                    <a:pt x="407" y="174"/>
                  </a:cubicBezTo>
                  <a:close/>
                  <a:moveTo>
                    <a:pt x="415" y="252"/>
                  </a:moveTo>
                  <a:cubicBezTo>
                    <a:pt x="415" y="258"/>
                    <a:pt x="413" y="262"/>
                    <a:pt x="410" y="263"/>
                  </a:cubicBezTo>
                  <a:cubicBezTo>
                    <a:pt x="411" y="263"/>
                    <a:pt x="400" y="260"/>
                    <a:pt x="399" y="259"/>
                  </a:cubicBezTo>
                  <a:cubicBezTo>
                    <a:pt x="399" y="259"/>
                    <a:pt x="399" y="256"/>
                    <a:pt x="399" y="255"/>
                  </a:cubicBezTo>
                  <a:cubicBezTo>
                    <a:pt x="396" y="253"/>
                    <a:pt x="393" y="255"/>
                    <a:pt x="394" y="248"/>
                  </a:cubicBezTo>
                  <a:cubicBezTo>
                    <a:pt x="402" y="251"/>
                    <a:pt x="405" y="259"/>
                    <a:pt x="415" y="252"/>
                  </a:cubicBezTo>
                  <a:close/>
                  <a:moveTo>
                    <a:pt x="394" y="185"/>
                  </a:moveTo>
                  <a:cubicBezTo>
                    <a:pt x="391" y="182"/>
                    <a:pt x="388" y="181"/>
                    <a:pt x="383" y="182"/>
                  </a:cubicBezTo>
                  <a:cubicBezTo>
                    <a:pt x="382" y="175"/>
                    <a:pt x="398" y="175"/>
                    <a:pt x="394" y="185"/>
                  </a:cubicBezTo>
                  <a:close/>
                  <a:moveTo>
                    <a:pt x="391" y="248"/>
                  </a:moveTo>
                  <a:cubicBezTo>
                    <a:pt x="389" y="256"/>
                    <a:pt x="374" y="252"/>
                    <a:pt x="372" y="248"/>
                  </a:cubicBezTo>
                  <a:cubicBezTo>
                    <a:pt x="373" y="244"/>
                    <a:pt x="375" y="246"/>
                    <a:pt x="375" y="248"/>
                  </a:cubicBezTo>
                  <a:cubicBezTo>
                    <a:pt x="384" y="251"/>
                    <a:pt x="386" y="241"/>
                    <a:pt x="391" y="248"/>
                  </a:cubicBezTo>
                  <a:close/>
                  <a:moveTo>
                    <a:pt x="340" y="174"/>
                  </a:moveTo>
                  <a:cubicBezTo>
                    <a:pt x="350" y="177"/>
                    <a:pt x="339" y="185"/>
                    <a:pt x="345" y="193"/>
                  </a:cubicBezTo>
                  <a:cubicBezTo>
                    <a:pt x="355" y="195"/>
                    <a:pt x="361" y="181"/>
                    <a:pt x="367" y="189"/>
                  </a:cubicBezTo>
                  <a:cubicBezTo>
                    <a:pt x="367" y="185"/>
                    <a:pt x="366" y="182"/>
                    <a:pt x="364" y="182"/>
                  </a:cubicBezTo>
                  <a:cubicBezTo>
                    <a:pt x="362" y="171"/>
                    <a:pt x="377" y="184"/>
                    <a:pt x="375" y="174"/>
                  </a:cubicBezTo>
                  <a:cubicBezTo>
                    <a:pt x="380" y="177"/>
                    <a:pt x="373" y="200"/>
                    <a:pt x="370" y="204"/>
                  </a:cubicBezTo>
                  <a:cubicBezTo>
                    <a:pt x="368" y="205"/>
                    <a:pt x="367" y="208"/>
                    <a:pt x="364" y="207"/>
                  </a:cubicBezTo>
                  <a:cubicBezTo>
                    <a:pt x="370" y="200"/>
                    <a:pt x="364" y="195"/>
                    <a:pt x="359" y="193"/>
                  </a:cubicBezTo>
                  <a:cubicBezTo>
                    <a:pt x="355" y="191"/>
                    <a:pt x="357" y="199"/>
                    <a:pt x="356" y="200"/>
                  </a:cubicBezTo>
                  <a:cubicBezTo>
                    <a:pt x="352" y="203"/>
                    <a:pt x="345" y="198"/>
                    <a:pt x="340" y="200"/>
                  </a:cubicBezTo>
                  <a:cubicBezTo>
                    <a:pt x="335" y="191"/>
                    <a:pt x="333" y="182"/>
                    <a:pt x="340" y="174"/>
                  </a:cubicBezTo>
                  <a:close/>
                  <a:moveTo>
                    <a:pt x="340" y="300"/>
                  </a:moveTo>
                  <a:cubicBezTo>
                    <a:pt x="339" y="307"/>
                    <a:pt x="334" y="309"/>
                    <a:pt x="335" y="318"/>
                  </a:cubicBezTo>
                  <a:cubicBezTo>
                    <a:pt x="335" y="328"/>
                    <a:pt x="339" y="313"/>
                    <a:pt x="345" y="318"/>
                  </a:cubicBezTo>
                  <a:cubicBezTo>
                    <a:pt x="346" y="312"/>
                    <a:pt x="343" y="311"/>
                    <a:pt x="340" y="311"/>
                  </a:cubicBezTo>
                  <a:cubicBezTo>
                    <a:pt x="340" y="303"/>
                    <a:pt x="349" y="309"/>
                    <a:pt x="353" y="307"/>
                  </a:cubicBezTo>
                  <a:cubicBezTo>
                    <a:pt x="357" y="317"/>
                    <a:pt x="343" y="319"/>
                    <a:pt x="351" y="322"/>
                  </a:cubicBezTo>
                  <a:cubicBezTo>
                    <a:pt x="350" y="326"/>
                    <a:pt x="348" y="324"/>
                    <a:pt x="348" y="322"/>
                  </a:cubicBezTo>
                  <a:cubicBezTo>
                    <a:pt x="340" y="319"/>
                    <a:pt x="340" y="328"/>
                    <a:pt x="332" y="326"/>
                  </a:cubicBezTo>
                  <a:cubicBezTo>
                    <a:pt x="328" y="316"/>
                    <a:pt x="333" y="314"/>
                    <a:pt x="329" y="311"/>
                  </a:cubicBezTo>
                  <a:cubicBezTo>
                    <a:pt x="330" y="307"/>
                    <a:pt x="335" y="308"/>
                    <a:pt x="335" y="304"/>
                  </a:cubicBezTo>
                  <a:cubicBezTo>
                    <a:pt x="335" y="300"/>
                    <a:pt x="338" y="301"/>
                    <a:pt x="340" y="300"/>
                  </a:cubicBezTo>
                  <a:close/>
                  <a:moveTo>
                    <a:pt x="335" y="296"/>
                  </a:moveTo>
                  <a:cubicBezTo>
                    <a:pt x="331" y="294"/>
                    <a:pt x="330" y="288"/>
                    <a:pt x="329" y="281"/>
                  </a:cubicBezTo>
                  <a:cubicBezTo>
                    <a:pt x="334" y="282"/>
                    <a:pt x="335" y="288"/>
                    <a:pt x="335" y="296"/>
                  </a:cubicBezTo>
                  <a:close/>
                  <a:moveTo>
                    <a:pt x="324" y="163"/>
                  </a:moveTo>
                  <a:cubicBezTo>
                    <a:pt x="324" y="170"/>
                    <a:pt x="324" y="178"/>
                    <a:pt x="324" y="185"/>
                  </a:cubicBezTo>
                  <a:cubicBezTo>
                    <a:pt x="327" y="183"/>
                    <a:pt x="327" y="177"/>
                    <a:pt x="332" y="178"/>
                  </a:cubicBezTo>
                  <a:cubicBezTo>
                    <a:pt x="334" y="193"/>
                    <a:pt x="313" y="206"/>
                    <a:pt x="313" y="185"/>
                  </a:cubicBezTo>
                  <a:cubicBezTo>
                    <a:pt x="316" y="185"/>
                    <a:pt x="315" y="190"/>
                    <a:pt x="316" y="193"/>
                  </a:cubicBezTo>
                  <a:cubicBezTo>
                    <a:pt x="321" y="194"/>
                    <a:pt x="320" y="176"/>
                    <a:pt x="313" y="182"/>
                  </a:cubicBezTo>
                  <a:cubicBezTo>
                    <a:pt x="320" y="172"/>
                    <a:pt x="310" y="170"/>
                    <a:pt x="310" y="159"/>
                  </a:cubicBezTo>
                  <a:cubicBezTo>
                    <a:pt x="315" y="152"/>
                    <a:pt x="318" y="161"/>
                    <a:pt x="324" y="163"/>
                  </a:cubicBezTo>
                  <a:close/>
                  <a:moveTo>
                    <a:pt x="308" y="241"/>
                  </a:moveTo>
                  <a:cubicBezTo>
                    <a:pt x="316" y="246"/>
                    <a:pt x="318" y="237"/>
                    <a:pt x="321" y="248"/>
                  </a:cubicBezTo>
                  <a:cubicBezTo>
                    <a:pt x="323" y="246"/>
                    <a:pt x="326" y="244"/>
                    <a:pt x="329" y="244"/>
                  </a:cubicBezTo>
                  <a:cubicBezTo>
                    <a:pt x="330" y="248"/>
                    <a:pt x="328" y="248"/>
                    <a:pt x="326" y="248"/>
                  </a:cubicBezTo>
                  <a:cubicBezTo>
                    <a:pt x="319" y="255"/>
                    <a:pt x="326" y="266"/>
                    <a:pt x="326" y="274"/>
                  </a:cubicBezTo>
                  <a:cubicBezTo>
                    <a:pt x="327" y="282"/>
                    <a:pt x="324" y="291"/>
                    <a:pt x="326" y="296"/>
                  </a:cubicBezTo>
                  <a:cubicBezTo>
                    <a:pt x="323" y="296"/>
                    <a:pt x="319" y="296"/>
                    <a:pt x="318" y="300"/>
                  </a:cubicBezTo>
                  <a:cubicBezTo>
                    <a:pt x="312" y="292"/>
                    <a:pt x="326" y="281"/>
                    <a:pt x="321" y="263"/>
                  </a:cubicBezTo>
                  <a:cubicBezTo>
                    <a:pt x="321" y="266"/>
                    <a:pt x="307" y="266"/>
                    <a:pt x="313" y="259"/>
                  </a:cubicBezTo>
                  <a:cubicBezTo>
                    <a:pt x="313" y="259"/>
                    <a:pt x="318" y="260"/>
                    <a:pt x="318" y="259"/>
                  </a:cubicBezTo>
                  <a:cubicBezTo>
                    <a:pt x="318" y="258"/>
                    <a:pt x="314" y="249"/>
                    <a:pt x="313" y="248"/>
                  </a:cubicBezTo>
                  <a:cubicBezTo>
                    <a:pt x="311" y="247"/>
                    <a:pt x="309" y="251"/>
                    <a:pt x="310" y="252"/>
                  </a:cubicBezTo>
                  <a:cubicBezTo>
                    <a:pt x="314" y="256"/>
                    <a:pt x="310" y="255"/>
                    <a:pt x="308" y="252"/>
                  </a:cubicBezTo>
                  <a:cubicBezTo>
                    <a:pt x="305" y="248"/>
                    <a:pt x="308" y="249"/>
                    <a:pt x="308" y="241"/>
                  </a:cubicBezTo>
                  <a:close/>
                  <a:moveTo>
                    <a:pt x="308" y="270"/>
                  </a:moveTo>
                  <a:cubicBezTo>
                    <a:pt x="308" y="261"/>
                    <a:pt x="312" y="275"/>
                    <a:pt x="318" y="270"/>
                  </a:cubicBezTo>
                  <a:cubicBezTo>
                    <a:pt x="317" y="278"/>
                    <a:pt x="313" y="282"/>
                    <a:pt x="310" y="289"/>
                  </a:cubicBezTo>
                  <a:cubicBezTo>
                    <a:pt x="305" y="287"/>
                    <a:pt x="312" y="273"/>
                    <a:pt x="308" y="270"/>
                  </a:cubicBezTo>
                  <a:close/>
                  <a:moveTo>
                    <a:pt x="313" y="311"/>
                  </a:moveTo>
                  <a:cubicBezTo>
                    <a:pt x="318" y="310"/>
                    <a:pt x="321" y="312"/>
                    <a:pt x="321" y="318"/>
                  </a:cubicBezTo>
                  <a:cubicBezTo>
                    <a:pt x="316" y="317"/>
                    <a:pt x="309" y="317"/>
                    <a:pt x="310" y="307"/>
                  </a:cubicBezTo>
                  <a:cubicBezTo>
                    <a:pt x="303" y="306"/>
                    <a:pt x="313" y="328"/>
                    <a:pt x="302" y="322"/>
                  </a:cubicBezTo>
                  <a:cubicBezTo>
                    <a:pt x="303" y="313"/>
                    <a:pt x="303" y="304"/>
                    <a:pt x="297" y="304"/>
                  </a:cubicBezTo>
                  <a:cubicBezTo>
                    <a:pt x="293" y="305"/>
                    <a:pt x="298" y="308"/>
                    <a:pt x="297" y="315"/>
                  </a:cubicBezTo>
                  <a:cubicBezTo>
                    <a:pt x="289" y="318"/>
                    <a:pt x="292" y="306"/>
                    <a:pt x="292" y="300"/>
                  </a:cubicBezTo>
                  <a:cubicBezTo>
                    <a:pt x="299" y="295"/>
                    <a:pt x="306" y="311"/>
                    <a:pt x="305" y="296"/>
                  </a:cubicBezTo>
                  <a:cubicBezTo>
                    <a:pt x="312" y="295"/>
                    <a:pt x="312" y="304"/>
                    <a:pt x="313" y="311"/>
                  </a:cubicBezTo>
                  <a:close/>
                  <a:moveTo>
                    <a:pt x="292" y="159"/>
                  </a:moveTo>
                  <a:cubicBezTo>
                    <a:pt x="297" y="166"/>
                    <a:pt x="296" y="157"/>
                    <a:pt x="305" y="159"/>
                  </a:cubicBezTo>
                  <a:cubicBezTo>
                    <a:pt x="307" y="167"/>
                    <a:pt x="289" y="173"/>
                    <a:pt x="292" y="159"/>
                  </a:cubicBezTo>
                  <a:close/>
                  <a:moveTo>
                    <a:pt x="286" y="174"/>
                  </a:moveTo>
                  <a:cubicBezTo>
                    <a:pt x="293" y="173"/>
                    <a:pt x="292" y="181"/>
                    <a:pt x="300" y="178"/>
                  </a:cubicBezTo>
                  <a:cubicBezTo>
                    <a:pt x="298" y="181"/>
                    <a:pt x="297" y="184"/>
                    <a:pt x="297" y="189"/>
                  </a:cubicBezTo>
                  <a:cubicBezTo>
                    <a:pt x="293" y="185"/>
                    <a:pt x="285" y="186"/>
                    <a:pt x="286" y="174"/>
                  </a:cubicBezTo>
                  <a:close/>
                  <a:moveTo>
                    <a:pt x="289" y="255"/>
                  </a:moveTo>
                  <a:cubicBezTo>
                    <a:pt x="287" y="255"/>
                    <a:pt x="286" y="252"/>
                    <a:pt x="283" y="252"/>
                  </a:cubicBezTo>
                  <a:cubicBezTo>
                    <a:pt x="283" y="249"/>
                    <a:pt x="283" y="247"/>
                    <a:pt x="283" y="244"/>
                  </a:cubicBezTo>
                  <a:cubicBezTo>
                    <a:pt x="289" y="243"/>
                    <a:pt x="289" y="250"/>
                    <a:pt x="289" y="255"/>
                  </a:cubicBezTo>
                  <a:close/>
                  <a:moveTo>
                    <a:pt x="283" y="189"/>
                  </a:moveTo>
                  <a:cubicBezTo>
                    <a:pt x="278" y="188"/>
                    <a:pt x="282" y="177"/>
                    <a:pt x="275" y="178"/>
                  </a:cubicBezTo>
                  <a:cubicBezTo>
                    <a:pt x="279" y="167"/>
                    <a:pt x="287" y="178"/>
                    <a:pt x="283" y="189"/>
                  </a:cubicBezTo>
                  <a:close/>
                  <a:moveTo>
                    <a:pt x="278" y="248"/>
                  </a:moveTo>
                  <a:cubicBezTo>
                    <a:pt x="274" y="246"/>
                    <a:pt x="273" y="240"/>
                    <a:pt x="273" y="233"/>
                  </a:cubicBezTo>
                  <a:cubicBezTo>
                    <a:pt x="277" y="234"/>
                    <a:pt x="279" y="240"/>
                    <a:pt x="278" y="248"/>
                  </a:cubicBezTo>
                  <a:close/>
                  <a:moveTo>
                    <a:pt x="267" y="174"/>
                  </a:moveTo>
                  <a:cubicBezTo>
                    <a:pt x="269" y="174"/>
                    <a:pt x="271" y="174"/>
                    <a:pt x="273" y="174"/>
                  </a:cubicBezTo>
                  <a:cubicBezTo>
                    <a:pt x="273" y="177"/>
                    <a:pt x="273" y="179"/>
                    <a:pt x="273" y="182"/>
                  </a:cubicBezTo>
                  <a:cubicBezTo>
                    <a:pt x="271" y="182"/>
                    <a:pt x="269" y="182"/>
                    <a:pt x="267" y="182"/>
                  </a:cubicBezTo>
                  <a:cubicBezTo>
                    <a:pt x="267" y="179"/>
                    <a:pt x="267" y="177"/>
                    <a:pt x="267" y="174"/>
                  </a:cubicBezTo>
                  <a:close/>
                  <a:moveTo>
                    <a:pt x="276" y="259"/>
                  </a:moveTo>
                  <a:cubicBezTo>
                    <a:pt x="277" y="257"/>
                    <a:pt x="279" y="253"/>
                    <a:pt x="278" y="252"/>
                  </a:cubicBezTo>
                  <a:cubicBezTo>
                    <a:pt x="281" y="254"/>
                    <a:pt x="279" y="256"/>
                    <a:pt x="281" y="259"/>
                  </a:cubicBezTo>
                  <a:cubicBezTo>
                    <a:pt x="283" y="262"/>
                    <a:pt x="289" y="264"/>
                    <a:pt x="286" y="278"/>
                  </a:cubicBezTo>
                  <a:cubicBezTo>
                    <a:pt x="284" y="284"/>
                    <a:pt x="283" y="275"/>
                    <a:pt x="283" y="270"/>
                  </a:cubicBezTo>
                  <a:cubicBezTo>
                    <a:pt x="284" y="266"/>
                    <a:pt x="275" y="260"/>
                    <a:pt x="270" y="259"/>
                  </a:cubicBezTo>
                  <a:cubicBezTo>
                    <a:pt x="268" y="259"/>
                    <a:pt x="265" y="266"/>
                    <a:pt x="265" y="259"/>
                  </a:cubicBezTo>
                  <a:cubicBezTo>
                    <a:pt x="257" y="254"/>
                    <a:pt x="274" y="257"/>
                    <a:pt x="276" y="259"/>
                  </a:cubicBezTo>
                  <a:close/>
                  <a:moveTo>
                    <a:pt x="259" y="237"/>
                  </a:moveTo>
                  <a:cubicBezTo>
                    <a:pt x="263" y="238"/>
                    <a:pt x="260" y="248"/>
                    <a:pt x="265" y="248"/>
                  </a:cubicBezTo>
                  <a:cubicBezTo>
                    <a:pt x="264" y="257"/>
                    <a:pt x="257" y="245"/>
                    <a:pt x="259" y="237"/>
                  </a:cubicBezTo>
                  <a:close/>
                  <a:moveTo>
                    <a:pt x="257" y="270"/>
                  </a:moveTo>
                  <a:cubicBezTo>
                    <a:pt x="250" y="282"/>
                    <a:pt x="261" y="262"/>
                    <a:pt x="254" y="263"/>
                  </a:cubicBezTo>
                  <a:cubicBezTo>
                    <a:pt x="255" y="249"/>
                    <a:pt x="265" y="271"/>
                    <a:pt x="257" y="270"/>
                  </a:cubicBezTo>
                  <a:close/>
                  <a:moveTo>
                    <a:pt x="251" y="174"/>
                  </a:moveTo>
                  <a:cubicBezTo>
                    <a:pt x="253" y="174"/>
                    <a:pt x="255" y="174"/>
                    <a:pt x="257" y="174"/>
                  </a:cubicBezTo>
                  <a:cubicBezTo>
                    <a:pt x="257" y="177"/>
                    <a:pt x="257" y="179"/>
                    <a:pt x="257" y="182"/>
                  </a:cubicBezTo>
                  <a:cubicBezTo>
                    <a:pt x="255" y="182"/>
                    <a:pt x="253" y="182"/>
                    <a:pt x="251" y="182"/>
                  </a:cubicBezTo>
                  <a:cubicBezTo>
                    <a:pt x="251" y="179"/>
                    <a:pt x="251" y="177"/>
                    <a:pt x="251" y="174"/>
                  </a:cubicBezTo>
                  <a:close/>
                  <a:moveTo>
                    <a:pt x="249" y="289"/>
                  </a:moveTo>
                  <a:cubicBezTo>
                    <a:pt x="251" y="289"/>
                    <a:pt x="251" y="284"/>
                    <a:pt x="251" y="281"/>
                  </a:cubicBezTo>
                  <a:cubicBezTo>
                    <a:pt x="253" y="283"/>
                    <a:pt x="257" y="285"/>
                    <a:pt x="257" y="289"/>
                  </a:cubicBezTo>
                  <a:cubicBezTo>
                    <a:pt x="256" y="289"/>
                    <a:pt x="251" y="293"/>
                    <a:pt x="251" y="292"/>
                  </a:cubicBezTo>
                  <a:cubicBezTo>
                    <a:pt x="251" y="299"/>
                    <a:pt x="257" y="302"/>
                    <a:pt x="254" y="311"/>
                  </a:cubicBezTo>
                  <a:cubicBezTo>
                    <a:pt x="241" y="308"/>
                    <a:pt x="251" y="297"/>
                    <a:pt x="246" y="285"/>
                  </a:cubicBezTo>
                  <a:cubicBezTo>
                    <a:pt x="248" y="284"/>
                    <a:pt x="248" y="286"/>
                    <a:pt x="249" y="289"/>
                  </a:cubicBezTo>
                  <a:close/>
                  <a:moveTo>
                    <a:pt x="243" y="274"/>
                  </a:moveTo>
                  <a:cubicBezTo>
                    <a:pt x="240" y="279"/>
                    <a:pt x="242" y="275"/>
                    <a:pt x="240" y="270"/>
                  </a:cubicBezTo>
                  <a:cubicBezTo>
                    <a:pt x="240" y="270"/>
                    <a:pt x="238" y="270"/>
                    <a:pt x="238" y="270"/>
                  </a:cubicBezTo>
                  <a:cubicBezTo>
                    <a:pt x="238" y="265"/>
                    <a:pt x="240" y="270"/>
                    <a:pt x="240" y="270"/>
                  </a:cubicBezTo>
                  <a:cubicBezTo>
                    <a:pt x="245" y="273"/>
                    <a:pt x="246" y="271"/>
                    <a:pt x="243" y="274"/>
                  </a:cubicBezTo>
                  <a:close/>
                  <a:moveTo>
                    <a:pt x="227" y="304"/>
                  </a:moveTo>
                  <a:cubicBezTo>
                    <a:pt x="226" y="296"/>
                    <a:pt x="239" y="298"/>
                    <a:pt x="235" y="307"/>
                  </a:cubicBezTo>
                  <a:cubicBezTo>
                    <a:pt x="233" y="307"/>
                    <a:pt x="231" y="307"/>
                    <a:pt x="230" y="307"/>
                  </a:cubicBezTo>
                  <a:cubicBezTo>
                    <a:pt x="230" y="304"/>
                    <a:pt x="229" y="304"/>
                    <a:pt x="227" y="304"/>
                  </a:cubicBezTo>
                  <a:close/>
                  <a:moveTo>
                    <a:pt x="235" y="278"/>
                  </a:moveTo>
                  <a:cubicBezTo>
                    <a:pt x="238" y="279"/>
                    <a:pt x="237" y="285"/>
                    <a:pt x="240" y="285"/>
                  </a:cubicBezTo>
                  <a:cubicBezTo>
                    <a:pt x="239" y="295"/>
                    <a:pt x="232" y="285"/>
                    <a:pt x="235" y="278"/>
                  </a:cubicBezTo>
                  <a:close/>
                  <a:moveTo>
                    <a:pt x="235" y="244"/>
                  </a:moveTo>
                  <a:cubicBezTo>
                    <a:pt x="238" y="245"/>
                    <a:pt x="237" y="252"/>
                    <a:pt x="240" y="252"/>
                  </a:cubicBezTo>
                  <a:cubicBezTo>
                    <a:pt x="240" y="255"/>
                    <a:pt x="237" y="255"/>
                    <a:pt x="235" y="255"/>
                  </a:cubicBezTo>
                  <a:cubicBezTo>
                    <a:pt x="235" y="259"/>
                    <a:pt x="236" y="259"/>
                    <a:pt x="238" y="259"/>
                  </a:cubicBezTo>
                  <a:cubicBezTo>
                    <a:pt x="237" y="268"/>
                    <a:pt x="231" y="255"/>
                    <a:pt x="227" y="255"/>
                  </a:cubicBezTo>
                  <a:cubicBezTo>
                    <a:pt x="227" y="251"/>
                    <a:pt x="230" y="253"/>
                    <a:pt x="230" y="255"/>
                  </a:cubicBezTo>
                  <a:cubicBezTo>
                    <a:pt x="232" y="253"/>
                    <a:pt x="234" y="249"/>
                    <a:pt x="235" y="244"/>
                  </a:cubicBezTo>
                  <a:close/>
                  <a:moveTo>
                    <a:pt x="230" y="163"/>
                  </a:moveTo>
                  <a:cubicBezTo>
                    <a:pt x="231" y="162"/>
                    <a:pt x="222" y="159"/>
                    <a:pt x="222" y="159"/>
                  </a:cubicBezTo>
                  <a:cubicBezTo>
                    <a:pt x="221" y="153"/>
                    <a:pt x="236" y="154"/>
                    <a:pt x="230" y="163"/>
                  </a:cubicBezTo>
                  <a:close/>
                  <a:moveTo>
                    <a:pt x="222" y="244"/>
                  </a:moveTo>
                  <a:cubicBezTo>
                    <a:pt x="218" y="243"/>
                    <a:pt x="216" y="240"/>
                    <a:pt x="216" y="233"/>
                  </a:cubicBezTo>
                  <a:cubicBezTo>
                    <a:pt x="219" y="235"/>
                    <a:pt x="222" y="238"/>
                    <a:pt x="222" y="244"/>
                  </a:cubicBezTo>
                  <a:close/>
                  <a:moveTo>
                    <a:pt x="214" y="270"/>
                  </a:moveTo>
                  <a:cubicBezTo>
                    <a:pt x="212" y="260"/>
                    <a:pt x="226" y="273"/>
                    <a:pt x="224" y="263"/>
                  </a:cubicBezTo>
                  <a:cubicBezTo>
                    <a:pt x="230" y="265"/>
                    <a:pt x="220" y="277"/>
                    <a:pt x="222" y="285"/>
                  </a:cubicBezTo>
                  <a:cubicBezTo>
                    <a:pt x="221" y="299"/>
                    <a:pt x="215" y="274"/>
                    <a:pt x="222" y="278"/>
                  </a:cubicBezTo>
                  <a:cubicBezTo>
                    <a:pt x="220" y="274"/>
                    <a:pt x="217" y="272"/>
                    <a:pt x="214" y="270"/>
                  </a:cubicBezTo>
                  <a:close/>
                  <a:moveTo>
                    <a:pt x="216" y="337"/>
                  </a:moveTo>
                  <a:cubicBezTo>
                    <a:pt x="216" y="326"/>
                    <a:pt x="218" y="334"/>
                    <a:pt x="222" y="333"/>
                  </a:cubicBezTo>
                  <a:cubicBezTo>
                    <a:pt x="223" y="333"/>
                    <a:pt x="234" y="322"/>
                    <a:pt x="232" y="337"/>
                  </a:cubicBezTo>
                  <a:cubicBezTo>
                    <a:pt x="238" y="339"/>
                    <a:pt x="242" y="319"/>
                    <a:pt x="232" y="322"/>
                  </a:cubicBezTo>
                  <a:cubicBezTo>
                    <a:pt x="232" y="318"/>
                    <a:pt x="232" y="315"/>
                    <a:pt x="232" y="311"/>
                  </a:cubicBezTo>
                  <a:cubicBezTo>
                    <a:pt x="236" y="315"/>
                    <a:pt x="238" y="321"/>
                    <a:pt x="240" y="326"/>
                  </a:cubicBezTo>
                  <a:cubicBezTo>
                    <a:pt x="241" y="332"/>
                    <a:pt x="238" y="332"/>
                    <a:pt x="238" y="337"/>
                  </a:cubicBezTo>
                  <a:cubicBezTo>
                    <a:pt x="237" y="349"/>
                    <a:pt x="242" y="368"/>
                    <a:pt x="232" y="366"/>
                  </a:cubicBezTo>
                  <a:cubicBezTo>
                    <a:pt x="235" y="356"/>
                    <a:pt x="235" y="351"/>
                    <a:pt x="232" y="341"/>
                  </a:cubicBezTo>
                  <a:cubicBezTo>
                    <a:pt x="226" y="339"/>
                    <a:pt x="234" y="357"/>
                    <a:pt x="224" y="352"/>
                  </a:cubicBezTo>
                  <a:cubicBezTo>
                    <a:pt x="224" y="346"/>
                    <a:pt x="227" y="345"/>
                    <a:pt x="227" y="341"/>
                  </a:cubicBezTo>
                  <a:cubicBezTo>
                    <a:pt x="226" y="328"/>
                    <a:pt x="215" y="347"/>
                    <a:pt x="216" y="337"/>
                  </a:cubicBezTo>
                  <a:close/>
                  <a:moveTo>
                    <a:pt x="211" y="703"/>
                  </a:moveTo>
                  <a:cubicBezTo>
                    <a:pt x="210" y="696"/>
                    <a:pt x="203" y="696"/>
                    <a:pt x="205" y="684"/>
                  </a:cubicBezTo>
                  <a:cubicBezTo>
                    <a:pt x="208" y="684"/>
                    <a:pt x="211" y="684"/>
                    <a:pt x="214" y="684"/>
                  </a:cubicBezTo>
                  <a:cubicBezTo>
                    <a:pt x="216" y="693"/>
                    <a:pt x="215" y="705"/>
                    <a:pt x="222" y="707"/>
                  </a:cubicBezTo>
                  <a:cubicBezTo>
                    <a:pt x="221" y="712"/>
                    <a:pt x="215" y="710"/>
                    <a:pt x="211" y="710"/>
                  </a:cubicBezTo>
                  <a:cubicBezTo>
                    <a:pt x="209" y="707"/>
                    <a:pt x="208" y="704"/>
                    <a:pt x="211" y="703"/>
                  </a:cubicBezTo>
                  <a:close/>
                  <a:moveTo>
                    <a:pt x="214" y="795"/>
                  </a:moveTo>
                  <a:cubicBezTo>
                    <a:pt x="224" y="806"/>
                    <a:pt x="204" y="810"/>
                    <a:pt x="214" y="795"/>
                  </a:cubicBezTo>
                  <a:close/>
                  <a:moveTo>
                    <a:pt x="214" y="788"/>
                  </a:moveTo>
                  <a:cubicBezTo>
                    <a:pt x="212" y="779"/>
                    <a:pt x="218" y="780"/>
                    <a:pt x="216" y="770"/>
                  </a:cubicBezTo>
                  <a:cubicBezTo>
                    <a:pt x="219" y="772"/>
                    <a:pt x="222" y="774"/>
                    <a:pt x="227" y="773"/>
                  </a:cubicBezTo>
                  <a:cubicBezTo>
                    <a:pt x="227" y="777"/>
                    <a:pt x="224" y="776"/>
                    <a:pt x="222" y="777"/>
                  </a:cubicBezTo>
                  <a:cubicBezTo>
                    <a:pt x="221" y="783"/>
                    <a:pt x="224" y="784"/>
                    <a:pt x="227" y="784"/>
                  </a:cubicBezTo>
                  <a:cubicBezTo>
                    <a:pt x="228" y="790"/>
                    <a:pt x="216" y="793"/>
                    <a:pt x="224" y="795"/>
                  </a:cubicBezTo>
                  <a:cubicBezTo>
                    <a:pt x="222" y="806"/>
                    <a:pt x="218" y="787"/>
                    <a:pt x="214" y="788"/>
                  </a:cubicBezTo>
                  <a:close/>
                  <a:moveTo>
                    <a:pt x="227" y="832"/>
                  </a:moveTo>
                  <a:cubicBezTo>
                    <a:pt x="217" y="831"/>
                    <a:pt x="220" y="823"/>
                    <a:pt x="222" y="814"/>
                  </a:cubicBezTo>
                  <a:cubicBezTo>
                    <a:pt x="227" y="814"/>
                    <a:pt x="227" y="823"/>
                    <a:pt x="227" y="832"/>
                  </a:cubicBezTo>
                  <a:close/>
                  <a:moveTo>
                    <a:pt x="227" y="640"/>
                  </a:moveTo>
                  <a:cubicBezTo>
                    <a:pt x="230" y="629"/>
                    <a:pt x="236" y="642"/>
                    <a:pt x="238" y="644"/>
                  </a:cubicBezTo>
                  <a:cubicBezTo>
                    <a:pt x="237" y="653"/>
                    <a:pt x="231" y="640"/>
                    <a:pt x="227" y="640"/>
                  </a:cubicBezTo>
                  <a:close/>
                  <a:moveTo>
                    <a:pt x="232" y="559"/>
                  </a:moveTo>
                  <a:cubicBezTo>
                    <a:pt x="235" y="549"/>
                    <a:pt x="238" y="567"/>
                    <a:pt x="243" y="566"/>
                  </a:cubicBezTo>
                  <a:cubicBezTo>
                    <a:pt x="238" y="579"/>
                    <a:pt x="238" y="557"/>
                    <a:pt x="232" y="559"/>
                  </a:cubicBezTo>
                  <a:close/>
                  <a:moveTo>
                    <a:pt x="240" y="692"/>
                  </a:moveTo>
                  <a:cubicBezTo>
                    <a:pt x="243" y="689"/>
                    <a:pt x="243" y="684"/>
                    <a:pt x="243" y="677"/>
                  </a:cubicBezTo>
                  <a:cubicBezTo>
                    <a:pt x="248" y="676"/>
                    <a:pt x="248" y="698"/>
                    <a:pt x="240" y="692"/>
                  </a:cubicBezTo>
                  <a:close/>
                  <a:moveTo>
                    <a:pt x="246" y="592"/>
                  </a:moveTo>
                  <a:cubicBezTo>
                    <a:pt x="245" y="594"/>
                    <a:pt x="238" y="582"/>
                    <a:pt x="243" y="577"/>
                  </a:cubicBezTo>
                  <a:cubicBezTo>
                    <a:pt x="245" y="576"/>
                    <a:pt x="248" y="590"/>
                    <a:pt x="246" y="592"/>
                  </a:cubicBezTo>
                  <a:close/>
                  <a:moveTo>
                    <a:pt x="238" y="555"/>
                  </a:moveTo>
                  <a:cubicBezTo>
                    <a:pt x="238" y="547"/>
                    <a:pt x="250" y="554"/>
                    <a:pt x="249" y="544"/>
                  </a:cubicBezTo>
                  <a:cubicBezTo>
                    <a:pt x="252" y="550"/>
                    <a:pt x="264" y="545"/>
                    <a:pt x="267" y="551"/>
                  </a:cubicBezTo>
                  <a:cubicBezTo>
                    <a:pt x="262" y="560"/>
                    <a:pt x="249" y="542"/>
                    <a:pt x="249" y="562"/>
                  </a:cubicBezTo>
                  <a:cubicBezTo>
                    <a:pt x="244" y="561"/>
                    <a:pt x="246" y="551"/>
                    <a:pt x="238" y="555"/>
                  </a:cubicBezTo>
                  <a:close/>
                  <a:moveTo>
                    <a:pt x="249" y="651"/>
                  </a:moveTo>
                  <a:cubicBezTo>
                    <a:pt x="258" y="647"/>
                    <a:pt x="253" y="663"/>
                    <a:pt x="254" y="670"/>
                  </a:cubicBezTo>
                  <a:cubicBezTo>
                    <a:pt x="245" y="665"/>
                    <a:pt x="253" y="662"/>
                    <a:pt x="249" y="651"/>
                  </a:cubicBezTo>
                  <a:close/>
                  <a:moveTo>
                    <a:pt x="254" y="847"/>
                  </a:moveTo>
                  <a:cubicBezTo>
                    <a:pt x="250" y="846"/>
                    <a:pt x="252" y="838"/>
                    <a:pt x="251" y="832"/>
                  </a:cubicBezTo>
                  <a:cubicBezTo>
                    <a:pt x="262" y="831"/>
                    <a:pt x="253" y="840"/>
                    <a:pt x="254" y="847"/>
                  </a:cubicBezTo>
                  <a:close/>
                  <a:moveTo>
                    <a:pt x="262" y="633"/>
                  </a:moveTo>
                  <a:cubicBezTo>
                    <a:pt x="250" y="627"/>
                    <a:pt x="264" y="620"/>
                    <a:pt x="262" y="607"/>
                  </a:cubicBezTo>
                  <a:cubicBezTo>
                    <a:pt x="255" y="606"/>
                    <a:pt x="254" y="613"/>
                    <a:pt x="251" y="618"/>
                  </a:cubicBezTo>
                  <a:cubicBezTo>
                    <a:pt x="247" y="616"/>
                    <a:pt x="251" y="615"/>
                    <a:pt x="251" y="611"/>
                  </a:cubicBezTo>
                  <a:cubicBezTo>
                    <a:pt x="250" y="605"/>
                    <a:pt x="254" y="604"/>
                    <a:pt x="254" y="599"/>
                  </a:cubicBezTo>
                  <a:cubicBezTo>
                    <a:pt x="251" y="594"/>
                    <a:pt x="249" y="579"/>
                    <a:pt x="251" y="570"/>
                  </a:cubicBezTo>
                  <a:cubicBezTo>
                    <a:pt x="251" y="569"/>
                    <a:pt x="254" y="570"/>
                    <a:pt x="254" y="566"/>
                  </a:cubicBezTo>
                  <a:cubicBezTo>
                    <a:pt x="254" y="560"/>
                    <a:pt x="255" y="559"/>
                    <a:pt x="259" y="559"/>
                  </a:cubicBezTo>
                  <a:cubicBezTo>
                    <a:pt x="260" y="566"/>
                    <a:pt x="257" y="569"/>
                    <a:pt x="257" y="574"/>
                  </a:cubicBezTo>
                  <a:cubicBezTo>
                    <a:pt x="258" y="582"/>
                    <a:pt x="261" y="569"/>
                    <a:pt x="265" y="577"/>
                  </a:cubicBezTo>
                  <a:cubicBezTo>
                    <a:pt x="261" y="589"/>
                    <a:pt x="265" y="592"/>
                    <a:pt x="262" y="599"/>
                  </a:cubicBezTo>
                  <a:cubicBezTo>
                    <a:pt x="260" y="611"/>
                    <a:pt x="269" y="607"/>
                    <a:pt x="267" y="618"/>
                  </a:cubicBezTo>
                  <a:cubicBezTo>
                    <a:pt x="258" y="618"/>
                    <a:pt x="267" y="623"/>
                    <a:pt x="262" y="633"/>
                  </a:cubicBezTo>
                  <a:close/>
                  <a:moveTo>
                    <a:pt x="265" y="666"/>
                  </a:moveTo>
                  <a:cubicBezTo>
                    <a:pt x="269" y="667"/>
                    <a:pt x="270" y="662"/>
                    <a:pt x="275" y="662"/>
                  </a:cubicBezTo>
                  <a:cubicBezTo>
                    <a:pt x="273" y="664"/>
                    <a:pt x="264" y="682"/>
                    <a:pt x="265" y="666"/>
                  </a:cubicBezTo>
                  <a:close/>
                  <a:moveTo>
                    <a:pt x="278" y="766"/>
                  </a:moveTo>
                  <a:cubicBezTo>
                    <a:pt x="273" y="766"/>
                    <a:pt x="272" y="761"/>
                    <a:pt x="267" y="762"/>
                  </a:cubicBezTo>
                  <a:cubicBezTo>
                    <a:pt x="268" y="758"/>
                    <a:pt x="273" y="758"/>
                    <a:pt x="273" y="762"/>
                  </a:cubicBezTo>
                  <a:cubicBezTo>
                    <a:pt x="275" y="761"/>
                    <a:pt x="278" y="759"/>
                    <a:pt x="278" y="755"/>
                  </a:cubicBezTo>
                  <a:cubicBezTo>
                    <a:pt x="283" y="745"/>
                    <a:pt x="278" y="761"/>
                    <a:pt x="278" y="766"/>
                  </a:cubicBezTo>
                  <a:close/>
                  <a:moveTo>
                    <a:pt x="275" y="721"/>
                  </a:moveTo>
                  <a:cubicBezTo>
                    <a:pt x="275" y="717"/>
                    <a:pt x="280" y="716"/>
                    <a:pt x="281" y="714"/>
                  </a:cubicBezTo>
                  <a:cubicBezTo>
                    <a:pt x="282" y="710"/>
                    <a:pt x="272" y="697"/>
                    <a:pt x="283" y="699"/>
                  </a:cubicBezTo>
                  <a:cubicBezTo>
                    <a:pt x="283" y="702"/>
                    <a:pt x="281" y="703"/>
                    <a:pt x="281" y="707"/>
                  </a:cubicBezTo>
                  <a:cubicBezTo>
                    <a:pt x="279" y="713"/>
                    <a:pt x="288" y="712"/>
                    <a:pt x="289" y="714"/>
                  </a:cubicBezTo>
                  <a:cubicBezTo>
                    <a:pt x="290" y="718"/>
                    <a:pt x="284" y="717"/>
                    <a:pt x="283" y="718"/>
                  </a:cubicBezTo>
                  <a:cubicBezTo>
                    <a:pt x="282" y="723"/>
                    <a:pt x="292" y="724"/>
                    <a:pt x="289" y="733"/>
                  </a:cubicBezTo>
                  <a:cubicBezTo>
                    <a:pt x="279" y="737"/>
                    <a:pt x="285" y="719"/>
                    <a:pt x="275" y="721"/>
                  </a:cubicBezTo>
                  <a:close/>
                  <a:moveTo>
                    <a:pt x="281" y="766"/>
                  </a:moveTo>
                  <a:cubicBezTo>
                    <a:pt x="281" y="759"/>
                    <a:pt x="288" y="761"/>
                    <a:pt x="286" y="751"/>
                  </a:cubicBezTo>
                  <a:cubicBezTo>
                    <a:pt x="292" y="753"/>
                    <a:pt x="290" y="773"/>
                    <a:pt x="281" y="766"/>
                  </a:cubicBezTo>
                  <a:close/>
                  <a:moveTo>
                    <a:pt x="286" y="648"/>
                  </a:moveTo>
                  <a:cubicBezTo>
                    <a:pt x="286" y="643"/>
                    <a:pt x="286" y="638"/>
                    <a:pt x="286" y="633"/>
                  </a:cubicBezTo>
                  <a:cubicBezTo>
                    <a:pt x="289" y="634"/>
                    <a:pt x="291" y="636"/>
                    <a:pt x="292" y="640"/>
                  </a:cubicBezTo>
                  <a:cubicBezTo>
                    <a:pt x="294" y="640"/>
                    <a:pt x="294" y="636"/>
                    <a:pt x="294" y="633"/>
                  </a:cubicBezTo>
                  <a:cubicBezTo>
                    <a:pt x="304" y="636"/>
                    <a:pt x="296" y="650"/>
                    <a:pt x="286" y="648"/>
                  </a:cubicBezTo>
                  <a:close/>
                  <a:moveTo>
                    <a:pt x="297" y="777"/>
                  </a:moveTo>
                  <a:cubicBezTo>
                    <a:pt x="298" y="784"/>
                    <a:pt x="296" y="789"/>
                    <a:pt x="292" y="788"/>
                  </a:cubicBezTo>
                  <a:cubicBezTo>
                    <a:pt x="292" y="782"/>
                    <a:pt x="292" y="776"/>
                    <a:pt x="292" y="770"/>
                  </a:cubicBezTo>
                  <a:cubicBezTo>
                    <a:pt x="294" y="772"/>
                    <a:pt x="299" y="775"/>
                    <a:pt x="300" y="770"/>
                  </a:cubicBezTo>
                  <a:cubicBezTo>
                    <a:pt x="304" y="772"/>
                    <a:pt x="301" y="778"/>
                    <a:pt x="297" y="777"/>
                  </a:cubicBezTo>
                  <a:close/>
                  <a:moveTo>
                    <a:pt x="300" y="755"/>
                  </a:moveTo>
                  <a:cubicBezTo>
                    <a:pt x="300" y="755"/>
                    <a:pt x="300" y="750"/>
                    <a:pt x="302" y="751"/>
                  </a:cubicBezTo>
                  <a:cubicBezTo>
                    <a:pt x="300" y="751"/>
                    <a:pt x="306" y="756"/>
                    <a:pt x="305" y="755"/>
                  </a:cubicBezTo>
                  <a:cubicBezTo>
                    <a:pt x="307" y="759"/>
                    <a:pt x="286" y="756"/>
                    <a:pt x="300" y="755"/>
                  </a:cubicBezTo>
                  <a:close/>
                  <a:moveTo>
                    <a:pt x="361" y="825"/>
                  </a:moveTo>
                  <a:cubicBezTo>
                    <a:pt x="360" y="824"/>
                    <a:pt x="355" y="827"/>
                    <a:pt x="353" y="825"/>
                  </a:cubicBezTo>
                  <a:cubicBezTo>
                    <a:pt x="353" y="824"/>
                    <a:pt x="354" y="818"/>
                    <a:pt x="353" y="818"/>
                  </a:cubicBezTo>
                  <a:cubicBezTo>
                    <a:pt x="348" y="814"/>
                    <a:pt x="338" y="818"/>
                    <a:pt x="337" y="807"/>
                  </a:cubicBezTo>
                  <a:cubicBezTo>
                    <a:pt x="325" y="808"/>
                    <a:pt x="318" y="804"/>
                    <a:pt x="316" y="792"/>
                  </a:cubicBezTo>
                  <a:cubicBezTo>
                    <a:pt x="312" y="796"/>
                    <a:pt x="309" y="796"/>
                    <a:pt x="305" y="792"/>
                  </a:cubicBezTo>
                  <a:cubicBezTo>
                    <a:pt x="304" y="780"/>
                    <a:pt x="310" y="776"/>
                    <a:pt x="308" y="762"/>
                  </a:cubicBezTo>
                  <a:cubicBezTo>
                    <a:pt x="311" y="748"/>
                    <a:pt x="310" y="801"/>
                    <a:pt x="316" y="773"/>
                  </a:cubicBezTo>
                  <a:cubicBezTo>
                    <a:pt x="325" y="774"/>
                    <a:pt x="309" y="789"/>
                    <a:pt x="318" y="792"/>
                  </a:cubicBezTo>
                  <a:cubicBezTo>
                    <a:pt x="322" y="787"/>
                    <a:pt x="322" y="778"/>
                    <a:pt x="326" y="773"/>
                  </a:cubicBezTo>
                  <a:cubicBezTo>
                    <a:pt x="326" y="771"/>
                    <a:pt x="326" y="768"/>
                    <a:pt x="326" y="766"/>
                  </a:cubicBezTo>
                  <a:cubicBezTo>
                    <a:pt x="330" y="766"/>
                    <a:pt x="329" y="773"/>
                    <a:pt x="329" y="777"/>
                  </a:cubicBezTo>
                  <a:cubicBezTo>
                    <a:pt x="329" y="781"/>
                    <a:pt x="333" y="779"/>
                    <a:pt x="335" y="781"/>
                  </a:cubicBezTo>
                  <a:cubicBezTo>
                    <a:pt x="337" y="785"/>
                    <a:pt x="334" y="793"/>
                    <a:pt x="337" y="795"/>
                  </a:cubicBezTo>
                  <a:cubicBezTo>
                    <a:pt x="342" y="794"/>
                    <a:pt x="339" y="781"/>
                    <a:pt x="348" y="784"/>
                  </a:cubicBezTo>
                  <a:cubicBezTo>
                    <a:pt x="347" y="789"/>
                    <a:pt x="343" y="790"/>
                    <a:pt x="343" y="795"/>
                  </a:cubicBezTo>
                  <a:cubicBezTo>
                    <a:pt x="343" y="803"/>
                    <a:pt x="352" y="791"/>
                    <a:pt x="359" y="795"/>
                  </a:cubicBezTo>
                  <a:cubicBezTo>
                    <a:pt x="359" y="813"/>
                    <a:pt x="366" y="808"/>
                    <a:pt x="361" y="825"/>
                  </a:cubicBezTo>
                  <a:close/>
                  <a:moveTo>
                    <a:pt x="415" y="851"/>
                  </a:moveTo>
                  <a:cubicBezTo>
                    <a:pt x="407" y="853"/>
                    <a:pt x="414" y="833"/>
                    <a:pt x="404" y="836"/>
                  </a:cubicBezTo>
                  <a:cubicBezTo>
                    <a:pt x="400" y="838"/>
                    <a:pt x="405" y="841"/>
                    <a:pt x="404" y="847"/>
                  </a:cubicBezTo>
                  <a:cubicBezTo>
                    <a:pt x="399" y="847"/>
                    <a:pt x="401" y="840"/>
                    <a:pt x="399" y="836"/>
                  </a:cubicBezTo>
                  <a:cubicBezTo>
                    <a:pt x="396" y="830"/>
                    <a:pt x="395" y="830"/>
                    <a:pt x="391" y="825"/>
                  </a:cubicBezTo>
                  <a:cubicBezTo>
                    <a:pt x="387" y="828"/>
                    <a:pt x="392" y="831"/>
                    <a:pt x="388" y="840"/>
                  </a:cubicBezTo>
                  <a:cubicBezTo>
                    <a:pt x="386" y="840"/>
                    <a:pt x="386" y="835"/>
                    <a:pt x="386" y="832"/>
                  </a:cubicBezTo>
                  <a:cubicBezTo>
                    <a:pt x="378" y="829"/>
                    <a:pt x="379" y="838"/>
                    <a:pt x="372" y="836"/>
                  </a:cubicBezTo>
                  <a:cubicBezTo>
                    <a:pt x="371" y="835"/>
                    <a:pt x="368" y="818"/>
                    <a:pt x="367" y="829"/>
                  </a:cubicBezTo>
                  <a:cubicBezTo>
                    <a:pt x="361" y="830"/>
                    <a:pt x="367" y="818"/>
                    <a:pt x="370" y="818"/>
                  </a:cubicBezTo>
                  <a:cubicBezTo>
                    <a:pt x="367" y="809"/>
                    <a:pt x="365" y="798"/>
                    <a:pt x="378" y="795"/>
                  </a:cubicBezTo>
                  <a:cubicBezTo>
                    <a:pt x="376" y="803"/>
                    <a:pt x="383" y="804"/>
                    <a:pt x="383" y="799"/>
                  </a:cubicBezTo>
                  <a:cubicBezTo>
                    <a:pt x="388" y="802"/>
                    <a:pt x="383" y="806"/>
                    <a:pt x="383" y="810"/>
                  </a:cubicBezTo>
                  <a:cubicBezTo>
                    <a:pt x="386" y="817"/>
                    <a:pt x="386" y="807"/>
                    <a:pt x="391" y="814"/>
                  </a:cubicBezTo>
                  <a:cubicBezTo>
                    <a:pt x="397" y="822"/>
                    <a:pt x="394" y="802"/>
                    <a:pt x="402" y="807"/>
                  </a:cubicBezTo>
                  <a:cubicBezTo>
                    <a:pt x="403" y="816"/>
                    <a:pt x="403" y="827"/>
                    <a:pt x="407" y="832"/>
                  </a:cubicBezTo>
                  <a:cubicBezTo>
                    <a:pt x="415" y="832"/>
                    <a:pt x="401" y="822"/>
                    <a:pt x="412" y="825"/>
                  </a:cubicBezTo>
                  <a:cubicBezTo>
                    <a:pt x="410" y="838"/>
                    <a:pt x="417" y="839"/>
                    <a:pt x="415" y="851"/>
                  </a:cubicBezTo>
                  <a:close/>
                  <a:moveTo>
                    <a:pt x="466" y="866"/>
                  </a:moveTo>
                  <a:cubicBezTo>
                    <a:pt x="465" y="863"/>
                    <a:pt x="475" y="860"/>
                    <a:pt x="477" y="862"/>
                  </a:cubicBezTo>
                  <a:cubicBezTo>
                    <a:pt x="478" y="864"/>
                    <a:pt x="470" y="873"/>
                    <a:pt x="466" y="866"/>
                  </a:cubicBezTo>
                  <a:close/>
                  <a:moveTo>
                    <a:pt x="485" y="807"/>
                  </a:moveTo>
                  <a:cubicBezTo>
                    <a:pt x="482" y="797"/>
                    <a:pt x="477" y="818"/>
                    <a:pt x="472" y="818"/>
                  </a:cubicBezTo>
                  <a:cubicBezTo>
                    <a:pt x="468" y="837"/>
                    <a:pt x="482" y="845"/>
                    <a:pt x="474" y="858"/>
                  </a:cubicBezTo>
                  <a:cubicBezTo>
                    <a:pt x="469" y="858"/>
                    <a:pt x="473" y="846"/>
                    <a:pt x="469" y="844"/>
                  </a:cubicBezTo>
                  <a:cubicBezTo>
                    <a:pt x="464" y="843"/>
                    <a:pt x="468" y="855"/>
                    <a:pt x="466" y="858"/>
                  </a:cubicBezTo>
                  <a:cubicBezTo>
                    <a:pt x="466" y="859"/>
                    <a:pt x="454" y="847"/>
                    <a:pt x="458" y="862"/>
                  </a:cubicBezTo>
                  <a:cubicBezTo>
                    <a:pt x="451" y="866"/>
                    <a:pt x="445" y="851"/>
                    <a:pt x="442" y="862"/>
                  </a:cubicBezTo>
                  <a:cubicBezTo>
                    <a:pt x="438" y="857"/>
                    <a:pt x="439" y="844"/>
                    <a:pt x="431" y="844"/>
                  </a:cubicBezTo>
                  <a:cubicBezTo>
                    <a:pt x="428" y="844"/>
                    <a:pt x="429" y="851"/>
                    <a:pt x="431" y="851"/>
                  </a:cubicBezTo>
                  <a:cubicBezTo>
                    <a:pt x="430" y="862"/>
                    <a:pt x="418" y="849"/>
                    <a:pt x="418" y="847"/>
                  </a:cubicBezTo>
                  <a:cubicBezTo>
                    <a:pt x="418" y="845"/>
                    <a:pt x="426" y="835"/>
                    <a:pt x="415" y="836"/>
                  </a:cubicBezTo>
                  <a:cubicBezTo>
                    <a:pt x="415" y="829"/>
                    <a:pt x="419" y="828"/>
                    <a:pt x="418" y="821"/>
                  </a:cubicBezTo>
                  <a:cubicBezTo>
                    <a:pt x="428" y="819"/>
                    <a:pt x="430" y="827"/>
                    <a:pt x="429" y="840"/>
                  </a:cubicBezTo>
                  <a:cubicBezTo>
                    <a:pt x="431" y="838"/>
                    <a:pt x="433" y="836"/>
                    <a:pt x="437" y="836"/>
                  </a:cubicBezTo>
                  <a:cubicBezTo>
                    <a:pt x="437" y="830"/>
                    <a:pt x="435" y="827"/>
                    <a:pt x="431" y="825"/>
                  </a:cubicBezTo>
                  <a:cubicBezTo>
                    <a:pt x="431" y="814"/>
                    <a:pt x="439" y="834"/>
                    <a:pt x="439" y="821"/>
                  </a:cubicBezTo>
                  <a:cubicBezTo>
                    <a:pt x="444" y="822"/>
                    <a:pt x="441" y="834"/>
                    <a:pt x="445" y="836"/>
                  </a:cubicBezTo>
                  <a:cubicBezTo>
                    <a:pt x="447" y="834"/>
                    <a:pt x="448" y="828"/>
                    <a:pt x="453" y="829"/>
                  </a:cubicBezTo>
                  <a:cubicBezTo>
                    <a:pt x="455" y="839"/>
                    <a:pt x="447" y="836"/>
                    <a:pt x="447" y="844"/>
                  </a:cubicBezTo>
                  <a:cubicBezTo>
                    <a:pt x="450" y="855"/>
                    <a:pt x="455" y="832"/>
                    <a:pt x="458" y="836"/>
                  </a:cubicBezTo>
                  <a:cubicBezTo>
                    <a:pt x="462" y="842"/>
                    <a:pt x="461" y="833"/>
                    <a:pt x="469" y="832"/>
                  </a:cubicBezTo>
                  <a:cubicBezTo>
                    <a:pt x="470" y="824"/>
                    <a:pt x="464" y="824"/>
                    <a:pt x="466" y="814"/>
                  </a:cubicBezTo>
                  <a:cubicBezTo>
                    <a:pt x="475" y="817"/>
                    <a:pt x="471" y="804"/>
                    <a:pt x="480" y="807"/>
                  </a:cubicBezTo>
                  <a:cubicBezTo>
                    <a:pt x="479" y="802"/>
                    <a:pt x="475" y="803"/>
                    <a:pt x="472" y="803"/>
                  </a:cubicBezTo>
                  <a:cubicBezTo>
                    <a:pt x="478" y="789"/>
                    <a:pt x="490" y="800"/>
                    <a:pt x="496" y="807"/>
                  </a:cubicBezTo>
                  <a:cubicBezTo>
                    <a:pt x="497" y="820"/>
                    <a:pt x="478" y="810"/>
                    <a:pt x="485" y="807"/>
                  </a:cubicBezTo>
                  <a:close/>
                  <a:moveTo>
                    <a:pt x="493" y="858"/>
                  </a:moveTo>
                  <a:cubicBezTo>
                    <a:pt x="490" y="857"/>
                    <a:pt x="488" y="854"/>
                    <a:pt x="488" y="847"/>
                  </a:cubicBezTo>
                  <a:cubicBezTo>
                    <a:pt x="491" y="849"/>
                    <a:pt x="493" y="852"/>
                    <a:pt x="493" y="858"/>
                  </a:cubicBezTo>
                  <a:close/>
                  <a:moveTo>
                    <a:pt x="501" y="877"/>
                  </a:moveTo>
                  <a:cubicBezTo>
                    <a:pt x="499" y="877"/>
                    <a:pt x="499" y="872"/>
                    <a:pt x="499" y="869"/>
                  </a:cubicBezTo>
                  <a:cubicBezTo>
                    <a:pt x="494" y="869"/>
                    <a:pt x="493" y="874"/>
                    <a:pt x="488" y="873"/>
                  </a:cubicBezTo>
                  <a:cubicBezTo>
                    <a:pt x="488" y="869"/>
                    <a:pt x="488" y="866"/>
                    <a:pt x="488" y="862"/>
                  </a:cubicBezTo>
                  <a:cubicBezTo>
                    <a:pt x="492" y="867"/>
                    <a:pt x="510" y="865"/>
                    <a:pt x="501" y="877"/>
                  </a:cubicBezTo>
                  <a:close/>
                  <a:moveTo>
                    <a:pt x="590" y="45"/>
                  </a:moveTo>
                  <a:cubicBezTo>
                    <a:pt x="589" y="30"/>
                    <a:pt x="606" y="42"/>
                    <a:pt x="606" y="30"/>
                  </a:cubicBezTo>
                  <a:cubicBezTo>
                    <a:pt x="613" y="35"/>
                    <a:pt x="593" y="53"/>
                    <a:pt x="590" y="45"/>
                  </a:cubicBezTo>
                  <a:close/>
                  <a:moveTo>
                    <a:pt x="612" y="137"/>
                  </a:moveTo>
                  <a:cubicBezTo>
                    <a:pt x="609" y="136"/>
                    <a:pt x="609" y="133"/>
                    <a:pt x="606" y="133"/>
                  </a:cubicBezTo>
                  <a:cubicBezTo>
                    <a:pt x="606" y="125"/>
                    <a:pt x="619" y="130"/>
                    <a:pt x="612" y="137"/>
                  </a:cubicBezTo>
                  <a:close/>
                  <a:moveTo>
                    <a:pt x="636" y="126"/>
                  </a:moveTo>
                  <a:cubicBezTo>
                    <a:pt x="647" y="128"/>
                    <a:pt x="633" y="147"/>
                    <a:pt x="636" y="126"/>
                  </a:cubicBezTo>
                  <a:close/>
                  <a:moveTo>
                    <a:pt x="644" y="137"/>
                  </a:moveTo>
                  <a:cubicBezTo>
                    <a:pt x="645" y="127"/>
                    <a:pt x="658" y="120"/>
                    <a:pt x="657" y="137"/>
                  </a:cubicBezTo>
                  <a:cubicBezTo>
                    <a:pt x="652" y="144"/>
                    <a:pt x="652" y="135"/>
                    <a:pt x="644" y="137"/>
                  </a:cubicBezTo>
                  <a:close/>
                  <a:moveTo>
                    <a:pt x="708" y="137"/>
                  </a:moveTo>
                  <a:cubicBezTo>
                    <a:pt x="703" y="138"/>
                    <a:pt x="700" y="136"/>
                    <a:pt x="700" y="130"/>
                  </a:cubicBezTo>
                  <a:cubicBezTo>
                    <a:pt x="704" y="126"/>
                    <a:pt x="707" y="133"/>
                    <a:pt x="708" y="133"/>
                  </a:cubicBezTo>
                  <a:cubicBezTo>
                    <a:pt x="713" y="134"/>
                    <a:pt x="715" y="127"/>
                    <a:pt x="716" y="133"/>
                  </a:cubicBezTo>
                  <a:cubicBezTo>
                    <a:pt x="718" y="146"/>
                    <a:pt x="711" y="139"/>
                    <a:pt x="708" y="137"/>
                  </a:cubicBezTo>
                  <a:close/>
                  <a:moveTo>
                    <a:pt x="716" y="100"/>
                  </a:moveTo>
                  <a:cubicBezTo>
                    <a:pt x="719" y="100"/>
                    <a:pt x="722" y="100"/>
                    <a:pt x="724" y="100"/>
                  </a:cubicBezTo>
                  <a:cubicBezTo>
                    <a:pt x="723" y="111"/>
                    <a:pt x="696" y="99"/>
                    <a:pt x="716" y="100"/>
                  </a:cubicBezTo>
                  <a:close/>
                  <a:moveTo>
                    <a:pt x="792" y="115"/>
                  </a:moveTo>
                  <a:cubicBezTo>
                    <a:pt x="786" y="114"/>
                    <a:pt x="786" y="106"/>
                    <a:pt x="786" y="96"/>
                  </a:cubicBezTo>
                  <a:cubicBezTo>
                    <a:pt x="791" y="96"/>
                    <a:pt x="795" y="96"/>
                    <a:pt x="800" y="96"/>
                  </a:cubicBezTo>
                  <a:cubicBezTo>
                    <a:pt x="797" y="103"/>
                    <a:pt x="793" y="107"/>
                    <a:pt x="792" y="115"/>
                  </a:cubicBezTo>
                  <a:close/>
                  <a:moveTo>
                    <a:pt x="816" y="111"/>
                  </a:moveTo>
                  <a:cubicBezTo>
                    <a:pt x="812" y="108"/>
                    <a:pt x="810" y="102"/>
                    <a:pt x="810" y="93"/>
                  </a:cubicBezTo>
                  <a:cubicBezTo>
                    <a:pt x="815" y="90"/>
                    <a:pt x="820" y="87"/>
                    <a:pt x="827" y="85"/>
                  </a:cubicBezTo>
                  <a:cubicBezTo>
                    <a:pt x="830" y="104"/>
                    <a:pt x="818" y="101"/>
                    <a:pt x="816" y="111"/>
                  </a:cubicBezTo>
                  <a:close/>
                  <a:moveTo>
                    <a:pt x="827" y="126"/>
                  </a:moveTo>
                  <a:cubicBezTo>
                    <a:pt x="827" y="121"/>
                    <a:pt x="835" y="125"/>
                    <a:pt x="835" y="119"/>
                  </a:cubicBezTo>
                  <a:cubicBezTo>
                    <a:pt x="843" y="123"/>
                    <a:pt x="829" y="134"/>
                    <a:pt x="827" y="126"/>
                  </a:cubicBezTo>
                  <a:close/>
                  <a:moveTo>
                    <a:pt x="870" y="152"/>
                  </a:moveTo>
                  <a:cubicBezTo>
                    <a:pt x="867" y="153"/>
                    <a:pt x="865" y="157"/>
                    <a:pt x="862" y="156"/>
                  </a:cubicBezTo>
                  <a:cubicBezTo>
                    <a:pt x="861" y="156"/>
                    <a:pt x="861" y="152"/>
                    <a:pt x="859" y="152"/>
                  </a:cubicBezTo>
                  <a:cubicBezTo>
                    <a:pt x="857" y="152"/>
                    <a:pt x="855" y="147"/>
                    <a:pt x="851" y="148"/>
                  </a:cubicBezTo>
                  <a:cubicBezTo>
                    <a:pt x="853" y="142"/>
                    <a:pt x="873" y="142"/>
                    <a:pt x="875" y="148"/>
                  </a:cubicBezTo>
                  <a:cubicBezTo>
                    <a:pt x="875" y="159"/>
                    <a:pt x="873" y="151"/>
                    <a:pt x="870" y="152"/>
                  </a:cubicBezTo>
                  <a:close/>
                  <a:moveTo>
                    <a:pt x="859" y="133"/>
                  </a:moveTo>
                  <a:cubicBezTo>
                    <a:pt x="859" y="128"/>
                    <a:pt x="859" y="123"/>
                    <a:pt x="856" y="122"/>
                  </a:cubicBezTo>
                  <a:cubicBezTo>
                    <a:pt x="860" y="114"/>
                    <a:pt x="871" y="127"/>
                    <a:pt x="878" y="126"/>
                  </a:cubicBezTo>
                  <a:cubicBezTo>
                    <a:pt x="872" y="133"/>
                    <a:pt x="867" y="138"/>
                    <a:pt x="859" y="133"/>
                  </a:cubicBezTo>
                  <a:close/>
                  <a:moveTo>
                    <a:pt x="886" y="104"/>
                  </a:moveTo>
                  <a:cubicBezTo>
                    <a:pt x="884" y="104"/>
                    <a:pt x="882" y="104"/>
                    <a:pt x="880" y="104"/>
                  </a:cubicBezTo>
                  <a:cubicBezTo>
                    <a:pt x="880" y="101"/>
                    <a:pt x="880" y="99"/>
                    <a:pt x="880" y="96"/>
                  </a:cubicBezTo>
                  <a:cubicBezTo>
                    <a:pt x="882" y="96"/>
                    <a:pt x="884" y="96"/>
                    <a:pt x="886" y="96"/>
                  </a:cubicBezTo>
                  <a:cubicBezTo>
                    <a:pt x="886" y="99"/>
                    <a:pt x="886" y="101"/>
                    <a:pt x="886" y="104"/>
                  </a:cubicBezTo>
                  <a:close/>
                  <a:moveTo>
                    <a:pt x="913" y="1239"/>
                  </a:moveTo>
                  <a:cubicBezTo>
                    <a:pt x="909" y="1234"/>
                    <a:pt x="912" y="1233"/>
                    <a:pt x="913" y="1228"/>
                  </a:cubicBezTo>
                  <a:cubicBezTo>
                    <a:pt x="916" y="1229"/>
                    <a:pt x="914" y="1235"/>
                    <a:pt x="918" y="1235"/>
                  </a:cubicBezTo>
                  <a:cubicBezTo>
                    <a:pt x="918" y="1239"/>
                    <a:pt x="915" y="1238"/>
                    <a:pt x="913" y="1239"/>
                  </a:cubicBezTo>
                  <a:close/>
                  <a:moveTo>
                    <a:pt x="926" y="119"/>
                  </a:moveTo>
                  <a:cubicBezTo>
                    <a:pt x="923" y="118"/>
                    <a:pt x="924" y="112"/>
                    <a:pt x="923" y="108"/>
                  </a:cubicBezTo>
                  <a:cubicBezTo>
                    <a:pt x="926" y="108"/>
                    <a:pt x="929" y="108"/>
                    <a:pt x="931" y="108"/>
                  </a:cubicBezTo>
                  <a:cubicBezTo>
                    <a:pt x="931" y="112"/>
                    <a:pt x="927" y="113"/>
                    <a:pt x="926" y="119"/>
                  </a:cubicBezTo>
                  <a:close/>
                  <a:moveTo>
                    <a:pt x="931" y="673"/>
                  </a:moveTo>
                  <a:cubicBezTo>
                    <a:pt x="928" y="672"/>
                    <a:pt x="929" y="664"/>
                    <a:pt x="929" y="659"/>
                  </a:cubicBezTo>
                  <a:cubicBezTo>
                    <a:pt x="935" y="660"/>
                    <a:pt x="935" y="668"/>
                    <a:pt x="931" y="673"/>
                  </a:cubicBezTo>
                  <a:close/>
                  <a:moveTo>
                    <a:pt x="956" y="385"/>
                  </a:moveTo>
                  <a:cubicBezTo>
                    <a:pt x="954" y="385"/>
                    <a:pt x="952" y="385"/>
                    <a:pt x="950" y="385"/>
                  </a:cubicBezTo>
                  <a:cubicBezTo>
                    <a:pt x="951" y="382"/>
                    <a:pt x="949" y="381"/>
                    <a:pt x="948" y="381"/>
                  </a:cubicBezTo>
                  <a:cubicBezTo>
                    <a:pt x="947" y="374"/>
                    <a:pt x="960" y="376"/>
                    <a:pt x="956" y="385"/>
                  </a:cubicBezTo>
                  <a:close/>
                  <a:moveTo>
                    <a:pt x="977" y="111"/>
                  </a:moveTo>
                  <a:cubicBezTo>
                    <a:pt x="977" y="108"/>
                    <a:pt x="977" y="104"/>
                    <a:pt x="977" y="100"/>
                  </a:cubicBezTo>
                  <a:cubicBezTo>
                    <a:pt x="980" y="100"/>
                    <a:pt x="983" y="100"/>
                    <a:pt x="985" y="100"/>
                  </a:cubicBezTo>
                  <a:cubicBezTo>
                    <a:pt x="982" y="104"/>
                    <a:pt x="984" y="114"/>
                    <a:pt x="977" y="111"/>
                  </a:cubicBezTo>
                  <a:close/>
                  <a:moveTo>
                    <a:pt x="993" y="688"/>
                  </a:moveTo>
                  <a:cubicBezTo>
                    <a:pt x="993" y="684"/>
                    <a:pt x="993" y="681"/>
                    <a:pt x="993" y="677"/>
                  </a:cubicBezTo>
                  <a:cubicBezTo>
                    <a:pt x="1001" y="672"/>
                    <a:pt x="1001" y="694"/>
                    <a:pt x="993" y="688"/>
                  </a:cubicBezTo>
                  <a:close/>
                  <a:moveTo>
                    <a:pt x="1009" y="1254"/>
                  </a:moveTo>
                  <a:cubicBezTo>
                    <a:pt x="1008" y="1254"/>
                    <a:pt x="1006" y="1254"/>
                    <a:pt x="1004" y="1254"/>
                  </a:cubicBezTo>
                  <a:cubicBezTo>
                    <a:pt x="1003" y="1244"/>
                    <a:pt x="1005" y="1238"/>
                    <a:pt x="1012" y="1239"/>
                  </a:cubicBezTo>
                  <a:cubicBezTo>
                    <a:pt x="1010" y="1242"/>
                    <a:pt x="1008" y="1249"/>
                    <a:pt x="1012" y="1250"/>
                  </a:cubicBezTo>
                  <a:cubicBezTo>
                    <a:pt x="1013" y="1254"/>
                    <a:pt x="1011" y="1254"/>
                    <a:pt x="1009" y="1254"/>
                  </a:cubicBezTo>
                  <a:close/>
                  <a:moveTo>
                    <a:pt x="1039" y="145"/>
                  </a:moveTo>
                  <a:cubicBezTo>
                    <a:pt x="1031" y="158"/>
                    <a:pt x="1030" y="133"/>
                    <a:pt x="1039" y="145"/>
                  </a:cubicBezTo>
                  <a:close/>
                  <a:moveTo>
                    <a:pt x="1074" y="133"/>
                  </a:moveTo>
                  <a:cubicBezTo>
                    <a:pt x="1071" y="132"/>
                    <a:pt x="1068" y="129"/>
                    <a:pt x="1069" y="122"/>
                  </a:cubicBezTo>
                  <a:cubicBezTo>
                    <a:pt x="1071" y="123"/>
                    <a:pt x="1071" y="121"/>
                    <a:pt x="1071" y="119"/>
                  </a:cubicBezTo>
                  <a:cubicBezTo>
                    <a:pt x="1074" y="121"/>
                    <a:pt x="1076" y="123"/>
                    <a:pt x="1079" y="122"/>
                  </a:cubicBezTo>
                  <a:cubicBezTo>
                    <a:pt x="1078" y="126"/>
                    <a:pt x="1073" y="126"/>
                    <a:pt x="1074" y="133"/>
                  </a:cubicBezTo>
                  <a:close/>
                  <a:moveTo>
                    <a:pt x="1085" y="640"/>
                  </a:moveTo>
                  <a:cubicBezTo>
                    <a:pt x="1083" y="640"/>
                    <a:pt x="1081" y="640"/>
                    <a:pt x="1079" y="640"/>
                  </a:cubicBezTo>
                  <a:cubicBezTo>
                    <a:pt x="1079" y="638"/>
                    <a:pt x="1079" y="635"/>
                    <a:pt x="1079" y="633"/>
                  </a:cubicBezTo>
                  <a:cubicBezTo>
                    <a:pt x="1081" y="633"/>
                    <a:pt x="1083" y="633"/>
                    <a:pt x="1085" y="633"/>
                  </a:cubicBezTo>
                  <a:cubicBezTo>
                    <a:pt x="1085" y="635"/>
                    <a:pt x="1085" y="638"/>
                    <a:pt x="1085" y="640"/>
                  </a:cubicBezTo>
                  <a:close/>
                  <a:moveTo>
                    <a:pt x="1096" y="1254"/>
                  </a:moveTo>
                  <a:cubicBezTo>
                    <a:pt x="1094" y="1254"/>
                    <a:pt x="1092" y="1254"/>
                    <a:pt x="1090" y="1254"/>
                  </a:cubicBezTo>
                  <a:cubicBezTo>
                    <a:pt x="1090" y="1252"/>
                    <a:pt x="1090" y="1249"/>
                    <a:pt x="1090" y="1247"/>
                  </a:cubicBezTo>
                  <a:cubicBezTo>
                    <a:pt x="1092" y="1247"/>
                    <a:pt x="1094" y="1247"/>
                    <a:pt x="1096" y="1247"/>
                  </a:cubicBezTo>
                  <a:cubicBezTo>
                    <a:pt x="1096" y="1249"/>
                    <a:pt x="1096" y="1252"/>
                    <a:pt x="1096" y="1254"/>
                  </a:cubicBezTo>
                  <a:close/>
                  <a:moveTo>
                    <a:pt x="1101" y="170"/>
                  </a:moveTo>
                  <a:cubicBezTo>
                    <a:pt x="1109" y="167"/>
                    <a:pt x="1111" y="174"/>
                    <a:pt x="1114" y="178"/>
                  </a:cubicBezTo>
                  <a:cubicBezTo>
                    <a:pt x="1116" y="181"/>
                    <a:pt x="1098" y="181"/>
                    <a:pt x="1101" y="170"/>
                  </a:cubicBezTo>
                  <a:close/>
                  <a:moveTo>
                    <a:pt x="1117" y="119"/>
                  </a:moveTo>
                  <a:cubicBezTo>
                    <a:pt x="1117" y="115"/>
                    <a:pt x="1120" y="116"/>
                    <a:pt x="1122" y="115"/>
                  </a:cubicBezTo>
                  <a:cubicBezTo>
                    <a:pt x="1125" y="115"/>
                    <a:pt x="1128" y="115"/>
                    <a:pt x="1131" y="115"/>
                  </a:cubicBezTo>
                  <a:cubicBezTo>
                    <a:pt x="1131" y="123"/>
                    <a:pt x="1121" y="117"/>
                    <a:pt x="1117" y="119"/>
                  </a:cubicBezTo>
                  <a:close/>
                  <a:moveTo>
                    <a:pt x="1125" y="1265"/>
                  </a:moveTo>
                  <a:cubicBezTo>
                    <a:pt x="1118" y="1258"/>
                    <a:pt x="1128" y="1249"/>
                    <a:pt x="1122" y="1239"/>
                  </a:cubicBezTo>
                  <a:cubicBezTo>
                    <a:pt x="1135" y="1240"/>
                    <a:pt x="1123" y="1256"/>
                    <a:pt x="1125" y="1265"/>
                  </a:cubicBezTo>
                  <a:close/>
                  <a:moveTo>
                    <a:pt x="1147" y="178"/>
                  </a:moveTo>
                  <a:cubicBezTo>
                    <a:pt x="1140" y="190"/>
                    <a:pt x="1134" y="168"/>
                    <a:pt x="1147" y="178"/>
                  </a:cubicBezTo>
                  <a:close/>
                  <a:moveTo>
                    <a:pt x="1171" y="189"/>
                  </a:moveTo>
                  <a:cubicBezTo>
                    <a:pt x="1167" y="185"/>
                    <a:pt x="1161" y="185"/>
                    <a:pt x="1157" y="182"/>
                  </a:cubicBezTo>
                  <a:cubicBezTo>
                    <a:pt x="1159" y="174"/>
                    <a:pt x="1176" y="175"/>
                    <a:pt x="1171" y="189"/>
                  </a:cubicBezTo>
                  <a:close/>
                  <a:moveTo>
                    <a:pt x="1176" y="1217"/>
                  </a:moveTo>
                  <a:cubicBezTo>
                    <a:pt x="1176" y="1214"/>
                    <a:pt x="1181" y="1213"/>
                    <a:pt x="1184" y="1213"/>
                  </a:cubicBezTo>
                  <a:cubicBezTo>
                    <a:pt x="1183" y="1213"/>
                    <a:pt x="1190" y="1219"/>
                    <a:pt x="1190" y="1217"/>
                  </a:cubicBezTo>
                  <a:cubicBezTo>
                    <a:pt x="1192" y="1224"/>
                    <a:pt x="1181" y="1219"/>
                    <a:pt x="1176" y="1217"/>
                  </a:cubicBezTo>
                  <a:close/>
                  <a:moveTo>
                    <a:pt x="1187" y="592"/>
                  </a:moveTo>
                  <a:cubicBezTo>
                    <a:pt x="1190" y="580"/>
                    <a:pt x="1190" y="602"/>
                    <a:pt x="1190" y="607"/>
                  </a:cubicBezTo>
                  <a:cubicBezTo>
                    <a:pt x="1187" y="619"/>
                    <a:pt x="1187" y="597"/>
                    <a:pt x="1187" y="592"/>
                  </a:cubicBezTo>
                  <a:close/>
                  <a:moveTo>
                    <a:pt x="1192" y="577"/>
                  </a:moveTo>
                  <a:cubicBezTo>
                    <a:pt x="1191" y="577"/>
                    <a:pt x="1190" y="574"/>
                    <a:pt x="1190" y="574"/>
                  </a:cubicBezTo>
                  <a:cubicBezTo>
                    <a:pt x="1188" y="573"/>
                    <a:pt x="1186" y="576"/>
                    <a:pt x="1187" y="577"/>
                  </a:cubicBezTo>
                  <a:cubicBezTo>
                    <a:pt x="1185" y="575"/>
                    <a:pt x="1185" y="574"/>
                    <a:pt x="1187" y="574"/>
                  </a:cubicBezTo>
                  <a:cubicBezTo>
                    <a:pt x="1188" y="573"/>
                    <a:pt x="1189" y="569"/>
                    <a:pt x="1192" y="570"/>
                  </a:cubicBezTo>
                  <a:cubicBezTo>
                    <a:pt x="1192" y="570"/>
                    <a:pt x="1204" y="581"/>
                    <a:pt x="1192" y="577"/>
                  </a:cubicBezTo>
                  <a:close/>
                  <a:moveTo>
                    <a:pt x="1200" y="133"/>
                  </a:moveTo>
                  <a:cubicBezTo>
                    <a:pt x="1203" y="133"/>
                    <a:pt x="1203" y="137"/>
                    <a:pt x="1203" y="137"/>
                  </a:cubicBezTo>
                  <a:cubicBezTo>
                    <a:pt x="1207" y="137"/>
                    <a:pt x="1219" y="134"/>
                    <a:pt x="1217" y="145"/>
                  </a:cubicBezTo>
                  <a:cubicBezTo>
                    <a:pt x="1213" y="139"/>
                    <a:pt x="1205" y="141"/>
                    <a:pt x="1198" y="141"/>
                  </a:cubicBezTo>
                  <a:cubicBezTo>
                    <a:pt x="1199" y="141"/>
                    <a:pt x="1200" y="134"/>
                    <a:pt x="1200" y="133"/>
                  </a:cubicBezTo>
                  <a:close/>
                  <a:moveTo>
                    <a:pt x="1200" y="189"/>
                  </a:moveTo>
                  <a:cubicBezTo>
                    <a:pt x="1201" y="184"/>
                    <a:pt x="1207" y="186"/>
                    <a:pt x="1211" y="185"/>
                  </a:cubicBezTo>
                  <a:cubicBezTo>
                    <a:pt x="1210" y="194"/>
                    <a:pt x="1204" y="194"/>
                    <a:pt x="1200" y="189"/>
                  </a:cubicBezTo>
                  <a:close/>
                  <a:moveTo>
                    <a:pt x="1208" y="1269"/>
                  </a:moveTo>
                  <a:cubicBezTo>
                    <a:pt x="1205" y="1257"/>
                    <a:pt x="1213" y="1260"/>
                    <a:pt x="1214" y="1254"/>
                  </a:cubicBezTo>
                  <a:cubicBezTo>
                    <a:pt x="1217" y="1255"/>
                    <a:pt x="1216" y="1263"/>
                    <a:pt x="1217" y="1269"/>
                  </a:cubicBezTo>
                  <a:cubicBezTo>
                    <a:pt x="1214" y="1269"/>
                    <a:pt x="1211" y="1269"/>
                    <a:pt x="1208" y="1269"/>
                  </a:cubicBezTo>
                  <a:close/>
                  <a:moveTo>
                    <a:pt x="1214" y="237"/>
                  </a:moveTo>
                  <a:cubicBezTo>
                    <a:pt x="1213" y="243"/>
                    <a:pt x="1210" y="236"/>
                    <a:pt x="1206" y="237"/>
                  </a:cubicBezTo>
                  <a:cubicBezTo>
                    <a:pt x="1208" y="227"/>
                    <a:pt x="1202" y="227"/>
                    <a:pt x="1203" y="218"/>
                  </a:cubicBezTo>
                  <a:cubicBezTo>
                    <a:pt x="1206" y="217"/>
                    <a:pt x="1207" y="226"/>
                    <a:pt x="1208" y="226"/>
                  </a:cubicBezTo>
                  <a:cubicBezTo>
                    <a:pt x="1213" y="227"/>
                    <a:pt x="1215" y="211"/>
                    <a:pt x="1222" y="222"/>
                  </a:cubicBezTo>
                  <a:cubicBezTo>
                    <a:pt x="1220" y="227"/>
                    <a:pt x="1204" y="229"/>
                    <a:pt x="1214" y="237"/>
                  </a:cubicBezTo>
                  <a:close/>
                  <a:moveTo>
                    <a:pt x="1340" y="152"/>
                  </a:moveTo>
                  <a:cubicBezTo>
                    <a:pt x="1341" y="154"/>
                    <a:pt x="1333" y="158"/>
                    <a:pt x="1332" y="156"/>
                  </a:cubicBezTo>
                  <a:cubicBezTo>
                    <a:pt x="1332" y="155"/>
                    <a:pt x="1332" y="152"/>
                    <a:pt x="1332" y="152"/>
                  </a:cubicBezTo>
                  <a:cubicBezTo>
                    <a:pt x="1329" y="152"/>
                    <a:pt x="1324" y="159"/>
                    <a:pt x="1321" y="152"/>
                  </a:cubicBezTo>
                  <a:cubicBezTo>
                    <a:pt x="1323" y="144"/>
                    <a:pt x="1338" y="148"/>
                    <a:pt x="1340" y="152"/>
                  </a:cubicBezTo>
                  <a:close/>
                  <a:moveTo>
                    <a:pt x="1316" y="574"/>
                  </a:moveTo>
                  <a:cubicBezTo>
                    <a:pt x="1314" y="561"/>
                    <a:pt x="1320" y="559"/>
                    <a:pt x="1319" y="548"/>
                  </a:cubicBezTo>
                  <a:cubicBezTo>
                    <a:pt x="1328" y="549"/>
                    <a:pt x="1324" y="574"/>
                    <a:pt x="1316" y="574"/>
                  </a:cubicBezTo>
                  <a:close/>
                  <a:moveTo>
                    <a:pt x="1281" y="130"/>
                  </a:moveTo>
                  <a:cubicBezTo>
                    <a:pt x="1285" y="118"/>
                    <a:pt x="1285" y="140"/>
                    <a:pt x="1278" y="137"/>
                  </a:cubicBezTo>
                  <a:cubicBezTo>
                    <a:pt x="1273" y="134"/>
                    <a:pt x="1281" y="135"/>
                    <a:pt x="1281" y="130"/>
                  </a:cubicBezTo>
                  <a:close/>
                  <a:moveTo>
                    <a:pt x="1260" y="137"/>
                  </a:moveTo>
                  <a:cubicBezTo>
                    <a:pt x="1267" y="141"/>
                    <a:pt x="1273" y="146"/>
                    <a:pt x="1284" y="145"/>
                  </a:cubicBezTo>
                  <a:cubicBezTo>
                    <a:pt x="1286" y="157"/>
                    <a:pt x="1278" y="151"/>
                    <a:pt x="1276" y="148"/>
                  </a:cubicBezTo>
                  <a:cubicBezTo>
                    <a:pt x="1274" y="158"/>
                    <a:pt x="1277" y="162"/>
                    <a:pt x="1284" y="159"/>
                  </a:cubicBezTo>
                  <a:cubicBezTo>
                    <a:pt x="1294" y="168"/>
                    <a:pt x="1255" y="158"/>
                    <a:pt x="1265" y="167"/>
                  </a:cubicBezTo>
                  <a:cubicBezTo>
                    <a:pt x="1264" y="177"/>
                    <a:pt x="1256" y="167"/>
                    <a:pt x="1260" y="159"/>
                  </a:cubicBezTo>
                  <a:cubicBezTo>
                    <a:pt x="1257" y="159"/>
                    <a:pt x="1254" y="159"/>
                    <a:pt x="1251" y="159"/>
                  </a:cubicBezTo>
                  <a:cubicBezTo>
                    <a:pt x="1251" y="153"/>
                    <a:pt x="1268" y="153"/>
                    <a:pt x="1268" y="159"/>
                  </a:cubicBezTo>
                  <a:cubicBezTo>
                    <a:pt x="1270" y="157"/>
                    <a:pt x="1272" y="153"/>
                    <a:pt x="1273" y="148"/>
                  </a:cubicBezTo>
                  <a:cubicBezTo>
                    <a:pt x="1264" y="154"/>
                    <a:pt x="1261" y="150"/>
                    <a:pt x="1251" y="148"/>
                  </a:cubicBezTo>
                  <a:cubicBezTo>
                    <a:pt x="1247" y="135"/>
                    <a:pt x="1261" y="146"/>
                    <a:pt x="1260" y="137"/>
                  </a:cubicBezTo>
                  <a:close/>
                  <a:moveTo>
                    <a:pt x="1276" y="237"/>
                  </a:moveTo>
                  <a:cubicBezTo>
                    <a:pt x="1274" y="237"/>
                    <a:pt x="1272" y="237"/>
                    <a:pt x="1270" y="237"/>
                  </a:cubicBezTo>
                  <a:cubicBezTo>
                    <a:pt x="1270" y="231"/>
                    <a:pt x="1273" y="231"/>
                    <a:pt x="1273" y="226"/>
                  </a:cubicBezTo>
                  <a:cubicBezTo>
                    <a:pt x="1279" y="228"/>
                    <a:pt x="1279" y="232"/>
                    <a:pt x="1276" y="237"/>
                  </a:cubicBezTo>
                  <a:close/>
                  <a:moveTo>
                    <a:pt x="1260" y="237"/>
                  </a:moveTo>
                  <a:cubicBezTo>
                    <a:pt x="1255" y="238"/>
                    <a:pt x="1254" y="234"/>
                    <a:pt x="1254" y="230"/>
                  </a:cubicBezTo>
                  <a:cubicBezTo>
                    <a:pt x="1240" y="238"/>
                    <a:pt x="1262" y="214"/>
                    <a:pt x="1260" y="237"/>
                  </a:cubicBezTo>
                  <a:close/>
                  <a:moveTo>
                    <a:pt x="1254" y="614"/>
                  </a:moveTo>
                  <a:cubicBezTo>
                    <a:pt x="1248" y="625"/>
                    <a:pt x="1253" y="587"/>
                    <a:pt x="1254" y="581"/>
                  </a:cubicBezTo>
                  <a:cubicBezTo>
                    <a:pt x="1258" y="583"/>
                    <a:pt x="1259" y="586"/>
                    <a:pt x="1260" y="592"/>
                  </a:cubicBezTo>
                  <a:cubicBezTo>
                    <a:pt x="1260" y="600"/>
                    <a:pt x="1250" y="603"/>
                    <a:pt x="1254" y="614"/>
                  </a:cubicBezTo>
                  <a:close/>
                  <a:moveTo>
                    <a:pt x="1227" y="148"/>
                  </a:moveTo>
                  <a:cubicBezTo>
                    <a:pt x="1225" y="149"/>
                    <a:pt x="1225" y="147"/>
                    <a:pt x="1225" y="145"/>
                  </a:cubicBezTo>
                  <a:cubicBezTo>
                    <a:pt x="1225" y="142"/>
                    <a:pt x="1225" y="140"/>
                    <a:pt x="1225" y="137"/>
                  </a:cubicBezTo>
                  <a:cubicBezTo>
                    <a:pt x="1233" y="134"/>
                    <a:pt x="1234" y="141"/>
                    <a:pt x="1241" y="141"/>
                  </a:cubicBezTo>
                  <a:cubicBezTo>
                    <a:pt x="1239" y="145"/>
                    <a:pt x="1235" y="145"/>
                    <a:pt x="1235" y="152"/>
                  </a:cubicBezTo>
                  <a:cubicBezTo>
                    <a:pt x="1233" y="152"/>
                    <a:pt x="1230" y="136"/>
                    <a:pt x="1227" y="148"/>
                  </a:cubicBezTo>
                  <a:close/>
                  <a:moveTo>
                    <a:pt x="1230" y="588"/>
                  </a:moveTo>
                  <a:cubicBezTo>
                    <a:pt x="1229" y="580"/>
                    <a:pt x="1230" y="574"/>
                    <a:pt x="1233" y="570"/>
                  </a:cubicBezTo>
                  <a:cubicBezTo>
                    <a:pt x="1235" y="572"/>
                    <a:pt x="1237" y="574"/>
                    <a:pt x="1238" y="570"/>
                  </a:cubicBezTo>
                  <a:cubicBezTo>
                    <a:pt x="1244" y="574"/>
                    <a:pt x="1234" y="587"/>
                    <a:pt x="1238" y="599"/>
                  </a:cubicBezTo>
                  <a:cubicBezTo>
                    <a:pt x="1232" y="601"/>
                    <a:pt x="1240" y="583"/>
                    <a:pt x="1230" y="588"/>
                  </a:cubicBezTo>
                  <a:close/>
                  <a:moveTo>
                    <a:pt x="1238" y="1273"/>
                  </a:moveTo>
                  <a:cubicBezTo>
                    <a:pt x="1246" y="1259"/>
                    <a:pt x="1247" y="1284"/>
                    <a:pt x="1238" y="1273"/>
                  </a:cubicBezTo>
                  <a:close/>
                  <a:moveTo>
                    <a:pt x="1254" y="1239"/>
                  </a:moveTo>
                  <a:cubicBezTo>
                    <a:pt x="1257" y="1241"/>
                    <a:pt x="1260" y="1244"/>
                    <a:pt x="1260" y="1250"/>
                  </a:cubicBezTo>
                  <a:cubicBezTo>
                    <a:pt x="1256" y="1249"/>
                    <a:pt x="1254" y="1246"/>
                    <a:pt x="1254" y="1239"/>
                  </a:cubicBezTo>
                  <a:close/>
                  <a:moveTo>
                    <a:pt x="1260" y="1235"/>
                  </a:moveTo>
                  <a:cubicBezTo>
                    <a:pt x="1251" y="1233"/>
                    <a:pt x="1246" y="1228"/>
                    <a:pt x="1238" y="1225"/>
                  </a:cubicBezTo>
                  <a:cubicBezTo>
                    <a:pt x="1238" y="1215"/>
                    <a:pt x="1247" y="1223"/>
                    <a:pt x="1249" y="1225"/>
                  </a:cubicBezTo>
                  <a:cubicBezTo>
                    <a:pt x="1251" y="1224"/>
                    <a:pt x="1251" y="1220"/>
                    <a:pt x="1251" y="1217"/>
                  </a:cubicBezTo>
                  <a:cubicBezTo>
                    <a:pt x="1260" y="1215"/>
                    <a:pt x="1260" y="1225"/>
                    <a:pt x="1260" y="1235"/>
                  </a:cubicBezTo>
                  <a:close/>
                  <a:moveTo>
                    <a:pt x="1260" y="193"/>
                  </a:moveTo>
                  <a:cubicBezTo>
                    <a:pt x="1265" y="183"/>
                    <a:pt x="1269" y="196"/>
                    <a:pt x="1276" y="189"/>
                  </a:cubicBezTo>
                  <a:cubicBezTo>
                    <a:pt x="1278" y="203"/>
                    <a:pt x="1261" y="196"/>
                    <a:pt x="1260" y="193"/>
                  </a:cubicBezTo>
                  <a:close/>
                  <a:moveTo>
                    <a:pt x="1270" y="1261"/>
                  </a:moveTo>
                  <a:cubicBezTo>
                    <a:pt x="1274" y="1262"/>
                    <a:pt x="1271" y="1273"/>
                    <a:pt x="1276" y="1273"/>
                  </a:cubicBezTo>
                  <a:cubicBezTo>
                    <a:pt x="1274" y="1282"/>
                    <a:pt x="1268" y="1269"/>
                    <a:pt x="1270" y="1261"/>
                  </a:cubicBezTo>
                  <a:close/>
                  <a:moveTo>
                    <a:pt x="1284" y="1232"/>
                  </a:moveTo>
                  <a:cubicBezTo>
                    <a:pt x="1281" y="1228"/>
                    <a:pt x="1274" y="1231"/>
                    <a:pt x="1276" y="1221"/>
                  </a:cubicBezTo>
                  <a:cubicBezTo>
                    <a:pt x="1282" y="1220"/>
                    <a:pt x="1284" y="1224"/>
                    <a:pt x="1284" y="1232"/>
                  </a:cubicBezTo>
                  <a:close/>
                  <a:moveTo>
                    <a:pt x="1286" y="603"/>
                  </a:moveTo>
                  <a:cubicBezTo>
                    <a:pt x="1277" y="603"/>
                    <a:pt x="1292" y="591"/>
                    <a:pt x="1284" y="592"/>
                  </a:cubicBezTo>
                  <a:cubicBezTo>
                    <a:pt x="1290" y="581"/>
                    <a:pt x="1289" y="597"/>
                    <a:pt x="1286" y="603"/>
                  </a:cubicBezTo>
                  <a:close/>
                  <a:moveTo>
                    <a:pt x="1292" y="585"/>
                  </a:moveTo>
                  <a:cubicBezTo>
                    <a:pt x="1285" y="584"/>
                    <a:pt x="1286" y="572"/>
                    <a:pt x="1286" y="562"/>
                  </a:cubicBezTo>
                  <a:cubicBezTo>
                    <a:pt x="1296" y="559"/>
                    <a:pt x="1290" y="577"/>
                    <a:pt x="1292" y="585"/>
                  </a:cubicBezTo>
                  <a:close/>
                  <a:moveTo>
                    <a:pt x="1292" y="152"/>
                  </a:moveTo>
                  <a:cubicBezTo>
                    <a:pt x="1283" y="149"/>
                    <a:pt x="1317" y="141"/>
                    <a:pt x="1313" y="156"/>
                  </a:cubicBezTo>
                  <a:cubicBezTo>
                    <a:pt x="1309" y="150"/>
                    <a:pt x="1300" y="152"/>
                    <a:pt x="1292" y="152"/>
                  </a:cubicBezTo>
                  <a:close/>
                  <a:moveTo>
                    <a:pt x="1316" y="170"/>
                  </a:moveTo>
                  <a:cubicBezTo>
                    <a:pt x="1315" y="175"/>
                    <a:pt x="1313" y="178"/>
                    <a:pt x="1308" y="178"/>
                  </a:cubicBezTo>
                  <a:cubicBezTo>
                    <a:pt x="1309" y="173"/>
                    <a:pt x="1311" y="170"/>
                    <a:pt x="1316" y="170"/>
                  </a:cubicBezTo>
                  <a:close/>
                  <a:moveTo>
                    <a:pt x="1294" y="603"/>
                  </a:moveTo>
                  <a:cubicBezTo>
                    <a:pt x="1297" y="600"/>
                    <a:pt x="1297" y="595"/>
                    <a:pt x="1297" y="588"/>
                  </a:cubicBezTo>
                  <a:cubicBezTo>
                    <a:pt x="1305" y="589"/>
                    <a:pt x="1302" y="604"/>
                    <a:pt x="1294" y="603"/>
                  </a:cubicBezTo>
                  <a:close/>
                  <a:moveTo>
                    <a:pt x="1305" y="577"/>
                  </a:moveTo>
                  <a:cubicBezTo>
                    <a:pt x="1303" y="585"/>
                    <a:pt x="1304" y="585"/>
                    <a:pt x="1303" y="577"/>
                  </a:cubicBezTo>
                  <a:cubicBezTo>
                    <a:pt x="1303" y="569"/>
                    <a:pt x="1306" y="562"/>
                    <a:pt x="1308" y="555"/>
                  </a:cubicBezTo>
                  <a:cubicBezTo>
                    <a:pt x="1312" y="552"/>
                    <a:pt x="1308" y="570"/>
                    <a:pt x="1305" y="577"/>
                  </a:cubicBezTo>
                  <a:close/>
                  <a:moveTo>
                    <a:pt x="1300" y="200"/>
                  </a:moveTo>
                  <a:cubicBezTo>
                    <a:pt x="1301" y="192"/>
                    <a:pt x="1313" y="198"/>
                    <a:pt x="1319" y="196"/>
                  </a:cubicBezTo>
                  <a:cubicBezTo>
                    <a:pt x="1317" y="202"/>
                    <a:pt x="1315" y="206"/>
                    <a:pt x="1313" y="211"/>
                  </a:cubicBezTo>
                  <a:cubicBezTo>
                    <a:pt x="1306" y="211"/>
                    <a:pt x="1310" y="195"/>
                    <a:pt x="1300" y="200"/>
                  </a:cubicBezTo>
                  <a:close/>
                  <a:moveTo>
                    <a:pt x="1324" y="603"/>
                  </a:moveTo>
                  <a:cubicBezTo>
                    <a:pt x="1322" y="601"/>
                    <a:pt x="1317" y="597"/>
                    <a:pt x="1316" y="603"/>
                  </a:cubicBezTo>
                  <a:cubicBezTo>
                    <a:pt x="1313" y="602"/>
                    <a:pt x="1314" y="599"/>
                    <a:pt x="1316" y="599"/>
                  </a:cubicBezTo>
                  <a:cubicBezTo>
                    <a:pt x="1316" y="595"/>
                    <a:pt x="1315" y="593"/>
                    <a:pt x="1313" y="592"/>
                  </a:cubicBezTo>
                  <a:cubicBezTo>
                    <a:pt x="1316" y="582"/>
                    <a:pt x="1328" y="592"/>
                    <a:pt x="1324" y="603"/>
                  </a:cubicBezTo>
                  <a:close/>
                  <a:moveTo>
                    <a:pt x="1327" y="607"/>
                  </a:moveTo>
                  <a:cubicBezTo>
                    <a:pt x="1330" y="608"/>
                    <a:pt x="1329" y="614"/>
                    <a:pt x="1332" y="614"/>
                  </a:cubicBezTo>
                  <a:cubicBezTo>
                    <a:pt x="1331" y="624"/>
                    <a:pt x="1324" y="614"/>
                    <a:pt x="1327" y="607"/>
                  </a:cubicBezTo>
                  <a:close/>
                  <a:moveTo>
                    <a:pt x="1329" y="1235"/>
                  </a:moveTo>
                  <a:cubicBezTo>
                    <a:pt x="1329" y="1232"/>
                    <a:pt x="1329" y="1228"/>
                    <a:pt x="1329" y="1225"/>
                  </a:cubicBezTo>
                  <a:cubicBezTo>
                    <a:pt x="1337" y="1219"/>
                    <a:pt x="1337" y="1241"/>
                    <a:pt x="1329" y="1235"/>
                  </a:cubicBezTo>
                  <a:close/>
                  <a:moveTo>
                    <a:pt x="1329" y="555"/>
                  </a:moveTo>
                  <a:cubicBezTo>
                    <a:pt x="1329" y="551"/>
                    <a:pt x="1337" y="542"/>
                    <a:pt x="1338" y="551"/>
                  </a:cubicBezTo>
                  <a:cubicBezTo>
                    <a:pt x="1337" y="555"/>
                    <a:pt x="1339" y="555"/>
                    <a:pt x="1340" y="555"/>
                  </a:cubicBezTo>
                  <a:cubicBezTo>
                    <a:pt x="1338" y="566"/>
                    <a:pt x="1334" y="552"/>
                    <a:pt x="1329" y="555"/>
                  </a:cubicBezTo>
                  <a:close/>
                  <a:moveTo>
                    <a:pt x="1348" y="1232"/>
                  </a:moveTo>
                  <a:cubicBezTo>
                    <a:pt x="1348" y="1236"/>
                    <a:pt x="1349" y="1238"/>
                    <a:pt x="1351" y="1239"/>
                  </a:cubicBezTo>
                  <a:cubicBezTo>
                    <a:pt x="1346" y="1252"/>
                    <a:pt x="1347" y="1229"/>
                    <a:pt x="1338" y="1235"/>
                  </a:cubicBezTo>
                  <a:cubicBezTo>
                    <a:pt x="1338" y="1226"/>
                    <a:pt x="1347" y="1228"/>
                    <a:pt x="1354" y="1228"/>
                  </a:cubicBezTo>
                  <a:cubicBezTo>
                    <a:pt x="1354" y="1232"/>
                    <a:pt x="1350" y="1231"/>
                    <a:pt x="1348" y="1232"/>
                  </a:cubicBezTo>
                  <a:close/>
                  <a:moveTo>
                    <a:pt x="1628" y="326"/>
                  </a:moveTo>
                  <a:cubicBezTo>
                    <a:pt x="1627" y="327"/>
                    <a:pt x="1624" y="337"/>
                    <a:pt x="1623" y="337"/>
                  </a:cubicBezTo>
                  <a:cubicBezTo>
                    <a:pt x="1619" y="338"/>
                    <a:pt x="1619" y="324"/>
                    <a:pt x="1628" y="326"/>
                  </a:cubicBezTo>
                  <a:close/>
                  <a:moveTo>
                    <a:pt x="1628" y="1202"/>
                  </a:moveTo>
                  <a:cubicBezTo>
                    <a:pt x="1625" y="1201"/>
                    <a:pt x="1622" y="1198"/>
                    <a:pt x="1623" y="1191"/>
                  </a:cubicBezTo>
                  <a:cubicBezTo>
                    <a:pt x="1626" y="1193"/>
                    <a:pt x="1628" y="1196"/>
                    <a:pt x="1628" y="1202"/>
                  </a:cubicBezTo>
                  <a:close/>
                  <a:moveTo>
                    <a:pt x="1617" y="1235"/>
                  </a:moveTo>
                  <a:cubicBezTo>
                    <a:pt x="1611" y="1248"/>
                    <a:pt x="1604" y="1225"/>
                    <a:pt x="1617" y="1235"/>
                  </a:cubicBezTo>
                  <a:close/>
                  <a:moveTo>
                    <a:pt x="1609" y="1180"/>
                  </a:moveTo>
                  <a:cubicBezTo>
                    <a:pt x="1607" y="1179"/>
                    <a:pt x="1607" y="1182"/>
                    <a:pt x="1606" y="1184"/>
                  </a:cubicBezTo>
                  <a:cubicBezTo>
                    <a:pt x="1603" y="1183"/>
                    <a:pt x="1604" y="1177"/>
                    <a:pt x="1604" y="1173"/>
                  </a:cubicBezTo>
                  <a:cubicBezTo>
                    <a:pt x="1608" y="1171"/>
                    <a:pt x="1609" y="1176"/>
                    <a:pt x="1609" y="1180"/>
                  </a:cubicBezTo>
                  <a:close/>
                  <a:moveTo>
                    <a:pt x="1604" y="226"/>
                  </a:moveTo>
                  <a:cubicBezTo>
                    <a:pt x="1608" y="225"/>
                    <a:pt x="1608" y="247"/>
                    <a:pt x="1601" y="241"/>
                  </a:cubicBezTo>
                  <a:cubicBezTo>
                    <a:pt x="1600" y="233"/>
                    <a:pt x="1603" y="231"/>
                    <a:pt x="1604" y="226"/>
                  </a:cubicBezTo>
                  <a:close/>
                  <a:moveTo>
                    <a:pt x="1604" y="740"/>
                  </a:moveTo>
                  <a:cubicBezTo>
                    <a:pt x="1603" y="743"/>
                    <a:pt x="1605" y="743"/>
                    <a:pt x="1606" y="744"/>
                  </a:cubicBezTo>
                  <a:cubicBezTo>
                    <a:pt x="1605" y="755"/>
                    <a:pt x="1601" y="740"/>
                    <a:pt x="1596" y="744"/>
                  </a:cubicBezTo>
                  <a:cubicBezTo>
                    <a:pt x="1595" y="739"/>
                    <a:pt x="1603" y="731"/>
                    <a:pt x="1604" y="740"/>
                  </a:cubicBezTo>
                  <a:close/>
                  <a:moveTo>
                    <a:pt x="1593" y="551"/>
                  </a:moveTo>
                  <a:cubicBezTo>
                    <a:pt x="1599" y="553"/>
                    <a:pt x="1595" y="571"/>
                    <a:pt x="1593" y="574"/>
                  </a:cubicBezTo>
                  <a:cubicBezTo>
                    <a:pt x="1585" y="570"/>
                    <a:pt x="1594" y="558"/>
                    <a:pt x="1593" y="551"/>
                  </a:cubicBezTo>
                  <a:close/>
                  <a:moveTo>
                    <a:pt x="1588" y="611"/>
                  </a:moveTo>
                  <a:cubicBezTo>
                    <a:pt x="1589" y="600"/>
                    <a:pt x="1592" y="616"/>
                    <a:pt x="1596" y="614"/>
                  </a:cubicBezTo>
                  <a:cubicBezTo>
                    <a:pt x="1595" y="619"/>
                    <a:pt x="1591" y="617"/>
                    <a:pt x="1588" y="618"/>
                  </a:cubicBezTo>
                  <a:cubicBezTo>
                    <a:pt x="1587" y="615"/>
                    <a:pt x="1589" y="614"/>
                    <a:pt x="1590" y="614"/>
                  </a:cubicBezTo>
                  <a:cubicBezTo>
                    <a:pt x="1591" y="611"/>
                    <a:pt x="1589" y="611"/>
                    <a:pt x="1588" y="611"/>
                  </a:cubicBezTo>
                  <a:close/>
                  <a:moveTo>
                    <a:pt x="1593" y="636"/>
                  </a:moveTo>
                  <a:cubicBezTo>
                    <a:pt x="1593" y="639"/>
                    <a:pt x="1593" y="641"/>
                    <a:pt x="1593" y="644"/>
                  </a:cubicBezTo>
                  <a:cubicBezTo>
                    <a:pt x="1580" y="648"/>
                    <a:pt x="1588" y="624"/>
                    <a:pt x="1593" y="636"/>
                  </a:cubicBezTo>
                  <a:close/>
                  <a:moveTo>
                    <a:pt x="1580" y="577"/>
                  </a:moveTo>
                  <a:cubicBezTo>
                    <a:pt x="1581" y="567"/>
                    <a:pt x="1583" y="586"/>
                    <a:pt x="1582" y="588"/>
                  </a:cubicBezTo>
                  <a:cubicBezTo>
                    <a:pt x="1581" y="596"/>
                    <a:pt x="1577" y="591"/>
                    <a:pt x="1580" y="577"/>
                  </a:cubicBezTo>
                  <a:close/>
                  <a:moveTo>
                    <a:pt x="1577" y="263"/>
                  </a:moveTo>
                  <a:cubicBezTo>
                    <a:pt x="1575" y="274"/>
                    <a:pt x="1571" y="259"/>
                    <a:pt x="1566" y="263"/>
                  </a:cubicBezTo>
                  <a:cubicBezTo>
                    <a:pt x="1566" y="258"/>
                    <a:pt x="1566" y="252"/>
                    <a:pt x="1563" y="252"/>
                  </a:cubicBezTo>
                  <a:cubicBezTo>
                    <a:pt x="1565" y="245"/>
                    <a:pt x="1568" y="251"/>
                    <a:pt x="1569" y="252"/>
                  </a:cubicBezTo>
                  <a:cubicBezTo>
                    <a:pt x="1570" y="252"/>
                    <a:pt x="1573" y="251"/>
                    <a:pt x="1574" y="252"/>
                  </a:cubicBezTo>
                  <a:cubicBezTo>
                    <a:pt x="1574" y="252"/>
                    <a:pt x="1570" y="268"/>
                    <a:pt x="1577" y="263"/>
                  </a:cubicBezTo>
                  <a:close/>
                  <a:moveTo>
                    <a:pt x="1563" y="707"/>
                  </a:moveTo>
                  <a:cubicBezTo>
                    <a:pt x="1561" y="705"/>
                    <a:pt x="1561" y="704"/>
                    <a:pt x="1563" y="703"/>
                  </a:cubicBezTo>
                  <a:cubicBezTo>
                    <a:pt x="1564" y="703"/>
                    <a:pt x="1563" y="700"/>
                    <a:pt x="1563" y="699"/>
                  </a:cubicBezTo>
                  <a:cubicBezTo>
                    <a:pt x="1566" y="696"/>
                    <a:pt x="1570" y="704"/>
                    <a:pt x="1569" y="707"/>
                  </a:cubicBezTo>
                  <a:cubicBezTo>
                    <a:pt x="1567" y="710"/>
                    <a:pt x="1566" y="703"/>
                    <a:pt x="1566" y="703"/>
                  </a:cubicBezTo>
                  <a:cubicBezTo>
                    <a:pt x="1565" y="703"/>
                    <a:pt x="1562" y="706"/>
                    <a:pt x="1563" y="707"/>
                  </a:cubicBezTo>
                  <a:close/>
                  <a:moveTo>
                    <a:pt x="1566" y="640"/>
                  </a:moveTo>
                  <a:cubicBezTo>
                    <a:pt x="1564" y="640"/>
                    <a:pt x="1562" y="635"/>
                    <a:pt x="1558" y="636"/>
                  </a:cubicBezTo>
                  <a:cubicBezTo>
                    <a:pt x="1561" y="630"/>
                    <a:pt x="1569" y="630"/>
                    <a:pt x="1571" y="633"/>
                  </a:cubicBezTo>
                  <a:cubicBezTo>
                    <a:pt x="1573" y="634"/>
                    <a:pt x="1567" y="640"/>
                    <a:pt x="1566" y="640"/>
                  </a:cubicBezTo>
                  <a:close/>
                  <a:moveTo>
                    <a:pt x="1561" y="618"/>
                  </a:moveTo>
                  <a:cubicBezTo>
                    <a:pt x="1569" y="604"/>
                    <a:pt x="1570" y="629"/>
                    <a:pt x="1561" y="618"/>
                  </a:cubicBezTo>
                  <a:close/>
                  <a:moveTo>
                    <a:pt x="1569" y="599"/>
                  </a:moveTo>
                  <a:cubicBezTo>
                    <a:pt x="1569" y="594"/>
                    <a:pt x="1569" y="589"/>
                    <a:pt x="1566" y="588"/>
                  </a:cubicBezTo>
                  <a:cubicBezTo>
                    <a:pt x="1566" y="585"/>
                    <a:pt x="1567" y="585"/>
                    <a:pt x="1569" y="585"/>
                  </a:cubicBezTo>
                  <a:cubicBezTo>
                    <a:pt x="1571" y="585"/>
                    <a:pt x="1572" y="585"/>
                    <a:pt x="1574" y="585"/>
                  </a:cubicBezTo>
                  <a:cubicBezTo>
                    <a:pt x="1571" y="596"/>
                    <a:pt x="1573" y="594"/>
                    <a:pt x="1577" y="603"/>
                  </a:cubicBezTo>
                  <a:cubicBezTo>
                    <a:pt x="1574" y="616"/>
                    <a:pt x="1576" y="593"/>
                    <a:pt x="1569" y="599"/>
                  </a:cubicBezTo>
                  <a:close/>
                  <a:moveTo>
                    <a:pt x="1539" y="196"/>
                  </a:moveTo>
                  <a:cubicBezTo>
                    <a:pt x="1546" y="192"/>
                    <a:pt x="1550" y="207"/>
                    <a:pt x="1553" y="196"/>
                  </a:cubicBezTo>
                  <a:cubicBezTo>
                    <a:pt x="1556" y="198"/>
                    <a:pt x="1553" y="203"/>
                    <a:pt x="1550" y="204"/>
                  </a:cubicBezTo>
                  <a:cubicBezTo>
                    <a:pt x="1555" y="217"/>
                    <a:pt x="1557" y="197"/>
                    <a:pt x="1563" y="200"/>
                  </a:cubicBezTo>
                  <a:cubicBezTo>
                    <a:pt x="1561" y="203"/>
                    <a:pt x="1560" y="208"/>
                    <a:pt x="1561" y="215"/>
                  </a:cubicBezTo>
                  <a:cubicBezTo>
                    <a:pt x="1551" y="218"/>
                    <a:pt x="1548" y="211"/>
                    <a:pt x="1547" y="200"/>
                  </a:cubicBezTo>
                  <a:cubicBezTo>
                    <a:pt x="1537" y="195"/>
                    <a:pt x="1547" y="217"/>
                    <a:pt x="1536" y="211"/>
                  </a:cubicBezTo>
                  <a:cubicBezTo>
                    <a:pt x="1539" y="208"/>
                    <a:pt x="1539" y="203"/>
                    <a:pt x="1539" y="196"/>
                  </a:cubicBezTo>
                  <a:close/>
                  <a:moveTo>
                    <a:pt x="1571" y="222"/>
                  </a:moveTo>
                  <a:cubicBezTo>
                    <a:pt x="1571" y="227"/>
                    <a:pt x="1571" y="233"/>
                    <a:pt x="1574" y="233"/>
                  </a:cubicBezTo>
                  <a:cubicBezTo>
                    <a:pt x="1574" y="237"/>
                    <a:pt x="1571" y="236"/>
                    <a:pt x="1569" y="237"/>
                  </a:cubicBezTo>
                  <a:cubicBezTo>
                    <a:pt x="1566" y="239"/>
                    <a:pt x="1567" y="230"/>
                    <a:pt x="1566" y="230"/>
                  </a:cubicBezTo>
                  <a:cubicBezTo>
                    <a:pt x="1562" y="229"/>
                    <a:pt x="1558" y="234"/>
                    <a:pt x="1553" y="233"/>
                  </a:cubicBezTo>
                  <a:cubicBezTo>
                    <a:pt x="1553" y="233"/>
                    <a:pt x="1552" y="230"/>
                    <a:pt x="1550" y="230"/>
                  </a:cubicBezTo>
                  <a:cubicBezTo>
                    <a:pt x="1546" y="229"/>
                    <a:pt x="1537" y="229"/>
                    <a:pt x="1536" y="218"/>
                  </a:cubicBezTo>
                  <a:cubicBezTo>
                    <a:pt x="1548" y="219"/>
                    <a:pt x="1557" y="224"/>
                    <a:pt x="1571" y="222"/>
                  </a:cubicBezTo>
                  <a:close/>
                  <a:moveTo>
                    <a:pt x="1550" y="1221"/>
                  </a:moveTo>
                  <a:cubicBezTo>
                    <a:pt x="1554" y="1221"/>
                    <a:pt x="1551" y="1232"/>
                    <a:pt x="1555" y="1232"/>
                  </a:cubicBezTo>
                  <a:cubicBezTo>
                    <a:pt x="1554" y="1243"/>
                    <a:pt x="1550" y="1228"/>
                    <a:pt x="1545" y="1232"/>
                  </a:cubicBezTo>
                  <a:cubicBezTo>
                    <a:pt x="1545" y="1226"/>
                    <a:pt x="1545" y="1220"/>
                    <a:pt x="1545" y="1213"/>
                  </a:cubicBezTo>
                  <a:cubicBezTo>
                    <a:pt x="1548" y="1214"/>
                    <a:pt x="1546" y="1220"/>
                    <a:pt x="1550" y="1221"/>
                  </a:cubicBezTo>
                  <a:close/>
                  <a:moveTo>
                    <a:pt x="1528" y="200"/>
                  </a:moveTo>
                  <a:cubicBezTo>
                    <a:pt x="1523" y="202"/>
                    <a:pt x="1523" y="195"/>
                    <a:pt x="1523" y="189"/>
                  </a:cubicBezTo>
                  <a:cubicBezTo>
                    <a:pt x="1520" y="188"/>
                    <a:pt x="1518" y="190"/>
                    <a:pt x="1518" y="193"/>
                  </a:cubicBezTo>
                  <a:cubicBezTo>
                    <a:pt x="1508" y="182"/>
                    <a:pt x="1535" y="183"/>
                    <a:pt x="1528" y="200"/>
                  </a:cubicBezTo>
                  <a:close/>
                  <a:moveTo>
                    <a:pt x="1523" y="259"/>
                  </a:moveTo>
                  <a:cubicBezTo>
                    <a:pt x="1521" y="265"/>
                    <a:pt x="1519" y="271"/>
                    <a:pt x="1512" y="270"/>
                  </a:cubicBezTo>
                  <a:cubicBezTo>
                    <a:pt x="1514" y="263"/>
                    <a:pt x="1513" y="250"/>
                    <a:pt x="1523" y="259"/>
                  </a:cubicBezTo>
                  <a:close/>
                  <a:moveTo>
                    <a:pt x="1483" y="174"/>
                  </a:moveTo>
                  <a:cubicBezTo>
                    <a:pt x="1485" y="174"/>
                    <a:pt x="1486" y="174"/>
                    <a:pt x="1488" y="174"/>
                  </a:cubicBezTo>
                  <a:cubicBezTo>
                    <a:pt x="1489" y="185"/>
                    <a:pt x="1468" y="173"/>
                    <a:pt x="1483" y="174"/>
                  </a:cubicBezTo>
                  <a:close/>
                  <a:moveTo>
                    <a:pt x="1464" y="163"/>
                  </a:moveTo>
                  <a:cubicBezTo>
                    <a:pt x="1464" y="170"/>
                    <a:pt x="1467" y="171"/>
                    <a:pt x="1467" y="178"/>
                  </a:cubicBezTo>
                  <a:cubicBezTo>
                    <a:pt x="1463" y="178"/>
                    <a:pt x="1459" y="178"/>
                    <a:pt x="1456" y="178"/>
                  </a:cubicBezTo>
                  <a:cubicBezTo>
                    <a:pt x="1451" y="171"/>
                    <a:pt x="1460" y="165"/>
                    <a:pt x="1448" y="167"/>
                  </a:cubicBezTo>
                  <a:cubicBezTo>
                    <a:pt x="1440" y="161"/>
                    <a:pt x="1459" y="163"/>
                    <a:pt x="1464" y="163"/>
                  </a:cubicBezTo>
                  <a:close/>
                  <a:moveTo>
                    <a:pt x="1464" y="662"/>
                  </a:moveTo>
                  <a:cubicBezTo>
                    <a:pt x="1467" y="663"/>
                    <a:pt x="1466" y="670"/>
                    <a:pt x="1469" y="670"/>
                  </a:cubicBezTo>
                  <a:cubicBezTo>
                    <a:pt x="1470" y="673"/>
                    <a:pt x="1468" y="673"/>
                    <a:pt x="1467" y="673"/>
                  </a:cubicBezTo>
                  <a:cubicBezTo>
                    <a:pt x="1463" y="681"/>
                    <a:pt x="1467" y="670"/>
                    <a:pt x="1464" y="662"/>
                  </a:cubicBezTo>
                  <a:close/>
                  <a:moveTo>
                    <a:pt x="1445" y="562"/>
                  </a:moveTo>
                  <a:cubicBezTo>
                    <a:pt x="1444" y="561"/>
                    <a:pt x="1442" y="558"/>
                    <a:pt x="1445" y="562"/>
                  </a:cubicBezTo>
                  <a:cubicBezTo>
                    <a:pt x="1452" y="568"/>
                    <a:pt x="1449" y="572"/>
                    <a:pt x="1445" y="585"/>
                  </a:cubicBezTo>
                  <a:cubicBezTo>
                    <a:pt x="1442" y="584"/>
                    <a:pt x="1444" y="581"/>
                    <a:pt x="1445" y="581"/>
                  </a:cubicBezTo>
                  <a:cubicBezTo>
                    <a:pt x="1443" y="574"/>
                    <a:pt x="1440" y="580"/>
                    <a:pt x="1437" y="581"/>
                  </a:cubicBezTo>
                  <a:cubicBezTo>
                    <a:pt x="1431" y="589"/>
                    <a:pt x="1442" y="569"/>
                    <a:pt x="1448" y="570"/>
                  </a:cubicBezTo>
                  <a:cubicBezTo>
                    <a:pt x="1447" y="567"/>
                    <a:pt x="1445" y="566"/>
                    <a:pt x="1445" y="562"/>
                  </a:cubicBezTo>
                  <a:close/>
                  <a:moveTo>
                    <a:pt x="1442" y="1180"/>
                  </a:moveTo>
                  <a:cubicBezTo>
                    <a:pt x="1447" y="1185"/>
                    <a:pt x="1447" y="1195"/>
                    <a:pt x="1445" y="1199"/>
                  </a:cubicBezTo>
                  <a:cubicBezTo>
                    <a:pt x="1445" y="1199"/>
                    <a:pt x="1437" y="1189"/>
                    <a:pt x="1442" y="1180"/>
                  </a:cubicBezTo>
                  <a:close/>
                  <a:moveTo>
                    <a:pt x="1445" y="1228"/>
                  </a:moveTo>
                  <a:cubicBezTo>
                    <a:pt x="1443" y="1227"/>
                    <a:pt x="1443" y="1230"/>
                    <a:pt x="1442" y="1232"/>
                  </a:cubicBezTo>
                  <a:cubicBezTo>
                    <a:pt x="1439" y="1231"/>
                    <a:pt x="1440" y="1225"/>
                    <a:pt x="1440" y="1221"/>
                  </a:cubicBezTo>
                  <a:cubicBezTo>
                    <a:pt x="1444" y="1219"/>
                    <a:pt x="1445" y="1224"/>
                    <a:pt x="1445" y="1228"/>
                  </a:cubicBezTo>
                  <a:close/>
                  <a:moveTo>
                    <a:pt x="1440" y="644"/>
                  </a:moveTo>
                  <a:cubicBezTo>
                    <a:pt x="1444" y="637"/>
                    <a:pt x="1450" y="638"/>
                    <a:pt x="1453" y="640"/>
                  </a:cubicBezTo>
                  <a:cubicBezTo>
                    <a:pt x="1454" y="641"/>
                    <a:pt x="1447" y="651"/>
                    <a:pt x="1440" y="644"/>
                  </a:cubicBezTo>
                  <a:close/>
                  <a:moveTo>
                    <a:pt x="1450" y="270"/>
                  </a:moveTo>
                  <a:cubicBezTo>
                    <a:pt x="1449" y="259"/>
                    <a:pt x="1453" y="257"/>
                    <a:pt x="1453" y="248"/>
                  </a:cubicBezTo>
                  <a:cubicBezTo>
                    <a:pt x="1463" y="245"/>
                    <a:pt x="1456" y="258"/>
                    <a:pt x="1453" y="259"/>
                  </a:cubicBezTo>
                  <a:cubicBezTo>
                    <a:pt x="1455" y="267"/>
                    <a:pt x="1451" y="288"/>
                    <a:pt x="1450" y="270"/>
                  </a:cubicBezTo>
                  <a:close/>
                  <a:moveTo>
                    <a:pt x="1448" y="1210"/>
                  </a:moveTo>
                  <a:cubicBezTo>
                    <a:pt x="1452" y="1209"/>
                    <a:pt x="1452" y="1213"/>
                    <a:pt x="1456" y="1213"/>
                  </a:cubicBezTo>
                  <a:cubicBezTo>
                    <a:pt x="1457" y="1221"/>
                    <a:pt x="1444" y="1219"/>
                    <a:pt x="1448" y="1210"/>
                  </a:cubicBezTo>
                  <a:close/>
                  <a:moveTo>
                    <a:pt x="1450" y="1195"/>
                  </a:moveTo>
                  <a:cubicBezTo>
                    <a:pt x="1450" y="1190"/>
                    <a:pt x="1450" y="1185"/>
                    <a:pt x="1450" y="1180"/>
                  </a:cubicBezTo>
                  <a:cubicBezTo>
                    <a:pt x="1458" y="1173"/>
                    <a:pt x="1456" y="1196"/>
                    <a:pt x="1458" y="1184"/>
                  </a:cubicBezTo>
                  <a:cubicBezTo>
                    <a:pt x="1466" y="1188"/>
                    <a:pt x="1455" y="1196"/>
                    <a:pt x="1450" y="1195"/>
                  </a:cubicBezTo>
                  <a:close/>
                  <a:moveTo>
                    <a:pt x="1418" y="170"/>
                  </a:moveTo>
                  <a:cubicBezTo>
                    <a:pt x="1422" y="178"/>
                    <a:pt x="1402" y="180"/>
                    <a:pt x="1402" y="167"/>
                  </a:cubicBezTo>
                  <a:cubicBezTo>
                    <a:pt x="1405" y="171"/>
                    <a:pt x="1412" y="171"/>
                    <a:pt x="1418" y="170"/>
                  </a:cubicBezTo>
                  <a:close/>
                  <a:moveTo>
                    <a:pt x="1402" y="204"/>
                  </a:moveTo>
                  <a:cubicBezTo>
                    <a:pt x="1406" y="204"/>
                    <a:pt x="1409" y="204"/>
                    <a:pt x="1413" y="204"/>
                  </a:cubicBezTo>
                  <a:cubicBezTo>
                    <a:pt x="1413" y="213"/>
                    <a:pt x="1409" y="215"/>
                    <a:pt x="1407" y="222"/>
                  </a:cubicBezTo>
                  <a:cubicBezTo>
                    <a:pt x="1403" y="219"/>
                    <a:pt x="1402" y="213"/>
                    <a:pt x="1402" y="204"/>
                  </a:cubicBezTo>
                  <a:close/>
                  <a:moveTo>
                    <a:pt x="1413" y="566"/>
                  </a:moveTo>
                  <a:cubicBezTo>
                    <a:pt x="1404" y="581"/>
                    <a:pt x="1403" y="555"/>
                    <a:pt x="1405" y="544"/>
                  </a:cubicBezTo>
                  <a:cubicBezTo>
                    <a:pt x="1408" y="545"/>
                    <a:pt x="1410" y="543"/>
                    <a:pt x="1410" y="540"/>
                  </a:cubicBezTo>
                  <a:cubicBezTo>
                    <a:pt x="1420" y="544"/>
                    <a:pt x="1397" y="565"/>
                    <a:pt x="1413" y="566"/>
                  </a:cubicBezTo>
                  <a:close/>
                  <a:moveTo>
                    <a:pt x="1378" y="207"/>
                  </a:moveTo>
                  <a:cubicBezTo>
                    <a:pt x="1381" y="202"/>
                    <a:pt x="1389" y="204"/>
                    <a:pt x="1397" y="204"/>
                  </a:cubicBezTo>
                  <a:cubicBezTo>
                    <a:pt x="1389" y="213"/>
                    <a:pt x="1403" y="208"/>
                    <a:pt x="1399" y="222"/>
                  </a:cubicBezTo>
                  <a:cubicBezTo>
                    <a:pt x="1397" y="222"/>
                    <a:pt x="1397" y="218"/>
                    <a:pt x="1397" y="215"/>
                  </a:cubicBezTo>
                  <a:cubicBezTo>
                    <a:pt x="1393" y="220"/>
                    <a:pt x="1385" y="218"/>
                    <a:pt x="1378" y="218"/>
                  </a:cubicBezTo>
                  <a:cubicBezTo>
                    <a:pt x="1378" y="215"/>
                    <a:pt x="1378" y="211"/>
                    <a:pt x="1378" y="207"/>
                  </a:cubicBezTo>
                  <a:close/>
                  <a:moveTo>
                    <a:pt x="1359" y="562"/>
                  </a:moveTo>
                  <a:cubicBezTo>
                    <a:pt x="1365" y="561"/>
                    <a:pt x="1364" y="568"/>
                    <a:pt x="1364" y="574"/>
                  </a:cubicBezTo>
                  <a:cubicBezTo>
                    <a:pt x="1362" y="573"/>
                    <a:pt x="1362" y="570"/>
                    <a:pt x="1359" y="570"/>
                  </a:cubicBezTo>
                  <a:cubicBezTo>
                    <a:pt x="1359" y="567"/>
                    <a:pt x="1359" y="565"/>
                    <a:pt x="1359" y="562"/>
                  </a:cubicBezTo>
                  <a:close/>
                  <a:moveTo>
                    <a:pt x="1373" y="618"/>
                  </a:moveTo>
                  <a:cubicBezTo>
                    <a:pt x="1367" y="622"/>
                    <a:pt x="1377" y="595"/>
                    <a:pt x="1370" y="607"/>
                  </a:cubicBezTo>
                  <a:cubicBezTo>
                    <a:pt x="1367" y="607"/>
                    <a:pt x="1368" y="602"/>
                    <a:pt x="1367" y="599"/>
                  </a:cubicBezTo>
                  <a:cubicBezTo>
                    <a:pt x="1369" y="600"/>
                    <a:pt x="1370" y="598"/>
                    <a:pt x="1370" y="596"/>
                  </a:cubicBezTo>
                  <a:cubicBezTo>
                    <a:pt x="1375" y="599"/>
                    <a:pt x="1377" y="612"/>
                    <a:pt x="1373" y="618"/>
                  </a:cubicBezTo>
                  <a:close/>
                  <a:moveTo>
                    <a:pt x="1375" y="629"/>
                  </a:moveTo>
                  <a:cubicBezTo>
                    <a:pt x="1375" y="631"/>
                    <a:pt x="1375" y="634"/>
                    <a:pt x="1375" y="636"/>
                  </a:cubicBezTo>
                  <a:cubicBezTo>
                    <a:pt x="1373" y="636"/>
                    <a:pt x="1372" y="636"/>
                    <a:pt x="1370" y="636"/>
                  </a:cubicBezTo>
                  <a:cubicBezTo>
                    <a:pt x="1370" y="634"/>
                    <a:pt x="1370" y="631"/>
                    <a:pt x="1370" y="629"/>
                  </a:cubicBezTo>
                  <a:cubicBezTo>
                    <a:pt x="1372" y="629"/>
                    <a:pt x="1373" y="629"/>
                    <a:pt x="1375" y="629"/>
                  </a:cubicBezTo>
                  <a:close/>
                  <a:moveTo>
                    <a:pt x="1370" y="1235"/>
                  </a:moveTo>
                  <a:cubicBezTo>
                    <a:pt x="1366" y="1232"/>
                    <a:pt x="1359" y="1233"/>
                    <a:pt x="1362" y="1221"/>
                  </a:cubicBezTo>
                  <a:cubicBezTo>
                    <a:pt x="1364" y="1220"/>
                    <a:pt x="1364" y="1222"/>
                    <a:pt x="1364" y="1225"/>
                  </a:cubicBezTo>
                  <a:cubicBezTo>
                    <a:pt x="1366" y="1228"/>
                    <a:pt x="1371" y="1228"/>
                    <a:pt x="1370" y="1235"/>
                  </a:cubicBezTo>
                  <a:close/>
                  <a:moveTo>
                    <a:pt x="1356" y="1280"/>
                  </a:moveTo>
                  <a:cubicBezTo>
                    <a:pt x="1359" y="1275"/>
                    <a:pt x="1364" y="1273"/>
                    <a:pt x="1364" y="1265"/>
                  </a:cubicBezTo>
                  <a:cubicBezTo>
                    <a:pt x="1371" y="1264"/>
                    <a:pt x="1366" y="1279"/>
                    <a:pt x="1375" y="1276"/>
                  </a:cubicBezTo>
                  <a:cubicBezTo>
                    <a:pt x="1374" y="1285"/>
                    <a:pt x="1362" y="1278"/>
                    <a:pt x="1356" y="1280"/>
                  </a:cubicBezTo>
                  <a:close/>
                  <a:moveTo>
                    <a:pt x="1375" y="1239"/>
                  </a:moveTo>
                  <a:cubicBezTo>
                    <a:pt x="1370" y="1237"/>
                    <a:pt x="1375" y="1233"/>
                    <a:pt x="1375" y="1228"/>
                  </a:cubicBezTo>
                  <a:cubicBezTo>
                    <a:pt x="1380" y="1231"/>
                    <a:pt x="1376" y="1235"/>
                    <a:pt x="1375" y="1239"/>
                  </a:cubicBezTo>
                  <a:close/>
                  <a:moveTo>
                    <a:pt x="1378" y="255"/>
                  </a:moveTo>
                  <a:cubicBezTo>
                    <a:pt x="1369" y="255"/>
                    <a:pt x="1362" y="253"/>
                    <a:pt x="1362" y="241"/>
                  </a:cubicBezTo>
                  <a:cubicBezTo>
                    <a:pt x="1364" y="244"/>
                    <a:pt x="1379" y="249"/>
                    <a:pt x="1380" y="241"/>
                  </a:cubicBezTo>
                  <a:cubicBezTo>
                    <a:pt x="1392" y="245"/>
                    <a:pt x="1369" y="251"/>
                    <a:pt x="1380" y="255"/>
                  </a:cubicBezTo>
                  <a:cubicBezTo>
                    <a:pt x="1380" y="260"/>
                    <a:pt x="1378" y="258"/>
                    <a:pt x="1378" y="255"/>
                  </a:cubicBezTo>
                  <a:close/>
                  <a:moveTo>
                    <a:pt x="1383" y="562"/>
                  </a:moveTo>
                  <a:cubicBezTo>
                    <a:pt x="1380" y="587"/>
                    <a:pt x="1377" y="524"/>
                    <a:pt x="1383" y="562"/>
                  </a:cubicBezTo>
                  <a:close/>
                  <a:moveTo>
                    <a:pt x="1389" y="267"/>
                  </a:moveTo>
                  <a:cubicBezTo>
                    <a:pt x="1379" y="257"/>
                    <a:pt x="1398" y="256"/>
                    <a:pt x="1389" y="248"/>
                  </a:cubicBezTo>
                  <a:cubicBezTo>
                    <a:pt x="1391" y="242"/>
                    <a:pt x="1400" y="244"/>
                    <a:pt x="1405" y="241"/>
                  </a:cubicBezTo>
                  <a:cubicBezTo>
                    <a:pt x="1407" y="244"/>
                    <a:pt x="1406" y="251"/>
                    <a:pt x="1410" y="252"/>
                  </a:cubicBezTo>
                  <a:cubicBezTo>
                    <a:pt x="1409" y="256"/>
                    <a:pt x="1405" y="255"/>
                    <a:pt x="1405" y="252"/>
                  </a:cubicBezTo>
                  <a:cubicBezTo>
                    <a:pt x="1401" y="251"/>
                    <a:pt x="1404" y="261"/>
                    <a:pt x="1402" y="263"/>
                  </a:cubicBezTo>
                  <a:cubicBezTo>
                    <a:pt x="1400" y="266"/>
                    <a:pt x="1391" y="254"/>
                    <a:pt x="1391" y="267"/>
                  </a:cubicBezTo>
                  <a:cubicBezTo>
                    <a:pt x="1396" y="273"/>
                    <a:pt x="1401" y="265"/>
                    <a:pt x="1407" y="274"/>
                  </a:cubicBezTo>
                  <a:cubicBezTo>
                    <a:pt x="1407" y="278"/>
                    <a:pt x="1402" y="277"/>
                    <a:pt x="1402" y="281"/>
                  </a:cubicBezTo>
                  <a:cubicBezTo>
                    <a:pt x="1396" y="270"/>
                    <a:pt x="1400" y="280"/>
                    <a:pt x="1391" y="281"/>
                  </a:cubicBezTo>
                  <a:cubicBezTo>
                    <a:pt x="1399" y="273"/>
                    <a:pt x="1384" y="264"/>
                    <a:pt x="1383" y="278"/>
                  </a:cubicBezTo>
                  <a:cubicBezTo>
                    <a:pt x="1375" y="274"/>
                    <a:pt x="1386" y="268"/>
                    <a:pt x="1389" y="267"/>
                  </a:cubicBezTo>
                  <a:close/>
                  <a:moveTo>
                    <a:pt x="1389" y="555"/>
                  </a:moveTo>
                  <a:cubicBezTo>
                    <a:pt x="1390" y="550"/>
                    <a:pt x="1394" y="548"/>
                    <a:pt x="1399" y="548"/>
                  </a:cubicBezTo>
                  <a:cubicBezTo>
                    <a:pt x="1397" y="554"/>
                    <a:pt x="1393" y="562"/>
                    <a:pt x="1389" y="555"/>
                  </a:cubicBezTo>
                  <a:close/>
                  <a:moveTo>
                    <a:pt x="1399" y="577"/>
                  </a:moveTo>
                  <a:cubicBezTo>
                    <a:pt x="1396" y="576"/>
                    <a:pt x="1394" y="573"/>
                    <a:pt x="1394" y="566"/>
                  </a:cubicBezTo>
                  <a:cubicBezTo>
                    <a:pt x="1397" y="568"/>
                    <a:pt x="1399" y="571"/>
                    <a:pt x="1399" y="577"/>
                  </a:cubicBezTo>
                  <a:close/>
                  <a:moveTo>
                    <a:pt x="1389" y="1280"/>
                  </a:moveTo>
                  <a:cubicBezTo>
                    <a:pt x="1390" y="1280"/>
                    <a:pt x="1392" y="1280"/>
                    <a:pt x="1394" y="1280"/>
                  </a:cubicBezTo>
                  <a:cubicBezTo>
                    <a:pt x="1395" y="1290"/>
                    <a:pt x="1374" y="1279"/>
                    <a:pt x="1389" y="1280"/>
                  </a:cubicBezTo>
                  <a:close/>
                  <a:moveTo>
                    <a:pt x="1394" y="1250"/>
                  </a:moveTo>
                  <a:cubicBezTo>
                    <a:pt x="1391" y="1248"/>
                    <a:pt x="1391" y="1242"/>
                    <a:pt x="1386" y="1243"/>
                  </a:cubicBezTo>
                  <a:cubicBezTo>
                    <a:pt x="1388" y="1240"/>
                    <a:pt x="1390" y="1233"/>
                    <a:pt x="1386" y="1232"/>
                  </a:cubicBezTo>
                  <a:cubicBezTo>
                    <a:pt x="1387" y="1227"/>
                    <a:pt x="1394" y="1231"/>
                    <a:pt x="1394" y="1225"/>
                  </a:cubicBezTo>
                  <a:cubicBezTo>
                    <a:pt x="1400" y="1223"/>
                    <a:pt x="1397" y="1235"/>
                    <a:pt x="1402" y="1235"/>
                  </a:cubicBezTo>
                  <a:cubicBezTo>
                    <a:pt x="1401" y="1243"/>
                    <a:pt x="1390" y="1236"/>
                    <a:pt x="1394" y="1250"/>
                  </a:cubicBezTo>
                  <a:close/>
                  <a:moveTo>
                    <a:pt x="1402" y="577"/>
                  </a:moveTo>
                  <a:cubicBezTo>
                    <a:pt x="1404" y="567"/>
                    <a:pt x="1406" y="583"/>
                    <a:pt x="1410" y="581"/>
                  </a:cubicBezTo>
                  <a:cubicBezTo>
                    <a:pt x="1407" y="593"/>
                    <a:pt x="1405" y="577"/>
                    <a:pt x="1402" y="577"/>
                  </a:cubicBezTo>
                  <a:close/>
                  <a:moveTo>
                    <a:pt x="1405" y="1306"/>
                  </a:moveTo>
                  <a:cubicBezTo>
                    <a:pt x="1405" y="1297"/>
                    <a:pt x="1414" y="1305"/>
                    <a:pt x="1415" y="1306"/>
                  </a:cubicBezTo>
                  <a:cubicBezTo>
                    <a:pt x="1415" y="1315"/>
                    <a:pt x="1406" y="1307"/>
                    <a:pt x="1405" y="1306"/>
                  </a:cubicBezTo>
                  <a:close/>
                  <a:moveTo>
                    <a:pt x="1426" y="1247"/>
                  </a:moveTo>
                  <a:cubicBezTo>
                    <a:pt x="1422" y="1245"/>
                    <a:pt x="1424" y="1235"/>
                    <a:pt x="1415" y="1239"/>
                  </a:cubicBezTo>
                  <a:cubicBezTo>
                    <a:pt x="1415" y="1234"/>
                    <a:pt x="1415" y="1229"/>
                    <a:pt x="1415" y="1225"/>
                  </a:cubicBezTo>
                  <a:cubicBezTo>
                    <a:pt x="1421" y="1226"/>
                    <a:pt x="1420" y="1235"/>
                    <a:pt x="1429" y="1232"/>
                  </a:cubicBezTo>
                  <a:cubicBezTo>
                    <a:pt x="1430" y="1240"/>
                    <a:pt x="1427" y="1242"/>
                    <a:pt x="1426" y="1247"/>
                  </a:cubicBezTo>
                  <a:close/>
                  <a:moveTo>
                    <a:pt x="1421" y="1180"/>
                  </a:moveTo>
                  <a:cubicBezTo>
                    <a:pt x="1421" y="1183"/>
                    <a:pt x="1421" y="1185"/>
                    <a:pt x="1421" y="1187"/>
                  </a:cubicBezTo>
                  <a:cubicBezTo>
                    <a:pt x="1419" y="1187"/>
                    <a:pt x="1417" y="1187"/>
                    <a:pt x="1415" y="1187"/>
                  </a:cubicBezTo>
                  <a:cubicBezTo>
                    <a:pt x="1415" y="1185"/>
                    <a:pt x="1415" y="1183"/>
                    <a:pt x="1415" y="1180"/>
                  </a:cubicBezTo>
                  <a:cubicBezTo>
                    <a:pt x="1417" y="1180"/>
                    <a:pt x="1419" y="1180"/>
                    <a:pt x="1421" y="1180"/>
                  </a:cubicBezTo>
                  <a:close/>
                  <a:moveTo>
                    <a:pt x="1424" y="244"/>
                  </a:moveTo>
                  <a:cubicBezTo>
                    <a:pt x="1425" y="252"/>
                    <a:pt x="1422" y="254"/>
                    <a:pt x="1421" y="259"/>
                  </a:cubicBezTo>
                  <a:cubicBezTo>
                    <a:pt x="1413" y="259"/>
                    <a:pt x="1414" y="242"/>
                    <a:pt x="1424" y="244"/>
                  </a:cubicBezTo>
                  <a:close/>
                  <a:moveTo>
                    <a:pt x="1424" y="1180"/>
                  </a:moveTo>
                  <a:cubicBezTo>
                    <a:pt x="1424" y="1176"/>
                    <a:pt x="1424" y="1173"/>
                    <a:pt x="1424" y="1169"/>
                  </a:cubicBezTo>
                  <a:cubicBezTo>
                    <a:pt x="1431" y="1164"/>
                    <a:pt x="1431" y="1185"/>
                    <a:pt x="1424" y="1180"/>
                  </a:cubicBezTo>
                  <a:close/>
                  <a:moveTo>
                    <a:pt x="1421" y="289"/>
                  </a:moveTo>
                  <a:cubicBezTo>
                    <a:pt x="1420" y="282"/>
                    <a:pt x="1427" y="284"/>
                    <a:pt x="1429" y="281"/>
                  </a:cubicBezTo>
                  <a:cubicBezTo>
                    <a:pt x="1435" y="273"/>
                    <a:pt x="1430" y="288"/>
                    <a:pt x="1421" y="289"/>
                  </a:cubicBezTo>
                  <a:close/>
                  <a:moveTo>
                    <a:pt x="1421" y="270"/>
                  </a:moveTo>
                  <a:cubicBezTo>
                    <a:pt x="1423" y="267"/>
                    <a:pt x="1424" y="262"/>
                    <a:pt x="1424" y="255"/>
                  </a:cubicBezTo>
                  <a:cubicBezTo>
                    <a:pt x="1426" y="255"/>
                    <a:pt x="1429" y="255"/>
                    <a:pt x="1432" y="255"/>
                  </a:cubicBezTo>
                  <a:cubicBezTo>
                    <a:pt x="1428" y="261"/>
                    <a:pt x="1429" y="272"/>
                    <a:pt x="1421" y="270"/>
                  </a:cubicBezTo>
                  <a:close/>
                  <a:moveTo>
                    <a:pt x="1413" y="189"/>
                  </a:moveTo>
                  <a:cubicBezTo>
                    <a:pt x="1413" y="185"/>
                    <a:pt x="1416" y="186"/>
                    <a:pt x="1418" y="185"/>
                  </a:cubicBezTo>
                  <a:cubicBezTo>
                    <a:pt x="1425" y="187"/>
                    <a:pt x="1417" y="168"/>
                    <a:pt x="1426" y="174"/>
                  </a:cubicBezTo>
                  <a:cubicBezTo>
                    <a:pt x="1425" y="177"/>
                    <a:pt x="1423" y="180"/>
                    <a:pt x="1424" y="185"/>
                  </a:cubicBezTo>
                  <a:cubicBezTo>
                    <a:pt x="1436" y="183"/>
                    <a:pt x="1428" y="174"/>
                    <a:pt x="1429" y="159"/>
                  </a:cubicBezTo>
                  <a:cubicBezTo>
                    <a:pt x="1434" y="152"/>
                    <a:pt x="1434" y="162"/>
                    <a:pt x="1442" y="159"/>
                  </a:cubicBezTo>
                  <a:cubicBezTo>
                    <a:pt x="1442" y="165"/>
                    <a:pt x="1434" y="161"/>
                    <a:pt x="1434" y="167"/>
                  </a:cubicBezTo>
                  <a:cubicBezTo>
                    <a:pt x="1434" y="173"/>
                    <a:pt x="1448" y="163"/>
                    <a:pt x="1448" y="178"/>
                  </a:cubicBezTo>
                  <a:cubicBezTo>
                    <a:pt x="1444" y="182"/>
                    <a:pt x="1441" y="182"/>
                    <a:pt x="1440" y="174"/>
                  </a:cubicBezTo>
                  <a:cubicBezTo>
                    <a:pt x="1433" y="179"/>
                    <a:pt x="1431" y="182"/>
                    <a:pt x="1434" y="193"/>
                  </a:cubicBezTo>
                  <a:cubicBezTo>
                    <a:pt x="1426" y="193"/>
                    <a:pt x="1423" y="186"/>
                    <a:pt x="1413" y="189"/>
                  </a:cubicBezTo>
                  <a:close/>
                  <a:moveTo>
                    <a:pt x="1437" y="1295"/>
                  </a:moveTo>
                  <a:cubicBezTo>
                    <a:pt x="1434" y="1294"/>
                    <a:pt x="1435" y="1288"/>
                    <a:pt x="1434" y="1284"/>
                  </a:cubicBezTo>
                  <a:cubicBezTo>
                    <a:pt x="1439" y="1282"/>
                    <a:pt x="1439" y="1286"/>
                    <a:pt x="1440" y="1291"/>
                  </a:cubicBezTo>
                  <a:cubicBezTo>
                    <a:pt x="1437" y="1290"/>
                    <a:pt x="1437" y="1292"/>
                    <a:pt x="1437" y="1295"/>
                  </a:cubicBezTo>
                  <a:close/>
                  <a:moveTo>
                    <a:pt x="1445" y="1273"/>
                  </a:moveTo>
                  <a:cubicBezTo>
                    <a:pt x="1443" y="1273"/>
                    <a:pt x="1442" y="1273"/>
                    <a:pt x="1440" y="1273"/>
                  </a:cubicBezTo>
                  <a:cubicBezTo>
                    <a:pt x="1440" y="1270"/>
                    <a:pt x="1440" y="1268"/>
                    <a:pt x="1440" y="1265"/>
                  </a:cubicBezTo>
                  <a:cubicBezTo>
                    <a:pt x="1442" y="1265"/>
                    <a:pt x="1443" y="1265"/>
                    <a:pt x="1445" y="1265"/>
                  </a:cubicBezTo>
                  <a:cubicBezTo>
                    <a:pt x="1445" y="1268"/>
                    <a:pt x="1445" y="1270"/>
                    <a:pt x="1445" y="1273"/>
                  </a:cubicBezTo>
                  <a:close/>
                  <a:moveTo>
                    <a:pt x="1448" y="1254"/>
                  </a:moveTo>
                  <a:cubicBezTo>
                    <a:pt x="1444" y="1251"/>
                    <a:pt x="1439" y="1249"/>
                    <a:pt x="1440" y="1239"/>
                  </a:cubicBezTo>
                  <a:cubicBezTo>
                    <a:pt x="1444" y="1237"/>
                    <a:pt x="1454" y="1244"/>
                    <a:pt x="1453" y="1235"/>
                  </a:cubicBezTo>
                  <a:cubicBezTo>
                    <a:pt x="1451" y="1232"/>
                    <a:pt x="1447" y="1232"/>
                    <a:pt x="1448" y="1225"/>
                  </a:cubicBezTo>
                  <a:cubicBezTo>
                    <a:pt x="1450" y="1225"/>
                    <a:pt x="1453" y="1225"/>
                    <a:pt x="1456" y="1225"/>
                  </a:cubicBezTo>
                  <a:cubicBezTo>
                    <a:pt x="1452" y="1229"/>
                    <a:pt x="1454" y="1236"/>
                    <a:pt x="1458" y="1239"/>
                  </a:cubicBezTo>
                  <a:cubicBezTo>
                    <a:pt x="1460" y="1251"/>
                    <a:pt x="1445" y="1241"/>
                    <a:pt x="1448" y="1254"/>
                  </a:cubicBezTo>
                  <a:close/>
                  <a:moveTo>
                    <a:pt x="1458" y="1302"/>
                  </a:moveTo>
                  <a:cubicBezTo>
                    <a:pt x="1463" y="1294"/>
                    <a:pt x="1465" y="1305"/>
                    <a:pt x="1472" y="1298"/>
                  </a:cubicBezTo>
                  <a:cubicBezTo>
                    <a:pt x="1475" y="1312"/>
                    <a:pt x="1460" y="1305"/>
                    <a:pt x="1458" y="1302"/>
                  </a:cubicBezTo>
                  <a:close/>
                  <a:moveTo>
                    <a:pt x="1475" y="655"/>
                  </a:moveTo>
                  <a:cubicBezTo>
                    <a:pt x="1472" y="658"/>
                    <a:pt x="1470" y="652"/>
                    <a:pt x="1469" y="651"/>
                  </a:cubicBezTo>
                  <a:cubicBezTo>
                    <a:pt x="1469" y="651"/>
                    <a:pt x="1464" y="644"/>
                    <a:pt x="1467" y="640"/>
                  </a:cubicBezTo>
                  <a:cubicBezTo>
                    <a:pt x="1469" y="637"/>
                    <a:pt x="1469" y="650"/>
                    <a:pt x="1469" y="651"/>
                  </a:cubicBezTo>
                  <a:cubicBezTo>
                    <a:pt x="1469" y="651"/>
                    <a:pt x="1477" y="652"/>
                    <a:pt x="1475" y="655"/>
                  </a:cubicBezTo>
                  <a:close/>
                  <a:moveTo>
                    <a:pt x="1469" y="588"/>
                  </a:moveTo>
                  <a:cubicBezTo>
                    <a:pt x="1473" y="575"/>
                    <a:pt x="1474" y="595"/>
                    <a:pt x="1472" y="596"/>
                  </a:cubicBezTo>
                  <a:cubicBezTo>
                    <a:pt x="1470" y="596"/>
                    <a:pt x="1469" y="591"/>
                    <a:pt x="1469" y="588"/>
                  </a:cubicBezTo>
                  <a:close/>
                  <a:moveTo>
                    <a:pt x="1475" y="285"/>
                  </a:moveTo>
                  <a:cubicBezTo>
                    <a:pt x="1473" y="280"/>
                    <a:pt x="1468" y="276"/>
                    <a:pt x="1469" y="267"/>
                  </a:cubicBezTo>
                  <a:cubicBezTo>
                    <a:pt x="1472" y="267"/>
                    <a:pt x="1475" y="267"/>
                    <a:pt x="1477" y="267"/>
                  </a:cubicBezTo>
                  <a:cubicBezTo>
                    <a:pt x="1472" y="277"/>
                    <a:pt x="1483" y="284"/>
                    <a:pt x="1483" y="281"/>
                  </a:cubicBezTo>
                  <a:cubicBezTo>
                    <a:pt x="1483" y="285"/>
                    <a:pt x="1475" y="285"/>
                    <a:pt x="1477" y="292"/>
                  </a:cubicBezTo>
                  <a:cubicBezTo>
                    <a:pt x="1474" y="293"/>
                    <a:pt x="1476" y="288"/>
                    <a:pt x="1475" y="285"/>
                  </a:cubicBezTo>
                  <a:close/>
                  <a:moveTo>
                    <a:pt x="1480" y="699"/>
                  </a:moveTo>
                  <a:cubicBezTo>
                    <a:pt x="1480" y="695"/>
                    <a:pt x="1479" y="693"/>
                    <a:pt x="1477" y="692"/>
                  </a:cubicBezTo>
                  <a:cubicBezTo>
                    <a:pt x="1478" y="687"/>
                    <a:pt x="1483" y="688"/>
                    <a:pt x="1483" y="692"/>
                  </a:cubicBezTo>
                  <a:cubicBezTo>
                    <a:pt x="1485" y="693"/>
                    <a:pt x="1485" y="690"/>
                    <a:pt x="1485" y="688"/>
                  </a:cubicBezTo>
                  <a:cubicBezTo>
                    <a:pt x="1490" y="687"/>
                    <a:pt x="1486" y="703"/>
                    <a:pt x="1480" y="699"/>
                  </a:cubicBezTo>
                  <a:close/>
                  <a:moveTo>
                    <a:pt x="1493" y="1243"/>
                  </a:moveTo>
                  <a:cubicBezTo>
                    <a:pt x="1482" y="1245"/>
                    <a:pt x="1494" y="1235"/>
                    <a:pt x="1491" y="1225"/>
                  </a:cubicBezTo>
                  <a:cubicBezTo>
                    <a:pt x="1494" y="1226"/>
                    <a:pt x="1497" y="1245"/>
                    <a:pt x="1493" y="1243"/>
                  </a:cubicBezTo>
                  <a:close/>
                  <a:moveTo>
                    <a:pt x="1485" y="566"/>
                  </a:moveTo>
                  <a:cubicBezTo>
                    <a:pt x="1484" y="561"/>
                    <a:pt x="1496" y="557"/>
                    <a:pt x="1488" y="555"/>
                  </a:cubicBezTo>
                  <a:cubicBezTo>
                    <a:pt x="1499" y="541"/>
                    <a:pt x="1484" y="571"/>
                    <a:pt x="1496" y="566"/>
                  </a:cubicBezTo>
                  <a:cubicBezTo>
                    <a:pt x="1494" y="577"/>
                    <a:pt x="1490" y="563"/>
                    <a:pt x="1485" y="566"/>
                  </a:cubicBezTo>
                  <a:close/>
                  <a:moveTo>
                    <a:pt x="1491" y="182"/>
                  </a:moveTo>
                  <a:cubicBezTo>
                    <a:pt x="1491" y="179"/>
                    <a:pt x="1493" y="178"/>
                    <a:pt x="1493" y="174"/>
                  </a:cubicBezTo>
                  <a:cubicBezTo>
                    <a:pt x="1497" y="176"/>
                    <a:pt x="1499" y="179"/>
                    <a:pt x="1499" y="185"/>
                  </a:cubicBezTo>
                  <a:cubicBezTo>
                    <a:pt x="1494" y="186"/>
                    <a:pt x="1494" y="182"/>
                    <a:pt x="1491" y="182"/>
                  </a:cubicBezTo>
                  <a:close/>
                  <a:moveTo>
                    <a:pt x="1499" y="1221"/>
                  </a:moveTo>
                  <a:cubicBezTo>
                    <a:pt x="1494" y="1218"/>
                    <a:pt x="1498" y="1214"/>
                    <a:pt x="1499" y="1210"/>
                  </a:cubicBezTo>
                  <a:cubicBezTo>
                    <a:pt x="1504" y="1212"/>
                    <a:pt x="1499" y="1216"/>
                    <a:pt x="1499" y="1221"/>
                  </a:cubicBezTo>
                  <a:close/>
                  <a:moveTo>
                    <a:pt x="1496" y="170"/>
                  </a:moveTo>
                  <a:cubicBezTo>
                    <a:pt x="1495" y="165"/>
                    <a:pt x="1511" y="165"/>
                    <a:pt x="1504" y="174"/>
                  </a:cubicBezTo>
                  <a:cubicBezTo>
                    <a:pt x="1505" y="173"/>
                    <a:pt x="1496" y="170"/>
                    <a:pt x="1496" y="170"/>
                  </a:cubicBezTo>
                  <a:close/>
                  <a:moveTo>
                    <a:pt x="1504" y="651"/>
                  </a:moveTo>
                  <a:cubicBezTo>
                    <a:pt x="1506" y="648"/>
                    <a:pt x="1507" y="643"/>
                    <a:pt x="1507" y="636"/>
                  </a:cubicBezTo>
                  <a:cubicBezTo>
                    <a:pt x="1510" y="637"/>
                    <a:pt x="1512" y="636"/>
                    <a:pt x="1512" y="633"/>
                  </a:cubicBezTo>
                  <a:cubicBezTo>
                    <a:pt x="1516" y="634"/>
                    <a:pt x="1513" y="639"/>
                    <a:pt x="1510" y="640"/>
                  </a:cubicBezTo>
                  <a:cubicBezTo>
                    <a:pt x="1510" y="648"/>
                    <a:pt x="1509" y="652"/>
                    <a:pt x="1504" y="651"/>
                  </a:cubicBezTo>
                  <a:close/>
                  <a:moveTo>
                    <a:pt x="1515" y="1180"/>
                  </a:moveTo>
                  <a:cubicBezTo>
                    <a:pt x="1512" y="1178"/>
                    <a:pt x="1509" y="1175"/>
                    <a:pt x="1510" y="1169"/>
                  </a:cubicBezTo>
                  <a:cubicBezTo>
                    <a:pt x="1513" y="1171"/>
                    <a:pt x="1515" y="1174"/>
                    <a:pt x="1515" y="1180"/>
                  </a:cubicBezTo>
                  <a:close/>
                  <a:moveTo>
                    <a:pt x="1523" y="1291"/>
                  </a:moveTo>
                  <a:cubicBezTo>
                    <a:pt x="1518" y="1280"/>
                    <a:pt x="1511" y="1294"/>
                    <a:pt x="1510" y="1276"/>
                  </a:cubicBezTo>
                  <a:cubicBezTo>
                    <a:pt x="1522" y="1278"/>
                    <a:pt x="1514" y="1273"/>
                    <a:pt x="1515" y="1261"/>
                  </a:cubicBezTo>
                  <a:cubicBezTo>
                    <a:pt x="1522" y="1259"/>
                    <a:pt x="1520" y="1269"/>
                    <a:pt x="1526" y="1269"/>
                  </a:cubicBezTo>
                  <a:cubicBezTo>
                    <a:pt x="1525" y="1273"/>
                    <a:pt x="1523" y="1271"/>
                    <a:pt x="1523" y="1269"/>
                  </a:cubicBezTo>
                  <a:cubicBezTo>
                    <a:pt x="1520" y="1269"/>
                    <a:pt x="1521" y="1273"/>
                    <a:pt x="1520" y="1276"/>
                  </a:cubicBezTo>
                  <a:cubicBezTo>
                    <a:pt x="1523" y="1287"/>
                    <a:pt x="1532" y="1275"/>
                    <a:pt x="1536" y="1276"/>
                  </a:cubicBezTo>
                  <a:cubicBezTo>
                    <a:pt x="1538" y="1290"/>
                    <a:pt x="1524" y="1281"/>
                    <a:pt x="1523" y="1291"/>
                  </a:cubicBezTo>
                  <a:close/>
                  <a:moveTo>
                    <a:pt x="1534" y="230"/>
                  </a:moveTo>
                  <a:cubicBezTo>
                    <a:pt x="1536" y="230"/>
                    <a:pt x="1537" y="230"/>
                    <a:pt x="1539" y="230"/>
                  </a:cubicBezTo>
                  <a:cubicBezTo>
                    <a:pt x="1540" y="240"/>
                    <a:pt x="1519" y="229"/>
                    <a:pt x="1534" y="230"/>
                  </a:cubicBezTo>
                  <a:close/>
                  <a:moveTo>
                    <a:pt x="1553" y="1291"/>
                  </a:moveTo>
                  <a:cubicBezTo>
                    <a:pt x="1551" y="1291"/>
                    <a:pt x="1549" y="1291"/>
                    <a:pt x="1547" y="1291"/>
                  </a:cubicBezTo>
                  <a:cubicBezTo>
                    <a:pt x="1547" y="1289"/>
                    <a:pt x="1547" y="1286"/>
                    <a:pt x="1547" y="1284"/>
                  </a:cubicBezTo>
                  <a:cubicBezTo>
                    <a:pt x="1549" y="1284"/>
                    <a:pt x="1551" y="1284"/>
                    <a:pt x="1553" y="1284"/>
                  </a:cubicBezTo>
                  <a:cubicBezTo>
                    <a:pt x="1553" y="1286"/>
                    <a:pt x="1553" y="1289"/>
                    <a:pt x="1553" y="1291"/>
                  </a:cubicBezTo>
                  <a:close/>
                  <a:moveTo>
                    <a:pt x="1550" y="1276"/>
                  </a:moveTo>
                  <a:cubicBezTo>
                    <a:pt x="1548" y="1276"/>
                    <a:pt x="1547" y="1273"/>
                    <a:pt x="1545" y="1273"/>
                  </a:cubicBezTo>
                  <a:cubicBezTo>
                    <a:pt x="1545" y="1270"/>
                    <a:pt x="1547" y="1269"/>
                    <a:pt x="1547" y="1265"/>
                  </a:cubicBezTo>
                  <a:cubicBezTo>
                    <a:pt x="1549" y="1266"/>
                    <a:pt x="1550" y="1269"/>
                    <a:pt x="1553" y="1269"/>
                  </a:cubicBezTo>
                  <a:cubicBezTo>
                    <a:pt x="1552" y="1272"/>
                    <a:pt x="1550" y="1273"/>
                    <a:pt x="1550" y="1276"/>
                  </a:cubicBezTo>
                  <a:close/>
                  <a:moveTo>
                    <a:pt x="1555" y="1265"/>
                  </a:moveTo>
                  <a:cubicBezTo>
                    <a:pt x="1550" y="1266"/>
                    <a:pt x="1552" y="1257"/>
                    <a:pt x="1550" y="1254"/>
                  </a:cubicBezTo>
                  <a:cubicBezTo>
                    <a:pt x="1547" y="1251"/>
                    <a:pt x="1547" y="1254"/>
                    <a:pt x="1545" y="1250"/>
                  </a:cubicBezTo>
                  <a:cubicBezTo>
                    <a:pt x="1543" y="1247"/>
                    <a:pt x="1539" y="1246"/>
                    <a:pt x="1539" y="1239"/>
                  </a:cubicBezTo>
                  <a:cubicBezTo>
                    <a:pt x="1549" y="1240"/>
                    <a:pt x="1547" y="1243"/>
                    <a:pt x="1555" y="1239"/>
                  </a:cubicBezTo>
                  <a:cubicBezTo>
                    <a:pt x="1556" y="1250"/>
                    <a:pt x="1555" y="1252"/>
                    <a:pt x="1550" y="1247"/>
                  </a:cubicBezTo>
                  <a:cubicBezTo>
                    <a:pt x="1548" y="1258"/>
                    <a:pt x="1559" y="1251"/>
                    <a:pt x="1555" y="1265"/>
                  </a:cubicBezTo>
                  <a:close/>
                  <a:moveTo>
                    <a:pt x="1547" y="555"/>
                  </a:moveTo>
                  <a:cubicBezTo>
                    <a:pt x="1551" y="562"/>
                    <a:pt x="1556" y="568"/>
                    <a:pt x="1561" y="574"/>
                  </a:cubicBezTo>
                  <a:cubicBezTo>
                    <a:pt x="1558" y="579"/>
                    <a:pt x="1545" y="569"/>
                    <a:pt x="1547" y="555"/>
                  </a:cubicBezTo>
                  <a:close/>
                  <a:moveTo>
                    <a:pt x="1566" y="1243"/>
                  </a:moveTo>
                  <a:cubicBezTo>
                    <a:pt x="1560" y="1244"/>
                    <a:pt x="1563" y="1232"/>
                    <a:pt x="1558" y="1232"/>
                  </a:cubicBezTo>
                  <a:cubicBezTo>
                    <a:pt x="1558" y="1223"/>
                    <a:pt x="1567" y="1231"/>
                    <a:pt x="1569" y="1232"/>
                  </a:cubicBezTo>
                  <a:cubicBezTo>
                    <a:pt x="1567" y="1235"/>
                    <a:pt x="1566" y="1238"/>
                    <a:pt x="1566" y="1243"/>
                  </a:cubicBezTo>
                  <a:close/>
                  <a:moveTo>
                    <a:pt x="1561" y="1199"/>
                  </a:moveTo>
                  <a:cubicBezTo>
                    <a:pt x="1561" y="1195"/>
                    <a:pt x="1561" y="1191"/>
                    <a:pt x="1561" y="1187"/>
                  </a:cubicBezTo>
                  <a:cubicBezTo>
                    <a:pt x="1568" y="1185"/>
                    <a:pt x="1566" y="1195"/>
                    <a:pt x="1571" y="1195"/>
                  </a:cubicBezTo>
                  <a:cubicBezTo>
                    <a:pt x="1571" y="1200"/>
                    <a:pt x="1565" y="1198"/>
                    <a:pt x="1561" y="1199"/>
                  </a:cubicBezTo>
                  <a:close/>
                  <a:moveTo>
                    <a:pt x="1580" y="1250"/>
                  </a:moveTo>
                  <a:cubicBezTo>
                    <a:pt x="1577" y="1246"/>
                    <a:pt x="1570" y="1249"/>
                    <a:pt x="1571" y="1239"/>
                  </a:cubicBezTo>
                  <a:cubicBezTo>
                    <a:pt x="1574" y="1243"/>
                    <a:pt x="1581" y="1240"/>
                    <a:pt x="1580" y="1250"/>
                  </a:cubicBezTo>
                  <a:close/>
                  <a:moveTo>
                    <a:pt x="1577" y="640"/>
                  </a:moveTo>
                  <a:cubicBezTo>
                    <a:pt x="1577" y="638"/>
                    <a:pt x="1577" y="635"/>
                    <a:pt x="1577" y="633"/>
                  </a:cubicBezTo>
                  <a:cubicBezTo>
                    <a:pt x="1579" y="633"/>
                    <a:pt x="1580" y="633"/>
                    <a:pt x="1582" y="633"/>
                  </a:cubicBezTo>
                  <a:cubicBezTo>
                    <a:pt x="1582" y="635"/>
                    <a:pt x="1582" y="638"/>
                    <a:pt x="1582" y="640"/>
                  </a:cubicBezTo>
                  <a:cubicBezTo>
                    <a:pt x="1580" y="640"/>
                    <a:pt x="1579" y="640"/>
                    <a:pt x="1577" y="640"/>
                  </a:cubicBezTo>
                  <a:close/>
                  <a:moveTo>
                    <a:pt x="1598" y="1254"/>
                  </a:moveTo>
                  <a:cubicBezTo>
                    <a:pt x="1593" y="1257"/>
                    <a:pt x="1592" y="1248"/>
                    <a:pt x="1590" y="1247"/>
                  </a:cubicBezTo>
                  <a:cubicBezTo>
                    <a:pt x="1588" y="1246"/>
                    <a:pt x="1585" y="1252"/>
                    <a:pt x="1582" y="1247"/>
                  </a:cubicBezTo>
                  <a:cubicBezTo>
                    <a:pt x="1587" y="1239"/>
                    <a:pt x="1600" y="1236"/>
                    <a:pt x="1598" y="1254"/>
                  </a:cubicBezTo>
                  <a:close/>
                  <a:moveTo>
                    <a:pt x="1633" y="1291"/>
                  </a:moveTo>
                  <a:cubicBezTo>
                    <a:pt x="1625" y="1305"/>
                    <a:pt x="1624" y="1280"/>
                    <a:pt x="1633" y="1291"/>
                  </a:cubicBezTo>
                  <a:close/>
                  <a:moveTo>
                    <a:pt x="1628" y="1313"/>
                  </a:moveTo>
                  <a:cubicBezTo>
                    <a:pt x="1628" y="1308"/>
                    <a:pt x="1628" y="1303"/>
                    <a:pt x="1628" y="1298"/>
                  </a:cubicBezTo>
                  <a:cubicBezTo>
                    <a:pt x="1637" y="1298"/>
                    <a:pt x="1638" y="1316"/>
                    <a:pt x="1628" y="1313"/>
                  </a:cubicBezTo>
                  <a:close/>
                  <a:moveTo>
                    <a:pt x="1625" y="1250"/>
                  </a:moveTo>
                  <a:cubicBezTo>
                    <a:pt x="1617" y="1249"/>
                    <a:pt x="1607" y="1253"/>
                    <a:pt x="1601" y="1247"/>
                  </a:cubicBezTo>
                  <a:cubicBezTo>
                    <a:pt x="1602" y="1236"/>
                    <a:pt x="1609" y="1246"/>
                    <a:pt x="1612" y="1247"/>
                  </a:cubicBezTo>
                  <a:cubicBezTo>
                    <a:pt x="1614" y="1247"/>
                    <a:pt x="1615" y="1242"/>
                    <a:pt x="1617" y="1243"/>
                  </a:cubicBezTo>
                  <a:cubicBezTo>
                    <a:pt x="1618" y="1243"/>
                    <a:pt x="1617" y="1246"/>
                    <a:pt x="1620" y="1247"/>
                  </a:cubicBezTo>
                  <a:cubicBezTo>
                    <a:pt x="1625" y="1247"/>
                    <a:pt x="1629" y="1246"/>
                    <a:pt x="1636" y="1247"/>
                  </a:cubicBezTo>
                  <a:cubicBezTo>
                    <a:pt x="1638" y="1240"/>
                    <a:pt x="1638" y="1251"/>
                    <a:pt x="1641" y="1250"/>
                  </a:cubicBezTo>
                  <a:cubicBezTo>
                    <a:pt x="1639" y="1261"/>
                    <a:pt x="1631" y="1251"/>
                    <a:pt x="1625" y="1250"/>
                  </a:cubicBezTo>
                  <a:close/>
                  <a:moveTo>
                    <a:pt x="1641" y="588"/>
                  </a:moveTo>
                  <a:cubicBezTo>
                    <a:pt x="1641" y="595"/>
                    <a:pt x="1648" y="600"/>
                    <a:pt x="1639" y="599"/>
                  </a:cubicBezTo>
                  <a:cubicBezTo>
                    <a:pt x="1637" y="611"/>
                    <a:pt x="1644" y="611"/>
                    <a:pt x="1639" y="618"/>
                  </a:cubicBezTo>
                  <a:cubicBezTo>
                    <a:pt x="1627" y="611"/>
                    <a:pt x="1643" y="590"/>
                    <a:pt x="1641" y="574"/>
                  </a:cubicBezTo>
                  <a:cubicBezTo>
                    <a:pt x="1638" y="569"/>
                    <a:pt x="1641" y="572"/>
                    <a:pt x="1644" y="574"/>
                  </a:cubicBezTo>
                  <a:cubicBezTo>
                    <a:pt x="1646" y="581"/>
                    <a:pt x="1641" y="583"/>
                    <a:pt x="1641" y="588"/>
                  </a:cubicBezTo>
                  <a:close/>
                  <a:moveTo>
                    <a:pt x="2066" y="156"/>
                  </a:moveTo>
                  <a:cubicBezTo>
                    <a:pt x="2076" y="166"/>
                    <a:pt x="2060" y="179"/>
                    <a:pt x="2066" y="156"/>
                  </a:cubicBezTo>
                  <a:close/>
                  <a:moveTo>
                    <a:pt x="2055" y="562"/>
                  </a:moveTo>
                  <a:cubicBezTo>
                    <a:pt x="2055" y="562"/>
                    <a:pt x="2053" y="563"/>
                    <a:pt x="2053" y="562"/>
                  </a:cubicBezTo>
                  <a:cubicBezTo>
                    <a:pt x="2043" y="552"/>
                    <a:pt x="2062" y="561"/>
                    <a:pt x="2058" y="566"/>
                  </a:cubicBezTo>
                  <a:cubicBezTo>
                    <a:pt x="2057" y="568"/>
                    <a:pt x="2052" y="570"/>
                    <a:pt x="2053" y="566"/>
                  </a:cubicBezTo>
                  <a:cubicBezTo>
                    <a:pt x="2053" y="565"/>
                    <a:pt x="2056" y="566"/>
                    <a:pt x="2055" y="562"/>
                  </a:cubicBezTo>
                  <a:close/>
                  <a:moveTo>
                    <a:pt x="2034" y="296"/>
                  </a:moveTo>
                  <a:cubicBezTo>
                    <a:pt x="2038" y="296"/>
                    <a:pt x="2042" y="312"/>
                    <a:pt x="2042" y="296"/>
                  </a:cubicBezTo>
                  <a:cubicBezTo>
                    <a:pt x="2051" y="297"/>
                    <a:pt x="2042" y="306"/>
                    <a:pt x="2047" y="307"/>
                  </a:cubicBezTo>
                  <a:cubicBezTo>
                    <a:pt x="2047" y="312"/>
                    <a:pt x="2042" y="311"/>
                    <a:pt x="2042" y="307"/>
                  </a:cubicBezTo>
                  <a:cubicBezTo>
                    <a:pt x="2037" y="307"/>
                    <a:pt x="2036" y="312"/>
                    <a:pt x="2031" y="311"/>
                  </a:cubicBezTo>
                  <a:cubicBezTo>
                    <a:pt x="2031" y="304"/>
                    <a:pt x="2035" y="303"/>
                    <a:pt x="2034" y="296"/>
                  </a:cubicBezTo>
                  <a:close/>
                  <a:moveTo>
                    <a:pt x="2039" y="285"/>
                  </a:moveTo>
                  <a:cubicBezTo>
                    <a:pt x="2041" y="274"/>
                    <a:pt x="2045" y="289"/>
                    <a:pt x="2050" y="285"/>
                  </a:cubicBezTo>
                  <a:cubicBezTo>
                    <a:pt x="2050" y="294"/>
                    <a:pt x="2041" y="286"/>
                    <a:pt x="2039" y="285"/>
                  </a:cubicBezTo>
                  <a:close/>
                  <a:moveTo>
                    <a:pt x="2058" y="241"/>
                  </a:moveTo>
                  <a:cubicBezTo>
                    <a:pt x="2051" y="236"/>
                    <a:pt x="2066" y="214"/>
                    <a:pt x="2058" y="241"/>
                  </a:cubicBezTo>
                  <a:close/>
                  <a:moveTo>
                    <a:pt x="2050" y="174"/>
                  </a:moveTo>
                  <a:cubicBezTo>
                    <a:pt x="2060" y="185"/>
                    <a:pt x="2042" y="187"/>
                    <a:pt x="2050" y="174"/>
                  </a:cubicBezTo>
                  <a:close/>
                  <a:moveTo>
                    <a:pt x="2053" y="244"/>
                  </a:moveTo>
                  <a:cubicBezTo>
                    <a:pt x="2061" y="248"/>
                    <a:pt x="2052" y="257"/>
                    <a:pt x="2050" y="259"/>
                  </a:cubicBezTo>
                  <a:cubicBezTo>
                    <a:pt x="2047" y="259"/>
                    <a:pt x="2048" y="255"/>
                    <a:pt x="2047" y="252"/>
                  </a:cubicBezTo>
                  <a:cubicBezTo>
                    <a:pt x="2045" y="251"/>
                    <a:pt x="2045" y="253"/>
                    <a:pt x="2045" y="255"/>
                  </a:cubicBezTo>
                  <a:cubicBezTo>
                    <a:pt x="2042" y="256"/>
                    <a:pt x="2042" y="254"/>
                    <a:pt x="2042" y="252"/>
                  </a:cubicBezTo>
                  <a:cubicBezTo>
                    <a:pt x="2042" y="249"/>
                    <a:pt x="2042" y="247"/>
                    <a:pt x="2042" y="244"/>
                  </a:cubicBezTo>
                  <a:cubicBezTo>
                    <a:pt x="2047" y="241"/>
                    <a:pt x="2051" y="255"/>
                    <a:pt x="2053" y="244"/>
                  </a:cubicBezTo>
                  <a:close/>
                  <a:moveTo>
                    <a:pt x="2037" y="185"/>
                  </a:moveTo>
                  <a:cubicBezTo>
                    <a:pt x="2038" y="185"/>
                    <a:pt x="2040" y="185"/>
                    <a:pt x="2042" y="185"/>
                  </a:cubicBezTo>
                  <a:cubicBezTo>
                    <a:pt x="2042" y="188"/>
                    <a:pt x="2042" y="190"/>
                    <a:pt x="2042" y="193"/>
                  </a:cubicBezTo>
                  <a:cubicBezTo>
                    <a:pt x="2040" y="193"/>
                    <a:pt x="2038" y="193"/>
                    <a:pt x="2037" y="193"/>
                  </a:cubicBezTo>
                  <a:cubicBezTo>
                    <a:pt x="2037" y="190"/>
                    <a:pt x="2037" y="188"/>
                    <a:pt x="2037" y="185"/>
                  </a:cubicBezTo>
                  <a:close/>
                  <a:moveTo>
                    <a:pt x="2031" y="233"/>
                  </a:moveTo>
                  <a:cubicBezTo>
                    <a:pt x="2041" y="232"/>
                    <a:pt x="2035" y="253"/>
                    <a:pt x="2039" y="259"/>
                  </a:cubicBezTo>
                  <a:cubicBezTo>
                    <a:pt x="2029" y="262"/>
                    <a:pt x="2032" y="245"/>
                    <a:pt x="2031" y="233"/>
                  </a:cubicBezTo>
                  <a:close/>
                  <a:moveTo>
                    <a:pt x="2018" y="548"/>
                  </a:moveTo>
                  <a:cubicBezTo>
                    <a:pt x="2030" y="550"/>
                    <a:pt x="2016" y="570"/>
                    <a:pt x="2018" y="548"/>
                  </a:cubicBezTo>
                  <a:close/>
                  <a:moveTo>
                    <a:pt x="2020" y="1180"/>
                  </a:moveTo>
                  <a:cubicBezTo>
                    <a:pt x="2019" y="1187"/>
                    <a:pt x="2016" y="1181"/>
                    <a:pt x="2012" y="1180"/>
                  </a:cubicBezTo>
                  <a:cubicBezTo>
                    <a:pt x="2014" y="1173"/>
                    <a:pt x="2017" y="1180"/>
                    <a:pt x="2020" y="1180"/>
                  </a:cubicBezTo>
                  <a:close/>
                  <a:moveTo>
                    <a:pt x="2010" y="156"/>
                  </a:moveTo>
                  <a:cubicBezTo>
                    <a:pt x="2018" y="150"/>
                    <a:pt x="2018" y="172"/>
                    <a:pt x="2010" y="167"/>
                  </a:cubicBezTo>
                  <a:cubicBezTo>
                    <a:pt x="2010" y="163"/>
                    <a:pt x="2010" y="159"/>
                    <a:pt x="2010" y="156"/>
                  </a:cubicBezTo>
                  <a:close/>
                  <a:moveTo>
                    <a:pt x="2010" y="174"/>
                  </a:moveTo>
                  <a:cubicBezTo>
                    <a:pt x="2011" y="167"/>
                    <a:pt x="2013" y="176"/>
                    <a:pt x="2012" y="182"/>
                  </a:cubicBezTo>
                  <a:cubicBezTo>
                    <a:pt x="2011" y="189"/>
                    <a:pt x="2009" y="179"/>
                    <a:pt x="2010" y="174"/>
                  </a:cubicBezTo>
                  <a:close/>
                  <a:moveTo>
                    <a:pt x="2012" y="559"/>
                  </a:moveTo>
                  <a:cubicBezTo>
                    <a:pt x="2009" y="557"/>
                    <a:pt x="2007" y="554"/>
                    <a:pt x="2007" y="548"/>
                  </a:cubicBezTo>
                  <a:cubicBezTo>
                    <a:pt x="2010" y="549"/>
                    <a:pt x="2013" y="552"/>
                    <a:pt x="2012" y="559"/>
                  </a:cubicBezTo>
                  <a:close/>
                  <a:moveTo>
                    <a:pt x="2007" y="1187"/>
                  </a:moveTo>
                  <a:cubicBezTo>
                    <a:pt x="2019" y="1189"/>
                    <a:pt x="2004" y="1209"/>
                    <a:pt x="2007" y="1187"/>
                  </a:cubicBezTo>
                  <a:close/>
                  <a:moveTo>
                    <a:pt x="1991" y="182"/>
                  </a:moveTo>
                  <a:cubicBezTo>
                    <a:pt x="1995" y="172"/>
                    <a:pt x="2006" y="183"/>
                    <a:pt x="2004" y="193"/>
                  </a:cubicBezTo>
                  <a:cubicBezTo>
                    <a:pt x="1998" y="197"/>
                    <a:pt x="1993" y="182"/>
                    <a:pt x="1991" y="193"/>
                  </a:cubicBezTo>
                  <a:cubicBezTo>
                    <a:pt x="1988" y="192"/>
                    <a:pt x="1989" y="185"/>
                    <a:pt x="1986" y="185"/>
                  </a:cubicBezTo>
                  <a:cubicBezTo>
                    <a:pt x="1985" y="178"/>
                    <a:pt x="2004" y="189"/>
                    <a:pt x="1991" y="182"/>
                  </a:cubicBezTo>
                  <a:close/>
                  <a:moveTo>
                    <a:pt x="1996" y="537"/>
                  </a:moveTo>
                  <a:cubicBezTo>
                    <a:pt x="1995" y="544"/>
                    <a:pt x="1995" y="552"/>
                    <a:pt x="1988" y="551"/>
                  </a:cubicBezTo>
                  <a:cubicBezTo>
                    <a:pt x="1989" y="548"/>
                    <a:pt x="1991" y="545"/>
                    <a:pt x="1994" y="544"/>
                  </a:cubicBezTo>
                  <a:cubicBezTo>
                    <a:pt x="1991" y="539"/>
                    <a:pt x="1991" y="536"/>
                    <a:pt x="1996" y="537"/>
                  </a:cubicBezTo>
                  <a:close/>
                  <a:moveTo>
                    <a:pt x="1996" y="1169"/>
                  </a:moveTo>
                  <a:cubicBezTo>
                    <a:pt x="1999" y="1172"/>
                    <a:pt x="2000" y="1180"/>
                    <a:pt x="1996" y="1187"/>
                  </a:cubicBezTo>
                  <a:cubicBezTo>
                    <a:pt x="1990" y="1187"/>
                    <a:pt x="1995" y="1171"/>
                    <a:pt x="1996" y="1169"/>
                  </a:cubicBezTo>
                  <a:close/>
                  <a:moveTo>
                    <a:pt x="1996" y="211"/>
                  </a:moveTo>
                  <a:cubicBezTo>
                    <a:pt x="1990" y="213"/>
                    <a:pt x="1990" y="204"/>
                    <a:pt x="1983" y="207"/>
                  </a:cubicBezTo>
                  <a:cubicBezTo>
                    <a:pt x="1989" y="197"/>
                    <a:pt x="1991" y="205"/>
                    <a:pt x="1999" y="200"/>
                  </a:cubicBezTo>
                  <a:cubicBezTo>
                    <a:pt x="1998" y="203"/>
                    <a:pt x="1996" y="206"/>
                    <a:pt x="1996" y="211"/>
                  </a:cubicBezTo>
                  <a:close/>
                  <a:moveTo>
                    <a:pt x="1999" y="570"/>
                  </a:moveTo>
                  <a:cubicBezTo>
                    <a:pt x="2011" y="571"/>
                    <a:pt x="1996" y="591"/>
                    <a:pt x="1999" y="570"/>
                  </a:cubicBezTo>
                  <a:close/>
                  <a:moveTo>
                    <a:pt x="1986" y="122"/>
                  </a:moveTo>
                  <a:cubicBezTo>
                    <a:pt x="1988" y="123"/>
                    <a:pt x="1987" y="130"/>
                    <a:pt x="1991" y="130"/>
                  </a:cubicBezTo>
                  <a:cubicBezTo>
                    <a:pt x="1990" y="134"/>
                    <a:pt x="1986" y="132"/>
                    <a:pt x="1986" y="137"/>
                  </a:cubicBezTo>
                  <a:cubicBezTo>
                    <a:pt x="1977" y="135"/>
                    <a:pt x="1988" y="129"/>
                    <a:pt x="1986" y="122"/>
                  </a:cubicBezTo>
                  <a:close/>
                  <a:moveTo>
                    <a:pt x="1977" y="133"/>
                  </a:moveTo>
                  <a:cubicBezTo>
                    <a:pt x="1976" y="133"/>
                    <a:pt x="1974" y="133"/>
                    <a:pt x="1972" y="133"/>
                  </a:cubicBezTo>
                  <a:cubicBezTo>
                    <a:pt x="1973" y="130"/>
                    <a:pt x="1971" y="130"/>
                    <a:pt x="1969" y="130"/>
                  </a:cubicBezTo>
                  <a:cubicBezTo>
                    <a:pt x="1968" y="123"/>
                    <a:pt x="1982" y="124"/>
                    <a:pt x="1977" y="133"/>
                  </a:cubicBezTo>
                  <a:close/>
                  <a:moveTo>
                    <a:pt x="1961" y="133"/>
                  </a:moveTo>
                  <a:cubicBezTo>
                    <a:pt x="1966" y="142"/>
                    <a:pt x="1971" y="147"/>
                    <a:pt x="1980" y="141"/>
                  </a:cubicBezTo>
                  <a:cubicBezTo>
                    <a:pt x="1979" y="144"/>
                    <a:pt x="1978" y="145"/>
                    <a:pt x="1977" y="148"/>
                  </a:cubicBezTo>
                  <a:cubicBezTo>
                    <a:pt x="1977" y="156"/>
                    <a:pt x="1983" y="158"/>
                    <a:pt x="1983" y="163"/>
                  </a:cubicBezTo>
                  <a:cubicBezTo>
                    <a:pt x="1982" y="176"/>
                    <a:pt x="1978" y="182"/>
                    <a:pt x="1972" y="193"/>
                  </a:cubicBezTo>
                  <a:cubicBezTo>
                    <a:pt x="1969" y="192"/>
                    <a:pt x="1972" y="174"/>
                    <a:pt x="1975" y="174"/>
                  </a:cubicBezTo>
                  <a:cubicBezTo>
                    <a:pt x="1979" y="174"/>
                    <a:pt x="1974" y="159"/>
                    <a:pt x="1972" y="152"/>
                  </a:cubicBezTo>
                  <a:cubicBezTo>
                    <a:pt x="1968" y="152"/>
                    <a:pt x="1971" y="159"/>
                    <a:pt x="1969" y="163"/>
                  </a:cubicBezTo>
                  <a:cubicBezTo>
                    <a:pt x="1964" y="176"/>
                    <a:pt x="1972" y="145"/>
                    <a:pt x="1961" y="148"/>
                  </a:cubicBezTo>
                  <a:cubicBezTo>
                    <a:pt x="1961" y="143"/>
                    <a:pt x="1961" y="138"/>
                    <a:pt x="1961" y="133"/>
                  </a:cubicBezTo>
                  <a:close/>
                  <a:moveTo>
                    <a:pt x="1969" y="1232"/>
                  </a:moveTo>
                  <a:cubicBezTo>
                    <a:pt x="1973" y="1227"/>
                    <a:pt x="1971" y="1214"/>
                    <a:pt x="1961" y="1217"/>
                  </a:cubicBezTo>
                  <a:cubicBezTo>
                    <a:pt x="1960" y="1209"/>
                    <a:pt x="1966" y="1212"/>
                    <a:pt x="1967" y="1206"/>
                  </a:cubicBezTo>
                  <a:cubicBezTo>
                    <a:pt x="1967" y="1202"/>
                    <a:pt x="1972" y="1203"/>
                    <a:pt x="1975" y="1202"/>
                  </a:cubicBezTo>
                  <a:cubicBezTo>
                    <a:pt x="1976" y="1211"/>
                    <a:pt x="1974" y="1216"/>
                    <a:pt x="1972" y="1221"/>
                  </a:cubicBezTo>
                  <a:cubicBezTo>
                    <a:pt x="1974" y="1224"/>
                    <a:pt x="1978" y="1234"/>
                    <a:pt x="1969" y="1232"/>
                  </a:cubicBezTo>
                  <a:close/>
                  <a:moveTo>
                    <a:pt x="1964" y="1306"/>
                  </a:moveTo>
                  <a:cubicBezTo>
                    <a:pt x="1963" y="1310"/>
                    <a:pt x="1961" y="1313"/>
                    <a:pt x="1956" y="1313"/>
                  </a:cubicBezTo>
                  <a:cubicBezTo>
                    <a:pt x="1957" y="1309"/>
                    <a:pt x="1959" y="1306"/>
                    <a:pt x="1964" y="1306"/>
                  </a:cubicBezTo>
                  <a:close/>
                  <a:moveTo>
                    <a:pt x="1964" y="207"/>
                  </a:moveTo>
                  <a:cubicBezTo>
                    <a:pt x="1964" y="205"/>
                    <a:pt x="1964" y="202"/>
                    <a:pt x="1964" y="200"/>
                  </a:cubicBezTo>
                  <a:cubicBezTo>
                    <a:pt x="1969" y="199"/>
                    <a:pt x="1972" y="201"/>
                    <a:pt x="1972" y="207"/>
                  </a:cubicBezTo>
                  <a:cubicBezTo>
                    <a:pt x="1969" y="207"/>
                    <a:pt x="1967" y="207"/>
                    <a:pt x="1964" y="207"/>
                  </a:cubicBezTo>
                  <a:close/>
                  <a:moveTo>
                    <a:pt x="1961" y="163"/>
                  </a:moveTo>
                  <a:cubicBezTo>
                    <a:pt x="1969" y="151"/>
                    <a:pt x="1953" y="183"/>
                    <a:pt x="1967" y="178"/>
                  </a:cubicBezTo>
                  <a:cubicBezTo>
                    <a:pt x="1967" y="184"/>
                    <a:pt x="1963" y="186"/>
                    <a:pt x="1964" y="193"/>
                  </a:cubicBezTo>
                  <a:cubicBezTo>
                    <a:pt x="1960" y="187"/>
                    <a:pt x="1956" y="171"/>
                    <a:pt x="1961" y="163"/>
                  </a:cubicBezTo>
                  <a:close/>
                  <a:moveTo>
                    <a:pt x="1940" y="108"/>
                  </a:moveTo>
                  <a:cubicBezTo>
                    <a:pt x="1942" y="108"/>
                    <a:pt x="1945" y="108"/>
                    <a:pt x="1948" y="108"/>
                  </a:cubicBezTo>
                  <a:cubicBezTo>
                    <a:pt x="1945" y="115"/>
                    <a:pt x="1952" y="125"/>
                    <a:pt x="1953" y="115"/>
                  </a:cubicBezTo>
                  <a:cubicBezTo>
                    <a:pt x="1956" y="114"/>
                    <a:pt x="1956" y="116"/>
                    <a:pt x="1956" y="119"/>
                  </a:cubicBezTo>
                  <a:cubicBezTo>
                    <a:pt x="1955" y="122"/>
                    <a:pt x="1957" y="122"/>
                    <a:pt x="1959" y="122"/>
                  </a:cubicBezTo>
                  <a:cubicBezTo>
                    <a:pt x="1959" y="127"/>
                    <a:pt x="1954" y="124"/>
                    <a:pt x="1953" y="126"/>
                  </a:cubicBezTo>
                  <a:cubicBezTo>
                    <a:pt x="1951" y="130"/>
                    <a:pt x="1954" y="139"/>
                    <a:pt x="1951" y="141"/>
                  </a:cubicBezTo>
                  <a:cubicBezTo>
                    <a:pt x="1947" y="138"/>
                    <a:pt x="1945" y="132"/>
                    <a:pt x="1945" y="122"/>
                  </a:cubicBezTo>
                  <a:cubicBezTo>
                    <a:pt x="1943" y="122"/>
                    <a:pt x="1943" y="127"/>
                    <a:pt x="1942" y="130"/>
                  </a:cubicBezTo>
                  <a:cubicBezTo>
                    <a:pt x="1940" y="128"/>
                    <a:pt x="1938" y="126"/>
                    <a:pt x="1934" y="126"/>
                  </a:cubicBezTo>
                  <a:cubicBezTo>
                    <a:pt x="1937" y="121"/>
                    <a:pt x="1937" y="112"/>
                    <a:pt x="1940" y="108"/>
                  </a:cubicBezTo>
                  <a:close/>
                  <a:moveTo>
                    <a:pt x="1937" y="174"/>
                  </a:moveTo>
                  <a:cubicBezTo>
                    <a:pt x="1934" y="161"/>
                    <a:pt x="1954" y="164"/>
                    <a:pt x="1948" y="178"/>
                  </a:cubicBezTo>
                  <a:cubicBezTo>
                    <a:pt x="1943" y="171"/>
                    <a:pt x="1946" y="171"/>
                    <a:pt x="1937" y="174"/>
                  </a:cubicBezTo>
                  <a:close/>
                  <a:moveTo>
                    <a:pt x="1945" y="1095"/>
                  </a:moveTo>
                  <a:cubicBezTo>
                    <a:pt x="1944" y="1100"/>
                    <a:pt x="1942" y="1103"/>
                    <a:pt x="1937" y="1102"/>
                  </a:cubicBezTo>
                  <a:cubicBezTo>
                    <a:pt x="1938" y="1098"/>
                    <a:pt x="1941" y="1095"/>
                    <a:pt x="1945" y="1095"/>
                  </a:cubicBezTo>
                  <a:close/>
                  <a:moveTo>
                    <a:pt x="1942" y="137"/>
                  </a:moveTo>
                  <a:cubicBezTo>
                    <a:pt x="1941" y="142"/>
                    <a:pt x="1939" y="145"/>
                    <a:pt x="1934" y="145"/>
                  </a:cubicBezTo>
                  <a:cubicBezTo>
                    <a:pt x="1936" y="140"/>
                    <a:pt x="1938" y="137"/>
                    <a:pt x="1942" y="137"/>
                  </a:cubicBezTo>
                  <a:close/>
                  <a:moveTo>
                    <a:pt x="1908" y="193"/>
                  </a:moveTo>
                  <a:cubicBezTo>
                    <a:pt x="1910" y="201"/>
                    <a:pt x="1917" y="202"/>
                    <a:pt x="1921" y="207"/>
                  </a:cubicBezTo>
                  <a:cubicBezTo>
                    <a:pt x="1919" y="214"/>
                    <a:pt x="1915" y="210"/>
                    <a:pt x="1916" y="204"/>
                  </a:cubicBezTo>
                  <a:cubicBezTo>
                    <a:pt x="1910" y="205"/>
                    <a:pt x="1909" y="201"/>
                    <a:pt x="1905" y="200"/>
                  </a:cubicBezTo>
                  <a:cubicBezTo>
                    <a:pt x="1901" y="191"/>
                    <a:pt x="1913" y="185"/>
                    <a:pt x="1905" y="182"/>
                  </a:cubicBezTo>
                  <a:cubicBezTo>
                    <a:pt x="1905" y="173"/>
                    <a:pt x="1912" y="183"/>
                    <a:pt x="1913" y="182"/>
                  </a:cubicBezTo>
                  <a:cubicBezTo>
                    <a:pt x="1913" y="181"/>
                    <a:pt x="1913" y="178"/>
                    <a:pt x="1913" y="178"/>
                  </a:cubicBezTo>
                  <a:cubicBezTo>
                    <a:pt x="1919" y="179"/>
                    <a:pt x="1920" y="185"/>
                    <a:pt x="1924" y="193"/>
                  </a:cubicBezTo>
                  <a:cubicBezTo>
                    <a:pt x="1927" y="199"/>
                    <a:pt x="1935" y="201"/>
                    <a:pt x="1932" y="207"/>
                  </a:cubicBezTo>
                  <a:cubicBezTo>
                    <a:pt x="1922" y="210"/>
                    <a:pt x="1920" y="202"/>
                    <a:pt x="1921" y="189"/>
                  </a:cubicBezTo>
                  <a:cubicBezTo>
                    <a:pt x="1915" y="188"/>
                    <a:pt x="1911" y="190"/>
                    <a:pt x="1908" y="193"/>
                  </a:cubicBezTo>
                  <a:close/>
                  <a:moveTo>
                    <a:pt x="1897" y="244"/>
                  </a:moveTo>
                  <a:cubicBezTo>
                    <a:pt x="1897" y="239"/>
                    <a:pt x="1894" y="244"/>
                    <a:pt x="1894" y="244"/>
                  </a:cubicBezTo>
                  <a:cubicBezTo>
                    <a:pt x="1891" y="243"/>
                    <a:pt x="1892" y="235"/>
                    <a:pt x="1886" y="237"/>
                  </a:cubicBezTo>
                  <a:cubicBezTo>
                    <a:pt x="1888" y="231"/>
                    <a:pt x="1895" y="232"/>
                    <a:pt x="1899" y="230"/>
                  </a:cubicBezTo>
                  <a:cubicBezTo>
                    <a:pt x="1899" y="239"/>
                    <a:pt x="1897" y="253"/>
                    <a:pt x="1908" y="248"/>
                  </a:cubicBezTo>
                  <a:cubicBezTo>
                    <a:pt x="1909" y="258"/>
                    <a:pt x="1898" y="252"/>
                    <a:pt x="1897" y="259"/>
                  </a:cubicBezTo>
                  <a:cubicBezTo>
                    <a:pt x="1890" y="258"/>
                    <a:pt x="1900" y="253"/>
                    <a:pt x="1897" y="244"/>
                  </a:cubicBezTo>
                  <a:close/>
                  <a:moveTo>
                    <a:pt x="1908" y="241"/>
                  </a:moveTo>
                  <a:cubicBezTo>
                    <a:pt x="1901" y="240"/>
                    <a:pt x="1901" y="231"/>
                    <a:pt x="1905" y="226"/>
                  </a:cubicBezTo>
                  <a:cubicBezTo>
                    <a:pt x="1911" y="227"/>
                    <a:pt x="1911" y="236"/>
                    <a:pt x="1908" y="241"/>
                  </a:cubicBezTo>
                  <a:close/>
                  <a:moveTo>
                    <a:pt x="1902" y="222"/>
                  </a:moveTo>
                  <a:cubicBezTo>
                    <a:pt x="1904" y="217"/>
                    <a:pt x="1911" y="217"/>
                    <a:pt x="1916" y="215"/>
                  </a:cubicBezTo>
                  <a:cubicBezTo>
                    <a:pt x="1918" y="227"/>
                    <a:pt x="1907" y="221"/>
                    <a:pt x="1902" y="222"/>
                  </a:cubicBezTo>
                  <a:close/>
                  <a:moveTo>
                    <a:pt x="1926" y="189"/>
                  </a:moveTo>
                  <a:cubicBezTo>
                    <a:pt x="1936" y="167"/>
                    <a:pt x="1940" y="211"/>
                    <a:pt x="1926" y="189"/>
                  </a:cubicBezTo>
                  <a:close/>
                  <a:moveTo>
                    <a:pt x="1932" y="211"/>
                  </a:moveTo>
                  <a:cubicBezTo>
                    <a:pt x="1941" y="209"/>
                    <a:pt x="1932" y="228"/>
                    <a:pt x="1929" y="222"/>
                  </a:cubicBezTo>
                  <a:cubicBezTo>
                    <a:pt x="1929" y="222"/>
                    <a:pt x="1931" y="215"/>
                    <a:pt x="1932" y="215"/>
                  </a:cubicBezTo>
                  <a:cubicBezTo>
                    <a:pt x="1932" y="215"/>
                    <a:pt x="1932" y="211"/>
                    <a:pt x="1932" y="211"/>
                  </a:cubicBezTo>
                  <a:close/>
                  <a:moveTo>
                    <a:pt x="1934" y="159"/>
                  </a:moveTo>
                  <a:cubicBezTo>
                    <a:pt x="1934" y="164"/>
                    <a:pt x="1933" y="161"/>
                    <a:pt x="1932" y="163"/>
                  </a:cubicBezTo>
                  <a:cubicBezTo>
                    <a:pt x="1931" y="166"/>
                    <a:pt x="1922" y="176"/>
                    <a:pt x="1932" y="174"/>
                  </a:cubicBezTo>
                  <a:cubicBezTo>
                    <a:pt x="1931" y="178"/>
                    <a:pt x="1927" y="177"/>
                    <a:pt x="1924" y="178"/>
                  </a:cubicBezTo>
                  <a:cubicBezTo>
                    <a:pt x="1924" y="173"/>
                    <a:pt x="1924" y="168"/>
                    <a:pt x="1924" y="163"/>
                  </a:cubicBezTo>
                  <a:cubicBezTo>
                    <a:pt x="1928" y="163"/>
                    <a:pt x="1931" y="164"/>
                    <a:pt x="1932" y="159"/>
                  </a:cubicBezTo>
                  <a:cubicBezTo>
                    <a:pt x="1932" y="155"/>
                    <a:pt x="1935" y="157"/>
                    <a:pt x="1934" y="159"/>
                  </a:cubicBezTo>
                  <a:close/>
                  <a:moveTo>
                    <a:pt x="1921" y="119"/>
                  </a:moveTo>
                  <a:cubicBezTo>
                    <a:pt x="1923" y="120"/>
                    <a:pt x="1926" y="113"/>
                    <a:pt x="1929" y="119"/>
                  </a:cubicBezTo>
                  <a:cubicBezTo>
                    <a:pt x="1930" y="125"/>
                    <a:pt x="1920" y="138"/>
                    <a:pt x="1932" y="137"/>
                  </a:cubicBezTo>
                  <a:cubicBezTo>
                    <a:pt x="1929" y="146"/>
                    <a:pt x="1915" y="158"/>
                    <a:pt x="1921" y="167"/>
                  </a:cubicBezTo>
                  <a:cubicBezTo>
                    <a:pt x="1913" y="177"/>
                    <a:pt x="1913" y="159"/>
                    <a:pt x="1916" y="148"/>
                  </a:cubicBezTo>
                  <a:cubicBezTo>
                    <a:pt x="1918" y="148"/>
                    <a:pt x="1921" y="148"/>
                    <a:pt x="1924" y="148"/>
                  </a:cubicBezTo>
                  <a:cubicBezTo>
                    <a:pt x="1922" y="137"/>
                    <a:pt x="1922" y="141"/>
                    <a:pt x="1924" y="130"/>
                  </a:cubicBezTo>
                  <a:cubicBezTo>
                    <a:pt x="1921" y="129"/>
                    <a:pt x="1919" y="131"/>
                    <a:pt x="1918" y="133"/>
                  </a:cubicBezTo>
                  <a:cubicBezTo>
                    <a:pt x="1912" y="135"/>
                    <a:pt x="1926" y="115"/>
                    <a:pt x="1913" y="119"/>
                  </a:cubicBezTo>
                  <a:cubicBezTo>
                    <a:pt x="1914" y="117"/>
                    <a:pt x="1916" y="110"/>
                    <a:pt x="1918" y="111"/>
                  </a:cubicBezTo>
                  <a:cubicBezTo>
                    <a:pt x="1921" y="112"/>
                    <a:pt x="1920" y="118"/>
                    <a:pt x="1921" y="119"/>
                  </a:cubicBezTo>
                  <a:close/>
                  <a:moveTo>
                    <a:pt x="1913" y="71"/>
                  </a:moveTo>
                  <a:cubicBezTo>
                    <a:pt x="1915" y="71"/>
                    <a:pt x="1917" y="71"/>
                    <a:pt x="1918" y="71"/>
                  </a:cubicBezTo>
                  <a:cubicBezTo>
                    <a:pt x="1918" y="77"/>
                    <a:pt x="1918" y="83"/>
                    <a:pt x="1918" y="89"/>
                  </a:cubicBezTo>
                  <a:cubicBezTo>
                    <a:pt x="1916" y="87"/>
                    <a:pt x="1916" y="81"/>
                    <a:pt x="1910" y="82"/>
                  </a:cubicBezTo>
                  <a:cubicBezTo>
                    <a:pt x="1910" y="76"/>
                    <a:pt x="1913" y="75"/>
                    <a:pt x="1913" y="71"/>
                  </a:cubicBezTo>
                  <a:close/>
                  <a:moveTo>
                    <a:pt x="1897" y="111"/>
                  </a:moveTo>
                  <a:cubicBezTo>
                    <a:pt x="1904" y="113"/>
                    <a:pt x="1909" y="131"/>
                    <a:pt x="1897" y="130"/>
                  </a:cubicBezTo>
                  <a:cubicBezTo>
                    <a:pt x="1897" y="124"/>
                    <a:pt x="1897" y="117"/>
                    <a:pt x="1897" y="111"/>
                  </a:cubicBezTo>
                  <a:close/>
                  <a:moveTo>
                    <a:pt x="1894" y="137"/>
                  </a:moveTo>
                  <a:cubicBezTo>
                    <a:pt x="1891" y="136"/>
                    <a:pt x="1889" y="132"/>
                    <a:pt x="1889" y="126"/>
                  </a:cubicBezTo>
                  <a:cubicBezTo>
                    <a:pt x="1892" y="128"/>
                    <a:pt x="1894" y="131"/>
                    <a:pt x="1894" y="137"/>
                  </a:cubicBezTo>
                  <a:close/>
                  <a:moveTo>
                    <a:pt x="1875" y="126"/>
                  </a:moveTo>
                  <a:cubicBezTo>
                    <a:pt x="1884" y="126"/>
                    <a:pt x="1872" y="118"/>
                    <a:pt x="1873" y="108"/>
                  </a:cubicBezTo>
                  <a:cubicBezTo>
                    <a:pt x="1875" y="110"/>
                    <a:pt x="1879" y="111"/>
                    <a:pt x="1883" y="111"/>
                  </a:cubicBezTo>
                  <a:cubicBezTo>
                    <a:pt x="1883" y="116"/>
                    <a:pt x="1883" y="122"/>
                    <a:pt x="1886" y="122"/>
                  </a:cubicBezTo>
                  <a:cubicBezTo>
                    <a:pt x="1886" y="129"/>
                    <a:pt x="1877" y="125"/>
                    <a:pt x="1875" y="130"/>
                  </a:cubicBezTo>
                  <a:cubicBezTo>
                    <a:pt x="1876" y="137"/>
                    <a:pt x="1875" y="141"/>
                    <a:pt x="1870" y="141"/>
                  </a:cubicBezTo>
                  <a:cubicBezTo>
                    <a:pt x="1874" y="139"/>
                    <a:pt x="1867" y="126"/>
                    <a:pt x="1875" y="126"/>
                  </a:cubicBezTo>
                  <a:close/>
                  <a:moveTo>
                    <a:pt x="1878" y="152"/>
                  </a:moveTo>
                  <a:cubicBezTo>
                    <a:pt x="1879" y="149"/>
                    <a:pt x="1881" y="148"/>
                    <a:pt x="1881" y="145"/>
                  </a:cubicBezTo>
                  <a:cubicBezTo>
                    <a:pt x="1882" y="145"/>
                    <a:pt x="1884" y="145"/>
                    <a:pt x="1886" y="145"/>
                  </a:cubicBezTo>
                  <a:cubicBezTo>
                    <a:pt x="1887" y="152"/>
                    <a:pt x="1882" y="152"/>
                    <a:pt x="1878" y="152"/>
                  </a:cubicBezTo>
                  <a:close/>
                  <a:moveTo>
                    <a:pt x="1838" y="133"/>
                  </a:moveTo>
                  <a:cubicBezTo>
                    <a:pt x="1839" y="126"/>
                    <a:pt x="1841" y="136"/>
                    <a:pt x="1840" y="141"/>
                  </a:cubicBezTo>
                  <a:cubicBezTo>
                    <a:pt x="1839" y="148"/>
                    <a:pt x="1837" y="138"/>
                    <a:pt x="1838" y="133"/>
                  </a:cubicBezTo>
                  <a:close/>
                  <a:moveTo>
                    <a:pt x="1830" y="126"/>
                  </a:moveTo>
                  <a:cubicBezTo>
                    <a:pt x="1822" y="128"/>
                    <a:pt x="1827" y="112"/>
                    <a:pt x="1822" y="111"/>
                  </a:cubicBezTo>
                  <a:cubicBezTo>
                    <a:pt x="1825" y="101"/>
                    <a:pt x="1831" y="117"/>
                    <a:pt x="1830" y="126"/>
                  </a:cubicBezTo>
                  <a:close/>
                  <a:moveTo>
                    <a:pt x="1773" y="122"/>
                  </a:moveTo>
                  <a:cubicBezTo>
                    <a:pt x="1775" y="123"/>
                    <a:pt x="1776" y="126"/>
                    <a:pt x="1778" y="126"/>
                  </a:cubicBezTo>
                  <a:cubicBezTo>
                    <a:pt x="1778" y="129"/>
                    <a:pt x="1776" y="130"/>
                    <a:pt x="1776" y="133"/>
                  </a:cubicBezTo>
                  <a:cubicBezTo>
                    <a:pt x="1774" y="133"/>
                    <a:pt x="1773" y="130"/>
                    <a:pt x="1770" y="130"/>
                  </a:cubicBezTo>
                  <a:cubicBezTo>
                    <a:pt x="1771" y="127"/>
                    <a:pt x="1773" y="126"/>
                    <a:pt x="1773" y="122"/>
                  </a:cubicBezTo>
                  <a:close/>
                  <a:moveTo>
                    <a:pt x="1757" y="96"/>
                  </a:moveTo>
                  <a:cubicBezTo>
                    <a:pt x="1769" y="99"/>
                    <a:pt x="1755" y="119"/>
                    <a:pt x="1757" y="96"/>
                  </a:cubicBezTo>
                  <a:close/>
                  <a:moveTo>
                    <a:pt x="1711" y="163"/>
                  </a:moveTo>
                  <a:cubicBezTo>
                    <a:pt x="1717" y="164"/>
                    <a:pt x="1715" y="146"/>
                    <a:pt x="1709" y="152"/>
                  </a:cubicBezTo>
                  <a:cubicBezTo>
                    <a:pt x="1710" y="149"/>
                    <a:pt x="1711" y="145"/>
                    <a:pt x="1714" y="145"/>
                  </a:cubicBezTo>
                  <a:cubicBezTo>
                    <a:pt x="1723" y="135"/>
                    <a:pt x="1724" y="159"/>
                    <a:pt x="1725" y="137"/>
                  </a:cubicBezTo>
                  <a:cubicBezTo>
                    <a:pt x="1730" y="139"/>
                    <a:pt x="1730" y="148"/>
                    <a:pt x="1738" y="145"/>
                  </a:cubicBezTo>
                  <a:cubicBezTo>
                    <a:pt x="1736" y="155"/>
                    <a:pt x="1742" y="154"/>
                    <a:pt x="1741" y="163"/>
                  </a:cubicBezTo>
                  <a:cubicBezTo>
                    <a:pt x="1749" y="160"/>
                    <a:pt x="1739" y="151"/>
                    <a:pt x="1741" y="145"/>
                  </a:cubicBezTo>
                  <a:cubicBezTo>
                    <a:pt x="1746" y="151"/>
                    <a:pt x="1753" y="132"/>
                    <a:pt x="1760" y="141"/>
                  </a:cubicBezTo>
                  <a:cubicBezTo>
                    <a:pt x="1760" y="141"/>
                    <a:pt x="1760" y="145"/>
                    <a:pt x="1760" y="145"/>
                  </a:cubicBezTo>
                  <a:cubicBezTo>
                    <a:pt x="1761" y="144"/>
                    <a:pt x="1763" y="137"/>
                    <a:pt x="1762" y="137"/>
                  </a:cubicBezTo>
                  <a:cubicBezTo>
                    <a:pt x="1766" y="137"/>
                    <a:pt x="1766" y="147"/>
                    <a:pt x="1768" y="148"/>
                  </a:cubicBezTo>
                  <a:cubicBezTo>
                    <a:pt x="1772" y="151"/>
                    <a:pt x="1773" y="134"/>
                    <a:pt x="1778" y="145"/>
                  </a:cubicBezTo>
                  <a:cubicBezTo>
                    <a:pt x="1787" y="146"/>
                    <a:pt x="1779" y="126"/>
                    <a:pt x="1789" y="130"/>
                  </a:cubicBezTo>
                  <a:cubicBezTo>
                    <a:pt x="1788" y="135"/>
                    <a:pt x="1785" y="139"/>
                    <a:pt x="1784" y="145"/>
                  </a:cubicBezTo>
                  <a:cubicBezTo>
                    <a:pt x="1785" y="152"/>
                    <a:pt x="1794" y="147"/>
                    <a:pt x="1797" y="148"/>
                  </a:cubicBezTo>
                  <a:cubicBezTo>
                    <a:pt x="1797" y="148"/>
                    <a:pt x="1797" y="152"/>
                    <a:pt x="1797" y="152"/>
                  </a:cubicBezTo>
                  <a:cubicBezTo>
                    <a:pt x="1803" y="153"/>
                    <a:pt x="1811" y="148"/>
                    <a:pt x="1816" y="156"/>
                  </a:cubicBezTo>
                  <a:cubicBezTo>
                    <a:pt x="1816" y="156"/>
                    <a:pt x="1816" y="159"/>
                    <a:pt x="1816" y="159"/>
                  </a:cubicBezTo>
                  <a:cubicBezTo>
                    <a:pt x="1824" y="159"/>
                    <a:pt x="1822" y="138"/>
                    <a:pt x="1827" y="159"/>
                  </a:cubicBezTo>
                  <a:cubicBezTo>
                    <a:pt x="1831" y="158"/>
                    <a:pt x="1829" y="150"/>
                    <a:pt x="1830" y="145"/>
                  </a:cubicBezTo>
                  <a:cubicBezTo>
                    <a:pt x="1827" y="141"/>
                    <a:pt x="1824" y="137"/>
                    <a:pt x="1822" y="133"/>
                  </a:cubicBezTo>
                  <a:cubicBezTo>
                    <a:pt x="1821" y="122"/>
                    <a:pt x="1829" y="143"/>
                    <a:pt x="1830" y="130"/>
                  </a:cubicBezTo>
                  <a:cubicBezTo>
                    <a:pt x="1837" y="136"/>
                    <a:pt x="1826" y="166"/>
                    <a:pt x="1843" y="159"/>
                  </a:cubicBezTo>
                  <a:cubicBezTo>
                    <a:pt x="1842" y="162"/>
                    <a:pt x="1840" y="165"/>
                    <a:pt x="1840" y="170"/>
                  </a:cubicBezTo>
                  <a:cubicBezTo>
                    <a:pt x="1832" y="174"/>
                    <a:pt x="1832" y="165"/>
                    <a:pt x="1827" y="163"/>
                  </a:cubicBezTo>
                  <a:cubicBezTo>
                    <a:pt x="1820" y="163"/>
                    <a:pt x="1815" y="167"/>
                    <a:pt x="1811" y="167"/>
                  </a:cubicBezTo>
                  <a:cubicBezTo>
                    <a:pt x="1812" y="167"/>
                    <a:pt x="1808" y="155"/>
                    <a:pt x="1805" y="159"/>
                  </a:cubicBezTo>
                  <a:cubicBezTo>
                    <a:pt x="1803" y="164"/>
                    <a:pt x="1805" y="160"/>
                    <a:pt x="1803" y="159"/>
                  </a:cubicBezTo>
                  <a:cubicBezTo>
                    <a:pt x="1800" y="159"/>
                    <a:pt x="1800" y="163"/>
                    <a:pt x="1800" y="163"/>
                  </a:cubicBezTo>
                  <a:cubicBezTo>
                    <a:pt x="1794" y="162"/>
                    <a:pt x="1793" y="156"/>
                    <a:pt x="1787" y="156"/>
                  </a:cubicBezTo>
                  <a:cubicBezTo>
                    <a:pt x="1787" y="159"/>
                    <a:pt x="1790" y="159"/>
                    <a:pt x="1792" y="159"/>
                  </a:cubicBezTo>
                  <a:cubicBezTo>
                    <a:pt x="1789" y="166"/>
                    <a:pt x="1785" y="170"/>
                    <a:pt x="1784" y="178"/>
                  </a:cubicBezTo>
                  <a:cubicBezTo>
                    <a:pt x="1776" y="175"/>
                    <a:pt x="1787" y="169"/>
                    <a:pt x="1784" y="159"/>
                  </a:cubicBezTo>
                  <a:cubicBezTo>
                    <a:pt x="1781" y="159"/>
                    <a:pt x="1782" y="164"/>
                    <a:pt x="1781" y="167"/>
                  </a:cubicBezTo>
                  <a:cubicBezTo>
                    <a:pt x="1778" y="164"/>
                    <a:pt x="1778" y="158"/>
                    <a:pt x="1773" y="159"/>
                  </a:cubicBezTo>
                  <a:cubicBezTo>
                    <a:pt x="1773" y="156"/>
                    <a:pt x="1773" y="152"/>
                    <a:pt x="1773" y="148"/>
                  </a:cubicBezTo>
                  <a:cubicBezTo>
                    <a:pt x="1770" y="147"/>
                    <a:pt x="1764" y="159"/>
                    <a:pt x="1770" y="159"/>
                  </a:cubicBezTo>
                  <a:cubicBezTo>
                    <a:pt x="1769" y="163"/>
                    <a:pt x="1764" y="163"/>
                    <a:pt x="1765" y="170"/>
                  </a:cubicBezTo>
                  <a:cubicBezTo>
                    <a:pt x="1760" y="164"/>
                    <a:pt x="1762" y="171"/>
                    <a:pt x="1754" y="170"/>
                  </a:cubicBezTo>
                  <a:cubicBezTo>
                    <a:pt x="1754" y="160"/>
                    <a:pt x="1759" y="163"/>
                    <a:pt x="1754" y="156"/>
                  </a:cubicBezTo>
                  <a:cubicBezTo>
                    <a:pt x="1750" y="159"/>
                    <a:pt x="1749" y="165"/>
                    <a:pt x="1749" y="174"/>
                  </a:cubicBezTo>
                  <a:cubicBezTo>
                    <a:pt x="1747" y="172"/>
                    <a:pt x="1744" y="171"/>
                    <a:pt x="1744" y="167"/>
                  </a:cubicBezTo>
                  <a:cubicBezTo>
                    <a:pt x="1741" y="168"/>
                    <a:pt x="1741" y="170"/>
                    <a:pt x="1738" y="170"/>
                  </a:cubicBezTo>
                  <a:cubicBezTo>
                    <a:pt x="1734" y="171"/>
                    <a:pt x="1734" y="167"/>
                    <a:pt x="1730" y="167"/>
                  </a:cubicBezTo>
                  <a:cubicBezTo>
                    <a:pt x="1725" y="166"/>
                    <a:pt x="1722" y="176"/>
                    <a:pt x="1722" y="163"/>
                  </a:cubicBezTo>
                  <a:cubicBezTo>
                    <a:pt x="1717" y="159"/>
                    <a:pt x="1718" y="170"/>
                    <a:pt x="1717" y="170"/>
                  </a:cubicBezTo>
                  <a:cubicBezTo>
                    <a:pt x="1716" y="171"/>
                    <a:pt x="1706" y="163"/>
                    <a:pt x="1698" y="167"/>
                  </a:cubicBezTo>
                  <a:cubicBezTo>
                    <a:pt x="1700" y="155"/>
                    <a:pt x="1695" y="153"/>
                    <a:pt x="1695" y="145"/>
                  </a:cubicBezTo>
                  <a:cubicBezTo>
                    <a:pt x="1704" y="146"/>
                    <a:pt x="1704" y="160"/>
                    <a:pt x="1711" y="163"/>
                  </a:cubicBezTo>
                  <a:close/>
                  <a:moveTo>
                    <a:pt x="1832" y="196"/>
                  </a:moveTo>
                  <a:cubicBezTo>
                    <a:pt x="1824" y="194"/>
                    <a:pt x="1836" y="191"/>
                    <a:pt x="1835" y="185"/>
                  </a:cubicBezTo>
                  <a:cubicBezTo>
                    <a:pt x="1844" y="189"/>
                    <a:pt x="1832" y="193"/>
                    <a:pt x="1832" y="196"/>
                  </a:cubicBezTo>
                  <a:close/>
                  <a:moveTo>
                    <a:pt x="1838" y="1199"/>
                  </a:moveTo>
                  <a:cubicBezTo>
                    <a:pt x="1841" y="1198"/>
                    <a:pt x="1840" y="1202"/>
                    <a:pt x="1840" y="1202"/>
                  </a:cubicBezTo>
                  <a:cubicBezTo>
                    <a:pt x="1843" y="1203"/>
                    <a:pt x="1854" y="1199"/>
                    <a:pt x="1851" y="1210"/>
                  </a:cubicBezTo>
                  <a:cubicBezTo>
                    <a:pt x="1843" y="1212"/>
                    <a:pt x="1841" y="1206"/>
                    <a:pt x="1835" y="1206"/>
                  </a:cubicBezTo>
                  <a:cubicBezTo>
                    <a:pt x="1836" y="1206"/>
                    <a:pt x="1837" y="1199"/>
                    <a:pt x="1838" y="1199"/>
                  </a:cubicBezTo>
                  <a:close/>
                  <a:moveTo>
                    <a:pt x="1784" y="244"/>
                  </a:moveTo>
                  <a:cubicBezTo>
                    <a:pt x="1785" y="239"/>
                    <a:pt x="1792" y="241"/>
                    <a:pt x="1789" y="230"/>
                  </a:cubicBezTo>
                  <a:cubicBezTo>
                    <a:pt x="1792" y="232"/>
                    <a:pt x="1793" y="236"/>
                    <a:pt x="1795" y="241"/>
                  </a:cubicBezTo>
                  <a:cubicBezTo>
                    <a:pt x="1797" y="238"/>
                    <a:pt x="1799" y="234"/>
                    <a:pt x="1800" y="230"/>
                  </a:cubicBezTo>
                  <a:cubicBezTo>
                    <a:pt x="1804" y="231"/>
                    <a:pt x="1802" y="239"/>
                    <a:pt x="1803" y="244"/>
                  </a:cubicBezTo>
                  <a:cubicBezTo>
                    <a:pt x="1807" y="249"/>
                    <a:pt x="1809" y="255"/>
                    <a:pt x="1816" y="255"/>
                  </a:cubicBezTo>
                  <a:cubicBezTo>
                    <a:pt x="1814" y="266"/>
                    <a:pt x="1808" y="250"/>
                    <a:pt x="1800" y="255"/>
                  </a:cubicBezTo>
                  <a:cubicBezTo>
                    <a:pt x="1801" y="238"/>
                    <a:pt x="1795" y="249"/>
                    <a:pt x="1784" y="244"/>
                  </a:cubicBezTo>
                  <a:close/>
                  <a:moveTo>
                    <a:pt x="1805" y="226"/>
                  </a:moveTo>
                  <a:cubicBezTo>
                    <a:pt x="1796" y="232"/>
                    <a:pt x="1804" y="213"/>
                    <a:pt x="1797" y="215"/>
                  </a:cubicBezTo>
                  <a:cubicBezTo>
                    <a:pt x="1800" y="205"/>
                    <a:pt x="1808" y="217"/>
                    <a:pt x="1805" y="226"/>
                  </a:cubicBezTo>
                  <a:close/>
                  <a:moveTo>
                    <a:pt x="1797" y="189"/>
                  </a:moveTo>
                  <a:cubicBezTo>
                    <a:pt x="1800" y="178"/>
                    <a:pt x="1804" y="194"/>
                    <a:pt x="1811" y="189"/>
                  </a:cubicBezTo>
                  <a:cubicBezTo>
                    <a:pt x="1810" y="198"/>
                    <a:pt x="1799" y="191"/>
                    <a:pt x="1797" y="189"/>
                  </a:cubicBezTo>
                  <a:close/>
                  <a:moveTo>
                    <a:pt x="1730" y="1254"/>
                  </a:moveTo>
                  <a:cubicBezTo>
                    <a:pt x="1728" y="1255"/>
                    <a:pt x="1727" y="1258"/>
                    <a:pt x="1725" y="1258"/>
                  </a:cubicBezTo>
                  <a:cubicBezTo>
                    <a:pt x="1720" y="1258"/>
                    <a:pt x="1723" y="1270"/>
                    <a:pt x="1719" y="1273"/>
                  </a:cubicBezTo>
                  <a:cubicBezTo>
                    <a:pt x="1715" y="1265"/>
                    <a:pt x="1716" y="1269"/>
                    <a:pt x="1709" y="1265"/>
                  </a:cubicBezTo>
                  <a:cubicBezTo>
                    <a:pt x="1708" y="1258"/>
                    <a:pt x="1718" y="1265"/>
                    <a:pt x="1719" y="1261"/>
                  </a:cubicBezTo>
                  <a:cubicBezTo>
                    <a:pt x="1720" y="1261"/>
                    <a:pt x="1715" y="1252"/>
                    <a:pt x="1717" y="1250"/>
                  </a:cubicBezTo>
                  <a:cubicBezTo>
                    <a:pt x="1719" y="1248"/>
                    <a:pt x="1730" y="1259"/>
                    <a:pt x="1727" y="1243"/>
                  </a:cubicBezTo>
                  <a:cubicBezTo>
                    <a:pt x="1731" y="1232"/>
                    <a:pt x="1728" y="1261"/>
                    <a:pt x="1738" y="1254"/>
                  </a:cubicBezTo>
                  <a:cubicBezTo>
                    <a:pt x="1748" y="1256"/>
                    <a:pt x="1728" y="1263"/>
                    <a:pt x="1730" y="1254"/>
                  </a:cubicBezTo>
                  <a:close/>
                  <a:moveTo>
                    <a:pt x="1738" y="1265"/>
                  </a:moveTo>
                  <a:cubicBezTo>
                    <a:pt x="1732" y="1277"/>
                    <a:pt x="1725" y="1255"/>
                    <a:pt x="1738" y="1265"/>
                  </a:cubicBezTo>
                  <a:close/>
                  <a:moveTo>
                    <a:pt x="1725" y="1206"/>
                  </a:moveTo>
                  <a:cubicBezTo>
                    <a:pt x="1721" y="1207"/>
                    <a:pt x="1724" y="1217"/>
                    <a:pt x="1719" y="1217"/>
                  </a:cubicBezTo>
                  <a:cubicBezTo>
                    <a:pt x="1720" y="1221"/>
                    <a:pt x="1724" y="1220"/>
                    <a:pt x="1727" y="1221"/>
                  </a:cubicBezTo>
                  <a:cubicBezTo>
                    <a:pt x="1727" y="1226"/>
                    <a:pt x="1727" y="1231"/>
                    <a:pt x="1727" y="1235"/>
                  </a:cubicBezTo>
                  <a:cubicBezTo>
                    <a:pt x="1725" y="1235"/>
                    <a:pt x="1725" y="1231"/>
                    <a:pt x="1725" y="1228"/>
                  </a:cubicBezTo>
                  <a:cubicBezTo>
                    <a:pt x="1724" y="1223"/>
                    <a:pt x="1718" y="1225"/>
                    <a:pt x="1714" y="1225"/>
                  </a:cubicBezTo>
                  <a:cubicBezTo>
                    <a:pt x="1713" y="1216"/>
                    <a:pt x="1715" y="1211"/>
                    <a:pt x="1719" y="1210"/>
                  </a:cubicBezTo>
                  <a:cubicBezTo>
                    <a:pt x="1719" y="1204"/>
                    <a:pt x="1711" y="1208"/>
                    <a:pt x="1711" y="1202"/>
                  </a:cubicBezTo>
                  <a:cubicBezTo>
                    <a:pt x="1709" y="1191"/>
                    <a:pt x="1717" y="1196"/>
                    <a:pt x="1722" y="1195"/>
                  </a:cubicBezTo>
                  <a:cubicBezTo>
                    <a:pt x="1722" y="1192"/>
                    <a:pt x="1722" y="1190"/>
                    <a:pt x="1722" y="1187"/>
                  </a:cubicBezTo>
                  <a:cubicBezTo>
                    <a:pt x="1726" y="1189"/>
                    <a:pt x="1724" y="1197"/>
                    <a:pt x="1725" y="1202"/>
                  </a:cubicBezTo>
                  <a:cubicBezTo>
                    <a:pt x="1733" y="1205"/>
                    <a:pt x="1733" y="1195"/>
                    <a:pt x="1738" y="1202"/>
                  </a:cubicBezTo>
                  <a:cubicBezTo>
                    <a:pt x="1739" y="1210"/>
                    <a:pt x="1729" y="1204"/>
                    <a:pt x="1725" y="1206"/>
                  </a:cubicBezTo>
                  <a:close/>
                  <a:moveTo>
                    <a:pt x="1719" y="577"/>
                  </a:moveTo>
                  <a:cubicBezTo>
                    <a:pt x="1719" y="581"/>
                    <a:pt x="1716" y="580"/>
                    <a:pt x="1714" y="581"/>
                  </a:cubicBezTo>
                  <a:cubicBezTo>
                    <a:pt x="1714" y="578"/>
                    <a:pt x="1713" y="577"/>
                    <a:pt x="1711" y="577"/>
                  </a:cubicBezTo>
                  <a:cubicBezTo>
                    <a:pt x="1712" y="573"/>
                    <a:pt x="1717" y="575"/>
                    <a:pt x="1717" y="570"/>
                  </a:cubicBezTo>
                  <a:cubicBezTo>
                    <a:pt x="1720" y="571"/>
                    <a:pt x="1718" y="574"/>
                    <a:pt x="1717" y="574"/>
                  </a:cubicBezTo>
                  <a:cubicBezTo>
                    <a:pt x="1716" y="577"/>
                    <a:pt x="1718" y="577"/>
                    <a:pt x="1719" y="577"/>
                  </a:cubicBezTo>
                  <a:close/>
                  <a:moveTo>
                    <a:pt x="1722" y="614"/>
                  </a:moveTo>
                  <a:cubicBezTo>
                    <a:pt x="1718" y="616"/>
                    <a:pt x="1717" y="611"/>
                    <a:pt x="1717" y="607"/>
                  </a:cubicBezTo>
                  <a:cubicBezTo>
                    <a:pt x="1711" y="608"/>
                    <a:pt x="1708" y="606"/>
                    <a:pt x="1709" y="599"/>
                  </a:cubicBezTo>
                  <a:cubicBezTo>
                    <a:pt x="1719" y="597"/>
                    <a:pt x="1728" y="606"/>
                    <a:pt x="1722" y="614"/>
                  </a:cubicBezTo>
                  <a:close/>
                  <a:moveTo>
                    <a:pt x="1741" y="559"/>
                  </a:moveTo>
                  <a:cubicBezTo>
                    <a:pt x="1744" y="560"/>
                    <a:pt x="1742" y="562"/>
                    <a:pt x="1741" y="562"/>
                  </a:cubicBezTo>
                  <a:cubicBezTo>
                    <a:pt x="1739" y="576"/>
                    <a:pt x="1754" y="590"/>
                    <a:pt x="1738" y="592"/>
                  </a:cubicBezTo>
                  <a:cubicBezTo>
                    <a:pt x="1739" y="589"/>
                    <a:pt x="1741" y="585"/>
                    <a:pt x="1744" y="585"/>
                  </a:cubicBezTo>
                  <a:cubicBezTo>
                    <a:pt x="1744" y="577"/>
                    <a:pt x="1734" y="583"/>
                    <a:pt x="1730" y="581"/>
                  </a:cubicBezTo>
                  <a:cubicBezTo>
                    <a:pt x="1733" y="573"/>
                    <a:pt x="1738" y="567"/>
                    <a:pt x="1741" y="559"/>
                  </a:cubicBezTo>
                  <a:close/>
                  <a:moveTo>
                    <a:pt x="1738" y="230"/>
                  </a:moveTo>
                  <a:cubicBezTo>
                    <a:pt x="1738" y="227"/>
                    <a:pt x="1738" y="225"/>
                    <a:pt x="1738" y="222"/>
                  </a:cubicBezTo>
                  <a:cubicBezTo>
                    <a:pt x="1744" y="220"/>
                    <a:pt x="1743" y="228"/>
                    <a:pt x="1744" y="233"/>
                  </a:cubicBezTo>
                  <a:cubicBezTo>
                    <a:pt x="1741" y="233"/>
                    <a:pt x="1741" y="230"/>
                    <a:pt x="1738" y="230"/>
                  </a:cubicBezTo>
                  <a:close/>
                  <a:moveTo>
                    <a:pt x="1754" y="222"/>
                  </a:moveTo>
                  <a:cubicBezTo>
                    <a:pt x="1761" y="224"/>
                    <a:pt x="1753" y="246"/>
                    <a:pt x="1762" y="244"/>
                  </a:cubicBezTo>
                  <a:cubicBezTo>
                    <a:pt x="1760" y="263"/>
                    <a:pt x="1753" y="236"/>
                    <a:pt x="1749" y="248"/>
                  </a:cubicBezTo>
                  <a:cubicBezTo>
                    <a:pt x="1742" y="247"/>
                    <a:pt x="1747" y="231"/>
                    <a:pt x="1754" y="237"/>
                  </a:cubicBezTo>
                  <a:cubicBezTo>
                    <a:pt x="1753" y="224"/>
                    <a:pt x="1746" y="231"/>
                    <a:pt x="1754" y="222"/>
                  </a:cubicBezTo>
                  <a:close/>
                  <a:moveTo>
                    <a:pt x="1754" y="204"/>
                  </a:moveTo>
                  <a:cubicBezTo>
                    <a:pt x="1754" y="199"/>
                    <a:pt x="1754" y="194"/>
                    <a:pt x="1754" y="189"/>
                  </a:cubicBezTo>
                  <a:cubicBezTo>
                    <a:pt x="1756" y="189"/>
                    <a:pt x="1758" y="189"/>
                    <a:pt x="1760" y="189"/>
                  </a:cubicBezTo>
                  <a:cubicBezTo>
                    <a:pt x="1760" y="194"/>
                    <a:pt x="1760" y="199"/>
                    <a:pt x="1760" y="204"/>
                  </a:cubicBezTo>
                  <a:cubicBezTo>
                    <a:pt x="1758" y="204"/>
                    <a:pt x="1756" y="204"/>
                    <a:pt x="1754" y="204"/>
                  </a:cubicBezTo>
                  <a:close/>
                  <a:moveTo>
                    <a:pt x="1754" y="618"/>
                  </a:moveTo>
                  <a:cubicBezTo>
                    <a:pt x="1759" y="617"/>
                    <a:pt x="1759" y="621"/>
                    <a:pt x="1762" y="622"/>
                  </a:cubicBezTo>
                  <a:cubicBezTo>
                    <a:pt x="1763" y="629"/>
                    <a:pt x="1750" y="627"/>
                    <a:pt x="1754" y="618"/>
                  </a:cubicBezTo>
                  <a:close/>
                  <a:moveTo>
                    <a:pt x="1741" y="784"/>
                  </a:moveTo>
                  <a:cubicBezTo>
                    <a:pt x="1741" y="785"/>
                    <a:pt x="1743" y="777"/>
                    <a:pt x="1744" y="777"/>
                  </a:cubicBezTo>
                  <a:cubicBezTo>
                    <a:pt x="1744" y="777"/>
                    <a:pt x="1743" y="773"/>
                    <a:pt x="1744" y="773"/>
                  </a:cubicBezTo>
                  <a:cubicBezTo>
                    <a:pt x="1753" y="771"/>
                    <a:pt x="1744" y="790"/>
                    <a:pt x="1741" y="784"/>
                  </a:cubicBezTo>
                  <a:close/>
                  <a:moveTo>
                    <a:pt x="1735" y="640"/>
                  </a:moveTo>
                  <a:cubicBezTo>
                    <a:pt x="1736" y="636"/>
                    <a:pt x="1735" y="634"/>
                    <a:pt x="1733" y="633"/>
                  </a:cubicBezTo>
                  <a:cubicBezTo>
                    <a:pt x="1737" y="619"/>
                    <a:pt x="1737" y="641"/>
                    <a:pt x="1744" y="636"/>
                  </a:cubicBezTo>
                  <a:cubicBezTo>
                    <a:pt x="1743" y="645"/>
                    <a:pt x="1740" y="652"/>
                    <a:pt x="1738" y="659"/>
                  </a:cubicBezTo>
                  <a:cubicBezTo>
                    <a:pt x="1734" y="667"/>
                    <a:pt x="1739" y="635"/>
                    <a:pt x="1735" y="640"/>
                  </a:cubicBezTo>
                  <a:close/>
                  <a:moveTo>
                    <a:pt x="1730" y="603"/>
                  </a:moveTo>
                  <a:cubicBezTo>
                    <a:pt x="1736" y="612"/>
                    <a:pt x="1744" y="596"/>
                    <a:pt x="1744" y="614"/>
                  </a:cubicBezTo>
                  <a:cubicBezTo>
                    <a:pt x="1739" y="611"/>
                    <a:pt x="1729" y="614"/>
                    <a:pt x="1730" y="603"/>
                  </a:cubicBezTo>
                  <a:close/>
                  <a:moveTo>
                    <a:pt x="1733" y="566"/>
                  </a:moveTo>
                  <a:cubicBezTo>
                    <a:pt x="1731" y="568"/>
                    <a:pt x="1727" y="565"/>
                    <a:pt x="1727" y="570"/>
                  </a:cubicBezTo>
                  <a:cubicBezTo>
                    <a:pt x="1723" y="568"/>
                    <a:pt x="1725" y="564"/>
                    <a:pt x="1727" y="562"/>
                  </a:cubicBezTo>
                  <a:cubicBezTo>
                    <a:pt x="1731" y="560"/>
                    <a:pt x="1741" y="559"/>
                    <a:pt x="1733" y="566"/>
                  </a:cubicBezTo>
                  <a:close/>
                  <a:moveTo>
                    <a:pt x="1727" y="688"/>
                  </a:moveTo>
                  <a:cubicBezTo>
                    <a:pt x="1726" y="695"/>
                    <a:pt x="1731" y="711"/>
                    <a:pt x="1722" y="707"/>
                  </a:cubicBezTo>
                  <a:cubicBezTo>
                    <a:pt x="1727" y="700"/>
                    <a:pt x="1722" y="687"/>
                    <a:pt x="1717" y="684"/>
                  </a:cubicBezTo>
                  <a:cubicBezTo>
                    <a:pt x="1721" y="671"/>
                    <a:pt x="1721" y="693"/>
                    <a:pt x="1727" y="688"/>
                  </a:cubicBezTo>
                  <a:close/>
                  <a:moveTo>
                    <a:pt x="1738" y="1165"/>
                  </a:moveTo>
                  <a:cubicBezTo>
                    <a:pt x="1742" y="1168"/>
                    <a:pt x="1743" y="1173"/>
                    <a:pt x="1744" y="1180"/>
                  </a:cubicBezTo>
                  <a:cubicBezTo>
                    <a:pt x="1739" y="1179"/>
                    <a:pt x="1737" y="1174"/>
                    <a:pt x="1738" y="1165"/>
                  </a:cubicBezTo>
                  <a:close/>
                  <a:moveTo>
                    <a:pt x="1757" y="1206"/>
                  </a:moveTo>
                  <a:cubicBezTo>
                    <a:pt x="1750" y="1207"/>
                    <a:pt x="1751" y="1199"/>
                    <a:pt x="1744" y="1202"/>
                  </a:cubicBezTo>
                  <a:cubicBezTo>
                    <a:pt x="1744" y="1191"/>
                    <a:pt x="1760" y="1192"/>
                    <a:pt x="1757" y="1206"/>
                  </a:cubicBezTo>
                  <a:close/>
                  <a:moveTo>
                    <a:pt x="1757" y="1235"/>
                  </a:moveTo>
                  <a:cubicBezTo>
                    <a:pt x="1760" y="1237"/>
                    <a:pt x="1763" y="1240"/>
                    <a:pt x="1762" y="1247"/>
                  </a:cubicBezTo>
                  <a:cubicBezTo>
                    <a:pt x="1753" y="1250"/>
                    <a:pt x="1753" y="1241"/>
                    <a:pt x="1757" y="1235"/>
                  </a:cubicBezTo>
                  <a:close/>
                  <a:moveTo>
                    <a:pt x="1760" y="696"/>
                  </a:moveTo>
                  <a:cubicBezTo>
                    <a:pt x="1764" y="695"/>
                    <a:pt x="1765" y="699"/>
                    <a:pt x="1762" y="699"/>
                  </a:cubicBezTo>
                  <a:cubicBezTo>
                    <a:pt x="1763" y="709"/>
                    <a:pt x="1767" y="711"/>
                    <a:pt x="1762" y="718"/>
                  </a:cubicBezTo>
                  <a:cubicBezTo>
                    <a:pt x="1756" y="717"/>
                    <a:pt x="1761" y="702"/>
                    <a:pt x="1760" y="696"/>
                  </a:cubicBezTo>
                  <a:close/>
                  <a:moveTo>
                    <a:pt x="1706" y="640"/>
                  </a:moveTo>
                  <a:cubicBezTo>
                    <a:pt x="1711" y="640"/>
                    <a:pt x="1705" y="656"/>
                    <a:pt x="1698" y="651"/>
                  </a:cubicBezTo>
                  <a:cubicBezTo>
                    <a:pt x="1698" y="644"/>
                    <a:pt x="1707" y="649"/>
                    <a:pt x="1706" y="640"/>
                  </a:cubicBezTo>
                  <a:close/>
                  <a:moveTo>
                    <a:pt x="1698" y="540"/>
                  </a:moveTo>
                  <a:cubicBezTo>
                    <a:pt x="1699" y="533"/>
                    <a:pt x="1701" y="543"/>
                    <a:pt x="1700" y="548"/>
                  </a:cubicBezTo>
                  <a:cubicBezTo>
                    <a:pt x="1700" y="555"/>
                    <a:pt x="1697" y="545"/>
                    <a:pt x="1698" y="540"/>
                  </a:cubicBezTo>
                  <a:close/>
                  <a:moveTo>
                    <a:pt x="1698" y="200"/>
                  </a:moveTo>
                  <a:cubicBezTo>
                    <a:pt x="1700" y="200"/>
                    <a:pt x="1701" y="200"/>
                    <a:pt x="1703" y="200"/>
                  </a:cubicBezTo>
                  <a:cubicBezTo>
                    <a:pt x="1704" y="210"/>
                    <a:pt x="1683" y="199"/>
                    <a:pt x="1698" y="200"/>
                  </a:cubicBezTo>
                  <a:close/>
                  <a:moveTo>
                    <a:pt x="1684" y="566"/>
                  </a:moveTo>
                  <a:cubicBezTo>
                    <a:pt x="1684" y="560"/>
                    <a:pt x="1699" y="560"/>
                    <a:pt x="1695" y="570"/>
                  </a:cubicBezTo>
                  <a:cubicBezTo>
                    <a:pt x="1690" y="570"/>
                    <a:pt x="1689" y="565"/>
                    <a:pt x="1684" y="566"/>
                  </a:cubicBezTo>
                  <a:close/>
                  <a:moveTo>
                    <a:pt x="1692" y="622"/>
                  </a:moveTo>
                  <a:cubicBezTo>
                    <a:pt x="1692" y="624"/>
                    <a:pt x="1692" y="627"/>
                    <a:pt x="1692" y="629"/>
                  </a:cubicBezTo>
                  <a:cubicBezTo>
                    <a:pt x="1691" y="629"/>
                    <a:pt x="1689" y="629"/>
                    <a:pt x="1687" y="629"/>
                  </a:cubicBezTo>
                  <a:cubicBezTo>
                    <a:pt x="1687" y="627"/>
                    <a:pt x="1687" y="624"/>
                    <a:pt x="1687" y="622"/>
                  </a:cubicBezTo>
                  <a:cubicBezTo>
                    <a:pt x="1689" y="622"/>
                    <a:pt x="1691" y="622"/>
                    <a:pt x="1692" y="622"/>
                  </a:cubicBezTo>
                  <a:close/>
                  <a:moveTo>
                    <a:pt x="1690" y="63"/>
                  </a:moveTo>
                  <a:cubicBezTo>
                    <a:pt x="1699" y="70"/>
                    <a:pt x="1686" y="73"/>
                    <a:pt x="1684" y="71"/>
                  </a:cubicBezTo>
                  <a:cubicBezTo>
                    <a:pt x="1683" y="69"/>
                    <a:pt x="1691" y="66"/>
                    <a:pt x="1690" y="63"/>
                  </a:cubicBezTo>
                  <a:close/>
                  <a:moveTo>
                    <a:pt x="1684" y="1184"/>
                  </a:moveTo>
                  <a:cubicBezTo>
                    <a:pt x="1695" y="1183"/>
                    <a:pt x="1685" y="1187"/>
                    <a:pt x="1687" y="1195"/>
                  </a:cubicBezTo>
                  <a:cubicBezTo>
                    <a:pt x="1699" y="1195"/>
                    <a:pt x="1691" y="1186"/>
                    <a:pt x="1695" y="1180"/>
                  </a:cubicBezTo>
                  <a:cubicBezTo>
                    <a:pt x="1703" y="1180"/>
                    <a:pt x="1693" y="1203"/>
                    <a:pt x="1700" y="1202"/>
                  </a:cubicBezTo>
                  <a:cubicBezTo>
                    <a:pt x="1696" y="1213"/>
                    <a:pt x="1688" y="1197"/>
                    <a:pt x="1679" y="1202"/>
                  </a:cubicBezTo>
                  <a:cubicBezTo>
                    <a:pt x="1680" y="1195"/>
                    <a:pt x="1687" y="1196"/>
                    <a:pt x="1684" y="1184"/>
                  </a:cubicBezTo>
                  <a:close/>
                  <a:moveTo>
                    <a:pt x="1671" y="185"/>
                  </a:moveTo>
                  <a:cubicBezTo>
                    <a:pt x="1677" y="183"/>
                    <a:pt x="1681" y="207"/>
                    <a:pt x="1671" y="204"/>
                  </a:cubicBezTo>
                  <a:cubicBezTo>
                    <a:pt x="1675" y="198"/>
                    <a:pt x="1673" y="192"/>
                    <a:pt x="1666" y="193"/>
                  </a:cubicBezTo>
                  <a:cubicBezTo>
                    <a:pt x="1666" y="189"/>
                    <a:pt x="1671" y="190"/>
                    <a:pt x="1671" y="185"/>
                  </a:cubicBezTo>
                  <a:close/>
                  <a:moveTo>
                    <a:pt x="1668" y="215"/>
                  </a:moveTo>
                  <a:cubicBezTo>
                    <a:pt x="1676" y="215"/>
                    <a:pt x="1674" y="209"/>
                    <a:pt x="1679" y="215"/>
                  </a:cubicBezTo>
                  <a:cubicBezTo>
                    <a:pt x="1678" y="218"/>
                    <a:pt x="1676" y="221"/>
                    <a:pt x="1676" y="226"/>
                  </a:cubicBezTo>
                  <a:cubicBezTo>
                    <a:pt x="1668" y="229"/>
                    <a:pt x="1673" y="214"/>
                    <a:pt x="1666" y="215"/>
                  </a:cubicBezTo>
                  <a:cubicBezTo>
                    <a:pt x="1660" y="212"/>
                    <a:pt x="1668" y="209"/>
                    <a:pt x="1668" y="215"/>
                  </a:cubicBezTo>
                  <a:close/>
                  <a:moveTo>
                    <a:pt x="1668" y="237"/>
                  </a:moveTo>
                  <a:cubicBezTo>
                    <a:pt x="1669" y="234"/>
                    <a:pt x="1671" y="233"/>
                    <a:pt x="1671" y="230"/>
                  </a:cubicBezTo>
                  <a:cubicBezTo>
                    <a:pt x="1674" y="231"/>
                    <a:pt x="1676" y="234"/>
                    <a:pt x="1676" y="241"/>
                  </a:cubicBezTo>
                  <a:cubicBezTo>
                    <a:pt x="1672" y="242"/>
                    <a:pt x="1672" y="237"/>
                    <a:pt x="1668" y="237"/>
                  </a:cubicBezTo>
                  <a:close/>
                  <a:moveTo>
                    <a:pt x="1676" y="692"/>
                  </a:moveTo>
                  <a:cubicBezTo>
                    <a:pt x="1676" y="694"/>
                    <a:pt x="1676" y="697"/>
                    <a:pt x="1676" y="699"/>
                  </a:cubicBezTo>
                  <a:cubicBezTo>
                    <a:pt x="1675" y="699"/>
                    <a:pt x="1673" y="699"/>
                    <a:pt x="1671" y="699"/>
                  </a:cubicBezTo>
                  <a:cubicBezTo>
                    <a:pt x="1671" y="697"/>
                    <a:pt x="1671" y="694"/>
                    <a:pt x="1671" y="692"/>
                  </a:cubicBezTo>
                  <a:cubicBezTo>
                    <a:pt x="1673" y="692"/>
                    <a:pt x="1675" y="692"/>
                    <a:pt x="1676" y="692"/>
                  </a:cubicBezTo>
                  <a:close/>
                  <a:moveTo>
                    <a:pt x="1668" y="648"/>
                  </a:moveTo>
                  <a:cubicBezTo>
                    <a:pt x="1660" y="661"/>
                    <a:pt x="1659" y="636"/>
                    <a:pt x="1668" y="648"/>
                  </a:cubicBezTo>
                  <a:close/>
                  <a:moveTo>
                    <a:pt x="1663" y="1162"/>
                  </a:moveTo>
                  <a:cubicBezTo>
                    <a:pt x="1661" y="1161"/>
                    <a:pt x="1660" y="1163"/>
                    <a:pt x="1660" y="1165"/>
                  </a:cubicBezTo>
                  <a:cubicBezTo>
                    <a:pt x="1657" y="1165"/>
                    <a:pt x="1658" y="1159"/>
                    <a:pt x="1657" y="1154"/>
                  </a:cubicBezTo>
                  <a:cubicBezTo>
                    <a:pt x="1662" y="1153"/>
                    <a:pt x="1663" y="1157"/>
                    <a:pt x="1663" y="1162"/>
                  </a:cubicBezTo>
                  <a:close/>
                  <a:moveTo>
                    <a:pt x="1655" y="233"/>
                  </a:moveTo>
                  <a:cubicBezTo>
                    <a:pt x="1658" y="234"/>
                    <a:pt x="1657" y="241"/>
                    <a:pt x="1660" y="241"/>
                  </a:cubicBezTo>
                  <a:cubicBezTo>
                    <a:pt x="1659" y="251"/>
                    <a:pt x="1652" y="241"/>
                    <a:pt x="1655" y="233"/>
                  </a:cubicBezTo>
                  <a:close/>
                  <a:moveTo>
                    <a:pt x="1671" y="1254"/>
                  </a:moveTo>
                  <a:cubicBezTo>
                    <a:pt x="1670" y="1260"/>
                    <a:pt x="1673" y="1261"/>
                    <a:pt x="1676" y="1261"/>
                  </a:cubicBezTo>
                  <a:cubicBezTo>
                    <a:pt x="1675" y="1272"/>
                    <a:pt x="1668" y="1261"/>
                    <a:pt x="1666" y="1261"/>
                  </a:cubicBezTo>
                  <a:cubicBezTo>
                    <a:pt x="1660" y="1262"/>
                    <a:pt x="1659" y="1268"/>
                    <a:pt x="1652" y="1269"/>
                  </a:cubicBezTo>
                  <a:cubicBezTo>
                    <a:pt x="1652" y="1259"/>
                    <a:pt x="1660" y="1259"/>
                    <a:pt x="1663" y="1254"/>
                  </a:cubicBezTo>
                  <a:cubicBezTo>
                    <a:pt x="1662" y="1250"/>
                    <a:pt x="1658" y="1251"/>
                    <a:pt x="1655" y="1250"/>
                  </a:cubicBezTo>
                  <a:cubicBezTo>
                    <a:pt x="1652" y="1253"/>
                    <a:pt x="1652" y="1259"/>
                    <a:pt x="1647" y="1258"/>
                  </a:cubicBezTo>
                  <a:cubicBezTo>
                    <a:pt x="1643" y="1243"/>
                    <a:pt x="1655" y="1249"/>
                    <a:pt x="1655" y="1239"/>
                  </a:cubicBezTo>
                  <a:cubicBezTo>
                    <a:pt x="1657" y="1239"/>
                    <a:pt x="1657" y="1241"/>
                    <a:pt x="1657" y="1243"/>
                  </a:cubicBezTo>
                  <a:cubicBezTo>
                    <a:pt x="1662" y="1251"/>
                    <a:pt x="1679" y="1244"/>
                    <a:pt x="1684" y="1250"/>
                  </a:cubicBezTo>
                  <a:cubicBezTo>
                    <a:pt x="1683" y="1254"/>
                    <a:pt x="1678" y="1264"/>
                    <a:pt x="1687" y="1261"/>
                  </a:cubicBezTo>
                  <a:cubicBezTo>
                    <a:pt x="1680" y="1282"/>
                    <a:pt x="1683" y="1249"/>
                    <a:pt x="1671" y="1254"/>
                  </a:cubicBezTo>
                  <a:close/>
                  <a:moveTo>
                    <a:pt x="1690" y="1258"/>
                  </a:moveTo>
                  <a:cubicBezTo>
                    <a:pt x="1680" y="1250"/>
                    <a:pt x="1696" y="1247"/>
                    <a:pt x="1698" y="1243"/>
                  </a:cubicBezTo>
                  <a:cubicBezTo>
                    <a:pt x="1700" y="1242"/>
                    <a:pt x="1700" y="1244"/>
                    <a:pt x="1700" y="1247"/>
                  </a:cubicBezTo>
                  <a:cubicBezTo>
                    <a:pt x="1701" y="1252"/>
                    <a:pt x="1707" y="1250"/>
                    <a:pt x="1711" y="1250"/>
                  </a:cubicBezTo>
                  <a:cubicBezTo>
                    <a:pt x="1719" y="1260"/>
                    <a:pt x="1690" y="1248"/>
                    <a:pt x="1690" y="1258"/>
                  </a:cubicBezTo>
                  <a:close/>
                  <a:moveTo>
                    <a:pt x="1700" y="1273"/>
                  </a:moveTo>
                  <a:cubicBezTo>
                    <a:pt x="1697" y="1273"/>
                    <a:pt x="1697" y="1260"/>
                    <a:pt x="1706" y="1261"/>
                  </a:cubicBezTo>
                  <a:cubicBezTo>
                    <a:pt x="1705" y="1263"/>
                    <a:pt x="1702" y="1272"/>
                    <a:pt x="1700" y="1273"/>
                  </a:cubicBezTo>
                  <a:close/>
                  <a:moveTo>
                    <a:pt x="1730" y="1298"/>
                  </a:moveTo>
                  <a:cubicBezTo>
                    <a:pt x="1728" y="1299"/>
                    <a:pt x="1726" y="1312"/>
                    <a:pt x="1717" y="1306"/>
                  </a:cubicBezTo>
                  <a:cubicBezTo>
                    <a:pt x="1716" y="1305"/>
                    <a:pt x="1718" y="1295"/>
                    <a:pt x="1717" y="1295"/>
                  </a:cubicBezTo>
                  <a:cubicBezTo>
                    <a:pt x="1712" y="1293"/>
                    <a:pt x="1709" y="1301"/>
                    <a:pt x="1703" y="1298"/>
                  </a:cubicBezTo>
                  <a:cubicBezTo>
                    <a:pt x="1701" y="1288"/>
                    <a:pt x="1709" y="1291"/>
                    <a:pt x="1709" y="1284"/>
                  </a:cubicBezTo>
                  <a:cubicBezTo>
                    <a:pt x="1711" y="1283"/>
                    <a:pt x="1713" y="1291"/>
                    <a:pt x="1714" y="1291"/>
                  </a:cubicBezTo>
                  <a:cubicBezTo>
                    <a:pt x="1716" y="1292"/>
                    <a:pt x="1720" y="1286"/>
                    <a:pt x="1725" y="1287"/>
                  </a:cubicBezTo>
                  <a:cubicBezTo>
                    <a:pt x="1725" y="1287"/>
                    <a:pt x="1725" y="1295"/>
                    <a:pt x="1725" y="1295"/>
                  </a:cubicBezTo>
                  <a:cubicBezTo>
                    <a:pt x="1727" y="1295"/>
                    <a:pt x="1732" y="1290"/>
                    <a:pt x="1733" y="1287"/>
                  </a:cubicBezTo>
                  <a:cubicBezTo>
                    <a:pt x="1736" y="1290"/>
                    <a:pt x="1738" y="1295"/>
                    <a:pt x="1738" y="1302"/>
                  </a:cubicBezTo>
                  <a:cubicBezTo>
                    <a:pt x="1735" y="1306"/>
                    <a:pt x="1730" y="1298"/>
                    <a:pt x="1730" y="1298"/>
                  </a:cubicBezTo>
                  <a:close/>
                  <a:moveTo>
                    <a:pt x="1735" y="1324"/>
                  </a:moveTo>
                  <a:cubicBezTo>
                    <a:pt x="1733" y="1314"/>
                    <a:pt x="1741" y="1320"/>
                    <a:pt x="1744" y="1317"/>
                  </a:cubicBezTo>
                  <a:cubicBezTo>
                    <a:pt x="1748" y="1311"/>
                    <a:pt x="1745" y="1318"/>
                    <a:pt x="1752" y="1324"/>
                  </a:cubicBezTo>
                  <a:cubicBezTo>
                    <a:pt x="1751" y="1331"/>
                    <a:pt x="1743" y="1320"/>
                    <a:pt x="1735" y="1324"/>
                  </a:cubicBezTo>
                  <a:close/>
                  <a:moveTo>
                    <a:pt x="1752" y="1302"/>
                  </a:moveTo>
                  <a:cubicBezTo>
                    <a:pt x="1750" y="1302"/>
                    <a:pt x="1748" y="1302"/>
                    <a:pt x="1746" y="1302"/>
                  </a:cubicBezTo>
                  <a:cubicBezTo>
                    <a:pt x="1746" y="1300"/>
                    <a:pt x="1746" y="1297"/>
                    <a:pt x="1746" y="1295"/>
                  </a:cubicBezTo>
                  <a:cubicBezTo>
                    <a:pt x="1748" y="1295"/>
                    <a:pt x="1750" y="1295"/>
                    <a:pt x="1752" y="1295"/>
                  </a:cubicBezTo>
                  <a:cubicBezTo>
                    <a:pt x="1752" y="1297"/>
                    <a:pt x="1752" y="1300"/>
                    <a:pt x="1752" y="1302"/>
                  </a:cubicBezTo>
                  <a:close/>
                  <a:moveTo>
                    <a:pt x="1757" y="1269"/>
                  </a:moveTo>
                  <a:cubicBezTo>
                    <a:pt x="1752" y="1270"/>
                    <a:pt x="1754" y="1261"/>
                    <a:pt x="1752" y="1258"/>
                  </a:cubicBezTo>
                  <a:cubicBezTo>
                    <a:pt x="1750" y="1255"/>
                    <a:pt x="1745" y="1256"/>
                    <a:pt x="1744" y="1254"/>
                  </a:cubicBezTo>
                  <a:cubicBezTo>
                    <a:pt x="1741" y="1251"/>
                    <a:pt x="1742" y="1244"/>
                    <a:pt x="1738" y="1243"/>
                  </a:cubicBezTo>
                  <a:cubicBezTo>
                    <a:pt x="1741" y="1233"/>
                    <a:pt x="1749" y="1245"/>
                    <a:pt x="1746" y="1254"/>
                  </a:cubicBezTo>
                  <a:cubicBezTo>
                    <a:pt x="1753" y="1249"/>
                    <a:pt x="1756" y="1252"/>
                    <a:pt x="1762" y="1254"/>
                  </a:cubicBezTo>
                  <a:cubicBezTo>
                    <a:pt x="1762" y="1261"/>
                    <a:pt x="1755" y="1259"/>
                    <a:pt x="1757" y="1269"/>
                  </a:cubicBezTo>
                  <a:close/>
                  <a:moveTo>
                    <a:pt x="1762" y="1269"/>
                  </a:moveTo>
                  <a:cubicBezTo>
                    <a:pt x="1767" y="1261"/>
                    <a:pt x="1772" y="1268"/>
                    <a:pt x="1768" y="1254"/>
                  </a:cubicBezTo>
                  <a:cubicBezTo>
                    <a:pt x="1777" y="1256"/>
                    <a:pt x="1773" y="1273"/>
                    <a:pt x="1762" y="1269"/>
                  </a:cubicBezTo>
                  <a:close/>
                  <a:moveTo>
                    <a:pt x="1773" y="1210"/>
                  </a:moveTo>
                  <a:cubicBezTo>
                    <a:pt x="1771" y="1207"/>
                    <a:pt x="1767" y="1206"/>
                    <a:pt x="1762" y="1206"/>
                  </a:cubicBezTo>
                  <a:cubicBezTo>
                    <a:pt x="1762" y="1199"/>
                    <a:pt x="1777" y="1199"/>
                    <a:pt x="1773" y="1210"/>
                  </a:cubicBezTo>
                  <a:close/>
                  <a:moveTo>
                    <a:pt x="1776" y="241"/>
                  </a:moveTo>
                  <a:cubicBezTo>
                    <a:pt x="1771" y="240"/>
                    <a:pt x="1770" y="245"/>
                    <a:pt x="1765" y="244"/>
                  </a:cubicBezTo>
                  <a:cubicBezTo>
                    <a:pt x="1765" y="241"/>
                    <a:pt x="1765" y="237"/>
                    <a:pt x="1765" y="233"/>
                  </a:cubicBezTo>
                  <a:cubicBezTo>
                    <a:pt x="1768" y="238"/>
                    <a:pt x="1778" y="235"/>
                    <a:pt x="1778" y="244"/>
                  </a:cubicBezTo>
                  <a:cubicBezTo>
                    <a:pt x="1777" y="250"/>
                    <a:pt x="1776" y="245"/>
                    <a:pt x="1776" y="241"/>
                  </a:cubicBezTo>
                  <a:close/>
                  <a:moveTo>
                    <a:pt x="1776" y="1206"/>
                  </a:moveTo>
                  <a:cubicBezTo>
                    <a:pt x="1777" y="1201"/>
                    <a:pt x="1782" y="1203"/>
                    <a:pt x="1787" y="1202"/>
                  </a:cubicBezTo>
                  <a:cubicBezTo>
                    <a:pt x="1787" y="1200"/>
                    <a:pt x="1787" y="1197"/>
                    <a:pt x="1787" y="1195"/>
                  </a:cubicBezTo>
                  <a:cubicBezTo>
                    <a:pt x="1789" y="1194"/>
                    <a:pt x="1789" y="1196"/>
                    <a:pt x="1789" y="1199"/>
                  </a:cubicBezTo>
                  <a:cubicBezTo>
                    <a:pt x="1789" y="1207"/>
                    <a:pt x="1799" y="1200"/>
                    <a:pt x="1803" y="1202"/>
                  </a:cubicBezTo>
                  <a:cubicBezTo>
                    <a:pt x="1805" y="1202"/>
                    <a:pt x="1805" y="1198"/>
                    <a:pt x="1805" y="1195"/>
                  </a:cubicBezTo>
                  <a:cubicBezTo>
                    <a:pt x="1808" y="1197"/>
                    <a:pt x="1810" y="1199"/>
                    <a:pt x="1811" y="1195"/>
                  </a:cubicBezTo>
                  <a:cubicBezTo>
                    <a:pt x="1814" y="1194"/>
                    <a:pt x="1812" y="1201"/>
                    <a:pt x="1813" y="1202"/>
                  </a:cubicBezTo>
                  <a:cubicBezTo>
                    <a:pt x="1817" y="1206"/>
                    <a:pt x="1827" y="1196"/>
                    <a:pt x="1824" y="1210"/>
                  </a:cubicBezTo>
                  <a:cubicBezTo>
                    <a:pt x="1818" y="1204"/>
                    <a:pt x="1813" y="1210"/>
                    <a:pt x="1805" y="1210"/>
                  </a:cubicBezTo>
                  <a:cubicBezTo>
                    <a:pt x="1797" y="1209"/>
                    <a:pt x="1787" y="1203"/>
                    <a:pt x="1776" y="1206"/>
                  </a:cubicBezTo>
                  <a:close/>
                  <a:moveTo>
                    <a:pt x="1797" y="1225"/>
                  </a:moveTo>
                  <a:cubicBezTo>
                    <a:pt x="1805" y="1211"/>
                    <a:pt x="1806" y="1236"/>
                    <a:pt x="1797" y="1225"/>
                  </a:cubicBezTo>
                  <a:close/>
                  <a:moveTo>
                    <a:pt x="1787" y="1276"/>
                  </a:moveTo>
                  <a:cubicBezTo>
                    <a:pt x="1782" y="1273"/>
                    <a:pt x="1780" y="1266"/>
                    <a:pt x="1784" y="1261"/>
                  </a:cubicBezTo>
                  <a:cubicBezTo>
                    <a:pt x="1792" y="1265"/>
                    <a:pt x="1787" y="1267"/>
                    <a:pt x="1787" y="1276"/>
                  </a:cubicBezTo>
                  <a:close/>
                  <a:moveTo>
                    <a:pt x="1778" y="1258"/>
                  </a:moveTo>
                  <a:cubicBezTo>
                    <a:pt x="1779" y="1254"/>
                    <a:pt x="1782" y="1255"/>
                    <a:pt x="1784" y="1254"/>
                  </a:cubicBezTo>
                  <a:cubicBezTo>
                    <a:pt x="1787" y="1254"/>
                    <a:pt x="1789" y="1254"/>
                    <a:pt x="1792" y="1254"/>
                  </a:cubicBezTo>
                  <a:cubicBezTo>
                    <a:pt x="1792" y="1262"/>
                    <a:pt x="1782" y="1256"/>
                    <a:pt x="1778" y="1258"/>
                  </a:cubicBezTo>
                  <a:close/>
                  <a:moveTo>
                    <a:pt x="1800" y="1276"/>
                  </a:moveTo>
                  <a:cubicBezTo>
                    <a:pt x="1795" y="1276"/>
                    <a:pt x="1798" y="1264"/>
                    <a:pt x="1792" y="1265"/>
                  </a:cubicBezTo>
                  <a:cubicBezTo>
                    <a:pt x="1792" y="1261"/>
                    <a:pt x="1797" y="1262"/>
                    <a:pt x="1800" y="1261"/>
                  </a:cubicBezTo>
                  <a:cubicBezTo>
                    <a:pt x="1796" y="1256"/>
                    <a:pt x="1790" y="1252"/>
                    <a:pt x="1792" y="1239"/>
                  </a:cubicBezTo>
                  <a:cubicBezTo>
                    <a:pt x="1802" y="1236"/>
                    <a:pt x="1800" y="1269"/>
                    <a:pt x="1805" y="1261"/>
                  </a:cubicBezTo>
                  <a:cubicBezTo>
                    <a:pt x="1816" y="1270"/>
                    <a:pt x="1796" y="1265"/>
                    <a:pt x="1800" y="1276"/>
                  </a:cubicBezTo>
                  <a:close/>
                  <a:moveTo>
                    <a:pt x="1811" y="1221"/>
                  </a:moveTo>
                  <a:cubicBezTo>
                    <a:pt x="1811" y="1208"/>
                    <a:pt x="1820" y="1229"/>
                    <a:pt x="1819" y="1217"/>
                  </a:cubicBezTo>
                  <a:cubicBezTo>
                    <a:pt x="1820" y="1216"/>
                    <a:pt x="1822" y="1224"/>
                    <a:pt x="1822" y="1225"/>
                  </a:cubicBezTo>
                  <a:cubicBezTo>
                    <a:pt x="1821" y="1225"/>
                    <a:pt x="1816" y="1223"/>
                    <a:pt x="1816" y="1225"/>
                  </a:cubicBezTo>
                  <a:cubicBezTo>
                    <a:pt x="1814" y="1232"/>
                    <a:pt x="1814" y="1235"/>
                    <a:pt x="1813" y="1243"/>
                  </a:cubicBezTo>
                  <a:cubicBezTo>
                    <a:pt x="1801" y="1236"/>
                    <a:pt x="1818" y="1227"/>
                    <a:pt x="1811" y="1221"/>
                  </a:cubicBezTo>
                  <a:close/>
                  <a:moveTo>
                    <a:pt x="1811" y="1254"/>
                  </a:moveTo>
                  <a:cubicBezTo>
                    <a:pt x="1806" y="1252"/>
                    <a:pt x="1814" y="1248"/>
                    <a:pt x="1813" y="1254"/>
                  </a:cubicBezTo>
                  <a:cubicBezTo>
                    <a:pt x="1820" y="1254"/>
                    <a:pt x="1822" y="1247"/>
                    <a:pt x="1827" y="1254"/>
                  </a:cubicBezTo>
                  <a:cubicBezTo>
                    <a:pt x="1825" y="1264"/>
                    <a:pt x="1824" y="1275"/>
                    <a:pt x="1813" y="1273"/>
                  </a:cubicBezTo>
                  <a:cubicBezTo>
                    <a:pt x="1812" y="1267"/>
                    <a:pt x="1817" y="1253"/>
                    <a:pt x="1811" y="1254"/>
                  </a:cubicBezTo>
                  <a:close/>
                  <a:moveTo>
                    <a:pt x="1827" y="1295"/>
                  </a:moveTo>
                  <a:cubicBezTo>
                    <a:pt x="1820" y="1296"/>
                    <a:pt x="1821" y="1288"/>
                    <a:pt x="1813" y="1291"/>
                  </a:cubicBezTo>
                  <a:cubicBezTo>
                    <a:pt x="1813" y="1285"/>
                    <a:pt x="1831" y="1284"/>
                    <a:pt x="1827" y="1295"/>
                  </a:cubicBezTo>
                  <a:close/>
                  <a:moveTo>
                    <a:pt x="1835" y="1306"/>
                  </a:moveTo>
                  <a:cubicBezTo>
                    <a:pt x="1832" y="1305"/>
                    <a:pt x="1833" y="1299"/>
                    <a:pt x="1832" y="1295"/>
                  </a:cubicBezTo>
                  <a:cubicBezTo>
                    <a:pt x="1837" y="1293"/>
                    <a:pt x="1837" y="1298"/>
                    <a:pt x="1838" y="1302"/>
                  </a:cubicBezTo>
                  <a:cubicBezTo>
                    <a:pt x="1835" y="1301"/>
                    <a:pt x="1835" y="1304"/>
                    <a:pt x="1835" y="1306"/>
                  </a:cubicBezTo>
                  <a:close/>
                  <a:moveTo>
                    <a:pt x="1843" y="1269"/>
                  </a:moveTo>
                  <a:cubicBezTo>
                    <a:pt x="1842" y="1282"/>
                    <a:pt x="1831" y="1262"/>
                    <a:pt x="1832" y="1273"/>
                  </a:cubicBezTo>
                  <a:cubicBezTo>
                    <a:pt x="1823" y="1272"/>
                    <a:pt x="1838" y="1260"/>
                    <a:pt x="1830" y="1261"/>
                  </a:cubicBezTo>
                  <a:cubicBezTo>
                    <a:pt x="1829" y="1256"/>
                    <a:pt x="1845" y="1257"/>
                    <a:pt x="1835" y="1250"/>
                  </a:cubicBezTo>
                  <a:cubicBezTo>
                    <a:pt x="1837" y="1245"/>
                    <a:pt x="1839" y="1251"/>
                    <a:pt x="1846" y="1247"/>
                  </a:cubicBezTo>
                  <a:cubicBezTo>
                    <a:pt x="1846" y="1251"/>
                    <a:pt x="1845" y="1253"/>
                    <a:pt x="1843" y="1254"/>
                  </a:cubicBezTo>
                  <a:cubicBezTo>
                    <a:pt x="1843" y="1258"/>
                    <a:pt x="1846" y="1257"/>
                    <a:pt x="1848" y="1258"/>
                  </a:cubicBezTo>
                  <a:cubicBezTo>
                    <a:pt x="1847" y="1262"/>
                    <a:pt x="1828" y="1265"/>
                    <a:pt x="1843" y="1269"/>
                  </a:cubicBezTo>
                  <a:close/>
                  <a:moveTo>
                    <a:pt x="1862" y="1309"/>
                  </a:moveTo>
                  <a:cubicBezTo>
                    <a:pt x="1861" y="1311"/>
                    <a:pt x="1859" y="1300"/>
                    <a:pt x="1856" y="1302"/>
                  </a:cubicBezTo>
                  <a:cubicBezTo>
                    <a:pt x="1861" y="1290"/>
                    <a:pt x="1864" y="1307"/>
                    <a:pt x="1862" y="1309"/>
                  </a:cubicBezTo>
                  <a:close/>
                  <a:moveTo>
                    <a:pt x="1867" y="1273"/>
                  </a:moveTo>
                  <a:cubicBezTo>
                    <a:pt x="1862" y="1276"/>
                    <a:pt x="1856" y="1279"/>
                    <a:pt x="1854" y="1287"/>
                  </a:cubicBezTo>
                  <a:cubicBezTo>
                    <a:pt x="1845" y="1279"/>
                    <a:pt x="1860" y="1274"/>
                    <a:pt x="1859" y="1265"/>
                  </a:cubicBezTo>
                  <a:cubicBezTo>
                    <a:pt x="1859" y="1261"/>
                    <a:pt x="1854" y="1262"/>
                    <a:pt x="1851" y="1261"/>
                  </a:cubicBezTo>
                  <a:cubicBezTo>
                    <a:pt x="1853" y="1256"/>
                    <a:pt x="1857" y="1255"/>
                    <a:pt x="1862" y="1254"/>
                  </a:cubicBezTo>
                  <a:cubicBezTo>
                    <a:pt x="1859" y="1249"/>
                    <a:pt x="1861" y="1248"/>
                    <a:pt x="1862" y="1243"/>
                  </a:cubicBezTo>
                  <a:cubicBezTo>
                    <a:pt x="1868" y="1242"/>
                    <a:pt x="1860" y="1260"/>
                    <a:pt x="1870" y="1254"/>
                  </a:cubicBezTo>
                  <a:cubicBezTo>
                    <a:pt x="1869" y="1259"/>
                    <a:pt x="1866" y="1262"/>
                    <a:pt x="1862" y="1261"/>
                  </a:cubicBezTo>
                  <a:cubicBezTo>
                    <a:pt x="1862" y="1269"/>
                    <a:pt x="1868" y="1262"/>
                    <a:pt x="1867" y="1261"/>
                  </a:cubicBezTo>
                  <a:cubicBezTo>
                    <a:pt x="1870" y="1263"/>
                    <a:pt x="1870" y="1271"/>
                    <a:pt x="1875" y="1269"/>
                  </a:cubicBezTo>
                  <a:cubicBezTo>
                    <a:pt x="1875" y="1273"/>
                    <a:pt x="1870" y="1272"/>
                    <a:pt x="1867" y="1273"/>
                  </a:cubicBezTo>
                  <a:close/>
                  <a:moveTo>
                    <a:pt x="1867" y="1165"/>
                  </a:moveTo>
                  <a:cubicBezTo>
                    <a:pt x="1865" y="1165"/>
                    <a:pt x="1864" y="1165"/>
                    <a:pt x="1862" y="1165"/>
                  </a:cubicBezTo>
                  <a:cubicBezTo>
                    <a:pt x="1862" y="1163"/>
                    <a:pt x="1862" y="1160"/>
                    <a:pt x="1862" y="1158"/>
                  </a:cubicBezTo>
                  <a:cubicBezTo>
                    <a:pt x="1864" y="1158"/>
                    <a:pt x="1865" y="1158"/>
                    <a:pt x="1867" y="1158"/>
                  </a:cubicBezTo>
                  <a:cubicBezTo>
                    <a:pt x="1867" y="1160"/>
                    <a:pt x="1867" y="1163"/>
                    <a:pt x="1867" y="1165"/>
                  </a:cubicBezTo>
                  <a:close/>
                  <a:moveTo>
                    <a:pt x="1873" y="1173"/>
                  </a:moveTo>
                  <a:cubicBezTo>
                    <a:pt x="1873" y="1175"/>
                    <a:pt x="1873" y="1178"/>
                    <a:pt x="1873" y="1180"/>
                  </a:cubicBezTo>
                  <a:cubicBezTo>
                    <a:pt x="1871" y="1180"/>
                    <a:pt x="1869" y="1180"/>
                    <a:pt x="1867" y="1180"/>
                  </a:cubicBezTo>
                  <a:cubicBezTo>
                    <a:pt x="1867" y="1178"/>
                    <a:pt x="1867" y="1175"/>
                    <a:pt x="1867" y="1173"/>
                  </a:cubicBezTo>
                  <a:cubicBezTo>
                    <a:pt x="1869" y="1173"/>
                    <a:pt x="1871" y="1173"/>
                    <a:pt x="1873" y="1173"/>
                  </a:cubicBezTo>
                  <a:close/>
                  <a:moveTo>
                    <a:pt x="1873" y="1191"/>
                  </a:moveTo>
                  <a:cubicBezTo>
                    <a:pt x="1871" y="1197"/>
                    <a:pt x="1870" y="1191"/>
                    <a:pt x="1870" y="1187"/>
                  </a:cubicBezTo>
                  <a:cubicBezTo>
                    <a:pt x="1867" y="1187"/>
                    <a:pt x="1865" y="1188"/>
                    <a:pt x="1865" y="1191"/>
                  </a:cubicBezTo>
                  <a:cubicBezTo>
                    <a:pt x="1854" y="1184"/>
                    <a:pt x="1875" y="1179"/>
                    <a:pt x="1873" y="1191"/>
                  </a:cubicBezTo>
                  <a:close/>
                  <a:moveTo>
                    <a:pt x="1867" y="1210"/>
                  </a:moveTo>
                  <a:cubicBezTo>
                    <a:pt x="1866" y="1192"/>
                    <a:pt x="1879" y="1201"/>
                    <a:pt x="1878" y="1213"/>
                  </a:cubicBezTo>
                  <a:cubicBezTo>
                    <a:pt x="1876" y="1211"/>
                    <a:pt x="1872" y="1209"/>
                    <a:pt x="1867" y="1210"/>
                  </a:cubicBezTo>
                  <a:close/>
                  <a:moveTo>
                    <a:pt x="1873" y="174"/>
                  </a:moveTo>
                  <a:cubicBezTo>
                    <a:pt x="1868" y="183"/>
                    <a:pt x="1863" y="171"/>
                    <a:pt x="1859" y="170"/>
                  </a:cubicBezTo>
                  <a:cubicBezTo>
                    <a:pt x="1858" y="170"/>
                    <a:pt x="1854" y="170"/>
                    <a:pt x="1854" y="170"/>
                  </a:cubicBezTo>
                  <a:cubicBezTo>
                    <a:pt x="1850" y="176"/>
                    <a:pt x="1856" y="179"/>
                    <a:pt x="1846" y="174"/>
                  </a:cubicBezTo>
                  <a:cubicBezTo>
                    <a:pt x="1843" y="185"/>
                    <a:pt x="1852" y="181"/>
                    <a:pt x="1856" y="182"/>
                  </a:cubicBezTo>
                  <a:cubicBezTo>
                    <a:pt x="1856" y="188"/>
                    <a:pt x="1848" y="184"/>
                    <a:pt x="1848" y="193"/>
                  </a:cubicBezTo>
                  <a:cubicBezTo>
                    <a:pt x="1851" y="203"/>
                    <a:pt x="1856" y="187"/>
                    <a:pt x="1859" y="196"/>
                  </a:cubicBezTo>
                  <a:cubicBezTo>
                    <a:pt x="1864" y="199"/>
                    <a:pt x="1856" y="202"/>
                    <a:pt x="1856" y="196"/>
                  </a:cubicBezTo>
                  <a:cubicBezTo>
                    <a:pt x="1854" y="196"/>
                    <a:pt x="1854" y="201"/>
                    <a:pt x="1854" y="204"/>
                  </a:cubicBezTo>
                  <a:cubicBezTo>
                    <a:pt x="1848" y="205"/>
                    <a:pt x="1847" y="201"/>
                    <a:pt x="1843" y="200"/>
                  </a:cubicBezTo>
                  <a:cubicBezTo>
                    <a:pt x="1842" y="208"/>
                    <a:pt x="1844" y="214"/>
                    <a:pt x="1848" y="215"/>
                  </a:cubicBezTo>
                  <a:cubicBezTo>
                    <a:pt x="1842" y="227"/>
                    <a:pt x="1839" y="204"/>
                    <a:pt x="1838" y="196"/>
                  </a:cubicBezTo>
                  <a:cubicBezTo>
                    <a:pt x="1847" y="195"/>
                    <a:pt x="1846" y="185"/>
                    <a:pt x="1840" y="178"/>
                  </a:cubicBezTo>
                  <a:cubicBezTo>
                    <a:pt x="1840" y="171"/>
                    <a:pt x="1848" y="173"/>
                    <a:pt x="1846" y="163"/>
                  </a:cubicBezTo>
                  <a:cubicBezTo>
                    <a:pt x="1855" y="164"/>
                    <a:pt x="1863" y="162"/>
                    <a:pt x="1870" y="159"/>
                  </a:cubicBezTo>
                  <a:cubicBezTo>
                    <a:pt x="1869" y="162"/>
                    <a:pt x="1867" y="163"/>
                    <a:pt x="1867" y="167"/>
                  </a:cubicBezTo>
                  <a:cubicBezTo>
                    <a:pt x="1871" y="170"/>
                    <a:pt x="1875" y="163"/>
                    <a:pt x="1875" y="163"/>
                  </a:cubicBezTo>
                  <a:cubicBezTo>
                    <a:pt x="1879" y="164"/>
                    <a:pt x="1876" y="169"/>
                    <a:pt x="1878" y="170"/>
                  </a:cubicBezTo>
                  <a:cubicBezTo>
                    <a:pt x="1882" y="174"/>
                    <a:pt x="1889" y="167"/>
                    <a:pt x="1883" y="167"/>
                  </a:cubicBezTo>
                  <a:cubicBezTo>
                    <a:pt x="1883" y="167"/>
                    <a:pt x="1885" y="161"/>
                    <a:pt x="1886" y="163"/>
                  </a:cubicBezTo>
                  <a:cubicBezTo>
                    <a:pt x="1888" y="166"/>
                    <a:pt x="1891" y="166"/>
                    <a:pt x="1891" y="170"/>
                  </a:cubicBezTo>
                  <a:cubicBezTo>
                    <a:pt x="1897" y="170"/>
                    <a:pt x="1888" y="161"/>
                    <a:pt x="1891" y="152"/>
                  </a:cubicBezTo>
                  <a:cubicBezTo>
                    <a:pt x="1902" y="153"/>
                    <a:pt x="1896" y="131"/>
                    <a:pt x="1908" y="133"/>
                  </a:cubicBezTo>
                  <a:cubicBezTo>
                    <a:pt x="1903" y="144"/>
                    <a:pt x="1891" y="164"/>
                    <a:pt x="1902" y="174"/>
                  </a:cubicBezTo>
                  <a:cubicBezTo>
                    <a:pt x="1897" y="182"/>
                    <a:pt x="1893" y="205"/>
                    <a:pt x="1902" y="211"/>
                  </a:cubicBezTo>
                  <a:cubicBezTo>
                    <a:pt x="1900" y="218"/>
                    <a:pt x="1893" y="224"/>
                    <a:pt x="1889" y="218"/>
                  </a:cubicBezTo>
                  <a:cubicBezTo>
                    <a:pt x="1890" y="211"/>
                    <a:pt x="1893" y="211"/>
                    <a:pt x="1897" y="215"/>
                  </a:cubicBezTo>
                  <a:cubicBezTo>
                    <a:pt x="1892" y="209"/>
                    <a:pt x="1897" y="189"/>
                    <a:pt x="1886" y="193"/>
                  </a:cubicBezTo>
                  <a:cubicBezTo>
                    <a:pt x="1887" y="188"/>
                    <a:pt x="1891" y="190"/>
                    <a:pt x="1894" y="189"/>
                  </a:cubicBezTo>
                  <a:cubicBezTo>
                    <a:pt x="1891" y="177"/>
                    <a:pt x="1886" y="188"/>
                    <a:pt x="1881" y="178"/>
                  </a:cubicBezTo>
                  <a:cubicBezTo>
                    <a:pt x="1878" y="179"/>
                    <a:pt x="1879" y="182"/>
                    <a:pt x="1881" y="182"/>
                  </a:cubicBezTo>
                  <a:cubicBezTo>
                    <a:pt x="1880" y="191"/>
                    <a:pt x="1870" y="182"/>
                    <a:pt x="1873" y="174"/>
                  </a:cubicBezTo>
                  <a:close/>
                  <a:moveTo>
                    <a:pt x="1899" y="1317"/>
                  </a:moveTo>
                  <a:cubicBezTo>
                    <a:pt x="1889" y="1322"/>
                    <a:pt x="1899" y="1300"/>
                    <a:pt x="1889" y="1306"/>
                  </a:cubicBezTo>
                  <a:cubicBezTo>
                    <a:pt x="1890" y="1301"/>
                    <a:pt x="1895" y="1303"/>
                    <a:pt x="1899" y="1302"/>
                  </a:cubicBezTo>
                  <a:cubicBezTo>
                    <a:pt x="1899" y="1307"/>
                    <a:pt x="1899" y="1312"/>
                    <a:pt x="1899" y="1317"/>
                  </a:cubicBezTo>
                  <a:close/>
                  <a:moveTo>
                    <a:pt x="1937" y="1258"/>
                  </a:moveTo>
                  <a:cubicBezTo>
                    <a:pt x="1935" y="1258"/>
                    <a:pt x="1935" y="1253"/>
                    <a:pt x="1934" y="1250"/>
                  </a:cubicBezTo>
                  <a:cubicBezTo>
                    <a:pt x="1928" y="1251"/>
                    <a:pt x="1934" y="1262"/>
                    <a:pt x="1934" y="1261"/>
                  </a:cubicBezTo>
                  <a:cubicBezTo>
                    <a:pt x="1934" y="1269"/>
                    <a:pt x="1927" y="1263"/>
                    <a:pt x="1932" y="1276"/>
                  </a:cubicBezTo>
                  <a:cubicBezTo>
                    <a:pt x="1924" y="1279"/>
                    <a:pt x="1925" y="1271"/>
                    <a:pt x="1918" y="1273"/>
                  </a:cubicBezTo>
                  <a:cubicBezTo>
                    <a:pt x="1919" y="1268"/>
                    <a:pt x="1923" y="1269"/>
                    <a:pt x="1926" y="1269"/>
                  </a:cubicBezTo>
                  <a:cubicBezTo>
                    <a:pt x="1924" y="1260"/>
                    <a:pt x="1913" y="1260"/>
                    <a:pt x="1913" y="1273"/>
                  </a:cubicBezTo>
                  <a:cubicBezTo>
                    <a:pt x="1907" y="1275"/>
                    <a:pt x="1909" y="1265"/>
                    <a:pt x="1905" y="1265"/>
                  </a:cubicBezTo>
                  <a:cubicBezTo>
                    <a:pt x="1902" y="1266"/>
                    <a:pt x="1903" y="1269"/>
                    <a:pt x="1905" y="1269"/>
                  </a:cubicBezTo>
                  <a:cubicBezTo>
                    <a:pt x="1904" y="1279"/>
                    <a:pt x="1886" y="1266"/>
                    <a:pt x="1886" y="1276"/>
                  </a:cubicBezTo>
                  <a:cubicBezTo>
                    <a:pt x="1882" y="1275"/>
                    <a:pt x="1885" y="1265"/>
                    <a:pt x="1881" y="1265"/>
                  </a:cubicBezTo>
                  <a:cubicBezTo>
                    <a:pt x="1880" y="1258"/>
                    <a:pt x="1886" y="1261"/>
                    <a:pt x="1889" y="1258"/>
                  </a:cubicBezTo>
                  <a:cubicBezTo>
                    <a:pt x="1890" y="1256"/>
                    <a:pt x="1890" y="1242"/>
                    <a:pt x="1897" y="1247"/>
                  </a:cubicBezTo>
                  <a:cubicBezTo>
                    <a:pt x="1897" y="1257"/>
                    <a:pt x="1891" y="1260"/>
                    <a:pt x="1886" y="1265"/>
                  </a:cubicBezTo>
                  <a:cubicBezTo>
                    <a:pt x="1886" y="1273"/>
                    <a:pt x="1896" y="1267"/>
                    <a:pt x="1899" y="1269"/>
                  </a:cubicBezTo>
                  <a:cubicBezTo>
                    <a:pt x="1899" y="1265"/>
                    <a:pt x="1896" y="1266"/>
                    <a:pt x="1894" y="1265"/>
                  </a:cubicBezTo>
                  <a:cubicBezTo>
                    <a:pt x="1894" y="1262"/>
                    <a:pt x="1897" y="1262"/>
                    <a:pt x="1899" y="1261"/>
                  </a:cubicBezTo>
                  <a:cubicBezTo>
                    <a:pt x="1898" y="1254"/>
                    <a:pt x="1901" y="1252"/>
                    <a:pt x="1902" y="1247"/>
                  </a:cubicBezTo>
                  <a:cubicBezTo>
                    <a:pt x="1906" y="1247"/>
                    <a:pt x="1903" y="1258"/>
                    <a:pt x="1908" y="1258"/>
                  </a:cubicBezTo>
                  <a:cubicBezTo>
                    <a:pt x="1912" y="1258"/>
                    <a:pt x="1910" y="1230"/>
                    <a:pt x="1913" y="1250"/>
                  </a:cubicBezTo>
                  <a:cubicBezTo>
                    <a:pt x="1915" y="1255"/>
                    <a:pt x="1919" y="1257"/>
                    <a:pt x="1924" y="1258"/>
                  </a:cubicBezTo>
                  <a:cubicBezTo>
                    <a:pt x="1928" y="1254"/>
                    <a:pt x="1929" y="1246"/>
                    <a:pt x="1937" y="1247"/>
                  </a:cubicBezTo>
                  <a:cubicBezTo>
                    <a:pt x="1937" y="1250"/>
                    <a:pt x="1937" y="1254"/>
                    <a:pt x="1937" y="1258"/>
                  </a:cubicBezTo>
                  <a:close/>
                  <a:moveTo>
                    <a:pt x="1945" y="1217"/>
                  </a:moveTo>
                  <a:cubicBezTo>
                    <a:pt x="1942" y="1212"/>
                    <a:pt x="1944" y="1218"/>
                    <a:pt x="1940" y="1217"/>
                  </a:cubicBezTo>
                  <a:cubicBezTo>
                    <a:pt x="1937" y="1217"/>
                    <a:pt x="1934" y="1210"/>
                    <a:pt x="1932" y="1221"/>
                  </a:cubicBezTo>
                  <a:cubicBezTo>
                    <a:pt x="1929" y="1221"/>
                    <a:pt x="1930" y="1216"/>
                    <a:pt x="1929" y="1213"/>
                  </a:cubicBezTo>
                  <a:cubicBezTo>
                    <a:pt x="1925" y="1213"/>
                    <a:pt x="1920" y="1213"/>
                    <a:pt x="1916" y="1213"/>
                  </a:cubicBezTo>
                  <a:cubicBezTo>
                    <a:pt x="1913" y="1216"/>
                    <a:pt x="1913" y="1222"/>
                    <a:pt x="1908" y="1221"/>
                  </a:cubicBezTo>
                  <a:cubicBezTo>
                    <a:pt x="1912" y="1208"/>
                    <a:pt x="1900" y="1217"/>
                    <a:pt x="1894" y="1213"/>
                  </a:cubicBezTo>
                  <a:cubicBezTo>
                    <a:pt x="1892" y="1212"/>
                    <a:pt x="1892" y="1205"/>
                    <a:pt x="1889" y="1206"/>
                  </a:cubicBezTo>
                  <a:cubicBezTo>
                    <a:pt x="1887" y="1196"/>
                    <a:pt x="1901" y="1209"/>
                    <a:pt x="1899" y="1199"/>
                  </a:cubicBezTo>
                  <a:cubicBezTo>
                    <a:pt x="1901" y="1206"/>
                    <a:pt x="1914" y="1198"/>
                    <a:pt x="1916" y="1206"/>
                  </a:cubicBezTo>
                  <a:cubicBezTo>
                    <a:pt x="1919" y="1198"/>
                    <a:pt x="1927" y="1201"/>
                    <a:pt x="1942" y="1202"/>
                  </a:cubicBezTo>
                  <a:cubicBezTo>
                    <a:pt x="1943" y="1202"/>
                    <a:pt x="1942" y="1206"/>
                    <a:pt x="1942" y="1206"/>
                  </a:cubicBezTo>
                  <a:cubicBezTo>
                    <a:pt x="1945" y="1207"/>
                    <a:pt x="1945" y="1205"/>
                    <a:pt x="1945" y="1202"/>
                  </a:cubicBezTo>
                  <a:cubicBezTo>
                    <a:pt x="1948" y="1203"/>
                    <a:pt x="1947" y="1206"/>
                    <a:pt x="1945" y="1206"/>
                  </a:cubicBezTo>
                  <a:cubicBezTo>
                    <a:pt x="1945" y="1210"/>
                    <a:pt x="1946" y="1214"/>
                    <a:pt x="1948" y="1213"/>
                  </a:cubicBezTo>
                  <a:cubicBezTo>
                    <a:pt x="1951" y="1213"/>
                    <a:pt x="1953" y="1206"/>
                    <a:pt x="1959" y="1213"/>
                  </a:cubicBezTo>
                  <a:cubicBezTo>
                    <a:pt x="1962" y="1218"/>
                    <a:pt x="1947" y="1220"/>
                    <a:pt x="1945" y="1217"/>
                  </a:cubicBezTo>
                  <a:close/>
                  <a:moveTo>
                    <a:pt x="1967" y="1339"/>
                  </a:moveTo>
                  <a:cubicBezTo>
                    <a:pt x="1959" y="1342"/>
                    <a:pt x="1961" y="1332"/>
                    <a:pt x="1956" y="1332"/>
                  </a:cubicBezTo>
                  <a:cubicBezTo>
                    <a:pt x="1958" y="1327"/>
                    <a:pt x="1962" y="1325"/>
                    <a:pt x="1967" y="1324"/>
                  </a:cubicBezTo>
                  <a:cubicBezTo>
                    <a:pt x="1967" y="1329"/>
                    <a:pt x="1967" y="1334"/>
                    <a:pt x="1967" y="1339"/>
                  </a:cubicBezTo>
                  <a:close/>
                  <a:moveTo>
                    <a:pt x="1969" y="1269"/>
                  </a:moveTo>
                  <a:cubicBezTo>
                    <a:pt x="1970" y="1266"/>
                    <a:pt x="1968" y="1265"/>
                    <a:pt x="1967" y="1265"/>
                  </a:cubicBezTo>
                  <a:cubicBezTo>
                    <a:pt x="1967" y="1262"/>
                    <a:pt x="1970" y="1262"/>
                    <a:pt x="1972" y="1261"/>
                  </a:cubicBezTo>
                  <a:cubicBezTo>
                    <a:pt x="1967" y="1253"/>
                    <a:pt x="1973" y="1257"/>
                    <a:pt x="1975" y="1250"/>
                  </a:cubicBezTo>
                  <a:cubicBezTo>
                    <a:pt x="1983" y="1254"/>
                    <a:pt x="1971" y="1260"/>
                    <a:pt x="1975" y="1269"/>
                  </a:cubicBezTo>
                  <a:cubicBezTo>
                    <a:pt x="1973" y="1269"/>
                    <a:pt x="1971" y="1269"/>
                    <a:pt x="1969" y="1269"/>
                  </a:cubicBezTo>
                  <a:close/>
                  <a:moveTo>
                    <a:pt x="1977" y="1306"/>
                  </a:moveTo>
                  <a:cubicBezTo>
                    <a:pt x="1984" y="1296"/>
                    <a:pt x="1986" y="1310"/>
                    <a:pt x="1994" y="1309"/>
                  </a:cubicBezTo>
                  <a:cubicBezTo>
                    <a:pt x="1994" y="1315"/>
                    <a:pt x="1974" y="1318"/>
                    <a:pt x="1977" y="1306"/>
                  </a:cubicBezTo>
                  <a:close/>
                  <a:moveTo>
                    <a:pt x="1980" y="1232"/>
                  </a:moveTo>
                  <a:cubicBezTo>
                    <a:pt x="1981" y="1225"/>
                    <a:pt x="1985" y="1223"/>
                    <a:pt x="1991" y="1225"/>
                  </a:cubicBezTo>
                  <a:cubicBezTo>
                    <a:pt x="1989" y="1229"/>
                    <a:pt x="1985" y="1231"/>
                    <a:pt x="1980" y="1232"/>
                  </a:cubicBezTo>
                  <a:close/>
                  <a:moveTo>
                    <a:pt x="2015" y="1269"/>
                  </a:moveTo>
                  <a:cubicBezTo>
                    <a:pt x="2004" y="1271"/>
                    <a:pt x="2007" y="1255"/>
                    <a:pt x="2007" y="1243"/>
                  </a:cubicBezTo>
                  <a:cubicBezTo>
                    <a:pt x="2010" y="1245"/>
                    <a:pt x="2010" y="1252"/>
                    <a:pt x="2015" y="1250"/>
                  </a:cubicBezTo>
                  <a:cubicBezTo>
                    <a:pt x="2015" y="1257"/>
                    <a:pt x="2015" y="1263"/>
                    <a:pt x="2015" y="1269"/>
                  </a:cubicBezTo>
                  <a:close/>
                  <a:moveTo>
                    <a:pt x="2020" y="1261"/>
                  </a:moveTo>
                  <a:cubicBezTo>
                    <a:pt x="2028" y="1259"/>
                    <a:pt x="2019" y="1279"/>
                    <a:pt x="2026" y="1276"/>
                  </a:cubicBezTo>
                  <a:cubicBezTo>
                    <a:pt x="2021" y="1289"/>
                    <a:pt x="2019" y="1269"/>
                    <a:pt x="2020" y="1261"/>
                  </a:cubicBezTo>
                  <a:close/>
                  <a:moveTo>
                    <a:pt x="2026" y="1217"/>
                  </a:moveTo>
                  <a:cubicBezTo>
                    <a:pt x="2026" y="1217"/>
                    <a:pt x="2022" y="1221"/>
                    <a:pt x="2023" y="1221"/>
                  </a:cubicBezTo>
                  <a:cubicBezTo>
                    <a:pt x="2021" y="1221"/>
                    <a:pt x="2018" y="1213"/>
                    <a:pt x="2018" y="1213"/>
                  </a:cubicBezTo>
                  <a:cubicBezTo>
                    <a:pt x="2014" y="1214"/>
                    <a:pt x="2013" y="1220"/>
                    <a:pt x="2010" y="1221"/>
                  </a:cubicBezTo>
                  <a:cubicBezTo>
                    <a:pt x="2001" y="1223"/>
                    <a:pt x="1995" y="1212"/>
                    <a:pt x="1988" y="1221"/>
                  </a:cubicBezTo>
                  <a:cubicBezTo>
                    <a:pt x="1985" y="1222"/>
                    <a:pt x="1979" y="1210"/>
                    <a:pt x="1986" y="1210"/>
                  </a:cubicBezTo>
                  <a:cubicBezTo>
                    <a:pt x="1985" y="1206"/>
                    <a:pt x="1982" y="1207"/>
                    <a:pt x="1980" y="1206"/>
                  </a:cubicBezTo>
                  <a:cubicBezTo>
                    <a:pt x="1981" y="1198"/>
                    <a:pt x="1996" y="1201"/>
                    <a:pt x="1991" y="1213"/>
                  </a:cubicBezTo>
                  <a:cubicBezTo>
                    <a:pt x="1994" y="1213"/>
                    <a:pt x="1994" y="1202"/>
                    <a:pt x="1991" y="1202"/>
                  </a:cubicBezTo>
                  <a:cubicBezTo>
                    <a:pt x="1991" y="1198"/>
                    <a:pt x="1996" y="1199"/>
                    <a:pt x="1999" y="1199"/>
                  </a:cubicBezTo>
                  <a:cubicBezTo>
                    <a:pt x="1999" y="1202"/>
                    <a:pt x="1999" y="1206"/>
                    <a:pt x="1999" y="1210"/>
                  </a:cubicBezTo>
                  <a:cubicBezTo>
                    <a:pt x="2009" y="1209"/>
                    <a:pt x="2004" y="1201"/>
                    <a:pt x="2012" y="1206"/>
                  </a:cubicBezTo>
                  <a:cubicBezTo>
                    <a:pt x="2013" y="1206"/>
                    <a:pt x="2017" y="1205"/>
                    <a:pt x="2018" y="1206"/>
                  </a:cubicBezTo>
                  <a:cubicBezTo>
                    <a:pt x="2018" y="1206"/>
                    <a:pt x="2019" y="1212"/>
                    <a:pt x="2020" y="1210"/>
                  </a:cubicBezTo>
                  <a:cubicBezTo>
                    <a:pt x="2025" y="1204"/>
                    <a:pt x="2023" y="1215"/>
                    <a:pt x="2031" y="1213"/>
                  </a:cubicBezTo>
                  <a:cubicBezTo>
                    <a:pt x="2031" y="1217"/>
                    <a:pt x="2028" y="1216"/>
                    <a:pt x="2026" y="1217"/>
                  </a:cubicBezTo>
                  <a:close/>
                  <a:moveTo>
                    <a:pt x="2031" y="588"/>
                  </a:moveTo>
                  <a:cubicBezTo>
                    <a:pt x="2033" y="585"/>
                    <a:pt x="2034" y="580"/>
                    <a:pt x="2034" y="574"/>
                  </a:cubicBezTo>
                  <a:cubicBezTo>
                    <a:pt x="2039" y="572"/>
                    <a:pt x="2039" y="594"/>
                    <a:pt x="2031" y="588"/>
                  </a:cubicBezTo>
                  <a:close/>
                  <a:moveTo>
                    <a:pt x="2039" y="1210"/>
                  </a:moveTo>
                  <a:cubicBezTo>
                    <a:pt x="2044" y="1209"/>
                    <a:pt x="2044" y="1213"/>
                    <a:pt x="2047" y="1213"/>
                  </a:cubicBezTo>
                  <a:cubicBezTo>
                    <a:pt x="2046" y="1218"/>
                    <a:pt x="2042" y="1220"/>
                    <a:pt x="2037" y="1221"/>
                  </a:cubicBezTo>
                  <a:cubicBezTo>
                    <a:pt x="2038" y="1218"/>
                    <a:pt x="2039" y="1215"/>
                    <a:pt x="2039" y="1210"/>
                  </a:cubicBezTo>
                  <a:close/>
                  <a:moveTo>
                    <a:pt x="2039" y="1306"/>
                  </a:moveTo>
                  <a:cubicBezTo>
                    <a:pt x="2042" y="1309"/>
                    <a:pt x="2045" y="1310"/>
                    <a:pt x="2050" y="1309"/>
                  </a:cubicBezTo>
                  <a:cubicBezTo>
                    <a:pt x="2051" y="1316"/>
                    <a:pt x="2035" y="1316"/>
                    <a:pt x="2039" y="1306"/>
                  </a:cubicBezTo>
                  <a:close/>
                  <a:moveTo>
                    <a:pt x="2050" y="1269"/>
                  </a:moveTo>
                  <a:cubicBezTo>
                    <a:pt x="2048" y="1268"/>
                    <a:pt x="2048" y="1270"/>
                    <a:pt x="2047" y="1273"/>
                  </a:cubicBezTo>
                  <a:cubicBezTo>
                    <a:pt x="2044" y="1272"/>
                    <a:pt x="2045" y="1266"/>
                    <a:pt x="2045" y="1261"/>
                  </a:cubicBezTo>
                  <a:cubicBezTo>
                    <a:pt x="2048" y="1263"/>
                    <a:pt x="2049" y="1268"/>
                    <a:pt x="2053" y="1269"/>
                  </a:cubicBezTo>
                  <a:cubicBezTo>
                    <a:pt x="2052" y="1273"/>
                    <a:pt x="2050" y="1271"/>
                    <a:pt x="2050" y="1269"/>
                  </a:cubicBezTo>
                  <a:close/>
                  <a:moveTo>
                    <a:pt x="2064" y="1213"/>
                  </a:moveTo>
                  <a:cubicBezTo>
                    <a:pt x="2061" y="1219"/>
                    <a:pt x="2057" y="1221"/>
                    <a:pt x="2050" y="1221"/>
                  </a:cubicBezTo>
                  <a:cubicBezTo>
                    <a:pt x="2050" y="1214"/>
                    <a:pt x="2059" y="1218"/>
                    <a:pt x="2058" y="1210"/>
                  </a:cubicBezTo>
                  <a:cubicBezTo>
                    <a:pt x="2058" y="1206"/>
                    <a:pt x="2055" y="1207"/>
                    <a:pt x="2053" y="1206"/>
                  </a:cubicBezTo>
                  <a:cubicBezTo>
                    <a:pt x="2054" y="1201"/>
                    <a:pt x="2059" y="1203"/>
                    <a:pt x="2064" y="1202"/>
                  </a:cubicBezTo>
                  <a:cubicBezTo>
                    <a:pt x="2064" y="1209"/>
                    <a:pt x="2059" y="1212"/>
                    <a:pt x="2064" y="1213"/>
                  </a:cubicBezTo>
                  <a:close/>
                  <a:moveTo>
                    <a:pt x="2055" y="1195"/>
                  </a:moveTo>
                  <a:cubicBezTo>
                    <a:pt x="2055" y="1191"/>
                    <a:pt x="2055" y="1187"/>
                    <a:pt x="2055" y="1184"/>
                  </a:cubicBezTo>
                  <a:cubicBezTo>
                    <a:pt x="2060" y="1180"/>
                    <a:pt x="2064" y="1195"/>
                    <a:pt x="2066" y="1184"/>
                  </a:cubicBezTo>
                  <a:cubicBezTo>
                    <a:pt x="2072" y="1186"/>
                    <a:pt x="2063" y="1198"/>
                    <a:pt x="2055" y="1195"/>
                  </a:cubicBezTo>
                  <a:close/>
                  <a:moveTo>
                    <a:pt x="2069" y="204"/>
                  </a:moveTo>
                  <a:cubicBezTo>
                    <a:pt x="2065" y="208"/>
                    <a:pt x="2064" y="215"/>
                    <a:pt x="2058" y="207"/>
                  </a:cubicBezTo>
                  <a:cubicBezTo>
                    <a:pt x="2062" y="202"/>
                    <a:pt x="2071" y="196"/>
                    <a:pt x="2072" y="207"/>
                  </a:cubicBezTo>
                  <a:cubicBezTo>
                    <a:pt x="2070" y="213"/>
                    <a:pt x="2069" y="208"/>
                    <a:pt x="2069" y="204"/>
                  </a:cubicBezTo>
                  <a:close/>
                  <a:moveTo>
                    <a:pt x="2074" y="182"/>
                  </a:moveTo>
                  <a:cubicBezTo>
                    <a:pt x="2069" y="181"/>
                    <a:pt x="2074" y="174"/>
                    <a:pt x="2074" y="174"/>
                  </a:cubicBezTo>
                  <a:cubicBezTo>
                    <a:pt x="2074" y="170"/>
                    <a:pt x="2069" y="164"/>
                    <a:pt x="2074" y="159"/>
                  </a:cubicBezTo>
                  <a:cubicBezTo>
                    <a:pt x="2082" y="163"/>
                    <a:pt x="2073" y="175"/>
                    <a:pt x="2074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</p:grpSp>
      <p:sp>
        <p:nvSpPr>
          <p:cNvPr id="112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792107" y="4627227"/>
            <a:ext cx="4232424" cy="749300"/>
          </a:xfrm>
        </p:spPr>
        <p:txBody>
          <a:bodyPr/>
          <a:lstStyle>
            <a:lvl1pPr>
              <a:defRPr>
                <a:solidFill>
                  <a:srgbClr val="832149"/>
                </a:solidFill>
              </a:defRPr>
            </a:lvl1pPr>
            <a:lvl2pPr>
              <a:defRPr>
                <a:solidFill>
                  <a:srgbClr val="832149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  <a:endParaRPr lang="en-AU"/>
          </a:p>
        </p:txBody>
      </p:sp>
      <p:sp>
        <p:nvSpPr>
          <p:cNvPr id="113" name="Title 4124"/>
          <p:cNvSpPr>
            <a:spLocks noGrp="1"/>
          </p:cNvSpPr>
          <p:nvPr>
            <p:ph type="title"/>
          </p:nvPr>
        </p:nvSpPr>
        <p:spPr>
          <a:xfrm>
            <a:off x="5735264" y="1927683"/>
            <a:ext cx="5486400" cy="2603500"/>
          </a:xfrm>
        </p:spPr>
        <p:txBody>
          <a:bodyPr/>
          <a:lstStyle>
            <a:lvl1pPr>
              <a:defRPr sz="7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1789885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splash">
    <p:bg>
      <p:bgPr>
        <a:solidFill>
          <a:srgbClr val="442E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" name="Group 110"/>
          <p:cNvGrpSpPr/>
          <p:nvPr userDrawn="1"/>
        </p:nvGrpSpPr>
        <p:grpSpPr>
          <a:xfrm>
            <a:off x="3388559" y="1687629"/>
            <a:ext cx="8814356" cy="4310435"/>
            <a:chOff x="2541419" y="1687628"/>
            <a:chExt cx="6610767" cy="4310435"/>
          </a:xfrm>
          <a:solidFill>
            <a:schemeClr val="accent4"/>
          </a:solidFill>
        </p:grpSpPr>
        <p:sp>
          <p:nvSpPr>
            <p:cNvPr id="145" name="Freeform 7"/>
            <p:cNvSpPr>
              <a:spLocks/>
            </p:cNvSpPr>
            <p:nvPr userDrawn="1"/>
          </p:nvSpPr>
          <p:spPr bwMode="auto">
            <a:xfrm>
              <a:off x="3782953" y="1707783"/>
              <a:ext cx="34935" cy="79275"/>
            </a:xfrm>
            <a:custGeom>
              <a:avLst/>
              <a:gdLst>
                <a:gd name="T0" fmla="*/ 11 w 11"/>
                <a:gd name="T1" fmla="*/ 13 h 25"/>
                <a:gd name="T2" fmla="*/ 11 w 11"/>
                <a:gd name="T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25">
                  <a:moveTo>
                    <a:pt x="11" y="13"/>
                  </a:moveTo>
                  <a:cubicBezTo>
                    <a:pt x="0" y="0"/>
                    <a:pt x="4" y="25"/>
                    <a:pt x="1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6" name="Freeform 8"/>
            <p:cNvSpPr>
              <a:spLocks/>
            </p:cNvSpPr>
            <p:nvPr userDrawn="1"/>
          </p:nvSpPr>
          <p:spPr bwMode="auto">
            <a:xfrm>
              <a:off x="4782630" y="1722563"/>
              <a:ext cx="30904" cy="67183"/>
            </a:xfrm>
            <a:custGeom>
              <a:avLst/>
              <a:gdLst>
                <a:gd name="T0" fmla="*/ 10 w 10"/>
                <a:gd name="T1" fmla="*/ 11 h 21"/>
                <a:gd name="T2" fmla="*/ 0 w 10"/>
                <a:gd name="T3" fmla="*/ 11 h 21"/>
                <a:gd name="T4" fmla="*/ 10 w 10"/>
                <a:gd name="T5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1">
                  <a:moveTo>
                    <a:pt x="10" y="11"/>
                  </a:moveTo>
                  <a:cubicBezTo>
                    <a:pt x="5" y="15"/>
                    <a:pt x="1" y="0"/>
                    <a:pt x="0" y="11"/>
                  </a:cubicBezTo>
                  <a:cubicBezTo>
                    <a:pt x="1" y="13"/>
                    <a:pt x="10" y="21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7" name="Freeform 9"/>
            <p:cNvSpPr>
              <a:spLocks/>
            </p:cNvSpPr>
            <p:nvPr userDrawn="1"/>
          </p:nvSpPr>
          <p:spPr bwMode="auto">
            <a:xfrm>
              <a:off x="8294936" y="1770934"/>
              <a:ext cx="34935" cy="51059"/>
            </a:xfrm>
            <a:custGeom>
              <a:avLst/>
              <a:gdLst>
                <a:gd name="T0" fmla="*/ 3 w 11"/>
                <a:gd name="T1" fmla="*/ 0 h 16"/>
                <a:gd name="T2" fmla="*/ 0 w 11"/>
                <a:gd name="T3" fmla="*/ 15 h 16"/>
                <a:gd name="T4" fmla="*/ 3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3" y="0"/>
                  </a:moveTo>
                  <a:cubicBezTo>
                    <a:pt x="4" y="7"/>
                    <a:pt x="0" y="8"/>
                    <a:pt x="0" y="15"/>
                  </a:cubicBezTo>
                  <a:cubicBezTo>
                    <a:pt x="8" y="16"/>
                    <a:pt x="11" y="1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8" name="Freeform 10"/>
            <p:cNvSpPr>
              <a:spLocks/>
            </p:cNvSpPr>
            <p:nvPr userDrawn="1"/>
          </p:nvSpPr>
          <p:spPr bwMode="auto">
            <a:xfrm>
              <a:off x="8345995" y="1783027"/>
              <a:ext cx="18811" cy="57777"/>
            </a:xfrm>
            <a:custGeom>
              <a:avLst/>
              <a:gdLst>
                <a:gd name="T0" fmla="*/ 6 w 6"/>
                <a:gd name="T1" fmla="*/ 18 h 18"/>
                <a:gd name="T2" fmla="*/ 1 w 6"/>
                <a:gd name="T3" fmla="*/ 0 h 18"/>
                <a:gd name="T4" fmla="*/ 6 w 6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8">
                  <a:moveTo>
                    <a:pt x="6" y="18"/>
                  </a:moveTo>
                  <a:cubicBezTo>
                    <a:pt x="6" y="9"/>
                    <a:pt x="5" y="3"/>
                    <a:pt x="1" y="0"/>
                  </a:cubicBezTo>
                  <a:cubicBezTo>
                    <a:pt x="0" y="9"/>
                    <a:pt x="0" y="18"/>
                    <a:pt x="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9" name="Freeform 11"/>
            <p:cNvSpPr>
              <a:spLocks/>
            </p:cNvSpPr>
            <p:nvPr userDrawn="1"/>
          </p:nvSpPr>
          <p:spPr bwMode="auto">
            <a:xfrm>
              <a:off x="8921078" y="1783027"/>
              <a:ext cx="79275" cy="123616"/>
            </a:xfrm>
            <a:custGeom>
              <a:avLst/>
              <a:gdLst>
                <a:gd name="T0" fmla="*/ 5 w 25"/>
                <a:gd name="T1" fmla="*/ 33 h 39"/>
                <a:gd name="T2" fmla="*/ 10 w 25"/>
                <a:gd name="T3" fmla="*/ 37 h 39"/>
                <a:gd name="T4" fmla="*/ 13 w 25"/>
                <a:gd name="T5" fmla="*/ 33 h 39"/>
                <a:gd name="T6" fmla="*/ 19 w 25"/>
                <a:gd name="T7" fmla="*/ 26 h 39"/>
                <a:gd name="T8" fmla="*/ 24 w 25"/>
                <a:gd name="T9" fmla="*/ 18 h 39"/>
                <a:gd name="T10" fmla="*/ 16 w 25"/>
                <a:gd name="T11" fmla="*/ 0 h 39"/>
                <a:gd name="T12" fmla="*/ 2 w 25"/>
                <a:gd name="T13" fmla="*/ 15 h 39"/>
                <a:gd name="T14" fmla="*/ 13 w 25"/>
                <a:gd name="T15" fmla="*/ 11 h 39"/>
                <a:gd name="T16" fmla="*/ 10 w 25"/>
                <a:gd name="T17" fmla="*/ 30 h 39"/>
                <a:gd name="T18" fmla="*/ 0 w 25"/>
                <a:gd name="T19" fmla="*/ 26 h 39"/>
                <a:gd name="T20" fmla="*/ 2 w 25"/>
                <a:gd name="T21" fmla="*/ 37 h 39"/>
                <a:gd name="T22" fmla="*/ 5 w 25"/>
                <a:gd name="T23" fmla="*/ 3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39">
                  <a:moveTo>
                    <a:pt x="5" y="33"/>
                  </a:moveTo>
                  <a:cubicBezTo>
                    <a:pt x="8" y="32"/>
                    <a:pt x="9" y="38"/>
                    <a:pt x="10" y="37"/>
                  </a:cubicBezTo>
                  <a:cubicBezTo>
                    <a:pt x="12" y="36"/>
                    <a:pt x="10" y="33"/>
                    <a:pt x="13" y="33"/>
                  </a:cubicBezTo>
                  <a:cubicBezTo>
                    <a:pt x="17" y="33"/>
                    <a:pt x="16" y="26"/>
                    <a:pt x="19" y="26"/>
                  </a:cubicBezTo>
                  <a:cubicBezTo>
                    <a:pt x="22" y="25"/>
                    <a:pt x="21" y="20"/>
                    <a:pt x="24" y="18"/>
                  </a:cubicBezTo>
                  <a:cubicBezTo>
                    <a:pt x="25" y="8"/>
                    <a:pt x="19" y="6"/>
                    <a:pt x="16" y="0"/>
                  </a:cubicBezTo>
                  <a:cubicBezTo>
                    <a:pt x="10" y="3"/>
                    <a:pt x="0" y="0"/>
                    <a:pt x="2" y="15"/>
                  </a:cubicBezTo>
                  <a:cubicBezTo>
                    <a:pt x="9" y="20"/>
                    <a:pt x="11" y="0"/>
                    <a:pt x="13" y="11"/>
                  </a:cubicBezTo>
                  <a:cubicBezTo>
                    <a:pt x="14" y="21"/>
                    <a:pt x="3" y="20"/>
                    <a:pt x="10" y="30"/>
                  </a:cubicBezTo>
                  <a:cubicBezTo>
                    <a:pt x="5" y="23"/>
                    <a:pt x="5" y="32"/>
                    <a:pt x="0" y="26"/>
                  </a:cubicBezTo>
                  <a:cubicBezTo>
                    <a:pt x="0" y="30"/>
                    <a:pt x="0" y="35"/>
                    <a:pt x="2" y="37"/>
                  </a:cubicBezTo>
                  <a:cubicBezTo>
                    <a:pt x="5" y="39"/>
                    <a:pt x="5" y="33"/>
                    <a:pt x="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0" name="Freeform 12"/>
            <p:cNvSpPr>
              <a:spLocks/>
            </p:cNvSpPr>
            <p:nvPr userDrawn="1"/>
          </p:nvSpPr>
          <p:spPr bwMode="auto">
            <a:xfrm>
              <a:off x="8399741" y="1817962"/>
              <a:ext cx="16124" cy="22842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3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1" name="Freeform 13"/>
            <p:cNvSpPr>
              <a:spLocks/>
            </p:cNvSpPr>
            <p:nvPr userDrawn="1"/>
          </p:nvSpPr>
          <p:spPr bwMode="auto">
            <a:xfrm>
              <a:off x="7350349" y="1840804"/>
              <a:ext cx="14780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2" name="Freeform 14"/>
            <p:cNvSpPr>
              <a:spLocks/>
            </p:cNvSpPr>
            <p:nvPr userDrawn="1"/>
          </p:nvSpPr>
          <p:spPr bwMode="auto">
            <a:xfrm>
              <a:off x="8534106" y="1840804"/>
              <a:ext cx="28217" cy="72557"/>
            </a:xfrm>
            <a:custGeom>
              <a:avLst/>
              <a:gdLst>
                <a:gd name="T0" fmla="*/ 9 w 9"/>
                <a:gd name="T1" fmla="*/ 23 h 23"/>
                <a:gd name="T2" fmla="*/ 3 w 9"/>
                <a:gd name="T3" fmla="*/ 0 h 23"/>
                <a:gd name="T4" fmla="*/ 9 w 9"/>
                <a:gd name="T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3">
                  <a:moveTo>
                    <a:pt x="9" y="23"/>
                  </a:moveTo>
                  <a:cubicBezTo>
                    <a:pt x="6" y="16"/>
                    <a:pt x="8" y="4"/>
                    <a:pt x="3" y="0"/>
                  </a:cubicBezTo>
                  <a:cubicBezTo>
                    <a:pt x="0" y="5"/>
                    <a:pt x="1" y="23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3" name="Freeform 15"/>
            <p:cNvSpPr>
              <a:spLocks/>
            </p:cNvSpPr>
            <p:nvPr userDrawn="1"/>
          </p:nvSpPr>
          <p:spPr bwMode="auto">
            <a:xfrm>
              <a:off x="8986917" y="1831399"/>
              <a:ext cx="38966" cy="104805"/>
            </a:xfrm>
            <a:custGeom>
              <a:avLst/>
              <a:gdLst>
                <a:gd name="T0" fmla="*/ 3 w 12"/>
                <a:gd name="T1" fmla="*/ 33 h 33"/>
                <a:gd name="T2" fmla="*/ 8 w 12"/>
                <a:gd name="T3" fmla="*/ 33 h 33"/>
                <a:gd name="T4" fmla="*/ 11 w 12"/>
                <a:gd name="T5" fmla="*/ 29 h 33"/>
                <a:gd name="T6" fmla="*/ 6 w 12"/>
                <a:gd name="T7" fmla="*/ 18 h 33"/>
                <a:gd name="T8" fmla="*/ 3 w 12"/>
                <a:gd name="T9" fmla="*/ 3 h 33"/>
                <a:gd name="T10" fmla="*/ 3 w 12"/>
                <a:gd name="T1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33">
                  <a:moveTo>
                    <a:pt x="3" y="33"/>
                  </a:moveTo>
                  <a:cubicBezTo>
                    <a:pt x="5" y="33"/>
                    <a:pt x="7" y="33"/>
                    <a:pt x="8" y="33"/>
                  </a:cubicBezTo>
                  <a:cubicBezTo>
                    <a:pt x="9" y="31"/>
                    <a:pt x="9" y="29"/>
                    <a:pt x="11" y="29"/>
                  </a:cubicBezTo>
                  <a:cubicBezTo>
                    <a:pt x="12" y="22"/>
                    <a:pt x="7" y="22"/>
                    <a:pt x="6" y="18"/>
                  </a:cubicBezTo>
                  <a:cubicBezTo>
                    <a:pt x="8" y="15"/>
                    <a:pt x="12" y="0"/>
                    <a:pt x="3" y="3"/>
                  </a:cubicBezTo>
                  <a:cubicBezTo>
                    <a:pt x="0" y="17"/>
                    <a:pt x="1" y="24"/>
                    <a:pt x="3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4" name="Freeform 16"/>
            <p:cNvSpPr>
              <a:spLocks/>
            </p:cNvSpPr>
            <p:nvPr userDrawn="1"/>
          </p:nvSpPr>
          <p:spPr bwMode="auto">
            <a:xfrm>
              <a:off x="8476329" y="1887832"/>
              <a:ext cx="60464" cy="83306"/>
            </a:xfrm>
            <a:custGeom>
              <a:avLst/>
              <a:gdLst>
                <a:gd name="T0" fmla="*/ 11 w 19"/>
                <a:gd name="T1" fmla="*/ 26 h 26"/>
                <a:gd name="T2" fmla="*/ 19 w 19"/>
                <a:gd name="T3" fmla="*/ 15 h 26"/>
                <a:gd name="T4" fmla="*/ 19 w 19"/>
                <a:gd name="T5" fmla="*/ 0 h 26"/>
                <a:gd name="T6" fmla="*/ 11 w 19"/>
                <a:gd name="T7" fmla="*/ 0 h 26"/>
                <a:gd name="T8" fmla="*/ 11 w 19"/>
                <a:gd name="T9" fmla="*/ 15 h 26"/>
                <a:gd name="T10" fmla="*/ 11 w 19"/>
                <a:gd name="T1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6">
                  <a:moveTo>
                    <a:pt x="11" y="26"/>
                  </a:moveTo>
                  <a:cubicBezTo>
                    <a:pt x="14" y="23"/>
                    <a:pt x="11" y="12"/>
                    <a:pt x="19" y="15"/>
                  </a:cubicBezTo>
                  <a:cubicBezTo>
                    <a:pt x="19" y="10"/>
                    <a:pt x="19" y="5"/>
                    <a:pt x="19" y="0"/>
                  </a:cubicBezTo>
                  <a:cubicBezTo>
                    <a:pt x="16" y="0"/>
                    <a:pt x="13" y="0"/>
                    <a:pt x="11" y="0"/>
                  </a:cubicBezTo>
                  <a:cubicBezTo>
                    <a:pt x="7" y="10"/>
                    <a:pt x="11" y="11"/>
                    <a:pt x="11" y="15"/>
                  </a:cubicBezTo>
                  <a:cubicBezTo>
                    <a:pt x="10" y="17"/>
                    <a:pt x="0" y="23"/>
                    <a:pt x="11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5" name="Freeform 17"/>
            <p:cNvSpPr>
              <a:spLocks/>
            </p:cNvSpPr>
            <p:nvPr userDrawn="1"/>
          </p:nvSpPr>
          <p:spPr bwMode="auto">
            <a:xfrm>
              <a:off x="8771933" y="1885145"/>
              <a:ext cx="37622" cy="81963"/>
            </a:xfrm>
            <a:custGeom>
              <a:avLst/>
              <a:gdLst>
                <a:gd name="T0" fmla="*/ 12 w 12"/>
                <a:gd name="T1" fmla="*/ 23 h 26"/>
                <a:gd name="T2" fmla="*/ 1 w 12"/>
                <a:gd name="T3" fmla="*/ 1 h 26"/>
                <a:gd name="T4" fmla="*/ 6 w 12"/>
                <a:gd name="T5" fmla="*/ 16 h 26"/>
                <a:gd name="T6" fmla="*/ 12 w 12"/>
                <a:gd name="T7" fmla="*/ 2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12" y="23"/>
                  </a:moveTo>
                  <a:cubicBezTo>
                    <a:pt x="9" y="15"/>
                    <a:pt x="11" y="0"/>
                    <a:pt x="1" y="1"/>
                  </a:cubicBezTo>
                  <a:cubicBezTo>
                    <a:pt x="0" y="7"/>
                    <a:pt x="5" y="12"/>
                    <a:pt x="6" y="16"/>
                  </a:cubicBezTo>
                  <a:cubicBezTo>
                    <a:pt x="8" y="19"/>
                    <a:pt x="6" y="26"/>
                    <a:pt x="1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6" name="Freeform 18"/>
            <p:cNvSpPr>
              <a:spLocks/>
            </p:cNvSpPr>
            <p:nvPr userDrawn="1"/>
          </p:nvSpPr>
          <p:spPr bwMode="auto">
            <a:xfrm>
              <a:off x="4985522" y="1901268"/>
              <a:ext cx="18811" cy="21498"/>
            </a:xfrm>
            <a:custGeom>
              <a:avLst/>
              <a:gdLst>
                <a:gd name="T0" fmla="*/ 0 w 6"/>
                <a:gd name="T1" fmla="*/ 7 h 7"/>
                <a:gd name="T2" fmla="*/ 6 w 6"/>
                <a:gd name="T3" fmla="*/ 7 h 7"/>
                <a:gd name="T4" fmla="*/ 6 w 6"/>
                <a:gd name="T5" fmla="*/ 0 h 7"/>
                <a:gd name="T6" fmla="*/ 0 w 6"/>
                <a:gd name="T7" fmla="*/ 0 h 7"/>
                <a:gd name="T8" fmla="*/ 0 w 6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7"/>
                  </a:moveTo>
                  <a:cubicBezTo>
                    <a:pt x="2" y="7"/>
                    <a:pt x="4" y="7"/>
                    <a:pt x="6" y="7"/>
                  </a:cubicBezTo>
                  <a:cubicBezTo>
                    <a:pt x="6" y="5"/>
                    <a:pt x="6" y="2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7" name="Freeform 19"/>
            <p:cNvSpPr>
              <a:spLocks/>
            </p:cNvSpPr>
            <p:nvPr userDrawn="1"/>
          </p:nvSpPr>
          <p:spPr bwMode="auto">
            <a:xfrm>
              <a:off x="7707760" y="1901268"/>
              <a:ext cx="16124" cy="21498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4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8" name="Freeform 20"/>
            <p:cNvSpPr>
              <a:spLocks/>
            </p:cNvSpPr>
            <p:nvPr userDrawn="1"/>
          </p:nvSpPr>
          <p:spPr bwMode="auto">
            <a:xfrm>
              <a:off x="5395336" y="1910674"/>
              <a:ext cx="44341" cy="44341"/>
            </a:xfrm>
            <a:custGeom>
              <a:avLst/>
              <a:gdLst>
                <a:gd name="T0" fmla="*/ 0 w 14"/>
                <a:gd name="T1" fmla="*/ 8 h 14"/>
                <a:gd name="T2" fmla="*/ 14 w 14"/>
                <a:gd name="T3" fmla="*/ 4 h 14"/>
                <a:gd name="T4" fmla="*/ 0 w 14"/>
                <a:gd name="T5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0" y="8"/>
                  </a:moveTo>
                  <a:cubicBezTo>
                    <a:pt x="4" y="14"/>
                    <a:pt x="11" y="11"/>
                    <a:pt x="14" y="4"/>
                  </a:cubicBezTo>
                  <a:cubicBezTo>
                    <a:pt x="10" y="6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9" name="Freeform 21"/>
            <p:cNvSpPr>
              <a:spLocks/>
            </p:cNvSpPr>
            <p:nvPr userDrawn="1"/>
          </p:nvSpPr>
          <p:spPr bwMode="auto">
            <a:xfrm>
              <a:off x="7086993" y="1910674"/>
              <a:ext cx="37622" cy="85994"/>
            </a:xfrm>
            <a:custGeom>
              <a:avLst/>
              <a:gdLst>
                <a:gd name="T0" fmla="*/ 2 w 12"/>
                <a:gd name="T1" fmla="*/ 4 h 27"/>
                <a:gd name="T2" fmla="*/ 0 w 12"/>
                <a:gd name="T3" fmla="*/ 19 h 27"/>
                <a:gd name="T4" fmla="*/ 2 w 12"/>
                <a:gd name="T5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7">
                  <a:moveTo>
                    <a:pt x="2" y="4"/>
                  </a:moveTo>
                  <a:cubicBezTo>
                    <a:pt x="2" y="11"/>
                    <a:pt x="2" y="16"/>
                    <a:pt x="0" y="19"/>
                  </a:cubicBezTo>
                  <a:cubicBezTo>
                    <a:pt x="10" y="27"/>
                    <a:pt x="12" y="0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0" name="Freeform 22"/>
            <p:cNvSpPr>
              <a:spLocks/>
            </p:cNvSpPr>
            <p:nvPr userDrawn="1"/>
          </p:nvSpPr>
          <p:spPr bwMode="auto">
            <a:xfrm>
              <a:off x="8844490" y="1906643"/>
              <a:ext cx="22842" cy="69870"/>
            </a:xfrm>
            <a:custGeom>
              <a:avLst/>
              <a:gdLst>
                <a:gd name="T0" fmla="*/ 0 w 7"/>
                <a:gd name="T1" fmla="*/ 5 h 22"/>
                <a:gd name="T2" fmla="*/ 0 w 7"/>
                <a:gd name="T3" fmla="*/ 16 h 22"/>
                <a:gd name="T4" fmla="*/ 0 w 7"/>
                <a:gd name="T5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2">
                  <a:moveTo>
                    <a:pt x="0" y="5"/>
                  </a:moveTo>
                  <a:cubicBezTo>
                    <a:pt x="0" y="9"/>
                    <a:pt x="0" y="13"/>
                    <a:pt x="0" y="16"/>
                  </a:cubicBezTo>
                  <a:cubicBezTo>
                    <a:pt x="7" y="22"/>
                    <a:pt x="7" y="0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1" name="Freeform 23"/>
            <p:cNvSpPr>
              <a:spLocks/>
            </p:cNvSpPr>
            <p:nvPr userDrawn="1"/>
          </p:nvSpPr>
          <p:spPr bwMode="auto">
            <a:xfrm>
              <a:off x="5778276" y="1906643"/>
              <a:ext cx="34935" cy="79275"/>
            </a:xfrm>
            <a:custGeom>
              <a:avLst/>
              <a:gdLst>
                <a:gd name="T0" fmla="*/ 11 w 11"/>
                <a:gd name="T1" fmla="*/ 13 h 25"/>
                <a:gd name="T2" fmla="*/ 11 w 11"/>
                <a:gd name="T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25">
                  <a:moveTo>
                    <a:pt x="11" y="13"/>
                  </a:moveTo>
                  <a:cubicBezTo>
                    <a:pt x="0" y="0"/>
                    <a:pt x="5" y="25"/>
                    <a:pt x="1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2" name="Freeform 24"/>
            <p:cNvSpPr>
              <a:spLocks/>
            </p:cNvSpPr>
            <p:nvPr userDrawn="1"/>
          </p:nvSpPr>
          <p:spPr bwMode="auto">
            <a:xfrm>
              <a:off x="5870988" y="1926798"/>
              <a:ext cx="47028" cy="30904"/>
            </a:xfrm>
            <a:custGeom>
              <a:avLst/>
              <a:gdLst>
                <a:gd name="T0" fmla="*/ 9 w 15"/>
                <a:gd name="T1" fmla="*/ 10 h 10"/>
                <a:gd name="T2" fmla="*/ 14 w 15"/>
                <a:gd name="T3" fmla="*/ 3 h 10"/>
                <a:gd name="T4" fmla="*/ 9 w 15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9" y="10"/>
                  </a:moveTo>
                  <a:cubicBezTo>
                    <a:pt x="8" y="7"/>
                    <a:pt x="15" y="5"/>
                    <a:pt x="14" y="3"/>
                  </a:cubicBezTo>
                  <a:cubicBezTo>
                    <a:pt x="12" y="0"/>
                    <a:pt x="0" y="4"/>
                    <a:pt x="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3" name="Freeform 25"/>
            <p:cNvSpPr>
              <a:spLocks/>
            </p:cNvSpPr>
            <p:nvPr userDrawn="1"/>
          </p:nvSpPr>
          <p:spPr bwMode="auto">
            <a:xfrm>
              <a:off x="6940535" y="1932172"/>
              <a:ext cx="25529" cy="38966"/>
            </a:xfrm>
            <a:custGeom>
              <a:avLst/>
              <a:gdLst>
                <a:gd name="T0" fmla="*/ 8 w 8"/>
                <a:gd name="T1" fmla="*/ 5 h 12"/>
                <a:gd name="T2" fmla="*/ 0 w 8"/>
                <a:gd name="T3" fmla="*/ 1 h 12"/>
                <a:gd name="T4" fmla="*/ 0 w 8"/>
                <a:gd name="T5" fmla="*/ 12 h 12"/>
                <a:gd name="T6" fmla="*/ 5 w 8"/>
                <a:gd name="T7" fmla="*/ 12 h 12"/>
                <a:gd name="T8" fmla="*/ 8 w 8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8" y="5"/>
                  </a:moveTo>
                  <a:cubicBezTo>
                    <a:pt x="5" y="4"/>
                    <a:pt x="4" y="0"/>
                    <a:pt x="0" y="1"/>
                  </a:cubicBezTo>
                  <a:cubicBezTo>
                    <a:pt x="0" y="5"/>
                    <a:pt x="0" y="8"/>
                    <a:pt x="0" y="12"/>
                  </a:cubicBezTo>
                  <a:cubicBezTo>
                    <a:pt x="2" y="12"/>
                    <a:pt x="3" y="12"/>
                    <a:pt x="5" y="12"/>
                  </a:cubicBezTo>
                  <a:cubicBezTo>
                    <a:pt x="5" y="8"/>
                    <a:pt x="7" y="8"/>
                    <a:pt x="8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4" name="Freeform 26"/>
            <p:cNvSpPr>
              <a:spLocks/>
            </p:cNvSpPr>
            <p:nvPr userDrawn="1"/>
          </p:nvSpPr>
          <p:spPr bwMode="auto">
            <a:xfrm>
              <a:off x="5959669" y="1938891"/>
              <a:ext cx="37622" cy="44341"/>
            </a:xfrm>
            <a:custGeom>
              <a:avLst/>
              <a:gdLst>
                <a:gd name="T0" fmla="*/ 10 w 12"/>
                <a:gd name="T1" fmla="*/ 3 h 14"/>
                <a:gd name="T2" fmla="*/ 2 w 12"/>
                <a:gd name="T3" fmla="*/ 6 h 14"/>
                <a:gd name="T4" fmla="*/ 10 w 12"/>
                <a:gd name="T5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4">
                  <a:moveTo>
                    <a:pt x="10" y="3"/>
                  </a:moveTo>
                  <a:cubicBezTo>
                    <a:pt x="8" y="0"/>
                    <a:pt x="3" y="5"/>
                    <a:pt x="2" y="6"/>
                  </a:cubicBezTo>
                  <a:cubicBezTo>
                    <a:pt x="0" y="14"/>
                    <a:pt x="12" y="5"/>
                    <a:pt x="1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5" name="Freeform 27"/>
            <p:cNvSpPr>
              <a:spLocks/>
            </p:cNvSpPr>
            <p:nvPr userDrawn="1"/>
          </p:nvSpPr>
          <p:spPr bwMode="auto">
            <a:xfrm>
              <a:off x="6343954" y="1948296"/>
              <a:ext cx="16124" cy="22842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6" name="Freeform 28"/>
            <p:cNvSpPr>
              <a:spLocks/>
            </p:cNvSpPr>
            <p:nvPr userDrawn="1"/>
          </p:nvSpPr>
          <p:spPr bwMode="auto">
            <a:xfrm>
              <a:off x="8902267" y="1948296"/>
              <a:ext cx="18811" cy="22842"/>
            </a:xfrm>
            <a:custGeom>
              <a:avLst/>
              <a:gdLst>
                <a:gd name="T0" fmla="*/ 6 w 6"/>
                <a:gd name="T1" fmla="*/ 0 h 7"/>
                <a:gd name="T2" fmla="*/ 0 w 6"/>
                <a:gd name="T3" fmla="*/ 0 h 7"/>
                <a:gd name="T4" fmla="*/ 0 w 6"/>
                <a:gd name="T5" fmla="*/ 7 h 7"/>
                <a:gd name="T6" fmla="*/ 6 w 6"/>
                <a:gd name="T7" fmla="*/ 7 h 7"/>
                <a:gd name="T8" fmla="*/ 6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4" y="7"/>
                    <a:pt x="6" y="7"/>
                  </a:cubicBezTo>
                  <a:cubicBezTo>
                    <a:pt x="6" y="5"/>
                    <a:pt x="6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7" name="Freeform 29"/>
            <p:cNvSpPr>
              <a:spLocks/>
            </p:cNvSpPr>
            <p:nvPr userDrawn="1"/>
          </p:nvSpPr>
          <p:spPr bwMode="auto">
            <a:xfrm>
              <a:off x="8986917" y="1948296"/>
              <a:ext cx="29560" cy="37622"/>
            </a:xfrm>
            <a:custGeom>
              <a:avLst/>
              <a:gdLst>
                <a:gd name="T0" fmla="*/ 8 w 9"/>
                <a:gd name="T1" fmla="*/ 11 h 12"/>
                <a:gd name="T2" fmla="*/ 3 w 9"/>
                <a:gd name="T3" fmla="*/ 0 h 12"/>
                <a:gd name="T4" fmla="*/ 0 w 9"/>
                <a:gd name="T5" fmla="*/ 7 h 12"/>
                <a:gd name="T6" fmla="*/ 8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11"/>
                  </a:moveTo>
                  <a:cubicBezTo>
                    <a:pt x="9" y="4"/>
                    <a:pt x="6" y="1"/>
                    <a:pt x="3" y="0"/>
                  </a:cubicBezTo>
                  <a:cubicBezTo>
                    <a:pt x="3" y="3"/>
                    <a:pt x="1" y="4"/>
                    <a:pt x="0" y="7"/>
                  </a:cubicBezTo>
                  <a:cubicBezTo>
                    <a:pt x="4" y="7"/>
                    <a:pt x="4" y="12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8" name="Freeform 30"/>
            <p:cNvSpPr>
              <a:spLocks/>
            </p:cNvSpPr>
            <p:nvPr userDrawn="1"/>
          </p:nvSpPr>
          <p:spPr bwMode="auto">
            <a:xfrm>
              <a:off x="9037976" y="1938891"/>
              <a:ext cx="32248" cy="44341"/>
            </a:xfrm>
            <a:custGeom>
              <a:avLst/>
              <a:gdLst>
                <a:gd name="T0" fmla="*/ 0 w 10"/>
                <a:gd name="T1" fmla="*/ 10 h 14"/>
                <a:gd name="T2" fmla="*/ 8 w 10"/>
                <a:gd name="T3" fmla="*/ 14 h 14"/>
                <a:gd name="T4" fmla="*/ 0 w 10"/>
                <a:gd name="T5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4">
                  <a:moveTo>
                    <a:pt x="0" y="10"/>
                  </a:moveTo>
                  <a:cubicBezTo>
                    <a:pt x="4" y="10"/>
                    <a:pt x="6" y="12"/>
                    <a:pt x="8" y="14"/>
                  </a:cubicBezTo>
                  <a:cubicBezTo>
                    <a:pt x="10" y="2"/>
                    <a:pt x="1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9" name="Freeform 31"/>
            <p:cNvSpPr>
              <a:spLocks/>
            </p:cNvSpPr>
            <p:nvPr userDrawn="1"/>
          </p:nvSpPr>
          <p:spPr bwMode="auto">
            <a:xfrm>
              <a:off x="6521316" y="1983231"/>
              <a:ext cx="48371" cy="51059"/>
            </a:xfrm>
            <a:custGeom>
              <a:avLst/>
              <a:gdLst>
                <a:gd name="T0" fmla="*/ 6 w 15"/>
                <a:gd name="T1" fmla="*/ 11 h 16"/>
                <a:gd name="T2" fmla="*/ 3 w 15"/>
                <a:gd name="T3" fmla="*/ 15 h 16"/>
                <a:gd name="T4" fmla="*/ 14 w 15"/>
                <a:gd name="T5" fmla="*/ 0 h 16"/>
                <a:gd name="T6" fmla="*/ 0 w 15"/>
                <a:gd name="T7" fmla="*/ 7 h 16"/>
                <a:gd name="T8" fmla="*/ 6 w 15"/>
                <a:gd name="T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6" y="11"/>
                  </a:moveTo>
                  <a:cubicBezTo>
                    <a:pt x="4" y="11"/>
                    <a:pt x="2" y="11"/>
                    <a:pt x="3" y="15"/>
                  </a:cubicBezTo>
                  <a:cubicBezTo>
                    <a:pt x="11" y="16"/>
                    <a:pt x="15" y="11"/>
                    <a:pt x="14" y="0"/>
                  </a:cubicBezTo>
                  <a:cubicBezTo>
                    <a:pt x="9" y="2"/>
                    <a:pt x="2" y="2"/>
                    <a:pt x="0" y="7"/>
                  </a:cubicBezTo>
                  <a:cubicBezTo>
                    <a:pt x="2" y="8"/>
                    <a:pt x="5" y="7"/>
                    <a:pt x="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0" name="Freeform 32"/>
            <p:cNvSpPr>
              <a:spLocks/>
            </p:cNvSpPr>
            <p:nvPr userDrawn="1"/>
          </p:nvSpPr>
          <p:spPr bwMode="auto">
            <a:xfrm>
              <a:off x="7397377" y="1973826"/>
              <a:ext cx="51059" cy="37622"/>
            </a:xfrm>
            <a:custGeom>
              <a:avLst/>
              <a:gdLst>
                <a:gd name="T0" fmla="*/ 12 w 16"/>
                <a:gd name="T1" fmla="*/ 10 h 12"/>
                <a:gd name="T2" fmla="*/ 1 w 16"/>
                <a:gd name="T3" fmla="*/ 6 h 12"/>
                <a:gd name="T4" fmla="*/ 12 w 16"/>
                <a:gd name="T5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2" y="10"/>
                  </a:moveTo>
                  <a:cubicBezTo>
                    <a:pt x="16" y="0"/>
                    <a:pt x="0" y="0"/>
                    <a:pt x="1" y="6"/>
                  </a:cubicBezTo>
                  <a:cubicBezTo>
                    <a:pt x="5" y="8"/>
                    <a:pt x="6" y="12"/>
                    <a:pt x="1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1" name="Freeform 33"/>
            <p:cNvSpPr>
              <a:spLocks/>
            </p:cNvSpPr>
            <p:nvPr userDrawn="1"/>
          </p:nvSpPr>
          <p:spPr bwMode="auto">
            <a:xfrm>
              <a:off x="7508900" y="1983231"/>
              <a:ext cx="40310" cy="37622"/>
            </a:xfrm>
            <a:custGeom>
              <a:avLst/>
              <a:gdLst>
                <a:gd name="T0" fmla="*/ 12 w 13"/>
                <a:gd name="T1" fmla="*/ 11 h 12"/>
                <a:gd name="T2" fmla="*/ 1 w 13"/>
                <a:gd name="T3" fmla="*/ 0 h 12"/>
                <a:gd name="T4" fmla="*/ 12 w 13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2" y="11"/>
                  </a:moveTo>
                  <a:cubicBezTo>
                    <a:pt x="13" y="1"/>
                    <a:pt x="6" y="1"/>
                    <a:pt x="1" y="0"/>
                  </a:cubicBezTo>
                  <a:cubicBezTo>
                    <a:pt x="0" y="9"/>
                    <a:pt x="5" y="12"/>
                    <a:pt x="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2" name="Freeform 34"/>
            <p:cNvSpPr>
              <a:spLocks/>
            </p:cNvSpPr>
            <p:nvPr userDrawn="1"/>
          </p:nvSpPr>
          <p:spPr bwMode="auto">
            <a:xfrm>
              <a:off x="6061787" y="1989949"/>
              <a:ext cx="24186" cy="28217"/>
            </a:xfrm>
            <a:custGeom>
              <a:avLst/>
              <a:gdLst>
                <a:gd name="T0" fmla="*/ 0 w 8"/>
                <a:gd name="T1" fmla="*/ 1 h 9"/>
                <a:gd name="T2" fmla="*/ 0 w 8"/>
                <a:gd name="T3" fmla="*/ 9 h 9"/>
                <a:gd name="T4" fmla="*/ 8 w 8"/>
                <a:gd name="T5" fmla="*/ 9 h 9"/>
                <a:gd name="T6" fmla="*/ 0 w 8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3" y="9"/>
                    <a:pt x="5" y="9"/>
                    <a:pt x="8" y="9"/>
                  </a:cubicBezTo>
                  <a:cubicBezTo>
                    <a:pt x="8" y="2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3" name="Freeform 35"/>
            <p:cNvSpPr>
              <a:spLocks/>
            </p:cNvSpPr>
            <p:nvPr userDrawn="1"/>
          </p:nvSpPr>
          <p:spPr bwMode="auto">
            <a:xfrm>
              <a:off x="6290208" y="1976513"/>
              <a:ext cx="60464" cy="69870"/>
            </a:xfrm>
            <a:custGeom>
              <a:avLst/>
              <a:gdLst>
                <a:gd name="T0" fmla="*/ 19 w 19"/>
                <a:gd name="T1" fmla="*/ 13 h 22"/>
                <a:gd name="T2" fmla="*/ 0 w 19"/>
                <a:gd name="T3" fmla="*/ 13 h 22"/>
                <a:gd name="T4" fmla="*/ 19 w 19"/>
                <a:gd name="T5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22">
                  <a:moveTo>
                    <a:pt x="19" y="13"/>
                  </a:moveTo>
                  <a:cubicBezTo>
                    <a:pt x="13" y="11"/>
                    <a:pt x="2" y="0"/>
                    <a:pt x="0" y="13"/>
                  </a:cubicBezTo>
                  <a:cubicBezTo>
                    <a:pt x="9" y="8"/>
                    <a:pt x="17" y="22"/>
                    <a:pt x="19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4" name="Freeform 36"/>
            <p:cNvSpPr>
              <a:spLocks/>
            </p:cNvSpPr>
            <p:nvPr userDrawn="1"/>
          </p:nvSpPr>
          <p:spPr bwMode="auto">
            <a:xfrm>
              <a:off x="6632839" y="1980544"/>
              <a:ext cx="72557" cy="72557"/>
            </a:xfrm>
            <a:custGeom>
              <a:avLst/>
              <a:gdLst>
                <a:gd name="T0" fmla="*/ 14 w 23"/>
                <a:gd name="T1" fmla="*/ 23 h 23"/>
                <a:gd name="T2" fmla="*/ 14 w 23"/>
                <a:gd name="T3" fmla="*/ 4 h 23"/>
                <a:gd name="T4" fmla="*/ 3 w 23"/>
                <a:gd name="T5" fmla="*/ 4 h 23"/>
                <a:gd name="T6" fmla="*/ 0 w 23"/>
                <a:gd name="T7" fmla="*/ 16 h 23"/>
                <a:gd name="T8" fmla="*/ 14 w 23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4" y="23"/>
                  </a:moveTo>
                  <a:cubicBezTo>
                    <a:pt x="15" y="16"/>
                    <a:pt x="23" y="7"/>
                    <a:pt x="14" y="4"/>
                  </a:cubicBezTo>
                  <a:cubicBezTo>
                    <a:pt x="13" y="22"/>
                    <a:pt x="10" y="0"/>
                    <a:pt x="3" y="4"/>
                  </a:cubicBezTo>
                  <a:cubicBezTo>
                    <a:pt x="3" y="10"/>
                    <a:pt x="1" y="13"/>
                    <a:pt x="0" y="16"/>
                  </a:cubicBezTo>
                  <a:cubicBezTo>
                    <a:pt x="9" y="12"/>
                    <a:pt x="8" y="21"/>
                    <a:pt x="14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5" name="Freeform 37"/>
            <p:cNvSpPr>
              <a:spLocks/>
            </p:cNvSpPr>
            <p:nvPr userDrawn="1"/>
          </p:nvSpPr>
          <p:spPr bwMode="auto">
            <a:xfrm>
              <a:off x="8397054" y="1989949"/>
              <a:ext cx="32248" cy="51059"/>
            </a:xfrm>
            <a:custGeom>
              <a:avLst/>
              <a:gdLst>
                <a:gd name="T0" fmla="*/ 1 w 10"/>
                <a:gd name="T1" fmla="*/ 1 h 16"/>
                <a:gd name="T2" fmla="*/ 9 w 10"/>
                <a:gd name="T3" fmla="*/ 16 h 16"/>
                <a:gd name="T4" fmla="*/ 1 w 10"/>
                <a:gd name="T5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6">
                  <a:moveTo>
                    <a:pt x="1" y="1"/>
                  </a:moveTo>
                  <a:cubicBezTo>
                    <a:pt x="0" y="11"/>
                    <a:pt x="5" y="13"/>
                    <a:pt x="9" y="16"/>
                  </a:cubicBezTo>
                  <a:cubicBezTo>
                    <a:pt x="10" y="7"/>
                    <a:pt x="8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6" name="Freeform 38"/>
            <p:cNvSpPr>
              <a:spLocks/>
            </p:cNvSpPr>
            <p:nvPr userDrawn="1"/>
          </p:nvSpPr>
          <p:spPr bwMode="auto">
            <a:xfrm>
              <a:off x="7178362" y="2002042"/>
              <a:ext cx="76588" cy="83306"/>
            </a:xfrm>
            <a:custGeom>
              <a:avLst/>
              <a:gdLst>
                <a:gd name="T0" fmla="*/ 14 w 24"/>
                <a:gd name="T1" fmla="*/ 16 h 26"/>
                <a:gd name="T2" fmla="*/ 24 w 24"/>
                <a:gd name="T3" fmla="*/ 16 h 26"/>
                <a:gd name="T4" fmla="*/ 16 w 24"/>
                <a:gd name="T5" fmla="*/ 16 h 26"/>
                <a:gd name="T6" fmla="*/ 11 w 24"/>
                <a:gd name="T7" fmla="*/ 5 h 26"/>
                <a:gd name="T8" fmla="*/ 6 w 24"/>
                <a:gd name="T9" fmla="*/ 5 h 26"/>
                <a:gd name="T10" fmla="*/ 0 w 24"/>
                <a:gd name="T11" fmla="*/ 20 h 26"/>
                <a:gd name="T12" fmla="*/ 14 w 24"/>
                <a:gd name="T13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6">
                  <a:moveTo>
                    <a:pt x="14" y="16"/>
                  </a:moveTo>
                  <a:cubicBezTo>
                    <a:pt x="16" y="22"/>
                    <a:pt x="24" y="26"/>
                    <a:pt x="24" y="16"/>
                  </a:cubicBezTo>
                  <a:cubicBezTo>
                    <a:pt x="22" y="16"/>
                    <a:pt x="19" y="16"/>
                    <a:pt x="16" y="16"/>
                  </a:cubicBezTo>
                  <a:cubicBezTo>
                    <a:pt x="17" y="9"/>
                    <a:pt x="13" y="9"/>
                    <a:pt x="11" y="5"/>
                  </a:cubicBezTo>
                  <a:cubicBezTo>
                    <a:pt x="11" y="1"/>
                    <a:pt x="6" y="0"/>
                    <a:pt x="6" y="5"/>
                  </a:cubicBezTo>
                  <a:cubicBezTo>
                    <a:pt x="14" y="10"/>
                    <a:pt x="1" y="15"/>
                    <a:pt x="0" y="20"/>
                  </a:cubicBezTo>
                  <a:cubicBezTo>
                    <a:pt x="6" y="21"/>
                    <a:pt x="11" y="19"/>
                    <a:pt x="1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7" name="Freeform 39"/>
            <p:cNvSpPr>
              <a:spLocks/>
            </p:cNvSpPr>
            <p:nvPr userDrawn="1"/>
          </p:nvSpPr>
          <p:spPr bwMode="auto">
            <a:xfrm>
              <a:off x="6733613" y="2018166"/>
              <a:ext cx="25529" cy="22842"/>
            </a:xfrm>
            <a:custGeom>
              <a:avLst/>
              <a:gdLst>
                <a:gd name="T0" fmla="*/ 8 w 8"/>
                <a:gd name="T1" fmla="*/ 0 h 7"/>
                <a:gd name="T2" fmla="*/ 0 w 8"/>
                <a:gd name="T3" fmla="*/ 7 h 7"/>
                <a:gd name="T4" fmla="*/ 8 w 8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7">
                  <a:moveTo>
                    <a:pt x="8" y="0"/>
                  </a:moveTo>
                  <a:cubicBezTo>
                    <a:pt x="4" y="0"/>
                    <a:pt x="2" y="3"/>
                    <a:pt x="0" y="7"/>
                  </a:cubicBezTo>
                  <a:cubicBezTo>
                    <a:pt x="5" y="7"/>
                    <a:pt x="7" y="4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8" name="Freeform 40"/>
            <p:cNvSpPr>
              <a:spLocks/>
            </p:cNvSpPr>
            <p:nvPr userDrawn="1"/>
          </p:nvSpPr>
          <p:spPr bwMode="auto">
            <a:xfrm>
              <a:off x="8993635" y="2015479"/>
              <a:ext cx="28217" cy="44341"/>
            </a:xfrm>
            <a:custGeom>
              <a:avLst/>
              <a:gdLst>
                <a:gd name="T0" fmla="*/ 9 w 9"/>
                <a:gd name="T1" fmla="*/ 1 h 14"/>
                <a:gd name="T2" fmla="*/ 1 w 9"/>
                <a:gd name="T3" fmla="*/ 12 h 14"/>
                <a:gd name="T4" fmla="*/ 9 w 9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9" y="1"/>
                  </a:moveTo>
                  <a:cubicBezTo>
                    <a:pt x="3" y="0"/>
                    <a:pt x="0" y="4"/>
                    <a:pt x="1" y="12"/>
                  </a:cubicBezTo>
                  <a:cubicBezTo>
                    <a:pt x="8" y="14"/>
                    <a:pt x="6" y="4"/>
                    <a:pt x="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9" name="Freeform 41"/>
            <p:cNvSpPr>
              <a:spLocks/>
            </p:cNvSpPr>
            <p:nvPr userDrawn="1"/>
          </p:nvSpPr>
          <p:spPr bwMode="auto">
            <a:xfrm>
              <a:off x="6949941" y="2027572"/>
              <a:ext cx="56433" cy="95399"/>
            </a:xfrm>
            <a:custGeom>
              <a:avLst/>
              <a:gdLst>
                <a:gd name="T0" fmla="*/ 13 w 18"/>
                <a:gd name="T1" fmla="*/ 26 h 30"/>
                <a:gd name="T2" fmla="*/ 8 w 18"/>
                <a:gd name="T3" fmla="*/ 19 h 30"/>
                <a:gd name="T4" fmla="*/ 16 w 18"/>
                <a:gd name="T5" fmla="*/ 1 h 30"/>
                <a:gd name="T6" fmla="*/ 0 w 18"/>
                <a:gd name="T7" fmla="*/ 15 h 30"/>
                <a:gd name="T8" fmla="*/ 13 w 18"/>
                <a:gd name="T9" fmla="*/ 2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30">
                  <a:moveTo>
                    <a:pt x="13" y="26"/>
                  </a:moveTo>
                  <a:cubicBezTo>
                    <a:pt x="14" y="9"/>
                    <a:pt x="11" y="13"/>
                    <a:pt x="8" y="19"/>
                  </a:cubicBezTo>
                  <a:cubicBezTo>
                    <a:pt x="5" y="5"/>
                    <a:pt x="18" y="13"/>
                    <a:pt x="16" y="1"/>
                  </a:cubicBezTo>
                  <a:cubicBezTo>
                    <a:pt x="7" y="0"/>
                    <a:pt x="5" y="10"/>
                    <a:pt x="0" y="15"/>
                  </a:cubicBezTo>
                  <a:cubicBezTo>
                    <a:pt x="9" y="13"/>
                    <a:pt x="3" y="30"/>
                    <a:pt x="13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0" name="Freeform 42"/>
            <p:cNvSpPr>
              <a:spLocks/>
            </p:cNvSpPr>
            <p:nvPr userDrawn="1"/>
          </p:nvSpPr>
          <p:spPr bwMode="auto">
            <a:xfrm>
              <a:off x="7061464" y="2020853"/>
              <a:ext cx="40310" cy="60464"/>
            </a:xfrm>
            <a:custGeom>
              <a:avLst/>
              <a:gdLst>
                <a:gd name="T0" fmla="*/ 13 w 13"/>
                <a:gd name="T1" fmla="*/ 6 h 19"/>
                <a:gd name="T2" fmla="*/ 0 w 13"/>
                <a:gd name="T3" fmla="*/ 10 h 19"/>
                <a:gd name="T4" fmla="*/ 13 w 13"/>
                <a:gd name="T5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9">
                  <a:moveTo>
                    <a:pt x="13" y="6"/>
                  </a:moveTo>
                  <a:cubicBezTo>
                    <a:pt x="7" y="4"/>
                    <a:pt x="3" y="0"/>
                    <a:pt x="0" y="10"/>
                  </a:cubicBezTo>
                  <a:cubicBezTo>
                    <a:pt x="8" y="8"/>
                    <a:pt x="11" y="19"/>
                    <a:pt x="1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1" name="Freeform 43"/>
            <p:cNvSpPr>
              <a:spLocks/>
            </p:cNvSpPr>
            <p:nvPr userDrawn="1"/>
          </p:nvSpPr>
          <p:spPr bwMode="auto">
            <a:xfrm>
              <a:off x="7250919" y="2041008"/>
              <a:ext cx="67183" cy="49715"/>
            </a:xfrm>
            <a:custGeom>
              <a:avLst/>
              <a:gdLst>
                <a:gd name="T0" fmla="*/ 9 w 21"/>
                <a:gd name="T1" fmla="*/ 0 h 16"/>
                <a:gd name="T2" fmla="*/ 4 w 21"/>
                <a:gd name="T3" fmla="*/ 0 h 16"/>
                <a:gd name="T4" fmla="*/ 9 w 2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6">
                  <a:moveTo>
                    <a:pt x="9" y="0"/>
                  </a:moveTo>
                  <a:cubicBezTo>
                    <a:pt x="9" y="5"/>
                    <a:pt x="6" y="2"/>
                    <a:pt x="4" y="0"/>
                  </a:cubicBezTo>
                  <a:cubicBezTo>
                    <a:pt x="0" y="16"/>
                    <a:pt x="21" y="4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2" name="Freeform 44"/>
            <p:cNvSpPr>
              <a:spLocks/>
            </p:cNvSpPr>
            <p:nvPr userDrawn="1"/>
          </p:nvSpPr>
          <p:spPr bwMode="auto">
            <a:xfrm>
              <a:off x="7324820" y="2034290"/>
              <a:ext cx="44341" cy="88681"/>
            </a:xfrm>
            <a:custGeom>
              <a:avLst/>
              <a:gdLst>
                <a:gd name="T0" fmla="*/ 8 w 14"/>
                <a:gd name="T1" fmla="*/ 28 h 28"/>
                <a:gd name="T2" fmla="*/ 13 w 14"/>
                <a:gd name="T3" fmla="*/ 21 h 28"/>
                <a:gd name="T4" fmla="*/ 5 w 14"/>
                <a:gd name="T5" fmla="*/ 2 h 28"/>
                <a:gd name="T6" fmla="*/ 8 w 14"/>
                <a:gd name="T7" fmla="*/ 17 h 28"/>
                <a:gd name="T8" fmla="*/ 8 w 14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8">
                  <a:moveTo>
                    <a:pt x="8" y="28"/>
                  </a:moveTo>
                  <a:cubicBezTo>
                    <a:pt x="8" y="23"/>
                    <a:pt x="13" y="25"/>
                    <a:pt x="13" y="21"/>
                  </a:cubicBezTo>
                  <a:cubicBezTo>
                    <a:pt x="7" y="19"/>
                    <a:pt x="14" y="0"/>
                    <a:pt x="5" y="2"/>
                  </a:cubicBezTo>
                  <a:cubicBezTo>
                    <a:pt x="0" y="10"/>
                    <a:pt x="6" y="9"/>
                    <a:pt x="8" y="17"/>
                  </a:cubicBezTo>
                  <a:cubicBezTo>
                    <a:pt x="4" y="17"/>
                    <a:pt x="5" y="27"/>
                    <a:pt x="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3" name="Freeform 45"/>
            <p:cNvSpPr>
              <a:spLocks/>
            </p:cNvSpPr>
            <p:nvPr userDrawn="1"/>
          </p:nvSpPr>
          <p:spPr bwMode="auto">
            <a:xfrm>
              <a:off x="7504869" y="2041008"/>
              <a:ext cx="51059" cy="116898"/>
            </a:xfrm>
            <a:custGeom>
              <a:avLst/>
              <a:gdLst>
                <a:gd name="T0" fmla="*/ 7 w 16"/>
                <a:gd name="T1" fmla="*/ 0 h 37"/>
                <a:gd name="T2" fmla="*/ 5 w 16"/>
                <a:gd name="T3" fmla="*/ 15 h 37"/>
                <a:gd name="T4" fmla="*/ 10 w 16"/>
                <a:gd name="T5" fmla="*/ 22 h 37"/>
                <a:gd name="T6" fmla="*/ 5 w 16"/>
                <a:gd name="T7" fmla="*/ 37 h 37"/>
                <a:gd name="T8" fmla="*/ 16 w 16"/>
                <a:gd name="T9" fmla="*/ 30 h 37"/>
                <a:gd name="T10" fmla="*/ 13 w 16"/>
                <a:gd name="T11" fmla="*/ 22 h 37"/>
                <a:gd name="T12" fmla="*/ 7 w 16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37">
                  <a:moveTo>
                    <a:pt x="7" y="0"/>
                  </a:moveTo>
                  <a:cubicBezTo>
                    <a:pt x="2" y="10"/>
                    <a:pt x="8" y="10"/>
                    <a:pt x="5" y="15"/>
                  </a:cubicBezTo>
                  <a:cubicBezTo>
                    <a:pt x="3" y="17"/>
                    <a:pt x="10" y="21"/>
                    <a:pt x="10" y="22"/>
                  </a:cubicBezTo>
                  <a:cubicBezTo>
                    <a:pt x="10" y="25"/>
                    <a:pt x="0" y="30"/>
                    <a:pt x="5" y="37"/>
                  </a:cubicBezTo>
                  <a:cubicBezTo>
                    <a:pt x="10" y="37"/>
                    <a:pt x="14" y="35"/>
                    <a:pt x="16" y="30"/>
                  </a:cubicBezTo>
                  <a:cubicBezTo>
                    <a:pt x="9" y="30"/>
                    <a:pt x="12" y="28"/>
                    <a:pt x="13" y="22"/>
                  </a:cubicBezTo>
                  <a:cubicBezTo>
                    <a:pt x="14" y="14"/>
                    <a:pt x="9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4" name="Freeform 46"/>
            <p:cNvSpPr>
              <a:spLocks/>
            </p:cNvSpPr>
            <p:nvPr userDrawn="1"/>
          </p:nvSpPr>
          <p:spPr bwMode="auto">
            <a:xfrm>
              <a:off x="6753768" y="2046383"/>
              <a:ext cx="37622" cy="57777"/>
            </a:xfrm>
            <a:custGeom>
              <a:avLst/>
              <a:gdLst>
                <a:gd name="T0" fmla="*/ 2 w 12"/>
                <a:gd name="T1" fmla="*/ 6 h 18"/>
                <a:gd name="T2" fmla="*/ 0 w 12"/>
                <a:gd name="T3" fmla="*/ 13 h 18"/>
                <a:gd name="T4" fmla="*/ 2 w 12"/>
                <a:gd name="T5" fmla="*/ 2 h 18"/>
                <a:gd name="T6" fmla="*/ 2 w 12"/>
                <a:gd name="T7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8">
                  <a:moveTo>
                    <a:pt x="2" y="6"/>
                  </a:moveTo>
                  <a:cubicBezTo>
                    <a:pt x="2" y="6"/>
                    <a:pt x="0" y="13"/>
                    <a:pt x="0" y="13"/>
                  </a:cubicBezTo>
                  <a:cubicBezTo>
                    <a:pt x="3" y="18"/>
                    <a:pt x="12" y="0"/>
                    <a:pt x="2" y="2"/>
                  </a:cubicBezTo>
                  <a:cubicBezTo>
                    <a:pt x="2" y="2"/>
                    <a:pt x="3" y="5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5" name="Freeform 47"/>
            <p:cNvSpPr>
              <a:spLocks/>
            </p:cNvSpPr>
            <p:nvPr userDrawn="1"/>
          </p:nvSpPr>
          <p:spPr bwMode="auto">
            <a:xfrm>
              <a:off x="6171966" y="2071912"/>
              <a:ext cx="48371" cy="29560"/>
            </a:xfrm>
            <a:custGeom>
              <a:avLst/>
              <a:gdLst>
                <a:gd name="T0" fmla="*/ 8 w 15"/>
                <a:gd name="T1" fmla="*/ 1 h 9"/>
                <a:gd name="T2" fmla="*/ 0 w 15"/>
                <a:gd name="T3" fmla="*/ 5 h 9"/>
                <a:gd name="T4" fmla="*/ 8 w 15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8" y="1"/>
                  </a:moveTo>
                  <a:cubicBezTo>
                    <a:pt x="6" y="0"/>
                    <a:pt x="0" y="2"/>
                    <a:pt x="0" y="5"/>
                  </a:cubicBezTo>
                  <a:cubicBezTo>
                    <a:pt x="0" y="9"/>
                    <a:pt x="15" y="7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6" name="Freeform 48"/>
            <p:cNvSpPr>
              <a:spLocks/>
            </p:cNvSpPr>
            <p:nvPr userDrawn="1"/>
          </p:nvSpPr>
          <p:spPr bwMode="auto">
            <a:xfrm>
              <a:off x="7054746" y="2075943"/>
              <a:ext cx="34935" cy="34935"/>
            </a:xfrm>
            <a:custGeom>
              <a:avLst/>
              <a:gdLst>
                <a:gd name="T0" fmla="*/ 10 w 11"/>
                <a:gd name="T1" fmla="*/ 11 h 11"/>
                <a:gd name="T2" fmla="*/ 2 w 11"/>
                <a:gd name="T3" fmla="*/ 0 h 11"/>
                <a:gd name="T4" fmla="*/ 10 w 11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1">
                  <a:moveTo>
                    <a:pt x="10" y="11"/>
                  </a:moveTo>
                  <a:cubicBezTo>
                    <a:pt x="11" y="1"/>
                    <a:pt x="4" y="4"/>
                    <a:pt x="2" y="0"/>
                  </a:cubicBezTo>
                  <a:cubicBezTo>
                    <a:pt x="0" y="10"/>
                    <a:pt x="7" y="8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7" name="Freeform 49"/>
            <p:cNvSpPr>
              <a:spLocks/>
            </p:cNvSpPr>
            <p:nvPr userDrawn="1"/>
          </p:nvSpPr>
          <p:spPr bwMode="auto">
            <a:xfrm>
              <a:off x="7111179" y="2075943"/>
              <a:ext cx="48371" cy="72557"/>
            </a:xfrm>
            <a:custGeom>
              <a:avLst/>
              <a:gdLst>
                <a:gd name="T0" fmla="*/ 2 w 15"/>
                <a:gd name="T1" fmla="*/ 0 h 23"/>
                <a:gd name="T2" fmla="*/ 2 w 15"/>
                <a:gd name="T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3">
                  <a:moveTo>
                    <a:pt x="2" y="0"/>
                  </a:moveTo>
                  <a:cubicBezTo>
                    <a:pt x="0" y="23"/>
                    <a:pt x="15" y="3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8" name="Freeform 50"/>
            <p:cNvSpPr>
              <a:spLocks/>
            </p:cNvSpPr>
            <p:nvPr userDrawn="1"/>
          </p:nvSpPr>
          <p:spPr bwMode="auto">
            <a:xfrm>
              <a:off x="7143427" y="2088036"/>
              <a:ext cx="28217" cy="37622"/>
            </a:xfrm>
            <a:custGeom>
              <a:avLst/>
              <a:gdLst>
                <a:gd name="T0" fmla="*/ 8 w 9"/>
                <a:gd name="T1" fmla="*/ 11 h 12"/>
                <a:gd name="T2" fmla="*/ 3 w 9"/>
                <a:gd name="T3" fmla="*/ 0 h 12"/>
                <a:gd name="T4" fmla="*/ 0 w 9"/>
                <a:gd name="T5" fmla="*/ 7 h 12"/>
                <a:gd name="T6" fmla="*/ 8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11"/>
                  </a:moveTo>
                  <a:cubicBezTo>
                    <a:pt x="9" y="5"/>
                    <a:pt x="6" y="2"/>
                    <a:pt x="3" y="0"/>
                  </a:cubicBezTo>
                  <a:cubicBezTo>
                    <a:pt x="3" y="4"/>
                    <a:pt x="1" y="4"/>
                    <a:pt x="0" y="7"/>
                  </a:cubicBezTo>
                  <a:cubicBezTo>
                    <a:pt x="4" y="8"/>
                    <a:pt x="4" y="12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9" name="Freeform 51"/>
            <p:cNvSpPr>
              <a:spLocks/>
            </p:cNvSpPr>
            <p:nvPr userDrawn="1"/>
          </p:nvSpPr>
          <p:spPr bwMode="auto">
            <a:xfrm>
              <a:off x="6765860" y="2097442"/>
              <a:ext cx="41653" cy="38966"/>
            </a:xfrm>
            <a:custGeom>
              <a:avLst/>
              <a:gdLst>
                <a:gd name="T0" fmla="*/ 12 w 13"/>
                <a:gd name="T1" fmla="*/ 4 h 12"/>
                <a:gd name="T2" fmla="*/ 4 w 13"/>
                <a:gd name="T3" fmla="*/ 1 h 12"/>
                <a:gd name="T4" fmla="*/ 12 w 13"/>
                <a:gd name="T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2" y="4"/>
                  </a:moveTo>
                  <a:cubicBezTo>
                    <a:pt x="8" y="4"/>
                    <a:pt x="8" y="0"/>
                    <a:pt x="4" y="1"/>
                  </a:cubicBezTo>
                  <a:cubicBezTo>
                    <a:pt x="0" y="10"/>
                    <a:pt x="13" y="12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0" name="Freeform 52"/>
            <p:cNvSpPr>
              <a:spLocks/>
            </p:cNvSpPr>
            <p:nvPr userDrawn="1"/>
          </p:nvSpPr>
          <p:spPr bwMode="auto">
            <a:xfrm>
              <a:off x="7400064" y="2148500"/>
              <a:ext cx="32248" cy="34935"/>
            </a:xfrm>
            <a:custGeom>
              <a:avLst/>
              <a:gdLst>
                <a:gd name="T0" fmla="*/ 8 w 10"/>
                <a:gd name="T1" fmla="*/ 11 h 11"/>
                <a:gd name="T2" fmla="*/ 0 w 10"/>
                <a:gd name="T3" fmla="*/ 0 h 11"/>
                <a:gd name="T4" fmla="*/ 8 w 10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8" y="11"/>
                  </a:moveTo>
                  <a:cubicBezTo>
                    <a:pt x="10" y="1"/>
                    <a:pt x="3" y="3"/>
                    <a:pt x="0" y="0"/>
                  </a:cubicBezTo>
                  <a:cubicBezTo>
                    <a:pt x="0" y="8"/>
                    <a:pt x="2" y="11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1" name="Freeform 53"/>
            <p:cNvSpPr>
              <a:spLocks/>
            </p:cNvSpPr>
            <p:nvPr userDrawn="1"/>
          </p:nvSpPr>
          <p:spPr bwMode="auto">
            <a:xfrm>
              <a:off x="7674169" y="2155219"/>
              <a:ext cx="37622" cy="37622"/>
            </a:xfrm>
            <a:custGeom>
              <a:avLst/>
              <a:gdLst>
                <a:gd name="T0" fmla="*/ 6 w 12"/>
                <a:gd name="T1" fmla="*/ 12 h 12"/>
                <a:gd name="T2" fmla="*/ 11 w 12"/>
                <a:gd name="T3" fmla="*/ 1 h 12"/>
                <a:gd name="T4" fmla="*/ 0 w 12"/>
                <a:gd name="T5" fmla="*/ 5 h 12"/>
                <a:gd name="T6" fmla="*/ 6 w 12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6" y="7"/>
                    <a:pt x="12" y="9"/>
                    <a:pt x="11" y="1"/>
                  </a:cubicBezTo>
                  <a:cubicBezTo>
                    <a:pt x="7" y="2"/>
                    <a:pt x="1" y="0"/>
                    <a:pt x="0" y="5"/>
                  </a:cubicBezTo>
                  <a:cubicBezTo>
                    <a:pt x="4" y="5"/>
                    <a:pt x="3" y="11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2" name="Freeform 54"/>
            <p:cNvSpPr>
              <a:spLocks/>
            </p:cNvSpPr>
            <p:nvPr userDrawn="1"/>
          </p:nvSpPr>
          <p:spPr bwMode="auto">
            <a:xfrm>
              <a:off x="7991271" y="2157906"/>
              <a:ext cx="56433" cy="47028"/>
            </a:xfrm>
            <a:custGeom>
              <a:avLst/>
              <a:gdLst>
                <a:gd name="T0" fmla="*/ 13 w 18"/>
                <a:gd name="T1" fmla="*/ 15 h 15"/>
                <a:gd name="T2" fmla="*/ 18 w 18"/>
                <a:gd name="T3" fmla="*/ 4 h 15"/>
                <a:gd name="T4" fmla="*/ 0 w 18"/>
                <a:gd name="T5" fmla="*/ 11 h 15"/>
                <a:gd name="T6" fmla="*/ 13 w 18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13" y="15"/>
                  </a:moveTo>
                  <a:cubicBezTo>
                    <a:pt x="12" y="8"/>
                    <a:pt x="17" y="8"/>
                    <a:pt x="18" y="4"/>
                  </a:cubicBezTo>
                  <a:cubicBezTo>
                    <a:pt x="15" y="0"/>
                    <a:pt x="1" y="2"/>
                    <a:pt x="0" y="11"/>
                  </a:cubicBezTo>
                  <a:cubicBezTo>
                    <a:pt x="11" y="9"/>
                    <a:pt x="9" y="8"/>
                    <a:pt x="13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3" name="Freeform 55"/>
            <p:cNvSpPr>
              <a:spLocks/>
            </p:cNvSpPr>
            <p:nvPr userDrawn="1"/>
          </p:nvSpPr>
          <p:spPr bwMode="auto">
            <a:xfrm>
              <a:off x="7359755" y="2190154"/>
              <a:ext cx="14780" cy="37622"/>
            </a:xfrm>
            <a:custGeom>
              <a:avLst/>
              <a:gdLst>
                <a:gd name="T0" fmla="*/ 0 w 5"/>
                <a:gd name="T1" fmla="*/ 1 h 12"/>
                <a:gd name="T2" fmla="*/ 0 w 5"/>
                <a:gd name="T3" fmla="*/ 9 h 12"/>
                <a:gd name="T4" fmla="*/ 5 w 5"/>
                <a:gd name="T5" fmla="*/ 12 h 12"/>
                <a:gd name="T6" fmla="*/ 0 w 5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2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3" y="12"/>
                    <a:pt x="5" y="12"/>
                  </a:cubicBezTo>
                  <a:cubicBezTo>
                    <a:pt x="5" y="7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4" name="Freeform 56"/>
            <p:cNvSpPr>
              <a:spLocks/>
            </p:cNvSpPr>
            <p:nvPr userDrawn="1"/>
          </p:nvSpPr>
          <p:spPr bwMode="auto">
            <a:xfrm>
              <a:off x="7742695" y="2202246"/>
              <a:ext cx="25529" cy="51059"/>
            </a:xfrm>
            <a:custGeom>
              <a:avLst/>
              <a:gdLst>
                <a:gd name="T0" fmla="*/ 0 w 8"/>
                <a:gd name="T1" fmla="*/ 1 h 16"/>
                <a:gd name="T2" fmla="*/ 5 w 8"/>
                <a:gd name="T3" fmla="*/ 16 h 16"/>
                <a:gd name="T4" fmla="*/ 8 w 8"/>
                <a:gd name="T5" fmla="*/ 5 h 16"/>
                <a:gd name="T6" fmla="*/ 0 w 8"/>
                <a:gd name="T7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6">
                  <a:moveTo>
                    <a:pt x="0" y="1"/>
                  </a:moveTo>
                  <a:cubicBezTo>
                    <a:pt x="0" y="8"/>
                    <a:pt x="1" y="13"/>
                    <a:pt x="5" y="16"/>
                  </a:cubicBezTo>
                  <a:cubicBezTo>
                    <a:pt x="5" y="11"/>
                    <a:pt x="6" y="8"/>
                    <a:pt x="8" y="5"/>
                  </a:cubicBezTo>
                  <a:cubicBezTo>
                    <a:pt x="4" y="5"/>
                    <a:pt x="4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5" name="Freeform 57"/>
            <p:cNvSpPr>
              <a:spLocks/>
            </p:cNvSpPr>
            <p:nvPr userDrawn="1"/>
          </p:nvSpPr>
          <p:spPr bwMode="auto">
            <a:xfrm>
              <a:off x="7698355" y="2225089"/>
              <a:ext cx="34935" cy="63152"/>
            </a:xfrm>
            <a:custGeom>
              <a:avLst/>
              <a:gdLst>
                <a:gd name="T0" fmla="*/ 0 w 11"/>
                <a:gd name="T1" fmla="*/ 9 h 20"/>
                <a:gd name="T2" fmla="*/ 11 w 11"/>
                <a:gd name="T3" fmla="*/ 9 h 20"/>
                <a:gd name="T4" fmla="*/ 0 w 11"/>
                <a:gd name="T5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0">
                  <a:moveTo>
                    <a:pt x="0" y="9"/>
                  </a:moveTo>
                  <a:cubicBezTo>
                    <a:pt x="5" y="5"/>
                    <a:pt x="9" y="20"/>
                    <a:pt x="11" y="9"/>
                  </a:cubicBezTo>
                  <a:cubicBezTo>
                    <a:pt x="9" y="8"/>
                    <a:pt x="1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6" name="Freeform 58"/>
            <p:cNvSpPr>
              <a:spLocks/>
            </p:cNvSpPr>
            <p:nvPr userDrawn="1"/>
          </p:nvSpPr>
          <p:spPr bwMode="auto">
            <a:xfrm>
              <a:off x="7749414" y="2329893"/>
              <a:ext cx="18811" cy="40310"/>
            </a:xfrm>
            <a:custGeom>
              <a:avLst/>
              <a:gdLst>
                <a:gd name="T0" fmla="*/ 0 w 6"/>
                <a:gd name="T1" fmla="*/ 2 h 13"/>
                <a:gd name="T2" fmla="*/ 0 w 6"/>
                <a:gd name="T3" fmla="*/ 9 h 13"/>
                <a:gd name="T4" fmla="*/ 6 w 6"/>
                <a:gd name="T5" fmla="*/ 13 h 13"/>
                <a:gd name="T6" fmla="*/ 0 w 6"/>
                <a:gd name="T7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3">
                  <a:moveTo>
                    <a:pt x="0" y="2"/>
                  </a:moveTo>
                  <a:cubicBezTo>
                    <a:pt x="0" y="4"/>
                    <a:pt x="0" y="7"/>
                    <a:pt x="0" y="9"/>
                  </a:cubicBezTo>
                  <a:cubicBezTo>
                    <a:pt x="3" y="9"/>
                    <a:pt x="4" y="12"/>
                    <a:pt x="6" y="13"/>
                  </a:cubicBezTo>
                  <a:cubicBezTo>
                    <a:pt x="5" y="7"/>
                    <a:pt x="6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7" name="Freeform 59"/>
            <p:cNvSpPr>
              <a:spLocks/>
            </p:cNvSpPr>
            <p:nvPr userDrawn="1"/>
          </p:nvSpPr>
          <p:spPr bwMode="auto">
            <a:xfrm>
              <a:off x="6892164" y="2354079"/>
              <a:ext cx="67183" cy="38966"/>
            </a:xfrm>
            <a:custGeom>
              <a:avLst/>
              <a:gdLst>
                <a:gd name="T0" fmla="*/ 20 w 21"/>
                <a:gd name="T1" fmla="*/ 1 h 12"/>
                <a:gd name="T2" fmla="*/ 15 w 21"/>
                <a:gd name="T3" fmla="*/ 1 h 12"/>
                <a:gd name="T4" fmla="*/ 20 w 21"/>
                <a:gd name="T5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2">
                  <a:moveTo>
                    <a:pt x="20" y="1"/>
                  </a:moveTo>
                  <a:cubicBezTo>
                    <a:pt x="18" y="1"/>
                    <a:pt x="17" y="1"/>
                    <a:pt x="15" y="1"/>
                  </a:cubicBezTo>
                  <a:cubicBezTo>
                    <a:pt x="0" y="0"/>
                    <a:pt x="21" y="12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8" name="Freeform 60"/>
            <p:cNvSpPr>
              <a:spLocks/>
            </p:cNvSpPr>
            <p:nvPr userDrawn="1"/>
          </p:nvSpPr>
          <p:spPr bwMode="auto">
            <a:xfrm>
              <a:off x="2995573" y="2386327"/>
              <a:ext cx="18811" cy="67183"/>
            </a:xfrm>
            <a:custGeom>
              <a:avLst/>
              <a:gdLst>
                <a:gd name="T0" fmla="*/ 3 w 6"/>
                <a:gd name="T1" fmla="*/ 21 h 21"/>
                <a:gd name="T2" fmla="*/ 1 w 6"/>
                <a:gd name="T3" fmla="*/ 13 h 21"/>
                <a:gd name="T4" fmla="*/ 3 w 6"/>
                <a:gd name="T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1">
                  <a:moveTo>
                    <a:pt x="3" y="21"/>
                  </a:moveTo>
                  <a:cubicBezTo>
                    <a:pt x="6" y="20"/>
                    <a:pt x="5" y="0"/>
                    <a:pt x="1" y="13"/>
                  </a:cubicBezTo>
                  <a:cubicBezTo>
                    <a:pt x="0" y="16"/>
                    <a:pt x="2" y="21"/>
                    <a:pt x="3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9" name="Freeform 61"/>
            <p:cNvSpPr>
              <a:spLocks/>
            </p:cNvSpPr>
            <p:nvPr userDrawn="1"/>
          </p:nvSpPr>
          <p:spPr bwMode="auto">
            <a:xfrm>
              <a:off x="2970044" y="2423949"/>
              <a:ext cx="18811" cy="38966"/>
            </a:xfrm>
            <a:custGeom>
              <a:avLst/>
              <a:gdLst>
                <a:gd name="T0" fmla="*/ 3 w 6"/>
                <a:gd name="T1" fmla="*/ 12 h 12"/>
                <a:gd name="T2" fmla="*/ 6 w 6"/>
                <a:gd name="T3" fmla="*/ 9 h 12"/>
                <a:gd name="T4" fmla="*/ 0 w 6"/>
                <a:gd name="T5" fmla="*/ 1 h 12"/>
                <a:gd name="T6" fmla="*/ 3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3" y="12"/>
                  </a:moveTo>
                  <a:cubicBezTo>
                    <a:pt x="3" y="10"/>
                    <a:pt x="4" y="8"/>
                    <a:pt x="6" y="9"/>
                  </a:cubicBezTo>
                  <a:cubicBezTo>
                    <a:pt x="6" y="4"/>
                    <a:pt x="5" y="0"/>
                    <a:pt x="0" y="1"/>
                  </a:cubicBezTo>
                  <a:cubicBezTo>
                    <a:pt x="1" y="6"/>
                    <a:pt x="0" y="12"/>
                    <a:pt x="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0" name="Freeform 62"/>
            <p:cNvSpPr>
              <a:spLocks/>
            </p:cNvSpPr>
            <p:nvPr userDrawn="1"/>
          </p:nvSpPr>
          <p:spPr bwMode="auto">
            <a:xfrm>
              <a:off x="3023790" y="2440073"/>
              <a:ext cx="41653" cy="38966"/>
            </a:xfrm>
            <a:custGeom>
              <a:avLst/>
              <a:gdLst>
                <a:gd name="T0" fmla="*/ 13 w 13"/>
                <a:gd name="T1" fmla="*/ 4 h 12"/>
                <a:gd name="T2" fmla="*/ 2 w 13"/>
                <a:gd name="T3" fmla="*/ 11 h 12"/>
                <a:gd name="T4" fmla="*/ 13 w 13"/>
                <a:gd name="T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4"/>
                  </a:moveTo>
                  <a:cubicBezTo>
                    <a:pt x="8" y="5"/>
                    <a:pt x="0" y="0"/>
                    <a:pt x="2" y="11"/>
                  </a:cubicBezTo>
                  <a:cubicBezTo>
                    <a:pt x="9" y="12"/>
                    <a:pt x="13" y="10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1" name="Freeform 63"/>
            <p:cNvSpPr>
              <a:spLocks/>
            </p:cNvSpPr>
            <p:nvPr userDrawn="1"/>
          </p:nvSpPr>
          <p:spPr bwMode="auto">
            <a:xfrm>
              <a:off x="3792359" y="3484090"/>
              <a:ext cx="28217" cy="64495"/>
            </a:xfrm>
            <a:custGeom>
              <a:avLst/>
              <a:gdLst>
                <a:gd name="T0" fmla="*/ 8 w 9"/>
                <a:gd name="T1" fmla="*/ 19 h 20"/>
                <a:gd name="T2" fmla="*/ 0 w 9"/>
                <a:gd name="T3" fmla="*/ 0 h 20"/>
                <a:gd name="T4" fmla="*/ 8 w 9"/>
                <a:gd name="T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0">
                  <a:moveTo>
                    <a:pt x="8" y="19"/>
                  </a:moveTo>
                  <a:cubicBezTo>
                    <a:pt x="9" y="7"/>
                    <a:pt x="4" y="4"/>
                    <a:pt x="0" y="0"/>
                  </a:cubicBezTo>
                  <a:cubicBezTo>
                    <a:pt x="2" y="7"/>
                    <a:pt x="0" y="20"/>
                    <a:pt x="8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2" name="Freeform 64"/>
            <p:cNvSpPr>
              <a:spLocks/>
            </p:cNvSpPr>
            <p:nvPr userDrawn="1"/>
          </p:nvSpPr>
          <p:spPr bwMode="auto">
            <a:xfrm>
              <a:off x="3338205" y="3532462"/>
              <a:ext cx="47028" cy="75245"/>
            </a:xfrm>
            <a:custGeom>
              <a:avLst/>
              <a:gdLst>
                <a:gd name="T0" fmla="*/ 6 w 15"/>
                <a:gd name="T1" fmla="*/ 0 h 24"/>
                <a:gd name="T2" fmla="*/ 6 w 15"/>
                <a:gd name="T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4">
                  <a:moveTo>
                    <a:pt x="6" y="0"/>
                  </a:moveTo>
                  <a:cubicBezTo>
                    <a:pt x="0" y="24"/>
                    <a:pt x="15" y="1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3" name="Freeform 65"/>
            <p:cNvSpPr>
              <a:spLocks/>
            </p:cNvSpPr>
            <p:nvPr userDrawn="1"/>
          </p:nvSpPr>
          <p:spPr bwMode="auto">
            <a:xfrm>
              <a:off x="3748018" y="3523056"/>
              <a:ext cx="37622" cy="81963"/>
            </a:xfrm>
            <a:custGeom>
              <a:avLst/>
              <a:gdLst>
                <a:gd name="T0" fmla="*/ 3 w 12"/>
                <a:gd name="T1" fmla="*/ 3 h 26"/>
                <a:gd name="T2" fmla="*/ 0 w 12"/>
                <a:gd name="T3" fmla="*/ 25 h 26"/>
                <a:gd name="T4" fmla="*/ 6 w 12"/>
                <a:gd name="T5" fmla="*/ 14 h 26"/>
                <a:gd name="T6" fmla="*/ 3 w 12"/>
                <a:gd name="T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3" y="3"/>
                  </a:moveTo>
                  <a:cubicBezTo>
                    <a:pt x="5" y="14"/>
                    <a:pt x="0" y="16"/>
                    <a:pt x="0" y="25"/>
                  </a:cubicBezTo>
                  <a:cubicBezTo>
                    <a:pt x="7" y="26"/>
                    <a:pt x="4" y="21"/>
                    <a:pt x="6" y="14"/>
                  </a:cubicBezTo>
                  <a:cubicBezTo>
                    <a:pt x="7" y="9"/>
                    <a:pt x="12" y="0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4" name="Freeform 66"/>
            <p:cNvSpPr>
              <a:spLocks/>
            </p:cNvSpPr>
            <p:nvPr userDrawn="1"/>
          </p:nvSpPr>
          <p:spPr bwMode="auto">
            <a:xfrm>
              <a:off x="2998261" y="3574115"/>
              <a:ext cx="32248" cy="63152"/>
            </a:xfrm>
            <a:custGeom>
              <a:avLst/>
              <a:gdLst>
                <a:gd name="T0" fmla="*/ 0 w 10"/>
                <a:gd name="T1" fmla="*/ 9 h 20"/>
                <a:gd name="T2" fmla="*/ 10 w 10"/>
                <a:gd name="T3" fmla="*/ 9 h 20"/>
                <a:gd name="T4" fmla="*/ 0 w 10"/>
                <a:gd name="T5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9"/>
                  </a:moveTo>
                  <a:cubicBezTo>
                    <a:pt x="5" y="6"/>
                    <a:pt x="9" y="20"/>
                    <a:pt x="10" y="9"/>
                  </a:cubicBezTo>
                  <a:cubicBezTo>
                    <a:pt x="9" y="8"/>
                    <a:pt x="0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" name="Freeform 67"/>
            <p:cNvSpPr>
              <a:spLocks/>
            </p:cNvSpPr>
            <p:nvPr userDrawn="1"/>
          </p:nvSpPr>
          <p:spPr bwMode="auto">
            <a:xfrm>
              <a:off x="3151437" y="3672202"/>
              <a:ext cx="44341" cy="69870"/>
            </a:xfrm>
            <a:custGeom>
              <a:avLst/>
              <a:gdLst>
                <a:gd name="T0" fmla="*/ 3 w 14"/>
                <a:gd name="T1" fmla="*/ 0 h 22"/>
                <a:gd name="T2" fmla="*/ 3 w 14"/>
                <a:gd name="T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22">
                  <a:moveTo>
                    <a:pt x="3" y="0"/>
                  </a:moveTo>
                  <a:cubicBezTo>
                    <a:pt x="0" y="22"/>
                    <a:pt x="14" y="2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" name="Freeform 68"/>
            <p:cNvSpPr>
              <a:spLocks/>
            </p:cNvSpPr>
            <p:nvPr userDrawn="1"/>
          </p:nvSpPr>
          <p:spPr bwMode="auto">
            <a:xfrm>
              <a:off x="3140688" y="3872406"/>
              <a:ext cx="20155" cy="24186"/>
            </a:xfrm>
            <a:custGeom>
              <a:avLst/>
              <a:gdLst>
                <a:gd name="T0" fmla="*/ 6 w 6"/>
                <a:gd name="T1" fmla="*/ 0 h 8"/>
                <a:gd name="T2" fmla="*/ 0 w 6"/>
                <a:gd name="T3" fmla="*/ 0 h 8"/>
                <a:gd name="T4" fmla="*/ 0 w 6"/>
                <a:gd name="T5" fmla="*/ 8 h 8"/>
                <a:gd name="T6" fmla="*/ 6 w 6"/>
                <a:gd name="T7" fmla="*/ 8 h 8"/>
                <a:gd name="T8" fmla="*/ 6 w 6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6" y="8"/>
                  </a:cubicBezTo>
                  <a:cubicBezTo>
                    <a:pt x="6" y="5"/>
                    <a:pt x="6" y="3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" name="Freeform 69"/>
            <p:cNvSpPr>
              <a:spLocks/>
            </p:cNvSpPr>
            <p:nvPr userDrawn="1"/>
          </p:nvSpPr>
          <p:spPr bwMode="auto">
            <a:xfrm>
              <a:off x="3081567" y="3919434"/>
              <a:ext cx="72557" cy="116898"/>
            </a:xfrm>
            <a:custGeom>
              <a:avLst/>
              <a:gdLst>
                <a:gd name="T0" fmla="*/ 11 w 23"/>
                <a:gd name="T1" fmla="*/ 4 h 37"/>
                <a:gd name="T2" fmla="*/ 3 w 23"/>
                <a:gd name="T3" fmla="*/ 0 h 37"/>
                <a:gd name="T4" fmla="*/ 3 w 23"/>
                <a:gd name="T5" fmla="*/ 33 h 37"/>
                <a:gd name="T6" fmla="*/ 22 w 23"/>
                <a:gd name="T7" fmla="*/ 26 h 37"/>
                <a:gd name="T8" fmla="*/ 17 w 23"/>
                <a:gd name="T9" fmla="*/ 15 h 37"/>
                <a:gd name="T10" fmla="*/ 14 w 23"/>
                <a:gd name="T11" fmla="*/ 4 h 37"/>
                <a:gd name="T12" fmla="*/ 6 w 23"/>
                <a:gd name="T13" fmla="*/ 11 h 37"/>
                <a:gd name="T14" fmla="*/ 11 w 23"/>
                <a:gd name="T15" fmla="*/ 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7">
                  <a:moveTo>
                    <a:pt x="11" y="4"/>
                  </a:moveTo>
                  <a:cubicBezTo>
                    <a:pt x="8" y="4"/>
                    <a:pt x="5" y="2"/>
                    <a:pt x="3" y="0"/>
                  </a:cubicBezTo>
                  <a:cubicBezTo>
                    <a:pt x="2" y="17"/>
                    <a:pt x="0" y="18"/>
                    <a:pt x="3" y="33"/>
                  </a:cubicBezTo>
                  <a:cubicBezTo>
                    <a:pt x="14" y="37"/>
                    <a:pt x="10" y="20"/>
                    <a:pt x="22" y="26"/>
                  </a:cubicBezTo>
                  <a:cubicBezTo>
                    <a:pt x="23" y="18"/>
                    <a:pt x="18" y="19"/>
                    <a:pt x="17" y="15"/>
                  </a:cubicBezTo>
                  <a:cubicBezTo>
                    <a:pt x="16" y="13"/>
                    <a:pt x="22" y="4"/>
                    <a:pt x="14" y="4"/>
                  </a:cubicBezTo>
                  <a:cubicBezTo>
                    <a:pt x="16" y="11"/>
                    <a:pt x="7" y="20"/>
                    <a:pt x="6" y="11"/>
                  </a:cubicBezTo>
                  <a:cubicBezTo>
                    <a:pt x="9" y="11"/>
                    <a:pt x="12" y="10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8" name="Freeform 70"/>
            <p:cNvSpPr>
              <a:spLocks/>
            </p:cNvSpPr>
            <p:nvPr userDrawn="1"/>
          </p:nvSpPr>
          <p:spPr bwMode="auto">
            <a:xfrm>
              <a:off x="3058725" y="3912715"/>
              <a:ext cx="32248" cy="60464"/>
            </a:xfrm>
            <a:custGeom>
              <a:avLst/>
              <a:gdLst>
                <a:gd name="T0" fmla="*/ 0 w 10"/>
                <a:gd name="T1" fmla="*/ 9 h 19"/>
                <a:gd name="T2" fmla="*/ 7 w 10"/>
                <a:gd name="T3" fmla="*/ 17 h 19"/>
                <a:gd name="T4" fmla="*/ 0 w 10"/>
                <a:gd name="T5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9">
                  <a:moveTo>
                    <a:pt x="0" y="9"/>
                  </a:moveTo>
                  <a:cubicBezTo>
                    <a:pt x="4" y="10"/>
                    <a:pt x="2" y="19"/>
                    <a:pt x="7" y="17"/>
                  </a:cubicBezTo>
                  <a:cubicBezTo>
                    <a:pt x="10" y="9"/>
                    <a:pt x="1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9" name="Freeform 71"/>
            <p:cNvSpPr>
              <a:spLocks/>
            </p:cNvSpPr>
            <p:nvPr userDrawn="1"/>
          </p:nvSpPr>
          <p:spPr bwMode="auto">
            <a:xfrm>
              <a:off x="3125908" y="4049768"/>
              <a:ext cx="75245" cy="126303"/>
            </a:xfrm>
            <a:custGeom>
              <a:avLst/>
              <a:gdLst>
                <a:gd name="T0" fmla="*/ 0 w 24"/>
                <a:gd name="T1" fmla="*/ 29 h 40"/>
                <a:gd name="T2" fmla="*/ 19 w 24"/>
                <a:gd name="T3" fmla="*/ 22 h 40"/>
                <a:gd name="T4" fmla="*/ 21 w 24"/>
                <a:gd name="T5" fmla="*/ 40 h 40"/>
                <a:gd name="T6" fmla="*/ 24 w 24"/>
                <a:gd name="T7" fmla="*/ 18 h 40"/>
                <a:gd name="T8" fmla="*/ 16 w 24"/>
                <a:gd name="T9" fmla="*/ 0 h 40"/>
                <a:gd name="T10" fmla="*/ 13 w 24"/>
                <a:gd name="T11" fmla="*/ 18 h 40"/>
                <a:gd name="T12" fmla="*/ 0 w 24"/>
                <a:gd name="T13" fmla="*/ 2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0">
                  <a:moveTo>
                    <a:pt x="0" y="29"/>
                  </a:moveTo>
                  <a:cubicBezTo>
                    <a:pt x="8" y="30"/>
                    <a:pt x="8" y="18"/>
                    <a:pt x="19" y="22"/>
                  </a:cubicBezTo>
                  <a:cubicBezTo>
                    <a:pt x="15" y="27"/>
                    <a:pt x="17" y="37"/>
                    <a:pt x="21" y="40"/>
                  </a:cubicBezTo>
                  <a:cubicBezTo>
                    <a:pt x="21" y="31"/>
                    <a:pt x="21" y="23"/>
                    <a:pt x="24" y="18"/>
                  </a:cubicBezTo>
                  <a:cubicBezTo>
                    <a:pt x="16" y="20"/>
                    <a:pt x="22" y="1"/>
                    <a:pt x="16" y="0"/>
                  </a:cubicBezTo>
                  <a:cubicBezTo>
                    <a:pt x="12" y="8"/>
                    <a:pt x="10" y="7"/>
                    <a:pt x="13" y="18"/>
                  </a:cubicBezTo>
                  <a:cubicBezTo>
                    <a:pt x="5" y="16"/>
                    <a:pt x="2" y="23"/>
                    <a:pt x="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0" name="Freeform 72"/>
            <p:cNvSpPr>
              <a:spLocks/>
            </p:cNvSpPr>
            <p:nvPr userDrawn="1"/>
          </p:nvSpPr>
          <p:spPr bwMode="auto">
            <a:xfrm>
              <a:off x="2792682" y="4059173"/>
              <a:ext cx="14780" cy="47028"/>
            </a:xfrm>
            <a:custGeom>
              <a:avLst/>
              <a:gdLst>
                <a:gd name="T0" fmla="*/ 5 w 5"/>
                <a:gd name="T1" fmla="*/ 15 h 15"/>
                <a:gd name="T2" fmla="*/ 5 w 5"/>
                <a:gd name="T3" fmla="*/ 0 h 15"/>
                <a:gd name="T4" fmla="*/ 0 w 5"/>
                <a:gd name="T5" fmla="*/ 0 h 15"/>
                <a:gd name="T6" fmla="*/ 0 w 5"/>
                <a:gd name="T7" fmla="*/ 15 h 15"/>
                <a:gd name="T8" fmla="*/ 5 w 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5">
                  <a:moveTo>
                    <a:pt x="5" y="15"/>
                  </a:moveTo>
                  <a:cubicBezTo>
                    <a:pt x="5" y="10"/>
                    <a:pt x="5" y="5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5"/>
                    <a:pt x="0" y="10"/>
                    <a:pt x="0" y="15"/>
                  </a:cubicBezTo>
                  <a:cubicBezTo>
                    <a:pt x="2" y="15"/>
                    <a:pt x="4" y="15"/>
                    <a:pt x="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1" name="Freeform 73"/>
            <p:cNvSpPr>
              <a:spLocks/>
            </p:cNvSpPr>
            <p:nvPr userDrawn="1"/>
          </p:nvSpPr>
          <p:spPr bwMode="auto">
            <a:xfrm>
              <a:off x="2823586" y="4059173"/>
              <a:ext cx="44341" cy="72557"/>
            </a:xfrm>
            <a:custGeom>
              <a:avLst/>
              <a:gdLst>
                <a:gd name="T0" fmla="*/ 9 w 14"/>
                <a:gd name="T1" fmla="*/ 23 h 23"/>
                <a:gd name="T2" fmla="*/ 14 w 14"/>
                <a:gd name="T3" fmla="*/ 8 h 23"/>
                <a:gd name="T4" fmla="*/ 4 w 14"/>
                <a:gd name="T5" fmla="*/ 0 h 23"/>
                <a:gd name="T6" fmla="*/ 9 w 14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3">
                  <a:moveTo>
                    <a:pt x="9" y="23"/>
                  </a:moveTo>
                  <a:cubicBezTo>
                    <a:pt x="10" y="17"/>
                    <a:pt x="13" y="13"/>
                    <a:pt x="14" y="8"/>
                  </a:cubicBezTo>
                  <a:cubicBezTo>
                    <a:pt x="10" y="6"/>
                    <a:pt x="7" y="2"/>
                    <a:pt x="4" y="0"/>
                  </a:cubicBezTo>
                  <a:cubicBezTo>
                    <a:pt x="9" y="11"/>
                    <a:pt x="0" y="19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2" name="Freeform 74"/>
            <p:cNvSpPr>
              <a:spLocks/>
            </p:cNvSpPr>
            <p:nvPr userDrawn="1"/>
          </p:nvSpPr>
          <p:spPr bwMode="auto">
            <a:xfrm>
              <a:off x="2867927" y="4084703"/>
              <a:ext cx="51059" cy="60464"/>
            </a:xfrm>
            <a:custGeom>
              <a:avLst/>
              <a:gdLst>
                <a:gd name="T0" fmla="*/ 16 w 16"/>
                <a:gd name="T1" fmla="*/ 18 h 19"/>
                <a:gd name="T2" fmla="*/ 3 w 16"/>
                <a:gd name="T3" fmla="*/ 0 h 19"/>
                <a:gd name="T4" fmla="*/ 0 w 16"/>
                <a:gd name="T5" fmla="*/ 15 h 19"/>
                <a:gd name="T6" fmla="*/ 16 w 16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9">
                  <a:moveTo>
                    <a:pt x="16" y="18"/>
                  </a:moveTo>
                  <a:cubicBezTo>
                    <a:pt x="15" y="8"/>
                    <a:pt x="11" y="1"/>
                    <a:pt x="3" y="0"/>
                  </a:cubicBezTo>
                  <a:cubicBezTo>
                    <a:pt x="5" y="12"/>
                    <a:pt x="5" y="7"/>
                    <a:pt x="0" y="15"/>
                  </a:cubicBezTo>
                  <a:cubicBezTo>
                    <a:pt x="3" y="19"/>
                    <a:pt x="10" y="19"/>
                    <a:pt x="1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3" name="Freeform 75"/>
            <p:cNvSpPr>
              <a:spLocks/>
            </p:cNvSpPr>
            <p:nvPr userDrawn="1"/>
          </p:nvSpPr>
          <p:spPr bwMode="auto">
            <a:xfrm>
              <a:off x="3090973" y="4084703"/>
              <a:ext cx="65839" cy="56433"/>
            </a:xfrm>
            <a:custGeom>
              <a:avLst/>
              <a:gdLst>
                <a:gd name="T0" fmla="*/ 8 w 21"/>
                <a:gd name="T1" fmla="*/ 0 h 18"/>
                <a:gd name="T2" fmla="*/ 0 w 21"/>
                <a:gd name="T3" fmla="*/ 7 h 18"/>
                <a:gd name="T4" fmla="*/ 6 w 21"/>
                <a:gd name="T5" fmla="*/ 18 h 18"/>
                <a:gd name="T6" fmla="*/ 8 w 21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8">
                  <a:moveTo>
                    <a:pt x="8" y="0"/>
                  </a:moveTo>
                  <a:cubicBezTo>
                    <a:pt x="8" y="5"/>
                    <a:pt x="2" y="4"/>
                    <a:pt x="0" y="7"/>
                  </a:cubicBezTo>
                  <a:cubicBezTo>
                    <a:pt x="0" y="14"/>
                    <a:pt x="2" y="17"/>
                    <a:pt x="6" y="18"/>
                  </a:cubicBezTo>
                  <a:cubicBezTo>
                    <a:pt x="5" y="7"/>
                    <a:pt x="21" y="6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4" name="Freeform 76"/>
            <p:cNvSpPr>
              <a:spLocks/>
            </p:cNvSpPr>
            <p:nvPr userDrawn="1"/>
          </p:nvSpPr>
          <p:spPr bwMode="auto">
            <a:xfrm>
              <a:off x="2937796" y="4112919"/>
              <a:ext cx="73901" cy="102118"/>
            </a:xfrm>
            <a:custGeom>
              <a:avLst/>
              <a:gdLst>
                <a:gd name="T0" fmla="*/ 0 w 23"/>
                <a:gd name="T1" fmla="*/ 2 h 32"/>
                <a:gd name="T2" fmla="*/ 0 w 23"/>
                <a:gd name="T3" fmla="*/ 17 h 32"/>
                <a:gd name="T4" fmla="*/ 16 w 23"/>
                <a:gd name="T5" fmla="*/ 13 h 32"/>
                <a:gd name="T6" fmla="*/ 10 w 23"/>
                <a:gd name="T7" fmla="*/ 31 h 32"/>
                <a:gd name="T8" fmla="*/ 19 w 23"/>
                <a:gd name="T9" fmla="*/ 6 h 32"/>
                <a:gd name="T10" fmla="*/ 0 w 23"/>
                <a:gd name="T11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32">
                  <a:moveTo>
                    <a:pt x="0" y="2"/>
                  </a:moveTo>
                  <a:cubicBezTo>
                    <a:pt x="0" y="7"/>
                    <a:pt x="0" y="12"/>
                    <a:pt x="0" y="17"/>
                  </a:cubicBezTo>
                  <a:cubicBezTo>
                    <a:pt x="8" y="21"/>
                    <a:pt x="14" y="4"/>
                    <a:pt x="16" y="13"/>
                  </a:cubicBezTo>
                  <a:cubicBezTo>
                    <a:pt x="9" y="20"/>
                    <a:pt x="13" y="19"/>
                    <a:pt x="10" y="31"/>
                  </a:cubicBezTo>
                  <a:cubicBezTo>
                    <a:pt x="20" y="32"/>
                    <a:pt x="23" y="12"/>
                    <a:pt x="19" y="6"/>
                  </a:cubicBezTo>
                  <a:cubicBezTo>
                    <a:pt x="9" y="9"/>
                    <a:pt x="8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5" name="Freeform 77"/>
            <p:cNvSpPr>
              <a:spLocks/>
            </p:cNvSpPr>
            <p:nvPr userDrawn="1"/>
          </p:nvSpPr>
          <p:spPr bwMode="auto">
            <a:xfrm>
              <a:off x="2814181" y="4115607"/>
              <a:ext cx="79275" cy="51059"/>
            </a:xfrm>
            <a:custGeom>
              <a:avLst/>
              <a:gdLst>
                <a:gd name="T0" fmla="*/ 12 w 25"/>
                <a:gd name="T1" fmla="*/ 16 h 16"/>
                <a:gd name="T2" fmla="*/ 20 w 25"/>
                <a:gd name="T3" fmla="*/ 16 h 16"/>
                <a:gd name="T4" fmla="*/ 12 w 25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16">
                  <a:moveTo>
                    <a:pt x="12" y="16"/>
                  </a:moveTo>
                  <a:cubicBezTo>
                    <a:pt x="13" y="10"/>
                    <a:pt x="18" y="13"/>
                    <a:pt x="20" y="16"/>
                  </a:cubicBezTo>
                  <a:cubicBezTo>
                    <a:pt x="25" y="0"/>
                    <a:pt x="0" y="10"/>
                    <a:pt x="1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6" name="Freeform 78"/>
            <p:cNvSpPr>
              <a:spLocks/>
            </p:cNvSpPr>
            <p:nvPr userDrawn="1"/>
          </p:nvSpPr>
          <p:spPr bwMode="auto">
            <a:xfrm>
              <a:off x="3033196" y="4138449"/>
              <a:ext cx="32248" cy="67183"/>
            </a:xfrm>
            <a:custGeom>
              <a:avLst/>
              <a:gdLst>
                <a:gd name="T0" fmla="*/ 5 w 10"/>
                <a:gd name="T1" fmla="*/ 20 h 21"/>
                <a:gd name="T2" fmla="*/ 10 w 10"/>
                <a:gd name="T3" fmla="*/ 1 h 21"/>
                <a:gd name="T4" fmla="*/ 5 w 10"/>
                <a:gd name="T5" fmla="*/ 1 h 21"/>
                <a:gd name="T6" fmla="*/ 5 w 10"/>
                <a:gd name="T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1">
                  <a:moveTo>
                    <a:pt x="5" y="20"/>
                  </a:moveTo>
                  <a:cubicBezTo>
                    <a:pt x="8" y="15"/>
                    <a:pt x="7" y="6"/>
                    <a:pt x="10" y="1"/>
                  </a:cubicBezTo>
                  <a:cubicBezTo>
                    <a:pt x="8" y="1"/>
                    <a:pt x="7" y="1"/>
                    <a:pt x="5" y="1"/>
                  </a:cubicBezTo>
                  <a:cubicBezTo>
                    <a:pt x="0" y="0"/>
                    <a:pt x="0" y="21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7" name="Freeform 79"/>
            <p:cNvSpPr>
              <a:spLocks/>
            </p:cNvSpPr>
            <p:nvPr userDrawn="1"/>
          </p:nvSpPr>
          <p:spPr bwMode="auto">
            <a:xfrm>
              <a:off x="3004979" y="4176071"/>
              <a:ext cx="28217" cy="34935"/>
            </a:xfrm>
            <a:custGeom>
              <a:avLst/>
              <a:gdLst>
                <a:gd name="T0" fmla="*/ 8 w 9"/>
                <a:gd name="T1" fmla="*/ 8 h 11"/>
                <a:gd name="T2" fmla="*/ 3 w 9"/>
                <a:gd name="T3" fmla="*/ 0 h 11"/>
                <a:gd name="T4" fmla="*/ 0 w 9"/>
                <a:gd name="T5" fmla="*/ 11 h 11"/>
                <a:gd name="T6" fmla="*/ 6 w 9"/>
                <a:gd name="T7" fmla="*/ 11 h 11"/>
                <a:gd name="T8" fmla="*/ 8 w 9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8" y="8"/>
                  </a:moveTo>
                  <a:cubicBezTo>
                    <a:pt x="5" y="8"/>
                    <a:pt x="6" y="1"/>
                    <a:pt x="3" y="0"/>
                  </a:cubicBezTo>
                  <a:cubicBezTo>
                    <a:pt x="3" y="5"/>
                    <a:pt x="0" y="6"/>
                    <a:pt x="0" y="11"/>
                  </a:cubicBezTo>
                  <a:cubicBezTo>
                    <a:pt x="2" y="11"/>
                    <a:pt x="4" y="11"/>
                    <a:pt x="6" y="11"/>
                  </a:cubicBezTo>
                  <a:cubicBezTo>
                    <a:pt x="7" y="11"/>
                    <a:pt x="9" y="11"/>
                    <a:pt x="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8" name="Freeform 80"/>
            <p:cNvSpPr>
              <a:spLocks/>
            </p:cNvSpPr>
            <p:nvPr userDrawn="1"/>
          </p:nvSpPr>
          <p:spPr bwMode="auto">
            <a:xfrm>
              <a:off x="3624403" y="4215037"/>
              <a:ext cx="40310" cy="40310"/>
            </a:xfrm>
            <a:custGeom>
              <a:avLst/>
              <a:gdLst>
                <a:gd name="T0" fmla="*/ 2 w 13"/>
                <a:gd name="T1" fmla="*/ 11 h 13"/>
                <a:gd name="T2" fmla="*/ 12 w 13"/>
                <a:gd name="T3" fmla="*/ 7 h 13"/>
                <a:gd name="T4" fmla="*/ 2 w 13"/>
                <a:gd name="T5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2" y="11"/>
                  </a:moveTo>
                  <a:cubicBezTo>
                    <a:pt x="3" y="13"/>
                    <a:pt x="13" y="10"/>
                    <a:pt x="12" y="7"/>
                  </a:cubicBezTo>
                  <a:cubicBezTo>
                    <a:pt x="9" y="0"/>
                    <a:pt x="0" y="9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9" name="Freeform 81"/>
            <p:cNvSpPr>
              <a:spLocks/>
            </p:cNvSpPr>
            <p:nvPr userDrawn="1"/>
          </p:nvSpPr>
          <p:spPr bwMode="auto">
            <a:xfrm>
              <a:off x="2792682" y="4205631"/>
              <a:ext cx="34935" cy="79275"/>
            </a:xfrm>
            <a:custGeom>
              <a:avLst/>
              <a:gdLst>
                <a:gd name="T0" fmla="*/ 8 w 11"/>
                <a:gd name="T1" fmla="*/ 25 h 25"/>
                <a:gd name="T2" fmla="*/ 11 w 11"/>
                <a:gd name="T3" fmla="*/ 17 h 25"/>
                <a:gd name="T4" fmla="*/ 0 w 11"/>
                <a:gd name="T5" fmla="*/ 14 h 25"/>
                <a:gd name="T6" fmla="*/ 3 w 11"/>
                <a:gd name="T7" fmla="*/ 25 h 25"/>
                <a:gd name="T8" fmla="*/ 8 w 11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5">
                  <a:moveTo>
                    <a:pt x="8" y="25"/>
                  </a:moveTo>
                  <a:cubicBezTo>
                    <a:pt x="8" y="21"/>
                    <a:pt x="10" y="20"/>
                    <a:pt x="11" y="17"/>
                  </a:cubicBezTo>
                  <a:cubicBezTo>
                    <a:pt x="4" y="22"/>
                    <a:pt x="4" y="0"/>
                    <a:pt x="0" y="14"/>
                  </a:cubicBezTo>
                  <a:cubicBezTo>
                    <a:pt x="3" y="14"/>
                    <a:pt x="3" y="19"/>
                    <a:pt x="3" y="25"/>
                  </a:cubicBezTo>
                  <a:cubicBezTo>
                    <a:pt x="5" y="25"/>
                    <a:pt x="6" y="25"/>
                    <a:pt x="8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0" name="Freeform 82"/>
            <p:cNvSpPr>
              <a:spLocks/>
            </p:cNvSpPr>
            <p:nvPr userDrawn="1"/>
          </p:nvSpPr>
          <p:spPr bwMode="auto">
            <a:xfrm>
              <a:off x="2960639" y="4236535"/>
              <a:ext cx="30904" cy="48371"/>
            </a:xfrm>
            <a:custGeom>
              <a:avLst/>
              <a:gdLst>
                <a:gd name="T0" fmla="*/ 1 w 10"/>
                <a:gd name="T1" fmla="*/ 4 h 15"/>
                <a:gd name="T2" fmla="*/ 6 w 10"/>
                <a:gd name="T3" fmla="*/ 15 h 15"/>
                <a:gd name="T4" fmla="*/ 9 w 10"/>
                <a:gd name="T5" fmla="*/ 0 h 15"/>
                <a:gd name="T6" fmla="*/ 3 w 10"/>
                <a:gd name="T7" fmla="*/ 0 h 15"/>
                <a:gd name="T8" fmla="*/ 1 w 10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1" y="4"/>
                  </a:moveTo>
                  <a:cubicBezTo>
                    <a:pt x="5" y="4"/>
                    <a:pt x="2" y="14"/>
                    <a:pt x="6" y="15"/>
                  </a:cubicBezTo>
                  <a:cubicBezTo>
                    <a:pt x="7" y="10"/>
                    <a:pt x="10" y="8"/>
                    <a:pt x="9" y="0"/>
                  </a:cubicBezTo>
                  <a:cubicBezTo>
                    <a:pt x="7" y="0"/>
                    <a:pt x="5" y="0"/>
                    <a:pt x="3" y="0"/>
                  </a:cubicBezTo>
                  <a:cubicBezTo>
                    <a:pt x="2" y="0"/>
                    <a:pt x="0" y="0"/>
                    <a:pt x="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1" name="Freeform 83"/>
            <p:cNvSpPr>
              <a:spLocks/>
            </p:cNvSpPr>
            <p:nvPr userDrawn="1"/>
          </p:nvSpPr>
          <p:spPr bwMode="auto">
            <a:xfrm>
              <a:off x="2998261" y="4227130"/>
              <a:ext cx="41653" cy="67183"/>
            </a:xfrm>
            <a:custGeom>
              <a:avLst/>
              <a:gdLst>
                <a:gd name="T0" fmla="*/ 0 w 13"/>
                <a:gd name="T1" fmla="*/ 10 h 21"/>
                <a:gd name="T2" fmla="*/ 13 w 13"/>
                <a:gd name="T3" fmla="*/ 10 h 21"/>
                <a:gd name="T4" fmla="*/ 0 w 13"/>
                <a:gd name="T5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1">
                  <a:moveTo>
                    <a:pt x="0" y="10"/>
                  </a:moveTo>
                  <a:cubicBezTo>
                    <a:pt x="6" y="5"/>
                    <a:pt x="11" y="21"/>
                    <a:pt x="13" y="10"/>
                  </a:cubicBezTo>
                  <a:cubicBezTo>
                    <a:pt x="8" y="5"/>
                    <a:pt x="4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2" name="Freeform 84"/>
            <p:cNvSpPr>
              <a:spLocks/>
            </p:cNvSpPr>
            <p:nvPr userDrawn="1"/>
          </p:nvSpPr>
          <p:spPr bwMode="auto">
            <a:xfrm>
              <a:off x="2802088" y="4249972"/>
              <a:ext cx="85994" cy="114210"/>
            </a:xfrm>
            <a:custGeom>
              <a:avLst/>
              <a:gdLst>
                <a:gd name="T0" fmla="*/ 11 w 27"/>
                <a:gd name="T1" fmla="*/ 33 h 36"/>
                <a:gd name="T2" fmla="*/ 21 w 27"/>
                <a:gd name="T3" fmla="*/ 33 h 36"/>
                <a:gd name="T4" fmla="*/ 21 w 27"/>
                <a:gd name="T5" fmla="*/ 0 h 36"/>
                <a:gd name="T6" fmla="*/ 13 w 27"/>
                <a:gd name="T7" fmla="*/ 0 h 36"/>
                <a:gd name="T8" fmla="*/ 11 w 27"/>
                <a:gd name="T9" fmla="*/ 11 h 36"/>
                <a:gd name="T10" fmla="*/ 11 w 27"/>
                <a:gd name="T11" fmla="*/ 3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36">
                  <a:moveTo>
                    <a:pt x="11" y="33"/>
                  </a:moveTo>
                  <a:cubicBezTo>
                    <a:pt x="12" y="22"/>
                    <a:pt x="16" y="36"/>
                    <a:pt x="21" y="33"/>
                  </a:cubicBezTo>
                  <a:cubicBezTo>
                    <a:pt x="17" y="21"/>
                    <a:pt x="20" y="13"/>
                    <a:pt x="21" y="0"/>
                  </a:cubicBezTo>
                  <a:cubicBezTo>
                    <a:pt x="19" y="0"/>
                    <a:pt x="16" y="0"/>
                    <a:pt x="13" y="0"/>
                  </a:cubicBezTo>
                  <a:cubicBezTo>
                    <a:pt x="13" y="5"/>
                    <a:pt x="12" y="8"/>
                    <a:pt x="11" y="11"/>
                  </a:cubicBezTo>
                  <a:cubicBezTo>
                    <a:pt x="27" y="13"/>
                    <a:pt x="0" y="27"/>
                    <a:pt x="11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3" name="Freeform 85"/>
            <p:cNvSpPr>
              <a:spLocks/>
            </p:cNvSpPr>
            <p:nvPr userDrawn="1"/>
          </p:nvSpPr>
          <p:spPr bwMode="auto">
            <a:xfrm>
              <a:off x="2867927" y="4255347"/>
              <a:ext cx="55090" cy="64495"/>
            </a:xfrm>
            <a:custGeom>
              <a:avLst/>
              <a:gdLst>
                <a:gd name="T0" fmla="*/ 8 w 17"/>
                <a:gd name="T1" fmla="*/ 9 h 20"/>
                <a:gd name="T2" fmla="*/ 6 w 17"/>
                <a:gd name="T3" fmla="*/ 9 h 20"/>
                <a:gd name="T4" fmla="*/ 3 w 17"/>
                <a:gd name="T5" fmla="*/ 1 h 20"/>
                <a:gd name="T6" fmla="*/ 0 w 17"/>
                <a:gd name="T7" fmla="*/ 16 h 20"/>
                <a:gd name="T8" fmla="*/ 16 w 17"/>
                <a:gd name="T9" fmla="*/ 20 h 20"/>
                <a:gd name="T10" fmla="*/ 8 w 17"/>
                <a:gd name="T11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20">
                  <a:moveTo>
                    <a:pt x="8" y="9"/>
                  </a:moveTo>
                  <a:cubicBezTo>
                    <a:pt x="6" y="10"/>
                    <a:pt x="9" y="13"/>
                    <a:pt x="6" y="9"/>
                  </a:cubicBezTo>
                  <a:cubicBezTo>
                    <a:pt x="4" y="7"/>
                    <a:pt x="6" y="0"/>
                    <a:pt x="3" y="1"/>
                  </a:cubicBezTo>
                  <a:cubicBezTo>
                    <a:pt x="3" y="8"/>
                    <a:pt x="2" y="13"/>
                    <a:pt x="0" y="16"/>
                  </a:cubicBezTo>
                  <a:cubicBezTo>
                    <a:pt x="9" y="13"/>
                    <a:pt x="10" y="20"/>
                    <a:pt x="16" y="20"/>
                  </a:cubicBezTo>
                  <a:cubicBezTo>
                    <a:pt x="17" y="10"/>
                    <a:pt x="12" y="7"/>
                    <a:pt x="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4" name="Freeform 86"/>
            <p:cNvSpPr>
              <a:spLocks/>
            </p:cNvSpPr>
            <p:nvPr userDrawn="1"/>
          </p:nvSpPr>
          <p:spPr bwMode="auto">
            <a:xfrm>
              <a:off x="3081567" y="4243254"/>
              <a:ext cx="25529" cy="69870"/>
            </a:xfrm>
            <a:custGeom>
              <a:avLst/>
              <a:gdLst>
                <a:gd name="T0" fmla="*/ 0 w 8"/>
                <a:gd name="T1" fmla="*/ 13 h 22"/>
                <a:gd name="T2" fmla="*/ 6 w 8"/>
                <a:gd name="T3" fmla="*/ 20 h 22"/>
                <a:gd name="T4" fmla="*/ 0 w 8"/>
                <a:gd name="T5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2">
                  <a:moveTo>
                    <a:pt x="0" y="13"/>
                  </a:moveTo>
                  <a:cubicBezTo>
                    <a:pt x="3" y="11"/>
                    <a:pt x="5" y="22"/>
                    <a:pt x="6" y="20"/>
                  </a:cubicBezTo>
                  <a:cubicBezTo>
                    <a:pt x="8" y="17"/>
                    <a:pt x="5" y="0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5" name="Freeform 87"/>
            <p:cNvSpPr>
              <a:spLocks/>
            </p:cNvSpPr>
            <p:nvPr userDrawn="1"/>
          </p:nvSpPr>
          <p:spPr bwMode="auto">
            <a:xfrm>
              <a:off x="2928391" y="4284907"/>
              <a:ext cx="69870" cy="116898"/>
            </a:xfrm>
            <a:custGeom>
              <a:avLst/>
              <a:gdLst>
                <a:gd name="T0" fmla="*/ 6 w 22"/>
                <a:gd name="T1" fmla="*/ 26 h 37"/>
                <a:gd name="T2" fmla="*/ 13 w 22"/>
                <a:gd name="T3" fmla="*/ 37 h 37"/>
                <a:gd name="T4" fmla="*/ 22 w 22"/>
                <a:gd name="T5" fmla="*/ 29 h 37"/>
                <a:gd name="T6" fmla="*/ 6 w 22"/>
                <a:gd name="T7" fmla="*/ 11 h 37"/>
                <a:gd name="T8" fmla="*/ 16 w 22"/>
                <a:gd name="T9" fmla="*/ 18 h 37"/>
                <a:gd name="T10" fmla="*/ 19 w 22"/>
                <a:gd name="T11" fmla="*/ 7 h 37"/>
                <a:gd name="T12" fmla="*/ 8 w 22"/>
                <a:gd name="T13" fmla="*/ 0 h 37"/>
                <a:gd name="T14" fmla="*/ 0 w 22"/>
                <a:gd name="T15" fmla="*/ 11 h 37"/>
                <a:gd name="T16" fmla="*/ 6 w 22"/>
                <a:gd name="T17" fmla="*/ 2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37">
                  <a:moveTo>
                    <a:pt x="6" y="26"/>
                  </a:moveTo>
                  <a:cubicBezTo>
                    <a:pt x="8" y="30"/>
                    <a:pt x="12" y="34"/>
                    <a:pt x="13" y="37"/>
                  </a:cubicBezTo>
                  <a:cubicBezTo>
                    <a:pt x="14" y="31"/>
                    <a:pt x="21" y="35"/>
                    <a:pt x="22" y="29"/>
                  </a:cubicBezTo>
                  <a:cubicBezTo>
                    <a:pt x="17" y="23"/>
                    <a:pt x="5" y="25"/>
                    <a:pt x="6" y="11"/>
                  </a:cubicBezTo>
                  <a:cubicBezTo>
                    <a:pt x="11" y="11"/>
                    <a:pt x="9" y="21"/>
                    <a:pt x="16" y="18"/>
                  </a:cubicBezTo>
                  <a:cubicBezTo>
                    <a:pt x="16" y="13"/>
                    <a:pt x="18" y="10"/>
                    <a:pt x="19" y="7"/>
                  </a:cubicBezTo>
                  <a:cubicBezTo>
                    <a:pt x="12" y="10"/>
                    <a:pt x="13" y="0"/>
                    <a:pt x="8" y="0"/>
                  </a:cubicBezTo>
                  <a:cubicBezTo>
                    <a:pt x="7" y="5"/>
                    <a:pt x="4" y="9"/>
                    <a:pt x="0" y="11"/>
                  </a:cubicBezTo>
                  <a:cubicBezTo>
                    <a:pt x="0" y="17"/>
                    <a:pt x="3" y="22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6" name="Freeform 88"/>
            <p:cNvSpPr>
              <a:spLocks/>
            </p:cNvSpPr>
            <p:nvPr userDrawn="1"/>
          </p:nvSpPr>
          <p:spPr bwMode="auto">
            <a:xfrm>
              <a:off x="3061412" y="4319842"/>
              <a:ext cx="29560" cy="44341"/>
            </a:xfrm>
            <a:custGeom>
              <a:avLst/>
              <a:gdLst>
                <a:gd name="T0" fmla="*/ 9 w 9"/>
                <a:gd name="T1" fmla="*/ 11 h 14"/>
                <a:gd name="T2" fmla="*/ 4 w 9"/>
                <a:gd name="T3" fmla="*/ 0 h 14"/>
                <a:gd name="T4" fmla="*/ 9 w 9"/>
                <a:gd name="T5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9" y="11"/>
                  </a:moveTo>
                  <a:cubicBezTo>
                    <a:pt x="9" y="4"/>
                    <a:pt x="7" y="1"/>
                    <a:pt x="4" y="0"/>
                  </a:cubicBezTo>
                  <a:cubicBezTo>
                    <a:pt x="0" y="5"/>
                    <a:pt x="0" y="14"/>
                    <a:pt x="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7" name="Freeform 89"/>
            <p:cNvSpPr>
              <a:spLocks/>
            </p:cNvSpPr>
            <p:nvPr userDrawn="1"/>
          </p:nvSpPr>
          <p:spPr bwMode="auto">
            <a:xfrm>
              <a:off x="2988855" y="4329247"/>
              <a:ext cx="16124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8" name="Freeform 90"/>
            <p:cNvSpPr>
              <a:spLocks/>
            </p:cNvSpPr>
            <p:nvPr userDrawn="1"/>
          </p:nvSpPr>
          <p:spPr bwMode="auto">
            <a:xfrm>
              <a:off x="3072162" y="4389712"/>
              <a:ext cx="30904" cy="56433"/>
            </a:xfrm>
            <a:custGeom>
              <a:avLst/>
              <a:gdLst>
                <a:gd name="T0" fmla="*/ 3 w 10"/>
                <a:gd name="T1" fmla="*/ 18 h 18"/>
                <a:gd name="T2" fmla="*/ 1 w 10"/>
                <a:gd name="T3" fmla="*/ 4 h 18"/>
                <a:gd name="T4" fmla="*/ 3 w 10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3" y="18"/>
                  </a:moveTo>
                  <a:cubicBezTo>
                    <a:pt x="5" y="16"/>
                    <a:pt x="10" y="0"/>
                    <a:pt x="1" y="4"/>
                  </a:cubicBezTo>
                  <a:cubicBezTo>
                    <a:pt x="1" y="9"/>
                    <a:pt x="0" y="17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9" name="Freeform 91"/>
            <p:cNvSpPr>
              <a:spLocks/>
            </p:cNvSpPr>
            <p:nvPr userDrawn="1"/>
          </p:nvSpPr>
          <p:spPr bwMode="auto">
            <a:xfrm>
              <a:off x="3131282" y="4401805"/>
              <a:ext cx="22842" cy="44341"/>
            </a:xfrm>
            <a:custGeom>
              <a:avLst/>
              <a:gdLst>
                <a:gd name="T0" fmla="*/ 6 w 7"/>
                <a:gd name="T1" fmla="*/ 14 h 14"/>
                <a:gd name="T2" fmla="*/ 1 w 7"/>
                <a:gd name="T3" fmla="*/ 0 h 14"/>
                <a:gd name="T4" fmla="*/ 6 w 7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6" y="14"/>
                  </a:moveTo>
                  <a:cubicBezTo>
                    <a:pt x="7" y="6"/>
                    <a:pt x="5" y="1"/>
                    <a:pt x="1" y="0"/>
                  </a:cubicBezTo>
                  <a:cubicBezTo>
                    <a:pt x="0" y="8"/>
                    <a:pt x="1" y="14"/>
                    <a:pt x="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0" name="Freeform 92"/>
            <p:cNvSpPr>
              <a:spLocks/>
            </p:cNvSpPr>
            <p:nvPr userDrawn="1"/>
          </p:nvSpPr>
          <p:spPr bwMode="auto">
            <a:xfrm>
              <a:off x="2807462" y="4378963"/>
              <a:ext cx="45684" cy="115554"/>
            </a:xfrm>
            <a:custGeom>
              <a:avLst/>
              <a:gdLst>
                <a:gd name="T0" fmla="*/ 14 w 14"/>
                <a:gd name="T1" fmla="*/ 18 h 36"/>
                <a:gd name="T2" fmla="*/ 11 w 14"/>
                <a:gd name="T3" fmla="*/ 14 h 36"/>
                <a:gd name="T4" fmla="*/ 14 w 14"/>
                <a:gd name="T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36">
                  <a:moveTo>
                    <a:pt x="14" y="18"/>
                  </a:moveTo>
                  <a:cubicBezTo>
                    <a:pt x="11" y="19"/>
                    <a:pt x="12" y="15"/>
                    <a:pt x="11" y="14"/>
                  </a:cubicBezTo>
                  <a:cubicBezTo>
                    <a:pt x="0" y="0"/>
                    <a:pt x="4" y="36"/>
                    <a:pt x="1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1" name="Freeform 93"/>
            <p:cNvSpPr>
              <a:spLocks/>
            </p:cNvSpPr>
            <p:nvPr userDrawn="1"/>
          </p:nvSpPr>
          <p:spPr bwMode="auto">
            <a:xfrm>
              <a:off x="2923016" y="4439427"/>
              <a:ext cx="81963" cy="83306"/>
            </a:xfrm>
            <a:custGeom>
              <a:avLst/>
              <a:gdLst>
                <a:gd name="T0" fmla="*/ 18 w 26"/>
                <a:gd name="T1" fmla="*/ 21 h 26"/>
                <a:gd name="T2" fmla="*/ 24 w 26"/>
                <a:gd name="T3" fmla="*/ 2 h 26"/>
                <a:gd name="T4" fmla="*/ 8 w 26"/>
                <a:gd name="T5" fmla="*/ 17 h 26"/>
                <a:gd name="T6" fmla="*/ 18 w 26"/>
                <a:gd name="T7" fmla="*/ 2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6">
                  <a:moveTo>
                    <a:pt x="18" y="21"/>
                  </a:moveTo>
                  <a:cubicBezTo>
                    <a:pt x="14" y="7"/>
                    <a:pt x="26" y="14"/>
                    <a:pt x="24" y="2"/>
                  </a:cubicBezTo>
                  <a:cubicBezTo>
                    <a:pt x="15" y="0"/>
                    <a:pt x="0" y="9"/>
                    <a:pt x="8" y="17"/>
                  </a:cubicBezTo>
                  <a:cubicBezTo>
                    <a:pt x="10" y="6"/>
                    <a:pt x="12" y="26"/>
                    <a:pt x="18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2" name="Freeform 94"/>
            <p:cNvSpPr>
              <a:spLocks/>
            </p:cNvSpPr>
            <p:nvPr userDrawn="1"/>
          </p:nvSpPr>
          <p:spPr bwMode="auto">
            <a:xfrm>
              <a:off x="3252211" y="4446145"/>
              <a:ext cx="34935" cy="85994"/>
            </a:xfrm>
            <a:custGeom>
              <a:avLst/>
              <a:gdLst>
                <a:gd name="T0" fmla="*/ 11 w 11"/>
                <a:gd name="T1" fmla="*/ 23 h 27"/>
                <a:gd name="T2" fmla="*/ 3 w 11"/>
                <a:gd name="T3" fmla="*/ 0 h 27"/>
                <a:gd name="T4" fmla="*/ 11 w 11"/>
                <a:gd name="T5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7">
                  <a:moveTo>
                    <a:pt x="11" y="23"/>
                  </a:moveTo>
                  <a:cubicBezTo>
                    <a:pt x="10" y="13"/>
                    <a:pt x="7" y="6"/>
                    <a:pt x="3" y="0"/>
                  </a:cubicBezTo>
                  <a:cubicBezTo>
                    <a:pt x="1" y="4"/>
                    <a:pt x="0" y="27"/>
                    <a:pt x="1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3" name="Freeform 95"/>
            <p:cNvSpPr>
              <a:spLocks/>
            </p:cNvSpPr>
            <p:nvPr userDrawn="1"/>
          </p:nvSpPr>
          <p:spPr bwMode="auto">
            <a:xfrm>
              <a:off x="2827617" y="4483767"/>
              <a:ext cx="28217" cy="22842"/>
            </a:xfrm>
            <a:custGeom>
              <a:avLst/>
              <a:gdLst>
                <a:gd name="T0" fmla="*/ 3 w 9"/>
                <a:gd name="T1" fmla="*/ 0 h 7"/>
                <a:gd name="T2" fmla="*/ 0 w 9"/>
                <a:gd name="T3" fmla="*/ 7 h 7"/>
                <a:gd name="T4" fmla="*/ 8 w 9"/>
                <a:gd name="T5" fmla="*/ 0 h 7"/>
                <a:gd name="T6" fmla="*/ 3 w 9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3" y="0"/>
                  </a:moveTo>
                  <a:cubicBezTo>
                    <a:pt x="3" y="3"/>
                    <a:pt x="0" y="4"/>
                    <a:pt x="0" y="7"/>
                  </a:cubicBezTo>
                  <a:cubicBezTo>
                    <a:pt x="4" y="7"/>
                    <a:pt x="9" y="7"/>
                    <a:pt x="8" y="0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4" name="Freeform 96"/>
            <p:cNvSpPr>
              <a:spLocks/>
            </p:cNvSpPr>
            <p:nvPr userDrawn="1"/>
          </p:nvSpPr>
          <p:spPr bwMode="auto">
            <a:xfrm>
              <a:off x="3109784" y="4483767"/>
              <a:ext cx="47028" cy="69870"/>
            </a:xfrm>
            <a:custGeom>
              <a:avLst/>
              <a:gdLst>
                <a:gd name="T0" fmla="*/ 8 w 15"/>
                <a:gd name="T1" fmla="*/ 22 h 22"/>
                <a:gd name="T2" fmla="*/ 13 w 15"/>
                <a:gd name="T3" fmla="*/ 22 h 22"/>
                <a:gd name="T4" fmla="*/ 8 w 15"/>
                <a:gd name="T5" fmla="*/ 7 h 22"/>
                <a:gd name="T6" fmla="*/ 8 w 15"/>
                <a:gd name="T7" fmla="*/ 0 h 22"/>
                <a:gd name="T8" fmla="*/ 8 w 15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2">
                  <a:moveTo>
                    <a:pt x="8" y="22"/>
                  </a:moveTo>
                  <a:cubicBezTo>
                    <a:pt x="8" y="17"/>
                    <a:pt x="11" y="19"/>
                    <a:pt x="13" y="22"/>
                  </a:cubicBezTo>
                  <a:cubicBezTo>
                    <a:pt x="15" y="12"/>
                    <a:pt x="8" y="14"/>
                    <a:pt x="8" y="7"/>
                  </a:cubicBezTo>
                  <a:cubicBezTo>
                    <a:pt x="10" y="7"/>
                    <a:pt x="11" y="0"/>
                    <a:pt x="8" y="0"/>
                  </a:cubicBezTo>
                  <a:cubicBezTo>
                    <a:pt x="4" y="8"/>
                    <a:pt x="0" y="16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5" name="Freeform 97"/>
            <p:cNvSpPr>
              <a:spLocks/>
            </p:cNvSpPr>
            <p:nvPr userDrawn="1"/>
          </p:nvSpPr>
          <p:spPr bwMode="auto">
            <a:xfrm>
              <a:off x="3151437" y="4481080"/>
              <a:ext cx="24186" cy="44341"/>
            </a:xfrm>
            <a:custGeom>
              <a:avLst/>
              <a:gdLst>
                <a:gd name="T0" fmla="*/ 8 w 8"/>
                <a:gd name="T1" fmla="*/ 1 h 14"/>
                <a:gd name="T2" fmla="*/ 0 w 8"/>
                <a:gd name="T3" fmla="*/ 12 h 14"/>
                <a:gd name="T4" fmla="*/ 8 w 8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4">
                  <a:moveTo>
                    <a:pt x="8" y="1"/>
                  </a:moveTo>
                  <a:cubicBezTo>
                    <a:pt x="2" y="0"/>
                    <a:pt x="0" y="4"/>
                    <a:pt x="0" y="12"/>
                  </a:cubicBezTo>
                  <a:cubicBezTo>
                    <a:pt x="7" y="14"/>
                    <a:pt x="5" y="4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6" name="Freeform 98"/>
            <p:cNvSpPr>
              <a:spLocks/>
            </p:cNvSpPr>
            <p:nvPr userDrawn="1"/>
          </p:nvSpPr>
          <p:spPr bwMode="auto">
            <a:xfrm>
              <a:off x="3217276" y="4513328"/>
              <a:ext cx="25529" cy="69870"/>
            </a:xfrm>
            <a:custGeom>
              <a:avLst/>
              <a:gdLst>
                <a:gd name="T0" fmla="*/ 3 w 8"/>
                <a:gd name="T1" fmla="*/ 2 h 22"/>
                <a:gd name="T2" fmla="*/ 1 w 8"/>
                <a:gd name="T3" fmla="*/ 16 h 22"/>
                <a:gd name="T4" fmla="*/ 3 w 8"/>
                <a:gd name="T5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2">
                  <a:moveTo>
                    <a:pt x="3" y="2"/>
                  </a:moveTo>
                  <a:cubicBezTo>
                    <a:pt x="4" y="9"/>
                    <a:pt x="0" y="10"/>
                    <a:pt x="1" y="16"/>
                  </a:cubicBezTo>
                  <a:cubicBezTo>
                    <a:pt x="8" y="22"/>
                    <a:pt x="8" y="0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7" name="Freeform 99"/>
            <p:cNvSpPr>
              <a:spLocks/>
            </p:cNvSpPr>
            <p:nvPr userDrawn="1"/>
          </p:nvSpPr>
          <p:spPr bwMode="auto">
            <a:xfrm>
              <a:off x="3252211" y="4499891"/>
              <a:ext cx="16124" cy="67183"/>
            </a:xfrm>
            <a:custGeom>
              <a:avLst/>
              <a:gdLst>
                <a:gd name="T0" fmla="*/ 3 w 5"/>
                <a:gd name="T1" fmla="*/ 20 h 21"/>
                <a:gd name="T2" fmla="*/ 0 w 5"/>
                <a:gd name="T3" fmla="*/ 13 h 21"/>
                <a:gd name="T4" fmla="*/ 3 w 5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1">
                  <a:moveTo>
                    <a:pt x="3" y="20"/>
                  </a:moveTo>
                  <a:cubicBezTo>
                    <a:pt x="5" y="20"/>
                    <a:pt x="4" y="0"/>
                    <a:pt x="0" y="13"/>
                  </a:cubicBezTo>
                  <a:cubicBezTo>
                    <a:pt x="0" y="15"/>
                    <a:pt x="1" y="21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8" name="Freeform 100"/>
            <p:cNvSpPr>
              <a:spLocks/>
            </p:cNvSpPr>
            <p:nvPr userDrawn="1"/>
          </p:nvSpPr>
          <p:spPr bwMode="auto">
            <a:xfrm>
              <a:off x="2704001" y="4563043"/>
              <a:ext cx="40310" cy="102118"/>
            </a:xfrm>
            <a:custGeom>
              <a:avLst/>
              <a:gdLst>
                <a:gd name="T0" fmla="*/ 4 w 13"/>
                <a:gd name="T1" fmla="*/ 0 h 32"/>
                <a:gd name="T2" fmla="*/ 1 w 13"/>
                <a:gd name="T3" fmla="*/ 8 h 32"/>
                <a:gd name="T4" fmla="*/ 4 w 13"/>
                <a:gd name="T5" fmla="*/ 19 h 32"/>
                <a:gd name="T6" fmla="*/ 4 w 13"/>
                <a:gd name="T7" fmla="*/ 26 h 32"/>
                <a:gd name="T8" fmla="*/ 9 w 13"/>
                <a:gd name="T9" fmla="*/ 26 h 32"/>
                <a:gd name="T10" fmla="*/ 4 w 13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32">
                  <a:moveTo>
                    <a:pt x="4" y="0"/>
                  </a:moveTo>
                  <a:cubicBezTo>
                    <a:pt x="3" y="3"/>
                    <a:pt x="4" y="8"/>
                    <a:pt x="1" y="8"/>
                  </a:cubicBezTo>
                  <a:cubicBezTo>
                    <a:pt x="0" y="13"/>
                    <a:pt x="4" y="16"/>
                    <a:pt x="4" y="19"/>
                  </a:cubicBezTo>
                  <a:cubicBezTo>
                    <a:pt x="5" y="25"/>
                    <a:pt x="1" y="22"/>
                    <a:pt x="4" y="26"/>
                  </a:cubicBezTo>
                  <a:cubicBezTo>
                    <a:pt x="5" y="28"/>
                    <a:pt x="8" y="32"/>
                    <a:pt x="9" y="26"/>
                  </a:cubicBezTo>
                  <a:cubicBezTo>
                    <a:pt x="3" y="19"/>
                    <a:pt x="13" y="7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9" name="Freeform 101"/>
            <p:cNvSpPr>
              <a:spLocks/>
            </p:cNvSpPr>
            <p:nvPr userDrawn="1"/>
          </p:nvSpPr>
          <p:spPr bwMode="auto">
            <a:xfrm>
              <a:off x="3074849" y="4563043"/>
              <a:ext cx="16124" cy="25529"/>
            </a:xfrm>
            <a:custGeom>
              <a:avLst/>
              <a:gdLst>
                <a:gd name="T0" fmla="*/ 0 w 5"/>
                <a:gd name="T1" fmla="*/ 8 h 8"/>
                <a:gd name="T2" fmla="*/ 5 w 5"/>
                <a:gd name="T3" fmla="*/ 8 h 8"/>
                <a:gd name="T4" fmla="*/ 5 w 5"/>
                <a:gd name="T5" fmla="*/ 0 h 8"/>
                <a:gd name="T6" fmla="*/ 0 w 5"/>
                <a:gd name="T7" fmla="*/ 0 h 8"/>
                <a:gd name="T8" fmla="*/ 0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0" y="8"/>
                  </a:moveTo>
                  <a:cubicBezTo>
                    <a:pt x="2" y="8"/>
                    <a:pt x="3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0" name="Freeform 102"/>
            <p:cNvSpPr>
              <a:spLocks/>
            </p:cNvSpPr>
            <p:nvPr userDrawn="1"/>
          </p:nvSpPr>
          <p:spPr bwMode="auto">
            <a:xfrm>
              <a:off x="3335517" y="4563043"/>
              <a:ext cx="59121" cy="64495"/>
            </a:xfrm>
            <a:custGeom>
              <a:avLst/>
              <a:gdLst>
                <a:gd name="T0" fmla="*/ 12 w 19"/>
                <a:gd name="T1" fmla="*/ 0 h 20"/>
                <a:gd name="T2" fmla="*/ 4 w 19"/>
                <a:gd name="T3" fmla="*/ 15 h 20"/>
                <a:gd name="T4" fmla="*/ 12 w 19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20">
                  <a:moveTo>
                    <a:pt x="12" y="0"/>
                  </a:moveTo>
                  <a:cubicBezTo>
                    <a:pt x="11" y="8"/>
                    <a:pt x="0" y="1"/>
                    <a:pt x="4" y="15"/>
                  </a:cubicBezTo>
                  <a:cubicBezTo>
                    <a:pt x="12" y="20"/>
                    <a:pt x="19" y="5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1" name="Freeform 103"/>
            <p:cNvSpPr>
              <a:spLocks/>
            </p:cNvSpPr>
            <p:nvPr userDrawn="1"/>
          </p:nvSpPr>
          <p:spPr bwMode="auto">
            <a:xfrm>
              <a:off x="3240118" y="4588572"/>
              <a:ext cx="30904" cy="64495"/>
            </a:xfrm>
            <a:custGeom>
              <a:avLst/>
              <a:gdLst>
                <a:gd name="T0" fmla="*/ 4 w 10"/>
                <a:gd name="T1" fmla="*/ 0 h 20"/>
                <a:gd name="T2" fmla="*/ 10 w 10"/>
                <a:gd name="T3" fmla="*/ 11 h 20"/>
                <a:gd name="T4" fmla="*/ 4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4" y="0"/>
                  </a:moveTo>
                  <a:cubicBezTo>
                    <a:pt x="0" y="8"/>
                    <a:pt x="5" y="20"/>
                    <a:pt x="10" y="11"/>
                  </a:cubicBezTo>
                  <a:cubicBezTo>
                    <a:pt x="5" y="11"/>
                    <a:pt x="8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2" name="Freeform 104"/>
            <p:cNvSpPr>
              <a:spLocks/>
            </p:cNvSpPr>
            <p:nvPr userDrawn="1"/>
          </p:nvSpPr>
          <p:spPr bwMode="auto">
            <a:xfrm>
              <a:off x="2998261" y="4585885"/>
              <a:ext cx="60464" cy="47028"/>
            </a:xfrm>
            <a:custGeom>
              <a:avLst/>
              <a:gdLst>
                <a:gd name="T0" fmla="*/ 19 w 19"/>
                <a:gd name="T1" fmla="*/ 5 h 15"/>
                <a:gd name="T2" fmla="*/ 0 w 19"/>
                <a:gd name="T3" fmla="*/ 8 h 15"/>
                <a:gd name="T4" fmla="*/ 10 w 19"/>
                <a:gd name="T5" fmla="*/ 8 h 15"/>
                <a:gd name="T6" fmla="*/ 16 w 19"/>
                <a:gd name="T7" fmla="*/ 12 h 15"/>
                <a:gd name="T8" fmla="*/ 19 w 19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19" y="5"/>
                  </a:moveTo>
                  <a:cubicBezTo>
                    <a:pt x="13" y="7"/>
                    <a:pt x="1" y="0"/>
                    <a:pt x="0" y="8"/>
                  </a:cubicBezTo>
                  <a:cubicBezTo>
                    <a:pt x="3" y="15"/>
                    <a:pt x="7" y="9"/>
                    <a:pt x="10" y="8"/>
                  </a:cubicBezTo>
                  <a:cubicBezTo>
                    <a:pt x="11" y="8"/>
                    <a:pt x="12" y="14"/>
                    <a:pt x="16" y="12"/>
                  </a:cubicBezTo>
                  <a:cubicBezTo>
                    <a:pt x="17" y="11"/>
                    <a:pt x="17" y="5"/>
                    <a:pt x="19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3" name="Freeform 105"/>
            <p:cNvSpPr>
              <a:spLocks/>
            </p:cNvSpPr>
            <p:nvPr userDrawn="1"/>
          </p:nvSpPr>
          <p:spPr bwMode="auto">
            <a:xfrm>
              <a:off x="3284459" y="4604696"/>
              <a:ext cx="25529" cy="76588"/>
            </a:xfrm>
            <a:custGeom>
              <a:avLst/>
              <a:gdLst>
                <a:gd name="T0" fmla="*/ 1 w 8"/>
                <a:gd name="T1" fmla="*/ 6 h 24"/>
                <a:gd name="T2" fmla="*/ 1 w 8"/>
                <a:gd name="T3" fmla="*/ 21 h 24"/>
                <a:gd name="T4" fmla="*/ 4 w 8"/>
                <a:gd name="T5" fmla="*/ 6 h 24"/>
                <a:gd name="T6" fmla="*/ 6 w 8"/>
                <a:gd name="T7" fmla="*/ 2 h 24"/>
                <a:gd name="T8" fmla="*/ 1 w 8"/>
                <a:gd name="T9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4">
                  <a:moveTo>
                    <a:pt x="1" y="6"/>
                  </a:moveTo>
                  <a:cubicBezTo>
                    <a:pt x="1" y="8"/>
                    <a:pt x="0" y="19"/>
                    <a:pt x="1" y="21"/>
                  </a:cubicBezTo>
                  <a:cubicBezTo>
                    <a:pt x="3" y="24"/>
                    <a:pt x="4" y="9"/>
                    <a:pt x="4" y="6"/>
                  </a:cubicBezTo>
                  <a:cubicBezTo>
                    <a:pt x="4" y="6"/>
                    <a:pt x="8" y="5"/>
                    <a:pt x="6" y="2"/>
                  </a:cubicBezTo>
                  <a:cubicBezTo>
                    <a:pt x="5" y="0"/>
                    <a:pt x="1" y="5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4" name="Freeform 106"/>
            <p:cNvSpPr>
              <a:spLocks/>
            </p:cNvSpPr>
            <p:nvPr userDrawn="1"/>
          </p:nvSpPr>
          <p:spPr bwMode="auto">
            <a:xfrm>
              <a:off x="3131282" y="4623507"/>
              <a:ext cx="41653" cy="34935"/>
            </a:xfrm>
            <a:custGeom>
              <a:avLst/>
              <a:gdLst>
                <a:gd name="T0" fmla="*/ 3 w 13"/>
                <a:gd name="T1" fmla="*/ 11 h 11"/>
                <a:gd name="T2" fmla="*/ 9 w 13"/>
                <a:gd name="T3" fmla="*/ 11 h 11"/>
                <a:gd name="T4" fmla="*/ 1 w 13"/>
                <a:gd name="T5" fmla="*/ 7 h 11"/>
                <a:gd name="T6" fmla="*/ 3 w 13"/>
                <a:gd name="T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3" y="11"/>
                  </a:moveTo>
                  <a:cubicBezTo>
                    <a:pt x="5" y="11"/>
                    <a:pt x="7" y="11"/>
                    <a:pt x="9" y="11"/>
                  </a:cubicBezTo>
                  <a:cubicBezTo>
                    <a:pt x="13" y="2"/>
                    <a:pt x="0" y="0"/>
                    <a:pt x="1" y="7"/>
                  </a:cubicBezTo>
                  <a:cubicBezTo>
                    <a:pt x="2" y="8"/>
                    <a:pt x="4" y="8"/>
                    <a:pt x="3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5" name="Freeform 107"/>
            <p:cNvSpPr>
              <a:spLocks/>
            </p:cNvSpPr>
            <p:nvPr userDrawn="1"/>
          </p:nvSpPr>
          <p:spPr bwMode="auto">
            <a:xfrm>
              <a:off x="3433604" y="4636944"/>
              <a:ext cx="16124" cy="21498"/>
            </a:xfrm>
            <a:custGeom>
              <a:avLst/>
              <a:gdLst>
                <a:gd name="T0" fmla="*/ 0 w 5"/>
                <a:gd name="T1" fmla="*/ 7 h 7"/>
                <a:gd name="T2" fmla="*/ 5 w 5"/>
                <a:gd name="T3" fmla="*/ 7 h 7"/>
                <a:gd name="T4" fmla="*/ 5 w 5"/>
                <a:gd name="T5" fmla="*/ 0 h 7"/>
                <a:gd name="T6" fmla="*/ 0 w 5"/>
                <a:gd name="T7" fmla="*/ 0 h 7"/>
                <a:gd name="T8" fmla="*/ 0 w 5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0" y="7"/>
                  </a:moveTo>
                  <a:cubicBezTo>
                    <a:pt x="2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6" name="Freeform 108"/>
            <p:cNvSpPr>
              <a:spLocks/>
            </p:cNvSpPr>
            <p:nvPr userDrawn="1"/>
          </p:nvSpPr>
          <p:spPr bwMode="auto">
            <a:xfrm>
              <a:off x="2923016" y="4646349"/>
              <a:ext cx="49715" cy="95399"/>
            </a:xfrm>
            <a:custGeom>
              <a:avLst/>
              <a:gdLst>
                <a:gd name="T0" fmla="*/ 5 w 16"/>
                <a:gd name="T1" fmla="*/ 0 h 30"/>
                <a:gd name="T2" fmla="*/ 13 w 16"/>
                <a:gd name="T3" fmla="*/ 30 h 30"/>
                <a:gd name="T4" fmla="*/ 8 w 16"/>
                <a:gd name="T5" fmla="*/ 4 h 30"/>
                <a:gd name="T6" fmla="*/ 5 w 16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0">
                  <a:moveTo>
                    <a:pt x="5" y="0"/>
                  </a:moveTo>
                  <a:cubicBezTo>
                    <a:pt x="0" y="17"/>
                    <a:pt x="7" y="19"/>
                    <a:pt x="13" y="30"/>
                  </a:cubicBezTo>
                  <a:cubicBezTo>
                    <a:pt x="16" y="15"/>
                    <a:pt x="7" y="15"/>
                    <a:pt x="8" y="4"/>
                  </a:cubicBezTo>
                  <a:cubicBezTo>
                    <a:pt x="7" y="2"/>
                    <a:pt x="7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7" name="Freeform 109"/>
            <p:cNvSpPr>
              <a:spLocks/>
            </p:cNvSpPr>
            <p:nvPr userDrawn="1"/>
          </p:nvSpPr>
          <p:spPr bwMode="auto">
            <a:xfrm>
              <a:off x="3100378" y="4646349"/>
              <a:ext cx="16124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8" name="Freeform 110"/>
            <p:cNvSpPr>
              <a:spLocks/>
            </p:cNvSpPr>
            <p:nvPr userDrawn="1"/>
          </p:nvSpPr>
          <p:spPr bwMode="auto">
            <a:xfrm>
              <a:off x="3201152" y="4627538"/>
              <a:ext cx="34935" cy="65839"/>
            </a:xfrm>
            <a:custGeom>
              <a:avLst/>
              <a:gdLst>
                <a:gd name="T0" fmla="*/ 0 w 11"/>
                <a:gd name="T1" fmla="*/ 10 h 21"/>
                <a:gd name="T2" fmla="*/ 8 w 11"/>
                <a:gd name="T3" fmla="*/ 21 h 21"/>
                <a:gd name="T4" fmla="*/ 0 w 11"/>
                <a:gd name="T5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1">
                  <a:moveTo>
                    <a:pt x="0" y="10"/>
                  </a:moveTo>
                  <a:cubicBezTo>
                    <a:pt x="6" y="9"/>
                    <a:pt x="3" y="21"/>
                    <a:pt x="8" y="21"/>
                  </a:cubicBezTo>
                  <a:cubicBezTo>
                    <a:pt x="11" y="12"/>
                    <a:pt x="3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9" name="Freeform 111"/>
            <p:cNvSpPr>
              <a:spLocks/>
            </p:cNvSpPr>
            <p:nvPr userDrawn="1"/>
          </p:nvSpPr>
          <p:spPr bwMode="auto">
            <a:xfrm>
              <a:off x="2893456" y="4671879"/>
              <a:ext cx="18811" cy="44341"/>
            </a:xfrm>
            <a:custGeom>
              <a:avLst/>
              <a:gdLst>
                <a:gd name="T0" fmla="*/ 0 w 6"/>
                <a:gd name="T1" fmla="*/ 14 h 14"/>
                <a:gd name="T2" fmla="*/ 6 w 6"/>
                <a:gd name="T3" fmla="*/ 14 h 14"/>
                <a:gd name="T4" fmla="*/ 6 w 6"/>
                <a:gd name="T5" fmla="*/ 0 h 14"/>
                <a:gd name="T6" fmla="*/ 0 w 6"/>
                <a:gd name="T7" fmla="*/ 0 h 14"/>
                <a:gd name="T8" fmla="*/ 0 w 6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2" y="14"/>
                    <a:pt x="4" y="14"/>
                    <a:pt x="6" y="14"/>
                  </a:cubicBezTo>
                  <a:cubicBezTo>
                    <a:pt x="6" y="10"/>
                    <a:pt x="6" y="5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0" name="Freeform 112"/>
            <p:cNvSpPr>
              <a:spLocks/>
            </p:cNvSpPr>
            <p:nvPr userDrawn="1"/>
          </p:nvSpPr>
          <p:spPr bwMode="auto">
            <a:xfrm>
              <a:off x="3370452" y="4671879"/>
              <a:ext cx="21498" cy="44341"/>
            </a:xfrm>
            <a:custGeom>
              <a:avLst/>
              <a:gdLst>
                <a:gd name="T0" fmla="*/ 1 w 7"/>
                <a:gd name="T1" fmla="*/ 0 h 14"/>
                <a:gd name="T2" fmla="*/ 4 w 7"/>
                <a:gd name="T3" fmla="*/ 14 h 14"/>
                <a:gd name="T4" fmla="*/ 1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1" y="0"/>
                  </a:moveTo>
                  <a:cubicBezTo>
                    <a:pt x="1" y="5"/>
                    <a:pt x="0" y="13"/>
                    <a:pt x="4" y="14"/>
                  </a:cubicBezTo>
                  <a:cubicBezTo>
                    <a:pt x="7" y="10"/>
                    <a:pt x="7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1" name="Freeform 113"/>
            <p:cNvSpPr>
              <a:spLocks/>
            </p:cNvSpPr>
            <p:nvPr userDrawn="1"/>
          </p:nvSpPr>
          <p:spPr bwMode="auto">
            <a:xfrm>
              <a:off x="3280428" y="4681284"/>
              <a:ext cx="32248" cy="34935"/>
            </a:xfrm>
            <a:custGeom>
              <a:avLst/>
              <a:gdLst>
                <a:gd name="T0" fmla="*/ 5 w 10"/>
                <a:gd name="T1" fmla="*/ 0 h 11"/>
                <a:gd name="T2" fmla="*/ 5 w 10"/>
                <a:gd name="T3" fmla="*/ 11 h 11"/>
                <a:gd name="T4" fmla="*/ 5 w 10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5" y="0"/>
                  </a:moveTo>
                  <a:cubicBezTo>
                    <a:pt x="4" y="5"/>
                    <a:pt x="0" y="9"/>
                    <a:pt x="5" y="11"/>
                  </a:cubicBezTo>
                  <a:cubicBezTo>
                    <a:pt x="5" y="7"/>
                    <a:pt x="10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2" name="Freeform 114"/>
            <p:cNvSpPr>
              <a:spLocks/>
            </p:cNvSpPr>
            <p:nvPr userDrawn="1"/>
          </p:nvSpPr>
          <p:spPr bwMode="auto">
            <a:xfrm>
              <a:off x="3410762" y="4690690"/>
              <a:ext cx="29560" cy="79275"/>
            </a:xfrm>
            <a:custGeom>
              <a:avLst/>
              <a:gdLst>
                <a:gd name="T0" fmla="*/ 1 w 9"/>
                <a:gd name="T1" fmla="*/ 20 h 25"/>
                <a:gd name="T2" fmla="*/ 4 w 9"/>
                <a:gd name="T3" fmla="*/ 1 h 25"/>
                <a:gd name="T4" fmla="*/ 1 w 9"/>
                <a:gd name="T5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5">
                  <a:moveTo>
                    <a:pt x="1" y="20"/>
                  </a:moveTo>
                  <a:cubicBezTo>
                    <a:pt x="9" y="25"/>
                    <a:pt x="8" y="0"/>
                    <a:pt x="4" y="1"/>
                  </a:cubicBezTo>
                  <a:cubicBezTo>
                    <a:pt x="6" y="12"/>
                    <a:pt x="0" y="11"/>
                    <a:pt x="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3" name="Freeform 115"/>
            <p:cNvSpPr>
              <a:spLocks/>
            </p:cNvSpPr>
            <p:nvPr userDrawn="1"/>
          </p:nvSpPr>
          <p:spPr bwMode="auto">
            <a:xfrm>
              <a:off x="3468539" y="4712188"/>
              <a:ext cx="25529" cy="29560"/>
            </a:xfrm>
            <a:custGeom>
              <a:avLst/>
              <a:gdLst>
                <a:gd name="T0" fmla="*/ 0 w 8"/>
                <a:gd name="T1" fmla="*/ 1 h 9"/>
                <a:gd name="T2" fmla="*/ 0 w 8"/>
                <a:gd name="T3" fmla="*/ 9 h 9"/>
                <a:gd name="T4" fmla="*/ 8 w 8"/>
                <a:gd name="T5" fmla="*/ 9 h 9"/>
                <a:gd name="T6" fmla="*/ 0 w 8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5" y="9"/>
                    <a:pt x="8" y="9"/>
                  </a:cubicBezTo>
                  <a:cubicBezTo>
                    <a:pt x="8" y="2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4" name="Freeform 116"/>
            <p:cNvSpPr>
              <a:spLocks/>
            </p:cNvSpPr>
            <p:nvPr userDrawn="1"/>
          </p:nvSpPr>
          <p:spPr bwMode="auto">
            <a:xfrm>
              <a:off x="3135313" y="4737718"/>
              <a:ext cx="51059" cy="57777"/>
            </a:xfrm>
            <a:custGeom>
              <a:avLst/>
              <a:gdLst>
                <a:gd name="T0" fmla="*/ 0 w 16"/>
                <a:gd name="T1" fmla="*/ 8 h 18"/>
                <a:gd name="T2" fmla="*/ 13 w 16"/>
                <a:gd name="T3" fmla="*/ 16 h 18"/>
                <a:gd name="T4" fmla="*/ 16 w 16"/>
                <a:gd name="T5" fmla="*/ 5 h 18"/>
                <a:gd name="T6" fmla="*/ 0 w 16"/>
                <a:gd name="T7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8">
                  <a:moveTo>
                    <a:pt x="0" y="8"/>
                  </a:moveTo>
                  <a:cubicBezTo>
                    <a:pt x="8" y="6"/>
                    <a:pt x="5" y="18"/>
                    <a:pt x="13" y="16"/>
                  </a:cubicBezTo>
                  <a:cubicBezTo>
                    <a:pt x="13" y="11"/>
                    <a:pt x="14" y="8"/>
                    <a:pt x="16" y="5"/>
                  </a:cubicBezTo>
                  <a:cubicBezTo>
                    <a:pt x="11" y="7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5" name="Freeform 117"/>
            <p:cNvSpPr>
              <a:spLocks/>
            </p:cNvSpPr>
            <p:nvPr userDrawn="1"/>
          </p:nvSpPr>
          <p:spPr bwMode="auto">
            <a:xfrm>
              <a:off x="3379858" y="4776684"/>
              <a:ext cx="47028" cy="65839"/>
            </a:xfrm>
            <a:custGeom>
              <a:avLst/>
              <a:gdLst>
                <a:gd name="T0" fmla="*/ 3 w 15"/>
                <a:gd name="T1" fmla="*/ 0 h 21"/>
                <a:gd name="T2" fmla="*/ 3 w 15"/>
                <a:gd name="T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1">
                  <a:moveTo>
                    <a:pt x="3" y="0"/>
                  </a:moveTo>
                  <a:cubicBezTo>
                    <a:pt x="0" y="21"/>
                    <a:pt x="15" y="2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6" name="Freeform 118"/>
            <p:cNvSpPr>
              <a:spLocks/>
            </p:cNvSpPr>
            <p:nvPr userDrawn="1"/>
          </p:nvSpPr>
          <p:spPr bwMode="auto">
            <a:xfrm>
              <a:off x="3452415" y="4798182"/>
              <a:ext cx="32248" cy="79275"/>
            </a:xfrm>
            <a:custGeom>
              <a:avLst/>
              <a:gdLst>
                <a:gd name="T0" fmla="*/ 5 w 10"/>
                <a:gd name="T1" fmla="*/ 0 h 25"/>
                <a:gd name="T2" fmla="*/ 2 w 10"/>
                <a:gd name="T3" fmla="*/ 19 h 25"/>
                <a:gd name="T4" fmla="*/ 5 w 10"/>
                <a:gd name="T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5">
                  <a:moveTo>
                    <a:pt x="5" y="0"/>
                  </a:moveTo>
                  <a:cubicBezTo>
                    <a:pt x="6" y="9"/>
                    <a:pt x="0" y="8"/>
                    <a:pt x="2" y="19"/>
                  </a:cubicBezTo>
                  <a:cubicBezTo>
                    <a:pt x="10" y="25"/>
                    <a:pt x="9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7" name="Freeform 119"/>
            <p:cNvSpPr>
              <a:spLocks/>
            </p:cNvSpPr>
            <p:nvPr userDrawn="1"/>
          </p:nvSpPr>
          <p:spPr bwMode="auto">
            <a:xfrm>
              <a:off x="3357016" y="4807588"/>
              <a:ext cx="104805" cy="69870"/>
            </a:xfrm>
            <a:custGeom>
              <a:avLst/>
              <a:gdLst>
                <a:gd name="T0" fmla="*/ 2 w 33"/>
                <a:gd name="T1" fmla="*/ 5 h 22"/>
                <a:gd name="T2" fmla="*/ 16 w 33"/>
                <a:gd name="T3" fmla="*/ 12 h 22"/>
                <a:gd name="T4" fmla="*/ 24 w 33"/>
                <a:gd name="T5" fmla="*/ 20 h 22"/>
                <a:gd name="T6" fmla="*/ 2 w 33"/>
                <a:gd name="T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22">
                  <a:moveTo>
                    <a:pt x="2" y="5"/>
                  </a:moveTo>
                  <a:cubicBezTo>
                    <a:pt x="0" y="17"/>
                    <a:pt x="11" y="10"/>
                    <a:pt x="16" y="12"/>
                  </a:cubicBezTo>
                  <a:cubicBezTo>
                    <a:pt x="18" y="13"/>
                    <a:pt x="18" y="22"/>
                    <a:pt x="24" y="20"/>
                  </a:cubicBezTo>
                  <a:cubicBezTo>
                    <a:pt x="33" y="6"/>
                    <a:pt x="7" y="0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8" name="Freeform 120"/>
            <p:cNvSpPr>
              <a:spLocks/>
            </p:cNvSpPr>
            <p:nvPr userDrawn="1"/>
          </p:nvSpPr>
          <p:spPr bwMode="auto">
            <a:xfrm>
              <a:off x="3484663" y="4802213"/>
              <a:ext cx="84650" cy="107492"/>
            </a:xfrm>
            <a:custGeom>
              <a:avLst/>
              <a:gdLst>
                <a:gd name="T0" fmla="*/ 16 w 27"/>
                <a:gd name="T1" fmla="*/ 14 h 34"/>
                <a:gd name="T2" fmla="*/ 21 w 27"/>
                <a:gd name="T3" fmla="*/ 3 h 34"/>
                <a:gd name="T4" fmla="*/ 11 w 27"/>
                <a:gd name="T5" fmla="*/ 18 h 34"/>
                <a:gd name="T6" fmla="*/ 5 w 27"/>
                <a:gd name="T7" fmla="*/ 22 h 34"/>
                <a:gd name="T8" fmla="*/ 21 w 27"/>
                <a:gd name="T9" fmla="*/ 22 h 34"/>
                <a:gd name="T10" fmla="*/ 27 w 27"/>
                <a:gd name="T11" fmla="*/ 33 h 34"/>
                <a:gd name="T12" fmla="*/ 27 w 27"/>
                <a:gd name="T13" fmla="*/ 18 h 34"/>
                <a:gd name="T14" fmla="*/ 16 w 27"/>
                <a:gd name="T15" fmla="*/ 1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34">
                  <a:moveTo>
                    <a:pt x="16" y="14"/>
                  </a:moveTo>
                  <a:cubicBezTo>
                    <a:pt x="21" y="15"/>
                    <a:pt x="22" y="10"/>
                    <a:pt x="21" y="3"/>
                  </a:cubicBezTo>
                  <a:cubicBezTo>
                    <a:pt x="12" y="0"/>
                    <a:pt x="17" y="17"/>
                    <a:pt x="11" y="18"/>
                  </a:cubicBezTo>
                  <a:cubicBezTo>
                    <a:pt x="7" y="18"/>
                    <a:pt x="0" y="19"/>
                    <a:pt x="5" y="22"/>
                  </a:cubicBezTo>
                  <a:cubicBezTo>
                    <a:pt x="14" y="20"/>
                    <a:pt x="16" y="30"/>
                    <a:pt x="21" y="22"/>
                  </a:cubicBezTo>
                  <a:cubicBezTo>
                    <a:pt x="22" y="27"/>
                    <a:pt x="21" y="34"/>
                    <a:pt x="27" y="33"/>
                  </a:cubicBezTo>
                  <a:cubicBezTo>
                    <a:pt x="27" y="28"/>
                    <a:pt x="27" y="23"/>
                    <a:pt x="27" y="18"/>
                  </a:cubicBezTo>
                  <a:cubicBezTo>
                    <a:pt x="23" y="9"/>
                    <a:pt x="19" y="25"/>
                    <a:pt x="1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9" name="Freeform 121"/>
            <p:cNvSpPr>
              <a:spLocks/>
            </p:cNvSpPr>
            <p:nvPr userDrawn="1"/>
          </p:nvSpPr>
          <p:spPr bwMode="auto">
            <a:xfrm>
              <a:off x="3585437" y="4823711"/>
              <a:ext cx="34935" cy="53746"/>
            </a:xfrm>
            <a:custGeom>
              <a:avLst/>
              <a:gdLst>
                <a:gd name="T0" fmla="*/ 0 w 11"/>
                <a:gd name="T1" fmla="*/ 0 h 17"/>
                <a:gd name="T2" fmla="*/ 3 w 11"/>
                <a:gd name="T3" fmla="*/ 7 h 17"/>
                <a:gd name="T4" fmla="*/ 11 w 11"/>
                <a:gd name="T5" fmla="*/ 15 h 17"/>
                <a:gd name="T6" fmla="*/ 0 w 11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7">
                  <a:moveTo>
                    <a:pt x="0" y="0"/>
                  </a:moveTo>
                  <a:cubicBezTo>
                    <a:pt x="1" y="3"/>
                    <a:pt x="0" y="7"/>
                    <a:pt x="3" y="7"/>
                  </a:cubicBezTo>
                  <a:cubicBezTo>
                    <a:pt x="7" y="7"/>
                    <a:pt x="5" y="17"/>
                    <a:pt x="11" y="15"/>
                  </a:cubicBezTo>
                  <a:cubicBezTo>
                    <a:pt x="11" y="5"/>
                    <a:pt x="7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0" name="Freeform 122"/>
            <p:cNvSpPr>
              <a:spLocks/>
            </p:cNvSpPr>
            <p:nvPr userDrawn="1"/>
          </p:nvSpPr>
          <p:spPr bwMode="auto">
            <a:xfrm>
              <a:off x="3569313" y="4849241"/>
              <a:ext cx="41653" cy="57777"/>
            </a:xfrm>
            <a:custGeom>
              <a:avLst/>
              <a:gdLst>
                <a:gd name="T0" fmla="*/ 2 w 13"/>
                <a:gd name="T1" fmla="*/ 3 h 18"/>
                <a:gd name="T2" fmla="*/ 13 w 13"/>
                <a:gd name="T3" fmla="*/ 10 h 18"/>
                <a:gd name="T4" fmla="*/ 2 w 13"/>
                <a:gd name="T5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2" y="3"/>
                  </a:moveTo>
                  <a:cubicBezTo>
                    <a:pt x="0" y="11"/>
                    <a:pt x="12" y="18"/>
                    <a:pt x="13" y="10"/>
                  </a:cubicBezTo>
                  <a:cubicBezTo>
                    <a:pt x="8" y="10"/>
                    <a:pt x="10" y="0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1" name="Freeform 123"/>
            <p:cNvSpPr>
              <a:spLocks/>
            </p:cNvSpPr>
            <p:nvPr userDrawn="1"/>
          </p:nvSpPr>
          <p:spPr bwMode="auto">
            <a:xfrm>
              <a:off x="3692929" y="4881488"/>
              <a:ext cx="22842" cy="47028"/>
            </a:xfrm>
            <a:custGeom>
              <a:avLst/>
              <a:gdLst>
                <a:gd name="T0" fmla="*/ 1 w 7"/>
                <a:gd name="T1" fmla="*/ 0 h 15"/>
                <a:gd name="T2" fmla="*/ 4 w 7"/>
                <a:gd name="T3" fmla="*/ 15 h 15"/>
                <a:gd name="T4" fmla="*/ 1 w 7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5">
                  <a:moveTo>
                    <a:pt x="1" y="0"/>
                  </a:moveTo>
                  <a:cubicBezTo>
                    <a:pt x="2" y="6"/>
                    <a:pt x="0" y="14"/>
                    <a:pt x="4" y="15"/>
                  </a:cubicBezTo>
                  <a:cubicBezTo>
                    <a:pt x="7" y="10"/>
                    <a:pt x="7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2" name="Freeform 124"/>
            <p:cNvSpPr>
              <a:spLocks/>
            </p:cNvSpPr>
            <p:nvPr userDrawn="1"/>
          </p:nvSpPr>
          <p:spPr bwMode="auto">
            <a:xfrm>
              <a:off x="6318424" y="5769642"/>
              <a:ext cx="16124" cy="37622"/>
            </a:xfrm>
            <a:custGeom>
              <a:avLst/>
              <a:gdLst>
                <a:gd name="T0" fmla="*/ 0 w 5"/>
                <a:gd name="T1" fmla="*/ 1 h 12"/>
                <a:gd name="T2" fmla="*/ 0 w 5"/>
                <a:gd name="T3" fmla="*/ 9 h 12"/>
                <a:gd name="T4" fmla="*/ 5 w 5"/>
                <a:gd name="T5" fmla="*/ 12 h 12"/>
                <a:gd name="T6" fmla="*/ 0 w 5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2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3" y="12"/>
                    <a:pt x="5" y="12"/>
                  </a:cubicBezTo>
                  <a:cubicBezTo>
                    <a:pt x="5" y="7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3" name="Freeform 125"/>
            <p:cNvSpPr>
              <a:spLocks/>
            </p:cNvSpPr>
            <p:nvPr userDrawn="1"/>
          </p:nvSpPr>
          <p:spPr bwMode="auto">
            <a:xfrm>
              <a:off x="6753768" y="5832794"/>
              <a:ext cx="47028" cy="69870"/>
            </a:xfrm>
            <a:custGeom>
              <a:avLst/>
              <a:gdLst>
                <a:gd name="T0" fmla="*/ 2 w 15"/>
                <a:gd name="T1" fmla="*/ 0 h 22"/>
                <a:gd name="T2" fmla="*/ 2 w 15"/>
                <a:gd name="T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2">
                  <a:moveTo>
                    <a:pt x="2" y="0"/>
                  </a:moveTo>
                  <a:cubicBezTo>
                    <a:pt x="0" y="22"/>
                    <a:pt x="15" y="2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4" name="Freeform 126"/>
            <p:cNvSpPr>
              <a:spLocks/>
            </p:cNvSpPr>
            <p:nvPr userDrawn="1"/>
          </p:nvSpPr>
          <p:spPr bwMode="auto">
            <a:xfrm>
              <a:off x="7911995" y="5820701"/>
              <a:ext cx="47028" cy="126303"/>
            </a:xfrm>
            <a:custGeom>
              <a:avLst/>
              <a:gdLst>
                <a:gd name="T0" fmla="*/ 0 w 15"/>
                <a:gd name="T1" fmla="*/ 30 h 40"/>
                <a:gd name="T2" fmla="*/ 11 w 15"/>
                <a:gd name="T3" fmla="*/ 37 h 40"/>
                <a:gd name="T4" fmla="*/ 6 w 15"/>
                <a:gd name="T5" fmla="*/ 26 h 40"/>
                <a:gd name="T6" fmla="*/ 8 w 15"/>
                <a:gd name="T7" fmla="*/ 15 h 40"/>
                <a:gd name="T8" fmla="*/ 14 w 15"/>
                <a:gd name="T9" fmla="*/ 11 h 40"/>
                <a:gd name="T10" fmla="*/ 0 w 15"/>
                <a:gd name="T11" fmla="*/ 3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40">
                  <a:moveTo>
                    <a:pt x="0" y="30"/>
                  </a:moveTo>
                  <a:cubicBezTo>
                    <a:pt x="6" y="30"/>
                    <a:pt x="4" y="40"/>
                    <a:pt x="11" y="37"/>
                  </a:cubicBezTo>
                  <a:cubicBezTo>
                    <a:pt x="12" y="30"/>
                    <a:pt x="8" y="30"/>
                    <a:pt x="6" y="26"/>
                  </a:cubicBezTo>
                  <a:cubicBezTo>
                    <a:pt x="10" y="27"/>
                    <a:pt x="7" y="18"/>
                    <a:pt x="8" y="15"/>
                  </a:cubicBezTo>
                  <a:cubicBezTo>
                    <a:pt x="10" y="13"/>
                    <a:pt x="15" y="16"/>
                    <a:pt x="14" y="11"/>
                  </a:cubicBezTo>
                  <a:cubicBezTo>
                    <a:pt x="5" y="0"/>
                    <a:pt x="2" y="19"/>
                    <a:pt x="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5" name="Freeform 127"/>
            <p:cNvSpPr>
              <a:spLocks/>
            </p:cNvSpPr>
            <p:nvPr userDrawn="1"/>
          </p:nvSpPr>
          <p:spPr bwMode="auto">
            <a:xfrm>
              <a:off x="6912318" y="5846230"/>
              <a:ext cx="40310" cy="34935"/>
            </a:xfrm>
            <a:custGeom>
              <a:avLst/>
              <a:gdLst>
                <a:gd name="T0" fmla="*/ 1 w 13"/>
                <a:gd name="T1" fmla="*/ 7 h 11"/>
                <a:gd name="T2" fmla="*/ 3 w 13"/>
                <a:gd name="T3" fmla="*/ 11 h 11"/>
                <a:gd name="T4" fmla="*/ 9 w 13"/>
                <a:gd name="T5" fmla="*/ 11 h 11"/>
                <a:gd name="T6" fmla="*/ 1 w 13"/>
                <a:gd name="T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1" y="7"/>
                  </a:moveTo>
                  <a:cubicBezTo>
                    <a:pt x="2" y="7"/>
                    <a:pt x="4" y="7"/>
                    <a:pt x="3" y="11"/>
                  </a:cubicBezTo>
                  <a:cubicBezTo>
                    <a:pt x="5" y="11"/>
                    <a:pt x="7" y="11"/>
                    <a:pt x="9" y="11"/>
                  </a:cubicBezTo>
                  <a:cubicBezTo>
                    <a:pt x="13" y="2"/>
                    <a:pt x="0" y="0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6" name="Freeform 128"/>
            <p:cNvSpPr>
              <a:spLocks/>
            </p:cNvSpPr>
            <p:nvPr userDrawn="1"/>
          </p:nvSpPr>
          <p:spPr bwMode="auto">
            <a:xfrm>
              <a:off x="7280479" y="5839512"/>
              <a:ext cx="56433" cy="67183"/>
            </a:xfrm>
            <a:custGeom>
              <a:avLst/>
              <a:gdLst>
                <a:gd name="T0" fmla="*/ 0 w 18"/>
                <a:gd name="T1" fmla="*/ 13 h 21"/>
                <a:gd name="T2" fmla="*/ 14 w 18"/>
                <a:gd name="T3" fmla="*/ 20 h 21"/>
                <a:gd name="T4" fmla="*/ 0 w 18"/>
                <a:gd name="T5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cubicBezTo>
                    <a:pt x="6" y="14"/>
                    <a:pt x="7" y="21"/>
                    <a:pt x="14" y="20"/>
                  </a:cubicBezTo>
                  <a:cubicBezTo>
                    <a:pt x="18" y="4"/>
                    <a:pt x="2" y="0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7" name="Freeform 129"/>
            <p:cNvSpPr>
              <a:spLocks/>
            </p:cNvSpPr>
            <p:nvPr userDrawn="1"/>
          </p:nvSpPr>
          <p:spPr bwMode="auto">
            <a:xfrm>
              <a:off x="7365129" y="5855636"/>
              <a:ext cx="41653" cy="34935"/>
            </a:xfrm>
            <a:custGeom>
              <a:avLst/>
              <a:gdLst>
                <a:gd name="T0" fmla="*/ 0 w 13"/>
                <a:gd name="T1" fmla="*/ 8 h 11"/>
                <a:gd name="T2" fmla="*/ 6 w 13"/>
                <a:gd name="T3" fmla="*/ 11 h 11"/>
                <a:gd name="T4" fmla="*/ 0 w 13"/>
                <a:gd name="T5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8"/>
                  </a:moveTo>
                  <a:cubicBezTo>
                    <a:pt x="3" y="8"/>
                    <a:pt x="4" y="11"/>
                    <a:pt x="6" y="11"/>
                  </a:cubicBezTo>
                  <a:cubicBezTo>
                    <a:pt x="13" y="4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8" name="Freeform 130"/>
            <p:cNvSpPr>
              <a:spLocks/>
            </p:cNvSpPr>
            <p:nvPr userDrawn="1"/>
          </p:nvSpPr>
          <p:spPr bwMode="auto">
            <a:xfrm>
              <a:off x="8921078" y="1980544"/>
              <a:ext cx="72557" cy="142427"/>
            </a:xfrm>
            <a:custGeom>
              <a:avLst/>
              <a:gdLst>
                <a:gd name="T0" fmla="*/ 21 w 23"/>
                <a:gd name="T1" fmla="*/ 30 h 45"/>
                <a:gd name="T2" fmla="*/ 16 w 23"/>
                <a:gd name="T3" fmla="*/ 8 h 45"/>
                <a:gd name="T4" fmla="*/ 2 w 23"/>
                <a:gd name="T5" fmla="*/ 4 h 45"/>
                <a:gd name="T6" fmla="*/ 13 w 23"/>
                <a:gd name="T7" fmla="*/ 19 h 45"/>
                <a:gd name="T8" fmla="*/ 13 w 23"/>
                <a:gd name="T9" fmla="*/ 30 h 45"/>
                <a:gd name="T10" fmla="*/ 5 w 23"/>
                <a:gd name="T11" fmla="*/ 23 h 45"/>
                <a:gd name="T12" fmla="*/ 16 w 23"/>
                <a:gd name="T13" fmla="*/ 45 h 45"/>
                <a:gd name="T14" fmla="*/ 21 w 23"/>
                <a:gd name="T15" fmla="*/ 3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45">
                  <a:moveTo>
                    <a:pt x="21" y="30"/>
                  </a:moveTo>
                  <a:cubicBezTo>
                    <a:pt x="23" y="21"/>
                    <a:pt x="18" y="10"/>
                    <a:pt x="16" y="8"/>
                  </a:cubicBezTo>
                  <a:cubicBezTo>
                    <a:pt x="12" y="20"/>
                    <a:pt x="9" y="0"/>
                    <a:pt x="2" y="4"/>
                  </a:cubicBezTo>
                  <a:cubicBezTo>
                    <a:pt x="0" y="17"/>
                    <a:pt x="12" y="11"/>
                    <a:pt x="13" y="19"/>
                  </a:cubicBezTo>
                  <a:cubicBezTo>
                    <a:pt x="14" y="24"/>
                    <a:pt x="18" y="28"/>
                    <a:pt x="13" y="30"/>
                  </a:cubicBezTo>
                  <a:cubicBezTo>
                    <a:pt x="9" y="30"/>
                    <a:pt x="11" y="21"/>
                    <a:pt x="5" y="23"/>
                  </a:cubicBezTo>
                  <a:cubicBezTo>
                    <a:pt x="6" y="35"/>
                    <a:pt x="7" y="45"/>
                    <a:pt x="16" y="45"/>
                  </a:cubicBezTo>
                  <a:cubicBezTo>
                    <a:pt x="11" y="36"/>
                    <a:pt x="22" y="26"/>
                    <a:pt x="2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9" name="Freeform 131"/>
            <p:cNvSpPr>
              <a:spLocks/>
            </p:cNvSpPr>
            <p:nvPr userDrawn="1"/>
          </p:nvSpPr>
          <p:spPr bwMode="auto">
            <a:xfrm>
              <a:off x="2601884" y="2917069"/>
              <a:ext cx="72557" cy="154520"/>
            </a:xfrm>
            <a:custGeom>
              <a:avLst/>
              <a:gdLst>
                <a:gd name="T0" fmla="*/ 17 w 23"/>
                <a:gd name="T1" fmla="*/ 31 h 49"/>
                <a:gd name="T2" fmla="*/ 12 w 23"/>
                <a:gd name="T3" fmla="*/ 46 h 49"/>
                <a:gd name="T4" fmla="*/ 17 w 23"/>
                <a:gd name="T5" fmla="*/ 35 h 49"/>
                <a:gd name="T6" fmla="*/ 22 w 23"/>
                <a:gd name="T7" fmla="*/ 28 h 49"/>
                <a:gd name="T8" fmla="*/ 17 w 23"/>
                <a:gd name="T9" fmla="*/ 16 h 49"/>
                <a:gd name="T10" fmla="*/ 12 w 23"/>
                <a:gd name="T11" fmla="*/ 2 h 49"/>
                <a:gd name="T12" fmla="*/ 4 w 23"/>
                <a:gd name="T13" fmla="*/ 9 h 49"/>
                <a:gd name="T14" fmla="*/ 1 w 23"/>
                <a:gd name="T15" fmla="*/ 13 h 49"/>
                <a:gd name="T16" fmla="*/ 9 w 23"/>
                <a:gd name="T17" fmla="*/ 20 h 49"/>
                <a:gd name="T18" fmla="*/ 1 w 23"/>
                <a:gd name="T19" fmla="*/ 20 h 49"/>
                <a:gd name="T20" fmla="*/ 6 w 23"/>
                <a:gd name="T21" fmla="*/ 28 h 49"/>
                <a:gd name="T22" fmla="*/ 17 w 23"/>
                <a:gd name="T23" fmla="*/ 3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9">
                  <a:moveTo>
                    <a:pt x="17" y="31"/>
                  </a:moveTo>
                  <a:cubicBezTo>
                    <a:pt x="13" y="34"/>
                    <a:pt x="12" y="39"/>
                    <a:pt x="12" y="46"/>
                  </a:cubicBezTo>
                  <a:cubicBezTo>
                    <a:pt x="19" y="49"/>
                    <a:pt x="15" y="40"/>
                    <a:pt x="17" y="35"/>
                  </a:cubicBezTo>
                  <a:cubicBezTo>
                    <a:pt x="18" y="32"/>
                    <a:pt x="23" y="32"/>
                    <a:pt x="22" y="28"/>
                  </a:cubicBezTo>
                  <a:cubicBezTo>
                    <a:pt x="15" y="29"/>
                    <a:pt x="19" y="22"/>
                    <a:pt x="17" y="16"/>
                  </a:cubicBezTo>
                  <a:cubicBezTo>
                    <a:pt x="16" y="13"/>
                    <a:pt x="7" y="9"/>
                    <a:pt x="12" y="2"/>
                  </a:cubicBezTo>
                  <a:cubicBezTo>
                    <a:pt x="6" y="0"/>
                    <a:pt x="6" y="7"/>
                    <a:pt x="4" y="9"/>
                  </a:cubicBezTo>
                  <a:cubicBezTo>
                    <a:pt x="2" y="9"/>
                    <a:pt x="0" y="10"/>
                    <a:pt x="1" y="13"/>
                  </a:cubicBezTo>
                  <a:cubicBezTo>
                    <a:pt x="5" y="13"/>
                    <a:pt x="10" y="12"/>
                    <a:pt x="9" y="20"/>
                  </a:cubicBezTo>
                  <a:cubicBezTo>
                    <a:pt x="6" y="20"/>
                    <a:pt x="3" y="14"/>
                    <a:pt x="1" y="20"/>
                  </a:cubicBezTo>
                  <a:cubicBezTo>
                    <a:pt x="4" y="21"/>
                    <a:pt x="5" y="24"/>
                    <a:pt x="6" y="28"/>
                  </a:cubicBezTo>
                  <a:cubicBezTo>
                    <a:pt x="13" y="27"/>
                    <a:pt x="15" y="21"/>
                    <a:pt x="1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0" name="Freeform 132"/>
            <p:cNvSpPr>
              <a:spLocks/>
            </p:cNvSpPr>
            <p:nvPr userDrawn="1"/>
          </p:nvSpPr>
          <p:spPr bwMode="auto">
            <a:xfrm>
              <a:off x="4563615" y="1735999"/>
              <a:ext cx="37622" cy="47028"/>
            </a:xfrm>
            <a:custGeom>
              <a:avLst/>
              <a:gdLst>
                <a:gd name="T0" fmla="*/ 12 w 12"/>
                <a:gd name="T1" fmla="*/ 0 h 15"/>
                <a:gd name="T2" fmla="*/ 1 w 12"/>
                <a:gd name="T3" fmla="*/ 4 h 15"/>
                <a:gd name="T4" fmla="*/ 12 w 1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12" y="0"/>
                  </a:moveTo>
                  <a:cubicBezTo>
                    <a:pt x="7" y="3"/>
                    <a:pt x="0" y="1"/>
                    <a:pt x="1" y="4"/>
                  </a:cubicBezTo>
                  <a:cubicBezTo>
                    <a:pt x="3" y="6"/>
                    <a:pt x="12" y="15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1" name="Freeform 133"/>
            <p:cNvSpPr>
              <a:spLocks/>
            </p:cNvSpPr>
            <p:nvPr userDrawn="1"/>
          </p:nvSpPr>
          <p:spPr bwMode="auto">
            <a:xfrm>
              <a:off x="7891841" y="1729281"/>
              <a:ext cx="99430" cy="76588"/>
            </a:xfrm>
            <a:custGeom>
              <a:avLst/>
              <a:gdLst>
                <a:gd name="T0" fmla="*/ 28 w 31"/>
                <a:gd name="T1" fmla="*/ 17 h 24"/>
                <a:gd name="T2" fmla="*/ 28 w 31"/>
                <a:gd name="T3" fmla="*/ 2 h 24"/>
                <a:gd name="T4" fmla="*/ 20 w 31"/>
                <a:gd name="T5" fmla="*/ 13 h 24"/>
                <a:gd name="T6" fmla="*/ 12 w 31"/>
                <a:gd name="T7" fmla="*/ 2 h 24"/>
                <a:gd name="T8" fmla="*/ 1 w 31"/>
                <a:gd name="T9" fmla="*/ 6 h 24"/>
                <a:gd name="T10" fmla="*/ 4 w 31"/>
                <a:gd name="T11" fmla="*/ 21 h 24"/>
                <a:gd name="T12" fmla="*/ 28 w 31"/>
                <a:gd name="T13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4">
                  <a:moveTo>
                    <a:pt x="28" y="17"/>
                  </a:moveTo>
                  <a:cubicBezTo>
                    <a:pt x="28" y="12"/>
                    <a:pt x="28" y="7"/>
                    <a:pt x="28" y="2"/>
                  </a:cubicBezTo>
                  <a:cubicBezTo>
                    <a:pt x="17" y="0"/>
                    <a:pt x="31" y="12"/>
                    <a:pt x="20" y="13"/>
                  </a:cubicBezTo>
                  <a:cubicBezTo>
                    <a:pt x="17" y="10"/>
                    <a:pt x="19" y="0"/>
                    <a:pt x="12" y="2"/>
                  </a:cubicBezTo>
                  <a:cubicBezTo>
                    <a:pt x="12" y="24"/>
                    <a:pt x="11" y="1"/>
                    <a:pt x="1" y="6"/>
                  </a:cubicBezTo>
                  <a:cubicBezTo>
                    <a:pt x="0" y="13"/>
                    <a:pt x="4" y="14"/>
                    <a:pt x="4" y="21"/>
                  </a:cubicBezTo>
                  <a:cubicBezTo>
                    <a:pt x="16" y="17"/>
                    <a:pt x="20" y="11"/>
                    <a:pt x="2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2" name="Freeform 134"/>
            <p:cNvSpPr>
              <a:spLocks/>
            </p:cNvSpPr>
            <p:nvPr userDrawn="1"/>
          </p:nvSpPr>
          <p:spPr bwMode="auto">
            <a:xfrm>
              <a:off x="8168633" y="1726594"/>
              <a:ext cx="104805" cy="110179"/>
            </a:xfrm>
            <a:custGeom>
              <a:avLst/>
              <a:gdLst>
                <a:gd name="T0" fmla="*/ 5 w 33"/>
                <a:gd name="T1" fmla="*/ 18 h 35"/>
                <a:gd name="T2" fmla="*/ 32 w 33"/>
                <a:gd name="T3" fmla="*/ 10 h 35"/>
                <a:gd name="T4" fmla="*/ 24 w 33"/>
                <a:gd name="T5" fmla="*/ 18 h 35"/>
                <a:gd name="T6" fmla="*/ 0 w 33"/>
                <a:gd name="T7" fmla="*/ 7 h 35"/>
                <a:gd name="T8" fmla="*/ 5 w 33"/>
                <a:gd name="T9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5">
                  <a:moveTo>
                    <a:pt x="5" y="18"/>
                  </a:moveTo>
                  <a:cubicBezTo>
                    <a:pt x="10" y="7"/>
                    <a:pt x="33" y="35"/>
                    <a:pt x="32" y="10"/>
                  </a:cubicBezTo>
                  <a:cubicBezTo>
                    <a:pt x="27" y="9"/>
                    <a:pt x="27" y="15"/>
                    <a:pt x="24" y="18"/>
                  </a:cubicBezTo>
                  <a:cubicBezTo>
                    <a:pt x="17" y="9"/>
                    <a:pt x="4" y="0"/>
                    <a:pt x="0" y="7"/>
                  </a:cubicBezTo>
                  <a:cubicBezTo>
                    <a:pt x="5" y="7"/>
                    <a:pt x="2" y="17"/>
                    <a:pt x="5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3" name="Freeform 135"/>
            <p:cNvSpPr>
              <a:spLocks/>
            </p:cNvSpPr>
            <p:nvPr userDrawn="1"/>
          </p:nvSpPr>
          <p:spPr bwMode="auto">
            <a:xfrm>
              <a:off x="4878030" y="1748092"/>
              <a:ext cx="79275" cy="48371"/>
            </a:xfrm>
            <a:custGeom>
              <a:avLst/>
              <a:gdLst>
                <a:gd name="T0" fmla="*/ 18 w 25"/>
                <a:gd name="T1" fmla="*/ 3 h 15"/>
                <a:gd name="T2" fmla="*/ 5 w 25"/>
                <a:gd name="T3" fmla="*/ 0 h 15"/>
                <a:gd name="T4" fmla="*/ 13 w 25"/>
                <a:gd name="T5" fmla="*/ 11 h 15"/>
                <a:gd name="T6" fmla="*/ 18 w 25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5">
                  <a:moveTo>
                    <a:pt x="18" y="3"/>
                  </a:moveTo>
                  <a:cubicBezTo>
                    <a:pt x="16" y="14"/>
                    <a:pt x="9" y="0"/>
                    <a:pt x="5" y="0"/>
                  </a:cubicBezTo>
                  <a:cubicBezTo>
                    <a:pt x="0" y="13"/>
                    <a:pt x="14" y="2"/>
                    <a:pt x="13" y="11"/>
                  </a:cubicBezTo>
                  <a:cubicBezTo>
                    <a:pt x="18" y="15"/>
                    <a:pt x="25" y="5"/>
                    <a:pt x="1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4" name="Freeform 136"/>
            <p:cNvSpPr>
              <a:spLocks/>
            </p:cNvSpPr>
            <p:nvPr userDrawn="1"/>
          </p:nvSpPr>
          <p:spPr bwMode="auto">
            <a:xfrm>
              <a:off x="4804129" y="1773622"/>
              <a:ext cx="146458" cy="73901"/>
            </a:xfrm>
            <a:custGeom>
              <a:avLst/>
              <a:gdLst>
                <a:gd name="T0" fmla="*/ 3 w 46"/>
                <a:gd name="T1" fmla="*/ 18 h 23"/>
                <a:gd name="T2" fmla="*/ 14 w 46"/>
                <a:gd name="T3" fmla="*/ 18 h 23"/>
                <a:gd name="T4" fmla="*/ 33 w 46"/>
                <a:gd name="T5" fmla="*/ 15 h 23"/>
                <a:gd name="T6" fmla="*/ 33 w 46"/>
                <a:gd name="T7" fmla="*/ 14 h 23"/>
                <a:gd name="T8" fmla="*/ 33 w 46"/>
                <a:gd name="T9" fmla="*/ 15 h 23"/>
                <a:gd name="T10" fmla="*/ 44 w 46"/>
                <a:gd name="T11" fmla="*/ 14 h 23"/>
                <a:gd name="T12" fmla="*/ 36 w 46"/>
                <a:gd name="T13" fmla="*/ 3 h 23"/>
                <a:gd name="T14" fmla="*/ 3 w 46"/>
                <a:gd name="T15" fmla="*/ 7 h 23"/>
                <a:gd name="T16" fmla="*/ 3 w 46"/>
                <a:gd name="T17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23">
                  <a:moveTo>
                    <a:pt x="3" y="18"/>
                  </a:moveTo>
                  <a:cubicBezTo>
                    <a:pt x="11" y="16"/>
                    <a:pt x="11" y="13"/>
                    <a:pt x="14" y="18"/>
                  </a:cubicBezTo>
                  <a:cubicBezTo>
                    <a:pt x="17" y="23"/>
                    <a:pt x="30" y="17"/>
                    <a:pt x="33" y="15"/>
                  </a:cubicBezTo>
                  <a:cubicBezTo>
                    <a:pt x="32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5"/>
                  </a:cubicBezTo>
                  <a:cubicBezTo>
                    <a:pt x="34" y="17"/>
                    <a:pt x="46" y="22"/>
                    <a:pt x="44" y="14"/>
                  </a:cubicBezTo>
                  <a:cubicBezTo>
                    <a:pt x="41" y="10"/>
                    <a:pt x="34" y="13"/>
                    <a:pt x="36" y="3"/>
                  </a:cubicBezTo>
                  <a:cubicBezTo>
                    <a:pt x="29" y="14"/>
                    <a:pt x="7" y="0"/>
                    <a:pt x="3" y="7"/>
                  </a:cubicBezTo>
                  <a:cubicBezTo>
                    <a:pt x="16" y="8"/>
                    <a:pt x="0" y="8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5" name="Freeform 137"/>
            <p:cNvSpPr>
              <a:spLocks/>
            </p:cNvSpPr>
            <p:nvPr userDrawn="1"/>
          </p:nvSpPr>
          <p:spPr bwMode="auto">
            <a:xfrm>
              <a:off x="4953274" y="1726594"/>
              <a:ext cx="486402" cy="151833"/>
            </a:xfrm>
            <a:custGeom>
              <a:avLst/>
              <a:gdLst>
                <a:gd name="T0" fmla="*/ 7 w 153"/>
                <a:gd name="T1" fmla="*/ 25 h 48"/>
                <a:gd name="T2" fmla="*/ 13 w 153"/>
                <a:gd name="T3" fmla="*/ 22 h 48"/>
                <a:gd name="T4" fmla="*/ 32 w 153"/>
                <a:gd name="T5" fmla="*/ 29 h 48"/>
                <a:gd name="T6" fmla="*/ 37 w 153"/>
                <a:gd name="T7" fmla="*/ 33 h 48"/>
                <a:gd name="T8" fmla="*/ 37 w 153"/>
                <a:gd name="T9" fmla="*/ 36 h 48"/>
                <a:gd name="T10" fmla="*/ 69 w 153"/>
                <a:gd name="T11" fmla="*/ 40 h 48"/>
                <a:gd name="T12" fmla="*/ 94 w 153"/>
                <a:gd name="T13" fmla="*/ 40 h 48"/>
                <a:gd name="T14" fmla="*/ 104 w 153"/>
                <a:gd name="T15" fmla="*/ 36 h 48"/>
                <a:gd name="T16" fmla="*/ 115 w 153"/>
                <a:gd name="T17" fmla="*/ 36 h 48"/>
                <a:gd name="T18" fmla="*/ 115 w 153"/>
                <a:gd name="T19" fmla="*/ 33 h 48"/>
                <a:gd name="T20" fmla="*/ 123 w 153"/>
                <a:gd name="T21" fmla="*/ 36 h 48"/>
                <a:gd name="T22" fmla="*/ 115 w 153"/>
                <a:gd name="T23" fmla="*/ 40 h 48"/>
                <a:gd name="T24" fmla="*/ 131 w 153"/>
                <a:gd name="T25" fmla="*/ 36 h 48"/>
                <a:gd name="T26" fmla="*/ 139 w 153"/>
                <a:gd name="T27" fmla="*/ 40 h 48"/>
                <a:gd name="T28" fmla="*/ 150 w 153"/>
                <a:gd name="T29" fmla="*/ 40 h 48"/>
                <a:gd name="T30" fmla="*/ 153 w 153"/>
                <a:gd name="T31" fmla="*/ 33 h 48"/>
                <a:gd name="T32" fmla="*/ 142 w 153"/>
                <a:gd name="T33" fmla="*/ 33 h 48"/>
                <a:gd name="T34" fmla="*/ 145 w 153"/>
                <a:gd name="T35" fmla="*/ 22 h 48"/>
                <a:gd name="T36" fmla="*/ 126 w 153"/>
                <a:gd name="T37" fmla="*/ 33 h 48"/>
                <a:gd name="T38" fmla="*/ 131 w 153"/>
                <a:gd name="T39" fmla="*/ 18 h 48"/>
                <a:gd name="T40" fmla="*/ 118 w 153"/>
                <a:gd name="T41" fmla="*/ 22 h 48"/>
                <a:gd name="T42" fmla="*/ 118 w 153"/>
                <a:gd name="T43" fmla="*/ 25 h 48"/>
                <a:gd name="T44" fmla="*/ 112 w 153"/>
                <a:gd name="T45" fmla="*/ 18 h 48"/>
                <a:gd name="T46" fmla="*/ 107 w 153"/>
                <a:gd name="T47" fmla="*/ 25 h 48"/>
                <a:gd name="T48" fmla="*/ 104 w 153"/>
                <a:gd name="T49" fmla="*/ 18 h 48"/>
                <a:gd name="T50" fmla="*/ 102 w 153"/>
                <a:gd name="T51" fmla="*/ 25 h 48"/>
                <a:gd name="T52" fmla="*/ 102 w 153"/>
                <a:gd name="T53" fmla="*/ 18 h 48"/>
                <a:gd name="T54" fmla="*/ 88 w 153"/>
                <a:gd name="T55" fmla="*/ 29 h 48"/>
                <a:gd name="T56" fmla="*/ 91 w 153"/>
                <a:gd name="T57" fmla="*/ 10 h 48"/>
                <a:gd name="T58" fmla="*/ 72 w 153"/>
                <a:gd name="T59" fmla="*/ 18 h 48"/>
                <a:gd name="T60" fmla="*/ 75 w 153"/>
                <a:gd name="T61" fmla="*/ 18 h 48"/>
                <a:gd name="T62" fmla="*/ 83 w 153"/>
                <a:gd name="T63" fmla="*/ 14 h 48"/>
                <a:gd name="T64" fmla="*/ 85 w 153"/>
                <a:gd name="T65" fmla="*/ 25 h 48"/>
                <a:gd name="T66" fmla="*/ 32 w 153"/>
                <a:gd name="T67" fmla="*/ 25 h 48"/>
                <a:gd name="T68" fmla="*/ 24 w 153"/>
                <a:gd name="T69" fmla="*/ 18 h 48"/>
                <a:gd name="T70" fmla="*/ 21 w 153"/>
                <a:gd name="T71" fmla="*/ 10 h 48"/>
                <a:gd name="T72" fmla="*/ 13 w 153"/>
                <a:gd name="T73" fmla="*/ 18 h 48"/>
                <a:gd name="T74" fmla="*/ 7 w 153"/>
                <a:gd name="T75" fmla="*/ 2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3" h="48">
                  <a:moveTo>
                    <a:pt x="7" y="25"/>
                  </a:moveTo>
                  <a:cubicBezTo>
                    <a:pt x="8" y="22"/>
                    <a:pt x="10" y="21"/>
                    <a:pt x="13" y="22"/>
                  </a:cubicBezTo>
                  <a:cubicBezTo>
                    <a:pt x="12" y="34"/>
                    <a:pt x="27" y="35"/>
                    <a:pt x="32" y="29"/>
                  </a:cubicBezTo>
                  <a:cubicBezTo>
                    <a:pt x="29" y="39"/>
                    <a:pt x="37" y="33"/>
                    <a:pt x="37" y="33"/>
                  </a:cubicBezTo>
                  <a:cubicBezTo>
                    <a:pt x="37" y="33"/>
                    <a:pt x="37" y="36"/>
                    <a:pt x="37" y="36"/>
                  </a:cubicBezTo>
                  <a:cubicBezTo>
                    <a:pt x="46" y="38"/>
                    <a:pt x="64" y="39"/>
                    <a:pt x="69" y="40"/>
                  </a:cubicBezTo>
                  <a:cubicBezTo>
                    <a:pt x="84" y="43"/>
                    <a:pt x="84" y="41"/>
                    <a:pt x="94" y="40"/>
                  </a:cubicBezTo>
                  <a:cubicBezTo>
                    <a:pt x="99" y="39"/>
                    <a:pt x="101" y="40"/>
                    <a:pt x="104" y="36"/>
                  </a:cubicBezTo>
                  <a:cubicBezTo>
                    <a:pt x="106" y="35"/>
                    <a:pt x="113" y="37"/>
                    <a:pt x="115" y="36"/>
                  </a:cubicBezTo>
                  <a:cubicBezTo>
                    <a:pt x="115" y="36"/>
                    <a:pt x="115" y="33"/>
                    <a:pt x="115" y="33"/>
                  </a:cubicBezTo>
                  <a:cubicBezTo>
                    <a:pt x="116" y="31"/>
                    <a:pt x="124" y="34"/>
                    <a:pt x="123" y="36"/>
                  </a:cubicBezTo>
                  <a:cubicBezTo>
                    <a:pt x="120" y="37"/>
                    <a:pt x="115" y="36"/>
                    <a:pt x="115" y="40"/>
                  </a:cubicBezTo>
                  <a:cubicBezTo>
                    <a:pt x="121" y="48"/>
                    <a:pt x="126" y="39"/>
                    <a:pt x="131" y="36"/>
                  </a:cubicBezTo>
                  <a:cubicBezTo>
                    <a:pt x="136" y="43"/>
                    <a:pt x="136" y="36"/>
                    <a:pt x="139" y="40"/>
                  </a:cubicBezTo>
                  <a:cubicBezTo>
                    <a:pt x="141" y="43"/>
                    <a:pt x="148" y="38"/>
                    <a:pt x="150" y="40"/>
                  </a:cubicBezTo>
                  <a:cubicBezTo>
                    <a:pt x="151" y="37"/>
                    <a:pt x="150" y="33"/>
                    <a:pt x="153" y="33"/>
                  </a:cubicBezTo>
                  <a:cubicBezTo>
                    <a:pt x="148" y="26"/>
                    <a:pt x="149" y="33"/>
                    <a:pt x="142" y="33"/>
                  </a:cubicBezTo>
                  <a:cubicBezTo>
                    <a:pt x="137" y="24"/>
                    <a:pt x="143" y="29"/>
                    <a:pt x="145" y="22"/>
                  </a:cubicBezTo>
                  <a:cubicBezTo>
                    <a:pt x="135" y="18"/>
                    <a:pt x="130" y="40"/>
                    <a:pt x="126" y="33"/>
                  </a:cubicBezTo>
                  <a:cubicBezTo>
                    <a:pt x="122" y="21"/>
                    <a:pt x="134" y="30"/>
                    <a:pt x="131" y="18"/>
                  </a:cubicBezTo>
                  <a:cubicBezTo>
                    <a:pt x="123" y="19"/>
                    <a:pt x="121" y="15"/>
                    <a:pt x="118" y="22"/>
                  </a:cubicBezTo>
                  <a:cubicBezTo>
                    <a:pt x="118" y="22"/>
                    <a:pt x="122" y="24"/>
                    <a:pt x="118" y="25"/>
                  </a:cubicBezTo>
                  <a:cubicBezTo>
                    <a:pt x="118" y="25"/>
                    <a:pt x="114" y="17"/>
                    <a:pt x="112" y="18"/>
                  </a:cubicBezTo>
                  <a:cubicBezTo>
                    <a:pt x="111" y="18"/>
                    <a:pt x="112" y="30"/>
                    <a:pt x="107" y="25"/>
                  </a:cubicBezTo>
                  <a:cubicBezTo>
                    <a:pt x="106" y="22"/>
                    <a:pt x="107" y="18"/>
                    <a:pt x="104" y="18"/>
                  </a:cubicBezTo>
                  <a:cubicBezTo>
                    <a:pt x="104" y="20"/>
                    <a:pt x="104" y="26"/>
                    <a:pt x="102" y="25"/>
                  </a:cubicBezTo>
                  <a:cubicBezTo>
                    <a:pt x="101" y="25"/>
                    <a:pt x="102" y="18"/>
                    <a:pt x="102" y="18"/>
                  </a:cubicBezTo>
                  <a:cubicBezTo>
                    <a:pt x="96" y="14"/>
                    <a:pt x="96" y="25"/>
                    <a:pt x="88" y="29"/>
                  </a:cubicBezTo>
                  <a:cubicBezTo>
                    <a:pt x="89" y="25"/>
                    <a:pt x="99" y="15"/>
                    <a:pt x="91" y="10"/>
                  </a:cubicBezTo>
                  <a:cubicBezTo>
                    <a:pt x="87" y="22"/>
                    <a:pt x="73" y="0"/>
                    <a:pt x="72" y="18"/>
                  </a:cubicBezTo>
                  <a:cubicBezTo>
                    <a:pt x="75" y="19"/>
                    <a:pt x="78" y="22"/>
                    <a:pt x="75" y="18"/>
                  </a:cubicBezTo>
                  <a:cubicBezTo>
                    <a:pt x="75" y="14"/>
                    <a:pt x="79" y="14"/>
                    <a:pt x="83" y="14"/>
                  </a:cubicBezTo>
                  <a:cubicBezTo>
                    <a:pt x="83" y="19"/>
                    <a:pt x="84" y="22"/>
                    <a:pt x="85" y="25"/>
                  </a:cubicBezTo>
                  <a:cubicBezTo>
                    <a:pt x="61" y="26"/>
                    <a:pt x="50" y="22"/>
                    <a:pt x="32" y="25"/>
                  </a:cubicBezTo>
                  <a:cubicBezTo>
                    <a:pt x="28" y="24"/>
                    <a:pt x="27" y="19"/>
                    <a:pt x="24" y="18"/>
                  </a:cubicBezTo>
                  <a:cubicBezTo>
                    <a:pt x="23" y="24"/>
                    <a:pt x="20" y="18"/>
                    <a:pt x="21" y="10"/>
                  </a:cubicBezTo>
                  <a:cubicBezTo>
                    <a:pt x="16" y="9"/>
                    <a:pt x="16" y="15"/>
                    <a:pt x="13" y="18"/>
                  </a:cubicBezTo>
                  <a:cubicBezTo>
                    <a:pt x="14" y="8"/>
                    <a:pt x="0" y="26"/>
                    <a:pt x="7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6" name="Freeform 138"/>
            <p:cNvSpPr>
              <a:spLocks/>
            </p:cNvSpPr>
            <p:nvPr userDrawn="1"/>
          </p:nvSpPr>
          <p:spPr bwMode="auto">
            <a:xfrm>
              <a:off x="5439676" y="1792433"/>
              <a:ext cx="116898" cy="67183"/>
            </a:xfrm>
            <a:custGeom>
              <a:avLst/>
              <a:gdLst>
                <a:gd name="T0" fmla="*/ 24 w 37"/>
                <a:gd name="T1" fmla="*/ 15 h 21"/>
                <a:gd name="T2" fmla="*/ 35 w 37"/>
                <a:gd name="T3" fmla="*/ 19 h 21"/>
                <a:gd name="T4" fmla="*/ 37 w 37"/>
                <a:gd name="T5" fmla="*/ 4 h 21"/>
                <a:gd name="T6" fmla="*/ 16 w 37"/>
                <a:gd name="T7" fmla="*/ 12 h 21"/>
                <a:gd name="T8" fmla="*/ 10 w 37"/>
                <a:gd name="T9" fmla="*/ 8 h 21"/>
                <a:gd name="T10" fmla="*/ 8 w 37"/>
                <a:gd name="T11" fmla="*/ 12 h 21"/>
                <a:gd name="T12" fmla="*/ 0 w 37"/>
                <a:gd name="T13" fmla="*/ 12 h 21"/>
                <a:gd name="T14" fmla="*/ 0 w 37"/>
                <a:gd name="T15" fmla="*/ 19 h 21"/>
                <a:gd name="T16" fmla="*/ 24 w 37"/>
                <a:gd name="T1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21">
                  <a:moveTo>
                    <a:pt x="24" y="15"/>
                  </a:moveTo>
                  <a:cubicBezTo>
                    <a:pt x="28" y="16"/>
                    <a:pt x="29" y="21"/>
                    <a:pt x="35" y="19"/>
                  </a:cubicBezTo>
                  <a:cubicBezTo>
                    <a:pt x="34" y="13"/>
                    <a:pt x="35" y="8"/>
                    <a:pt x="37" y="4"/>
                  </a:cubicBezTo>
                  <a:cubicBezTo>
                    <a:pt x="27" y="0"/>
                    <a:pt x="22" y="10"/>
                    <a:pt x="16" y="12"/>
                  </a:cubicBezTo>
                  <a:cubicBezTo>
                    <a:pt x="13" y="12"/>
                    <a:pt x="13" y="8"/>
                    <a:pt x="10" y="8"/>
                  </a:cubicBezTo>
                  <a:cubicBezTo>
                    <a:pt x="11" y="8"/>
                    <a:pt x="9" y="11"/>
                    <a:pt x="8" y="12"/>
                  </a:cubicBezTo>
                  <a:cubicBezTo>
                    <a:pt x="7" y="12"/>
                    <a:pt x="0" y="12"/>
                    <a:pt x="0" y="12"/>
                  </a:cubicBezTo>
                  <a:cubicBezTo>
                    <a:pt x="0" y="12"/>
                    <a:pt x="0" y="19"/>
                    <a:pt x="0" y="19"/>
                  </a:cubicBezTo>
                  <a:cubicBezTo>
                    <a:pt x="7" y="19"/>
                    <a:pt x="15" y="14"/>
                    <a:pt x="2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7" name="Freeform 139"/>
            <p:cNvSpPr>
              <a:spLocks/>
            </p:cNvSpPr>
            <p:nvPr userDrawn="1"/>
          </p:nvSpPr>
          <p:spPr bwMode="auto">
            <a:xfrm>
              <a:off x="9003041" y="1796464"/>
              <a:ext cx="149145" cy="139740"/>
            </a:xfrm>
            <a:custGeom>
              <a:avLst/>
              <a:gdLst>
                <a:gd name="T0" fmla="*/ 36 w 47"/>
                <a:gd name="T1" fmla="*/ 11 h 44"/>
                <a:gd name="T2" fmla="*/ 36 w 47"/>
                <a:gd name="T3" fmla="*/ 3 h 44"/>
                <a:gd name="T4" fmla="*/ 25 w 47"/>
                <a:gd name="T5" fmla="*/ 0 h 44"/>
                <a:gd name="T6" fmla="*/ 22 w 47"/>
                <a:gd name="T7" fmla="*/ 18 h 44"/>
                <a:gd name="T8" fmla="*/ 9 w 47"/>
                <a:gd name="T9" fmla="*/ 18 h 44"/>
                <a:gd name="T10" fmla="*/ 6 w 47"/>
                <a:gd name="T11" fmla="*/ 18 h 44"/>
                <a:gd name="T12" fmla="*/ 14 w 47"/>
                <a:gd name="T13" fmla="*/ 44 h 44"/>
                <a:gd name="T14" fmla="*/ 19 w 47"/>
                <a:gd name="T15" fmla="*/ 26 h 44"/>
                <a:gd name="T16" fmla="*/ 30 w 47"/>
                <a:gd name="T17" fmla="*/ 29 h 44"/>
                <a:gd name="T18" fmla="*/ 46 w 47"/>
                <a:gd name="T19" fmla="*/ 18 h 44"/>
                <a:gd name="T20" fmla="*/ 36 w 47"/>
                <a:gd name="T21" fmla="*/ 1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44">
                  <a:moveTo>
                    <a:pt x="36" y="11"/>
                  </a:moveTo>
                  <a:cubicBezTo>
                    <a:pt x="35" y="9"/>
                    <a:pt x="36" y="4"/>
                    <a:pt x="36" y="3"/>
                  </a:cubicBezTo>
                  <a:cubicBezTo>
                    <a:pt x="33" y="0"/>
                    <a:pt x="26" y="5"/>
                    <a:pt x="25" y="0"/>
                  </a:cubicBezTo>
                  <a:cubicBezTo>
                    <a:pt x="17" y="6"/>
                    <a:pt x="28" y="18"/>
                    <a:pt x="22" y="18"/>
                  </a:cubicBezTo>
                  <a:cubicBezTo>
                    <a:pt x="22" y="10"/>
                    <a:pt x="15" y="23"/>
                    <a:pt x="9" y="18"/>
                  </a:cubicBezTo>
                  <a:cubicBezTo>
                    <a:pt x="9" y="16"/>
                    <a:pt x="7" y="14"/>
                    <a:pt x="6" y="18"/>
                  </a:cubicBezTo>
                  <a:cubicBezTo>
                    <a:pt x="18" y="21"/>
                    <a:pt x="0" y="42"/>
                    <a:pt x="14" y="44"/>
                  </a:cubicBezTo>
                  <a:cubicBezTo>
                    <a:pt x="19" y="44"/>
                    <a:pt x="9" y="25"/>
                    <a:pt x="19" y="26"/>
                  </a:cubicBezTo>
                  <a:cubicBezTo>
                    <a:pt x="20" y="31"/>
                    <a:pt x="26" y="29"/>
                    <a:pt x="30" y="29"/>
                  </a:cubicBezTo>
                  <a:cubicBezTo>
                    <a:pt x="26" y="14"/>
                    <a:pt x="47" y="29"/>
                    <a:pt x="46" y="18"/>
                  </a:cubicBezTo>
                  <a:cubicBezTo>
                    <a:pt x="44" y="16"/>
                    <a:pt x="36" y="15"/>
                    <a:pt x="3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8" name="Freeform 140"/>
            <p:cNvSpPr>
              <a:spLocks/>
            </p:cNvSpPr>
            <p:nvPr userDrawn="1"/>
          </p:nvSpPr>
          <p:spPr bwMode="auto">
            <a:xfrm>
              <a:off x="5772902" y="1805869"/>
              <a:ext cx="40310" cy="41653"/>
            </a:xfrm>
            <a:custGeom>
              <a:avLst/>
              <a:gdLst>
                <a:gd name="T0" fmla="*/ 13 w 13"/>
                <a:gd name="T1" fmla="*/ 4 h 13"/>
                <a:gd name="T2" fmla="*/ 0 w 13"/>
                <a:gd name="T3" fmla="*/ 4 h 13"/>
                <a:gd name="T4" fmla="*/ 13 w 13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13" y="4"/>
                  </a:moveTo>
                  <a:cubicBezTo>
                    <a:pt x="8" y="2"/>
                    <a:pt x="0" y="0"/>
                    <a:pt x="0" y="4"/>
                  </a:cubicBezTo>
                  <a:cubicBezTo>
                    <a:pt x="1" y="6"/>
                    <a:pt x="12" y="13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9" name="Freeform 141"/>
            <p:cNvSpPr>
              <a:spLocks/>
            </p:cNvSpPr>
            <p:nvPr userDrawn="1"/>
          </p:nvSpPr>
          <p:spPr bwMode="auto">
            <a:xfrm>
              <a:off x="8429301" y="1770934"/>
              <a:ext cx="30904" cy="104805"/>
            </a:xfrm>
            <a:custGeom>
              <a:avLst/>
              <a:gdLst>
                <a:gd name="T0" fmla="*/ 10 w 10"/>
                <a:gd name="T1" fmla="*/ 30 h 33"/>
                <a:gd name="T2" fmla="*/ 4 w 10"/>
                <a:gd name="T3" fmla="*/ 19 h 33"/>
                <a:gd name="T4" fmla="*/ 10 w 10"/>
                <a:gd name="T5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33">
                  <a:moveTo>
                    <a:pt x="10" y="30"/>
                  </a:moveTo>
                  <a:cubicBezTo>
                    <a:pt x="10" y="22"/>
                    <a:pt x="6" y="22"/>
                    <a:pt x="4" y="19"/>
                  </a:cubicBezTo>
                  <a:cubicBezTo>
                    <a:pt x="0" y="0"/>
                    <a:pt x="1" y="33"/>
                    <a:pt x="1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0" name="Freeform 142"/>
            <p:cNvSpPr>
              <a:spLocks/>
            </p:cNvSpPr>
            <p:nvPr userDrawn="1"/>
          </p:nvSpPr>
          <p:spPr bwMode="auto">
            <a:xfrm>
              <a:off x="8485735" y="1817962"/>
              <a:ext cx="25529" cy="67183"/>
            </a:xfrm>
            <a:custGeom>
              <a:avLst/>
              <a:gdLst>
                <a:gd name="T0" fmla="*/ 5 w 8"/>
                <a:gd name="T1" fmla="*/ 7 h 21"/>
                <a:gd name="T2" fmla="*/ 8 w 8"/>
                <a:gd name="T3" fmla="*/ 0 h 21"/>
                <a:gd name="T4" fmla="*/ 2 w 8"/>
                <a:gd name="T5" fmla="*/ 7 h 21"/>
                <a:gd name="T6" fmla="*/ 5 w 8"/>
                <a:gd name="T7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1">
                  <a:moveTo>
                    <a:pt x="5" y="7"/>
                  </a:moveTo>
                  <a:cubicBezTo>
                    <a:pt x="7" y="7"/>
                    <a:pt x="8" y="4"/>
                    <a:pt x="8" y="0"/>
                  </a:cubicBezTo>
                  <a:cubicBezTo>
                    <a:pt x="4" y="0"/>
                    <a:pt x="5" y="6"/>
                    <a:pt x="2" y="7"/>
                  </a:cubicBezTo>
                  <a:cubicBezTo>
                    <a:pt x="0" y="21"/>
                    <a:pt x="7" y="21"/>
                    <a:pt x="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1" name="Freeform 143"/>
            <p:cNvSpPr>
              <a:spLocks/>
            </p:cNvSpPr>
            <p:nvPr userDrawn="1"/>
          </p:nvSpPr>
          <p:spPr bwMode="auto">
            <a:xfrm>
              <a:off x="8651004" y="1817962"/>
              <a:ext cx="142427" cy="139740"/>
            </a:xfrm>
            <a:custGeom>
              <a:avLst/>
              <a:gdLst>
                <a:gd name="T0" fmla="*/ 9 w 45"/>
                <a:gd name="T1" fmla="*/ 37 h 44"/>
                <a:gd name="T2" fmla="*/ 20 w 45"/>
                <a:gd name="T3" fmla="*/ 33 h 44"/>
                <a:gd name="T4" fmla="*/ 17 w 45"/>
                <a:gd name="T5" fmla="*/ 30 h 44"/>
                <a:gd name="T6" fmla="*/ 31 w 45"/>
                <a:gd name="T7" fmla="*/ 30 h 44"/>
                <a:gd name="T8" fmla="*/ 36 w 45"/>
                <a:gd name="T9" fmla="*/ 44 h 44"/>
                <a:gd name="T10" fmla="*/ 36 w 45"/>
                <a:gd name="T11" fmla="*/ 0 h 44"/>
                <a:gd name="T12" fmla="*/ 17 w 45"/>
                <a:gd name="T13" fmla="*/ 22 h 44"/>
                <a:gd name="T14" fmla="*/ 1 w 45"/>
                <a:gd name="T15" fmla="*/ 19 h 44"/>
                <a:gd name="T16" fmla="*/ 9 w 45"/>
                <a:gd name="T17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44">
                  <a:moveTo>
                    <a:pt x="9" y="37"/>
                  </a:moveTo>
                  <a:cubicBezTo>
                    <a:pt x="10" y="24"/>
                    <a:pt x="21" y="44"/>
                    <a:pt x="20" y="33"/>
                  </a:cubicBezTo>
                  <a:cubicBezTo>
                    <a:pt x="19" y="33"/>
                    <a:pt x="17" y="33"/>
                    <a:pt x="17" y="30"/>
                  </a:cubicBezTo>
                  <a:cubicBezTo>
                    <a:pt x="20" y="19"/>
                    <a:pt x="26" y="32"/>
                    <a:pt x="31" y="30"/>
                  </a:cubicBezTo>
                  <a:cubicBezTo>
                    <a:pt x="30" y="38"/>
                    <a:pt x="32" y="43"/>
                    <a:pt x="36" y="44"/>
                  </a:cubicBezTo>
                  <a:cubicBezTo>
                    <a:pt x="29" y="30"/>
                    <a:pt x="45" y="15"/>
                    <a:pt x="36" y="0"/>
                  </a:cubicBezTo>
                  <a:cubicBezTo>
                    <a:pt x="26" y="1"/>
                    <a:pt x="24" y="15"/>
                    <a:pt x="17" y="22"/>
                  </a:cubicBezTo>
                  <a:cubicBezTo>
                    <a:pt x="8" y="21"/>
                    <a:pt x="11" y="12"/>
                    <a:pt x="1" y="19"/>
                  </a:cubicBezTo>
                  <a:cubicBezTo>
                    <a:pt x="0" y="30"/>
                    <a:pt x="5" y="34"/>
                    <a:pt x="9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2" name="Freeform 144"/>
            <p:cNvSpPr>
              <a:spLocks/>
            </p:cNvSpPr>
            <p:nvPr userDrawn="1"/>
          </p:nvSpPr>
          <p:spPr bwMode="auto">
            <a:xfrm>
              <a:off x="5568667" y="1917392"/>
              <a:ext cx="48371" cy="30904"/>
            </a:xfrm>
            <a:custGeom>
              <a:avLst/>
              <a:gdLst>
                <a:gd name="T0" fmla="*/ 10 w 15"/>
                <a:gd name="T1" fmla="*/ 6 h 10"/>
                <a:gd name="T2" fmla="*/ 15 w 15"/>
                <a:gd name="T3" fmla="*/ 10 h 10"/>
                <a:gd name="T4" fmla="*/ 10 w 15"/>
                <a:gd name="T5" fmla="*/ 2 h 10"/>
                <a:gd name="T6" fmla="*/ 10 w 15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0">
                  <a:moveTo>
                    <a:pt x="10" y="6"/>
                  </a:moveTo>
                  <a:cubicBezTo>
                    <a:pt x="10" y="9"/>
                    <a:pt x="12" y="10"/>
                    <a:pt x="15" y="10"/>
                  </a:cubicBezTo>
                  <a:cubicBezTo>
                    <a:pt x="15" y="5"/>
                    <a:pt x="10" y="6"/>
                    <a:pt x="10" y="2"/>
                  </a:cubicBezTo>
                  <a:cubicBezTo>
                    <a:pt x="0" y="0"/>
                    <a:pt x="0" y="9"/>
                    <a:pt x="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3" name="Freeform 145"/>
            <p:cNvSpPr>
              <a:spLocks/>
            </p:cNvSpPr>
            <p:nvPr userDrawn="1"/>
          </p:nvSpPr>
          <p:spPr bwMode="auto">
            <a:xfrm>
              <a:off x="6854541" y="1948296"/>
              <a:ext cx="92712" cy="158551"/>
            </a:xfrm>
            <a:custGeom>
              <a:avLst/>
              <a:gdLst>
                <a:gd name="T0" fmla="*/ 14 w 29"/>
                <a:gd name="T1" fmla="*/ 40 h 50"/>
                <a:gd name="T2" fmla="*/ 5 w 29"/>
                <a:gd name="T3" fmla="*/ 33 h 50"/>
                <a:gd name="T4" fmla="*/ 27 w 29"/>
                <a:gd name="T5" fmla="*/ 37 h 50"/>
                <a:gd name="T6" fmla="*/ 19 w 29"/>
                <a:gd name="T7" fmla="*/ 22 h 50"/>
                <a:gd name="T8" fmla="*/ 19 w 29"/>
                <a:gd name="T9" fmla="*/ 7 h 50"/>
                <a:gd name="T10" fmla="*/ 5 w 29"/>
                <a:gd name="T11" fmla="*/ 0 h 50"/>
                <a:gd name="T12" fmla="*/ 3 w 29"/>
                <a:gd name="T13" fmla="*/ 14 h 50"/>
                <a:gd name="T14" fmla="*/ 11 w 29"/>
                <a:gd name="T15" fmla="*/ 26 h 50"/>
                <a:gd name="T16" fmla="*/ 3 w 29"/>
                <a:gd name="T17" fmla="*/ 18 h 50"/>
                <a:gd name="T18" fmla="*/ 14 w 29"/>
                <a:gd name="T19" fmla="*/ 4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50">
                  <a:moveTo>
                    <a:pt x="14" y="40"/>
                  </a:moveTo>
                  <a:cubicBezTo>
                    <a:pt x="10" y="39"/>
                    <a:pt x="7" y="36"/>
                    <a:pt x="5" y="33"/>
                  </a:cubicBezTo>
                  <a:cubicBezTo>
                    <a:pt x="13" y="30"/>
                    <a:pt x="19" y="29"/>
                    <a:pt x="27" y="37"/>
                  </a:cubicBezTo>
                  <a:cubicBezTo>
                    <a:pt x="29" y="25"/>
                    <a:pt x="20" y="29"/>
                    <a:pt x="19" y="22"/>
                  </a:cubicBezTo>
                  <a:cubicBezTo>
                    <a:pt x="19" y="17"/>
                    <a:pt x="19" y="12"/>
                    <a:pt x="19" y="7"/>
                  </a:cubicBezTo>
                  <a:cubicBezTo>
                    <a:pt x="10" y="10"/>
                    <a:pt x="11" y="1"/>
                    <a:pt x="5" y="0"/>
                  </a:cubicBezTo>
                  <a:cubicBezTo>
                    <a:pt x="6" y="6"/>
                    <a:pt x="5" y="11"/>
                    <a:pt x="3" y="14"/>
                  </a:cubicBezTo>
                  <a:cubicBezTo>
                    <a:pt x="10" y="12"/>
                    <a:pt x="12" y="16"/>
                    <a:pt x="11" y="26"/>
                  </a:cubicBezTo>
                  <a:cubicBezTo>
                    <a:pt x="7" y="25"/>
                    <a:pt x="6" y="19"/>
                    <a:pt x="3" y="18"/>
                  </a:cubicBezTo>
                  <a:cubicBezTo>
                    <a:pt x="0" y="32"/>
                    <a:pt x="8" y="50"/>
                    <a:pt x="14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4" name="Freeform 146"/>
            <p:cNvSpPr>
              <a:spLocks/>
            </p:cNvSpPr>
            <p:nvPr userDrawn="1"/>
          </p:nvSpPr>
          <p:spPr bwMode="auto">
            <a:xfrm>
              <a:off x="6385607" y="1989949"/>
              <a:ext cx="56433" cy="47028"/>
            </a:xfrm>
            <a:custGeom>
              <a:avLst/>
              <a:gdLst>
                <a:gd name="T0" fmla="*/ 6 w 18"/>
                <a:gd name="T1" fmla="*/ 13 h 15"/>
                <a:gd name="T2" fmla="*/ 14 w 18"/>
                <a:gd name="T3" fmla="*/ 1 h 15"/>
                <a:gd name="T4" fmla="*/ 6 w 18"/>
                <a:gd name="T5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6" y="13"/>
                  </a:moveTo>
                  <a:cubicBezTo>
                    <a:pt x="4" y="4"/>
                    <a:pt x="18" y="15"/>
                    <a:pt x="14" y="1"/>
                  </a:cubicBezTo>
                  <a:cubicBezTo>
                    <a:pt x="8" y="0"/>
                    <a:pt x="0" y="11"/>
                    <a:pt x="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5" name="Freeform 147"/>
            <p:cNvSpPr>
              <a:spLocks/>
            </p:cNvSpPr>
            <p:nvPr userDrawn="1"/>
          </p:nvSpPr>
          <p:spPr bwMode="auto">
            <a:xfrm>
              <a:off x="7387971" y="2204934"/>
              <a:ext cx="47028" cy="48371"/>
            </a:xfrm>
            <a:custGeom>
              <a:avLst/>
              <a:gdLst>
                <a:gd name="T0" fmla="*/ 15 w 15"/>
                <a:gd name="T1" fmla="*/ 0 h 15"/>
                <a:gd name="T2" fmla="*/ 1 w 15"/>
                <a:gd name="T3" fmla="*/ 0 h 15"/>
                <a:gd name="T4" fmla="*/ 15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5" y="0"/>
                  </a:moveTo>
                  <a:cubicBezTo>
                    <a:pt x="8" y="0"/>
                    <a:pt x="7" y="7"/>
                    <a:pt x="1" y="0"/>
                  </a:cubicBezTo>
                  <a:cubicBezTo>
                    <a:pt x="0" y="15"/>
                    <a:pt x="14" y="5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6" name="Freeform 148"/>
            <p:cNvSpPr>
              <a:spLocks/>
            </p:cNvSpPr>
            <p:nvPr userDrawn="1"/>
          </p:nvSpPr>
          <p:spPr bwMode="auto">
            <a:xfrm>
              <a:off x="3808483" y="3544555"/>
              <a:ext cx="44341" cy="57777"/>
            </a:xfrm>
            <a:custGeom>
              <a:avLst/>
              <a:gdLst>
                <a:gd name="T0" fmla="*/ 11 w 14"/>
                <a:gd name="T1" fmla="*/ 3 h 18"/>
                <a:gd name="T2" fmla="*/ 13 w 14"/>
                <a:gd name="T3" fmla="*/ 0 h 18"/>
                <a:gd name="T4" fmla="*/ 0 w 14"/>
                <a:gd name="T5" fmla="*/ 14 h 18"/>
                <a:gd name="T6" fmla="*/ 11 w 14"/>
                <a:gd name="T7" fmla="*/ 18 h 18"/>
                <a:gd name="T8" fmla="*/ 11 w 14"/>
                <a:gd name="T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8">
                  <a:moveTo>
                    <a:pt x="11" y="3"/>
                  </a:moveTo>
                  <a:cubicBezTo>
                    <a:pt x="11" y="7"/>
                    <a:pt x="14" y="6"/>
                    <a:pt x="13" y="0"/>
                  </a:cubicBezTo>
                  <a:cubicBezTo>
                    <a:pt x="7" y="2"/>
                    <a:pt x="0" y="3"/>
                    <a:pt x="0" y="14"/>
                  </a:cubicBezTo>
                  <a:cubicBezTo>
                    <a:pt x="5" y="14"/>
                    <a:pt x="8" y="15"/>
                    <a:pt x="11" y="18"/>
                  </a:cubicBezTo>
                  <a:cubicBezTo>
                    <a:pt x="13" y="11"/>
                    <a:pt x="3" y="6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7" name="Freeform 149"/>
            <p:cNvSpPr>
              <a:spLocks/>
            </p:cNvSpPr>
            <p:nvPr userDrawn="1"/>
          </p:nvSpPr>
          <p:spPr bwMode="auto">
            <a:xfrm>
              <a:off x="2630100" y="3649360"/>
              <a:ext cx="79275" cy="48371"/>
            </a:xfrm>
            <a:custGeom>
              <a:avLst/>
              <a:gdLst>
                <a:gd name="T0" fmla="*/ 5 w 25"/>
                <a:gd name="T1" fmla="*/ 11 h 15"/>
                <a:gd name="T2" fmla="*/ 0 w 25"/>
                <a:gd name="T3" fmla="*/ 7 h 15"/>
                <a:gd name="T4" fmla="*/ 5 w 25"/>
                <a:gd name="T5" fmla="*/ 15 h 15"/>
                <a:gd name="T6" fmla="*/ 5 w 25"/>
                <a:gd name="T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5">
                  <a:moveTo>
                    <a:pt x="5" y="11"/>
                  </a:moveTo>
                  <a:cubicBezTo>
                    <a:pt x="4" y="10"/>
                    <a:pt x="2" y="0"/>
                    <a:pt x="0" y="7"/>
                  </a:cubicBezTo>
                  <a:cubicBezTo>
                    <a:pt x="3" y="8"/>
                    <a:pt x="4" y="11"/>
                    <a:pt x="5" y="15"/>
                  </a:cubicBezTo>
                  <a:cubicBezTo>
                    <a:pt x="25" y="12"/>
                    <a:pt x="12" y="15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8" name="Freeform 150"/>
            <p:cNvSpPr>
              <a:spLocks/>
            </p:cNvSpPr>
            <p:nvPr userDrawn="1"/>
          </p:nvSpPr>
          <p:spPr bwMode="auto">
            <a:xfrm>
              <a:off x="3074849" y="4150542"/>
              <a:ext cx="44341" cy="108836"/>
            </a:xfrm>
            <a:custGeom>
              <a:avLst/>
              <a:gdLst>
                <a:gd name="T0" fmla="*/ 5 w 14"/>
                <a:gd name="T1" fmla="*/ 27 h 34"/>
                <a:gd name="T2" fmla="*/ 2 w 14"/>
                <a:gd name="T3" fmla="*/ 19 h 34"/>
                <a:gd name="T4" fmla="*/ 11 w 14"/>
                <a:gd name="T5" fmla="*/ 19 h 34"/>
                <a:gd name="T6" fmla="*/ 8 w 14"/>
                <a:gd name="T7" fmla="*/ 1 h 34"/>
                <a:gd name="T8" fmla="*/ 2 w 14"/>
                <a:gd name="T9" fmla="*/ 5 h 34"/>
                <a:gd name="T10" fmla="*/ 0 w 14"/>
                <a:gd name="T11" fmla="*/ 23 h 34"/>
                <a:gd name="T12" fmla="*/ 5 w 14"/>
                <a:gd name="T1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34">
                  <a:moveTo>
                    <a:pt x="5" y="27"/>
                  </a:moveTo>
                  <a:cubicBezTo>
                    <a:pt x="5" y="23"/>
                    <a:pt x="3" y="22"/>
                    <a:pt x="2" y="19"/>
                  </a:cubicBezTo>
                  <a:cubicBezTo>
                    <a:pt x="5" y="19"/>
                    <a:pt x="8" y="19"/>
                    <a:pt x="11" y="19"/>
                  </a:cubicBezTo>
                  <a:cubicBezTo>
                    <a:pt x="9" y="14"/>
                    <a:pt x="14" y="0"/>
                    <a:pt x="8" y="1"/>
                  </a:cubicBezTo>
                  <a:cubicBezTo>
                    <a:pt x="7" y="4"/>
                    <a:pt x="6" y="5"/>
                    <a:pt x="2" y="5"/>
                  </a:cubicBezTo>
                  <a:cubicBezTo>
                    <a:pt x="3" y="13"/>
                    <a:pt x="2" y="19"/>
                    <a:pt x="0" y="23"/>
                  </a:cubicBezTo>
                  <a:cubicBezTo>
                    <a:pt x="4" y="23"/>
                    <a:pt x="3" y="34"/>
                    <a:pt x="5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9" name="Freeform 151"/>
            <p:cNvSpPr>
              <a:spLocks/>
            </p:cNvSpPr>
            <p:nvPr userDrawn="1"/>
          </p:nvSpPr>
          <p:spPr bwMode="auto">
            <a:xfrm>
              <a:off x="3096347" y="4173384"/>
              <a:ext cx="67183" cy="85994"/>
            </a:xfrm>
            <a:custGeom>
              <a:avLst/>
              <a:gdLst>
                <a:gd name="T0" fmla="*/ 12 w 21"/>
                <a:gd name="T1" fmla="*/ 1 h 27"/>
                <a:gd name="T2" fmla="*/ 6 w 21"/>
                <a:gd name="T3" fmla="*/ 9 h 27"/>
                <a:gd name="T4" fmla="*/ 6 w 21"/>
                <a:gd name="T5" fmla="*/ 16 h 27"/>
                <a:gd name="T6" fmla="*/ 1 w 21"/>
                <a:gd name="T7" fmla="*/ 20 h 27"/>
                <a:gd name="T8" fmla="*/ 9 w 21"/>
                <a:gd name="T9" fmla="*/ 16 h 27"/>
                <a:gd name="T10" fmla="*/ 20 w 21"/>
                <a:gd name="T11" fmla="*/ 16 h 27"/>
                <a:gd name="T12" fmla="*/ 12 w 21"/>
                <a:gd name="T13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7">
                  <a:moveTo>
                    <a:pt x="12" y="1"/>
                  </a:moveTo>
                  <a:cubicBezTo>
                    <a:pt x="14" y="9"/>
                    <a:pt x="8" y="6"/>
                    <a:pt x="6" y="9"/>
                  </a:cubicBezTo>
                  <a:cubicBezTo>
                    <a:pt x="5" y="10"/>
                    <a:pt x="7" y="15"/>
                    <a:pt x="6" y="16"/>
                  </a:cubicBezTo>
                  <a:cubicBezTo>
                    <a:pt x="5" y="18"/>
                    <a:pt x="0" y="15"/>
                    <a:pt x="1" y="20"/>
                  </a:cubicBezTo>
                  <a:cubicBezTo>
                    <a:pt x="7" y="27"/>
                    <a:pt x="4" y="19"/>
                    <a:pt x="9" y="16"/>
                  </a:cubicBezTo>
                  <a:cubicBezTo>
                    <a:pt x="13" y="16"/>
                    <a:pt x="16" y="16"/>
                    <a:pt x="20" y="16"/>
                  </a:cubicBezTo>
                  <a:cubicBezTo>
                    <a:pt x="21" y="7"/>
                    <a:pt x="19" y="0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0" name="Freeform 152"/>
            <p:cNvSpPr>
              <a:spLocks/>
            </p:cNvSpPr>
            <p:nvPr userDrawn="1"/>
          </p:nvSpPr>
          <p:spPr bwMode="auto">
            <a:xfrm>
              <a:off x="2874645" y="4319842"/>
              <a:ext cx="44341" cy="100774"/>
            </a:xfrm>
            <a:custGeom>
              <a:avLst/>
              <a:gdLst>
                <a:gd name="T0" fmla="*/ 12 w 14"/>
                <a:gd name="T1" fmla="*/ 3 h 32"/>
                <a:gd name="T2" fmla="*/ 6 w 14"/>
                <a:gd name="T3" fmla="*/ 18 h 32"/>
                <a:gd name="T4" fmla="*/ 9 w 14"/>
                <a:gd name="T5" fmla="*/ 15 h 32"/>
                <a:gd name="T6" fmla="*/ 12 w 14"/>
                <a:gd name="T7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2">
                  <a:moveTo>
                    <a:pt x="12" y="3"/>
                  </a:moveTo>
                  <a:cubicBezTo>
                    <a:pt x="5" y="0"/>
                    <a:pt x="0" y="16"/>
                    <a:pt x="6" y="18"/>
                  </a:cubicBezTo>
                  <a:cubicBezTo>
                    <a:pt x="7" y="16"/>
                    <a:pt x="7" y="14"/>
                    <a:pt x="9" y="15"/>
                  </a:cubicBezTo>
                  <a:cubicBezTo>
                    <a:pt x="14" y="32"/>
                    <a:pt x="7" y="7"/>
                    <a:pt x="1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1" name="Freeform 153"/>
            <p:cNvSpPr>
              <a:spLocks/>
            </p:cNvSpPr>
            <p:nvPr userDrawn="1"/>
          </p:nvSpPr>
          <p:spPr bwMode="auto">
            <a:xfrm>
              <a:off x="2767153" y="4376275"/>
              <a:ext cx="60464" cy="48371"/>
            </a:xfrm>
            <a:custGeom>
              <a:avLst/>
              <a:gdLst>
                <a:gd name="T0" fmla="*/ 5 w 19"/>
                <a:gd name="T1" fmla="*/ 11 h 15"/>
                <a:gd name="T2" fmla="*/ 0 w 19"/>
                <a:gd name="T3" fmla="*/ 15 h 15"/>
                <a:gd name="T4" fmla="*/ 11 w 19"/>
                <a:gd name="T5" fmla="*/ 15 h 15"/>
                <a:gd name="T6" fmla="*/ 16 w 19"/>
                <a:gd name="T7" fmla="*/ 0 h 15"/>
                <a:gd name="T8" fmla="*/ 5 w 19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5" y="11"/>
                  </a:moveTo>
                  <a:cubicBezTo>
                    <a:pt x="7" y="10"/>
                    <a:pt x="0" y="7"/>
                    <a:pt x="0" y="15"/>
                  </a:cubicBezTo>
                  <a:cubicBezTo>
                    <a:pt x="4" y="15"/>
                    <a:pt x="7" y="15"/>
                    <a:pt x="11" y="15"/>
                  </a:cubicBezTo>
                  <a:cubicBezTo>
                    <a:pt x="8" y="3"/>
                    <a:pt x="19" y="12"/>
                    <a:pt x="16" y="0"/>
                  </a:cubicBezTo>
                  <a:cubicBezTo>
                    <a:pt x="9" y="2"/>
                    <a:pt x="10" y="7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2" name="Freeform 154"/>
            <p:cNvSpPr>
              <a:spLocks/>
            </p:cNvSpPr>
            <p:nvPr userDrawn="1"/>
          </p:nvSpPr>
          <p:spPr bwMode="auto">
            <a:xfrm>
              <a:off x="2842397" y="4360151"/>
              <a:ext cx="92712" cy="155864"/>
            </a:xfrm>
            <a:custGeom>
              <a:avLst/>
              <a:gdLst>
                <a:gd name="T0" fmla="*/ 16 w 29"/>
                <a:gd name="T1" fmla="*/ 27 h 49"/>
                <a:gd name="T2" fmla="*/ 11 w 29"/>
                <a:gd name="T3" fmla="*/ 13 h 49"/>
                <a:gd name="T4" fmla="*/ 0 w 29"/>
                <a:gd name="T5" fmla="*/ 13 h 49"/>
                <a:gd name="T6" fmla="*/ 8 w 29"/>
                <a:gd name="T7" fmla="*/ 31 h 49"/>
                <a:gd name="T8" fmla="*/ 6 w 29"/>
                <a:gd name="T9" fmla="*/ 46 h 49"/>
                <a:gd name="T10" fmla="*/ 14 w 29"/>
                <a:gd name="T11" fmla="*/ 31 h 49"/>
                <a:gd name="T12" fmla="*/ 24 w 29"/>
                <a:gd name="T13" fmla="*/ 27 h 49"/>
                <a:gd name="T14" fmla="*/ 27 w 29"/>
                <a:gd name="T15" fmla="*/ 31 h 49"/>
                <a:gd name="T16" fmla="*/ 16 w 29"/>
                <a:gd name="T17" fmla="*/ 2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49">
                  <a:moveTo>
                    <a:pt x="16" y="27"/>
                  </a:moveTo>
                  <a:cubicBezTo>
                    <a:pt x="11" y="21"/>
                    <a:pt x="14" y="16"/>
                    <a:pt x="11" y="13"/>
                  </a:cubicBezTo>
                  <a:cubicBezTo>
                    <a:pt x="9" y="27"/>
                    <a:pt x="1" y="0"/>
                    <a:pt x="0" y="13"/>
                  </a:cubicBezTo>
                  <a:cubicBezTo>
                    <a:pt x="4" y="17"/>
                    <a:pt x="4" y="27"/>
                    <a:pt x="8" y="31"/>
                  </a:cubicBezTo>
                  <a:cubicBezTo>
                    <a:pt x="9" y="38"/>
                    <a:pt x="8" y="43"/>
                    <a:pt x="6" y="46"/>
                  </a:cubicBezTo>
                  <a:cubicBezTo>
                    <a:pt x="18" y="49"/>
                    <a:pt x="9" y="32"/>
                    <a:pt x="14" y="31"/>
                  </a:cubicBezTo>
                  <a:cubicBezTo>
                    <a:pt x="19" y="39"/>
                    <a:pt x="21" y="32"/>
                    <a:pt x="24" y="27"/>
                  </a:cubicBezTo>
                  <a:cubicBezTo>
                    <a:pt x="25" y="30"/>
                    <a:pt x="25" y="32"/>
                    <a:pt x="27" y="31"/>
                  </a:cubicBezTo>
                  <a:cubicBezTo>
                    <a:pt x="29" y="18"/>
                    <a:pt x="18" y="25"/>
                    <a:pt x="1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3" name="Freeform 155"/>
            <p:cNvSpPr>
              <a:spLocks/>
            </p:cNvSpPr>
            <p:nvPr userDrawn="1"/>
          </p:nvSpPr>
          <p:spPr bwMode="auto">
            <a:xfrm>
              <a:off x="3156812" y="4385681"/>
              <a:ext cx="57777" cy="216328"/>
            </a:xfrm>
            <a:custGeom>
              <a:avLst/>
              <a:gdLst>
                <a:gd name="T0" fmla="*/ 11 w 18"/>
                <a:gd name="T1" fmla="*/ 12 h 68"/>
                <a:gd name="T2" fmla="*/ 1 w 18"/>
                <a:gd name="T3" fmla="*/ 12 h 68"/>
                <a:gd name="T4" fmla="*/ 3 w 18"/>
                <a:gd name="T5" fmla="*/ 16 h 68"/>
                <a:gd name="T6" fmla="*/ 1 w 18"/>
                <a:gd name="T7" fmla="*/ 27 h 68"/>
                <a:gd name="T8" fmla="*/ 9 w 18"/>
                <a:gd name="T9" fmla="*/ 19 h 68"/>
                <a:gd name="T10" fmla="*/ 11 w 18"/>
                <a:gd name="T11" fmla="*/ 38 h 68"/>
                <a:gd name="T12" fmla="*/ 6 w 18"/>
                <a:gd name="T13" fmla="*/ 60 h 68"/>
                <a:gd name="T14" fmla="*/ 6 w 18"/>
                <a:gd name="T15" fmla="*/ 68 h 68"/>
                <a:gd name="T16" fmla="*/ 14 w 18"/>
                <a:gd name="T17" fmla="*/ 56 h 68"/>
                <a:gd name="T18" fmla="*/ 14 w 18"/>
                <a:gd name="T19" fmla="*/ 34 h 68"/>
                <a:gd name="T20" fmla="*/ 11 w 18"/>
                <a:gd name="T21" fmla="*/ 1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68">
                  <a:moveTo>
                    <a:pt x="11" y="12"/>
                  </a:moveTo>
                  <a:cubicBezTo>
                    <a:pt x="9" y="26"/>
                    <a:pt x="2" y="0"/>
                    <a:pt x="1" y="12"/>
                  </a:cubicBezTo>
                  <a:cubicBezTo>
                    <a:pt x="2" y="12"/>
                    <a:pt x="4" y="13"/>
                    <a:pt x="3" y="16"/>
                  </a:cubicBezTo>
                  <a:cubicBezTo>
                    <a:pt x="3" y="20"/>
                    <a:pt x="0" y="21"/>
                    <a:pt x="1" y="27"/>
                  </a:cubicBezTo>
                  <a:cubicBezTo>
                    <a:pt x="6" y="28"/>
                    <a:pt x="6" y="22"/>
                    <a:pt x="9" y="19"/>
                  </a:cubicBezTo>
                  <a:cubicBezTo>
                    <a:pt x="8" y="28"/>
                    <a:pt x="9" y="34"/>
                    <a:pt x="11" y="38"/>
                  </a:cubicBezTo>
                  <a:cubicBezTo>
                    <a:pt x="5" y="38"/>
                    <a:pt x="6" y="50"/>
                    <a:pt x="6" y="60"/>
                  </a:cubicBezTo>
                  <a:cubicBezTo>
                    <a:pt x="6" y="64"/>
                    <a:pt x="2" y="66"/>
                    <a:pt x="6" y="68"/>
                  </a:cubicBezTo>
                  <a:cubicBezTo>
                    <a:pt x="9" y="64"/>
                    <a:pt x="11" y="60"/>
                    <a:pt x="14" y="56"/>
                  </a:cubicBezTo>
                  <a:cubicBezTo>
                    <a:pt x="12" y="46"/>
                    <a:pt x="12" y="45"/>
                    <a:pt x="14" y="34"/>
                  </a:cubicBezTo>
                  <a:cubicBezTo>
                    <a:pt x="9" y="25"/>
                    <a:pt x="18" y="19"/>
                    <a:pt x="1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4" name="Freeform 156"/>
            <p:cNvSpPr>
              <a:spLocks/>
            </p:cNvSpPr>
            <p:nvPr userDrawn="1"/>
          </p:nvSpPr>
          <p:spPr bwMode="auto">
            <a:xfrm>
              <a:off x="2709376" y="4439427"/>
              <a:ext cx="57777" cy="118241"/>
            </a:xfrm>
            <a:custGeom>
              <a:avLst/>
              <a:gdLst>
                <a:gd name="T0" fmla="*/ 7 w 18"/>
                <a:gd name="T1" fmla="*/ 2 h 37"/>
                <a:gd name="T2" fmla="*/ 2 w 18"/>
                <a:gd name="T3" fmla="*/ 17 h 37"/>
                <a:gd name="T4" fmla="*/ 10 w 18"/>
                <a:gd name="T5" fmla="*/ 32 h 37"/>
                <a:gd name="T6" fmla="*/ 13 w 18"/>
                <a:gd name="T7" fmla="*/ 36 h 37"/>
                <a:gd name="T8" fmla="*/ 15 w 18"/>
                <a:gd name="T9" fmla="*/ 17 h 37"/>
                <a:gd name="T10" fmla="*/ 15 w 18"/>
                <a:gd name="T11" fmla="*/ 10 h 37"/>
                <a:gd name="T12" fmla="*/ 18 w 18"/>
                <a:gd name="T13" fmla="*/ 10 h 37"/>
                <a:gd name="T14" fmla="*/ 7 w 18"/>
                <a:gd name="T15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37">
                  <a:moveTo>
                    <a:pt x="7" y="2"/>
                  </a:moveTo>
                  <a:cubicBezTo>
                    <a:pt x="11" y="12"/>
                    <a:pt x="11" y="28"/>
                    <a:pt x="2" y="17"/>
                  </a:cubicBezTo>
                  <a:cubicBezTo>
                    <a:pt x="0" y="29"/>
                    <a:pt x="11" y="22"/>
                    <a:pt x="10" y="32"/>
                  </a:cubicBezTo>
                  <a:cubicBezTo>
                    <a:pt x="7" y="32"/>
                    <a:pt x="8" y="37"/>
                    <a:pt x="13" y="36"/>
                  </a:cubicBezTo>
                  <a:cubicBezTo>
                    <a:pt x="12" y="27"/>
                    <a:pt x="13" y="21"/>
                    <a:pt x="15" y="17"/>
                  </a:cubicBezTo>
                  <a:cubicBezTo>
                    <a:pt x="13" y="17"/>
                    <a:pt x="12" y="11"/>
                    <a:pt x="15" y="10"/>
                  </a:cubicBezTo>
                  <a:cubicBezTo>
                    <a:pt x="15" y="12"/>
                    <a:pt x="18" y="14"/>
                    <a:pt x="18" y="10"/>
                  </a:cubicBezTo>
                  <a:cubicBezTo>
                    <a:pt x="13" y="10"/>
                    <a:pt x="15" y="0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5" name="Freeform 157"/>
            <p:cNvSpPr>
              <a:spLocks/>
            </p:cNvSpPr>
            <p:nvPr userDrawn="1"/>
          </p:nvSpPr>
          <p:spPr bwMode="auto">
            <a:xfrm>
              <a:off x="3214589" y="4446145"/>
              <a:ext cx="30904" cy="60464"/>
            </a:xfrm>
            <a:custGeom>
              <a:avLst/>
              <a:gdLst>
                <a:gd name="T0" fmla="*/ 10 w 10"/>
                <a:gd name="T1" fmla="*/ 15 h 19"/>
                <a:gd name="T2" fmla="*/ 2 w 10"/>
                <a:gd name="T3" fmla="*/ 0 h 19"/>
                <a:gd name="T4" fmla="*/ 2 w 10"/>
                <a:gd name="T5" fmla="*/ 19 h 19"/>
                <a:gd name="T6" fmla="*/ 7 w 10"/>
                <a:gd name="T7" fmla="*/ 19 h 19"/>
                <a:gd name="T8" fmla="*/ 10 w 10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9">
                  <a:moveTo>
                    <a:pt x="10" y="15"/>
                  </a:moveTo>
                  <a:cubicBezTo>
                    <a:pt x="2" y="17"/>
                    <a:pt x="7" y="1"/>
                    <a:pt x="2" y="0"/>
                  </a:cubicBezTo>
                  <a:cubicBezTo>
                    <a:pt x="0" y="12"/>
                    <a:pt x="7" y="12"/>
                    <a:pt x="2" y="19"/>
                  </a:cubicBezTo>
                  <a:cubicBezTo>
                    <a:pt x="3" y="19"/>
                    <a:pt x="5" y="19"/>
                    <a:pt x="7" y="19"/>
                  </a:cubicBezTo>
                  <a:cubicBezTo>
                    <a:pt x="9" y="19"/>
                    <a:pt x="10" y="18"/>
                    <a:pt x="1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6" name="Freeform 158"/>
            <p:cNvSpPr>
              <a:spLocks/>
            </p:cNvSpPr>
            <p:nvPr userDrawn="1"/>
          </p:nvSpPr>
          <p:spPr bwMode="auto">
            <a:xfrm>
              <a:off x="2998261" y="4427334"/>
              <a:ext cx="92712" cy="100774"/>
            </a:xfrm>
            <a:custGeom>
              <a:avLst/>
              <a:gdLst>
                <a:gd name="T0" fmla="*/ 21 w 29"/>
                <a:gd name="T1" fmla="*/ 25 h 32"/>
                <a:gd name="T2" fmla="*/ 2 w 29"/>
                <a:gd name="T3" fmla="*/ 14 h 32"/>
                <a:gd name="T4" fmla="*/ 5 w 29"/>
                <a:gd name="T5" fmla="*/ 21 h 32"/>
                <a:gd name="T6" fmla="*/ 0 w 29"/>
                <a:gd name="T7" fmla="*/ 25 h 32"/>
                <a:gd name="T8" fmla="*/ 13 w 29"/>
                <a:gd name="T9" fmla="*/ 18 h 32"/>
                <a:gd name="T10" fmla="*/ 16 w 29"/>
                <a:gd name="T11" fmla="*/ 32 h 32"/>
                <a:gd name="T12" fmla="*/ 29 w 29"/>
                <a:gd name="T13" fmla="*/ 32 h 32"/>
                <a:gd name="T14" fmla="*/ 29 w 29"/>
                <a:gd name="T15" fmla="*/ 14 h 32"/>
                <a:gd name="T16" fmla="*/ 19 w 29"/>
                <a:gd name="T17" fmla="*/ 10 h 32"/>
                <a:gd name="T18" fmla="*/ 21 w 29"/>
                <a:gd name="T19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2">
                  <a:moveTo>
                    <a:pt x="21" y="25"/>
                  </a:moveTo>
                  <a:cubicBezTo>
                    <a:pt x="15" y="24"/>
                    <a:pt x="11" y="0"/>
                    <a:pt x="2" y="14"/>
                  </a:cubicBezTo>
                  <a:cubicBezTo>
                    <a:pt x="4" y="15"/>
                    <a:pt x="5" y="17"/>
                    <a:pt x="5" y="21"/>
                  </a:cubicBezTo>
                  <a:cubicBezTo>
                    <a:pt x="3" y="22"/>
                    <a:pt x="0" y="21"/>
                    <a:pt x="0" y="25"/>
                  </a:cubicBezTo>
                  <a:cubicBezTo>
                    <a:pt x="9" y="21"/>
                    <a:pt x="8" y="26"/>
                    <a:pt x="13" y="18"/>
                  </a:cubicBezTo>
                  <a:cubicBezTo>
                    <a:pt x="13" y="24"/>
                    <a:pt x="14" y="29"/>
                    <a:pt x="16" y="32"/>
                  </a:cubicBezTo>
                  <a:cubicBezTo>
                    <a:pt x="22" y="32"/>
                    <a:pt x="24" y="25"/>
                    <a:pt x="29" y="32"/>
                  </a:cubicBezTo>
                  <a:cubicBezTo>
                    <a:pt x="29" y="26"/>
                    <a:pt x="29" y="20"/>
                    <a:pt x="29" y="14"/>
                  </a:cubicBezTo>
                  <a:cubicBezTo>
                    <a:pt x="25" y="14"/>
                    <a:pt x="21" y="13"/>
                    <a:pt x="19" y="10"/>
                  </a:cubicBezTo>
                  <a:cubicBezTo>
                    <a:pt x="15" y="19"/>
                    <a:pt x="29" y="22"/>
                    <a:pt x="21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7" name="Freeform 159"/>
            <p:cNvSpPr>
              <a:spLocks/>
            </p:cNvSpPr>
            <p:nvPr userDrawn="1"/>
          </p:nvSpPr>
          <p:spPr bwMode="auto">
            <a:xfrm>
              <a:off x="2970044" y="4494517"/>
              <a:ext cx="53746" cy="84650"/>
            </a:xfrm>
            <a:custGeom>
              <a:avLst/>
              <a:gdLst>
                <a:gd name="T0" fmla="*/ 9 w 17"/>
                <a:gd name="T1" fmla="*/ 19 h 27"/>
                <a:gd name="T2" fmla="*/ 17 w 17"/>
                <a:gd name="T3" fmla="*/ 19 h 27"/>
                <a:gd name="T4" fmla="*/ 9 w 17"/>
                <a:gd name="T5" fmla="*/ 15 h 27"/>
                <a:gd name="T6" fmla="*/ 0 w 17"/>
                <a:gd name="T7" fmla="*/ 19 h 27"/>
                <a:gd name="T8" fmla="*/ 9 w 17"/>
                <a:gd name="T9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7">
                  <a:moveTo>
                    <a:pt x="9" y="19"/>
                  </a:moveTo>
                  <a:cubicBezTo>
                    <a:pt x="9" y="27"/>
                    <a:pt x="16" y="27"/>
                    <a:pt x="17" y="19"/>
                  </a:cubicBezTo>
                  <a:cubicBezTo>
                    <a:pt x="12" y="16"/>
                    <a:pt x="3" y="0"/>
                    <a:pt x="9" y="15"/>
                  </a:cubicBezTo>
                  <a:cubicBezTo>
                    <a:pt x="5" y="16"/>
                    <a:pt x="1" y="14"/>
                    <a:pt x="0" y="19"/>
                  </a:cubicBezTo>
                  <a:cubicBezTo>
                    <a:pt x="4" y="20"/>
                    <a:pt x="5" y="23"/>
                    <a:pt x="9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8" name="Freeform 160"/>
            <p:cNvSpPr>
              <a:spLocks/>
            </p:cNvSpPr>
            <p:nvPr userDrawn="1"/>
          </p:nvSpPr>
          <p:spPr bwMode="auto">
            <a:xfrm>
              <a:off x="2979450" y="4636944"/>
              <a:ext cx="57777" cy="126303"/>
            </a:xfrm>
            <a:custGeom>
              <a:avLst/>
              <a:gdLst>
                <a:gd name="T0" fmla="*/ 8 w 18"/>
                <a:gd name="T1" fmla="*/ 25 h 40"/>
                <a:gd name="T2" fmla="*/ 6 w 18"/>
                <a:gd name="T3" fmla="*/ 0 h 40"/>
                <a:gd name="T4" fmla="*/ 0 w 18"/>
                <a:gd name="T5" fmla="*/ 18 h 40"/>
                <a:gd name="T6" fmla="*/ 6 w 18"/>
                <a:gd name="T7" fmla="*/ 40 h 40"/>
                <a:gd name="T8" fmla="*/ 14 w 18"/>
                <a:gd name="T9" fmla="*/ 40 h 40"/>
                <a:gd name="T10" fmla="*/ 8 w 18"/>
                <a:gd name="T11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0">
                  <a:moveTo>
                    <a:pt x="8" y="25"/>
                  </a:moveTo>
                  <a:cubicBezTo>
                    <a:pt x="7" y="19"/>
                    <a:pt x="14" y="6"/>
                    <a:pt x="6" y="0"/>
                  </a:cubicBezTo>
                  <a:cubicBezTo>
                    <a:pt x="3" y="12"/>
                    <a:pt x="14" y="21"/>
                    <a:pt x="0" y="18"/>
                  </a:cubicBezTo>
                  <a:cubicBezTo>
                    <a:pt x="1" y="31"/>
                    <a:pt x="12" y="25"/>
                    <a:pt x="6" y="40"/>
                  </a:cubicBezTo>
                  <a:cubicBezTo>
                    <a:pt x="8" y="40"/>
                    <a:pt x="11" y="40"/>
                    <a:pt x="14" y="40"/>
                  </a:cubicBezTo>
                  <a:cubicBezTo>
                    <a:pt x="18" y="31"/>
                    <a:pt x="9" y="32"/>
                    <a:pt x="8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9" name="Freeform 161"/>
            <p:cNvSpPr>
              <a:spLocks/>
            </p:cNvSpPr>
            <p:nvPr userDrawn="1"/>
          </p:nvSpPr>
          <p:spPr bwMode="auto">
            <a:xfrm>
              <a:off x="3046632" y="4667848"/>
              <a:ext cx="91368" cy="118241"/>
            </a:xfrm>
            <a:custGeom>
              <a:avLst/>
              <a:gdLst>
                <a:gd name="T0" fmla="*/ 25 w 29"/>
                <a:gd name="T1" fmla="*/ 19 h 37"/>
                <a:gd name="T2" fmla="*/ 9 w 29"/>
                <a:gd name="T3" fmla="*/ 15 h 37"/>
                <a:gd name="T4" fmla="*/ 1 w 29"/>
                <a:gd name="T5" fmla="*/ 23 h 37"/>
                <a:gd name="T6" fmla="*/ 11 w 29"/>
                <a:gd name="T7" fmla="*/ 34 h 37"/>
                <a:gd name="T8" fmla="*/ 17 w 29"/>
                <a:gd name="T9" fmla="*/ 27 h 37"/>
                <a:gd name="T10" fmla="*/ 25 w 29"/>
                <a:gd name="T11" fmla="*/ 30 h 37"/>
                <a:gd name="T12" fmla="*/ 25 w 29"/>
                <a:gd name="T13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37">
                  <a:moveTo>
                    <a:pt x="25" y="19"/>
                  </a:moveTo>
                  <a:cubicBezTo>
                    <a:pt x="19" y="36"/>
                    <a:pt x="14" y="0"/>
                    <a:pt x="9" y="15"/>
                  </a:cubicBezTo>
                  <a:cubicBezTo>
                    <a:pt x="17" y="23"/>
                    <a:pt x="0" y="9"/>
                    <a:pt x="1" y="23"/>
                  </a:cubicBezTo>
                  <a:cubicBezTo>
                    <a:pt x="8" y="22"/>
                    <a:pt x="3" y="37"/>
                    <a:pt x="11" y="34"/>
                  </a:cubicBezTo>
                  <a:cubicBezTo>
                    <a:pt x="15" y="34"/>
                    <a:pt x="14" y="28"/>
                    <a:pt x="17" y="27"/>
                  </a:cubicBezTo>
                  <a:cubicBezTo>
                    <a:pt x="17" y="31"/>
                    <a:pt x="21" y="31"/>
                    <a:pt x="25" y="30"/>
                  </a:cubicBezTo>
                  <a:cubicBezTo>
                    <a:pt x="24" y="24"/>
                    <a:pt x="29" y="21"/>
                    <a:pt x="2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0" name="Freeform 162"/>
            <p:cNvSpPr>
              <a:spLocks/>
            </p:cNvSpPr>
            <p:nvPr userDrawn="1"/>
          </p:nvSpPr>
          <p:spPr bwMode="auto">
            <a:xfrm>
              <a:off x="3191747" y="4753841"/>
              <a:ext cx="79275" cy="67183"/>
            </a:xfrm>
            <a:custGeom>
              <a:avLst/>
              <a:gdLst>
                <a:gd name="T0" fmla="*/ 0 w 25"/>
                <a:gd name="T1" fmla="*/ 11 h 21"/>
                <a:gd name="T2" fmla="*/ 14 w 25"/>
                <a:gd name="T3" fmla="*/ 18 h 21"/>
                <a:gd name="T4" fmla="*/ 25 w 25"/>
                <a:gd name="T5" fmla="*/ 7 h 21"/>
                <a:gd name="T6" fmla="*/ 14 w 25"/>
                <a:gd name="T7" fmla="*/ 11 h 21"/>
                <a:gd name="T8" fmla="*/ 0 w 25"/>
                <a:gd name="T9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1">
                  <a:moveTo>
                    <a:pt x="0" y="11"/>
                  </a:moveTo>
                  <a:cubicBezTo>
                    <a:pt x="9" y="8"/>
                    <a:pt x="6" y="21"/>
                    <a:pt x="14" y="18"/>
                  </a:cubicBezTo>
                  <a:cubicBezTo>
                    <a:pt x="18" y="14"/>
                    <a:pt x="22" y="12"/>
                    <a:pt x="25" y="7"/>
                  </a:cubicBezTo>
                  <a:cubicBezTo>
                    <a:pt x="20" y="7"/>
                    <a:pt x="19" y="11"/>
                    <a:pt x="14" y="11"/>
                  </a:cubicBezTo>
                  <a:cubicBezTo>
                    <a:pt x="11" y="11"/>
                    <a:pt x="2" y="0"/>
                    <a:pt x="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1" name="Freeform 163"/>
            <p:cNvSpPr>
              <a:spLocks/>
            </p:cNvSpPr>
            <p:nvPr userDrawn="1"/>
          </p:nvSpPr>
          <p:spPr bwMode="auto">
            <a:xfrm>
              <a:off x="3030508" y="3239546"/>
              <a:ext cx="69870" cy="64495"/>
            </a:xfrm>
            <a:custGeom>
              <a:avLst/>
              <a:gdLst>
                <a:gd name="T0" fmla="*/ 19 w 22"/>
                <a:gd name="T1" fmla="*/ 0 h 20"/>
                <a:gd name="T2" fmla="*/ 3 w 22"/>
                <a:gd name="T3" fmla="*/ 0 h 20"/>
                <a:gd name="T4" fmla="*/ 0 w 22"/>
                <a:gd name="T5" fmla="*/ 11 h 20"/>
                <a:gd name="T6" fmla="*/ 22 w 22"/>
                <a:gd name="T7" fmla="*/ 18 h 20"/>
                <a:gd name="T8" fmla="*/ 19 w 22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0">
                  <a:moveTo>
                    <a:pt x="19" y="0"/>
                  </a:moveTo>
                  <a:cubicBezTo>
                    <a:pt x="14" y="0"/>
                    <a:pt x="9" y="0"/>
                    <a:pt x="3" y="0"/>
                  </a:cubicBezTo>
                  <a:cubicBezTo>
                    <a:pt x="3" y="5"/>
                    <a:pt x="2" y="8"/>
                    <a:pt x="0" y="11"/>
                  </a:cubicBezTo>
                  <a:cubicBezTo>
                    <a:pt x="6" y="15"/>
                    <a:pt x="11" y="20"/>
                    <a:pt x="22" y="18"/>
                  </a:cubicBezTo>
                  <a:cubicBezTo>
                    <a:pt x="21" y="5"/>
                    <a:pt x="15" y="13"/>
                    <a:pt x="1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2" name="Freeform 164"/>
            <p:cNvSpPr>
              <a:spLocks/>
            </p:cNvSpPr>
            <p:nvPr userDrawn="1"/>
          </p:nvSpPr>
          <p:spPr bwMode="auto">
            <a:xfrm>
              <a:off x="3116502" y="4325216"/>
              <a:ext cx="44341" cy="64495"/>
            </a:xfrm>
            <a:custGeom>
              <a:avLst/>
              <a:gdLst>
                <a:gd name="T0" fmla="*/ 6 w 14"/>
                <a:gd name="T1" fmla="*/ 1 h 20"/>
                <a:gd name="T2" fmla="*/ 3 w 14"/>
                <a:gd name="T3" fmla="*/ 20 h 20"/>
                <a:gd name="T4" fmla="*/ 14 w 14"/>
                <a:gd name="T5" fmla="*/ 20 h 20"/>
                <a:gd name="T6" fmla="*/ 6 w 14"/>
                <a:gd name="T7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0">
                  <a:moveTo>
                    <a:pt x="6" y="1"/>
                  </a:moveTo>
                  <a:cubicBezTo>
                    <a:pt x="0" y="9"/>
                    <a:pt x="8" y="13"/>
                    <a:pt x="3" y="20"/>
                  </a:cubicBezTo>
                  <a:cubicBezTo>
                    <a:pt x="7" y="20"/>
                    <a:pt x="10" y="20"/>
                    <a:pt x="14" y="20"/>
                  </a:cubicBezTo>
                  <a:cubicBezTo>
                    <a:pt x="14" y="9"/>
                    <a:pt x="14" y="0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3" name="Freeform 165"/>
            <p:cNvSpPr>
              <a:spLocks/>
            </p:cNvSpPr>
            <p:nvPr userDrawn="1"/>
          </p:nvSpPr>
          <p:spPr bwMode="auto">
            <a:xfrm>
              <a:off x="7714479" y="2323175"/>
              <a:ext cx="4031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4" name="Freeform 166"/>
            <p:cNvSpPr>
              <a:spLocks/>
            </p:cNvSpPr>
            <p:nvPr userDrawn="1"/>
          </p:nvSpPr>
          <p:spPr bwMode="auto">
            <a:xfrm>
              <a:off x="2783277" y="4115607"/>
              <a:ext cx="56433" cy="51059"/>
            </a:xfrm>
            <a:custGeom>
              <a:avLst/>
              <a:gdLst>
                <a:gd name="T0" fmla="*/ 11 w 18"/>
                <a:gd name="T1" fmla="*/ 8 h 16"/>
                <a:gd name="T2" fmla="*/ 14 w 18"/>
                <a:gd name="T3" fmla="*/ 16 h 16"/>
                <a:gd name="T4" fmla="*/ 6 w 18"/>
                <a:gd name="T5" fmla="*/ 5 h 16"/>
                <a:gd name="T6" fmla="*/ 6 w 18"/>
                <a:gd name="T7" fmla="*/ 1 h 16"/>
                <a:gd name="T8" fmla="*/ 0 w 18"/>
                <a:gd name="T9" fmla="*/ 1 h 16"/>
                <a:gd name="T10" fmla="*/ 11 w 1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6">
                  <a:moveTo>
                    <a:pt x="11" y="8"/>
                  </a:moveTo>
                  <a:cubicBezTo>
                    <a:pt x="12" y="11"/>
                    <a:pt x="11" y="16"/>
                    <a:pt x="14" y="16"/>
                  </a:cubicBezTo>
                  <a:cubicBezTo>
                    <a:pt x="18" y="2"/>
                    <a:pt x="9" y="7"/>
                    <a:pt x="6" y="5"/>
                  </a:cubicBezTo>
                  <a:cubicBezTo>
                    <a:pt x="5" y="4"/>
                    <a:pt x="6" y="1"/>
                    <a:pt x="6" y="1"/>
                  </a:cubicBezTo>
                  <a:cubicBezTo>
                    <a:pt x="5" y="0"/>
                    <a:pt x="1" y="2"/>
                    <a:pt x="0" y="1"/>
                  </a:cubicBezTo>
                  <a:cubicBezTo>
                    <a:pt x="2" y="6"/>
                    <a:pt x="6" y="8"/>
                    <a:pt x="1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5" name="Freeform 167"/>
            <p:cNvSpPr>
              <a:spLocks/>
            </p:cNvSpPr>
            <p:nvPr userDrawn="1"/>
          </p:nvSpPr>
          <p:spPr bwMode="auto">
            <a:xfrm>
              <a:off x="3414793" y="2509943"/>
              <a:ext cx="2687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6" name="Freeform 168"/>
            <p:cNvSpPr>
              <a:spLocks noEditPoints="1"/>
            </p:cNvSpPr>
            <p:nvPr userDrawn="1"/>
          </p:nvSpPr>
          <p:spPr bwMode="auto">
            <a:xfrm>
              <a:off x="2541419" y="1687628"/>
              <a:ext cx="6608080" cy="4310435"/>
            </a:xfrm>
            <a:custGeom>
              <a:avLst/>
              <a:gdLst>
                <a:gd name="T0" fmla="*/ 1924 w 2082"/>
                <a:gd name="T1" fmla="*/ 100 h 1358"/>
                <a:gd name="T2" fmla="*/ 1692 w 2082"/>
                <a:gd name="T3" fmla="*/ 41 h 1358"/>
                <a:gd name="T4" fmla="*/ 1606 w 2082"/>
                <a:gd name="T5" fmla="*/ 174 h 1358"/>
                <a:gd name="T6" fmla="*/ 1364 w 2082"/>
                <a:gd name="T7" fmla="*/ 145 h 1358"/>
                <a:gd name="T8" fmla="*/ 1063 w 2082"/>
                <a:gd name="T9" fmla="*/ 100 h 1358"/>
                <a:gd name="T10" fmla="*/ 738 w 2082"/>
                <a:gd name="T11" fmla="*/ 78 h 1358"/>
                <a:gd name="T12" fmla="*/ 356 w 2082"/>
                <a:gd name="T13" fmla="*/ 22 h 1358"/>
                <a:gd name="T14" fmla="*/ 17 w 2082"/>
                <a:gd name="T15" fmla="*/ 333 h 1358"/>
                <a:gd name="T16" fmla="*/ 36 w 2082"/>
                <a:gd name="T17" fmla="*/ 751 h 1358"/>
                <a:gd name="T18" fmla="*/ 176 w 2082"/>
                <a:gd name="T19" fmla="*/ 662 h 1358"/>
                <a:gd name="T20" fmla="*/ 243 w 2082"/>
                <a:gd name="T21" fmla="*/ 884 h 1358"/>
                <a:gd name="T22" fmla="*/ 698 w 2082"/>
                <a:gd name="T23" fmla="*/ 1210 h 1358"/>
                <a:gd name="T24" fmla="*/ 1101 w 2082"/>
                <a:gd name="T25" fmla="*/ 1287 h 1358"/>
                <a:gd name="T26" fmla="*/ 1480 w 2082"/>
                <a:gd name="T27" fmla="*/ 1317 h 1358"/>
                <a:gd name="T28" fmla="*/ 1881 w 2082"/>
                <a:gd name="T29" fmla="*/ 1350 h 1358"/>
                <a:gd name="T30" fmla="*/ 189 w 2082"/>
                <a:gd name="T31" fmla="*/ 644 h 1358"/>
                <a:gd name="T32" fmla="*/ 146 w 2082"/>
                <a:gd name="T33" fmla="*/ 403 h 1358"/>
                <a:gd name="T34" fmla="*/ 111 w 2082"/>
                <a:gd name="T35" fmla="*/ 599 h 1358"/>
                <a:gd name="T36" fmla="*/ 135 w 2082"/>
                <a:gd name="T37" fmla="*/ 485 h 1358"/>
                <a:gd name="T38" fmla="*/ 165 w 2082"/>
                <a:gd name="T39" fmla="*/ 267 h 1358"/>
                <a:gd name="T40" fmla="*/ 74 w 2082"/>
                <a:gd name="T41" fmla="*/ 218 h 1358"/>
                <a:gd name="T42" fmla="*/ 130 w 2082"/>
                <a:gd name="T43" fmla="*/ 659 h 1358"/>
                <a:gd name="T44" fmla="*/ 157 w 2082"/>
                <a:gd name="T45" fmla="*/ 448 h 1358"/>
                <a:gd name="T46" fmla="*/ 447 w 2082"/>
                <a:gd name="T47" fmla="*/ 648 h 1358"/>
                <a:gd name="T48" fmla="*/ 353 w 2082"/>
                <a:gd name="T49" fmla="*/ 755 h 1358"/>
                <a:gd name="T50" fmla="*/ 267 w 2082"/>
                <a:gd name="T51" fmla="*/ 537 h 1358"/>
                <a:gd name="T52" fmla="*/ 246 w 2082"/>
                <a:gd name="T53" fmla="*/ 448 h 1358"/>
                <a:gd name="T54" fmla="*/ 386 w 2082"/>
                <a:gd name="T55" fmla="*/ 307 h 1358"/>
                <a:gd name="T56" fmla="*/ 375 w 2082"/>
                <a:gd name="T57" fmla="*/ 311 h 1358"/>
                <a:gd name="T58" fmla="*/ 321 w 2082"/>
                <a:gd name="T59" fmla="*/ 570 h 1358"/>
                <a:gd name="T60" fmla="*/ 316 w 2082"/>
                <a:gd name="T61" fmla="*/ 385 h 1358"/>
                <a:gd name="T62" fmla="*/ 294 w 2082"/>
                <a:gd name="T63" fmla="*/ 699 h 1358"/>
                <a:gd name="T64" fmla="*/ 351 w 2082"/>
                <a:gd name="T65" fmla="*/ 651 h 1358"/>
                <a:gd name="T66" fmla="*/ 412 w 2082"/>
                <a:gd name="T67" fmla="*/ 614 h 1358"/>
                <a:gd name="T68" fmla="*/ 353 w 2082"/>
                <a:gd name="T69" fmla="*/ 307 h 1358"/>
                <a:gd name="T70" fmla="*/ 275 w 2082"/>
                <a:gd name="T71" fmla="*/ 178 h 1358"/>
                <a:gd name="T72" fmla="*/ 230 w 2082"/>
                <a:gd name="T73" fmla="*/ 163 h 1358"/>
                <a:gd name="T74" fmla="*/ 254 w 2082"/>
                <a:gd name="T75" fmla="*/ 670 h 1358"/>
                <a:gd name="T76" fmla="*/ 308 w 2082"/>
                <a:gd name="T77" fmla="*/ 762 h 1358"/>
                <a:gd name="T78" fmla="*/ 496 w 2082"/>
                <a:gd name="T79" fmla="*/ 807 h 1358"/>
                <a:gd name="T80" fmla="*/ 918 w 2082"/>
                <a:gd name="T81" fmla="*/ 1235 h 1358"/>
                <a:gd name="T82" fmla="*/ 1176 w 2082"/>
                <a:gd name="T83" fmla="*/ 1217 h 1358"/>
                <a:gd name="T84" fmla="*/ 1260 w 2082"/>
                <a:gd name="T85" fmla="*/ 237 h 1358"/>
                <a:gd name="T86" fmla="*/ 1319 w 2082"/>
                <a:gd name="T87" fmla="*/ 196 h 1358"/>
                <a:gd name="T88" fmla="*/ 1566 w 2082"/>
                <a:gd name="T89" fmla="*/ 263 h 1358"/>
                <a:gd name="T90" fmla="*/ 1448 w 2082"/>
                <a:gd name="T91" fmla="*/ 167 h 1358"/>
                <a:gd name="T92" fmla="*/ 1367 w 2082"/>
                <a:gd name="T93" fmla="*/ 599 h 1358"/>
                <a:gd name="T94" fmla="*/ 1415 w 2082"/>
                <a:gd name="T95" fmla="*/ 1306 h 1358"/>
                <a:gd name="T96" fmla="*/ 1467 w 2082"/>
                <a:gd name="T97" fmla="*/ 640 h 1358"/>
                <a:gd name="T98" fmla="*/ 1553 w 2082"/>
                <a:gd name="T99" fmla="*/ 1291 h 1358"/>
                <a:gd name="T100" fmla="*/ 2055 w 2082"/>
                <a:gd name="T101" fmla="*/ 562 h 1358"/>
                <a:gd name="T102" fmla="*/ 1996 w 2082"/>
                <a:gd name="T103" fmla="*/ 537 h 1358"/>
                <a:gd name="T104" fmla="*/ 1948 w 2082"/>
                <a:gd name="T105" fmla="*/ 178 h 1358"/>
                <a:gd name="T106" fmla="*/ 1918 w 2082"/>
                <a:gd name="T107" fmla="*/ 71 h 1358"/>
                <a:gd name="T108" fmla="*/ 1840 w 2082"/>
                <a:gd name="T109" fmla="*/ 170 h 1358"/>
                <a:gd name="T110" fmla="*/ 1738 w 2082"/>
                <a:gd name="T111" fmla="*/ 1265 h 1358"/>
                <a:gd name="T112" fmla="*/ 1730 w 2082"/>
                <a:gd name="T113" fmla="*/ 603 h 1358"/>
                <a:gd name="T114" fmla="*/ 1666 w 2082"/>
                <a:gd name="T115" fmla="*/ 215 h 1358"/>
                <a:gd name="T116" fmla="*/ 1746 w 2082"/>
                <a:gd name="T117" fmla="*/ 1295 h 1358"/>
                <a:gd name="T118" fmla="*/ 1811 w 2082"/>
                <a:gd name="T119" fmla="*/ 1254 h 1358"/>
                <a:gd name="T120" fmla="*/ 1848 w 2082"/>
                <a:gd name="T121" fmla="*/ 215 h 1358"/>
                <a:gd name="T122" fmla="*/ 1899 w 2082"/>
                <a:gd name="T123" fmla="*/ 1199 h 1358"/>
                <a:gd name="T124" fmla="*/ 2039 w 2082"/>
                <a:gd name="T125" fmla="*/ 1306 h 1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82" h="1358">
                  <a:moveTo>
                    <a:pt x="2050" y="100"/>
                  </a:moveTo>
                  <a:cubicBezTo>
                    <a:pt x="2048" y="103"/>
                    <a:pt x="2053" y="115"/>
                    <a:pt x="2045" y="119"/>
                  </a:cubicBezTo>
                  <a:cubicBezTo>
                    <a:pt x="2041" y="120"/>
                    <a:pt x="2037" y="118"/>
                    <a:pt x="2034" y="119"/>
                  </a:cubicBezTo>
                  <a:cubicBezTo>
                    <a:pt x="2032" y="131"/>
                    <a:pt x="2045" y="123"/>
                    <a:pt x="2042" y="137"/>
                  </a:cubicBezTo>
                  <a:cubicBezTo>
                    <a:pt x="2047" y="138"/>
                    <a:pt x="2047" y="132"/>
                    <a:pt x="2050" y="130"/>
                  </a:cubicBezTo>
                  <a:cubicBezTo>
                    <a:pt x="2050" y="133"/>
                    <a:pt x="2050" y="137"/>
                    <a:pt x="2050" y="141"/>
                  </a:cubicBezTo>
                  <a:cubicBezTo>
                    <a:pt x="2057" y="143"/>
                    <a:pt x="2071" y="136"/>
                    <a:pt x="2074" y="145"/>
                  </a:cubicBezTo>
                  <a:cubicBezTo>
                    <a:pt x="2074" y="147"/>
                    <a:pt x="2074" y="152"/>
                    <a:pt x="2072" y="152"/>
                  </a:cubicBezTo>
                  <a:cubicBezTo>
                    <a:pt x="2067" y="151"/>
                    <a:pt x="2062" y="141"/>
                    <a:pt x="2058" y="145"/>
                  </a:cubicBezTo>
                  <a:cubicBezTo>
                    <a:pt x="2057" y="146"/>
                    <a:pt x="2059" y="153"/>
                    <a:pt x="2055" y="152"/>
                  </a:cubicBezTo>
                  <a:cubicBezTo>
                    <a:pt x="2053" y="144"/>
                    <a:pt x="2049" y="139"/>
                    <a:pt x="2039" y="141"/>
                  </a:cubicBezTo>
                  <a:cubicBezTo>
                    <a:pt x="2041" y="153"/>
                    <a:pt x="2037" y="158"/>
                    <a:pt x="2037" y="167"/>
                  </a:cubicBezTo>
                  <a:cubicBezTo>
                    <a:pt x="2048" y="170"/>
                    <a:pt x="2047" y="157"/>
                    <a:pt x="2053" y="152"/>
                  </a:cubicBezTo>
                  <a:cubicBezTo>
                    <a:pt x="2050" y="162"/>
                    <a:pt x="2057" y="162"/>
                    <a:pt x="2055" y="170"/>
                  </a:cubicBezTo>
                  <a:cubicBezTo>
                    <a:pt x="2059" y="171"/>
                    <a:pt x="2062" y="171"/>
                    <a:pt x="2061" y="178"/>
                  </a:cubicBezTo>
                  <a:cubicBezTo>
                    <a:pt x="2057" y="172"/>
                    <a:pt x="2050" y="170"/>
                    <a:pt x="2045" y="167"/>
                  </a:cubicBezTo>
                  <a:cubicBezTo>
                    <a:pt x="2042" y="172"/>
                    <a:pt x="2043" y="181"/>
                    <a:pt x="2034" y="178"/>
                  </a:cubicBezTo>
                  <a:cubicBezTo>
                    <a:pt x="2038" y="165"/>
                    <a:pt x="2033" y="151"/>
                    <a:pt x="2037" y="137"/>
                  </a:cubicBezTo>
                  <a:cubicBezTo>
                    <a:pt x="2032" y="137"/>
                    <a:pt x="2034" y="128"/>
                    <a:pt x="2029" y="130"/>
                  </a:cubicBezTo>
                  <a:cubicBezTo>
                    <a:pt x="2028" y="137"/>
                    <a:pt x="2032" y="137"/>
                    <a:pt x="2034" y="141"/>
                  </a:cubicBezTo>
                  <a:cubicBezTo>
                    <a:pt x="2028" y="144"/>
                    <a:pt x="2032" y="154"/>
                    <a:pt x="2031" y="159"/>
                  </a:cubicBezTo>
                  <a:cubicBezTo>
                    <a:pt x="2031" y="160"/>
                    <a:pt x="2029" y="160"/>
                    <a:pt x="2029" y="163"/>
                  </a:cubicBezTo>
                  <a:cubicBezTo>
                    <a:pt x="2028" y="168"/>
                    <a:pt x="2028" y="171"/>
                    <a:pt x="2026" y="174"/>
                  </a:cubicBezTo>
                  <a:cubicBezTo>
                    <a:pt x="2023" y="180"/>
                    <a:pt x="2024" y="190"/>
                    <a:pt x="2020" y="193"/>
                  </a:cubicBezTo>
                  <a:cubicBezTo>
                    <a:pt x="2013" y="185"/>
                    <a:pt x="2023" y="171"/>
                    <a:pt x="2026" y="167"/>
                  </a:cubicBezTo>
                  <a:cubicBezTo>
                    <a:pt x="2027" y="155"/>
                    <a:pt x="2019" y="157"/>
                    <a:pt x="2018" y="148"/>
                  </a:cubicBezTo>
                  <a:cubicBezTo>
                    <a:pt x="2021" y="148"/>
                    <a:pt x="2022" y="153"/>
                    <a:pt x="2026" y="152"/>
                  </a:cubicBezTo>
                  <a:cubicBezTo>
                    <a:pt x="2029" y="152"/>
                    <a:pt x="2029" y="142"/>
                    <a:pt x="2026" y="141"/>
                  </a:cubicBezTo>
                  <a:cubicBezTo>
                    <a:pt x="2026" y="156"/>
                    <a:pt x="2022" y="141"/>
                    <a:pt x="2020" y="137"/>
                  </a:cubicBezTo>
                  <a:cubicBezTo>
                    <a:pt x="2012" y="140"/>
                    <a:pt x="2015" y="140"/>
                    <a:pt x="2007" y="137"/>
                  </a:cubicBezTo>
                  <a:cubicBezTo>
                    <a:pt x="2000" y="144"/>
                    <a:pt x="2009" y="172"/>
                    <a:pt x="2002" y="178"/>
                  </a:cubicBezTo>
                  <a:cubicBezTo>
                    <a:pt x="1999" y="168"/>
                    <a:pt x="1995" y="172"/>
                    <a:pt x="1999" y="167"/>
                  </a:cubicBezTo>
                  <a:cubicBezTo>
                    <a:pt x="2001" y="164"/>
                    <a:pt x="1990" y="162"/>
                    <a:pt x="1991" y="159"/>
                  </a:cubicBezTo>
                  <a:cubicBezTo>
                    <a:pt x="1990" y="153"/>
                    <a:pt x="1995" y="150"/>
                    <a:pt x="1991" y="148"/>
                  </a:cubicBezTo>
                  <a:cubicBezTo>
                    <a:pt x="1991" y="150"/>
                    <a:pt x="1989" y="152"/>
                    <a:pt x="1988" y="148"/>
                  </a:cubicBezTo>
                  <a:cubicBezTo>
                    <a:pt x="1994" y="147"/>
                    <a:pt x="1995" y="141"/>
                    <a:pt x="1999" y="137"/>
                  </a:cubicBezTo>
                  <a:cubicBezTo>
                    <a:pt x="2000" y="143"/>
                    <a:pt x="2002" y="136"/>
                    <a:pt x="2007" y="137"/>
                  </a:cubicBezTo>
                  <a:cubicBezTo>
                    <a:pt x="2009" y="134"/>
                    <a:pt x="2008" y="129"/>
                    <a:pt x="2010" y="126"/>
                  </a:cubicBezTo>
                  <a:cubicBezTo>
                    <a:pt x="2010" y="126"/>
                    <a:pt x="2012" y="126"/>
                    <a:pt x="2012" y="126"/>
                  </a:cubicBezTo>
                  <a:cubicBezTo>
                    <a:pt x="2013" y="121"/>
                    <a:pt x="2010" y="118"/>
                    <a:pt x="2010" y="115"/>
                  </a:cubicBezTo>
                  <a:cubicBezTo>
                    <a:pt x="2010" y="115"/>
                    <a:pt x="2013" y="114"/>
                    <a:pt x="2012" y="111"/>
                  </a:cubicBezTo>
                  <a:cubicBezTo>
                    <a:pt x="2012" y="111"/>
                    <a:pt x="2007" y="109"/>
                    <a:pt x="2007" y="108"/>
                  </a:cubicBezTo>
                  <a:cubicBezTo>
                    <a:pt x="2007" y="113"/>
                    <a:pt x="2007" y="120"/>
                    <a:pt x="2002" y="119"/>
                  </a:cubicBezTo>
                  <a:cubicBezTo>
                    <a:pt x="2001" y="112"/>
                    <a:pt x="2005" y="111"/>
                    <a:pt x="2004" y="104"/>
                  </a:cubicBezTo>
                  <a:cubicBezTo>
                    <a:pt x="2001" y="104"/>
                    <a:pt x="1998" y="106"/>
                    <a:pt x="1996" y="108"/>
                  </a:cubicBezTo>
                  <a:cubicBezTo>
                    <a:pt x="2003" y="102"/>
                    <a:pt x="1993" y="95"/>
                    <a:pt x="1988" y="96"/>
                  </a:cubicBezTo>
                  <a:cubicBezTo>
                    <a:pt x="1985" y="98"/>
                    <a:pt x="1986" y="102"/>
                    <a:pt x="1983" y="104"/>
                  </a:cubicBezTo>
                  <a:cubicBezTo>
                    <a:pt x="1983" y="99"/>
                    <a:pt x="1984" y="96"/>
                    <a:pt x="1986" y="93"/>
                  </a:cubicBezTo>
                  <a:cubicBezTo>
                    <a:pt x="1982" y="93"/>
                    <a:pt x="1978" y="93"/>
                    <a:pt x="1975" y="93"/>
                  </a:cubicBezTo>
                  <a:cubicBezTo>
                    <a:pt x="1974" y="97"/>
                    <a:pt x="1975" y="103"/>
                    <a:pt x="1972" y="104"/>
                  </a:cubicBezTo>
                  <a:cubicBezTo>
                    <a:pt x="1969" y="104"/>
                    <a:pt x="1970" y="97"/>
                    <a:pt x="1967" y="96"/>
                  </a:cubicBezTo>
                  <a:cubicBezTo>
                    <a:pt x="1967" y="97"/>
                    <a:pt x="1960" y="104"/>
                    <a:pt x="1956" y="100"/>
                  </a:cubicBezTo>
                  <a:cubicBezTo>
                    <a:pt x="1955" y="90"/>
                    <a:pt x="1948" y="87"/>
                    <a:pt x="1940" y="85"/>
                  </a:cubicBezTo>
                  <a:cubicBezTo>
                    <a:pt x="1939" y="93"/>
                    <a:pt x="1943" y="93"/>
                    <a:pt x="1945" y="96"/>
                  </a:cubicBezTo>
                  <a:cubicBezTo>
                    <a:pt x="1936" y="90"/>
                    <a:pt x="1937" y="97"/>
                    <a:pt x="1932" y="104"/>
                  </a:cubicBezTo>
                  <a:cubicBezTo>
                    <a:pt x="1930" y="93"/>
                    <a:pt x="1936" y="93"/>
                    <a:pt x="1934" y="82"/>
                  </a:cubicBezTo>
                  <a:cubicBezTo>
                    <a:pt x="1924" y="83"/>
                    <a:pt x="1936" y="98"/>
                    <a:pt x="1924" y="100"/>
                  </a:cubicBezTo>
                  <a:cubicBezTo>
                    <a:pt x="1928" y="88"/>
                    <a:pt x="1922" y="81"/>
                    <a:pt x="1924" y="63"/>
                  </a:cubicBezTo>
                  <a:cubicBezTo>
                    <a:pt x="1920" y="64"/>
                    <a:pt x="1915" y="60"/>
                    <a:pt x="1916" y="56"/>
                  </a:cubicBezTo>
                  <a:cubicBezTo>
                    <a:pt x="1916" y="56"/>
                    <a:pt x="1920" y="54"/>
                    <a:pt x="1918" y="52"/>
                  </a:cubicBezTo>
                  <a:cubicBezTo>
                    <a:pt x="1914" y="48"/>
                    <a:pt x="1902" y="50"/>
                    <a:pt x="1905" y="52"/>
                  </a:cubicBezTo>
                  <a:cubicBezTo>
                    <a:pt x="1908" y="54"/>
                    <a:pt x="1910" y="57"/>
                    <a:pt x="1910" y="63"/>
                  </a:cubicBezTo>
                  <a:cubicBezTo>
                    <a:pt x="1905" y="59"/>
                    <a:pt x="1897" y="69"/>
                    <a:pt x="1905" y="71"/>
                  </a:cubicBezTo>
                  <a:cubicBezTo>
                    <a:pt x="1905" y="67"/>
                    <a:pt x="1910" y="66"/>
                    <a:pt x="1910" y="71"/>
                  </a:cubicBezTo>
                  <a:cubicBezTo>
                    <a:pt x="1909" y="76"/>
                    <a:pt x="1906" y="80"/>
                    <a:pt x="1902" y="82"/>
                  </a:cubicBezTo>
                  <a:cubicBezTo>
                    <a:pt x="1896" y="73"/>
                    <a:pt x="1893" y="76"/>
                    <a:pt x="1886" y="82"/>
                  </a:cubicBezTo>
                  <a:cubicBezTo>
                    <a:pt x="1884" y="95"/>
                    <a:pt x="1889" y="100"/>
                    <a:pt x="1891" y="108"/>
                  </a:cubicBezTo>
                  <a:cubicBezTo>
                    <a:pt x="1888" y="112"/>
                    <a:pt x="1881" y="109"/>
                    <a:pt x="1878" y="104"/>
                  </a:cubicBezTo>
                  <a:cubicBezTo>
                    <a:pt x="1881" y="102"/>
                    <a:pt x="1884" y="99"/>
                    <a:pt x="1883" y="93"/>
                  </a:cubicBezTo>
                  <a:cubicBezTo>
                    <a:pt x="1877" y="93"/>
                    <a:pt x="1875" y="100"/>
                    <a:pt x="1873" y="89"/>
                  </a:cubicBezTo>
                  <a:cubicBezTo>
                    <a:pt x="1871" y="83"/>
                    <a:pt x="1876" y="67"/>
                    <a:pt x="1870" y="67"/>
                  </a:cubicBezTo>
                  <a:cubicBezTo>
                    <a:pt x="1870" y="84"/>
                    <a:pt x="1861" y="97"/>
                    <a:pt x="1862" y="111"/>
                  </a:cubicBezTo>
                  <a:cubicBezTo>
                    <a:pt x="1862" y="119"/>
                    <a:pt x="1874" y="123"/>
                    <a:pt x="1865" y="130"/>
                  </a:cubicBezTo>
                  <a:cubicBezTo>
                    <a:pt x="1854" y="127"/>
                    <a:pt x="1867" y="117"/>
                    <a:pt x="1856" y="115"/>
                  </a:cubicBezTo>
                  <a:cubicBezTo>
                    <a:pt x="1852" y="121"/>
                    <a:pt x="1857" y="147"/>
                    <a:pt x="1848" y="156"/>
                  </a:cubicBezTo>
                  <a:cubicBezTo>
                    <a:pt x="1850" y="144"/>
                    <a:pt x="1844" y="145"/>
                    <a:pt x="1846" y="133"/>
                  </a:cubicBezTo>
                  <a:cubicBezTo>
                    <a:pt x="1855" y="137"/>
                    <a:pt x="1850" y="122"/>
                    <a:pt x="1851" y="115"/>
                  </a:cubicBezTo>
                  <a:cubicBezTo>
                    <a:pt x="1842" y="117"/>
                    <a:pt x="1840" y="91"/>
                    <a:pt x="1846" y="85"/>
                  </a:cubicBezTo>
                  <a:cubicBezTo>
                    <a:pt x="1849" y="86"/>
                    <a:pt x="1852" y="105"/>
                    <a:pt x="1856" y="93"/>
                  </a:cubicBezTo>
                  <a:cubicBezTo>
                    <a:pt x="1850" y="85"/>
                    <a:pt x="1863" y="96"/>
                    <a:pt x="1865" y="89"/>
                  </a:cubicBezTo>
                  <a:cubicBezTo>
                    <a:pt x="1865" y="79"/>
                    <a:pt x="1863" y="68"/>
                    <a:pt x="1867" y="63"/>
                  </a:cubicBezTo>
                  <a:cubicBezTo>
                    <a:pt x="1862" y="62"/>
                    <a:pt x="1861" y="67"/>
                    <a:pt x="1856" y="67"/>
                  </a:cubicBezTo>
                  <a:cubicBezTo>
                    <a:pt x="1853" y="67"/>
                    <a:pt x="1852" y="59"/>
                    <a:pt x="1848" y="60"/>
                  </a:cubicBezTo>
                  <a:cubicBezTo>
                    <a:pt x="1847" y="60"/>
                    <a:pt x="1847" y="65"/>
                    <a:pt x="1843" y="63"/>
                  </a:cubicBezTo>
                  <a:cubicBezTo>
                    <a:pt x="1843" y="63"/>
                    <a:pt x="1843" y="57"/>
                    <a:pt x="1843" y="56"/>
                  </a:cubicBezTo>
                  <a:cubicBezTo>
                    <a:pt x="1837" y="57"/>
                    <a:pt x="1832" y="60"/>
                    <a:pt x="1827" y="63"/>
                  </a:cubicBezTo>
                  <a:cubicBezTo>
                    <a:pt x="1827" y="57"/>
                    <a:pt x="1827" y="50"/>
                    <a:pt x="1822" y="52"/>
                  </a:cubicBezTo>
                  <a:cubicBezTo>
                    <a:pt x="1821" y="56"/>
                    <a:pt x="1822" y="63"/>
                    <a:pt x="1819" y="63"/>
                  </a:cubicBezTo>
                  <a:cubicBezTo>
                    <a:pt x="1817" y="57"/>
                    <a:pt x="1816" y="65"/>
                    <a:pt x="1813" y="67"/>
                  </a:cubicBezTo>
                  <a:cubicBezTo>
                    <a:pt x="1810" y="55"/>
                    <a:pt x="1818" y="58"/>
                    <a:pt x="1819" y="52"/>
                  </a:cubicBezTo>
                  <a:cubicBezTo>
                    <a:pt x="1810" y="55"/>
                    <a:pt x="1813" y="55"/>
                    <a:pt x="1808" y="48"/>
                  </a:cubicBezTo>
                  <a:cubicBezTo>
                    <a:pt x="1809" y="54"/>
                    <a:pt x="1798" y="61"/>
                    <a:pt x="1797" y="52"/>
                  </a:cubicBezTo>
                  <a:cubicBezTo>
                    <a:pt x="1796" y="44"/>
                    <a:pt x="1808" y="57"/>
                    <a:pt x="1800" y="48"/>
                  </a:cubicBezTo>
                  <a:cubicBezTo>
                    <a:pt x="1798" y="36"/>
                    <a:pt x="1792" y="64"/>
                    <a:pt x="1792" y="48"/>
                  </a:cubicBezTo>
                  <a:cubicBezTo>
                    <a:pt x="1792" y="43"/>
                    <a:pt x="1783" y="41"/>
                    <a:pt x="1778" y="41"/>
                  </a:cubicBezTo>
                  <a:cubicBezTo>
                    <a:pt x="1778" y="45"/>
                    <a:pt x="1779" y="51"/>
                    <a:pt x="1776" y="52"/>
                  </a:cubicBezTo>
                  <a:cubicBezTo>
                    <a:pt x="1778" y="34"/>
                    <a:pt x="1767" y="40"/>
                    <a:pt x="1765" y="41"/>
                  </a:cubicBezTo>
                  <a:cubicBezTo>
                    <a:pt x="1756" y="44"/>
                    <a:pt x="1758" y="34"/>
                    <a:pt x="1752" y="37"/>
                  </a:cubicBezTo>
                  <a:cubicBezTo>
                    <a:pt x="1750" y="38"/>
                    <a:pt x="1752" y="46"/>
                    <a:pt x="1749" y="45"/>
                  </a:cubicBezTo>
                  <a:cubicBezTo>
                    <a:pt x="1748" y="40"/>
                    <a:pt x="1749" y="34"/>
                    <a:pt x="1746" y="34"/>
                  </a:cubicBezTo>
                  <a:cubicBezTo>
                    <a:pt x="1744" y="42"/>
                    <a:pt x="1729" y="44"/>
                    <a:pt x="1727" y="30"/>
                  </a:cubicBezTo>
                  <a:cubicBezTo>
                    <a:pt x="1728" y="24"/>
                    <a:pt x="1734" y="27"/>
                    <a:pt x="1735" y="22"/>
                  </a:cubicBezTo>
                  <a:cubicBezTo>
                    <a:pt x="1735" y="23"/>
                    <a:pt x="1731" y="19"/>
                    <a:pt x="1735" y="19"/>
                  </a:cubicBezTo>
                  <a:cubicBezTo>
                    <a:pt x="1741" y="16"/>
                    <a:pt x="1741" y="27"/>
                    <a:pt x="1744" y="26"/>
                  </a:cubicBezTo>
                  <a:cubicBezTo>
                    <a:pt x="1744" y="26"/>
                    <a:pt x="1749" y="14"/>
                    <a:pt x="1749" y="22"/>
                  </a:cubicBezTo>
                  <a:cubicBezTo>
                    <a:pt x="1749" y="28"/>
                    <a:pt x="1755" y="27"/>
                    <a:pt x="1757" y="30"/>
                  </a:cubicBezTo>
                  <a:cubicBezTo>
                    <a:pt x="1757" y="26"/>
                    <a:pt x="1757" y="19"/>
                    <a:pt x="1760" y="19"/>
                  </a:cubicBezTo>
                  <a:cubicBezTo>
                    <a:pt x="1759" y="25"/>
                    <a:pt x="1763" y="29"/>
                    <a:pt x="1765" y="22"/>
                  </a:cubicBezTo>
                  <a:cubicBezTo>
                    <a:pt x="1751" y="5"/>
                    <a:pt x="1742" y="19"/>
                    <a:pt x="1725" y="11"/>
                  </a:cubicBezTo>
                  <a:cubicBezTo>
                    <a:pt x="1719" y="18"/>
                    <a:pt x="1724" y="25"/>
                    <a:pt x="1725" y="34"/>
                  </a:cubicBezTo>
                  <a:cubicBezTo>
                    <a:pt x="1716" y="39"/>
                    <a:pt x="1713" y="35"/>
                    <a:pt x="1703" y="34"/>
                  </a:cubicBezTo>
                  <a:cubicBezTo>
                    <a:pt x="1703" y="37"/>
                    <a:pt x="1703" y="40"/>
                    <a:pt x="1700" y="41"/>
                  </a:cubicBezTo>
                  <a:cubicBezTo>
                    <a:pt x="1698" y="42"/>
                    <a:pt x="1698" y="38"/>
                    <a:pt x="1698" y="37"/>
                  </a:cubicBezTo>
                  <a:cubicBezTo>
                    <a:pt x="1695" y="36"/>
                    <a:pt x="1694" y="41"/>
                    <a:pt x="1692" y="41"/>
                  </a:cubicBezTo>
                  <a:cubicBezTo>
                    <a:pt x="1693" y="41"/>
                    <a:pt x="1691" y="38"/>
                    <a:pt x="1690" y="37"/>
                  </a:cubicBezTo>
                  <a:cubicBezTo>
                    <a:pt x="1687" y="36"/>
                    <a:pt x="1684" y="38"/>
                    <a:pt x="1682" y="37"/>
                  </a:cubicBezTo>
                  <a:cubicBezTo>
                    <a:pt x="1681" y="40"/>
                    <a:pt x="1682" y="45"/>
                    <a:pt x="1679" y="45"/>
                  </a:cubicBezTo>
                  <a:cubicBezTo>
                    <a:pt x="1676" y="36"/>
                    <a:pt x="1666" y="51"/>
                    <a:pt x="1666" y="34"/>
                  </a:cubicBezTo>
                  <a:cubicBezTo>
                    <a:pt x="1670" y="34"/>
                    <a:pt x="1675" y="34"/>
                    <a:pt x="1679" y="34"/>
                  </a:cubicBezTo>
                  <a:cubicBezTo>
                    <a:pt x="1680" y="18"/>
                    <a:pt x="1672" y="29"/>
                    <a:pt x="1671" y="22"/>
                  </a:cubicBezTo>
                  <a:cubicBezTo>
                    <a:pt x="1673" y="22"/>
                    <a:pt x="1674" y="22"/>
                    <a:pt x="1674" y="19"/>
                  </a:cubicBezTo>
                  <a:cubicBezTo>
                    <a:pt x="1665" y="23"/>
                    <a:pt x="1657" y="20"/>
                    <a:pt x="1652" y="22"/>
                  </a:cubicBezTo>
                  <a:cubicBezTo>
                    <a:pt x="1651" y="23"/>
                    <a:pt x="1648" y="29"/>
                    <a:pt x="1647" y="30"/>
                  </a:cubicBezTo>
                  <a:cubicBezTo>
                    <a:pt x="1644" y="32"/>
                    <a:pt x="1641" y="30"/>
                    <a:pt x="1639" y="34"/>
                  </a:cubicBezTo>
                  <a:cubicBezTo>
                    <a:pt x="1636" y="38"/>
                    <a:pt x="1638" y="46"/>
                    <a:pt x="1636" y="52"/>
                  </a:cubicBezTo>
                  <a:cubicBezTo>
                    <a:pt x="1635" y="55"/>
                    <a:pt x="1629" y="55"/>
                    <a:pt x="1628" y="60"/>
                  </a:cubicBezTo>
                  <a:cubicBezTo>
                    <a:pt x="1640" y="53"/>
                    <a:pt x="1641" y="69"/>
                    <a:pt x="1644" y="71"/>
                  </a:cubicBezTo>
                  <a:cubicBezTo>
                    <a:pt x="1649" y="73"/>
                    <a:pt x="1655" y="66"/>
                    <a:pt x="1660" y="74"/>
                  </a:cubicBezTo>
                  <a:cubicBezTo>
                    <a:pt x="1647" y="75"/>
                    <a:pt x="1648" y="95"/>
                    <a:pt x="1633" y="93"/>
                  </a:cubicBezTo>
                  <a:cubicBezTo>
                    <a:pt x="1633" y="98"/>
                    <a:pt x="1633" y="103"/>
                    <a:pt x="1633" y="108"/>
                  </a:cubicBezTo>
                  <a:cubicBezTo>
                    <a:pt x="1637" y="108"/>
                    <a:pt x="1643" y="106"/>
                    <a:pt x="1644" y="111"/>
                  </a:cubicBezTo>
                  <a:cubicBezTo>
                    <a:pt x="1644" y="115"/>
                    <a:pt x="1646" y="116"/>
                    <a:pt x="1647" y="119"/>
                  </a:cubicBezTo>
                  <a:cubicBezTo>
                    <a:pt x="1642" y="122"/>
                    <a:pt x="1637" y="125"/>
                    <a:pt x="1631" y="126"/>
                  </a:cubicBezTo>
                  <a:cubicBezTo>
                    <a:pt x="1629" y="139"/>
                    <a:pt x="1641" y="132"/>
                    <a:pt x="1641" y="141"/>
                  </a:cubicBezTo>
                  <a:cubicBezTo>
                    <a:pt x="1649" y="136"/>
                    <a:pt x="1647" y="141"/>
                    <a:pt x="1652" y="141"/>
                  </a:cubicBezTo>
                  <a:cubicBezTo>
                    <a:pt x="1652" y="141"/>
                    <a:pt x="1653" y="138"/>
                    <a:pt x="1655" y="137"/>
                  </a:cubicBezTo>
                  <a:cubicBezTo>
                    <a:pt x="1657" y="137"/>
                    <a:pt x="1660" y="138"/>
                    <a:pt x="1660" y="141"/>
                  </a:cubicBezTo>
                  <a:cubicBezTo>
                    <a:pt x="1654" y="143"/>
                    <a:pt x="1646" y="144"/>
                    <a:pt x="1647" y="156"/>
                  </a:cubicBezTo>
                  <a:cubicBezTo>
                    <a:pt x="1654" y="158"/>
                    <a:pt x="1664" y="145"/>
                    <a:pt x="1668" y="156"/>
                  </a:cubicBezTo>
                  <a:cubicBezTo>
                    <a:pt x="1657" y="155"/>
                    <a:pt x="1652" y="162"/>
                    <a:pt x="1652" y="178"/>
                  </a:cubicBezTo>
                  <a:cubicBezTo>
                    <a:pt x="1663" y="184"/>
                    <a:pt x="1653" y="162"/>
                    <a:pt x="1660" y="163"/>
                  </a:cubicBezTo>
                  <a:cubicBezTo>
                    <a:pt x="1666" y="165"/>
                    <a:pt x="1678" y="158"/>
                    <a:pt x="1679" y="167"/>
                  </a:cubicBezTo>
                  <a:cubicBezTo>
                    <a:pt x="1678" y="179"/>
                    <a:pt x="1663" y="178"/>
                    <a:pt x="1663" y="185"/>
                  </a:cubicBezTo>
                  <a:cubicBezTo>
                    <a:pt x="1662" y="195"/>
                    <a:pt x="1655" y="189"/>
                    <a:pt x="1655" y="196"/>
                  </a:cubicBezTo>
                  <a:cubicBezTo>
                    <a:pt x="1661" y="199"/>
                    <a:pt x="1656" y="217"/>
                    <a:pt x="1657" y="226"/>
                  </a:cubicBezTo>
                  <a:cubicBezTo>
                    <a:pt x="1644" y="218"/>
                    <a:pt x="1654" y="243"/>
                    <a:pt x="1647" y="244"/>
                  </a:cubicBezTo>
                  <a:cubicBezTo>
                    <a:pt x="1648" y="231"/>
                    <a:pt x="1642" y="234"/>
                    <a:pt x="1641" y="230"/>
                  </a:cubicBezTo>
                  <a:cubicBezTo>
                    <a:pt x="1641" y="229"/>
                    <a:pt x="1646" y="230"/>
                    <a:pt x="1647" y="230"/>
                  </a:cubicBezTo>
                  <a:cubicBezTo>
                    <a:pt x="1648" y="228"/>
                    <a:pt x="1643" y="223"/>
                    <a:pt x="1644" y="222"/>
                  </a:cubicBezTo>
                  <a:cubicBezTo>
                    <a:pt x="1643" y="209"/>
                    <a:pt x="1637" y="235"/>
                    <a:pt x="1636" y="222"/>
                  </a:cubicBezTo>
                  <a:cubicBezTo>
                    <a:pt x="1636" y="208"/>
                    <a:pt x="1640" y="201"/>
                    <a:pt x="1644" y="193"/>
                  </a:cubicBezTo>
                  <a:cubicBezTo>
                    <a:pt x="1642" y="193"/>
                    <a:pt x="1640" y="192"/>
                    <a:pt x="1639" y="193"/>
                  </a:cubicBezTo>
                  <a:cubicBezTo>
                    <a:pt x="1635" y="194"/>
                    <a:pt x="1637" y="196"/>
                    <a:pt x="1636" y="200"/>
                  </a:cubicBezTo>
                  <a:cubicBezTo>
                    <a:pt x="1636" y="200"/>
                    <a:pt x="1633" y="200"/>
                    <a:pt x="1633" y="200"/>
                  </a:cubicBezTo>
                  <a:cubicBezTo>
                    <a:pt x="1632" y="203"/>
                    <a:pt x="1634" y="211"/>
                    <a:pt x="1633" y="215"/>
                  </a:cubicBezTo>
                  <a:cubicBezTo>
                    <a:pt x="1633" y="219"/>
                    <a:pt x="1630" y="220"/>
                    <a:pt x="1631" y="226"/>
                  </a:cubicBezTo>
                  <a:cubicBezTo>
                    <a:pt x="1631" y="231"/>
                    <a:pt x="1635" y="233"/>
                    <a:pt x="1633" y="241"/>
                  </a:cubicBezTo>
                  <a:cubicBezTo>
                    <a:pt x="1628" y="234"/>
                    <a:pt x="1627" y="240"/>
                    <a:pt x="1620" y="241"/>
                  </a:cubicBezTo>
                  <a:cubicBezTo>
                    <a:pt x="1620" y="231"/>
                    <a:pt x="1608" y="237"/>
                    <a:pt x="1612" y="222"/>
                  </a:cubicBezTo>
                  <a:cubicBezTo>
                    <a:pt x="1615" y="223"/>
                    <a:pt x="1617" y="227"/>
                    <a:pt x="1623" y="226"/>
                  </a:cubicBezTo>
                  <a:cubicBezTo>
                    <a:pt x="1622" y="215"/>
                    <a:pt x="1623" y="213"/>
                    <a:pt x="1628" y="218"/>
                  </a:cubicBezTo>
                  <a:cubicBezTo>
                    <a:pt x="1625" y="212"/>
                    <a:pt x="1629" y="201"/>
                    <a:pt x="1630" y="200"/>
                  </a:cubicBezTo>
                  <a:cubicBezTo>
                    <a:pt x="1629" y="199"/>
                    <a:pt x="1624" y="199"/>
                    <a:pt x="1625" y="196"/>
                  </a:cubicBezTo>
                  <a:cubicBezTo>
                    <a:pt x="1627" y="193"/>
                    <a:pt x="1637" y="199"/>
                    <a:pt x="1633" y="189"/>
                  </a:cubicBezTo>
                  <a:cubicBezTo>
                    <a:pt x="1629" y="189"/>
                    <a:pt x="1624" y="189"/>
                    <a:pt x="1620" y="189"/>
                  </a:cubicBezTo>
                  <a:cubicBezTo>
                    <a:pt x="1620" y="202"/>
                    <a:pt x="1621" y="215"/>
                    <a:pt x="1614" y="218"/>
                  </a:cubicBezTo>
                  <a:cubicBezTo>
                    <a:pt x="1614" y="211"/>
                    <a:pt x="1607" y="224"/>
                    <a:pt x="1606" y="211"/>
                  </a:cubicBezTo>
                  <a:cubicBezTo>
                    <a:pt x="1612" y="210"/>
                    <a:pt x="1618" y="210"/>
                    <a:pt x="1617" y="200"/>
                  </a:cubicBezTo>
                  <a:cubicBezTo>
                    <a:pt x="1612" y="198"/>
                    <a:pt x="1601" y="205"/>
                    <a:pt x="1601" y="196"/>
                  </a:cubicBezTo>
                  <a:cubicBezTo>
                    <a:pt x="1602" y="191"/>
                    <a:pt x="1605" y="189"/>
                    <a:pt x="1604" y="182"/>
                  </a:cubicBezTo>
                  <a:cubicBezTo>
                    <a:pt x="1590" y="179"/>
                    <a:pt x="1607" y="180"/>
                    <a:pt x="1606" y="174"/>
                  </a:cubicBezTo>
                  <a:cubicBezTo>
                    <a:pt x="1603" y="174"/>
                    <a:pt x="1599" y="175"/>
                    <a:pt x="1598" y="170"/>
                  </a:cubicBezTo>
                  <a:cubicBezTo>
                    <a:pt x="1610" y="173"/>
                    <a:pt x="1596" y="163"/>
                    <a:pt x="1604" y="163"/>
                  </a:cubicBezTo>
                  <a:cubicBezTo>
                    <a:pt x="1606" y="176"/>
                    <a:pt x="1618" y="182"/>
                    <a:pt x="1612" y="196"/>
                  </a:cubicBezTo>
                  <a:cubicBezTo>
                    <a:pt x="1622" y="199"/>
                    <a:pt x="1615" y="179"/>
                    <a:pt x="1617" y="170"/>
                  </a:cubicBezTo>
                  <a:cubicBezTo>
                    <a:pt x="1618" y="169"/>
                    <a:pt x="1624" y="171"/>
                    <a:pt x="1623" y="167"/>
                  </a:cubicBezTo>
                  <a:cubicBezTo>
                    <a:pt x="1621" y="167"/>
                    <a:pt x="1619" y="166"/>
                    <a:pt x="1620" y="163"/>
                  </a:cubicBezTo>
                  <a:cubicBezTo>
                    <a:pt x="1617" y="163"/>
                    <a:pt x="1617" y="160"/>
                    <a:pt x="1614" y="159"/>
                  </a:cubicBezTo>
                  <a:cubicBezTo>
                    <a:pt x="1613" y="164"/>
                    <a:pt x="1612" y="168"/>
                    <a:pt x="1609" y="170"/>
                  </a:cubicBezTo>
                  <a:cubicBezTo>
                    <a:pt x="1614" y="153"/>
                    <a:pt x="1602" y="159"/>
                    <a:pt x="1598" y="152"/>
                  </a:cubicBezTo>
                  <a:cubicBezTo>
                    <a:pt x="1598" y="147"/>
                    <a:pt x="1614" y="147"/>
                    <a:pt x="1604" y="141"/>
                  </a:cubicBezTo>
                  <a:cubicBezTo>
                    <a:pt x="1602" y="152"/>
                    <a:pt x="1600" y="135"/>
                    <a:pt x="1596" y="137"/>
                  </a:cubicBezTo>
                  <a:cubicBezTo>
                    <a:pt x="1596" y="143"/>
                    <a:pt x="1588" y="139"/>
                    <a:pt x="1588" y="145"/>
                  </a:cubicBezTo>
                  <a:cubicBezTo>
                    <a:pt x="1590" y="148"/>
                    <a:pt x="1597" y="146"/>
                    <a:pt x="1596" y="156"/>
                  </a:cubicBezTo>
                  <a:cubicBezTo>
                    <a:pt x="1579" y="151"/>
                    <a:pt x="1596" y="170"/>
                    <a:pt x="1588" y="174"/>
                  </a:cubicBezTo>
                  <a:cubicBezTo>
                    <a:pt x="1584" y="174"/>
                    <a:pt x="1582" y="168"/>
                    <a:pt x="1580" y="174"/>
                  </a:cubicBezTo>
                  <a:cubicBezTo>
                    <a:pt x="1591" y="170"/>
                    <a:pt x="1585" y="192"/>
                    <a:pt x="1585" y="193"/>
                  </a:cubicBezTo>
                  <a:cubicBezTo>
                    <a:pt x="1585" y="194"/>
                    <a:pt x="1592" y="192"/>
                    <a:pt x="1590" y="196"/>
                  </a:cubicBezTo>
                  <a:cubicBezTo>
                    <a:pt x="1583" y="199"/>
                    <a:pt x="1588" y="217"/>
                    <a:pt x="1580" y="218"/>
                  </a:cubicBezTo>
                  <a:cubicBezTo>
                    <a:pt x="1574" y="217"/>
                    <a:pt x="1574" y="208"/>
                    <a:pt x="1569" y="207"/>
                  </a:cubicBezTo>
                  <a:cubicBezTo>
                    <a:pt x="1568" y="210"/>
                    <a:pt x="1569" y="215"/>
                    <a:pt x="1566" y="215"/>
                  </a:cubicBezTo>
                  <a:cubicBezTo>
                    <a:pt x="1564" y="204"/>
                    <a:pt x="1570" y="205"/>
                    <a:pt x="1569" y="196"/>
                  </a:cubicBezTo>
                  <a:cubicBezTo>
                    <a:pt x="1564" y="198"/>
                    <a:pt x="1560" y="183"/>
                    <a:pt x="1566" y="182"/>
                  </a:cubicBezTo>
                  <a:cubicBezTo>
                    <a:pt x="1566" y="188"/>
                    <a:pt x="1569" y="190"/>
                    <a:pt x="1574" y="189"/>
                  </a:cubicBezTo>
                  <a:cubicBezTo>
                    <a:pt x="1573" y="199"/>
                    <a:pt x="1575" y="205"/>
                    <a:pt x="1582" y="204"/>
                  </a:cubicBezTo>
                  <a:cubicBezTo>
                    <a:pt x="1581" y="191"/>
                    <a:pt x="1575" y="199"/>
                    <a:pt x="1580" y="185"/>
                  </a:cubicBezTo>
                  <a:cubicBezTo>
                    <a:pt x="1568" y="190"/>
                    <a:pt x="1575" y="170"/>
                    <a:pt x="1569" y="167"/>
                  </a:cubicBezTo>
                  <a:cubicBezTo>
                    <a:pt x="1565" y="181"/>
                    <a:pt x="1568" y="156"/>
                    <a:pt x="1563" y="159"/>
                  </a:cubicBezTo>
                  <a:cubicBezTo>
                    <a:pt x="1558" y="172"/>
                    <a:pt x="1554" y="153"/>
                    <a:pt x="1547" y="156"/>
                  </a:cubicBezTo>
                  <a:cubicBezTo>
                    <a:pt x="1550" y="161"/>
                    <a:pt x="1548" y="171"/>
                    <a:pt x="1550" y="174"/>
                  </a:cubicBezTo>
                  <a:cubicBezTo>
                    <a:pt x="1552" y="177"/>
                    <a:pt x="1557" y="177"/>
                    <a:pt x="1558" y="182"/>
                  </a:cubicBezTo>
                  <a:cubicBezTo>
                    <a:pt x="1554" y="182"/>
                    <a:pt x="1553" y="188"/>
                    <a:pt x="1550" y="189"/>
                  </a:cubicBezTo>
                  <a:cubicBezTo>
                    <a:pt x="1547" y="176"/>
                    <a:pt x="1530" y="182"/>
                    <a:pt x="1523" y="174"/>
                  </a:cubicBezTo>
                  <a:cubicBezTo>
                    <a:pt x="1522" y="177"/>
                    <a:pt x="1521" y="178"/>
                    <a:pt x="1518" y="178"/>
                  </a:cubicBezTo>
                  <a:cubicBezTo>
                    <a:pt x="1518" y="166"/>
                    <a:pt x="1510" y="187"/>
                    <a:pt x="1510" y="174"/>
                  </a:cubicBezTo>
                  <a:cubicBezTo>
                    <a:pt x="1510" y="169"/>
                    <a:pt x="1514" y="168"/>
                    <a:pt x="1515" y="163"/>
                  </a:cubicBezTo>
                  <a:cubicBezTo>
                    <a:pt x="1504" y="168"/>
                    <a:pt x="1506" y="156"/>
                    <a:pt x="1502" y="152"/>
                  </a:cubicBezTo>
                  <a:cubicBezTo>
                    <a:pt x="1501" y="156"/>
                    <a:pt x="1501" y="161"/>
                    <a:pt x="1496" y="159"/>
                  </a:cubicBezTo>
                  <a:cubicBezTo>
                    <a:pt x="1498" y="156"/>
                    <a:pt x="1502" y="146"/>
                    <a:pt x="1493" y="148"/>
                  </a:cubicBezTo>
                  <a:cubicBezTo>
                    <a:pt x="1485" y="147"/>
                    <a:pt x="1500" y="159"/>
                    <a:pt x="1491" y="159"/>
                  </a:cubicBezTo>
                  <a:cubicBezTo>
                    <a:pt x="1489" y="154"/>
                    <a:pt x="1487" y="150"/>
                    <a:pt x="1483" y="148"/>
                  </a:cubicBezTo>
                  <a:cubicBezTo>
                    <a:pt x="1483" y="164"/>
                    <a:pt x="1458" y="151"/>
                    <a:pt x="1450" y="156"/>
                  </a:cubicBezTo>
                  <a:cubicBezTo>
                    <a:pt x="1450" y="152"/>
                    <a:pt x="1450" y="148"/>
                    <a:pt x="1450" y="145"/>
                  </a:cubicBezTo>
                  <a:cubicBezTo>
                    <a:pt x="1445" y="143"/>
                    <a:pt x="1445" y="151"/>
                    <a:pt x="1442" y="152"/>
                  </a:cubicBezTo>
                  <a:cubicBezTo>
                    <a:pt x="1438" y="154"/>
                    <a:pt x="1433" y="151"/>
                    <a:pt x="1429" y="152"/>
                  </a:cubicBezTo>
                  <a:cubicBezTo>
                    <a:pt x="1428" y="150"/>
                    <a:pt x="1430" y="142"/>
                    <a:pt x="1429" y="141"/>
                  </a:cubicBezTo>
                  <a:cubicBezTo>
                    <a:pt x="1425" y="137"/>
                    <a:pt x="1406" y="140"/>
                    <a:pt x="1391" y="137"/>
                  </a:cubicBezTo>
                  <a:cubicBezTo>
                    <a:pt x="1388" y="137"/>
                    <a:pt x="1388" y="134"/>
                    <a:pt x="1383" y="133"/>
                  </a:cubicBezTo>
                  <a:cubicBezTo>
                    <a:pt x="1375" y="133"/>
                    <a:pt x="1377" y="140"/>
                    <a:pt x="1373" y="133"/>
                  </a:cubicBezTo>
                  <a:cubicBezTo>
                    <a:pt x="1370" y="130"/>
                    <a:pt x="1351" y="133"/>
                    <a:pt x="1354" y="137"/>
                  </a:cubicBezTo>
                  <a:cubicBezTo>
                    <a:pt x="1355" y="144"/>
                    <a:pt x="1366" y="137"/>
                    <a:pt x="1367" y="145"/>
                  </a:cubicBezTo>
                  <a:cubicBezTo>
                    <a:pt x="1362" y="152"/>
                    <a:pt x="1368" y="161"/>
                    <a:pt x="1367" y="163"/>
                  </a:cubicBezTo>
                  <a:cubicBezTo>
                    <a:pt x="1367" y="164"/>
                    <a:pt x="1362" y="162"/>
                    <a:pt x="1362" y="163"/>
                  </a:cubicBezTo>
                  <a:cubicBezTo>
                    <a:pt x="1361" y="164"/>
                    <a:pt x="1362" y="170"/>
                    <a:pt x="1362" y="170"/>
                  </a:cubicBezTo>
                  <a:cubicBezTo>
                    <a:pt x="1359" y="172"/>
                    <a:pt x="1354" y="170"/>
                    <a:pt x="1354" y="167"/>
                  </a:cubicBezTo>
                  <a:cubicBezTo>
                    <a:pt x="1357" y="166"/>
                    <a:pt x="1360" y="166"/>
                    <a:pt x="1359" y="159"/>
                  </a:cubicBezTo>
                  <a:cubicBezTo>
                    <a:pt x="1352" y="162"/>
                    <a:pt x="1349" y="158"/>
                    <a:pt x="1351" y="148"/>
                  </a:cubicBezTo>
                  <a:cubicBezTo>
                    <a:pt x="1354" y="153"/>
                    <a:pt x="1364" y="154"/>
                    <a:pt x="1364" y="145"/>
                  </a:cubicBezTo>
                  <a:cubicBezTo>
                    <a:pt x="1352" y="148"/>
                    <a:pt x="1351" y="136"/>
                    <a:pt x="1346" y="130"/>
                  </a:cubicBezTo>
                  <a:cubicBezTo>
                    <a:pt x="1345" y="135"/>
                    <a:pt x="1347" y="138"/>
                    <a:pt x="1348" y="141"/>
                  </a:cubicBezTo>
                  <a:cubicBezTo>
                    <a:pt x="1345" y="141"/>
                    <a:pt x="1342" y="143"/>
                    <a:pt x="1340" y="145"/>
                  </a:cubicBezTo>
                  <a:cubicBezTo>
                    <a:pt x="1339" y="140"/>
                    <a:pt x="1332" y="144"/>
                    <a:pt x="1329" y="141"/>
                  </a:cubicBezTo>
                  <a:cubicBezTo>
                    <a:pt x="1328" y="139"/>
                    <a:pt x="1330" y="132"/>
                    <a:pt x="1327" y="133"/>
                  </a:cubicBezTo>
                  <a:cubicBezTo>
                    <a:pt x="1322" y="151"/>
                    <a:pt x="1306" y="131"/>
                    <a:pt x="1297" y="141"/>
                  </a:cubicBezTo>
                  <a:cubicBezTo>
                    <a:pt x="1297" y="136"/>
                    <a:pt x="1298" y="133"/>
                    <a:pt x="1300" y="130"/>
                  </a:cubicBezTo>
                  <a:cubicBezTo>
                    <a:pt x="1291" y="132"/>
                    <a:pt x="1293" y="117"/>
                    <a:pt x="1286" y="126"/>
                  </a:cubicBezTo>
                  <a:cubicBezTo>
                    <a:pt x="1287" y="121"/>
                    <a:pt x="1285" y="118"/>
                    <a:pt x="1284" y="115"/>
                  </a:cubicBezTo>
                  <a:cubicBezTo>
                    <a:pt x="1283" y="112"/>
                    <a:pt x="1284" y="108"/>
                    <a:pt x="1281" y="108"/>
                  </a:cubicBezTo>
                  <a:cubicBezTo>
                    <a:pt x="1281" y="117"/>
                    <a:pt x="1280" y="123"/>
                    <a:pt x="1276" y="126"/>
                  </a:cubicBezTo>
                  <a:cubicBezTo>
                    <a:pt x="1268" y="131"/>
                    <a:pt x="1262" y="116"/>
                    <a:pt x="1260" y="126"/>
                  </a:cubicBezTo>
                  <a:cubicBezTo>
                    <a:pt x="1262" y="127"/>
                    <a:pt x="1263" y="129"/>
                    <a:pt x="1262" y="133"/>
                  </a:cubicBezTo>
                  <a:cubicBezTo>
                    <a:pt x="1255" y="133"/>
                    <a:pt x="1248" y="133"/>
                    <a:pt x="1241" y="133"/>
                  </a:cubicBezTo>
                  <a:cubicBezTo>
                    <a:pt x="1248" y="120"/>
                    <a:pt x="1234" y="134"/>
                    <a:pt x="1225" y="130"/>
                  </a:cubicBezTo>
                  <a:cubicBezTo>
                    <a:pt x="1225" y="109"/>
                    <a:pt x="1222" y="127"/>
                    <a:pt x="1219" y="126"/>
                  </a:cubicBezTo>
                  <a:cubicBezTo>
                    <a:pt x="1217" y="125"/>
                    <a:pt x="1220" y="119"/>
                    <a:pt x="1217" y="119"/>
                  </a:cubicBezTo>
                  <a:cubicBezTo>
                    <a:pt x="1216" y="119"/>
                    <a:pt x="1216" y="126"/>
                    <a:pt x="1214" y="126"/>
                  </a:cubicBezTo>
                  <a:cubicBezTo>
                    <a:pt x="1213" y="126"/>
                    <a:pt x="1211" y="117"/>
                    <a:pt x="1208" y="119"/>
                  </a:cubicBezTo>
                  <a:cubicBezTo>
                    <a:pt x="1208" y="122"/>
                    <a:pt x="1208" y="126"/>
                    <a:pt x="1206" y="126"/>
                  </a:cubicBezTo>
                  <a:cubicBezTo>
                    <a:pt x="1205" y="122"/>
                    <a:pt x="1206" y="116"/>
                    <a:pt x="1203" y="115"/>
                  </a:cubicBezTo>
                  <a:cubicBezTo>
                    <a:pt x="1197" y="120"/>
                    <a:pt x="1207" y="124"/>
                    <a:pt x="1200" y="126"/>
                  </a:cubicBezTo>
                  <a:cubicBezTo>
                    <a:pt x="1197" y="125"/>
                    <a:pt x="1197" y="120"/>
                    <a:pt x="1198" y="115"/>
                  </a:cubicBezTo>
                  <a:cubicBezTo>
                    <a:pt x="1190" y="116"/>
                    <a:pt x="1179" y="112"/>
                    <a:pt x="1179" y="122"/>
                  </a:cubicBezTo>
                  <a:cubicBezTo>
                    <a:pt x="1182" y="123"/>
                    <a:pt x="1187" y="122"/>
                    <a:pt x="1187" y="126"/>
                  </a:cubicBezTo>
                  <a:cubicBezTo>
                    <a:pt x="1182" y="126"/>
                    <a:pt x="1178" y="126"/>
                    <a:pt x="1173" y="126"/>
                  </a:cubicBezTo>
                  <a:cubicBezTo>
                    <a:pt x="1170" y="121"/>
                    <a:pt x="1172" y="105"/>
                    <a:pt x="1165" y="115"/>
                  </a:cubicBezTo>
                  <a:cubicBezTo>
                    <a:pt x="1169" y="103"/>
                    <a:pt x="1161" y="106"/>
                    <a:pt x="1160" y="100"/>
                  </a:cubicBezTo>
                  <a:cubicBezTo>
                    <a:pt x="1164" y="100"/>
                    <a:pt x="1170" y="101"/>
                    <a:pt x="1171" y="96"/>
                  </a:cubicBezTo>
                  <a:cubicBezTo>
                    <a:pt x="1163" y="97"/>
                    <a:pt x="1168" y="78"/>
                    <a:pt x="1160" y="78"/>
                  </a:cubicBezTo>
                  <a:cubicBezTo>
                    <a:pt x="1157" y="87"/>
                    <a:pt x="1168" y="93"/>
                    <a:pt x="1160" y="96"/>
                  </a:cubicBezTo>
                  <a:cubicBezTo>
                    <a:pt x="1158" y="94"/>
                    <a:pt x="1145" y="88"/>
                    <a:pt x="1144" y="96"/>
                  </a:cubicBezTo>
                  <a:cubicBezTo>
                    <a:pt x="1147" y="100"/>
                    <a:pt x="1151" y="101"/>
                    <a:pt x="1157" y="100"/>
                  </a:cubicBezTo>
                  <a:cubicBezTo>
                    <a:pt x="1161" y="105"/>
                    <a:pt x="1161" y="118"/>
                    <a:pt x="1155" y="119"/>
                  </a:cubicBezTo>
                  <a:cubicBezTo>
                    <a:pt x="1154" y="112"/>
                    <a:pt x="1145" y="98"/>
                    <a:pt x="1141" y="108"/>
                  </a:cubicBezTo>
                  <a:cubicBezTo>
                    <a:pt x="1144" y="109"/>
                    <a:pt x="1145" y="112"/>
                    <a:pt x="1147" y="115"/>
                  </a:cubicBezTo>
                  <a:cubicBezTo>
                    <a:pt x="1149" y="118"/>
                    <a:pt x="1152" y="119"/>
                    <a:pt x="1155" y="122"/>
                  </a:cubicBezTo>
                  <a:cubicBezTo>
                    <a:pt x="1156" y="123"/>
                    <a:pt x="1154" y="128"/>
                    <a:pt x="1155" y="130"/>
                  </a:cubicBezTo>
                  <a:cubicBezTo>
                    <a:pt x="1156" y="132"/>
                    <a:pt x="1161" y="129"/>
                    <a:pt x="1160" y="133"/>
                  </a:cubicBezTo>
                  <a:cubicBezTo>
                    <a:pt x="1155" y="134"/>
                    <a:pt x="1162" y="140"/>
                    <a:pt x="1157" y="141"/>
                  </a:cubicBezTo>
                  <a:cubicBezTo>
                    <a:pt x="1151" y="135"/>
                    <a:pt x="1147" y="142"/>
                    <a:pt x="1144" y="137"/>
                  </a:cubicBezTo>
                  <a:cubicBezTo>
                    <a:pt x="1140" y="131"/>
                    <a:pt x="1131" y="142"/>
                    <a:pt x="1131" y="141"/>
                  </a:cubicBezTo>
                  <a:cubicBezTo>
                    <a:pt x="1134" y="132"/>
                    <a:pt x="1120" y="129"/>
                    <a:pt x="1128" y="126"/>
                  </a:cubicBezTo>
                  <a:cubicBezTo>
                    <a:pt x="1134" y="127"/>
                    <a:pt x="1139" y="134"/>
                    <a:pt x="1141" y="122"/>
                  </a:cubicBezTo>
                  <a:cubicBezTo>
                    <a:pt x="1134" y="123"/>
                    <a:pt x="1132" y="117"/>
                    <a:pt x="1133" y="108"/>
                  </a:cubicBezTo>
                  <a:cubicBezTo>
                    <a:pt x="1124" y="111"/>
                    <a:pt x="1113" y="109"/>
                    <a:pt x="1098" y="104"/>
                  </a:cubicBezTo>
                  <a:cubicBezTo>
                    <a:pt x="1092" y="109"/>
                    <a:pt x="1102" y="113"/>
                    <a:pt x="1096" y="115"/>
                  </a:cubicBezTo>
                  <a:cubicBezTo>
                    <a:pt x="1091" y="115"/>
                    <a:pt x="1086" y="114"/>
                    <a:pt x="1087" y="122"/>
                  </a:cubicBezTo>
                  <a:cubicBezTo>
                    <a:pt x="1097" y="123"/>
                    <a:pt x="1095" y="117"/>
                    <a:pt x="1098" y="122"/>
                  </a:cubicBezTo>
                  <a:cubicBezTo>
                    <a:pt x="1099" y="123"/>
                    <a:pt x="1103" y="122"/>
                    <a:pt x="1104" y="122"/>
                  </a:cubicBezTo>
                  <a:cubicBezTo>
                    <a:pt x="1109" y="123"/>
                    <a:pt x="1123" y="119"/>
                    <a:pt x="1122" y="130"/>
                  </a:cubicBezTo>
                  <a:cubicBezTo>
                    <a:pt x="1119" y="130"/>
                    <a:pt x="1120" y="136"/>
                    <a:pt x="1117" y="137"/>
                  </a:cubicBezTo>
                  <a:cubicBezTo>
                    <a:pt x="1117" y="135"/>
                    <a:pt x="1117" y="132"/>
                    <a:pt x="1117" y="130"/>
                  </a:cubicBezTo>
                  <a:cubicBezTo>
                    <a:pt x="1104" y="125"/>
                    <a:pt x="1081" y="135"/>
                    <a:pt x="1085" y="108"/>
                  </a:cubicBezTo>
                  <a:cubicBezTo>
                    <a:pt x="1079" y="105"/>
                    <a:pt x="1073" y="95"/>
                    <a:pt x="1071" y="108"/>
                  </a:cubicBezTo>
                  <a:cubicBezTo>
                    <a:pt x="1076" y="105"/>
                    <a:pt x="1083" y="115"/>
                    <a:pt x="1077" y="115"/>
                  </a:cubicBezTo>
                  <a:cubicBezTo>
                    <a:pt x="1069" y="112"/>
                    <a:pt x="1070" y="101"/>
                    <a:pt x="1063" y="100"/>
                  </a:cubicBezTo>
                  <a:cubicBezTo>
                    <a:pt x="1063" y="100"/>
                    <a:pt x="1063" y="106"/>
                    <a:pt x="1061" y="104"/>
                  </a:cubicBezTo>
                  <a:cubicBezTo>
                    <a:pt x="1059" y="103"/>
                    <a:pt x="1060" y="94"/>
                    <a:pt x="1058" y="93"/>
                  </a:cubicBezTo>
                  <a:cubicBezTo>
                    <a:pt x="1055" y="91"/>
                    <a:pt x="1050" y="94"/>
                    <a:pt x="1047" y="93"/>
                  </a:cubicBezTo>
                  <a:cubicBezTo>
                    <a:pt x="1048" y="102"/>
                    <a:pt x="1043" y="104"/>
                    <a:pt x="1039" y="108"/>
                  </a:cubicBezTo>
                  <a:cubicBezTo>
                    <a:pt x="1041" y="93"/>
                    <a:pt x="1031" y="110"/>
                    <a:pt x="1028" y="111"/>
                  </a:cubicBezTo>
                  <a:cubicBezTo>
                    <a:pt x="1028" y="111"/>
                    <a:pt x="1029" y="104"/>
                    <a:pt x="1028" y="104"/>
                  </a:cubicBezTo>
                  <a:cubicBezTo>
                    <a:pt x="1025" y="99"/>
                    <a:pt x="1017" y="111"/>
                    <a:pt x="1020" y="115"/>
                  </a:cubicBezTo>
                  <a:cubicBezTo>
                    <a:pt x="1031" y="116"/>
                    <a:pt x="1046" y="111"/>
                    <a:pt x="1050" y="122"/>
                  </a:cubicBezTo>
                  <a:cubicBezTo>
                    <a:pt x="1039" y="118"/>
                    <a:pt x="1033" y="124"/>
                    <a:pt x="1018" y="122"/>
                  </a:cubicBezTo>
                  <a:cubicBezTo>
                    <a:pt x="1015" y="105"/>
                    <a:pt x="1020" y="94"/>
                    <a:pt x="1012" y="89"/>
                  </a:cubicBezTo>
                  <a:cubicBezTo>
                    <a:pt x="1008" y="103"/>
                    <a:pt x="1014" y="113"/>
                    <a:pt x="1009" y="119"/>
                  </a:cubicBezTo>
                  <a:cubicBezTo>
                    <a:pt x="1007" y="114"/>
                    <a:pt x="1008" y="111"/>
                    <a:pt x="1007" y="104"/>
                  </a:cubicBezTo>
                  <a:cubicBezTo>
                    <a:pt x="1006" y="101"/>
                    <a:pt x="1004" y="101"/>
                    <a:pt x="1004" y="100"/>
                  </a:cubicBezTo>
                  <a:cubicBezTo>
                    <a:pt x="1003" y="97"/>
                    <a:pt x="1007" y="95"/>
                    <a:pt x="1007" y="93"/>
                  </a:cubicBezTo>
                  <a:cubicBezTo>
                    <a:pt x="1006" y="90"/>
                    <a:pt x="999" y="89"/>
                    <a:pt x="1001" y="82"/>
                  </a:cubicBezTo>
                  <a:cubicBezTo>
                    <a:pt x="1005" y="81"/>
                    <a:pt x="1009" y="82"/>
                    <a:pt x="1009" y="78"/>
                  </a:cubicBezTo>
                  <a:cubicBezTo>
                    <a:pt x="1006" y="78"/>
                    <a:pt x="1002" y="78"/>
                    <a:pt x="999" y="78"/>
                  </a:cubicBezTo>
                  <a:cubicBezTo>
                    <a:pt x="999" y="84"/>
                    <a:pt x="998" y="89"/>
                    <a:pt x="996" y="93"/>
                  </a:cubicBezTo>
                  <a:cubicBezTo>
                    <a:pt x="998" y="94"/>
                    <a:pt x="1008" y="103"/>
                    <a:pt x="1001" y="104"/>
                  </a:cubicBezTo>
                  <a:cubicBezTo>
                    <a:pt x="993" y="107"/>
                    <a:pt x="998" y="92"/>
                    <a:pt x="991" y="93"/>
                  </a:cubicBezTo>
                  <a:cubicBezTo>
                    <a:pt x="982" y="104"/>
                    <a:pt x="968" y="88"/>
                    <a:pt x="966" y="96"/>
                  </a:cubicBezTo>
                  <a:cubicBezTo>
                    <a:pt x="970" y="98"/>
                    <a:pt x="972" y="100"/>
                    <a:pt x="975" y="104"/>
                  </a:cubicBezTo>
                  <a:cubicBezTo>
                    <a:pt x="972" y="107"/>
                    <a:pt x="974" y="111"/>
                    <a:pt x="972" y="122"/>
                  </a:cubicBezTo>
                  <a:cubicBezTo>
                    <a:pt x="970" y="124"/>
                    <a:pt x="959" y="131"/>
                    <a:pt x="958" y="122"/>
                  </a:cubicBezTo>
                  <a:cubicBezTo>
                    <a:pt x="958" y="115"/>
                    <a:pt x="962" y="115"/>
                    <a:pt x="964" y="111"/>
                  </a:cubicBezTo>
                  <a:cubicBezTo>
                    <a:pt x="959" y="110"/>
                    <a:pt x="965" y="105"/>
                    <a:pt x="961" y="104"/>
                  </a:cubicBezTo>
                  <a:cubicBezTo>
                    <a:pt x="959" y="113"/>
                    <a:pt x="952" y="91"/>
                    <a:pt x="950" y="108"/>
                  </a:cubicBezTo>
                  <a:cubicBezTo>
                    <a:pt x="952" y="108"/>
                    <a:pt x="956" y="108"/>
                    <a:pt x="956" y="111"/>
                  </a:cubicBezTo>
                  <a:cubicBezTo>
                    <a:pt x="951" y="111"/>
                    <a:pt x="947" y="109"/>
                    <a:pt x="945" y="104"/>
                  </a:cubicBezTo>
                  <a:cubicBezTo>
                    <a:pt x="947" y="95"/>
                    <a:pt x="949" y="87"/>
                    <a:pt x="940" y="85"/>
                  </a:cubicBezTo>
                  <a:cubicBezTo>
                    <a:pt x="937" y="99"/>
                    <a:pt x="947" y="108"/>
                    <a:pt x="937" y="111"/>
                  </a:cubicBezTo>
                  <a:cubicBezTo>
                    <a:pt x="935" y="94"/>
                    <a:pt x="924" y="96"/>
                    <a:pt x="918" y="108"/>
                  </a:cubicBezTo>
                  <a:cubicBezTo>
                    <a:pt x="917" y="99"/>
                    <a:pt x="919" y="93"/>
                    <a:pt x="921" y="89"/>
                  </a:cubicBezTo>
                  <a:cubicBezTo>
                    <a:pt x="912" y="83"/>
                    <a:pt x="904" y="87"/>
                    <a:pt x="894" y="89"/>
                  </a:cubicBezTo>
                  <a:cubicBezTo>
                    <a:pt x="890" y="84"/>
                    <a:pt x="890" y="75"/>
                    <a:pt x="894" y="71"/>
                  </a:cubicBezTo>
                  <a:cubicBezTo>
                    <a:pt x="890" y="71"/>
                    <a:pt x="887" y="71"/>
                    <a:pt x="883" y="71"/>
                  </a:cubicBezTo>
                  <a:cubicBezTo>
                    <a:pt x="881" y="82"/>
                    <a:pt x="892" y="75"/>
                    <a:pt x="889" y="89"/>
                  </a:cubicBezTo>
                  <a:cubicBezTo>
                    <a:pt x="875" y="87"/>
                    <a:pt x="875" y="90"/>
                    <a:pt x="867" y="82"/>
                  </a:cubicBezTo>
                  <a:cubicBezTo>
                    <a:pt x="865" y="94"/>
                    <a:pt x="858" y="80"/>
                    <a:pt x="856" y="82"/>
                  </a:cubicBezTo>
                  <a:cubicBezTo>
                    <a:pt x="854" y="83"/>
                    <a:pt x="856" y="95"/>
                    <a:pt x="851" y="93"/>
                  </a:cubicBezTo>
                  <a:cubicBezTo>
                    <a:pt x="853" y="81"/>
                    <a:pt x="847" y="81"/>
                    <a:pt x="843" y="78"/>
                  </a:cubicBezTo>
                  <a:cubicBezTo>
                    <a:pt x="841" y="96"/>
                    <a:pt x="839" y="103"/>
                    <a:pt x="843" y="115"/>
                  </a:cubicBezTo>
                  <a:cubicBezTo>
                    <a:pt x="838" y="115"/>
                    <a:pt x="834" y="115"/>
                    <a:pt x="829" y="115"/>
                  </a:cubicBezTo>
                  <a:cubicBezTo>
                    <a:pt x="829" y="109"/>
                    <a:pt x="829" y="103"/>
                    <a:pt x="827" y="100"/>
                  </a:cubicBezTo>
                  <a:cubicBezTo>
                    <a:pt x="829" y="94"/>
                    <a:pt x="840" y="101"/>
                    <a:pt x="837" y="89"/>
                  </a:cubicBezTo>
                  <a:cubicBezTo>
                    <a:pt x="830" y="90"/>
                    <a:pt x="826" y="88"/>
                    <a:pt x="827" y="78"/>
                  </a:cubicBezTo>
                  <a:cubicBezTo>
                    <a:pt x="818" y="75"/>
                    <a:pt x="823" y="91"/>
                    <a:pt x="813" y="85"/>
                  </a:cubicBezTo>
                  <a:cubicBezTo>
                    <a:pt x="817" y="72"/>
                    <a:pt x="806" y="62"/>
                    <a:pt x="802" y="71"/>
                  </a:cubicBezTo>
                  <a:cubicBezTo>
                    <a:pt x="808" y="70"/>
                    <a:pt x="811" y="74"/>
                    <a:pt x="810" y="82"/>
                  </a:cubicBezTo>
                  <a:cubicBezTo>
                    <a:pt x="807" y="85"/>
                    <a:pt x="801" y="85"/>
                    <a:pt x="797" y="89"/>
                  </a:cubicBezTo>
                  <a:cubicBezTo>
                    <a:pt x="797" y="82"/>
                    <a:pt x="797" y="74"/>
                    <a:pt x="797" y="67"/>
                  </a:cubicBezTo>
                  <a:cubicBezTo>
                    <a:pt x="784" y="67"/>
                    <a:pt x="795" y="82"/>
                    <a:pt x="789" y="85"/>
                  </a:cubicBezTo>
                  <a:cubicBezTo>
                    <a:pt x="776" y="81"/>
                    <a:pt x="771" y="88"/>
                    <a:pt x="765" y="78"/>
                  </a:cubicBezTo>
                  <a:cubicBezTo>
                    <a:pt x="758" y="79"/>
                    <a:pt x="755" y="84"/>
                    <a:pt x="746" y="82"/>
                  </a:cubicBezTo>
                  <a:cubicBezTo>
                    <a:pt x="746" y="78"/>
                    <a:pt x="744" y="77"/>
                    <a:pt x="743" y="74"/>
                  </a:cubicBezTo>
                  <a:cubicBezTo>
                    <a:pt x="744" y="70"/>
                    <a:pt x="747" y="67"/>
                    <a:pt x="741" y="67"/>
                  </a:cubicBezTo>
                  <a:cubicBezTo>
                    <a:pt x="732" y="66"/>
                    <a:pt x="747" y="78"/>
                    <a:pt x="738" y="78"/>
                  </a:cubicBezTo>
                  <a:cubicBezTo>
                    <a:pt x="733" y="78"/>
                    <a:pt x="736" y="66"/>
                    <a:pt x="730" y="67"/>
                  </a:cubicBezTo>
                  <a:cubicBezTo>
                    <a:pt x="729" y="71"/>
                    <a:pt x="727" y="73"/>
                    <a:pt x="724" y="74"/>
                  </a:cubicBezTo>
                  <a:cubicBezTo>
                    <a:pt x="718" y="57"/>
                    <a:pt x="687" y="71"/>
                    <a:pt x="681" y="52"/>
                  </a:cubicBezTo>
                  <a:cubicBezTo>
                    <a:pt x="691" y="55"/>
                    <a:pt x="692" y="44"/>
                    <a:pt x="700" y="45"/>
                  </a:cubicBezTo>
                  <a:cubicBezTo>
                    <a:pt x="700" y="48"/>
                    <a:pt x="700" y="52"/>
                    <a:pt x="700" y="56"/>
                  </a:cubicBezTo>
                  <a:cubicBezTo>
                    <a:pt x="707" y="55"/>
                    <a:pt x="710" y="49"/>
                    <a:pt x="714" y="45"/>
                  </a:cubicBezTo>
                  <a:cubicBezTo>
                    <a:pt x="710" y="41"/>
                    <a:pt x="707" y="34"/>
                    <a:pt x="703" y="30"/>
                  </a:cubicBezTo>
                  <a:cubicBezTo>
                    <a:pt x="702" y="34"/>
                    <a:pt x="700" y="38"/>
                    <a:pt x="698" y="41"/>
                  </a:cubicBezTo>
                  <a:cubicBezTo>
                    <a:pt x="697" y="31"/>
                    <a:pt x="693" y="46"/>
                    <a:pt x="687" y="41"/>
                  </a:cubicBezTo>
                  <a:cubicBezTo>
                    <a:pt x="687" y="35"/>
                    <a:pt x="680" y="38"/>
                    <a:pt x="681" y="30"/>
                  </a:cubicBezTo>
                  <a:cubicBezTo>
                    <a:pt x="673" y="25"/>
                    <a:pt x="679" y="42"/>
                    <a:pt x="671" y="37"/>
                  </a:cubicBezTo>
                  <a:cubicBezTo>
                    <a:pt x="667" y="38"/>
                    <a:pt x="668" y="30"/>
                    <a:pt x="665" y="30"/>
                  </a:cubicBezTo>
                  <a:cubicBezTo>
                    <a:pt x="664" y="30"/>
                    <a:pt x="664" y="36"/>
                    <a:pt x="660" y="34"/>
                  </a:cubicBezTo>
                  <a:cubicBezTo>
                    <a:pt x="659" y="33"/>
                    <a:pt x="660" y="27"/>
                    <a:pt x="660" y="26"/>
                  </a:cubicBezTo>
                  <a:cubicBezTo>
                    <a:pt x="646" y="29"/>
                    <a:pt x="636" y="25"/>
                    <a:pt x="630" y="15"/>
                  </a:cubicBezTo>
                  <a:cubicBezTo>
                    <a:pt x="631" y="22"/>
                    <a:pt x="627" y="22"/>
                    <a:pt x="625" y="26"/>
                  </a:cubicBezTo>
                  <a:cubicBezTo>
                    <a:pt x="626" y="26"/>
                    <a:pt x="628" y="29"/>
                    <a:pt x="625" y="30"/>
                  </a:cubicBezTo>
                  <a:cubicBezTo>
                    <a:pt x="625" y="26"/>
                    <a:pt x="621" y="24"/>
                    <a:pt x="625" y="22"/>
                  </a:cubicBezTo>
                  <a:cubicBezTo>
                    <a:pt x="626" y="18"/>
                    <a:pt x="629" y="15"/>
                    <a:pt x="622" y="15"/>
                  </a:cubicBezTo>
                  <a:cubicBezTo>
                    <a:pt x="618" y="15"/>
                    <a:pt x="621" y="25"/>
                    <a:pt x="617" y="26"/>
                  </a:cubicBezTo>
                  <a:cubicBezTo>
                    <a:pt x="608" y="12"/>
                    <a:pt x="600" y="36"/>
                    <a:pt x="593" y="34"/>
                  </a:cubicBezTo>
                  <a:cubicBezTo>
                    <a:pt x="591" y="33"/>
                    <a:pt x="590" y="22"/>
                    <a:pt x="587" y="22"/>
                  </a:cubicBezTo>
                  <a:cubicBezTo>
                    <a:pt x="587" y="28"/>
                    <a:pt x="588" y="36"/>
                    <a:pt x="585" y="37"/>
                  </a:cubicBezTo>
                  <a:cubicBezTo>
                    <a:pt x="584" y="33"/>
                    <a:pt x="580" y="33"/>
                    <a:pt x="577" y="34"/>
                  </a:cubicBezTo>
                  <a:cubicBezTo>
                    <a:pt x="578" y="24"/>
                    <a:pt x="571" y="26"/>
                    <a:pt x="568" y="22"/>
                  </a:cubicBezTo>
                  <a:cubicBezTo>
                    <a:pt x="568" y="26"/>
                    <a:pt x="566" y="27"/>
                    <a:pt x="566" y="30"/>
                  </a:cubicBezTo>
                  <a:cubicBezTo>
                    <a:pt x="566" y="34"/>
                    <a:pt x="570" y="36"/>
                    <a:pt x="566" y="37"/>
                  </a:cubicBezTo>
                  <a:cubicBezTo>
                    <a:pt x="565" y="32"/>
                    <a:pt x="562" y="30"/>
                    <a:pt x="563" y="22"/>
                  </a:cubicBezTo>
                  <a:cubicBezTo>
                    <a:pt x="557" y="30"/>
                    <a:pt x="548" y="16"/>
                    <a:pt x="542" y="26"/>
                  </a:cubicBezTo>
                  <a:cubicBezTo>
                    <a:pt x="544" y="30"/>
                    <a:pt x="547" y="34"/>
                    <a:pt x="550" y="37"/>
                  </a:cubicBezTo>
                  <a:cubicBezTo>
                    <a:pt x="541" y="38"/>
                    <a:pt x="542" y="26"/>
                    <a:pt x="531" y="30"/>
                  </a:cubicBezTo>
                  <a:cubicBezTo>
                    <a:pt x="528" y="24"/>
                    <a:pt x="527" y="18"/>
                    <a:pt x="520" y="19"/>
                  </a:cubicBezTo>
                  <a:cubicBezTo>
                    <a:pt x="519" y="16"/>
                    <a:pt x="520" y="12"/>
                    <a:pt x="517" y="11"/>
                  </a:cubicBezTo>
                  <a:cubicBezTo>
                    <a:pt x="519" y="29"/>
                    <a:pt x="509" y="18"/>
                    <a:pt x="515" y="26"/>
                  </a:cubicBezTo>
                  <a:cubicBezTo>
                    <a:pt x="516" y="28"/>
                    <a:pt x="517" y="34"/>
                    <a:pt x="515" y="34"/>
                  </a:cubicBezTo>
                  <a:cubicBezTo>
                    <a:pt x="510" y="32"/>
                    <a:pt x="513" y="19"/>
                    <a:pt x="504" y="22"/>
                  </a:cubicBezTo>
                  <a:cubicBezTo>
                    <a:pt x="501" y="29"/>
                    <a:pt x="512" y="35"/>
                    <a:pt x="504" y="37"/>
                  </a:cubicBezTo>
                  <a:cubicBezTo>
                    <a:pt x="500" y="33"/>
                    <a:pt x="503" y="19"/>
                    <a:pt x="496" y="19"/>
                  </a:cubicBezTo>
                  <a:cubicBezTo>
                    <a:pt x="497" y="29"/>
                    <a:pt x="486" y="10"/>
                    <a:pt x="485" y="22"/>
                  </a:cubicBezTo>
                  <a:cubicBezTo>
                    <a:pt x="489" y="25"/>
                    <a:pt x="492" y="28"/>
                    <a:pt x="493" y="34"/>
                  </a:cubicBezTo>
                  <a:cubicBezTo>
                    <a:pt x="487" y="29"/>
                    <a:pt x="483" y="43"/>
                    <a:pt x="482" y="34"/>
                  </a:cubicBezTo>
                  <a:cubicBezTo>
                    <a:pt x="482" y="29"/>
                    <a:pt x="487" y="30"/>
                    <a:pt x="488" y="26"/>
                  </a:cubicBezTo>
                  <a:cubicBezTo>
                    <a:pt x="488" y="26"/>
                    <a:pt x="482" y="22"/>
                    <a:pt x="482" y="19"/>
                  </a:cubicBezTo>
                  <a:cubicBezTo>
                    <a:pt x="483" y="17"/>
                    <a:pt x="489" y="15"/>
                    <a:pt x="488" y="11"/>
                  </a:cubicBezTo>
                  <a:cubicBezTo>
                    <a:pt x="479" y="8"/>
                    <a:pt x="484" y="24"/>
                    <a:pt x="477" y="22"/>
                  </a:cubicBezTo>
                  <a:cubicBezTo>
                    <a:pt x="467" y="27"/>
                    <a:pt x="462" y="15"/>
                    <a:pt x="458" y="22"/>
                  </a:cubicBezTo>
                  <a:cubicBezTo>
                    <a:pt x="459" y="22"/>
                    <a:pt x="462" y="26"/>
                    <a:pt x="458" y="26"/>
                  </a:cubicBezTo>
                  <a:cubicBezTo>
                    <a:pt x="459" y="16"/>
                    <a:pt x="441" y="31"/>
                    <a:pt x="445" y="15"/>
                  </a:cubicBezTo>
                  <a:cubicBezTo>
                    <a:pt x="440" y="14"/>
                    <a:pt x="439" y="20"/>
                    <a:pt x="437" y="22"/>
                  </a:cubicBezTo>
                  <a:cubicBezTo>
                    <a:pt x="435" y="18"/>
                    <a:pt x="434" y="14"/>
                    <a:pt x="431" y="11"/>
                  </a:cubicBezTo>
                  <a:cubicBezTo>
                    <a:pt x="425" y="29"/>
                    <a:pt x="405" y="19"/>
                    <a:pt x="399" y="30"/>
                  </a:cubicBezTo>
                  <a:cubicBezTo>
                    <a:pt x="397" y="25"/>
                    <a:pt x="393" y="23"/>
                    <a:pt x="388" y="22"/>
                  </a:cubicBezTo>
                  <a:cubicBezTo>
                    <a:pt x="388" y="18"/>
                    <a:pt x="388" y="14"/>
                    <a:pt x="383" y="15"/>
                  </a:cubicBezTo>
                  <a:cubicBezTo>
                    <a:pt x="378" y="18"/>
                    <a:pt x="379" y="29"/>
                    <a:pt x="372" y="30"/>
                  </a:cubicBezTo>
                  <a:cubicBezTo>
                    <a:pt x="372" y="26"/>
                    <a:pt x="370" y="26"/>
                    <a:pt x="367" y="26"/>
                  </a:cubicBezTo>
                  <a:cubicBezTo>
                    <a:pt x="364" y="26"/>
                    <a:pt x="365" y="23"/>
                    <a:pt x="364" y="22"/>
                  </a:cubicBezTo>
                  <a:cubicBezTo>
                    <a:pt x="362" y="21"/>
                    <a:pt x="359" y="23"/>
                    <a:pt x="356" y="22"/>
                  </a:cubicBezTo>
                  <a:cubicBezTo>
                    <a:pt x="354" y="22"/>
                    <a:pt x="352" y="19"/>
                    <a:pt x="351" y="19"/>
                  </a:cubicBezTo>
                  <a:cubicBezTo>
                    <a:pt x="349" y="19"/>
                    <a:pt x="348" y="30"/>
                    <a:pt x="343" y="26"/>
                  </a:cubicBezTo>
                  <a:cubicBezTo>
                    <a:pt x="342" y="21"/>
                    <a:pt x="344" y="13"/>
                    <a:pt x="340" y="11"/>
                  </a:cubicBezTo>
                  <a:cubicBezTo>
                    <a:pt x="339" y="14"/>
                    <a:pt x="340" y="19"/>
                    <a:pt x="337" y="19"/>
                  </a:cubicBezTo>
                  <a:cubicBezTo>
                    <a:pt x="333" y="23"/>
                    <a:pt x="333" y="20"/>
                    <a:pt x="329" y="19"/>
                  </a:cubicBezTo>
                  <a:cubicBezTo>
                    <a:pt x="324" y="17"/>
                    <a:pt x="321" y="23"/>
                    <a:pt x="318" y="22"/>
                  </a:cubicBezTo>
                  <a:cubicBezTo>
                    <a:pt x="317" y="22"/>
                    <a:pt x="317" y="18"/>
                    <a:pt x="313" y="19"/>
                  </a:cubicBezTo>
                  <a:cubicBezTo>
                    <a:pt x="311" y="19"/>
                    <a:pt x="312" y="23"/>
                    <a:pt x="308" y="22"/>
                  </a:cubicBezTo>
                  <a:cubicBezTo>
                    <a:pt x="307" y="22"/>
                    <a:pt x="303" y="15"/>
                    <a:pt x="302" y="15"/>
                  </a:cubicBezTo>
                  <a:cubicBezTo>
                    <a:pt x="288" y="21"/>
                    <a:pt x="275" y="26"/>
                    <a:pt x="265" y="15"/>
                  </a:cubicBezTo>
                  <a:cubicBezTo>
                    <a:pt x="265" y="21"/>
                    <a:pt x="253" y="23"/>
                    <a:pt x="251" y="22"/>
                  </a:cubicBezTo>
                  <a:cubicBezTo>
                    <a:pt x="249" y="22"/>
                    <a:pt x="249" y="19"/>
                    <a:pt x="249" y="19"/>
                  </a:cubicBezTo>
                  <a:cubicBezTo>
                    <a:pt x="243" y="18"/>
                    <a:pt x="234" y="31"/>
                    <a:pt x="235" y="15"/>
                  </a:cubicBezTo>
                  <a:cubicBezTo>
                    <a:pt x="225" y="18"/>
                    <a:pt x="215" y="19"/>
                    <a:pt x="205" y="22"/>
                  </a:cubicBezTo>
                  <a:cubicBezTo>
                    <a:pt x="202" y="22"/>
                    <a:pt x="201" y="18"/>
                    <a:pt x="200" y="15"/>
                  </a:cubicBezTo>
                  <a:cubicBezTo>
                    <a:pt x="195" y="12"/>
                    <a:pt x="195" y="21"/>
                    <a:pt x="189" y="22"/>
                  </a:cubicBezTo>
                  <a:cubicBezTo>
                    <a:pt x="189" y="22"/>
                    <a:pt x="187" y="18"/>
                    <a:pt x="184" y="19"/>
                  </a:cubicBezTo>
                  <a:cubicBezTo>
                    <a:pt x="184" y="19"/>
                    <a:pt x="184" y="22"/>
                    <a:pt x="184" y="22"/>
                  </a:cubicBezTo>
                  <a:cubicBezTo>
                    <a:pt x="182" y="25"/>
                    <a:pt x="166" y="23"/>
                    <a:pt x="165" y="22"/>
                  </a:cubicBezTo>
                  <a:cubicBezTo>
                    <a:pt x="161" y="21"/>
                    <a:pt x="162" y="19"/>
                    <a:pt x="160" y="22"/>
                  </a:cubicBezTo>
                  <a:cubicBezTo>
                    <a:pt x="158" y="26"/>
                    <a:pt x="145" y="22"/>
                    <a:pt x="144" y="22"/>
                  </a:cubicBezTo>
                  <a:cubicBezTo>
                    <a:pt x="140" y="24"/>
                    <a:pt x="140" y="26"/>
                    <a:pt x="138" y="22"/>
                  </a:cubicBezTo>
                  <a:cubicBezTo>
                    <a:pt x="138" y="22"/>
                    <a:pt x="134" y="23"/>
                    <a:pt x="133" y="22"/>
                  </a:cubicBezTo>
                  <a:cubicBezTo>
                    <a:pt x="123" y="21"/>
                    <a:pt x="120" y="19"/>
                    <a:pt x="114" y="19"/>
                  </a:cubicBezTo>
                  <a:cubicBezTo>
                    <a:pt x="110" y="18"/>
                    <a:pt x="111" y="23"/>
                    <a:pt x="109" y="19"/>
                  </a:cubicBezTo>
                  <a:cubicBezTo>
                    <a:pt x="108" y="18"/>
                    <a:pt x="104" y="19"/>
                    <a:pt x="103" y="19"/>
                  </a:cubicBezTo>
                  <a:cubicBezTo>
                    <a:pt x="99" y="17"/>
                    <a:pt x="97" y="16"/>
                    <a:pt x="95" y="19"/>
                  </a:cubicBezTo>
                  <a:cubicBezTo>
                    <a:pt x="95" y="19"/>
                    <a:pt x="91" y="19"/>
                    <a:pt x="90" y="19"/>
                  </a:cubicBezTo>
                  <a:cubicBezTo>
                    <a:pt x="80" y="19"/>
                    <a:pt x="79" y="14"/>
                    <a:pt x="76" y="19"/>
                  </a:cubicBezTo>
                  <a:cubicBezTo>
                    <a:pt x="74" y="23"/>
                    <a:pt x="64" y="15"/>
                    <a:pt x="63" y="15"/>
                  </a:cubicBezTo>
                  <a:cubicBezTo>
                    <a:pt x="55" y="13"/>
                    <a:pt x="48" y="12"/>
                    <a:pt x="39" y="11"/>
                  </a:cubicBezTo>
                  <a:cubicBezTo>
                    <a:pt x="39" y="7"/>
                    <a:pt x="42" y="6"/>
                    <a:pt x="41" y="0"/>
                  </a:cubicBezTo>
                  <a:cubicBezTo>
                    <a:pt x="28" y="7"/>
                    <a:pt x="16" y="24"/>
                    <a:pt x="12" y="37"/>
                  </a:cubicBezTo>
                  <a:cubicBezTo>
                    <a:pt x="11" y="39"/>
                    <a:pt x="9" y="43"/>
                    <a:pt x="9" y="45"/>
                  </a:cubicBezTo>
                  <a:cubicBezTo>
                    <a:pt x="9" y="48"/>
                    <a:pt x="7" y="47"/>
                    <a:pt x="7" y="48"/>
                  </a:cubicBezTo>
                  <a:cubicBezTo>
                    <a:pt x="4" y="56"/>
                    <a:pt x="5" y="69"/>
                    <a:pt x="4" y="78"/>
                  </a:cubicBezTo>
                  <a:cubicBezTo>
                    <a:pt x="4" y="78"/>
                    <a:pt x="2" y="79"/>
                    <a:pt x="1" y="82"/>
                  </a:cubicBezTo>
                  <a:cubicBezTo>
                    <a:pt x="0" y="85"/>
                    <a:pt x="2" y="89"/>
                    <a:pt x="1" y="93"/>
                  </a:cubicBezTo>
                  <a:cubicBezTo>
                    <a:pt x="18" y="99"/>
                    <a:pt x="3" y="124"/>
                    <a:pt x="4" y="141"/>
                  </a:cubicBezTo>
                  <a:cubicBezTo>
                    <a:pt x="9" y="138"/>
                    <a:pt x="8" y="146"/>
                    <a:pt x="9" y="148"/>
                  </a:cubicBezTo>
                  <a:cubicBezTo>
                    <a:pt x="12" y="151"/>
                    <a:pt x="18" y="149"/>
                    <a:pt x="17" y="156"/>
                  </a:cubicBezTo>
                  <a:cubicBezTo>
                    <a:pt x="15" y="156"/>
                    <a:pt x="14" y="156"/>
                    <a:pt x="12" y="156"/>
                  </a:cubicBezTo>
                  <a:cubicBezTo>
                    <a:pt x="15" y="172"/>
                    <a:pt x="3" y="168"/>
                    <a:pt x="4" y="182"/>
                  </a:cubicBezTo>
                  <a:cubicBezTo>
                    <a:pt x="7" y="182"/>
                    <a:pt x="11" y="181"/>
                    <a:pt x="12" y="185"/>
                  </a:cubicBezTo>
                  <a:cubicBezTo>
                    <a:pt x="13" y="199"/>
                    <a:pt x="19" y="203"/>
                    <a:pt x="15" y="215"/>
                  </a:cubicBezTo>
                  <a:cubicBezTo>
                    <a:pt x="20" y="212"/>
                    <a:pt x="18" y="220"/>
                    <a:pt x="20" y="222"/>
                  </a:cubicBezTo>
                  <a:cubicBezTo>
                    <a:pt x="21" y="224"/>
                    <a:pt x="26" y="222"/>
                    <a:pt x="25" y="226"/>
                  </a:cubicBezTo>
                  <a:cubicBezTo>
                    <a:pt x="25" y="232"/>
                    <a:pt x="26" y="237"/>
                    <a:pt x="28" y="241"/>
                  </a:cubicBezTo>
                  <a:cubicBezTo>
                    <a:pt x="25" y="241"/>
                    <a:pt x="23" y="241"/>
                    <a:pt x="20" y="241"/>
                  </a:cubicBezTo>
                  <a:cubicBezTo>
                    <a:pt x="23" y="252"/>
                    <a:pt x="22" y="255"/>
                    <a:pt x="17" y="263"/>
                  </a:cubicBezTo>
                  <a:cubicBezTo>
                    <a:pt x="22" y="264"/>
                    <a:pt x="24" y="257"/>
                    <a:pt x="25" y="263"/>
                  </a:cubicBezTo>
                  <a:cubicBezTo>
                    <a:pt x="24" y="268"/>
                    <a:pt x="20" y="270"/>
                    <a:pt x="15" y="270"/>
                  </a:cubicBezTo>
                  <a:cubicBezTo>
                    <a:pt x="12" y="282"/>
                    <a:pt x="22" y="278"/>
                    <a:pt x="23" y="285"/>
                  </a:cubicBezTo>
                  <a:cubicBezTo>
                    <a:pt x="14" y="288"/>
                    <a:pt x="18" y="297"/>
                    <a:pt x="15" y="300"/>
                  </a:cubicBezTo>
                  <a:cubicBezTo>
                    <a:pt x="7" y="310"/>
                    <a:pt x="12" y="294"/>
                    <a:pt x="7" y="292"/>
                  </a:cubicBezTo>
                  <a:cubicBezTo>
                    <a:pt x="1" y="306"/>
                    <a:pt x="12" y="313"/>
                    <a:pt x="15" y="322"/>
                  </a:cubicBezTo>
                  <a:cubicBezTo>
                    <a:pt x="16" y="325"/>
                    <a:pt x="9" y="334"/>
                    <a:pt x="17" y="333"/>
                  </a:cubicBezTo>
                  <a:cubicBezTo>
                    <a:pt x="18" y="329"/>
                    <a:pt x="17" y="323"/>
                    <a:pt x="20" y="322"/>
                  </a:cubicBezTo>
                  <a:cubicBezTo>
                    <a:pt x="19" y="334"/>
                    <a:pt x="25" y="335"/>
                    <a:pt x="23" y="348"/>
                  </a:cubicBezTo>
                  <a:cubicBezTo>
                    <a:pt x="22" y="352"/>
                    <a:pt x="6" y="352"/>
                    <a:pt x="15" y="355"/>
                  </a:cubicBezTo>
                  <a:cubicBezTo>
                    <a:pt x="23" y="357"/>
                    <a:pt x="26" y="347"/>
                    <a:pt x="28" y="359"/>
                  </a:cubicBezTo>
                  <a:cubicBezTo>
                    <a:pt x="25" y="358"/>
                    <a:pt x="23" y="353"/>
                    <a:pt x="23" y="363"/>
                  </a:cubicBezTo>
                  <a:cubicBezTo>
                    <a:pt x="31" y="367"/>
                    <a:pt x="29" y="357"/>
                    <a:pt x="33" y="355"/>
                  </a:cubicBezTo>
                  <a:cubicBezTo>
                    <a:pt x="34" y="363"/>
                    <a:pt x="43" y="359"/>
                    <a:pt x="44" y="366"/>
                  </a:cubicBezTo>
                  <a:cubicBezTo>
                    <a:pt x="39" y="374"/>
                    <a:pt x="45" y="374"/>
                    <a:pt x="47" y="381"/>
                  </a:cubicBezTo>
                  <a:cubicBezTo>
                    <a:pt x="43" y="380"/>
                    <a:pt x="42" y="377"/>
                    <a:pt x="39" y="381"/>
                  </a:cubicBezTo>
                  <a:cubicBezTo>
                    <a:pt x="41" y="369"/>
                    <a:pt x="33" y="376"/>
                    <a:pt x="33" y="381"/>
                  </a:cubicBezTo>
                  <a:cubicBezTo>
                    <a:pt x="40" y="382"/>
                    <a:pt x="43" y="388"/>
                    <a:pt x="47" y="392"/>
                  </a:cubicBezTo>
                  <a:cubicBezTo>
                    <a:pt x="42" y="392"/>
                    <a:pt x="38" y="392"/>
                    <a:pt x="33" y="392"/>
                  </a:cubicBezTo>
                  <a:cubicBezTo>
                    <a:pt x="31" y="404"/>
                    <a:pt x="41" y="399"/>
                    <a:pt x="39" y="411"/>
                  </a:cubicBezTo>
                  <a:cubicBezTo>
                    <a:pt x="45" y="416"/>
                    <a:pt x="50" y="400"/>
                    <a:pt x="52" y="411"/>
                  </a:cubicBezTo>
                  <a:cubicBezTo>
                    <a:pt x="49" y="411"/>
                    <a:pt x="46" y="412"/>
                    <a:pt x="47" y="418"/>
                  </a:cubicBezTo>
                  <a:cubicBezTo>
                    <a:pt x="47" y="423"/>
                    <a:pt x="51" y="422"/>
                    <a:pt x="52" y="426"/>
                  </a:cubicBezTo>
                  <a:cubicBezTo>
                    <a:pt x="46" y="425"/>
                    <a:pt x="42" y="427"/>
                    <a:pt x="41" y="433"/>
                  </a:cubicBezTo>
                  <a:cubicBezTo>
                    <a:pt x="45" y="434"/>
                    <a:pt x="44" y="439"/>
                    <a:pt x="44" y="444"/>
                  </a:cubicBezTo>
                  <a:cubicBezTo>
                    <a:pt x="52" y="450"/>
                    <a:pt x="56" y="439"/>
                    <a:pt x="58" y="455"/>
                  </a:cubicBezTo>
                  <a:cubicBezTo>
                    <a:pt x="48" y="458"/>
                    <a:pt x="46" y="451"/>
                    <a:pt x="41" y="448"/>
                  </a:cubicBezTo>
                  <a:cubicBezTo>
                    <a:pt x="45" y="457"/>
                    <a:pt x="31" y="459"/>
                    <a:pt x="39" y="463"/>
                  </a:cubicBezTo>
                  <a:cubicBezTo>
                    <a:pt x="39" y="458"/>
                    <a:pt x="46" y="458"/>
                    <a:pt x="47" y="463"/>
                  </a:cubicBezTo>
                  <a:cubicBezTo>
                    <a:pt x="36" y="459"/>
                    <a:pt x="51" y="487"/>
                    <a:pt x="36" y="485"/>
                  </a:cubicBezTo>
                  <a:cubicBezTo>
                    <a:pt x="38" y="499"/>
                    <a:pt x="44" y="506"/>
                    <a:pt x="47" y="518"/>
                  </a:cubicBezTo>
                  <a:cubicBezTo>
                    <a:pt x="39" y="526"/>
                    <a:pt x="47" y="532"/>
                    <a:pt x="39" y="537"/>
                  </a:cubicBezTo>
                  <a:cubicBezTo>
                    <a:pt x="40" y="534"/>
                    <a:pt x="36" y="533"/>
                    <a:pt x="36" y="533"/>
                  </a:cubicBezTo>
                  <a:cubicBezTo>
                    <a:pt x="36" y="530"/>
                    <a:pt x="39" y="528"/>
                    <a:pt x="39" y="529"/>
                  </a:cubicBezTo>
                  <a:cubicBezTo>
                    <a:pt x="38" y="525"/>
                    <a:pt x="36" y="520"/>
                    <a:pt x="36" y="518"/>
                  </a:cubicBezTo>
                  <a:cubicBezTo>
                    <a:pt x="36" y="518"/>
                    <a:pt x="41" y="517"/>
                    <a:pt x="41" y="514"/>
                  </a:cubicBezTo>
                  <a:cubicBezTo>
                    <a:pt x="42" y="511"/>
                    <a:pt x="37" y="508"/>
                    <a:pt x="36" y="507"/>
                  </a:cubicBezTo>
                  <a:cubicBezTo>
                    <a:pt x="31" y="519"/>
                    <a:pt x="41" y="530"/>
                    <a:pt x="28" y="533"/>
                  </a:cubicBezTo>
                  <a:cubicBezTo>
                    <a:pt x="28" y="539"/>
                    <a:pt x="28" y="545"/>
                    <a:pt x="28" y="551"/>
                  </a:cubicBezTo>
                  <a:cubicBezTo>
                    <a:pt x="38" y="557"/>
                    <a:pt x="29" y="535"/>
                    <a:pt x="39" y="540"/>
                  </a:cubicBezTo>
                  <a:cubicBezTo>
                    <a:pt x="34" y="547"/>
                    <a:pt x="38" y="550"/>
                    <a:pt x="39" y="559"/>
                  </a:cubicBezTo>
                  <a:cubicBezTo>
                    <a:pt x="37" y="560"/>
                    <a:pt x="34" y="559"/>
                    <a:pt x="33" y="562"/>
                  </a:cubicBezTo>
                  <a:cubicBezTo>
                    <a:pt x="37" y="572"/>
                    <a:pt x="41" y="556"/>
                    <a:pt x="44" y="566"/>
                  </a:cubicBezTo>
                  <a:cubicBezTo>
                    <a:pt x="39" y="564"/>
                    <a:pt x="36" y="583"/>
                    <a:pt x="41" y="585"/>
                  </a:cubicBezTo>
                  <a:cubicBezTo>
                    <a:pt x="45" y="579"/>
                    <a:pt x="46" y="569"/>
                    <a:pt x="52" y="566"/>
                  </a:cubicBezTo>
                  <a:cubicBezTo>
                    <a:pt x="57" y="573"/>
                    <a:pt x="50" y="579"/>
                    <a:pt x="47" y="585"/>
                  </a:cubicBezTo>
                  <a:cubicBezTo>
                    <a:pt x="44" y="585"/>
                    <a:pt x="44" y="588"/>
                    <a:pt x="41" y="588"/>
                  </a:cubicBezTo>
                  <a:cubicBezTo>
                    <a:pt x="35" y="593"/>
                    <a:pt x="31" y="579"/>
                    <a:pt x="31" y="588"/>
                  </a:cubicBezTo>
                  <a:cubicBezTo>
                    <a:pt x="34" y="598"/>
                    <a:pt x="52" y="589"/>
                    <a:pt x="49" y="607"/>
                  </a:cubicBezTo>
                  <a:cubicBezTo>
                    <a:pt x="46" y="602"/>
                    <a:pt x="38" y="604"/>
                    <a:pt x="39" y="614"/>
                  </a:cubicBezTo>
                  <a:cubicBezTo>
                    <a:pt x="49" y="609"/>
                    <a:pt x="45" y="622"/>
                    <a:pt x="47" y="625"/>
                  </a:cubicBezTo>
                  <a:cubicBezTo>
                    <a:pt x="48" y="627"/>
                    <a:pt x="53" y="625"/>
                    <a:pt x="52" y="629"/>
                  </a:cubicBezTo>
                  <a:cubicBezTo>
                    <a:pt x="50" y="649"/>
                    <a:pt x="39" y="636"/>
                    <a:pt x="33" y="648"/>
                  </a:cubicBezTo>
                  <a:cubicBezTo>
                    <a:pt x="42" y="647"/>
                    <a:pt x="35" y="663"/>
                    <a:pt x="36" y="670"/>
                  </a:cubicBezTo>
                  <a:cubicBezTo>
                    <a:pt x="36" y="670"/>
                    <a:pt x="41" y="671"/>
                    <a:pt x="41" y="673"/>
                  </a:cubicBezTo>
                  <a:cubicBezTo>
                    <a:pt x="42" y="678"/>
                    <a:pt x="37" y="679"/>
                    <a:pt x="39" y="684"/>
                  </a:cubicBezTo>
                  <a:cubicBezTo>
                    <a:pt x="41" y="685"/>
                    <a:pt x="42" y="688"/>
                    <a:pt x="41" y="692"/>
                  </a:cubicBezTo>
                  <a:cubicBezTo>
                    <a:pt x="46" y="692"/>
                    <a:pt x="51" y="691"/>
                    <a:pt x="49" y="699"/>
                  </a:cubicBezTo>
                  <a:cubicBezTo>
                    <a:pt x="46" y="699"/>
                    <a:pt x="46" y="695"/>
                    <a:pt x="41" y="696"/>
                  </a:cubicBezTo>
                  <a:cubicBezTo>
                    <a:pt x="45" y="707"/>
                    <a:pt x="37" y="705"/>
                    <a:pt x="36" y="710"/>
                  </a:cubicBezTo>
                  <a:cubicBezTo>
                    <a:pt x="40" y="712"/>
                    <a:pt x="43" y="716"/>
                    <a:pt x="44" y="721"/>
                  </a:cubicBezTo>
                  <a:cubicBezTo>
                    <a:pt x="39" y="722"/>
                    <a:pt x="36" y="721"/>
                    <a:pt x="33" y="718"/>
                  </a:cubicBezTo>
                  <a:cubicBezTo>
                    <a:pt x="31" y="730"/>
                    <a:pt x="36" y="732"/>
                    <a:pt x="39" y="736"/>
                  </a:cubicBezTo>
                  <a:cubicBezTo>
                    <a:pt x="31" y="730"/>
                    <a:pt x="31" y="752"/>
                    <a:pt x="36" y="751"/>
                  </a:cubicBezTo>
                  <a:cubicBezTo>
                    <a:pt x="38" y="733"/>
                    <a:pt x="37" y="755"/>
                    <a:pt x="41" y="755"/>
                  </a:cubicBezTo>
                  <a:cubicBezTo>
                    <a:pt x="40" y="748"/>
                    <a:pt x="49" y="736"/>
                    <a:pt x="49" y="744"/>
                  </a:cubicBezTo>
                  <a:cubicBezTo>
                    <a:pt x="49" y="751"/>
                    <a:pt x="42" y="748"/>
                    <a:pt x="44" y="759"/>
                  </a:cubicBezTo>
                  <a:cubicBezTo>
                    <a:pt x="47" y="757"/>
                    <a:pt x="53" y="769"/>
                    <a:pt x="47" y="770"/>
                  </a:cubicBezTo>
                  <a:cubicBezTo>
                    <a:pt x="50" y="760"/>
                    <a:pt x="38" y="753"/>
                    <a:pt x="36" y="762"/>
                  </a:cubicBezTo>
                  <a:cubicBezTo>
                    <a:pt x="42" y="763"/>
                    <a:pt x="42" y="772"/>
                    <a:pt x="39" y="777"/>
                  </a:cubicBezTo>
                  <a:cubicBezTo>
                    <a:pt x="44" y="781"/>
                    <a:pt x="48" y="766"/>
                    <a:pt x="49" y="777"/>
                  </a:cubicBezTo>
                  <a:cubicBezTo>
                    <a:pt x="51" y="791"/>
                    <a:pt x="38" y="783"/>
                    <a:pt x="36" y="792"/>
                  </a:cubicBezTo>
                  <a:cubicBezTo>
                    <a:pt x="39" y="792"/>
                    <a:pt x="39" y="798"/>
                    <a:pt x="39" y="803"/>
                  </a:cubicBezTo>
                  <a:cubicBezTo>
                    <a:pt x="44" y="807"/>
                    <a:pt x="50" y="809"/>
                    <a:pt x="52" y="818"/>
                  </a:cubicBezTo>
                  <a:cubicBezTo>
                    <a:pt x="48" y="814"/>
                    <a:pt x="46" y="814"/>
                    <a:pt x="44" y="821"/>
                  </a:cubicBezTo>
                  <a:cubicBezTo>
                    <a:pt x="46" y="828"/>
                    <a:pt x="57" y="821"/>
                    <a:pt x="58" y="829"/>
                  </a:cubicBezTo>
                  <a:cubicBezTo>
                    <a:pt x="58" y="837"/>
                    <a:pt x="57" y="843"/>
                    <a:pt x="52" y="844"/>
                  </a:cubicBezTo>
                  <a:cubicBezTo>
                    <a:pt x="52" y="839"/>
                    <a:pt x="56" y="838"/>
                    <a:pt x="55" y="832"/>
                  </a:cubicBezTo>
                  <a:cubicBezTo>
                    <a:pt x="47" y="831"/>
                    <a:pt x="49" y="839"/>
                    <a:pt x="44" y="840"/>
                  </a:cubicBezTo>
                  <a:cubicBezTo>
                    <a:pt x="45" y="840"/>
                    <a:pt x="42" y="833"/>
                    <a:pt x="41" y="832"/>
                  </a:cubicBezTo>
                  <a:cubicBezTo>
                    <a:pt x="39" y="831"/>
                    <a:pt x="37" y="838"/>
                    <a:pt x="36" y="840"/>
                  </a:cubicBezTo>
                  <a:cubicBezTo>
                    <a:pt x="39" y="841"/>
                    <a:pt x="42" y="845"/>
                    <a:pt x="41" y="851"/>
                  </a:cubicBezTo>
                  <a:cubicBezTo>
                    <a:pt x="45" y="852"/>
                    <a:pt x="49" y="845"/>
                    <a:pt x="49" y="851"/>
                  </a:cubicBezTo>
                  <a:cubicBezTo>
                    <a:pt x="49" y="852"/>
                    <a:pt x="47" y="858"/>
                    <a:pt x="47" y="858"/>
                  </a:cubicBezTo>
                  <a:cubicBezTo>
                    <a:pt x="55" y="864"/>
                    <a:pt x="56" y="859"/>
                    <a:pt x="63" y="858"/>
                  </a:cubicBezTo>
                  <a:cubicBezTo>
                    <a:pt x="62" y="864"/>
                    <a:pt x="67" y="868"/>
                    <a:pt x="68" y="862"/>
                  </a:cubicBezTo>
                  <a:cubicBezTo>
                    <a:pt x="64" y="862"/>
                    <a:pt x="73" y="838"/>
                    <a:pt x="66" y="832"/>
                  </a:cubicBezTo>
                  <a:cubicBezTo>
                    <a:pt x="76" y="835"/>
                    <a:pt x="67" y="801"/>
                    <a:pt x="79" y="818"/>
                  </a:cubicBezTo>
                  <a:cubicBezTo>
                    <a:pt x="81" y="807"/>
                    <a:pt x="75" y="808"/>
                    <a:pt x="76" y="799"/>
                  </a:cubicBezTo>
                  <a:cubicBezTo>
                    <a:pt x="70" y="800"/>
                    <a:pt x="66" y="798"/>
                    <a:pt x="66" y="792"/>
                  </a:cubicBezTo>
                  <a:cubicBezTo>
                    <a:pt x="71" y="792"/>
                    <a:pt x="65" y="787"/>
                    <a:pt x="66" y="784"/>
                  </a:cubicBezTo>
                  <a:cubicBezTo>
                    <a:pt x="66" y="783"/>
                    <a:pt x="71" y="785"/>
                    <a:pt x="71" y="784"/>
                  </a:cubicBezTo>
                  <a:cubicBezTo>
                    <a:pt x="73" y="780"/>
                    <a:pt x="69" y="763"/>
                    <a:pt x="76" y="766"/>
                  </a:cubicBezTo>
                  <a:cubicBezTo>
                    <a:pt x="70" y="760"/>
                    <a:pt x="77" y="755"/>
                    <a:pt x="76" y="751"/>
                  </a:cubicBezTo>
                  <a:cubicBezTo>
                    <a:pt x="76" y="749"/>
                    <a:pt x="64" y="739"/>
                    <a:pt x="74" y="736"/>
                  </a:cubicBezTo>
                  <a:cubicBezTo>
                    <a:pt x="77" y="741"/>
                    <a:pt x="86" y="739"/>
                    <a:pt x="90" y="744"/>
                  </a:cubicBezTo>
                  <a:cubicBezTo>
                    <a:pt x="88" y="735"/>
                    <a:pt x="86" y="726"/>
                    <a:pt x="95" y="725"/>
                  </a:cubicBezTo>
                  <a:cubicBezTo>
                    <a:pt x="92" y="739"/>
                    <a:pt x="100" y="756"/>
                    <a:pt x="106" y="744"/>
                  </a:cubicBezTo>
                  <a:cubicBezTo>
                    <a:pt x="102" y="741"/>
                    <a:pt x="101" y="739"/>
                    <a:pt x="103" y="736"/>
                  </a:cubicBezTo>
                  <a:cubicBezTo>
                    <a:pt x="104" y="736"/>
                    <a:pt x="96" y="719"/>
                    <a:pt x="103" y="721"/>
                  </a:cubicBezTo>
                  <a:cubicBezTo>
                    <a:pt x="107" y="735"/>
                    <a:pt x="113" y="734"/>
                    <a:pt x="109" y="751"/>
                  </a:cubicBezTo>
                  <a:cubicBezTo>
                    <a:pt x="113" y="751"/>
                    <a:pt x="117" y="752"/>
                    <a:pt x="119" y="755"/>
                  </a:cubicBezTo>
                  <a:cubicBezTo>
                    <a:pt x="119" y="746"/>
                    <a:pt x="114" y="739"/>
                    <a:pt x="122" y="736"/>
                  </a:cubicBezTo>
                  <a:cubicBezTo>
                    <a:pt x="122" y="752"/>
                    <a:pt x="124" y="745"/>
                    <a:pt x="128" y="740"/>
                  </a:cubicBezTo>
                  <a:cubicBezTo>
                    <a:pt x="125" y="764"/>
                    <a:pt x="138" y="764"/>
                    <a:pt x="149" y="770"/>
                  </a:cubicBezTo>
                  <a:cubicBezTo>
                    <a:pt x="149" y="765"/>
                    <a:pt x="150" y="761"/>
                    <a:pt x="154" y="762"/>
                  </a:cubicBezTo>
                  <a:cubicBezTo>
                    <a:pt x="155" y="758"/>
                    <a:pt x="155" y="753"/>
                    <a:pt x="160" y="755"/>
                  </a:cubicBezTo>
                  <a:cubicBezTo>
                    <a:pt x="163" y="767"/>
                    <a:pt x="151" y="758"/>
                    <a:pt x="154" y="770"/>
                  </a:cubicBezTo>
                  <a:cubicBezTo>
                    <a:pt x="158" y="769"/>
                    <a:pt x="164" y="771"/>
                    <a:pt x="165" y="766"/>
                  </a:cubicBezTo>
                  <a:cubicBezTo>
                    <a:pt x="161" y="766"/>
                    <a:pt x="165" y="762"/>
                    <a:pt x="165" y="762"/>
                  </a:cubicBezTo>
                  <a:cubicBezTo>
                    <a:pt x="165" y="760"/>
                    <a:pt x="162" y="756"/>
                    <a:pt x="163" y="755"/>
                  </a:cubicBezTo>
                  <a:cubicBezTo>
                    <a:pt x="163" y="751"/>
                    <a:pt x="168" y="752"/>
                    <a:pt x="168" y="744"/>
                  </a:cubicBezTo>
                  <a:cubicBezTo>
                    <a:pt x="168" y="744"/>
                    <a:pt x="165" y="744"/>
                    <a:pt x="165" y="744"/>
                  </a:cubicBezTo>
                  <a:cubicBezTo>
                    <a:pt x="163" y="741"/>
                    <a:pt x="161" y="721"/>
                    <a:pt x="168" y="729"/>
                  </a:cubicBezTo>
                  <a:cubicBezTo>
                    <a:pt x="169" y="715"/>
                    <a:pt x="157" y="719"/>
                    <a:pt x="160" y="703"/>
                  </a:cubicBezTo>
                  <a:cubicBezTo>
                    <a:pt x="166" y="702"/>
                    <a:pt x="171" y="699"/>
                    <a:pt x="176" y="696"/>
                  </a:cubicBezTo>
                  <a:cubicBezTo>
                    <a:pt x="176" y="691"/>
                    <a:pt x="176" y="686"/>
                    <a:pt x="176" y="681"/>
                  </a:cubicBezTo>
                  <a:cubicBezTo>
                    <a:pt x="165" y="683"/>
                    <a:pt x="174" y="672"/>
                    <a:pt x="173" y="670"/>
                  </a:cubicBezTo>
                  <a:cubicBezTo>
                    <a:pt x="173" y="667"/>
                    <a:pt x="168" y="666"/>
                    <a:pt x="168" y="662"/>
                  </a:cubicBezTo>
                  <a:cubicBezTo>
                    <a:pt x="167" y="658"/>
                    <a:pt x="168" y="652"/>
                    <a:pt x="170" y="651"/>
                  </a:cubicBezTo>
                  <a:cubicBezTo>
                    <a:pt x="174" y="653"/>
                    <a:pt x="173" y="659"/>
                    <a:pt x="176" y="662"/>
                  </a:cubicBezTo>
                  <a:cubicBezTo>
                    <a:pt x="175" y="661"/>
                    <a:pt x="177" y="658"/>
                    <a:pt x="178" y="658"/>
                  </a:cubicBezTo>
                  <a:cubicBezTo>
                    <a:pt x="177" y="659"/>
                    <a:pt x="188" y="675"/>
                    <a:pt x="187" y="662"/>
                  </a:cubicBezTo>
                  <a:cubicBezTo>
                    <a:pt x="184" y="661"/>
                    <a:pt x="183" y="655"/>
                    <a:pt x="181" y="651"/>
                  </a:cubicBezTo>
                  <a:cubicBezTo>
                    <a:pt x="177" y="641"/>
                    <a:pt x="184" y="646"/>
                    <a:pt x="181" y="636"/>
                  </a:cubicBezTo>
                  <a:cubicBezTo>
                    <a:pt x="181" y="634"/>
                    <a:pt x="176" y="634"/>
                    <a:pt x="176" y="629"/>
                  </a:cubicBezTo>
                  <a:cubicBezTo>
                    <a:pt x="176" y="629"/>
                    <a:pt x="181" y="626"/>
                    <a:pt x="181" y="625"/>
                  </a:cubicBezTo>
                  <a:cubicBezTo>
                    <a:pt x="184" y="619"/>
                    <a:pt x="180" y="610"/>
                    <a:pt x="184" y="607"/>
                  </a:cubicBezTo>
                  <a:cubicBezTo>
                    <a:pt x="177" y="609"/>
                    <a:pt x="174" y="605"/>
                    <a:pt x="176" y="596"/>
                  </a:cubicBezTo>
                  <a:cubicBezTo>
                    <a:pt x="181" y="595"/>
                    <a:pt x="182" y="600"/>
                    <a:pt x="187" y="599"/>
                  </a:cubicBezTo>
                  <a:cubicBezTo>
                    <a:pt x="187" y="597"/>
                    <a:pt x="187" y="592"/>
                    <a:pt x="189" y="592"/>
                  </a:cubicBezTo>
                  <a:cubicBezTo>
                    <a:pt x="189" y="597"/>
                    <a:pt x="190" y="606"/>
                    <a:pt x="192" y="599"/>
                  </a:cubicBezTo>
                  <a:cubicBezTo>
                    <a:pt x="191" y="591"/>
                    <a:pt x="193" y="586"/>
                    <a:pt x="197" y="585"/>
                  </a:cubicBezTo>
                  <a:cubicBezTo>
                    <a:pt x="195" y="598"/>
                    <a:pt x="197" y="594"/>
                    <a:pt x="195" y="607"/>
                  </a:cubicBezTo>
                  <a:cubicBezTo>
                    <a:pt x="202" y="604"/>
                    <a:pt x="193" y="624"/>
                    <a:pt x="200" y="622"/>
                  </a:cubicBezTo>
                  <a:cubicBezTo>
                    <a:pt x="206" y="611"/>
                    <a:pt x="195" y="608"/>
                    <a:pt x="200" y="603"/>
                  </a:cubicBezTo>
                  <a:cubicBezTo>
                    <a:pt x="208" y="613"/>
                    <a:pt x="210" y="635"/>
                    <a:pt x="200" y="644"/>
                  </a:cubicBezTo>
                  <a:cubicBezTo>
                    <a:pt x="197" y="640"/>
                    <a:pt x="191" y="640"/>
                    <a:pt x="184" y="640"/>
                  </a:cubicBezTo>
                  <a:cubicBezTo>
                    <a:pt x="185" y="650"/>
                    <a:pt x="187" y="658"/>
                    <a:pt x="192" y="662"/>
                  </a:cubicBezTo>
                  <a:cubicBezTo>
                    <a:pt x="187" y="664"/>
                    <a:pt x="193" y="667"/>
                    <a:pt x="192" y="673"/>
                  </a:cubicBezTo>
                  <a:cubicBezTo>
                    <a:pt x="185" y="673"/>
                    <a:pt x="184" y="666"/>
                    <a:pt x="181" y="677"/>
                  </a:cubicBezTo>
                  <a:cubicBezTo>
                    <a:pt x="188" y="675"/>
                    <a:pt x="175" y="694"/>
                    <a:pt x="184" y="696"/>
                  </a:cubicBezTo>
                  <a:cubicBezTo>
                    <a:pt x="188" y="691"/>
                    <a:pt x="184" y="676"/>
                    <a:pt x="195" y="681"/>
                  </a:cubicBezTo>
                  <a:cubicBezTo>
                    <a:pt x="194" y="668"/>
                    <a:pt x="199" y="665"/>
                    <a:pt x="203" y="659"/>
                  </a:cubicBezTo>
                  <a:cubicBezTo>
                    <a:pt x="207" y="661"/>
                    <a:pt x="202" y="677"/>
                    <a:pt x="211" y="673"/>
                  </a:cubicBezTo>
                  <a:cubicBezTo>
                    <a:pt x="212" y="667"/>
                    <a:pt x="207" y="664"/>
                    <a:pt x="211" y="662"/>
                  </a:cubicBezTo>
                  <a:cubicBezTo>
                    <a:pt x="213" y="663"/>
                    <a:pt x="216" y="662"/>
                    <a:pt x="216" y="666"/>
                  </a:cubicBezTo>
                  <a:cubicBezTo>
                    <a:pt x="212" y="668"/>
                    <a:pt x="216" y="680"/>
                    <a:pt x="211" y="681"/>
                  </a:cubicBezTo>
                  <a:cubicBezTo>
                    <a:pt x="205" y="679"/>
                    <a:pt x="206" y="670"/>
                    <a:pt x="200" y="677"/>
                  </a:cubicBezTo>
                  <a:cubicBezTo>
                    <a:pt x="199" y="691"/>
                    <a:pt x="201" y="701"/>
                    <a:pt x="205" y="707"/>
                  </a:cubicBezTo>
                  <a:cubicBezTo>
                    <a:pt x="199" y="706"/>
                    <a:pt x="197" y="700"/>
                    <a:pt x="195" y="710"/>
                  </a:cubicBezTo>
                  <a:cubicBezTo>
                    <a:pt x="202" y="714"/>
                    <a:pt x="191" y="722"/>
                    <a:pt x="195" y="733"/>
                  </a:cubicBezTo>
                  <a:cubicBezTo>
                    <a:pt x="200" y="736"/>
                    <a:pt x="204" y="722"/>
                    <a:pt x="205" y="733"/>
                  </a:cubicBezTo>
                  <a:cubicBezTo>
                    <a:pt x="200" y="731"/>
                    <a:pt x="200" y="738"/>
                    <a:pt x="197" y="740"/>
                  </a:cubicBezTo>
                  <a:cubicBezTo>
                    <a:pt x="196" y="740"/>
                    <a:pt x="194" y="741"/>
                    <a:pt x="195" y="744"/>
                  </a:cubicBezTo>
                  <a:cubicBezTo>
                    <a:pt x="203" y="747"/>
                    <a:pt x="208" y="728"/>
                    <a:pt x="211" y="736"/>
                  </a:cubicBezTo>
                  <a:cubicBezTo>
                    <a:pt x="204" y="742"/>
                    <a:pt x="210" y="762"/>
                    <a:pt x="211" y="770"/>
                  </a:cubicBezTo>
                  <a:cubicBezTo>
                    <a:pt x="211" y="779"/>
                    <a:pt x="211" y="789"/>
                    <a:pt x="211" y="799"/>
                  </a:cubicBezTo>
                  <a:cubicBezTo>
                    <a:pt x="201" y="797"/>
                    <a:pt x="199" y="806"/>
                    <a:pt x="189" y="803"/>
                  </a:cubicBezTo>
                  <a:cubicBezTo>
                    <a:pt x="188" y="817"/>
                    <a:pt x="206" y="804"/>
                    <a:pt x="200" y="825"/>
                  </a:cubicBezTo>
                  <a:cubicBezTo>
                    <a:pt x="209" y="826"/>
                    <a:pt x="206" y="811"/>
                    <a:pt x="214" y="810"/>
                  </a:cubicBezTo>
                  <a:cubicBezTo>
                    <a:pt x="218" y="823"/>
                    <a:pt x="214" y="823"/>
                    <a:pt x="214" y="840"/>
                  </a:cubicBezTo>
                  <a:cubicBezTo>
                    <a:pt x="208" y="837"/>
                    <a:pt x="203" y="852"/>
                    <a:pt x="208" y="851"/>
                  </a:cubicBezTo>
                  <a:cubicBezTo>
                    <a:pt x="209" y="847"/>
                    <a:pt x="212" y="847"/>
                    <a:pt x="216" y="847"/>
                  </a:cubicBezTo>
                  <a:cubicBezTo>
                    <a:pt x="210" y="855"/>
                    <a:pt x="219" y="859"/>
                    <a:pt x="214" y="866"/>
                  </a:cubicBezTo>
                  <a:cubicBezTo>
                    <a:pt x="223" y="869"/>
                    <a:pt x="216" y="849"/>
                    <a:pt x="224" y="851"/>
                  </a:cubicBezTo>
                  <a:cubicBezTo>
                    <a:pt x="227" y="854"/>
                    <a:pt x="225" y="865"/>
                    <a:pt x="232" y="862"/>
                  </a:cubicBezTo>
                  <a:cubicBezTo>
                    <a:pt x="229" y="850"/>
                    <a:pt x="241" y="859"/>
                    <a:pt x="238" y="847"/>
                  </a:cubicBezTo>
                  <a:cubicBezTo>
                    <a:pt x="229" y="843"/>
                    <a:pt x="236" y="859"/>
                    <a:pt x="227" y="855"/>
                  </a:cubicBezTo>
                  <a:cubicBezTo>
                    <a:pt x="231" y="840"/>
                    <a:pt x="220" y="847"/>
                    <a:pt x="219" y="840"/>
                  </a:cubicBezTo>
                  <a:cubicBezTo>
                    <a:pt x="222" y="837"/>
                    <a:pt x="226" y="835"/>
                    <a:pt x="232" y="836"/>
                  </a:cubicBezTo>
                  <a:cubicBezTo>
                    <a:pt x="233" y="831"/>
                    <a:pt x="231" y="822"/>
                    <a:pt x="235" y="821"/>
                  </a:cubicBezTo>
                  <a:cubicBezTo>
                    <a:pt x="239" y="830"/>
                    <a:pt x="243" y="815"/>
                    <a:pt x="246" y="825"/>
                  </a:cubicBezTo>
                  <a:cubicBezTo>
                    <a:pt x="242" y="834"/>
                    <a:pt x="247" y="832"/>
                    <a:pt x="243" y="836"/>
                  </a:cubicBezTo>
                  <a:cubicBezTo>
                    <a:pt x="242" y="837"/>
                    <a:pt x="243" y="842"/>
                    <a:pt x="243" y="844"/>
                  </a:cubicBezTo>
                  <a:cubicBezTo>
                    <a:pt x="240" y="853"/>
                    <a:pt x="245" y="849"/>
                    <a:pt x="243" y="858"/>
                  </a:cubicBezTo>
                  <a:cubicBezTo>
                    <a:pt x="243" y="861"/>
                    <a:pt x="235" y="862"/>
                    <a:pt x="238" y="869"/>
                  </a:cubicBezTo>
                  <a:cubicBezTo>
                    <a:pt x="241" y="872"/>
                    <a:pt x="243" y="877"/>
                    <a:pt x="243" y="884"/>
                  </a:cubicBezTo>
                  <a:cubicBezTo>
                    <a:pt x="240" y="885"/>
                    <a:pt x="239" y="879"/>
                    <a:pt x="238" y="884"/>
                  </a:cubicBezTo>
                  <a:cubicBezTo>
                    <a:pt x="241" y="885"/>
                    <a:pt x="241" y="890"/>
                    <a:pt x="240" y="895"/>
                  </a:cubicBezTo>
                  <a:cubicBezTo>
                    <a:pt x="237" y="896"/>
                    <a:pt x="233" y="895"/>
                    <a:pt x="232" y="899"/>
                  </a:cubicBezTo>
                  <a:cubicBezTo>
                    <a:pt x="238" y="898"/>
                    <a:pt x="234" y="912"/>
                    <a:pt x="235" y="918"/>
                  </a:cubicBezTo>
                  <a:cubicBezTo>
                    <a:pt x="245" y="916"/>
                    <a:pt x="249" y="907"/>
                    <a:pt x="251" y="895"/>
                  </a:cubicBezTo>
                  <a:cubicBezTo>
                    <a:pt x="249" y="894"/>
                    <a:pt x="246" y="895"/>
                    <a:pt x="246" y="892"/>
                  </a:cubicBezTo>
                  <a:cubicBezTo>
                    <a:pt x="254" y="879"/>
                    <a:pt x="238" y="856"/>
                    <a:pt x="254" y="855"/>
                  </a:cubicBezTo>
                  <a:cubicBezTo>
                    <a:pt x="255" y="866"/>
                    <a:pt x="249" y="868"/>
                    <a:pt x="251" y="881"/>
                  </a:cubicBezTo>
                  <a:cubicBezTo>
                    <a:pt x="256" y="879"/>
                    <a:pt x="257" y="886"/>
                    <a:pt x="259" y="888"/>
                  </a:cubicBezTo>
                  <a:cubicBezTo>
                    <a:pt x="265" y="875"/>
                    <a:pt x="267" y="899"/>
                    <a:pt x="273" y="899"/>
                  </a:cubicBezTo>
                  <a:cubicBezTo>
                    <a:pt x="273" y="895"/>
                    <a:pt x="277" y="894"/>
                    <a:pt x="278" y="899"/>
                  </a:cubicBezTo>
                  <a:cubicBezTo>
                    <a:pt x="283" y="911"/>
                    <a:pt x="268" y="914"/>
                    <a:pt x="275" y="918"/>
                  </a:cubicBezTo>
                  <a:cubicBezTo>
                    <a:pt x="276" y="909"/>
                    <a:pt x="287" y="916"/>
                    <a:pt x="292" y="914"/>
                  </a:cubicBezTo>
                  <a:cubicBezTo>
                    <a:pt x="291" y="919"/>
                    <a:pt x="293" y="922"/>
                    <a:pt x="294" y="925"/>
                  </a:cubicBezTo>
                  <a:cubicBezTo>
                    <a:pt x="304" y="925"/>
                    <a:pt x="310" y="931"/>
                    <a:pt x="313" y="940"/>
                  </a:cubicBezTo>
                  <a:cubicBezTo>
                    <a:pt x="312" y="940"/>
                    <a:pt x="310" y="943"/>
                    <a:pt x="313" y="943"/>
                  </a:cubicBezTo>
                  <a:cubicBezTo>
                    <a:pt x="314" y="937"/>
                    <a:pt x="319" y="941"/>
                    <a:pt x="321" y="943"/>
                  </a:cubicBezTo>
                  <a:cubicBezTo>
                    <a:pt x="323" y="945"/>
                    <a:pt x="325" y="946"/>
                    <a:pt x="326" y="947"/>
                  </a:cubicBezTo>
                  <a:cubicBezTo>
                    <a:pt x="329" y="949"/>
                    <a:pt x="332" y="954"/>
                    <a:pt x="335" y="954"/>
                  </a:cubicBezTo>
                  <a:cubicBezTo>
                    <a:pt x="334" y="954"/>
                    <a:pt x="335" y="948"/>
                    <a:pt x="337" y="951"/>
                  </a:cubicBezTo>
                  <a:cubicBezTo>
                    <a:pt x="339" y="953"/>
                    <a:pt x="336" y="958"/>
                    <a:pt x="340" y="958"/>
                  </a:cubicBezTo>
                  <a:cubicBezTo>
                    <a:pt x="344" y="959"/>
                    <a:pt x="345" y="969"/>
                    <a:pt x="345" y="973"/>
                  </a:cubicBezTo>
                  <a:cubicBezTo>
                    <a:pt x="364" y="976"/>
                    <a:pt x="367" y="1002"/>
                    <a:pt x="388" y="1003"/>
                  </a:cubicBezTo>
                  <a:cubicBezTo>
                    <a:pt x="391" y="1008"/>
                    <a:pt x="394" y="1015"/>
                    <a:pt x="396" y="1017"/>
                  </a:cubicBezTo>
                  <a:cubicBezTo>
                    <a:pt x="400" y="1021"/>
                    <a:pt x="406" y="1018"/>
                    <a:pt x="410" y="1021"/>
                  </a:cubicBezTo>
                  <a:cubicBezTo>
                    <a:pt x="411" y="1022"/>
                    <a:pt x="411" y="1028"/>
                    <a:pt x="412" y="1028"/>
                  </a:cubicBezTo>
                  <a:cubicBezTo>
                    <a:pt x="415" y="1030"/>
                    <a:pt x="418" y="1028"/>
                    <a:pt x="421" y="1028"/>
                  </a:cubicBezTo>
                  <a:cubicBezTo>
                    <a:pt x="421" y="1029"/>
                    <a:pt x="420" y="1032"/>
                    <a:pt x="421" y="1032"/>
                  </a:cubicBezTo>
                  <a:cubicBezTo>
                    <a:pt x="421" y="1033"/>
                    <a:pt x="428" y="1035"/>
                    <a:pt x="429" y="1036"/>
                  </a:cubicBezTo>
                  <a:cubicBezTo>
                    <a:pt x="433" y="1040"/>
                    <a:pt x="436" y="1038"/>
                    <a:pt x="442" y="1040"/>
                  </a:cubicBezTo>
                  <a:cubicBezTo>
                    <a:pt x="442" y="1040"/>
                    <a:pt x="443" y="1043"/>
                    <a:pt x="445" y="1043"/>
                  </a:cubicBezTo>
                  <a:cubicBezTo>
                    <a:pt x="448" y="1044"/>
                    <a:pt x="450" y="1046"/>
                    <a:pt x="453" y="1047"/>
                  </a:cubicBezTo>
                  <a:cubicBezTo>
                    <a:pt x="460" y="1049"/>
                    <a:pt x="461" y="1051"/>
                    <a:pt x="464" y="1058"/>
                  </a:cubicBezTo>
                  <a:cubicBezTo>
                    <a:pt x="469" y="1058"/>
                    <a:pt x="474" y="1058"/>
                    <a:pt x="480" y="1058"/>
                  </a:cubicBezTo>
                  <a:cubicBezTo>
                    <a:pt x="480" y="1065"/>
                    <a:pt x="481" y="1064"/>
                    <a:pt x="485" y="1065"/>
                  </a:cubicBezTo>
                  <a:cubicBezTo>
                    <a:pt x="486" y="1066"/>
                    <a:pt x="489" y="1069"/>
                    <a:pt x="488" y="1069"/>
                  </a:cubicBezTo>
                  <a:cubicBezTo>
                    <a:pt x="491" y="1069"/>
                    <a:pt x="495" y="1065"/>
                    <a:pt x="496" y="1065"/>
                  </a:cubicBezTo>
                  <a:cubicBezTo>
                    <a:pt x="496" y="1066"/>
                    <a:pt x="495" y="1072"/>
                    <a:pt x="496" y="1073"/>
                  </a:cubicBezTo>
                  <a:cubicBezTo>
                    <a:pt x="497" y="1074"/>
                    <a:pt x="500" y="1072"/>
                    <a:pt x="501" y="1073"/>
                  </a:cubicBezTo>
                  <a:cubicBezTo>
                    <a:pt x="502" y="1073"/>
                    <a:pt x="505" y="1077"/>
                    <a:pt x="504" y="1077"/>
                  </a:cubicBezTo>
                  <a:cubicBezTo>
                    <a:pt x="507" y="1077"/>
                    <a:pt x="511" y="1072"/>
                    <a:pt x="512" y="1073"/>
                  </a:cubicBezTo>
                  <a:cubicBezTo>
                    <a:pt x="514" y="1074"/>
                    <a:pt x="515" y="1082"/>
                    <a:pt x="517" y="1084"/>
                  </a:cubicBezTo>
                  <a:cubicBezTo>
                    <a:pt x="526" y="1087"/>
                    <a:pt x="523" y="1074"/>
                    <a:pt x="531" y="1077"/>
                  </a:cubicBezTo>
                  <a:cubicBezTo>
                    <a:pt x="532" y="1087"/>
                    <a:pt x="545" y="1082"/>
                    <a:pt x="542" y="1099"/>
                  </a:cubicBezTo>
                  <a:cubicBezTo>
                    <a:pt x="550" y="1098"/>
                    <a:pt x="553" y="1105"/>
                    <a:pt x="563" y="1102"/>
                  </a:cubicBezTo>
                  <a:cubicBezTo>
                    <a:pt x="565" y="1112"/>
                    <a:pt x="571" y="1117"/>
                    <a:pt x="574" y="1125"/>
                  </a:cubicBezTo>
                  <a:cubicBezTo>
                    <a:pt x="576" y="1129"/>
                    <a:pt x="574" y="1129"/>
                    <a:pt x="577" y="1132"/>
                  </a:cubicBezTo>
                  <a:cubicBezTo>
                    <a:pt x="577" y="1133"/>
                    <a:pt x="576" y="1138"/>
                    <a:pt x="577" y="1139"/>
                  </a:cubicBezTo>
                  <a:cubicBezTo>
                    <a:pt x="577" y="1140"/>
                    <a:pt x="579" y="1139"/>
                    <a:pt x="579" y="1139"/>
                  </a:cubicBezTo>
                  <a:cubicBezTo>
                    <a:pt x="580" y="1140"/>
                    <a:pt x="579" y="1145"/>
                    <a:pt x="579" y="1147"/>
                  </a:cubicBezTo>
                  <a:cubicBezTo>
                    <a:pt x="580" y="1148"/>
                    <a:pt x="584" y="1149"/>
                    <a:pt x="585" y="1151"/>
                  </a:cubicBezTo>
                  <a:cubicBezTo>
                    <a:pt x="586" y="1154"/>
                    <a:pt x="585" y="1159"/>
                    <a:pt x="587" y="1162"/>
                  </a:cubicBezTo>
                  <a:cubicBezTo>
                    <a:pt x="589" y="1165"/>
                    <a:pt x="593" y="1163"/>
                    <a:pt x="595" y="1165"/>
                  </a:cubicBezTo>
                  <a:cubicBezTo>
                    <a:pt x="599" y="1169"/>
                    <a:pt x="603" y="1175"/>
                    <a:pt x="606" y="1180"/>
                  </a:cubicBezTo>
                  <a:cubicBezTo>
                    <a:pt x="611" y="1186"/>
                    <a:pt x="614" y="1193"/>
                    <a:pt x="617" y="1199"/>
                  </a:cubicBezTo>
                  <a:cubicBezTo>
                    <a:pt x="634" y="1201"/>
                    <a:pt x="644" y="1194"/>
                    <a:pt x="660" y="1195"/>
                  </a:cubicBezTo>
                  <a:cubicBezTo>
                    <a:pt x="670" y="1210"/>
                    <a:pt x="684" y="1205"/>
                    <a:pt x="698" y="1210"/>
                  </a:cubicBezTo>
                  <a:cubicBezTo>
                    <a:pt x="699" y="1210"/>
                    <a:pt x="702" y="1216"/>
                    <a:pt x="703" y="1217"/>
                  </a:cubicBezTo>
                  <a:cubicBezTo>
                    <a:pt x="706" y="1218"/>
                    <a:pt x="710" y="1216"/>
                    <a:pt x="714" y="1217"/>
                  </a:cubicBezTo>
                  <a:cubicBezTo>
                    <a:pt x="714" y="1217"/>
                    <a:pt x="714" y="1220"/>
                    <a:pt x="716" y="1221"/>
                  </a:cubicBezTo>
                  <a:cubicBezTo>
                    <a:pt x="720" y="1222"/>
                    <a:pt x="722" y="1222"/>
                    <a:pt x="724" y="1225"/>
                  </a:cubicBezTo>
                  <a:cubicBezTo>
                    <a:pt x="730" y="1230"/>
                    <a:pt x="736" y="1226"/>
                    <a:pt x="743" y="1228"/>
                  </a:cubicBezTo>
                  <a:cubicBezTo>
                    <a:pt x="744" y="1228"/>
                    <a:pt x="747" y="1235"/>
                    <a:pt x="749" y="1235"/>
                  </a:cubicBezTo>
                  <a:cubicBezTo>
                    <a:pt x="752" y="1237"/>
                    <a:pt x="755" y="1232"/>
                    <a:pt x="757" y="1232"/>
                  </a:cubicBezTo>
                  <a:cubicBezTo>
                    <a:pt x="756" y="1232"/>
                    <a:pt x="758" y="1235"/>
                    <a:pt x="759" y="1235"/>
                  </a:cubicBezTo>
                  <a:cubicBezTo>
                    <a:pt x="763" y="1237"/>
                    <a:pt x="765" y="1238"/>
                    <a:pt x="767" y="1239"/>
                  </a:cubicBezTo>
                  <a:cubicBezTo>
                    <a:pt x="775" y="1242"/>
                    <a:pt x="773" y="1245"/>
                    <a:pt x="778" y="1247"/>
                  </a:cubicBezTo>
                  <a:cubicBezTo>
                    <a:pt x="777" y="1246"/>
                    <a:pt x="780" y="1243"/>
                    <a:pt x="781" y="1243"/>
                  </a:cubicBezTo>
                  <a:cubicBezTo>
                    <a:pt x="784" y="1242"/>
                    <a:pt x="788" y="1245"/>
                    <a:pt x="789" y="1247"/>
                  </a:cubicBezTo>
                  <a:cubicBezTo>
                    <a:pt x="795" y="1255"/>
                    <a:pt x="799" y="1246"/>
                    <a:pt x="805" y="1247"/>
                  </a:cubicBezTo>
                  <a:cubicBezTo>
                    <a:pt x="805" y="1247"/>
                    <a:pt x="806" y="1250"/>
                    <a:pt x="808" y="1250"/>
                  </a:cubicBezTo>
                  <a:cubicBezTo>
                    <a:pt x="809" y="1251"/>
                    <a:pt x="812" y="1250"/>
                    <a:pt x="813" y="1250"/>
                  </a:cubicBezTo>
                  <a:cubicBezTo>
                    <a:pt x="813" y="1251"/>
                    <a:pt x="813" y="1254"/>
                    <a:pt x="813" y="1254"/>
                  </a:cubicBezTo>
                  <a:cubicBezTo>
                    <a:pt x="817" y="1256"/>
                    <a:pt x="823" y="1255"/>
                    <a:pt x="827" y="1258"/>
                  </a:cubicBezTo>
                  <a:cubicBezTo>
                    <a:pt x="827" y="1255"/>
                    <a:pt x="827" y="1250"/>
                    <a:pt x="829" y="1250"/>
                  </a:cubicBezTo>
                  <a:cubicBezTo>
                    <a:pt x="835" y="1258"/>
                    <a:pt x="835" y="1249"/>
                    <a:pt x="840" y="1247"/>
                  </a:cubicBezTo>
                  <a:cubicBezTo>
                    <a:pt x="840" y="1252"/>
                    <a:pt x="840" y="1257"/>
                    <a:pt x="840" y="1261"/>
                  </a:cubicBezTo>
                  <a:cubicBezTo>
                    <a:pt x="845" y="1263"/>
                    <a:pt x="845" y="1256"/>
                    <a:pt x="848" y="1254"/>
                  </a:cubicBezTo>
                  <a:cubicBezTo>
                    <a:pt x="849" y="1258"/>
                    <a:pt x="851" y="1260"/>
                    <a:pt x="854" y="1261"/>
                  </a:cubicBezTo>
                  <a:cubicBezTo>
                    <a:pt x="854" y="1257"/>
                    <a:pt x="853" y="1251"/>
                    <a:pt x="856" y="1250"/>
                  </a:cubicBezTo>
                  <a:cubicBezTo>
                    <a:pt x="864" y="1260"/>
                    <a:pt x="866" y="1254"/>
                    <a:pt x="878" y="1258"/>
                  </a:cubicBezTo>
                  <a:cubicBezTo>
                    <a:pt x="878" y="1262"/>
                    <a:pt x="878" y="1266"/>
                    <a:pt x="883" y="1265"/>
                  </a:cubicBezTo>
                  <a:cubicBezTo>
                    <a:pt x="884" y="1253"/>
                    <a:pt x="888" y="1263"/>
                    <a:pt x="897" y="1258"/>
                  </a:cubicBezTo>
                  <a:cubicBezTo>
                    <a:pt x="896" y="1264"/>
                    <a:pt x="899" y="1267"/>
                    <a:pt x="902" y="1269"/>
                  </a:cubicBezTo>
                  <a:cubicBezTo>
                    <a:pt x="904" y="1263"/>
                    <a:pt x="905" y="1269"/>
                    <a:pt x="907" y="1265"/>
                  </a:cubicBezTo>
                  <a:cubicBezTo>
                    <a:pt x="911" y="1260"/>
                    <a:pt x="921" y="1269"/>
                    <a:pt x="921" y="1269"/>
                  </a:cubicBezTo>
                  <a:cubicBezTo>
                    <a:pt x="923" y="1268"/>
                    <a:pt x="926" y="1255"/>
                    <a:pt x="931" y="1261"/>
                  </a:cubicBezTo>
                  <a:cubicBezTo>
                    <a:pt x="930" y="1276"/>
                    <a:pt x="940" y="1266"/>
                    <a:pt x="945" y="1265"/>
                  </a:cubicBezTo>
                  <a:cubicBezTo>
                    <a:pt x="948" y="1265"/>
                    <a:pt x="949" y="1269"/>
                    <a:pt x="953" y="1269"/>
                  </a:cubicBezTo>
                  <a:cubicBezTo>
                    <a:pt x="952" y="1269"/>
                    <a:pt x="955" y="1265"/>
                    <a:pt x="956" y="1265"/>
                  </a:cubicBezTo>
                  <a:cubicBezTo>
                    <a:pt x="968" y="1258"/>
                    <a:pt x="952" y="1267"/>
                    <a:pt x="953" y="1258"/>
                  </a:cubicBezTo>
                  <a:cubicBezTo>
                    <a:pt x="957" y="1258"/>
                    <a:pt x="959" y="1256"/>
                    <a:pt x="961" y="1254"/>
                  </a:cubicBezTo>
                  <a:cubicBezTo>
                    <a:pt x="966" y="1259"/>
                    <a:pt x="961" y="1276"/>
                    <a:pt x="969" y="1276"/>
                  </a:cubicBezTo>
                  <a:cubicBezTo>
                    <a:pt x="968" y="1266"/>
                    <a:pt x="984" y="1279"/>
                    <a:pt x="983" y="1269"/>
                  </a:cubicBezTo>
                  <a:cubicBezTo>
                    <a:pt x="980" y="1268"/>
                    <a:pt x="978" y="1265"/>
                    <a:pt x="977" y="1261"/>
                  </a:cubicBezTo>
                  <a:cubicBezTo>
                    <a:pt x="990" y="1261"/>
                    <a:pt x="987" y="1259"/>
                    <a:pt x="999" y="1254"/>
                  </a:cubicBezTo>
                  <a:cubicBezTo>
                    <a:pt x="999" y="1260"/>
                    <a:pt x="998" y="1268"/>
                    <a:pt x="1001" y="1269"/>
                  </a:cubicBezTo>
                  <a:cubicBezTo>
                    <a:pt x="1002" y="1264"/>
                    <a:pt x="1002" y="1260"/>
                    <a:pt x="1007" y="1261"/>
                  </a:cubicBezTo>
                  <a:cubicBezTo>
                    <a:pt x="1007" y="1269"/>
                    <a:pt x="999" y="1266"/>
                    <a:pt x="1001" y="1276"/>
                  </a:cubicBezTo>
                  <a:cubicBezTo>
                    <a:pt x="1010" y="1279"/>
                    <a:pt x="1007" y="1267"/>
                    <a:pt x="1012" y="1265"/>
                  </a:cubicBezTo>
                  <a:cubicBezTo>
                    <a:pt x="1016" y="1264"/>
                    <a:pt x="1016" y="1272"/>
                    <a:pt x="1018" y="1273"/>
                  </a:cubicBezTo>
                  <a:cubicBezTo>
                    <a:pt x="1023" y="1275"/>
                    <a:pt x="1027" y="1266"/>
                    <a:pt x="1031" y="1269"/>
                  </a:cubicBezTo>
                  <a:cubicBezTo>
                    <a:pt x="1037" y="1273"/>
                    <a:pt x="1028" y="1282"/>
                    <a:pt x="1034" y="1280"/>
                  </a:cubicBezTo>
                  <a:cubicBezTo>
                    <a:pt x="1036" y="1279"/>
                    <a:pt x="1040" y="1267"/>
                    <a:pt x="1042" y="1265"/>
                  </a:cubicBezTo>
                  <a:cubicBezTo>
                    <a:pt x="1037" y="1264"/>
                    <a:pt x="1035" y="1271"/>
                    <a:pt x="1034" y="1265"/>
                  </a:cubicBezTo>
                  <a:cubicBezTo>
                    <a:pt x="1037" y="1255"/>
                    <a:pt x="1046" y="1268"/>
                    <a:pt x="1050" y="1269"/>
                  </a:cubicBezTo>
                  <a:cubicBezTo>
                    <a:pt x="1050" y="1254"/>
                    <a:pt x="1054" y="1269"/>
                    <a:pt x="1058" y="1269"/>
                  </a:cubicBezTo>
                  <a:cubicBezTo>
                    <a:pt x="1059" y="1269"/>
                    <a:pt x="1059" y="1263"/>
                    <a:pt x="1063" y="1265"/>
                  </a:cubicBezTo>
                  <a:cubicBezTo>
                    <a:pt x="1063" y="1265"/>
                    <a:pt x="1066" y="1269"/>
                    <a:pt x="1066" y="1269"/>
                  </a:cubicBezTo>
                  <a:cubicBezTo>
                    <a:pt x="1072" y="1275"/>
                    <a:pt x="1069" y="1268"/>
                    <a:pt x="1077" y="1269"/>
                  </a:cubicBezTo>
                  <a:cubicBezTo>
                    <a:pt x="1071" y="1277"/>
                    <a:pt x="1078" y="1277"/>
                    <a:pt x="1082" y="1273"/>
                  </a:cubicBezTo>
                  <a:cubicBezTo>
                    <a:pt x="1080" y="1284"/>
                    <a:pt x="1086" y="1284"/>
                    <a:pt x="1090" y="1287"/>
                  </a:cubicBezTo>
                  <a:cubicBezTo>
                    <a:pt x="1090" y="1281"/>
                    <a:pt x="1092" y="1278"/>
                    <a:pt x="1096" y="1276"/>
                  </a:cubicBezTo>
                  <a:cubicBezTo>
                    <a:pt x="1096" y="1282"/>
                    <a:pt x="1095" y="1289"/>
                    <a:pt x="1101" y="1287"/>
                  </a:cubicBezTo>
                  <a:cubicBezTo>
                    <a:pt x="1101" y="1281"/>
                    <a:pt x="1100" y="1276"/>
                    <a:pt x="1098" y="1273"/>
                  </a:cubicBezTo>
                  <a:cubicBezTo>
                    <a:pt x="1102" y="1273"/>
                    <a:pt x="1104" y="1271"/>
                    <a:pt x="1106" y="1269"/>
                  </a:cubicBezTo>
                  <a:cubicBezTo>
                    <a:pt x="1109" y="1274"/>
                    <a:pt x="1110" y="1284"/>
                    <a:pt x="1114" y="1287"/>
                  </a:cubicBezTo>
                  <a:cubicBezTo>
                    <a:pt x="1119" y="1280"/>
                    <a:pt x="1115" y="1278"/>
                    <a:pt x="1114" y="1269"/>
                  </a:cubicBezTo>
                  <a:cubicBezTo>
                    <a:pt x="1117" y="1275"/>
                    <a:pt x="1124" y="1269"/>
                    <a:pt x="1128" y="1273"/>
                  </a:cubicBezTo>
                  <a:cubicBezTo>
                    <a:pt x="1130" y="1274"/>
                    <a:pt x="1128" y="1285"/>
                    <a:pt x="1133" y="1284"/>
                  </a:cubicBezTo>
                  <a:cubicBezTo>
                    <a:pt x="1134" y="1279"/>
                    <a:pt x="1133" y="1273"/>
                    <a:pt x="1136" y="1273"/>
                  </a:cubicBezTo>
                  <a:cubicBezTo>
                    <a:pt x="1136" y="1277"/>
                    <a:pt x="1140" y="1277"/>
                    <a:pt x="1144" y="1276"/>
                  </a:cubicBezTo>
                  <a:cubicBezTo>
                    <a:pt x="1143" y="1284"/>
                    <a:pt x="1148" y="1284"/>
                    <a:pt x="1149" y="1287"/>
                  </a:cubicBezTo>
                  <a:cubicBezTo>
                    <a:pt x="1147" y="1288"/>
                    <a:pt x="1146" y="1290"/>
                    <a:pt x="1147" y="1295"/>
                  </a:cubicBezTo>
                  <a:cubicBezTo>
                    <a:pt x="1157" y="1295"/>
                    <a:pt x="1158" y="1280"/>
                    <a:pt x="1163" y="1273"/>
                  </a:cubicBezTo>
                  <a:cubicBezTo>
                    <a:pt x="1166" y="1273"/>
                    <a:pt x="1170" y="1273"/>
                    <a:pt x="1173" y="1273"/>
                  </a:cubicBezTo>
                  <a:cubicBezTo>
                    <a:pt x="1173" y="1282"/>
                    <a:pt x="1174" y="1288"/>
                    <a:pt x="1181" y="1287"/>
                  </a:cubicBezTo>
                  <a:cubicBezTo>
                    <a:pt x="1182" y="1282"/>
                    <a:pt x="1181" y="1274"/>
                    <a:pt x="1184" y="1273"/>
                  </a:cubicBezTo>
                  <a:cubicBezTo>
                    <a:pt x="1184" y="1277"/>
                    <a:pt x="1188" y="1274"/>
                    <a:pt x="1190" y="1276"/>
                  </a:cubicBezTo>
                  <a:cubicBezTo>
                    <a:pt x="1190" y="1277"/>
                    <a:pt x="1189" y="1283"/>
                    <a:pt x="1190" y="1284"/>
                  </a:cubicBezTo>
                  <a:cubicBezTo>
                    <a:pt x="1195" y="1287"/>
                    <a:pt x="1202" y="1281"/>
                    <a:pt x="1208" y="1280"/>
                  </a:cubicBezTo>
                  <a:cubicBezTo>
                    <a:pt x="1218" y="1287"/>
                    <a:pt x="1208" y="1278"/>
                    <a:pt x="1214" y="1276"/>
                  </a:cubicBezTo>
                  <a:cubicBezTo>
                    <a:pt x="1221" y="1282"/>
                    <a:pt x="1207" y="1306"/>
                    <a:pt x="1222" y="1306"/>
                  </a:cubicBezTo>
                  <a:cubicBezTo>
                    <a:pt x="1223" y="1300"/>
                    <a:pt x="1219" y="1287"/>
                    <a:pt x="1225" y="1287"/>
                  </a:cubicBezTo>
                  <a:cubicBezTo>
                    <a:pt x="1229" y="1301"/>
                    <a:pt x="1233" y="1282"/>
                    <a:pt x="1235" y="1280"/>
                  </a:cubicBezTo>
                  <a:cubicBezTo>
                    <a:pt x="1236" y="1281"/>
                    <a:pt x="1234" y="1290"/>
                    <a:pt x="1235" y="1291"/>
                  </a:cubicBezTo>
                  <a:cubicBezTo>
                    <a:pt x="1244" y="1297"/>
                    <a:pt x="1256" y="1287"/>
                    <a:pt x="1249" y="1306"/>
                  </a:cubicBezTo>
                  <a:cubicBezTo>
                    <a:pt x="1262" y="1313"/>
                    <a:pt x="1253" y="1289"/>
                    <a:pt x="1260" y="1287"/>
                  </a:cubicBezTo>
                  <a:cubicBezTo>
                    <a:pt x="1260" y="1291"/>
                    <a:pt x="1260" y="1295"/>
                    <a:pt x="1260" y="1298"/>
                  </a:cubicBezTo>
                  <a:cubicBezTo>
                    <a:pt x="1268" y="1302"/>
                    <a:pt x="1263" y="1286"/>
                    <a:pt x="1270" y="1287"/>
                  </a:cubicBezTo>
                  <a:cubicBezTo>
                    <a:pt x="1275" y="1289"/>
                    <a:pt x="1277" y="1282"/>
                    <a:pt x="1278" y="1287"/>
                  </a:cubicBezTo>
                  <a:cubicBezTo>
                    <a:pt x="1276" y="1292"/>
                    <a:pt x="1275" y="1297"/>
                    <a:pt x="1276" y="1306"/>
                  </a:cubicBezTo>
                  <a:cubicBezTo>
                    <a:pt x="1285" y="1306"/>
                    <a:pt x="1280" y="1287"/>
                    <a:pt x="1289" y="1287"/>
                  </a:cubicBezTo>
                  <a:cubicBezTo>
                    <a:pt x="1289" y="1294"/>
                    <a:pt x="1291" y="1300"/>
                    <a:pt x="1294" y="1302"/>
                  </a:cubicBezTo>
                  <a:cubicBezTo>
                    <a:pt x="1296" y="1295"/>
                    <a:pt x="1295" y="1286"/>
                    <a:pt x="1303" y="1287"/>
                  </a:cubicBezTo>
                  <a:cubicBezTo>
                    <a:pt x="1304" y="1295"/>
                    <a:pt x="1299" y="1312"/>
                    <a:pt x="1305" y="1313"/>
                  </a:cubicBezTo>
                  <a:cubicBezTo>
                    <a:pt x="1309" y="1311"/>
                    <a:pt x="1306" y="1299"/>
                    <a:pt x="1311" y="1298"/>
                  </a:cubicBezTo>
                  <a:cubicBezTo>
                    <a:pt x="1316" y="1300"/>
                    <a:pt x="1316" y="1293"/>
                    <a:pt x="1319" y="1291"/>
                  </a:cubicBezTo>
                  <a:cubicBezTo>
                    <a:pt x="1322" y="1291"/>
                    <a:pt x="1325" y="1289"/>
                    <a:pt x="1327" y="1287"/>
                  </a:cubicBezTo>
                  <a:cubicBezTo>
                    <a:pt x="1328" y="1296"/>
                    <a:pt x="1319" y="1291"/>
                    <a:pt x="1319" y="1298"/>
                  </a:cubicBezTo>
                  <a:cubicBezTo>
                    <a:pt x="1326" y="1309"/>
                    <a:pt x="1327" y="1291"/>
                    <a:pt x="1338" y="1295"/>
                  </a:cubicBezTo>
                  <a:cubicBezTo>
                    <a:pt x="1342" y="1297"/>
                    <a:pt x="1337" y="1312"/>
                    <a:pt x="1343" y="1313"/>
                  </a:cubicBezTo>
                  <a:cubicBezTo>
                    <a:pt x="1353" y="1295"/>
                    <a:pt x="1338" y="1295"/>
                    <a:pt x="1338" y="1284"/>
                  </a:cubicBezTo>
                  <a:cubicBezTo>
                    <a:pt x="1345" y="1284"/>
                    <a:pt x="1350" y="1288"/>
                    <a:pt x="1348" y="1302"/>
                  </a:cubicBezTo>
                  <a:cubicBezTo>
                    <a:pt x="1352" y="1302"/>
                    <a:pt x="1355" y="1302"/>
                    <a:pt x="1359" y="1302"/>
                  </a:cubicBezTo>
                  <a:cubicBezTo>
                    <a:pt x="1359" y="1290"/>
                    <a:pt x="1353" y="1284"/>
                    <a:pt x="1364" y="1284"/>
                  </a:cubicBezTo>
                  <a:cubicBezTo>
                    <a:pt x="1363" y="1297"/>
                    <a:pt x="1367" y="1305"/>
                    <a:pt x="1375" y="1306"/>
                  </a:cubicBezTo>
                  <a:cubicBezTo>
                    <a:pt x="1376" y="1300"/>
                    <a:pt x="1374" y="1292"/>
                    <a:pt x="1378" y="1291"/>
                  </a:cubicBezTo>
                  <a:cubicBezTo>
                    <a:pt x="1383" y="1292"/>
                    <a:pt x="1380" y="1300"/>
                    <a:pt x="1383" y="1295"/>
                  </a:cubicBezTo>
                  <a:cubicBezTo>
                    <a:pt x="1385" y="1292"/>
                    <a:pt x="1388" y="1292"/>
                    <a:pt x="1391" y="1291"/>
                  </a:cubicBezTo>
                  <a:cubicBezTo>
                    <a:pt x="1387" y="1304"/>
                    <a:pt x="1400" y="1293"/>
                    <a:pt x="1399" y="1302"/>
                  </a:cubicBezTo>
                  <a:cubicBezTo>
                    <a:pt x="1398" y="1309"/>
                    <a:pt x="1389" y="1305"/>
                    <a:pt x="1391" y="1317"/>
                  </a:cubicBezTo>
                  <a:cubicBezTo>
                    <a:pt x="1399" y="1320"/>
                    <a:pt x="1397" y="1310"/>
                    <a:pt x="1402" y="1309"/>
                  </a:cubicBezTo>
                  <a:cubicBezTo>
                    <a:pt x="1403" y="1314"/>
                    <a:pt x="1406" y="1314"/>
                    <a:pt x="1410" y="1313"/>
                  </a:cubicBezTo>
                  <a:cubicBezTo>
                    <a:pt x="1411" y="1318"/>
                    <a:pt x="1414" y="1321"/>
                    <a:pt x="1418" y="1321"/>
                  </a:cubicBezTo>
                  <a:cubicBezTo>
                    <a:pt x="1422" y="1307"/>
                    <a:pt x="1414" y="1301"/>
                    <a:pt x="1424" y="1295"/>
                  </a:cubicBezTo>
                  <a:cubicBezTo>
                    <a:pt x="1423" y="1303"/>
                    <a:pt x="1424" y="1309"/>
                    <a:pt x="1426" y="1313"/>
                  </a:cubicBezTo>
                  <a:cubicBezTo>
                    <a:pt x="1441" y="1318"/>
                    <a:pt x="1443" y="1304"/>
                    <a:pt x="1450" y="1298"/>
                  </a:cubicBezTo>
                  <a:cubicBezTo>
                    <a:pt x="1449" y="1312"/>
                    <a:pt x="1447" y="1315"/>
                    <a:pt x="1456" y="1321"/>
                  </a:cubicBezTo>
                  <a:cubicBezTo>
                    <a:pt x="1456" y="1313"/>
                    <a:pt x="1463" y="1313"/>
                    <a:pt x="1469" y="1313"/>
                  </a:cubicBezTo>
                  <a:cubicBezTo>
                    <a:pt x="1465" y="1324"/>
                    <a:pt x="1481" y="1323"/>
                    <a:pt x="1480" y="1317"/>
                  </a:cubicBezTo>
                  <a:cubicBezTo>
                    <a:pt x="1471" y="1314"/>
                    <a:pt x="1477" y="1305"/>
                    <a:pt x="1480" y="1302"/>
                  </a:cubicBezTo>
                  <a:cubicBezTo>
                    <a:pt x="1483" y="1299"/>
                    <a:pt x="1487" y="1307"/>
                    <a:pt x="1491" y="1306"/>
                  </a:cubicBezTo>
                  <a:cubicBezTo>
                    <a:pt x="1492" y="1305"/>
                    <a:pt x="1493" y="1298"/>
                    <a:pt x="1496" y="1298"/>
                  </a:cubicBezTo>
                  <a:cubicBezTo>
                    <a:pt x="1497" y="1298"/>
                    <a:pt x="1496" y="1305"/>
                    <a:pt x="1496" y="1306"/>
                  </a:cubicBezTo>
                  <a:cubicBezTo>
                    <a:pt x="1498" y="1309"/>
                    <a:pt x="1507" y="1304"/>
                    <a:pt x="1510" y="1306"/>
                  </a:cubicBezTo>
                  <a:cubicBezTo>
                    <a:pt x="1511" y="1313"/>
                    <a:pt x="1511" y="1322"/>
                    <a:pt x="1518" y="1321"/>
                  </a:cubicBezTo>
                  <a:cubicBezTo>
                    <a:pt x="1520" y="1309"/>
                    <a:pt x="1513" y="1309"/>
                    <a:pt x="1512" y="1302"/>
                  </a:cubicBezTo>
                  <a:cubicBezTo>
                    <a:pt x="1520" y="1305"/>
                    <a:pt x="1519" y="1297"/>
                    <a:pt x="1526" y="1298"/>
                  </a:cubicBezTo>
                  <a:cubicBezTo>
                    <a:pt x="1525" y="1309"/>
                    <a:pt x="1536" y="1302"/>
                    <a:pt x="1536" y="1309"/>
                  </a:cubicBezTo>
                  <a:cubicBezTo>
                    <a:pt x="1536" y="1316"/>
                    <a:pt x="1537" y="1321"/>
                    <a:pt x="1539" y="1324"/>
                  </a:cubicBezTo>
                  <a:cubicBezTo>
                    <a:pt x="1548" y="1321"/>
                    <a:pt x="1551" y="1313"/>
                    <a:pt x="1558" y="1324"/>
                  </a:cubicBezTo>
                  <a:cubicBezTo>
                    <a:pt x="1558" y="1321"/>
                    <a:pt x="1560" y="1320"/>
                    <a:pt x="1561" y="1317"/>
                  </a:cubicBezTo>
                  <a:cubicBezTo>
                    <a:pt x="1561" y="1313"/>
                    <a:pt x="1557" y="1311"/>
                    <a:pt x="1561" y="1309"/>
                  </a:cubicBezTo>
                  <a:cubicBezTo>
                    <a:pt x="1569" y="1304"/>
                    <a:pt x="1570" y="1313"/>
                    <a:pt x="1577" y="1306"/>
                  </a:cubicBezTo>
                  <a:cubicBezTo>
                    <a:pt x="1582" y="1313"/>
                    <a:pt x="1575" y="1313"/>
                    <a:pt x="1577" y="1324"/>
                  </a:cubicBezTo>
                  <a:cubicBezTo>
                    <a:pt x="1582" y="1325"/>
                    <a:pt x="1582" y="1319"/>
                    <a:pt x="1585" y="1317"/>
                  </a:cubicBezTo>
                  <a:cubicBezTo>
                    <a:pt x="1590" y="1317"/>
                    <a:pt x="1588" y="1307"/>
                    <a:pt x="1596" y="1309"/>
                  </a:cubicBezTo>
                  <a:cubicBezTo>
                    <a:pt x="1596" y="1331"/>
                    <a:pt x="1611" y="1299"/>
                    <a:pt x="1612" y="1309"/>
                  </a:cubicBezTo>
                  <a:cubicBezTo>
                    <a:pt x="1611" y="1317"/>
                    <a:pt x="1606" y="1319"/>
                    <a:pt x="1606" y="1328"/>
                  </a:cubicBezTo>
                  <a:cubicBezTo>
                    <a:pt x="1616" y="1329"/>
                    <a:pt x="1616" y="1317"/>
                    <a:pt x="1625" y="1317"/>
                  </a:cubicBezTo>
                  <a:cubicBezTo>
                    <a:pt x="1625" y="1322"/>
                    <a:pt x="1630" y="1320"/>
                    <a:pt x="1631" y="1324"/>
                  </a:cubicBezTo>
                  <a:cubicBezTo>
                    <a:pt x="1622" y="1328"/>
                    <a:pt x="1628" y="1333"/>
                    <a:pt x="1631" y="1339"/>
                  </a:cubicBezTo>
                  <a:cubicBezTo>
                    <a:pt x="1636" y="1339"/>
                    <a:pt x="1644" y="1332"/>
                    <a:pt x="1644" y="1332"/>
                  </a:cubicBezTo>
                  <a:cubicBezTo>
                    <a:pt x="1644" y="1332"/>
                    <a:pt x="1644" y="1339"/>
                    <a:pt x="1644" y="1339"/>
                  </a:cubicBezTo>
                  <a:cubicBezTo>
                    <a:pt x="1652" y="1336"/>
                    <a:pt x="1652" y="1336"/>
                    <a:pt x="1660" y="1324"/>
                  </a:cubicBezTo>
                  <a:cubicBezTo>
                    <a:pt x="1661" y="1329"/>
                    <a:pt x="1661" y="1333"/>
                    <a:pt x="1666" y="1332"/>
                  </a:cubicBezTo>
                  <a:cubicBezTo>
                    <a:pt x="1666" y="1327"/>
                    <a:pt x="1666" y="1323"/>
                    <a:pt x="1671" y="1324"/>
                  </a:cubicBezTo>
                  <a:cubicBezTo>
                    <a:pt x="1672" y="1320"/>
                    <a:pt x="1674" y="1316"/>
                    <a:pt x="1676" y="1313"/>
                  </a:cubicBezTo>
                  <a:cubicBezTo>
                    <a:pt x="1678" y="1320"/>
                    <a:pt x="1673" y="1336"/>
                    <a:pt x="1682" y="1332"/>
                  </a:cubicBezTo>
                  <a:cubicBezTo>
                    <a:pt x="1680" y="1318"/>
                    <a:pt x="1684" y="1312"/>
                    <a:pt x="1687" y="1306"/>
                  </a:cubicBezTo>
                  <a:cubicBezTo>
                    <a:pt x="1684" y="1304"/>
                    <a:pt x="1681" y="1302"/>
                    <a:pt x="1679" y="1298"/>
                  </a:cubicBezTo>
                  <a:cubicBezTo>
                    <a:pt x="1691" y="1301"/>
                    <a:pt x="1683" y="1284"/>
                    <a:pt x="1687" y="1284"/>
                  </a:cubicBezTo>
                  <a:cubicBezTo>
                    <a:pt x="1691" y="1285"/>
                    <a:pt x="1692" y="1288"/>
                    <a:pt x="1695" y="1284"/>
                  </a:cubicBezTo>
                  <a:cubicBezTo>
                    <a:pt x="1695" y="1290"/>
                    <a:pt x="1696" y="1295"/>
                    <a:pt x="1698" y="1298"/>
                  </a:cubicBezTo>
                  <a:cubicBezTo>
                    <a:pt x="1693" y="1298"/>
                    <a:pt x="1691" y="1301"/>
                    <a:pt x="1690" y="1306"/>
                  </a:cubicBezTo>
                  <a:cubicBezTo>
                    <a:pt x="1698" y="1306"/>
                    <a:pt x="1706" y="1306"/>
                    <a:pt x="1714" y="1306"/>
                  </a:cubicBezTo>
                  <a:cubicBezTo>
                    <a:pt x="1719" y="1315"/>
                    <a:pt x="1719" y="1332"/>
                    <a:pt x="1725" y="1339"/>
                  </a:cubicBezTo>
                  <a:cubicBezTo>
                    <a:pt x="1735" y="1342"/>
                    <a:pt x="1735" y="1331"/>
                    <a:pt x="1744" y="1332"/>
                  </a:cubicBezTo>
                  <a:cubicBezTo>
                    <a:pt x="1744" y="1337"/>
                    <a:pt x="1742" y="1340"/>
                    <a:pt x="1741" y="1343"/>
                  </a:cubicBezTo>
                  <a:cubicBezTo>
                    <a:pt x="1751" y="1347"/>
                    <a:pt x="1749" y="1334"/>
                    <a:pt x="1757" y="1335"/>
                  </a:cubicBezTo>
                  <a:cubicBezTo>
                    <a:pt x="1759" y="1342"/>
                    <a:pt x="1766" y="1342"/>
                    <a:pt x="1770" y="1347"/>
                  </a:cubicBezTo>
                  <a:cubicBezTo>
                    <a:pt x="1776" y="1344"/>
                    <a:pt x="1770" y="1326"/>
                    <a:pt x="1776" y="1324"/>
                  </a:cubicBezTo>
                  <a:cubicBezTo>
                    <a:pt x="1776" y="1330"/>
                    <a:pt x="1775" y="1338"/>
                    <a:pt x="1778" y="1339"/>
                  </a:cubicBezTo>
                  <a:cubicBezTo>
                    <a:pt x="1780" y="1335"/>
                    <a:pt x="1782" y="1332"/>
                    <a:pt x="1787" y="1332"/>
                  </a:cubicBezTo>
                  <a:cubicBezTo>
                    <a:pt x="1792" y="1337"/>
                    <a:pt x="1802" y="1326"/>
                    <a:pt x="1811" y="1324"/>
                  </a:cubicBezTo>
                  <a:cubicBezTo>
                    <a:pt x="1811" y="1329"/>
                    <a:pt x="1811" y="1334"/>
                    <a:pt x="1811" y="1339"/>
                  </a:cubicBezTo>
                  <a:cubicBezTo>
                    <a:pt x="1813" y="1339"/>
                    <a:pt x="1816" y="1339"/>
                    <a:pt x="1819" y="1339"/>
                  </a:cubicBezTo>
                  <a:cubicBezTo>
                    <a:pt x="1826" y="1334"/>
                    <a:pt x="1813" y="1320"/>
                    <a:pt x="1819" y="1317"/>
                  </a:cubicBezTo>
                  <a:cubicBezTo>
                    <a:pt x="1824" y="1321"/>
                    <a:pt x="1828" y="1327"/>
                    <a:pt x="1832" y="1332"/>
                  </a:cubicBezTo>
                  <a:cubicBezTo>
                    <a:pt x="1832" y="1337"/>
                    <a:pt x="1828" y="1335"/>
                    <a:pt x="1827" y="1339"/>
                  </a:cubicBezTo>
                  <a:cubicBezTo>
                    <a:pt x="1832" y="1342"/>
                    <a:pt x="1835" y="1348"/>
                    <a:pt x="1840" y="1350"/>
                  </a:cubicBezTo>
                  <a:cubicBezTo>
                    <a:pt x="1840" y="1339"/>
                    <a:pt x="1850" y="1346"/>
                    <a:pt x="1854" y="1343"/>
                  </a:cubicBezTo>
                  <a:cubicBezTo>
                    <a:pt x="1855" y="1342"/>
                    <a:pt x="1858" y="1337"/>
                    <a:pt x="1859" y="1335"/>
                  </a:cubicBezTo>
                  <a:cubicBezTo>
                    <a:pt x="1861" y="1333"/>
                    <a:pt x="1861" y="1328"/>
                    <a:pt x="1865" y="1328"/>
                  </a:cubicBezTo>
                  <a:cubicBezTo>
                    <a:pt x="1864" y="1337"/>
                    <a:pt x="1859" y="1340"/>
                    <a:pt x="1867" y="1343"/>
                  </a:cubicBezTo>
                  <a:cubicBezTo>
                    <a:pt x="1867" y="1334"/>
                    <a:pt x="1869" y="1327"/>
                    <a:pt x="1873" y="1324"/>
                  </a:cubicBezTo>
                  <a:cubicBezTo>
                    <a:pt x="1877" y="1331"/>
                    <a:pt x="1874" y="1347"/>
                    <a:pt x="1881" y="1350"/>
                  </a:cubicBezTo>
                  <a:cubicBezTo>
                    <a:pt x="1877" y="1329"/>
                    <a:pt x="1890" y="1349"/>
                    <a:pt x="1891" y="1339"/>
                  </a:cubicBezTo>
                  <a:cubicBezTo>
                    <a:pt x="1888" y="1338"/>
                    <a:pt x="1887" y="1335"/>
                    <a:pt x="1886" y="1332"/>
                  </a:cubicBezTo>
                  <a:cubicBezTo>
                    <a:pt x="1891" y="1332"/>
                    <a:pt x="1894" y="1331"/>
                    <a:pt x="1897" y="1328"/>
                  </a:cubicBezTo>
                  <a:cubicBezTo>
                    <a:pt x="1899" y="1340"/>
                    <a:pt x="1899" y="1336"/>
                    <a:pt x="1894" y="1343"/>
                  </a:cubicBezTo>
                  <a:cubicBezTo>
                    <a:pt x="1904" y="1347"/>
                    <a:pt x="1902" y="1334"/>
                    <a:pt x="1910" y="1335"/>
                  </a:cubicBezTo>
                  <a:cubicBezTo>
                    <a:pt x="1904" y="1343"/>
                    <a:pt x="1911" y="1347"/>
                    <a:pt x="1913" y="1354"/>
                  </a:cubicBezTo>
                  <a:cubicBezTo>
                    <a:pt x="1917" y="1354"/>
                    <a:pt x="1919" y="1352"/>
                    <a:pt x="1921" y="1350"/>
                  </a:cubicBezTo>
                  <a:cubicBezTo>
                    <a:pt x="1921" y="1344"/>
                    <a:pt x="1928" y="1348"/>
                    <a:pt x="1929" y="1343"/>
                  </a:cubicBezTo>
                  <a:cubicBezTo>
                    <a:pt x="1925" y="1343"/>
                    <a:pt x="1929" y="1340"/>
                    <a:pt x="1929" y="1339"/>
                  </a:cubicBezTo>
                  <a:cubicBezTo>
                    <a:pt x="1929" y="1334"/>
                    <a:pt x="1928" y="1331"/>
                    <a:pt x="1926" y="1328"/>
                  </a:cubicBezTo>
                  <a:cubicBezTo>
                    <a:pt x="1930" y="1329"/>
                    <a:pt x="1936" y="1327"/>
                    <a:pt x="1937" y="1332"/>
                  </a:cubicBezTo>
                  <a:cubicBezTo>
                    <a:pt x="1934" y="1332"/>
                    <a:pt x="1931" y="1333"/>
                    <a:pt x="1932" y="1339"/>
                  </a:cubicBezTo>
                  <a:cubicBezTo>
                    <a:pt x="1938" y="1348"/>
                    <a:pt x="1939" y="1333"/>
                    <a:pt x="1945" y="1332"/>
                  </a:cubicBezTo>
                  <a:cubicBezTo>
                    <a:pt x="1949" y="1336"/>
                    <a:pt x="1946" y="1350"/>
                    <a:pt x="1953" y="1350"/>
                  </a:cubicBezTo>
                  <a:cubicBezTo>
                    <a:pt x="1954" y="1346"/>
                    <a:pt x="1953" y="1340"/>
                    <a:pt x="1956" y="1339"/>
                  </a:cubicBezTo>
                  <a:cubicBezTo>
                    <a:pt x="1956" y="1344"/>
                    <a:pt x="1961" y="1343"/>
                    <a:pt x="1961" y="1347"/>
                  </a:cubicBezTo>
                  <a:cubicBezTo>
                    <a:pt x="1962" y="1351"/>
                    <a:pt x="1965" y="1354"/>
                    <a:pt x="1969" y="1354"/>
                  </a:cubicBezTo>
                  <a:cubicBezTo>
                    <a:pt x="1973" y="1353"/>
                    <a:pt x="1973" y="1349"/>
                    <a:pt x="1975" y="1347"/>
                  </a:cubicBezTo>
                  <a:cubicBezTo>
                    <a:pt x="1975" y="1345"/>
                    <a:pt x="1980" y="1339"/>
                    <a:pt x="1980" y="1339"/>
                  </a:cubicBezTo>
                  <a:cubicBezTo>
                    <a:pt x="1982" y="1333"/>
                    <a:pt x="1976" y="1330"/>
                    <a:pt x="1980" y="1328"/>
                  </a:cubicBezTo>
                  <a:cubicBezTo>
                    <a:pt x="1988" y="1331"/>
                    <a:pt x="1984" y="1349"/>
                    <a:pt x="1994" y="1350"/>
                  </a:cubicBezTo>
                  <a:cubicBezTo>
                    <a:pt x="1995" y="1345"/>
                    <a:pt x="1998" y="1341"/>
                    <a:pt x="2002" y="1339"/>
                  </a:cubicBezTo>
                  <a:cubicBezTo>
                    <a:pt x="2002" y="1334"/>
                    <a:pt x="2001" y="1325"/>
                    <a:pt x="2004" y="1324"/>
                  </a:cubicBezTo>
                  <a:cubicBezTo>
                    <a:pt x="2008" y="1326"/>
                    <a:pt x="2010" y="1329"/>
                    <a:pt x="2010" y="1335"/>
                  </a:cubicBezTo>
                  <a:cubicBezTo>
                    <a:pt x="2018" y="1342"/>
                    <a:pt x="2021" y="1322"/>
                    <a:pt x="2023" y="1332"/>
                  </a:cubicBezTo>
                  <a:cubicBezTo>
                    <a:pt x="2019" y="1335"/>
                    <a:pt x="2019" y="1344"/>
                    <a:pt x="2018" y="1350"/>
                  </a:cubicBezTo>
                  <a:cubicBezTo>
                    <a:pt x="2025" y="1351"/>
                    <a:pt x="2029" y="1357"/>
                    <a:pt x="2037" y="1358"/>
                  </a:cubicBezTo>
                  <a:cubicBezTo>
                    <a:pt x="2046" y="1349"/>
                    <a:pt x="2032" y="1329"/>
                    <a:pt x="2037" y="1328"/>
                  </a:cubicBezTo>
                  <a:cubicBezTo>
                    <a:pt x="2047" y="1331"/>
                    <a:pt x="2040" y="1341"/>
                    <a:pt x="2045" y="1347"/>
                  </a:cubicBezTo>
                  <a:cubicBezTo>
                    <a:pt x="2046" y="1342"/>
                    <a:pt x="2048" y="1338"/>
                    <a:pt x="2050" y="1335"/>
                  </a:cubicBezTo>
                  <a:cubicBezTo>
                    <a:pt x="2057" y="1340"/>
                    <a:pt x="2043" y="1351"/>
                    <a:pt x="2055" y="1350"/>
                  </a:cubicBezTo>
                  <a:cubicBezTo>
                    <a:pt x="2056" y="1345"/>
                    <a:pt x="2075" y="1337"/>
                    <a:pt x="2079" y="1335"/>
                  </a:cubicBezTo>
                  <a:cubicBezTo>
                    <a:pt x="2079" y="68"/>
                    <a:pt x="2079" y="68"/>
                    <a:pt x="2079" y="68"/>
                  </a:cubicBezTo>
                  <a:cubicBezTo>
                    <a:pt x="2079" y="68"/>
                    <a:pt x="2061" y="100"/>
                    <a:pt x="2061" y="100"/>
                  </a:cubicBezTo>
                  <a:cubicBezTo>
                    <a:pt x="2059" y="102"/>
                    <a:pt x="2052" y="98"/>
                    <a:pt x="2050" y="100"/>
                  </a:cubicBezTo>
                  <a:close/>
                  <a:moveTo>
                    <a:pt x="28" y="300"/>
                  </a:moveTo>
                  <a:cubicBezTo>
                    <a:pt x="24" y="315"/>
                    <a:pt x="23" y="298"/>
                    <a:pt x="17" y="296"/>
                  </a:cubicBezTo>
                  <a:cubicBezTo>
                    <a:pt x="22" y="283"/>
                    <a:pt x="21" y="305"/>
                    <a:pt x="28" y="300"/>
                  </a:cubicBezTo>
                  <a:close/>
                  <a:moveTo>
                    <a:pt x="17" y="318"/>
                  </a:moveTo>
                  <a:cubicBezTo>
                    <a:pt x="15" y="316"/>
                    <a:pt x="24" y="315"/>
                    <a:pt x="25" y="315"/>
                  </a:cubicBezTo>
                  <a:cubicBezTo>
                    <a:pt x="25" y="315"/>
                    <a:pt x="25" y="311"/>
                    <a:pt x="25" y="311"/>
                  </a:cubicBezTo>
                  <a:cubicBezTo>
                    <a:pt x="35" y="313"/>
                    <a:pt x="21" y="323"/>
                    <a:pt x="17" y="318"/>
                  </a:cubicBezTo>
                  <a:close/>
                  <a:moveTo>
                    <a:pt x="31" y="311"/>
                  </a:moveTo>
                  <a:cubicBezTo>
                    <a:pt x="32" y="307"/>
                    <a:pt x="43" y="299"/>
                    <a:pt x="36" y="296"/>
                  </a:cubicBezTo>
                  <a:cubicBezTo>
                    <a:pt x="44" y="282"/>
                    <a:pt x="44" y="321"/>
                    <a:pt x="31" y="311"/>
                  </a:cubicBezTo>
                  <a:close/>
                  <a:moveTo>
                    <a:pt x="39" y="352"/>
                  </a:moveTo>
                  <a:cubicBezTo>
                    <a:pt x="40" y="347"/>
                    <a:pt x="42" y="344"/>
                    <a:pt x="47" y="344"/>
                  </a:cubicBezTo>
                  <a:cubicBezTo>
                    <a:pt x="46" y="349"/>
                    <a:pt x="43" y="352"/>
                    <a:pt x="39" y="352"/>
                  </a:cubicBezTo>
                  <a:close/>
                  <a:moveTo>
                    <a:pt x="41" y="215"/>
                  </a:moveTo>
                  <a:cubicBezTo>
                    <a:pt x="45" y="216"/>
                    <a:pt x="47" y="220"/>
                    <a:pt x="47" y="226"/>
                  </a:cubicBezTo>
                  <a:cubicBezTo>
                    <a:pt x="44" y="224"/>
                    <a:pt x="41" y="221"/>
                    <a:pt x="41" y="215"/>
                  </a:cubicBezTo>
                  <a:close/>
                  <a:moveTo>
                    <a:pt x="41" y="677"/>
                  </a:moveTo>
                  <a:cubicBezTo>
                    <a:pt x="43" y="675"/>
                    <a:pt x="49" y="681"/>
                    <a:pt x="49" y="681"/>
                  </a:cubicBezTo>
                  <a:cubicBezTo>
                    <a:pt x="53" y="694"/>
                    <a:pt x="36" y="684"/>
                    <a:pt x="41" y="677"/>
                  </a:cubicBezTo>
                  <a:close/>
                  <a:moveTo>
                    <a:pt x="189" y="644"/>
                  </a:moveTo>
                  <a:cubicBezTo>
                    <a:pt x="194" y="643"/>
                    <a:pt x="194" y="647"/>
                    <a:pt x="197" y="648"/>
                  </a:cubicBezTo>
                  <a:cubicBezTo>
                    <a:pt x="198" y="655"/>
                    <a:pt x="185" y="653"/>
                    <a:pt x="189" y="644"/>
                  </a:cubicBezTo>
                  <a:close/>
                  <a:moveTo>
                    <a:pt x="192" y="337"/>
                  </a:moveTo>
                  <a:cubicBezTo>
                    <a:pt x="191" y="343"/>
                    <a:pt x="184" y="340"/>
                    <a:pt x="187" y="352"/>
                  </a:cubicBezTo>
                  <a:cubicBezTo>
                    <a:pt x="180" y="351"/>
                    <a:pt x="180" y="342"/>
                    <a:pt x="184" y="337"/>
                  </a:cubicBezTo>
                  <a:cubicBezTo>
                    <a:pt x="176" y="325"/>
                    <a:pt x="165" y="336"/>
                    <a:pt x="154" y="329"/>
                  </a:cubicBezTo>
                  <a:cubicBezTo>
                    <a:pt x="156" y="332"/>
                    <a:pt x="157" y="335"/>
                    <a:pt x="157" y="341"/>
                  </a:cubicBezTo>
                  <a:cubicBezTo>
                    <a:pt x="165" y="336"/>
                    <a:pt x="169" y="339"/>
                    <a:pt x="170" y="352"/>
                  </a:cubicBezTo>
                  <a:cubicBezTo>
                    <a:pt x="167" y="350"/>
                    <a:pt x="166" y="345"/>
                    <a:pt x="163" y="344"/>
                  </a:cubicBezTo>
                  <a:cubicBezTo>
                    <a:pt x="161" y="352"/>
                    <a:pt x="168" y="350"/>
                    <a:pt x="168" y="355"/>
                  </a:cubicBezTo>
                  <a:cubicBezTo>
                    <a:pt x="171" y="356"/>
                    <a:pt x="170" y="363"/>
                    <a:pt x="173" y="363"/>
                  </a:cubicBezTo>
                  <a:cubicBezTo>
                    <a:pt x="172" y="371"/>
                    <a:pt x="158" y="362"/>
                    <a:pt x="160" y="374"/>
                  </a:cubicBezTo>
                  <a:cubicBezTo>
                    <a:pt x="156" y="373"/>
                    <a:pt x="158" y="365"/>
                    <a:pt x="157" y="359"/>
                  </a:cubicBezTo>
                  <a:cubicBezTo>
                    <a:pt x="161" y="359"/>
                    <a:pt x="164" y="359"/>
                    <a:pt x="168" y="359"/>
                  </a:cubicBezTo>
                  <a:cubicBezTo>
                    <a:pt x="168" y="353"/>
                    <a:pt x="162" y="358"/>
                    <a:pt x="160" y="355"/>
                  </a:cubicBezTo>
                  <a:cubicBezTo>
                    <a:pt x="157" y="353"/>
                    <a:pt x="162" y="337"/>
                    <a:pt x="152" y="344"/>
                  </a:cubicBezTo>
                  <a:cubicBezTo>
                    <a:pt x="153" y="331"/>
                    <a:pt x="149" y="325"/>
                    <a:pt x="144" y="322"/>
                  </a:cubicBezTo>
                  <a:cubicBezTo>
                    <a:pt x="144" y="318"/>
                    <a:pt x="149" y="320"/>
                    <a:pt x="149" y="315"/>
                  </a:cubicBezTo>
                  <a:cubicBezTo>
                    <a:pt x="149" y="307"/>
                    <a:pt x="139" y="313"/>
                    <a:pt x="135" y="311"/>
                  </a:cubicBezTo>
                  <a:cubicBezTo>
                    <a:pt x="135" y="318"/>
                    <a:pt x="139" y="319"/>
                    <a:pt x="138" y="326"/>
                  </a:cubicBezTo>
                  <a:cubicBezTo>
                    <a:pt x="136" y="323"/>
                    <a:pt x="131" y="320"/>
                    <a:pt x="130" y="326"/>
                  </a:cubicBezTo>
                  <a:cubicBezTo>
                    <a:pt x="123" y="323"/>
                    <a:pt x="135" y="316"/>
                    <a:pt x="133" y="307"/>
                  </a:cubicBezTo>
                  <a:cubicBezTo>
                    <a:pt x="144" y="301"/>
                    <a:pt x="153" y="317"/>
                    <a:pt x="154" y="311"/>
                  </a:cubicBezTo>
                  <a:cubicBezTo>
                    <a:pt x="163" y="315"/>
                    <a:pt x="151" y="321"/>
                    <a:pt x="152" y="326"/>
                  </a:cubicBezTo>
                  <a:cubicBezTo>
                    <a:pt x="160" y="328"/>
                    <a:pt x="160" y="319"/>
                    <a:pt x="168" y="322"/>
                  </a:cubicBezTo>
                  <a:cubicBezTo>
                    <a:pt x="171" y="316"/>
                    <a:pt x="163" y="315"/>
                    <a:pt x="163" y="315"/>
                  </a:cubicBezTo>
                  <a:cubicBezTo>
                    <a:pt x="162" y="309"/>
                    <a:pt x="171" y="313"/>
                    <a:pt x="170" y="307"/>
                  </a:cubicBezTo>
                  <a:cubicBezTo>
                    <a:pt x="171" y="297"/>
                    <a:pt x="154" y="310"/>
                    <a:pt x="154" y="300"/>
                  </a:cubicBezTo>
                  <a:cubicBezTo>
                    <a:pt x="151" y="298"/>
                    <a:pt x="140" y="304"/>
                    <a:pt x="141" y="296"/>
                  </a:cubicBezTo>
                  <a:cubicBezTo>
                    <a:pt x="145" y="296"/>
                    <a:pt x="150" y="296"/>
                    <a:pt x="154" y="296"/>
                  </a:cubicBezTo>
                  <a:cubicBezTo>
                    <a:pt x="159" y="296"/>
                    <a:pt x="160" y="301"/>
                    <a:pt x="165" y="300"/>
                  </a:cubicBezTo>
                  <a:cubicBezTo>
                    <a:pt x="169" y="298"/>
                    <a:pt x="165" y="297"/>
                    <a:pt x="165" y="292"/>
                  </a:cubicBezTo>
                  <a:cubicBezTo>
                    <a:pt x="168" y="293"/>
                    <a:pt x="170" y="292"/>
                    <a:pt x="170" y="289"/>
                  </a:cubicBezTo>
                  <a:cubicBezTo>
                    <a:pt x="176" y="289"/>
                    <a:pt x="171" y="297"/>
                    <a:pt x="170" y="296"/>
                  </a:cubicBezTo>
                  <a:cubicBezTo>
                    <a:pt x="173" y="308"/>
                    <a:pt x="177" y="297"/>
                    <a:pt x="187" y="304"/>
                  </a:cubicBezTo>
                  <a:cubicBezTo>
                    <a:pt x="186" y="309"/>
                    <a:pt x="180" y="307"/>
                    <a:pt x="176" y="307"/>
                  </a:cubicBezTo>
                  <a:cubicBezTo>
                    <a:pt x="172" y="310"/>
                    <a:pt x="172" y="319"/>
                    <a:pt x="170" y="326"/>
                  </a:cubicBezTo>
                  <a:cubicBezTo>
                    <a:pt x="181" y="328"/>
                    <a:pt x="179" y="301"/>
                    <a:pt x="189" y="315"/>
                  </a:cubicBezTo>
                  <a:cubicBezTo>
                    <a:pt x="191" y="320"/>
                    <a:pt x="182" y="316"/>
                    <a:pt x="181" y="318"/>
                  </a:cubicBezTo>
                  <a:cubicBezTo>
                    <a:pt x="180" y="323"/>
                    <a:pt x="188" y="320"/>
                    <a:pt x="189" y="322"/>
                  </a:cubicBezTo>
                  <a:cubicBezTo>
                    <a:pt x="192" y="325"/>
                    <a:pt x="187" y="338"/>
                    <a:pt x="192" y="337"/>
                  </a:cubicBezTo>
                  <a:close/>
                  <a:moveTo>
                    <a:pt x="189" y="422"/>
                  </a:moveTo>
                  <a:cubicBezTo>
                    <a:pt x="190" y="425"/>
                    <a:pt x="178" y="426"/>
                    <a:pt x="173" y="422"/>
                  </a:cubicBezTo>
                  <a:cubicBezTo>
                    <a:pt x="171" y="420"/>
                    <a:pt x="181" y="416"/>
                    <a:pt x="181" y="418"/>
                  </a:cubicBezTo>
                  <a:cubicBezTo>
                    <a:pt x="180" y="412"/>
                    <a:pt x="176" y="418"/>
                    <a:pt x="173" y="415"/>
                  </a:cubicBezTo>
                  <a:cubicBezTo>
                    <a:pt x="173" y="414"/>
                    <a:pt x="172" y="408"/>
                    <a:pt x="170" y="411"/>
                  </a:cubicBezTo>
                  <a:cubicBezTo>
                    <a:pt x="170" y="411"/>
                    <a:pt x="170" y="415"/>
                    <a:pt x="170" y="415"/>
                  </a:cubicBezTo>
                  <a:cubicBezTo>
                    <a:pt x="168" y="414"/>
                    <a:pt x="166" y="412"/>
                    <a:pt x="163" y="411"/>
                  </a:cubicBezTo>
                  <a:cubicBezTo>
                    <a:pt x="159" y="410"/>
                    <a:pt x="157" y="407"/>
                    <a:pt x="154" y="407"/>
                  </a:cubicBezTo>
                  <a:cubicBezTo>
                    <a:pt x="152" y="407"/>
                    <a:pt x="151" y="414"/>
                    <a:pt x="152" y="415"/>
                  </a:cubicBezTo>
                  <a:cubicBezTo>
                    <a:pt x="148" y="414"/>
                    <a:pt x="151" y="409"/>
                    <a:pt x="149" y="407"/>
                  </a:cubicBezTo>
                  <a:cubicBezTo>
                    <a:pt x="146" y="405"/>
                    <a:pt x="137" y="416"/>
                    <a:pt x="138" y="403"/>
                  </a:cubicBezTo>
                  <a:cubicBezTo>
                    <a:pt x="131" y="406"/>
                    <a:pt x="134" y="405"/>
                    <a:pt x="128" y="403"/>
                  </a:cubicBezTo>
                  <a:cubicBezTo>
                    <a:pt x="123" y="402"/>
                    <a:pt x="113" y="406"/>
                    <a:pt x="117" y="396"/>
                  </a:cubicBezTo>
                  <a:cubicBezTo>
                    <a:pt x="124" y="396"/>
                    <a:pt x="122" y="402"/>
                    <a:pt x="128" y="396"/>
                  </a:cubicBezTo>
                  <a:cubicBezTo>
                    <a:pt x="127" y="392"/>
                    <a:pt x="123" y="393"/>
                    <a:pt x="119" y="392"/>
                  </a:cubicBezTo>
                  <a:cubicBezTo>
                    <a:pt x="123" y="376"/>
                    <a:pt x="130" y="393"/>
                    <a:pt x="133" y="400"/>
                  </a:cubicBezTo>
                  <a:cubicBezTo>
                    <a:pt x="137" y="403"/>
                    <a:pt x="141" y="396"/>
                    <a:pt x="141" y="396"/>
                  </a:cubicBezTo>
                  <a:cubicBezTo>
                    <a:pt x="144" y="396"/>
                    <a:pt x="145" y="403"/>
                    <a:pt x="146" y="403"/>
                  </a:cubicBezTo>
                  <a:cubicBezTo>
                    <a:pt x="147" y="404"/>
                    <a:pt x="158" y="393"/>
                    <a:pt x="160" y="403"/>
                  </a:cubicBezTo>
                  <a:cubicBezTo>
                    <a:pt x="162" y="403"/>
                    <a:pt x="162" y="400"/>
                    <a:pt x="165" y="400"/>
                  </a:cubicBezTo>
                  <a:cubicBezTo>
                    <a:pt x="162" y="396"/>
                    <a:pt x="164" y="386"/>
                    <a:pt x="157" y="389"/>
                  </a:cubicBezTo>
                  <a:cubicBezTo>
                    <a:pt x="159" y="385"/>
                    <a:pt x="163" y="385"/>
                    <a:pt x="163" y="378"/>
                  </a:cubicBezTo>
                  <a:cubicBezTo>
                    <a:pt x="167" y="378"/>
                    <a:pt x="171" y="378"/>
                    <a:pt x="176" y="378"/>
                  </a:cubicBezTo>
                  <a:cubicBezTo>
                    <a:pt x="176" y="386"/>
                    <a:pt x="174" y="389"/>
                    <a:pt x="168" y="389"/>
                  </a:cubicBezTo>
                  <a:cubicBezTo>
                    <a:pt x="167" y="398"/>
                    <a:pt x="173" y="397"/>
                    <a:pt x="170" y="407"/>
                  </a:cubicBezTo>
                  <a:cubicBezTo>
                    <a:pt x="174" y="408"/>
                    <a:pt x="175" y="406"/>
                    <a:pt x="176" y="403"/>
                  </a:cubicBezTo>
                  <a:cubicBezTo>
                    <a:pt x="183" y="412"/>
                    <a:pt x="183" y="408"/>
                    <a:pt x="192" y="411"/>
                  </a:cubicBezTo>
                  <a:cubicBezTo>
                    <a:pt x="192" y="414"/>
                    <a:pt x="189" y="414"/>
                    <a:pt x="187" y="415"/>
                  </a:cubicBezTo>
                  <a:cubicBezTo>
                    <a:pt x="186" y="419"/>
                    <a:pt x="187" y="421"/>
                    <a:pt x="189" y="422"/>
                  </a:cubicBezTo>
                  <a:close/>
                  <a:moveTo>
                    <a:pt x="168" y="440"/>
                  </a:moveTo>
                  <a:cubicBezTo>
                    <a:pt x="169" y="447"/>
                    <a:pt x="153" y="447"/>
                    <a:pt x="157" y="437"/>
                  </a:cubicBezTo>
                  <a:cubicBezTo>
                    <a:pt x="162" y="436"/>
                    <a:pt x="163" y="441"/>
                    <a:pt x="168" y="440"/>
                  </a:cubicBezTo>
                  <a:close/>
                  <a:moveTo>
                    <a:pt x="152" y="444"/>
                  </a:moveTo>
                  <a:cubicBezTo>
                    <a:pt x="149" y="438"/>
                    <a:pt x="142" y="443"/>
                    <a:pt x="138" y="440"/>
                  </a:cubicBezTo>
                  <a:cubicBezTo>
                    <a:pt x="136" y="439"/>
                    <a:pt x="137" y="433"/>
                    <a:pt x="133" y="433"/>
                  </a:cubicBezTo>
                  <a:cubicBezTo>
                    <a:pt x="130" y="433"/>
                    <a:pt x="131" y="428"/>
                    <a:pt x="130" y="426"/>
                  </a:cubicBezTo>
                  <a:cubicBezTo>
                    <a:pt x="127" y="426"/>
                    <a:pt x="128" y="432"/>
                    <a:pt x="128" y="437"/>
                  </a:cubicBezTo>
                  <a:cubicBezTo>
                    <a:pt x="122" y="435"/>
                    <a:pt x="116" y="435"/>
                    <a:pt x="117" y="426"/>
                  </a:cubicBezTo>
                  <a:cubicBezTo>
                    <a:pt x="109" y="425"/>
                    <a:pt x="111" y="432"/>
                    <a:pt x="106" y="426"/>
                  </a:cubicBezTo>
                  <a:cubicBezTo>
                    <a:pt x="109" y="409"/>
                    <a:pt x="114" y="425"/>
                    <a:pt x="119" y="426"/>
                  </a:cubicBezTo>
                  <a:cubicBezTo>
                    <a:pt x="124" y="426"/>
                    <a:pt x="125" y="421"/>
                    <a:pt x="130" y="422"/>
                  </a:cubicBezTo>
                  <a:cubicBezTo>
                    <a:pt x="133" y="430"/>
                    <a:pt x="138" y="435"/>
                    <a:pt x="146" y="437"/>
                  </a:cubicBezTo>
                  <a:cubicBezTo>
                    <a:pt x="153" y="438"/>
                    <a:pt x="145" y="420"/>
                    <a:pt x="154" y="426"/>
                  </a:cubicBezTo>
                  <a:cubicBezTo>
                    <a:pt x="157" y="430"/>
                    <a:pt x="157" y="433"/>
                    <a:pt x="152" y="433"/>
                  </a:cubicBezTo>
                  <a:cubicBezTo>
                    <a:pt x="155" y="438"/>
                    <a:pt x="153" y="439"/>
                    <a:pt x="152" y="444"/>
                  </a:cubicBezTo>
                  <a:close/>
                  <a:moveTo>
                    <a:pt x="141" y="518"/>
                  </a:moveTo>
                  <a:cubicBezTo>
                    <a:pt x="138" y="525"/>
                    <a:pt x="131" y="526"/>
                    <a:pt x="128" y="533"/>
                  </a:cubicBezTo>
                  <a:cubicBezTo>
                    <a:pt x="122" y="531"/>
                    <a:pt x="125" y="519"/>
                    <a:pt x="117" y="522"/>
                  </a:cubicBezTo>
                  <a:cubicBezTo>
                    <a:pt x="116" y="515"/>
                    <a:pt x="129" y="516"/>
                    <a:pt x="125" y="525"/>
                  </a:cubicBezTo>
                  <a:cubicBezTo>
                    <a:pt x="131" y="526"/>
                    <a:pt x="133" y="522"/>
                    <a:pt x="133" y="514"/>
                  </a:cubicBezTo>
                  <a:cubicBezTo>
                    <a:pt x="132" y="510"/>
                    <a:pt x="118" y="506"/>
                    <a:pt x="119" y="511"/>
                  </a:cubicBezTo>
                  <a:cubicBezTo>
                    <a:pt x="111" y="508"/>
                    <a:pt x="122" y="503"/>
                    <a:pt x="119" y="496"/>
                  </a:cubicBezTo>
                  <a:cubicBezTo>
                    <a:pt x="123" y="501"/>
                    <a:pt x="131" y="500"/>
                    <a:pt x="138" y="500"/>
                  </a:cubicBezTo>
                  <a:cubicBezTo>
                    <a:pt x="143" y="509"/>
                    <a:pt x="135" y="513"/>
                    <a:pt x="141" y="518"/>
                  </a:cubicBezTo>
                  <a:close/>
                  <a:moveTo>
                    <a:pt x="133" y="559"/>
                  </a:moveTo>
                  <a:cubicBezTo>
                    <a:pt x="135" y="545"/>
                    <a:pt x="145" y="579"/>
                    <a:pt x="133" y="574"/>
                  </a:cubicBezTo>
                  <a:cubicBezTo>
                    <a:pt x="129" y="565"/>
                    <a:pt x="140" y="560"/>
                    <a:pt x="133" y="559"/>
                  </a:cubicBezTo>
                  <a:close/>
                  <a:moveTo>
                    <a:pt x="130" y="533"/>
                  </a:moveTo>
                  <a:cubicBezTo>
                    <a:pt x="138" y="534"/>
                    <a:pt x="136" y="547"/>
                    <a:pt x="141" y="551"/>
                  </a:cubicBezTo>
                  <a:cubicBezTo>
                    <a:pt x="138" y="559"/>
                    <a:pt x="130" y="542"/>
                    <a:pt x="130" y="533"/>
                  </a:cubicBezTo>
                  <a:close/>
                  <a:moveTo>
                    <a:pt x="125" y="540"/>
                  </a:moveTo>
                  <a:cubicBezTo>
                    <a:pt x="123" y="539"/>
                    <a:pt x="118" y="542"/>
                    <a:pt x="117" y="540"/>
                  </a:cubicBezTo>
                  <a:cubicBezTo>
                    <a:pt x="112" y="531"/>
                    <a:pt x="134" y="538"/>
                    <a:pt x="128" y="548"/>
                  </a:cubicBezTo>
                  <a:cubicBezTo>
                    <a:pt x="126" y="550"/>
                    <a:pt x="125" y="540"/>
                    <a:pt x="125" y="540"/>
                  </a:cubicBezTo>
                  <a:close/>
                  <a:moveTo>
                    <a:pt x="125" y="574"/>
                  </a:moveTo>
                  <a:cubicBezTo>
                    <a:pt x="123" y="574"/>
                    <a:pt x="121" y="568"/>
                    <a:pt x="122" y="566"/>
                  </a:cubicBezTo>
                  <a:cubicBezTo>
                    <a:pt x="126" y="553"/>
                    <a:pt x="127" y="573"/>
                    <a:pt x="125" y="574"/>
                  </a:cubicBezTo>
                  <a:close/>
                  <a:moveTo>
                    <a:pt x="125" y="611"/>
                  </a:moveTo>
                  <a:cubicBezTo>
                    <a:pt x="124" y="615"/>
                    <a:pt x="122" y="613"/>
                    <a:pt x="122" y="611"/>
                  </a:cubicBezTo>
                  <a:cubicBezTo>
                    <a:pt x="120" y="612"/>
                    <a:pt x="117" y="614"/>
                    <a:pt x="117" y="618"/>
                  </a:cubicBezTo>
                  <a:cubicBezTo>
                    <a:pt x="110" y="616"/>
                    <a:pt x="116" y="604"/>
                    <a:pt x="122" y="607"/>
                  </a:cubicBezTo>
                  <a:cubicBezTo>
                    <a:pt x="122" y="610"/>
                    <a:pt x="123" y="610"/>
                    <a:pt x="125" y="611"/>
                  </a:cubicBezTo>
                  <a:close/>
                  <a:moveTo>
                    <a:pt x="111" y="599"/>
                  </a:moveTo>
                  <a:cubicBezTo>
                    <a:pt x="112" y="592"/>
                    <a:pt x="123" y="600"/>
                    <a:pt x="125" y="603"/>
                  </a:cubicBezTo>
                  <a:cubicBezTo>
                    <a:pt x="133" y="608"/>
                    <a:pt x="114" y="602"/>
                    <a:pt x="111" y="599"/>
                  </a:cubicBezTo>
                  <a:close/>
                  <a:moveTo>
                    <a:pt x="93" y="592"/>
                  </a:moveTo>
                  <a:cubicBezTo>
                    <a:pt x="95" y="592"/>
                    <a:pt x="95" y="597"/>
                    <a:pt x="95" y="599"/>
                  </a:cubicBezTo>
                  <a:cubicBezTo>
                    <a:pt x="97" y="594"/>
                    <a:pt x="106" y="599"/>
                    <a:pt x="106" y="592"/>
                  </a:cubicBezTo>
                  <a:cubicBezTo>
                    <a:pt x="109" y="593"/>
                    <a:pt x="109" y="599"/>
                    <a:pt x="106" y="599"/>
                  </a:cubicBezTo>
                  <a:cubicBezTo>
                    <a:pt x="99" y="598"/>
                    <a:pt x="104" y="614"/>
                    <a:pt x="95" y="611"/>
                  </a:cubicBezTo>
                  <a:cubicBezTo>
                    <a:pt x="96" y="602"/>
                    <a:pt x="90" y="603"/>
                    <a:pt x="93" y="592"/>
                  </a:cubicBezTo>
                  <a:close/>
                  <a:moveTo>
                    <a:pt x="93" y="389"/>
                  </a:moveTo>
                  <a:cubicBezTo>
                    <a:pt x="100" y="389"/>
                    <a:pt x="98" y="404"/>
                    <a:pt x="90" y="403"/>
                  </a:cubicBezTo>
                  <a:cubicBezTo>
                    <a:pt x="92" y="400"/>
                    <a:pt x="93" y="395"/>
                    <a:pt x="93" y="389"/>
                  </a:cubicBezTo>
                  <a:close/>
                  <a:moveTo>
                    <a:pt x="87" y="315"/>
                  </a:moveTo>
                  <a:cubicBezTo>
                    <a:pt x="87" y="312"/>
                    <a:pt x="87" y="310"/>
                    <a:pt x="87" y="307"/>
                  </a:cubicBezTo>
                  <a:cubicBezTo>
                    <a:pt x="89" y="308"/>
                    <a:pt x="90" y="306"/>
                    <a:pt x="90" y="304"/>
                  </a:cubicBezTo>
                  <a:cubicBezTo>
                    <a:pt x="95" y="302"/>
                    <a:pt x="94" y="320"/>
                    <a:pt x="87" y="315"/>
                  </a:cubicBezTo>
                  <a:close/>
                  <a:moveTo>
                    <a:pt x="122" y="352"/>
                  </a:moveTo>
                  <a:cubicBezTo>
                    <a:pt x="119" y="355"/>
                    <a:pt x="115" y="357"/>
                    <a:pt x="109" y="355"/>
                  </a:cubicBezTo>
                  <a:cubicBezTo>
                    <a:pt x="109" y="353"/>
                    <a:pt x="109" y="350"/>
                    <a:pt x="109" y="348"/>
                  </a:cubicBezTo>
                  <a:cubicBezTo>
                    <a:pt x="111" y="349"/>
                    <a:pt x="111" y="346"/>
                    <a:pt x="111" y="344"/>
                  </a:cubicBezTo>
                  <a:cubicBezTo>
                    <a:pt x="114" y="345"/>
                    <a:pt x="113" y="352"/>
                    <a:pt x="117" y="352"/>
                  </a:cubicBezTo>
                  <a:cubicBezTo>
                    <a:pt x="119" y="352"/>
                    <a:pt x="119" y="350"/>
                    <a:pt x="119" y="348"/>
                  </a:cubicBezTo>
                  <a:cubicBezTo>
                    <a:pt x="121" y="342"/>
                    <a:pt x="122" y="348"/>
                    <a:pt x="122" y="352"/>
                  </a:cubicBezTo>
                  <a:close/>
                  <a:moveTo>
                    <a:pt x="125" y="381"/>
                  </a:moveTo>
                  <a:cubicBezTo>
                    <a:pt x="115" y="380"/>
                    <a:pt x="118" y="372"/>
                    <a:pt x="119" y="363"/>
                  </a:cubicBezTo>
                  <a:cubicBezTo>
                    <a:pt x="123" y="366"/>
                    <a:pt x="123" y="375"/>
                    <a:pt x="125" y="381"/>
                  </a:cubicBezTo>
                  <a:close/>
                  <a:moveTo>
                    <a:pt x="106" y="318"/>
                  </a:moveTo>
                  <a:cubicBezTo>
                    <a:pt x="109" y="315"/>
                    <a:pt x="107" y="305"/>
                    <a:pt x="114" y="307"/>
                  </a:cubicBezTo>
                  <a:cubicBezTo>
                    <a:pt x="115" y="315"/>
                    <a:pt x="112" y="319"/>
                    <a:pt x="106" y="318"/>
                  </a:cubicBezTo>
                  <a:close/>
                  <a:moveTo>
                    <a:pt x="109" y="363"/>
                  </a:moveTo>
                  <a:cubicBezTo>
                    <a:pt x="110" y="369"/>
                    <a:pt x="117" y="366"/>
                    <a:pt x="114" y="378"/>
                  </a:cubicBezTo>
                  <a:cubicBezTo>
                    <a:pt x="102" y="376"/>
                    <a:pt x="110" y="370"/>
                    <a:pt x="106" y="359"/>
                  </a:cubicBezTo>
                  <a:cubicBezTo>
                    <a:pt x="108" y="358"/>
                    <a:pt x="109" y="360"/>
                    <a:pt x="109" y="363"/>
                  </a:cubicBezTo>
                  <a:close/>
                  <a:moveTo>
                    <a:pt x="114" y="407"/>
                  </a:moveTo>
                  <a:cubicBezTo>
                    <a:pt x="110" y="407"/>
                    <a:pt x="105" y="407"/>
                    <a:pt x="101" y="407"/>
                  </a:cubicBezTo>
                  <a:cubicBezTo>
                    <a:pt x="103" y="394"/>
                    <a:pt x="101" y="398"/>
                    <a:pt x="103" y="385"/>
                  </a:cubicBezTo>
                  <a:cubicBezTo>
                    <a:pt x="106" y="386"/>
                    <a:pt x="106" y="392"/>
                    <a:pt x="106" y="396"/>
                  </a:cubicBezTo>
                  <a:cubicBezTo>
                    <a:pt x="112" y="397"/>
                    <a:pt x="104" y="379"/>
                    <a:pt x="114" y="385"/>
                  </a:cubicBezTo>
                  <a:cubicBezTo>
                    <a:pt x="109" y="392"/>
                    <a:pt x="113" y="398"/>
                    <a:pt x="114" y="407"/>
                  </a:cubicBezTo>
                  <a:close/>
                  <a:moveTo>
                    <a:pt x="106" y="352"/>
                  </a:moveTo>
                  <a:cubicBezTo>
                    <a:pt x="102" y="368"/>
                    <a:pt x="95" y="334"/>
                    <a:pt x="106" y="341"/>
                  </a:cubicBezTo>
                  <a:cubicBezTo>
                    <a:pt x="104" y="344"/>
                    <a:pt x="102" y="351"/>
                    <a:pt x="106" y="352"/>
                  </a:cubicBezTo>
                  <a:close/>
                  <a:moveTo>
                    <a:pt x="103" y="433"/>
                  </a:moveTo>
                  <a:cubicBezTo>
                    <a:pt x="104" y="439"/>
                    <a:pt x="107" y="443"/>
                    <a:pt x="103" y="448"/>
                  </a:cubicBezTo>
                  <a:cubicBezTo>
                    <a:pt x="98" y="444"/>
                    <a:pt x="100" y="435"/>
                    <a:pt x="98" y="429"/>
                  </a:cubicBezTo>
                  <a:cubicBezTo>
                    <a:pt x="96" y="425"/>
                    <a:pt x="92" y="426"/>
                    <a:pt x="93" y="418"/>
                  </a:cubicBezTo>
                  <a:cubicBezTo>
                    <a:pt x="96" y="419"/>
                    <a:pt x="97" y="417"/>
                    <a:pt x="98" y="415"/>
                  </a:cubicBezTo>
                  <a:cubicBezTo>
                    <a:pt x="102" y="417"/>
                    <a:pt x="102" y="426"/>
                    <a:pt x="103" y="433"/>
                  </a:cubicBezTo>
                  <a:close/>
                  <a:moveTo>
                    <a:pt x="109" y="440"/>
                  </a:moveTo>
                  <a:cubicBezTo>
                    <a:pt x="111" y="440"/>
                    <a:pt x="114" y="440"/>
                    <a:pt x="117" y="440"/>
                  </a:cubicBezTo>
                  <a:cubicBezTo>
                    <a:pt x="117" y="447"/>
                    <a:pt x="112" y="455"/>
                    <a:pt x="114" y="459"/>
                  </a:cubicBezTo>
                  <a:cubicBezTo>
                    <a:pt x="115" y="461"/>
                    <a:pt x="117" y="456"/>
                    <a:pt x="117" y="455"/>
                  </a:cubicBezTo>
                  <a:cubicBezTo>
                    <a:pt x="117" y="454"/>
                    <a:pt x="121" y="457"/>
                    <a:pt x="119" y="459"/>
                  </a:cubicBezTo>
                  <a:cubicBezTo>
                    <a:pt x="115" y="464"/>
                    <a:pt x="120" y="463"/>
                    <a:pt x="117" y="474"/>
                  </a:cubicBezTo>
                  <a:cubicBezTo>
                    <a:pt x="111" y="475"/>
                    <a:pt x="108" y="473"/>
                    <a:pt x="109" y="466"/>
                  </a:cubicBezTo>
                  <a:cubicBezTo>
                    <a:pt x="104" y="468"/>
                    <a:pt x="106" y="478"/>
                    <a:pt x="98" y="474"/>
                  </a:cubicBezTo>
                  <a:cubicBezTo>
                    <a:pt x="103" y="465"/>
                    <a:pt x="104" y="463"/>
                    <a:pt x="95" y="459"/>
                  </a:cubicBezTo>
                  <a:cubicBezTo>
                    <a:pt x="96" y="456"/>
                    <a:pt x="104" y="448"/>
                    <a:pt x="103" y="455"/>
                  </a:cubicBezTo>
                  <a:cubicBezTo>
                    <a:pt x="112" y="452"/>
                    <a:pt x="104" y="447"/>
                    <a:pt x="109" y="440"/>
                  </a:cubicBezTo>
                  <a:close/>
                  <a:moveTo>
                    <a:pt x="135" y="485"/>
                  </a:moveTo>
                  <a:cubicBezTo>
                    <a:pt x="138" y="498"/>
                    <a:pt x="121" y="492"/>
                    <a:pt x="119" y="489"/>
                  </a:cubicBezTo>
                  <a:cubicBezTo>
                    <a:pt x="121" y="484"/>
                    <a:pt x="130" y="491"/>
                    <a:pt x="135" y="485"/>
                  </a:cubicBezTo>
                  <a:close/>
                  <a:moveTo>
                    <a:pt x="128" y="463"/>
                  </a:moveTo>
                  <a:cubicBezTo>
                    <a:pt x="128" y="456"/>
                    <a:pt x="134" y="461"/>
                    <a:pt x="135" y="452"/>
                  </a:cubicBezTo>
                  <a:cubicBezTo>
                    <a:pt x="139" y="452"/>
                    <a:pt x="137" y="455"/>
                    <a:pt x="135" y="455"/>
                  </a:cubicBezTo>
                  <a:cubicBezTo>
                    <a:pt x="133" y="469"/>
                    <a:pt x="135" y="473"/>
                    <a:pt x="133" y="481"/>
                  </a:cubicBezTo>
                  <a:cubicBezTo>
                    <a:pt x="127" y="482"/>
                    <a:pt x="123" y="480"/>
                    <a:pt x="122" y="474"/>
                  </a:cubicBezTo>
                  <a:cubicBezTo>
                    <a:pt x="121" y="466"/>
                    <a:pt x="127" y="468"/>
                    <a:pt x="128" y="463"/>
                  </a:cubicBezTo>
                  <a:close/>
                  <a:moveTo>
                    <a:pt x="111" y="507"/>
                  </a:moveTo>
                  <a:cubicBezTo>
                    <a:pt x="106" y="509"/>
                    <a:pt x="104" y="504"/>
                    <a:pt x="101" y="503"/>
                  </a:cubicBezTo>
                  <a:cubicBezTo>
                    <a:pt x="101" y="499"/>
                    <a:pt x="106" y="500"/>
                    <a:pt x="109" y="500"/>
                  </a:cubicBezTo>
                  <a:cubicBezTo>
                    <a:pt x="109" y="495"/>
                    <a:pt x="109" y="490"/>
                    <a:pt x="109" y="485"/>
                  </a:cubicBezTo>
                  <a:cubicBezTo>
                    <a:pt x="113" y="473"/>
                    <a:pt x="111" y="501"/>
                    <a:pt x="111" y="507"/>
                  </a:cubicBezTo>
                  <a:close/>
                  <a:moveTo>
                    <a:pt x="109" y="544"/>
                  </a:moveTo>
                  <a:cubicBezTo>
                    <a:pt x="103" y="544"/>
                    <a:pt x="105" y="534"/>
                    <a:pt x="98" y="537"/>
                  </a:cubicBezTo>
                  <a:cubicBezTo>
                    <a:pt x="90" y="526"/>
                    <a:pt x="110" y="542"/>
                    <a:pt x="109" y="533"/>
                  </a:cubicBezTo>
                  <a:cubicBezTo>
                    <a:pt x="113" y="534"/>
                    <a:pt x="108" y="538"/>
                    <a:pt x="109" y="544"/>
                  </a:cubicBezTo>
                  <a:close/>
                  <a:moveTo>
                    <a:pt x="101" y="585"/>
                  </a:moveTo>
                  <a:cubicBezTo>
                    <a:pt x="98" y="596"/>
                    <a:pt x="98" y="574"/>
                    <a:pt x="93" y="577"/>
                  </a:cubicBezTo>
                  <a:cubicBezTo>
                    <a:pt x="95" y="566"/>
                    <a:pt x="100" y="581"/>
                    <a:pt x="101" y="585"/>
                  </a:cubicBezTo>
                  <a:close/>
                  <a:moveTo>
                    <a:pt x="93" y="492"/>
                  </a:moveTo>
                  <a:cubicBezTo>
                    <a:pt x="101" y="479"/>
                    <a:pt x="102" y="503"/>
                    <a:pt x="93" y="492"/>
                  </a:cubicBezTo>
                  <a:close/>
                  <a:moveTo>
                    <a:pt x="111" y="607"/>
                  </a:moveTo>
                  <a:cubicBezTo>
                    <a:pt x="110" y="611"/>
                    <a:pt x="108" y="614"/>
                    <a:pt x="103" y="614"/>
                  </a:cubicBezTo>
                  <a:cubicBezTo>
                    <a:pt x="104" y="610"/>
                    <a:pt x="107" y="607"/>
                    <a:pt x="111" y="607"/>
                  </a:cubicBezTo>
                  <a:close/>
                  <a:moveTo>
                    <a:pt x="106" y="581"/>
                  </a:moveTo>
                  <a:cubicBezTo>
                    <a:pt x="106" y="577"/>
                    <a:pt x="111" y="578"/>
                    <a:pt x="114" y="577"/>
                  </a:cubicBezTo>
                  <a:cubicBezTo>
                    <a:pt x="114" y="567"/>
                    <a:pt x="110" y="570"/>
                    <a:pt x="114" y="562"/>
                  </a:cubicBezTo>
                  <a:cubicBezTo>
                    <a:pt x="123" y="565"/>
                    <a:pt x="111" y="586"/>
                    <a:pt x="117" y="585"/>
                  </a:cubicBezTo>
                  <a:cubicBezTo>
                    <a:pt x="114" y="596"/>
                    <a:pt x="108" y="583"/>
                    <a:pt x="106" y="581"/>
                  </a:cubicBezTo>
                  <a:close/>
                  <a:moveTo>
                    <a:pt x="128" y="352"/>
                  </a:moveTo>
                  <a:cubicBezTo>
                    <a:pt x="130" y="348"/>
                    <a:pt x="128" y="338"/>
                    <a:pt x="135" y="341"/>
                  </a:cubicBezTo>
                  <a:cubicBezTo>
                    <a:pt x="133" y="344"/>
                    <a:pt x="135" y="354"/>
                    <a:pt x="128" y="352"/>
                  </a:cubicBezTo>
                  <a:close/>
                  <a:moveTo>
                    <a:pt x="135" y="355"/>
                  </a:moveTo>
                  <a:cubicBezTo>
                    <a:pt x="135" y="358"/>
                    <a:pt x="135" y="360"/>
                    <a:pt x="135" y="363"/>
                  </a:cubicBezTo>
                  <a:cubicBezTo>
                    <a:pt x="134" y="363"/>
                    <a:pt x="132" y="363"/>
                    <a:pt x="130" y="363"/>
                  </a:cubicBezTo>
                  <a:cubicBezTo>
                    <a:pt x="130" y="360"/>
                    <a:pt x="130" y="358"/>
                    <a:pt x="130" y="355"/>
                  </a:cubicBezTo>
                  <a:cubicBezTo>
                    <a:pt x="132" y="355"/>
                    <a:pt x="134" y="355"/>
                    <a:pt x="135" y="355"/>
                  </a:cubicBezTo>
                  <a:close/>
                  <a:moveTo>
                    <a:pt x="141" y="333"/>
                  </a:moveTo>
                  <a:cubicBezTo>
                    <a:pt x="147" y="335"/>
                    <a:pt x="143" y="353"/>
                    <a:pt x="141" y="355"/>
                  </a:cubicBezTo>
                  <a:cubicBezTo>
                    <a:pt x="133" y="351"/>
                    <a:pt x="144" y="343"/>
                    <a:pt x="141" y="333"/>
                  </a:cubicBezTo>
                  <a:close/>
                  <a:moveTo>
                    <a:pt x="138" y="363"/>
                  </a:moveTo>
                  <a:cubicBezTo>
                    <a:pt x="139" y="358"/>
                    <a:pt x="143" y="360"/>
                    <a:pt x="146" y="359"/>
                  </a:cubicBezTo>
                  <a:cubicBezTo>
                    <a:pt x="149" y="359"/>
                    <a:pt x="148" y="355"/>
                    <a:pt x="149" y="352"/>
                  </a:cubicBezTo>
                  <a:cubicBezTo>
                    <a:pt x="155" y="350"/>
                    <a:pt x="154" y="357"/>
                    <a:pt x="154" y="363"/>
                  </a:cubicBezTo>
                  <a:cubicBezTo>
                    <a:pt x="150" y="370"/>
                    <a:pt x="148" y="360"/>
                    <a:pt x="138" y="363"/>
                  </a:cubicBezTo>
                  <a:close/>
                  <a:moveTo>
                    <a:pt x="149" y="378"/>
                  </a:moveTo>
                  <a:cubicBezTo>
                    <a:pt x="161" y="379"/>
                    <a:pt x="146" y="399"/>
                    <a:pt x="149" y="378"/>
                  </a:cubicBezTo>
                  <a:close/>
                  <a:moveTo>
                    <a:pt x="184" y="389"/>
                  </a:moveTo>
                  <a:cubicBezTo>
                    <a:pt x="185" y="396"/>
                    <a:pt x="172" y="394"/>
                    <a:pt x="176" y="385"/>
                  </a:cubicBezTo>
                  <a:cubicBezTo>
                    <a:pt x="180" y="384"/>
                    <a:pt x="181" y="388"/>
                    <a:pt x="184" y="389"/>
                  </a:cubicBezTo>
                  <a:close/>
                  <a:moveTo>
                    <a:pt x="160" y="263"/>
                  </a:moveTo>
                  <a:cubicBezTo>
                    <a:pt x="157" y="263"/>
                    <a:pt x="147" y="266"/>
                    <a:pt x="146" y="259"/>
                  </a:cubicBezTo>
                  <a:cubicBezTo>
                    <a:pt x="146" y="256"/>
                    <a:pt x="147" y="252"/>
                    <a:pt x="149" y="252"/>
                  </a:cubicBezTo>
                  <a:cubicBezTo>
                    <a:pt x="150" y="252"/>
                    <a:pt x="151" y="259"/>
                    <a:pt x="152" y="259"/>
                  </a:cubicBezTo>
                  <a:cubicBezTo>
                    <a:pt x="158" y="261"/>
                    <a:pt x="162" y="258"/>
                    <a:pt x="168" y="259"/>
                  </a:cubicBezTo>
                  <a:cubicBezTo>
                    <a:pt x="167" y="260"/>
                    <a:pt x="166" y="266"/>
                    <a:pt x="165" y="267"/>
                  </a:cubicBezTo>
                  <a:cubicBezTo>
                    <a:pt x="161" y="269"/>
                    <a:pt x="161" y="263"/>
                    <a:pt x="160" y="263"/>
                  </a:cubicBezTo>
                  <a:close/>
                  <a:moveTo>
                    <a:pt x="149" y="278"/>
                  </a:moveTo>
                  <a:cubicBezTo>
                    <a:pt x="148" y="276"/>
                    <a:pt x="156" y="267"/>
                    <a:pt x="160" y="274"/>
                  </a:cubicBezTo>
                  <a:cubicBezTo>
                    <a:pt x="161" y="277"/>
                    <a:pt x="151" y="280"/>
                    <a:pt x="149" y="278"/>
                  </a:cubicBezTo>
                  <a:close/>
                  <a:moveTo>
                    <a:pt x="189" y="263"/>
                  </a:moveTo>
                  <a:cubicBezTo>
                    <a:pt x="187" y="266"/>
                    <a:pt x="188" y="273"/>
                    <a:pt x="184" y="274"/>
                  </a:cubicBezTo>
                  <a:cubicBezTo>
                    <a:pt x="185" y="280"/>
                    <a:pt x="192" y="277"/>
                    <a:pt x="189" y="289"/>
                  </a:cubicBezTo>
                  <a:cubicBezTo>
                    <a:pt x="181" y="292"/>
                    <a:pt x="186" y="276"/>
                    <a:pt x="176" y="281"/>
                  </a:cubicBezTo>
                  <a:cubicBezTo>
                    <a:pt x="177" y="277"/>
                    <a:pt x="179" y="274"/>
                    <a:pt x="184" y="274"/>
                  </a:cubicBezTo>
                  <a:cubicBezTo>
                    <a:pt x="183" y="267"/>
                    <a:pt x="185" y="262"/>
                    <a:pt x="189" y="263"/>
                  </a:cubicBezTo>
                  <a:close/>
                  <a:moveTo>
                    <a:pt x="176" y="267"/>
                  </a:moveTo>
                  <a:cubicBezTo>
                    <a:pt x="176" y="264"/>
                    <a:pt x="179" y="263"/>
                    <a:pt x="179" y="259"/>
                  </a:cubicBezTo>
                  <a:cubicBezTo>
                    <a:pt x="178" y="256"/>
                    <a:pt x="175" y="256"/>
                    <a:pt x="173" y="255"/>
                  </a:cubicBezTo>
                  <a:cubicBezTo>
                    <a:pt x="174" y="251"/>
                    <a:pt x="178" y="250"/>
                    <a:pt x="179" y="244"/>
                  </a:cubicBezTo>
                  <a:cubicBezTo>
                    <a:pt x="187" y="245"/>
                    <a:pt x="184" y="267"/>
                    <a:pt x="176" y="267"/>
                  </a:cubicBezTo>
                  <a:close/>
                  <a:moveTo>
                    <a:pt x="176" y="170"/>
                  </a:moveTo>
                  <a:cubicBezTo>
                    <a:pt x="173" y="183"/>
                    <a:pt x="171" y="172"/>
                    <a:pt x="163" y="174"/>
                  </a:cubicBezTo>
                  <a:cubicBezTo>
                    <a:pt x="165" y="168"/>
                    <a:pt x="172" y="165"/>
                    <a:pt x="176" y="170"/>
                  </a:cubicBezTo>
                  <a:close/>
                  <a:moveTo>
                    <a:pt x="90" y="226"/>
                  </a:moveTo>
                  <a:cubicBezTo>
                    <a:pt x="90" y="223"/>
                    <a:pt x="90" y="221"/>
                    <a:pt x="90" y="218"/>
                  </a:cubicBezTo>
                  <a:cubicBezTo>
                    <a:pt x="98" y="225"/>
                    <a:pt x="99" y="216"/>
                    <a:pt x="111" y="218"/>
                  </a:cubicBezTo>
                  <a:cubicBezTo>
                    <a:pt x="117" y="219"/>
                    <a:pt x="117" y="225"/>
                    <a:pt x="125" y="222"/>
                  </a:cubicBezTo>
                  <a:cubicBezTo>
                    <a:pt x="128" y="221"/>
                    <a:pt x="135" y="218"/>
                    <a:pt x="141" y="226"/>
                  </a:cubicBezTo>
                  <a:cubicBezTo>
                    <a:pt x="142" y="228"/>
                    <a:pt x="158" y="224"/>
                    <a:pt x="165" y="226"/>
                  </a:cubicBezTo>
                  <a:cubicBezTo>
                    <a:pt x="171" y="227"/>
                    <a:pt x="184" y="227"/>
                    <a:pt x="181" y="241"/>
                  </a:cubicBezTo>
                  <a:cubicBezTo>
                    <a:pt x="178" y="240"/>
                    <a:pt x="180" y="233"/>
                    <a:pt x="176" y="233"/>
                  </a:cubicBezTo>
                  <a:cubicBezTo>
                    <a:pt x="172" y="234"/>
                    <a:pt x="174" y="243"/>
                    <a:pt x="173" y="248"/>
                  </a:cubicBezTo>
                  <a:cubicBezTo>
                    <a:pt x="163" y="239"/>
                    <a:pt x="175" y="252"/>
                    <a:pt x="168" y="255"/>
                  </a:cubicBezTo>
                  <a:cubicBezTo>
                    <a:pt x="160" y="259"/>
                    <a:pt x="166" y="248"/>
                    <a:pt x="165" y="248"/>
                  </a:cubicBezTo>
                  <a:cubicBezTo>
                    <a:pt x="164" y="247"/>
                    <a:pt x="158" y="255"/>
                    <a:pt x="154" y="252"/>
                  </a:cubicBezTo>
                  <a:cubicBezTo>
                    <a:pt x="154" y="246"/>
                    <a:pt x="146" y="250"/>
                    <a:pt x="146" y="244"/>
                  </a:cubicBezTo>
                  <a:cubicBezTo>
                    <a:pt x="144" y="247"/>
                    <a:pt x="142" y="251"/>
                    <a:pt x="141" y="255"/>
                  </a:cubicBezTo>
                  <a:cubicBezTo>
                    <a:pt x="132" y="249"/>
                    <a:pt x="129" y="242"/>
                    <a:pt x="133" y="226"/>
                  </a:cubicBezTo>
                  <a:cubicBezTo>
                    <a:pt x="131" y="226"/>
                    <a:pt x="129" y="226"/>
                    <a:pt x="128" y="226"/>
                  </a:cubicBezTo>
                  <a:cubicBezTo>
                    <a:pt x="124" y="227"/>
                    <a:pt x="125" y="233"/>
                    <a:pt x="128" y="233"/>
                  </a:cubicBezTo>
                  <a:cubicBezTo>
                    <a:pt x="127" y="237"/>
                    <a:pt x="124" y="236"/>
                    <a:pt x="122" y="237"/>
                  </a:cubicBezTo>
                  <a:cubicBezTo>
                    <a:pt x="125" y="249"/>
                    <a:pt x="122" y="245"/>
                    <a:pt x="122" y="259"/>
                  </a:cubicBezTo>
                  <a:cubicBezTo>
                    <a:pt x="118" y="256"/>
                    <a:pt x="118" y="247"/>
                    <a:pt x="117" y="241"/>
                  </a:cubicBezTo>
                  <a:cubicBezTo>
                    <a:pt x="112" y="242"/>
                    <a:pt x="110" y="249"/>
                    <a:pt x="103" y="248"/>
                  </a:cubicBezTo>
                  <a:cubicBezTo>
                    <a:pt x="101" y="231"/>
                    <a:pt x="108" y="240"/>
                    <a:pt x="114" y="241"/>
                  </a:cubicBezTo>
                  <a:cubicBezTo>
                    <a:pt x="116" y="231"/>
                    <a:pt x="109" y="234"/>
                    <a:pt x="106" y="230"/>
                  </a:cubicBezTo>
                  <a:cubicBezTo>
                    <a:pt x="99" y="228"/>
                    <a:pt x="103" y="243"/>
                    <a:pt x="98" y="244"/>
                  </a:cubicBezTo>
                  <a:cubicBezTo>
                    <a:pt x="84" y="246"/>
                    <a:pt x="104" y="223"/>
                    <a:pt x="87" y="230"/>
                  </a:cubicBezTo>
                  <a:cubicBezTo>
                    <a:pt x="87" y="226"/>
                    <a:pt x="88" y="226"/>
                    <a:pt x="90" y="226"/>
                  </a:cubicBezTo>
                  <a:close/>
                  <a:moveTo>
                    <a:pt x="58" y="407"/>
                  </a:moveTo>
                  <a:cubicBezTo>
                    <a:pt x="67" y="405"/>
                    <a:pt x="58" y="424"/>
                    <a:pt x="55" y="418"/>
                  </a:cubicBezTo>
                  <a:cubicBezTo>
                    <a:pt x="55" y="418"/>
                    <a:pt x="57" y="411"/>
                    <a:pt x="58" y="411"/>
                  </a:cubicBezTo>
                  <a:cubicBezTo>
                    <a:pt x="58" y="411"/>
                    <a:pt x="57" y="407"/>
                    <a:pt x="58" y="407"/>
                  </a:cubicBezTo>
                  <a:close/>
                  <a:moveTo>
                    <a:pt x="55" y="433"/>
                  </a:moveTo>
                  <a:cubicBezTo>
                    <a:pt x="54" y="425"/>
                    <a:pt x="59" y="426"/>
                    <a:pt x="63" y="426"/>
                  </a:cubicBezTo>
                  <a:cubicBezTo>
                    <a:pt x="62" y="430"/>
                    <a:pt x="60" y="433"/>
                    <a:pt x="55" y="433"/>
                  </a:cubicBezTo>
                  <a:close/>
                  <a:moveTo>
                    <a:pt x="60" y="655"/>
                  </a:moveTo>
                  <a:cubicBezTo>
                    <a:pt x="60" y="649"/>
                    <a:pt x="60" y="643"/>
                    <a:pt x="60" y="636"/>
                  </a:cubicBezTo>
                  <a:cubicBezTo>
                    <a:pt x="69" y="631"/>
                    <a:pt x="69" y="661"/>
                    <a:pt x="60" y="655"/>
                  </a:cubicBezTo>
                  <a:close/>
                  <a:moveTo>
                    <a:pt x="71" y="244"/>
                  </a:moveTo>
                  <a:cubicBezTo>
                    <a:pt x="75" y="239"/>
                    <a:pt x="75" y="230"/>
                    <a:pt x="66" y="233"/>
                  </a:cubicBezTo>
                  <a:cubicBezTo>
                    <a:pt x="68" y="228"/>
                    <a:pt x="73" y="226"/>
                    <a:pt x="74" y="218"/>
                  </a:cubicBezTo>
                  <a:cubicBezTo>
                    <a:pt x="77" y="218"/>
                    <a:pt x="75" y="224"/>
                    <a:pt x="76" y="226"/>
                  </a:cubicBezTo>
                  <a:cubicBezTo>
                    <a:pt x="80" y="233"/>
                    <a:pt x="89" y="230"/>
                    <a:pt x="90" y="241"/>
                  </a:cubicBezTo>
                  <a:cubicBezTo>
                    <a:pt x="88" y="233"/>
                    <a:pt x="80" y="243"/>
                    <a:pt x="79" y="237"/>
                  </a:cubicBezTo>
                  <a:cubicBezTo>
                    <a:pt x="76" y="239"/>
                    <a:pt x="76" y="246"/>
                    <a:pt x="71" y="244"/>
                  </a:cubicBezTo>
                  <a:close/>
                  <a:moveTo>
                    <a:pt x="93" y="721"/>
                  </a:moveTo>
                  <a:cubicBezTo>
                    <a:pt x="93" y="712"/>
                    <a:pt x="87" y="712"/>
                    <a:pt x="82" y="710"/>
                  </a:cubicBezTo>
                  <a:cubicBezTo>
                    <a:pt x="83" y="703"/>
                    <a:pt x="92" y="707"/>
                    <a:pt x="90" y="696"/>
                  </a:cubicBezTo>
                  <a:cubicBezTo>
                    <a:pt x="93" y="700"/>
                    <a:pt x="99" y="700"/>
                    <a:pt x="106" y="699"/>
                  </a:cubicBezTo>
                  <a:cubicBezTo>
                    <a:pt x="106" y="714"/>
                    <a:pt x="102" y="721"/>
                    <a:pt x="93" y="721"/>
                  </a:cubicBezTo>
                  <a:close/>
                  <a:moveTo>
                    <a:pt x="106" y="692"/>
                  </a:moveTo>
                  <a:cubicBezTo>
                    <a:pt x="104" y="692"/>
                    <a:pt x="102" y="692"/>
                    <a:pt x="101" y="692"/>
                  </a:cubicBezTo>
                  <a:cubicBezTo>
                    <a:pt x="101" y="689"/>
                    <a:pt x="101" y="687"/>
                    <a:pt x="101" y="684"/>
                  </a:cubicBezTo>
                  <a:cubicBezTo>
                    <a:pt x="102" y="684"/>
                    <a:pt x="104" y="684"/>
                    <a:pt x="106" y="684"/>
                  </a:cubicBezTo>
                  <a:cubicBezTo>
                    <a:pt x="106" y="687"/>
                    <a:pt x="106" y="689"/>
                    <a:pt x="106" y="692"/>
                  </a:cubicBezTo>
                  <a:close/>
                  <a:moveTo>
                    <a:pt x="109" y="677"/>
                  </a:moveTo>
                  <a:cubicBezTo>
                    <a:pt x="101" y="677"/>
                    <a:pt x="98" y="669"/>
                    <a:pt x="93" y="666"/>
                  </a:cubicBezTo>
                  <a:cubicBezTo>
                    <a:pt x="92" y="672"/>
                    <a:pt x="95" y="673"/>
                    <a:pt x="98" y="673"/>
                  </a:cubicBezTo>
                  <a:cubicBezTo>
                    <a:pt x="95" y="685"/>
                    <a:pt x="86" y="673"/>
                    <a:pt x="90" y="662"/>
                  </a:cubicBezTo>
                  <a:cubicBezTo>
                    <a:pt x="82" y="663"/>
                    <a:pt x="83" y="678"/>
                    <a:pt x="79" y="655"/>
                  </a:cubicBezTo>
                  <a:cubicBezTo>
                    <a:pt x="87" y="665"/>
                    <a:pt x="97" y="649"/>
                    <a:pt x="101" y="662"/>
                  </a:cubicBezTo>
                  <a:cubicBezTo>
                    <a:pt x="103" y="662"/>
                    <a:pt x="103" y="659"/>
                    <a:pt x="106" y="659"/>
                  </a:cubicBezTo>
                  <a:cubicBezTo>
                    <a:pt x="106" y="652"/>
                    <a:pt x="97" y="656"/>
                    <a:pt x="95" y="651"/>
                  </a:cubicBezTo>
                  <a:cubicBezTo>
                    <a:pt x="97" y="649"/>
                    <a:pt x="106" y="640"/>
                    <a:pt x="98" y="636"/>
                  </a:cubicBezTo>
                  <a:cubicBezTo>
                    <a:pt x="96" y="634"/>
                    <a:pt x="105" y="634"/>
                    <a:pt x="106" y="636"/>
                  </a:cubicBezTo>
                  <a:cubicBezTo>
                    <a:pt x="107" y="637"/>
                    <a:pt x="105" y="643"/>
                    <a:pt x="106" y="644"/>
                  </a:cubicBezTo>
                  <a:cubicBezTo>
                    <a:pt x="108" y="645"/>
                    <a:pt x="112" y="643"/>
                    <a:pt x="114" y="644"/>
                  </a:cubicBezTo>
                  <a:cubicBezTo>
                    <a:pt x="115" y="648"/>
                    <a:pt x="109" y="646"/>
                    <a:pt x="109" y="648"/>
                  </a:cubicBezTo>
                  <a:cubicBezTo>
                    <a:pt x="106" y="657"/>
                    <a:pt x="115" y="669"/>
                    <a:pt x="109" y="677"/>
                  </a:cubicBezTo>
                  <a:close/>
                  <a:moveTo>
                    <a:pt x="163" y="736"/>
                  </a:moveTo>
                  <a:cubicBezTo>
                    <a:pt x="160" y="749"/>
                    <a:pt x="157" y="732"/>
                    <a:pt x="154" y="733"/>
                  </a:cubicBezTo>
                  <a:cubicBezTo>
                    <a:pt x="150" y="739"/>
                    <a:pt x="155" y="742"/>
                    <a:pt x="152" y="755"/>
                  </a:cubicBezTo>
                  <a:cubicBezTo>
                    <a:pt x="149" y="755"/>
                    <a:pt x="150" y="750"/>
                    <a:pt x="149" y="747"/>
                  </a:cubicBezTo>
                  <a:cubicBezTo>
                    <a:pt x="149" y="739"/>
                    <a:pt x="144" y="737"/>
                    <a:pt x="146" y="725"/>
                  </a:cubicBezTo>
                  <a:cubicBezTo>
                    <a:pt x="149" y="726"/>
                    <a:pt x="151" y="724"/>
                    <a:pt x="152" y="721"/>
                  </a:cubicBezTo>
                  <a:cubicBezTo>
                    <a:pt x="156" y="726"/>
                    <a:pt x="158" y="732"/>
                    <a:pt x="163" y="736"/>
                  </a:cubicBezTo>
                  <a:close/>
                  <a:moveTo>
                    <a:pt x="173" y="688"/>
                  </a:moveTo>
                  <a:cubicBezTo>
                    <a:pt x="172" y="693"/>
                    <a:pt x="170" y="696"/>
                    <a:pt x="165" y="696"/>
                  </a:cubicBezTo>
                  <a:cubicBezTo>
                    <a:pt x="159" y="695"/>
                    <a:pt x="161" y="690"/>
                    <a:pt x="157" y="688"/>
                  </a:cubicBezTo>
                  <a:cubicBezTo>
                    <a:pt x="153" y="690"/>
                    <a:pt x="158" y="693"/>
                    <a:pt x="157" y="699"/>
                  </a:cubicBezTo>
                  <a:cubicBezTo>
                    <a:pt x="148" y="700"/>
                    <a:pt x="151" y="685"/>
                    <a:pt x="144" y="684"/>
                  </a:cubicBezTo>
                  <a:cubicBezTo>
                    <a:pt x="135" y="692"/>
                    <a:pt x="148" y="702"/>
                    <a:pt x="154" y="703"/>
                  </a:cubicBezTo>
                  <a:cubicBezTo>
                    <a:pt x="153" y="706"/>
                    <a:pt x="151" y="710"/>
                    <a:pt x="154" y="710"/>
                  </a:cubicBezTo>
                  <a:cubicBezTo>
                    <a:pt x="153" y="721"/>
                    <a:pt x="149" y="707"/>
                    <a:pt x="144" y="710"/>
                  </a:cubicBezTo>
                  <a:cubicBezTo>
                    <a:pt x="140" y="711"/>
                    <a:pt x="146" y="729"/>
                    <a:pt x="144" y="740"/>
                  </a:cubicBezTo>
                  <a:cubicBezTo>
                    <a:pt x="135" y="736"/>
                    <a:pt x="139" y="748"/>
                    <a:pt x="138" y="755"/>
                  </a:cubicBezTo>
                  <a:cubicBezTo>
                    <a:pt x="136" y="766"/>
                    <a:pt x="135" y="748"/>
                    <a:pt x="135" y="744"/>
                  </a:cubicBezTo>
                  <a:cubicBezTo>
                    <a:pt x="134" y="735"/>
                    <a:pt x="140" y="736"/>
                    <a:pt x="138" y="725"/>
                  </a:cubicBezTo>
                  <a:cubicBezTo>
                    <a:pt x="126" y="722"/>
                    <a:pt x="142" y="735"/>
                    <a:pt x="130" y="733"/>
                  </a:cubicBezTo>
                  <a:cubicBezTo>
                    <a:pt x="129" y="723"/>
                    <a:pt x="131" y="719"/>
                    <a:pt x="138" y="721"/>
                  </a:cubicBezTo>
                  <a:cubicBezTo>
                    <a:pt x="138" y="712"/>
                    <a:pt x="138" y="704"/>
                    <a:pt x="144" y="703"/>
                  </a:cubicBezTo>
                  <a:cubicBezTo>
                    <a:pt x="140" y="696"/>
                    <a:pt x="130" y="700"/>
                    <a:pt x="125" y="696"/>
                  </a:cubicBezTo>
                  <a:cubicBezTo>
                    <a:pt x="119" y="698"/>
                    <a:pt x="122" y="718"/>
                    <a:pt x="130" y="714"/>
                  </a:cubicBezTo>
                  <a:cubicBezTo>
                    <a:pt x="129" y="719"/>
                    <a:pt x="127" y="722"/>
                    <a:pt x="122" y="721"/>
                  </a:cubicBezTo>
                  <a:cubicBezTo>
                    <a:pt x="123" y="729"/>
                    <a:pt x="118" y="729"/>
                    <a:pt x="114" y="729"/>
                  </a:cubicBezTo>
                  <a:cubicBezTo>
                    <a:pt x="115" y="694"/>
                    <a:pt x="115" y="674"/>
                    <a:pt x="117" y="644"/>
                  </a:cubicBezTo>
                  <a:cubicBezTo>
                    <a:pt x="128" y="642"/>
                    <a:pt x="124" y="657"/>
                    <a:pt x="119" y="662"/>
                  </a:cubicBezTo>
                  <a:cubicBezTo>
                    <a:pt x="122" y="673"/>
                    <a:pt x="123" y="654"/>
                    <a:pt x="130" y="659"/>
                  </a:cubicBezTo>
                  <a:cubicBezTo>
                    <a:pt x="132" y="670"/>
                    <a:pt x="127" y="672"/>
                    <a:pt x="128" y="681"/>
                  </a:cubicBezTo>
                  <a:cubicBezTo>
                    <a:pt x="123" y="679"/>
                    <a:pt x="122" y="684"/>
                    <a:pt x="122" y="688"/>
                  </a:cubicBezTo>
                  <a:cubicBezTo>
                    <a:pt x="132" y="706"/>
                    <a:pt x="130" y="664"/>
                    <a:pt x="138" y="677"/>
                  </a:cubicBezTo>
                  <a:cubicBezTo>
                    <a:pt x="139" y="670"/>
                    <a:pt x="135" y="669"/>
                    <a:pt x="135" y="662"/>
                  </a:cubicBezTo>
                  <a:cubicBezTo>
                    <a:pt x="135" y="652"/>
                    <a:pt x="127" y="654"/>
                    <a:pt x="128" y="644"/>
                  </a:cubicBezTo>
                  <a:cubicBezTo>
                    <a:pt x="133" y="637"/>
                    <a:pt x="132" y="646"/>
                    <a:pt x="141" y="644"/>
                  </a:cubicBezTo>
                  <a:cubicBezTo>
                    <a:pt x="141" y="651"/>
                    <a:pt x="141" y="659"/>
                    <a:pt x="141" y="666"/>
                  </a:cubicBezTo>
                  <a:cubicBezTo>
                    <a:pt x="149" y="669"/>
                    <a:pt x="144" y="653"/>
                    <a:pt x="154" y="659"/>
                  </a:cubicBezTo>
                  <a:cubicBezTo>
                    <a:pt x="153" y="654"/>
                    <a:pt x="151" y="651"/>
                    <a:pt x="146" y="651"/>
                  </a:cubicBezTo>
                  <a:cubicBezTo>
                    <a:pt x="146" y="645"/>
                    <a:pt x="151" y="642"/>
                    <a:pt x="146" y="640"/>
                  </a:cubicBezTo>
                  <a:cubicBezTo>
                    <a:pt x="152" y="634"/>
                    <a:pt x="150" y="637"/>
                    <a:pt x="149" y="618"/>
                  </a:cubicBezTo>
                  <a:cubicBezTo>
                    <a:pt x="153" y="618"/>
                    <a:pt x="156" y="618"/>
                    <a:pt x="160" y="618"/>
                  </a:cubicBezTo>
                  <a:cubicBezTo>
                    <a:pt x="158" y="623"/>
                    <a:pt x="156" y="627"/>
                    <a:pt x="154" y="633"/>
                  </a:cubicBezTo>
                  <a:cubicBezTo>
                    <a:pt x="158" y="638"/>
                    <a:pt x="165" y="640"/>
                    <a:pt x="163" y="655"/>
                  </a:cubicBezTo>
                  <a:cubicBezTo>
                    <a:pt x="159" y="654"/>
                    <a:pt x="161" y="648"/>
                    <a:pt x="157" y="648"/>
                  </a:cubicBezTo>
                  <a:cubicBezTo>
                    <a:pt x="151" y="652"/>
                    <a:pt x="160" y="668"/>
                    <a:pt x="160" y="677"/>
                  </a:cubicBezTo>
                  <a:cubicBezTo>
                    <a:pt x="157" y="677"/>
                    <a:pt x="155" y="678"/>
                    <a:pt x="154" y="681"/>
                  </a:cubicBezTo>
                  <a:cubicBezTo>
                    <a:pt x="159" y="694"/>
                    <a:pt x="166" y="679"/>
                    <a:pt x="173" y="688"/>
                  </a:cubicBezTo>
                  <a:close/>
                  <a:moveTo>
                    <a:pt x="173" y="648"/>
                  </a:moveTo>
                  <a:cubicBezTo>
                    <a:pt x="170" y="648"/>
                    <a:pt x="172" y="643"/>
                    <a:pt x="170" y="640"/>
                  </a:cubicBezTo>
                  <a:cubicBezTo>
                    <a:pt x="168" y="633"/>
                    <a:pt x="164" y="631"/>
                    <a:pt x="168" y="625"/>
                  </a:cubicBezTo>
                  <a:cubicBezTo>
                    <a:pt x="175" y="630"/>
                    <a:pt x="176" y="637"/>
                    <a:pt x="173" y="648"/>
                  </a:cubicBezTo>
                  <a:close/>
                  <a:moveTo>
                    <a:pt x="189" y="577"/>
                  </a:moveTo>
                  <a:cubicBezTo>
                    <a:pt x="185" y="575"/>
                    <a:pt x="183" y="572"/>
                    <a:pt x="179" y="570"/>
                  </a:cubicBezTo>
                  <a:cubicBezTo>
                    <a:pt x="173" y="587"/>
                    <a:pt x="189" y="575"/>
                    <a:pt x="187" y="588"/>
                  </a:cubicBezTo>
                  <a:cubicBezTo>
                    <a:pt x="182" y="592"/>
                    <a:pt x="178" y="577"/>
                    <a:pt x="176" y="588"/>
                  </a:cubicBezTo>
                  <a:cubicBezTo>
                    <a:pt x="169" y="584"/>
                    <a:pt x="176" y="569"/>
                    <a:pt x="176" y="562"/>
                  </a:cubicBezTo>
                  <a:cubicBezTo>
                    <a:pt x="176" y="556"/>
                    <a:pt x="174" y="550"/>
                    <a:pt x="170" y="548"/>
                  </a:cubicBezTo>
                  <a:cubicBezTo>
                    <a:pt x="163" y="553"/>
                    <a:pt x="173" y="552"/>
                    <a:pt x="173" y="562"/>
                  </a:cubicBezTo>
                  <a:cubicBezTo>
                    <a:pt x="173" y="563"/>
                    <a:pt x="168" y="562"/>
                    <a:pt x="168" y="562"/>
                  </a:cubicBezTo>
                  <a:cubicBezTo>
                    <a:pt x="166" y="567"/>
                    <a:pt x="171" y="583"/>
                    <a:pt x="168" y="588"/>
                  </a:cubicBezTo>
                  <a:cubicBezTo>
                    <a:pt x="166" y="588"/>
                    <a:pt x="165" y="585"/>
                    <a:pt x="163" y="585"/>
                  </a:cubicBezTo>
                  <a:cubicBezTo>
                    <a:pt x="164" y="596"/>
                    <a:pt x="159" y="599"/>
                    <a:pt x="157" y="607"/>
                  </a:cubicBezTo>
                  <a:cubicBezTo>
                    <a:pt x="160" y="617"/>
                    <a:pt x="182" y="602"/>
                    <a:pt x="179" y="622"/>
                  </a:cubicBezTo>
                  <a:cubicBezTo>
                    <a:pt x="164" y="624"/>
                    <a:pt x="163" y="609"/>
                    <a:pt x="149" y="611"/>
                  </a:cubicBezTo>
                  <a:cubicBezTo>
                    <a:pt x="143" y="611"/>
                    <a:pt x="143" y="620"/>
                    <a:pt x="144" y="629"/>
                  </a:cubicBezTo>
                  <a:cubicBezTo>
                    <a:pt x="138" y="629"/>
                    <a:pt x="140" y="619"/>
                    <a:pt x="133" y="622"/>
                  </a:cubicBezTo>
                  <a:cubicBezTo>
                    <a:pt x="133" y="616"/>
                    <a:pt x="134" y="608"/>
                    <a:pt x="130" y="607"/>
                  </a:cubicBezTo>
                  <a:cubicBezTo>
                    <a:pt x="131" y="601"/>
                    <a:pt x="138" y="606"/>
                    <a:pt x="138" y="599"/>
                  </a:cubicBezTo>
                  <a:cubicBezTo>
                    <a:pt x="137" y="584"/>
                    <a:pt x="128" y="591"/>
                    <a:pt x="119" y="592"/>
                  </a:cubicBezTo>
                  <a:cubicBezTo>
                    <a:pt x="120" y="569"/>
                    <a:pt x="146" y="603"/>
                    <a:pt x="141" y="577"/>
                  </a:cubicBezTo>
                  <a:cubicBezTo>
                    <a:pt x="146" y="578"/>
                    <a:pt x="147" y="584"/>
                    <a:pt x="146" y="592"/>
                  </a:cubicBezTo>
                  <a:cubicBezTo>
                    <a:pt x="150" y="592"/>
                    <a:pt x="153" y="592"/>
                    <a:pt x="157" y="592"/>
                  </a:cubicBezTo>
                  <a:cubicBezTo>
                    <a:pt x="159" y="579"/>
                    <a:pt x="147" y="586"/>
                    <a:pt x="146" y="577"/>
                  </a:cubicBezTo>
                  <a:cubicBezTo>
                    <a:pt x="145" y="566"/>
                    <a:pt x="155" y="570"/>
                    <a:pt x="160" y="566"/>
                  </a:cubicBezTo>
                  <a:cubicBezTo>
                    <a:pt x="160" y="570"/>
                    <a:pt x="160" y="574"/>
                    <a:pt x="160" y="577"/>
                  </a:cubicBezTo>
                  <a:cubicBezTo>
                    <a:pt x="163" y="577"/>
                    <a:pt x="162" y="573"/>
                    <a:pt x="163" y="570"/>
                  </a:cubicBezTo>
                  <a:cubicBezTo>
                    <a:pt x="164" y="566"/>
                    <a:pt x="164" y="563"/>
                    <a:pt x="165" y="551"/>
                  </a:cubicBezTo>
                  <a:cubicBezTo>
                    <a:pt x="165" y="550"/>
                    <a:pt x="165" y="545"/>
                    <a:pt x="165" y="544"/>
                  </a:cubicBezTo>
                  <a:cubicBezTo>
                    <a:pt x="170" y="539"/>
                    <a:pt x="162" y="533"/>
                    <a:pt x="168" y="525"/>
                  </a:cubicBezTo>
                  <a:cubicBezTo>
                    <a:pt x="169" y="516"/>
                    <a:pt x="153" y="529"/>
                    <a:pt x="157" y="514"/>
                  </a:cubicBezTo>
                  <a:cubicBezTo>
                    <a:pt x="152" y="514"/>
                    <a:pt x="151" y="519"/>
                    <a:pt x="146" y="518"/>
                  </a:cubicBezTo>
                  <a:cubicBezTo>
                    <a:pt x="144" y="510"/>
                    <a:pt x="141" y="504"/>
                    <a:pt x="141" y="492"/>
                  </a:cubicBezTo>
                  <a:cubicBezTo>
                    <a:pt x="143" y="495"/>
                    <a:pt x="145" y="499"/>
                    <a:pt x="146" y="503"/>
                  </a:cubicBezTo>
                  <a:cubicBezTo>
                    <a:pt x="157" y="503"/>
                    <a:pt x="143" y="482"/>
                    <a:pt x="154" y="492"/>
                  </a:cubicBezTo>
                  <a:cubicBezTo>
                    <a:pt x="155" y="482"/>
                    <a:pt x="148" y="482"/>
                    <a:pt x="141" y="481"/>
                  </a:cubicBezTo>
                  <a:cubicBezTo>
                    <a:pt x="136" y="456"/>
                    <a:pt x="158" y="468"/>
                    <a:pt x="157" y="448"/>
                  </a:cubicBezTo>
                  <a:cubicBezTo>
                    <a:pt x="162" y="447"/>
                    <a:pt x="163" y="452"/>
                    <a:pt x="168" y="452"/>
                  </a:cubicBezTo>
                  <a:cubicBezTo>
                    <a:pt x="175" y="453"/>
                    <a:pt x="166" y="431"/>
                    <a:pt x="173" y="433"/>
                  </a:cubicBezTo>
                  <a:cubicBezTo>
                    <a:pt x="186" y="433"/>
                    <a:pt x="171" y="442"/>
                    <a:pt x="179" y="444"/>
                  </a:cubicBezTo>
                  <a:cubicBezTo>
                    <a:pt x="180" y="445"/>
                    <a:pt x="183" y="443"/>
                    <a:pt x="184" y="444"/>
                  </a:cubicBezTo>
                  <a:cubicBezTo>
                    <a:pt x="189" y="449"/>
                    <a:pt x="186" y="458"/>
                    <a:pt x="192" y="463"/>
                  </a:cubicBezTo>
                  <a:cubicBezTo>
                    <a:pt x="185" y="475"/>
                    <a:pt x="186" y="447"/>
                    <a:pt x="179" y="448"/>
                  </a:cubicBezTo>
                  <a:cubicBezTo>
                    <a:pt x="176" y="448"/>
                    <a:pt x="177" y="452"/>
                    <a:pt x="176" y="455"/>
                  </a:cubicBezTo>
                  <a:cubicBezTo>
                    <a:pt x="170" y="455"/>
                    <a:pt x="165" y="455"/>
                    <a:pt x="160" y="455"/>
                  </a:cubicBezTo>
                  <a:cubicBezTo>
                    <a:pt x="157" y="458"/>
                    <a:pt x="157" y="464"/>
                    <a:pt x="152" y="463"/>
                  </a:cubicBezTo>
                  <a:cubicBezTo>
                    <a:pt x="157" y="470"/>
                    <a:pt x="157" y="466"/>
                    <a:pt x="154" y="477"/>
                  </a:cubicBezTo>
                  <a:cubicBezTo>
                    <a:pt x="161" y="477"/>
                    <a:pt x="159" y="464"/>
                    <a:pt x="163" y="459"/>
                  </a:cubicBezTo>
                  <a:cubicBezTo>
                    <a:pt x="168" y="452"/>
                    <a:pt x="171" y="466"/>
                    <a:pt x="173" y="466"/>
                  </a:cubicBezTo>
                  <a:cubicBezTo>
                    <a:pt x="177" y="467"/>
                    <a:pt x="179" y="455"/>
                    <a:pt x="184" y="463"/>
                  </a:cubicBezTo>
                  <a:cubicBezTo>
                    <a:pt x="186" y="474"/>
                    <a:pt x="181" y="476"/>
                    <a:pt x="181" y="485"/>
                  </a:cubicBezTo>
                  <a:cubicBezTo>
                    <a:pt x="188" y="482"/>
                    <a:pt x="201" y="475"/>
                    <a:pt x="200" y="492"/>
                  </a:cubicBezTo>
                  <a:cubicBezTo>
                    <a:pt x="188" y="487"/>
                    <a:pt x="193" y="505"/>
                    <a:pt x="184" y="503"/>
                  </a:cubicBezTo>
                  <a:cubicBezTo>
                    <a:pt x="184" y="500"/>
                    <a:pt x="184" y="496"/>
                    <a:pt x="184" y="492"/>
                  </a:cubicBezTo>
                  <a:cubicBezTo>
                    <a:pt x="180" y="493"/>
                    <a:pt x="183" y="503"/>
                    <a:pt x="179" y="503"/>
                  </a:cubicBezTo>
                  <a:cubicBezTo>
                    <a:pt x="179" y="514"/>
                    <a:pt x="191" y="508"/>
                    <a:pt x="195" y="514"/>
                  </a:cubicBezTo>
                  <a:cubicBezTo>
                    <a:pt x="194" y="519"/>
                    <a:pt x="190" y="518"/>
                    <a:pt x="187" y="518"/>
                  </a:cubicBezTo>
                  <a:cubicBezTo>
                    <a:pt x="187" y="525"/>
                    <a:pt x="187" y="533"/>
                    <a:pt x="187" y="540"/>
                  </a:cubicBezTo>
                  <a:cubicBezTo>
                    <a:pt x="174" y="544"/>
                    <a:pt x="191" y="528"/>
                    <a:pt x="181" y="525"/>
                  </a:cubicBezTo>
                  <a:cubicBezTo>
                    <a:pt x="177" y="529"/>
                    <a:pt x="178" y="541"/>
                    <a:pt x="176" y="548"/>
                  </a:cubicBezTo>
                  <a:cubicBezTo>
                    <a:pt x="174" y="558"/>
                    <a:pt x="181" y="555"/>
                    <a:pt x="181" y="562"/>
                  </a:cubicBezTo>
                  <a:cubicBezTo>
                    <a:pt x="180" y="572"/>
                    <a:pt x="192" y="565"/>
                    <a:pt x="189" y="577"/>
                  </a:cubicBezTo>
                  <a:close/>
                  <a:moveTo>
                    <a:pt x="168" y="607"/>
                  </a:moveTo>
                  <a:cubicBezTo>
                    <a:pt x="160" y="604"/>
                    <a:pt x="165" y="601"/>
                    <a:pt x="165" y="592"/>
                  </a:cubicBezTo>
                  <a:cubicBezTo>
                    <a:pt x="168" y="593"/>
                    <a:pt x="167" y="599"/>
                    <a:pt x="170" y="599"/>
                  </a:cubicBezTo>
                  <a:cubicBezTo>
                    <a:pt x="176" y="599"/>
                    <a:pt x="168" y="604"/>
                    <a:pt x="168" y="607"/>
                  </a:cubicBezTo>
                  <a:close/>
                  <a:moveTo>
                    <a:pt x="149" y="525"/>
                  </a:moveTo>
                  <a:cubicBezTo>
                    <a:pt x="152" y="525"/>
                    <a:pt x="154" y="525"/>
                    <a:pt x="157" y="525"/>
                  </a:cubicBezTo>
                  <a:cubicBezTo>
                    <a:pt x="162" y="532"/>
                    <a:pt x="159" y="547"/>
                    <a:pt x="160" y="559"/>
                  </a:cubicBezTo>
                  <a:cubicBezTo>
                    <a:pt x="151" y="556"/>
                    <a:pt x="148" y="551"/>
                    <a:pt x="152" y="566"/>
                  </a:cubicBezTo>
                  <a:cubicBezTo>
                    <a:pt x="137" y="563"/>
                    <a:pt x="147" y="547"/>
                    <a:pt x="149" y="537"/>
                  </a:cubicBezTo>
                  <a:cubicBezTo>
                    <a:pt x="150" y="533"/>
                    <a:pt x="145" y="530"/>
                    <a:pt x="149" y="525"/>
                  </a:cubicBezTo>
                  <a:close/>
                  <a:moveTo>
                    <a:pt x="189" y="566"/>
                  </a:moveTo>
                  <a:cubicBezTo>
                    <a:pt x="185" y="563"/>
                    <a:pt x="181" y="561"/>
                    <a:pt x="181" y="551"/>
                  </a:cubicBezTo>
                  <a:cubicBezTo>
                    <a:pt x="183" y="554"/>
                    <a:pt x="189" y="557"/>
                    <a:pt x="189" y="551"/>
                  </a:cubicBezTo>
                  <a:cubicBezTo>
                    <a:pt x="196" y="552"/>
                    <a:pt x="190" y="564"/>
                    <a:pt x="189" y="566"/>
                  </a:cubicBezTo>
                  <a:close/>
                  <a:moveTo>
                    <a:pt x="195" y="548"/>
                  </a:moveTo>
                  <a:cubicBezTo>
                    <a:pt x="187" y="544"/>
                    <a:pt x="198" y="536"/>
                    <a:pt x="195" y="525"/>
                  </a:cubicBezTo>
                  <a:cubicBezTo>
                    <a:pt x="201" y="533"/>
                    <a:pt x="200" y="541"/>
                    <a:pt x="195" y="548"/>
                  </a:cubicBezTo>
                  <a:close/>
                  <a:moveTo>
                    <a:pt x="205" y="525"/>
                  </a:moveTo>
                  <a:cubicBezTo>
                    <a:pt x="202" y="525"/>
                    <a:pt x="205" y="514"/>
                    <a:pt x="200" y="514"/>
                  </a:cubicBezTo>
                  <a:cubicBezTo>
                    <a:pt x="200" y="511"/>
                    <a:pt x="201" y="511"/>
                    <a:pt x="203" y="511"/>
                  </a:cubicBezTo>
                  <a:cubicBezTo>
                    <a:pt x="205" y="511"/>
                    <a:pt x="206" y="511"/>
                    <a:pt x="208" y="511"/>
                  </a:cubicBezTo>
                  <a:cubicBezTo>
                    <a:pt x="208" y="517"/>
                    <a:pt x="205" y="519"/>
                    <a:pt x="205" y="525"/>
                  </a:cubicBezTo>
                  <a:close/>
                  <a:moveTo>
                    <a:pt x="208" y="285"/>
                  </a:moveTo>
                  <a:cubicBezTo>
                    <a:pt x="201" y="280"/>
                    <a:pt x="216" y="258"/>
                    <a:pt x="208" y="285"/>
                  </a:cubicBezTo>
                  <a:close/>
                  <a:moveTo>
                    <a:pt x="458" y="803"/>
                  </a:moveTo>
                  <a:cubicBezTo>
                    <a:pt x="458" y="809"/>
                    <a:pt x="442" y="796"/>
                    <a:pt x="445" y="814"/>
                  </a:cubicBezTo>
                  <a:cubicBezTo>
                    <a:pt x="440" y="822"/>
                    <a:pt x="445" y="790"/>
                    <a:pt x="447" y="784"/>
                  </a:cubicBezTo>
                  <a:cubicBezTo>
                    <a:pt x="456" y="788"/>
                    <a:pt x="447" y="799"/>
                    <a:pt x="458" y="803"/>
                  </a:cubicBezTo>
                  <a:close/>
                  <a:moveTo>
                    <a:pt x="453" y="655"/>
                  </a:moveTo>
                  <a:cubicBezTo>
                    <a:pt x="457" y="642"/>
                    <a:pt x="458" y="662"/>
                    <a:pt x="456" y="662"/>
                  </a:cubicBezTo>
                  <a:cubicBezTo>
                    <a:pt x="454" y="663"/>
                    <a:pt x="452" y="657"/>
                    <a:pt x="453" y="655"/>
                  </a:cubicBezTo>
                  <a:close/>
                  <a:moveTo>
                    <a:pt x="447" y="648"/>
                  </a:moveTo>
                  <a:cubicBezTo>
                    <a:pt x="455" y="651"/>
                    <a:pt x="446" y="659"/>
                    <a:pt x="447" y="666"/>
                  </a:cubicBezTo>
                  <a:cubicBezTo>
                    <a:pt x="448" y="670"/>
                    <a:pt x="451" y="669"/>
                    <a:pt x="453" y="670"/>
                  </a:cubicBezTo>
                  <a:cubicBezTo>
                    <a:pt x="452" y="679"/>
                    <a:pt x="444" y="671"/>
                    <a:pt x="442" y="670"/>
                  </a:cubicBezTo>
                  <a:cubicBezTo>
                    <a:pt x="439" y="670"/>
                    <a:pt x="440" y="674"/>
                    <a:pt x="439" y="677"/>
                  </a:cubicBezTo>
                  <a:cubicBezTo>
                    <a:pt x="435" y="677"/>
                    <a:pt x="430" y="677"/>
                    <a:pt x="426" y="677"/>
                  </a:cubicBezTo>
                  <a:cubicBezTo>
                    <a:pt x="427" y="671"/>
                    <a:pt x="434" y="674"/>
                    <a:pt x="431" y="662"/>
                  </a:cubicBezTo>
                  <a:cubicBezTo>
                    <a:pt x="434" y="665"/>
                    <a:pt x="437" y="666"/>
                    <a:pt x="442" y="666"/>
                  </a:cubicBezTo>
                  <a:cubicBezTo>
                    <a:pt x="448" y="665"/>
                    <a:pt x="443" y="650"/>
                    <a:pt x="447" y="648"/>
                  </a:cubicBezTo>
                  <a:close/>
                  <a:moveTo>
                    <a:pt x="423" y="799"/>
                  </a:moveTo>
                  <a:cubicBezTo>
                    <a:pt x="418" y="798"/>
                    <a:pt x="410" y="807"/>
                    <a:pt x="410" y="792"/>
                  </a:cubicBezTo>
                  <a:cubicBezTo>
                    <a:pt x="404" y="793"/>
                    <a:pt x="401" y="791"/>
                    <a:pt x="402" y="784"/>
                  </a:cubicBezTo>
                  <a:cubicBezTo>
                    <a:pt x="399" y="784"/>
                    <a:pt x="400" y="789"/>
                    <a:pt x="399" y="792"/>
                  </a:cubicBezTo>
                  <a:cubicBezTo>
                    <a:pt x="392" y="787"/>
                    <a:pt x="399" y="772"/>
                    <a:pt x="407" y="777"/>
                  </a:cubicBezTo>
                  <a:cubicBezTo>
                    <a:pt x="407" y="782"/>
                    <a:pt x="407" y="787"/>
                    <a:pt x="410" y="788"/>
                  </a:cubicBezTo>
                  <a:cubicBezTo>
                    <a:pt x="416" y="783"/>
                    <a:pt x="408" y="780"/>
                    <a:pt x="412" y="773"/>
                  </a:cubicBezTo>
                  <a:cubicBezTo>
                    <a:pt x="415" y="770"/>
                    <a:pt x="407" y="761"/>
                    <a:pt x="410" y="751"/>
                  </a:cubicBezTo>
                  <a:cubicBezTo>
                    <a:pt x="412" y="750"/>
                    <a:pt x="412" y="753"/>
                    <a:pt x="412" y="755"/>
                  </a:cubicBezTo>
                  <a:cubicBezTo>
                    <a:pt x="413" y="759"/>
                    <a:pt x="415" y="757"/>
                    <a:pt x="415" y="755"/>
                  </a:cubicBezTo>
                  <a:cubicBezTo>
                    <a:pt x="419" y="756"/>
                    <a:pt x="417" y="764"/>
                    <a:pt x="418" y="770"/>
                  </a:cubicBezTo>
                  <a:cubicBezTo>
                    <a:pt x="419" y="774"/>
                    <a:pt x="427" y="776"/>
                    <a:pt x="423" y="784"/>
                  </a:cubicBezTo>
                  <a:cubicBezTo>
                    <a:pt x="432" y="783"/>
                    <a:pt x="435" y="781"/>
                    <a:pt x="442" y="784"/>
                  </a:cubicBezTo>
                  <a:cubicBezTo>
                    <a:pt x="439" y="789"/>
                    <a:pt x="439" y="798"/>
                    <a:pt x="437" y="803"/>
                  </a:cubicBezTo>
                  <a:cubicBezTo>
                    <a:pt x="434" y="801"/>
                    <a:pt x="425" y="806"/>
                    <a:pt x="423" y="803"/>
                  </a:cubicBezTo>
                  <a:cubicBezTo>
                    <a:pt x="423" y="803"/>
                    <a:pt x="423" y="799"/>
                    <a:pt x="423" y="799"/>
                  </a:cubicBezTo>
                  <a:close/>
                  <a:moveTo>
                    <a:pt x="388" y="792"/>
                  </a:moveTo>
                  <a:cubicBezTo>
                    <a:pt x="385" y="790"/>
                    <a:pt x="384" y="785"/>
                    <a:pt x="380" y="784"/>
                  </a:cubicBezTo>
                  <a:cubicBezTo>
                    <a:pt x="378" y="787"/>
                    <a:pt x="378" y="793"/>
                    <a:pt x="372" y="792"/>
                  </a:cubicBezTo>
                  <a:cubicBezTo>
                    <a:pt x="376" y="787"/>
                    <a:pt x="377" y="770"/>
                    <a:pt x="370" y="770"/>
                  </a:cubicBezTo>
                  <a:cubicBezTo>
                    <a:pt x="367" y="773"/>
                    <a:pt x="364" y="777"/>
                    <a:pt x="361" y="781"/>
                  </a:cubicBezTo>
                  <a:cubicBezTo>
                    <a:pt x="356" y="779"/>
                    <a:pt x="356" y="775"/>
                    <a:pt x="359" y="770"/>
                  </a:cubicBezTo>
                  <a:cubicBezTo>
                    <a:pt x="351" y="769"/>
                    <a:pt x="353" y="776"/>
                    <a:pt x="348" y="770"/>
                  </a:cubicBezTo>
                  <a:cubicBezTo>
                    <a:pt x="349" y="765"/>
                    <a:pt x="353" y="764"/>
                    <a:pt x="353" y="759"/>
                  </a:cubicBezTo>
                  <a:cubicBezTo>
                    <a:pt x="357" y="764"/>
                    <a:pt x="359" y="770"/>
                    <a:pt x="359" y="755"/>
                  </a:cubicBezTo>
                  <a:cubicBezTo>
                    <a:pt x="367" y="752"/>
                    <a:pt x="362" y="767"/>
                    <a:pt x="370" y="766"/>
                  </a:cubicBezTo>
                  <a:cubicBezTo>
                    <a:pt x="373" y="765"/>
                    <a:pt x="373" y="755"/>
                    <a:pt x="370" y="755"/>
                  </a:cubicBezTo>
                  <a:cubicBezTo>
                    <a:pt x="373" y="750"/>
                    <a:pt x="373" y="742"/>
                    <a:pt x="372" y="733"/>
                  </a:cubicBezTo>
                  <a:cubicBezTo>
                    <a:pt x="383" y="730"/>
                    <a:pt x="373" y="757"/>
                    <a:pt x="386" y="751"/>
                  </a:cubicBezTo>
                  <a:cubicBezTo>
                    <a:pt x="383" y="755"/>
                    <a:pt x="385" y="765"/>
                    <a:pt x="378" y="762"/>
                  </a:cubicBezTo>
                  <a:cubicBezTo>
                    <a:pt x="384" y="771"/>
                    <a:pt x="380" y="772"/>
                    <a:pt x="383" y="781"/>
                  </a:cubicBezTo>
                  <a:cubicBezTo>
                    <a:pt x="386" y="778"/>
                    <a:pt x="386" y="772"/>
                    <a:pt x="391" y="773"/>
                  </a:cubicBezTo>
                  <a:cubicBezTo>
                    <a:pt x="398" y="782"/>
                    <a:pt x="387" y="780"/>
                    <a:pt x="388" y="792"/>
                  </a:cubicBezTo>
                  <a:close/>
                  <a:moveTo>
                    <a:pt x="345" y="740"/>
                  </a:moveTo>
                  <a:cubicBezTo>
                    <a:pt x="346" y="740"/>
                    <a:pt x="344" y="746"/>
                    <a:pt x="343" y="744"/>
                  </a:cubicBezTo>
                  <a:cubicBezTo>
                    <a:pt x="340" y="739"/>
                    <a:pt x="339" y="743"/>
                    <a:pt x="335" y="740"/>
                  </a:cubicBezTo>
                  <a:cubicBezTo>
                    <a:pt x="334" y="740"/>
                    <a:pt x="335" y="734"/>
                    <a:pt x="335" y="733"/>
                  </a:cubicBezTo>
                  <a:cubicBezTo>
                    <a:pt x="332" y="727"/>
                    <a:pt x="326" y="732"/>
                    <a:pt x="321" y="733"/>
                  </a:cubicBezTo>
                  <a:cubicBezTo>
                    <a:pt x="321" y="723"/>
                    <a:pt x="316" y="721"/>
                    <a:pt x="321" y="714"/>
                  </a:cubicBezTo>
                  <a:cubicBezTo>
                    <a:pt x="325" y="713"/>
                    <a:pt x="322" y="723"/>
                    <a:pt x="324" y="725"/>
                  </a:cubicBezTo>
                  <a:cubicBezTo>
                    <a:pt x="327" y="729"/>
                    <a:pt x="331" y="718"/>
                    <a:pt x="335" y="721"/>
                  </a:cubicBezTo>
                  <a:cubicBezTo>
                    <a:pt x="335" y="725"/>
                    <a:pt x="335" y="729"/>
                    <a:pt x="335" y="733"/>
                  </a:cubicBezTo>
                  <a:cubicBezTo>
                    <a:pt x="341" y="731"/>
                    <a:pt x="345" y="727"/>
                    <a:pt x="353" y="729"/>
                  </a:cubicBezTo>
                  <a:cubicBezTo>
                    <a:pt x="353" y="725"/>
                    <a:pt x="348" y="726"/>
                    <a:pt x="345" y="725"/>
                  </a:cubicBezTo>
                  <a:cubicBezTo>
                    <a:pt x="349" y="720"/>
                    <a:pt x="356" y="720"/>
                    <a:pt x="356" y="710"/>
                  </a:cubicBezTo>
                  <a:cubicBezTo>
                    <a:pt x="360" y="711"/>
                    <a:pt x="357" y="721"/>
                    <a:pt x="361" y="721"/>
                  </a:cubicBezTo>
                  <a:cubicBezTo>
                    <a:pt x="356" y="729"/>
                    <a:pt x="357" y="723"/>
                    <a:pt x="359" y="736"/>
                  </a:cubicBezTo>
                  <a:cubicBezTo>
                    <a:pt x="359" y="741"/>
                    <a:pt x="358" y="746"/>
                    <a:pt x="359" y="751"/>
                  </a:cubicBezTo>
                  <a:cubicBezTo>
                    <a:pt x="356" y="751"/>
                    <a:pt x="354" y="752"/>
                    <a:pt x="353" y="755"/>
                  </a:cubicBezTo>
                  <a:cubicBezTo>
                    <a:pt x="346" y="754"/>
                    <a:pt x="357" y="748"/>
                    <a:pt x="353" y="740"/>
                  </a:cubicBezTo>
                  <a:cubicBezTo>
                    <a:pt x="358" y="727"/>
                    <a:pt x="336" y="740"/>
                    <a:pt x="345" y="740"/>
                  </a:cubicBezTo>
                  <a:close/>
                  <a:moveTo>
                    <a:pt x="332" y="747"/>
                  </a:moveTo>
                  <a:cubicBezTo>
                    <a:pt x="337" y="748"/>
                    <a:pt x="345" y="744"/>
                    <a:pt x="343" y="755"/>
                  </a:cubicBezTo>
                  <a:cubicBezTo>
                    <a:pt x="340" y="755"/>
                    <a:pt x="340" y="753"/>
                    <a:pt x="340" y="751"/>
                  </a:cubicBezTo>
                  <a:cubicBezTo>
                    <a:pt x="337" y="751"/>
                    <a:pt x="338" y="756"/>
                    <a:pt x="337" y="759"/>
                  </a:cubicBezTo>
                  <a:cubicBezTo>
                    <a:pt x="335" y="758"/>
                    <a:pt x="335" y="755"/>
                    <a:pt x="332" y="755"/>
                  </a:cubicBezTo>
                  <a:cubicBezTo>
                    <a:pt x="332" y="752"/>
                    <a:pt x="332" y="750"/>
                    <a:pt x="332" y="747"/>
                  </a:cubicBezTo>
                  <a:close/>
                  <a:moveTo>
                    <a:pt x="326" y="744"/>
                  </a:moveTo>
                  <a:cubicBezTo>
                    <a:pt x="326" y="741"/>
                    <a:pt x="326" y="739"/>
                    <a:pt x="326" y="736"/>
                  </a:cubicBezTo>
                  <a:cubicBezTo>
                    <a:pt x="328" y="736"/>
                    <a:pt x="330" y="736"/>
                    <a:pt x="332" y="736"/>
                  </a:cubicBezTo>
                  <a:cubicBezTo>
                    <a:pt x="332" y="739"/>
                    <a:pt x="332" y="741"/>
                    <a:pt x="332" y="744"/>
                  </a:cubicBezTo>
                  <a:cubicBezTo>
                    <a:pt x="330" y="744"/>
                    <a:pt x="328" y="744"/>
                    <a:pt x="326" y="744"/>
                  </a:cubicBezTo>
                  <a:close/>
                  <a:moveTo>
                    <a:pt x="297" y="607"/>
                  </a:moveTo>
                  <a:cubicBezTo>
                    <a:pt x="296" y="598"/>
                    <a:pt x="309" y="609"/>
                    <a:pt x="305" y="596"/>
                  </a:cubicBezTo>
                  <a:cubicBezTo>
                    <a:pt x="309" y="598"/>
                    <a:pt x="312" y="601"/>
                    <a:pt x="316" y="603"/>
                  </a:cubicBezTo>
                  <a:cubicBezTo>
                    <a:pt x="317" y="607"/>
                    <a:pt x="311" y="605"/>
                    <a:pt x="310" y="607"/>
                  </a:cubicBezTo>
                  <a:cubicBezTo>
                    <a:pt x="310" y="609"/>
                    <a:pt x="314" y="613"/>
                    <a:pt x="313" y="618"/>
                  </a:cubicBezTo>
                  <a:cubicBezTo>
                    <a:pt x="313" y="619"/>
                    <a:pt x="310" y="618"/>
                    <a:pt x="310" y="622"/>
                  </a:cubicBezTo>
                  <a:cubicBezTo>
                    <a:pt x="310" y="635"/>
                    <a:pt x="315" y="658"/>
                    <a:pt x="302" y="655"/>
                  </a:cubicBezTo>
                  <a:cubicBezTo>
                    <a:pt x="303" y="651"/>
                    <a:pt x="308" y="652"/>
                    <a:pt x="308" y="648"/>
                  </a:cubicBezTo>
                  <a:cubicBezTo>
                    <a:pt x="306" y="644"/>
                    <a:pt x="301" y="644"/>
                    <a:pt x="302" y="636"/>
                  </a:cubicBezTo>
                  <a:cubicBezTo>
                    <a:pt x="302" y="635"/>
                    <a:pt x="305" y="631"/>
                    <a:pt x="305" y="633"/>
                  </a:cubicBezTo>
                  <a:cubicBezTo>
                    <a:pt x="305" y="625"/>
                    <a:pt x="296" y="624"/>
                    <a:pt x="300" y="614"/>
                  </a:cubicBezTo>
                  <a:cubicBezTo>
                    <a:pt x="302" y="617"/>
                    <a:pt x="304" y="621"/>
                    <a:pt x="305" y="625"/>
                  </a:cubicBezTo>
                  <a:cubicBezTo>
                    <a:pt x="313" y="619"/>
                    <a:pt x="305" y="604"/>
                    <a:pt x="297" y="607"/>
                  </a:cubicBezTo>
                  <a:close/>
                  <a:moveTo>
                    <a:pt x="289" y="562"/>
                  </a:moveTo>
                  <a:cubicBezTo>
                    <a:pt x="284" y="562"/>
                    <a:pt x="283" y="567"/>
                    <a:pt x="278" y="566"/>
                  </a:cubicBezTo>
                  <a:cubicBezTo>
                    <a:pt x="276" y="558"/>
                    <a:pt x="286" y="554"/>
                    <a:pt x="275" y="555"/>
                  </a:cubicBezTo>
                  <a:cubicBezTo>
                    <a:pt x="279" y="541"/>
                    <a:pt x="293" y="558"/>
                    <a:pt x="286" y="537"/>
                  </a:cubicBezTo>
                  <a:cubicBezTo>
                    <a:pt x="281" y="542"/>
                    <a:pt x="280" y="540"/>
                    <a:pt x="281" y="529"/>
                  </a:cubicBezTo>
                  <a:cubicBezTo>
                    <a:pt x="276" y="529"/>
                    <a:pt x="272" y="529"/>
                    <a:pt x="267" y="529"/>
                  </a:cubicBezTo>
                  <a:cubicBezTo>
                    <a:pt x="268" y="518"/>
                    <a:pt x="277" y="524"/>
                    <a:pt x="281" y="529"/>
                  </a:cubicBezTo>
                  <a:cubicBezTo>
                    <a:pt x="287" y="528"/>
                    <a:pt x="291" y="523"/>
                    <a:pt x="300" y="525"/>
                  </a:cubicBezTo>
                  <a:cubicBezTo>
                    <a:pt x="300" y="531"/>
                    <a:pt x="284" y="531"/>
                    <a:pt x="297" y="533"/>
                  </a:cubicBezTo>
                  <a:cubicBezTo>
                    <a:pt x="291" y="548"/>
                    <a:pt x="294" y="552"/>
                    <a:pt x="292" y="570"/>
                  </a:cubicBezTo>
                  <a:cubicBezTo>
                    <a:pt x="296" y="571"/>
                    <a:pt x="297" y="567"/>
                    <a:pt x="297" y="562"/>
                  </a:cubicBezTo>
                  <a:cubicBezTo>
                    <a:pt x="300" y="562"/>
                    <a:pt x="302" y="563"/>
                    <a:pt x="302" y="566"/>
                  </a:cubicBezTo>
                  <a:cubicBezTo>
                    <a:pt x="308" y="565"/>
                    <a:pt x="303" y="550"/>
                    <a:pt x="308" y="548"/>
                  </a:cubicBezTo>
                  <a:cubicBezTo>
                    <a:pt x="313" y="548"/>
                    <a:pt x="308" y="559"/>
                    <a:pt x="310" y="562"/>
                  </a:cubicBezTo>
                  <a:cubicBezTo>
                    <a:pt x="311" y="565"/>
                    <a:pt x="313" y="560"/>
                    <a:pt x="313" y="559"/>
                  </a:cubicBezTo>
                  <a:cubicBezTo>
                    <a:pt x="313" y="558"/>
                    <a:pt x="318" y="560"/>
                    <a:pt x="316" y="562"/>
                  </a:cubicBezTo>
                  <a:cubicBezTo>
                    <a:pt x="311" y="567"/>
                    <a:pt x="319" y="566"/>
                    <a:pt x="313" y="585"/>
                  </a:cubicBezTo>
                  <a:cubicBezTo>
                    <a:pt x="316" y="582"/>
                    <a:pt x="316" y="576"/>
                    <a:pt x="321" y="577"/>
                  </a:cubicBezTo>
                  <a:cubicBezTo>
                    <a:pt x="321" y="583"/>
                    <a:pt x="321" y="590"/>
                    <a:pt x="321" y="596"/>
                  </a:cubicBezTo>
                  <a:cubicBezTo>
                    <a:pt x="318" y="596"/>
                    <a:pt x="319" y="591"/>
                    <a:pt x="318" y="588"/>
                  </a:cubicBezTo>
                  <a:cubicBezTo>
                    <a:pt x="315" y="588"/>
                    <a:pt x="314" y="589"/>
                    <a:pt x="313" y="592"/>
                  </a:cubicBezTo>
                  <a:cubicBezTo>
                    <a:pt x="311" y="588"/>
                    <a:pt x="301" y="577"/>
                    <a:pt x="300" y="585"/>
                  </a:cubicBezTo>
                  <a:cubicBezTo>
                    <a:pt x="291" y="581"/>
                    <a:pt x="303" y="577"/>
                    <a:pt x="302" y="574"/>
                  </a:cubicBezTo>
                  <a:cubicBezTo>
                    <a:pt x="300" y="568"/>
                    <a:pt x="281" y="577"/>
                    <a:pt x="289" y="562"/>
                  </a:cubicBezTo>
                  <a:close/>
                  <a:moveTo>
                    <a:pt x="292" y="625"/>
                  </a:moveTo>
                  <a:cubicBezTo>
                    <a:pt x="284" y="626"/>
                    <a:pt x="285" y="615"/>
                    <a:pt x="281" y="611"/>
                  </a:cubicBezTo>
                  <a:cubicBezTo>
                    <a:pt x="277" y="615"/>
                    <a:pt x="274" y="615"/>
                    <a:pt x="270" y="611"/>
                  </a:cubicBezTo>
                  <a:cubicBezTo>
                    <a:pt x="270" y="606"/>
                    <a:pt x="270" y="601"/>
                    <a:pt x="270" y="596"/>
                  </a:cubicBezTo>
                  <a:cubicBezTo>
                    <a:pt x="270" y="591"/>
                    <a:pt x="273" y="588"/>
                    <a:pt x="273" y="585"/>
                  </a:cubicBezTo>
                  <a:cubicBezTo>
                    <a:pt x="272" y="579"/>
                    <a:pt x="268" y="575"/>
                    <a:pt x="267" y="570"/>
                  </a:cubicBezTo>
                  <a:cubicBezTo>
                    <a:pt x="267" y="560"/>
                    <a:pt x="271" y="550"/>
                    <a:pt x="267" y="537"/>
                  </a:cubicBezTo>
                  <a:cubicBezTo>
                    <a:pt x="270" y="538"/>
                    <a:pt x="272" y="540"/>
                    <a:pt x="273" y="544"/>
                  </a:cubicBezTo>
                  <a:cubicBezTo>
                    <a:pt x="272" y="543"/>
                    <a:pt x="269" y="546"/>
                    <a:pt x="270" y="548"/>
                  </a:cubicBezTo>
                  <a:cubicBezTo>
                    <a:pt x="272" y="550"/>
                    <a:pt x="274" y="557"/>
                    <a:pt x="273" y="574"/>
                  </a:cubicBezTo>
                  <a:cubicBezTo>
                    <a:pt x="273" y="578"/>
                    <a:pt x="275" y="576"/>
                    <a:pt x="275" y="574"/>
                  </a:cubicBezTo>
                  <a:cubicBezTo>
                    <a:pt x="283" y="571"/>
                    <a:pt x="273" y="591"/>
                    <a:pt x="281" y="588"/>
                  </a:cubicBezTo>
                  <a:cubicBezTo>
                    <a:pt x="280" y="597"/>
                    <a:pt x="280" y="606"/>
                    <a:pt x="283" y="611"/>
                  </a:cubicBezTo>
                  <a:cubicBezTo>
                    <a:pt x="287" y="609"/>
                    <a:pt x="286" y="601"/>
                    <a:pt x="286" y="596"/>
                  </a:cubicBezTo>
                  <a:cubicBezTo>
                    <a:pt x="289" y="598"/>
                    <a:pt x="289" y="604"/>
                    <a:pt x="294" y="603"/>
                  </a:cubicBezTo>
                  <a:cubicBezTo>
                    <a:pt x="294" y="612"/>
                    <a:pt x="290" y="614"/>
                    <a:pt x="292" y="625"/>
                  </a:cubicBezTo>
                  <a:close/>
                  <a:moveTo>
                    <a:pt x="283" y="644"/>
                  </a:moveTo>
                  <a:cubicBezTo>
                    <a:pt x="283" y="648"/>
                    <a:pt x="278" y="646"/>
                    <a:pt x="278" y="651"/>
                  </a:cubicBezTo>
                  <a:cubicBezTo>
                    <a:pt x="275" y="651"/>
                    <a:pt x="277" y="648"/>
                    <a:pt x="278" y="648"/>
                  </a:cubicBezTo>
                  <a:cubicBezTo>
                    <a:pt x="274" y="637"/>
                    <a:pt x="276" y="643"/>
                    <a:pt x="283" y="644"/>
                  </a:cubicBezTo>
                  <a:close/>
                  <a:moveTo>
                    <a:pt x="270" y="618"/>
                  </a:moveTo>
                  <a:cubicBezTo>
                    <a:pt x="274" y="617"/>
                    <a:pt x="275" y="621"/>
                    <a:pt x="278" y="622"/>
                  </a:cubicBezTo>
                  <a:cubicBezTo>
                    <a:pt x="279" y="629"/>
                    <a:pt x="266" y="627"/>
                    <a:pt x="270" y="618"/>
                  </a:cubicBezTo>
                  <a:close/>
                  <a:moveTo>
                    <a:pt x="273" y="636"/>
                  </a:moveTo>
                  <a:cubicBezTo>
                    <a:pt x="273" y="635"/>
                    <a:pt x="270" y="648"/>
                    <a:pt x="270" y="648"/>
                  </a:cubicBezTo>
                  <a:cubicBezTo>
                    <a:pt x="268" y="650"/>
                    <a:pt x="269" y="635"/>
                    <a:pt x="267" y="629"/>
                  </a:cubicBezTo>
                  <a:cubicBezTo>
                    <a:pt x="272" y="628"/>
                    <a:pt x="273" y="632"/>
                    <a:pt x="273" y="636"/>
                  </a:cubicBezTo>
                  <a:close/>
                  <a:moveTo>
                    <a:pt x="232" y="470"/>
                  </a:moveTo>
                  <a:cubicBezTo>
                    <a:pt x="227" y="469"/>
                    <a:pt x="230" y="456"/>
                    <a:pt x="224" y="455"/>
                  </a:cubicBezTo>
                  <a:cubicBezTo>
                    <a:pt x="216" y="446"/>
                    <a:pt x="232" y="459"/>
                    <a:pt x="230" y="452"/>
                  </a:cubicBezTo>
                  <a:cubicBezTo>
                    <a:pt x="235" y="451"/>
                    <a:pt x="231" y="465"/>
                    <a:pt x="232" y="470"/>
                  </a:cubicBezTo>
                  <a:close/>
                  <a:moveTo>
                    <a:pt x="232" y="581"/>
                  </a:moveTo>
                  <a:cubicBezTo>
                    <a:pt x="228" y="578"/>
                    <a:pt x="229" y="569"/>
                    <a:pt x="227" y="562"/>
                  </a:cubicBezTo>
                  <a:cubicBezTo>
                    <a:pt x="233" y="563"/>
                    <a:pt x="233" y="572"/>
                    <a:pt x="232" y="581"/>
                  </a:cubicBezTo>
                  <a:close/>
                  <a:moveTo>
                    <a:pt x="214" y="751"/>
                  </a:moveTo>
                  <a:cubicBezTo>
                    <a:pt x="213" y="741"/>
                    <a:pt x="215" y="735"/>
                    <a:pt x="222" y="736"/>
                  </a:cubicBezTo>
                  <a:cubicBezTo>
                    <a:pt x="222" y="746"/>
                    <a:pt x="221" y="752"/>
                    <a:pt x="214" y="751"/>
                  </a:cubicBezTo>
                  <a:close/>
                  <a:moveTo>
                    <a:pt x="219" y="766"/>
                  </a:moveTo>
                  <a:cubicBezTo>
                    <a:pt x="218" y="767"/>
                    <a:pt x="216" y="757"/>
                    <a:pt x="214" y="759"/>
                  </a:cubicBezTo>
                  <a:cubicBezTo>
                    <a:pt x="218" y="746"/>
                    <a:pt x="221" y="763"/>
                    <a:pt x="219" y="766"/>
                  </a:cubicBezTo>
                  <a:close/>
                  <a:moveTo>
                    <a:pt x="224" y="537"/>
                  </a:moveTo>
                  <a:cubicBezTo>
                    <a:pt x="223" y="538"/>
                    <a:pt x="221" y="527"/>
                    <a:pt x="219" y="529"/>
                  </a:cubicBezTo>
                  <a:cubicBezTo>
                    <a:pt x="224" y="517"/>
                    <a:pt x="226" y="534"/>
                    <a:pt x="224" y="537"/>
                  </a:cubicBezTo>
                  <a:close/>
                  <a:moveTo>
                    <a:pt x="224" y="381"/>
                  </a:moveTo>
                  <a:cubicBezTo>
                    <a:pt x="224" y="378"/>
                    <a:pt x="224" y="374"/>
                    <a:pt x="224" y="370"/>
                  </a:cubicBezTo>
                  <a:cubicBezTo>
                    <a:pt x="232" y="365"/>
                    <a:pt x="232" y="387"/>
                    <a:pt x="224" y="381"/>
                  </a:cubicBezTo>
                  <a:close/>
                  <a:moveTo>
                    <a:pt x="230" y="392"/>
                  </a:moveTo>
                  <a:cubicBezTo>
                    <a:pt x="220" y="384"/>
                    <a:pt x="242" y="388"/>
                    <a:pt x="235" y="370"/>
                  </a:cubicBezTo>
                  <a:cubicBezTo>
                    <a:pt x="237" y="372"/>
                    <a:pt x="239" y="374"/>
                    <a:pt x="243" y="374"/>
                  </a:cubicBezTo>
                  <a:cubicBezTo>
                    <a:pt x="240" y="378"/>
                    <a:pt x="235" y="381"/>
                    <a:pt x="238" y="392"/>
                  </a:cubicBezTo>
                  <a:cubicBezTo>
                    <a:pt x="233" y="393"/>
                    <a:pt x="231" y="386"/>
                    <a:pt x="230" y="392"/>
                  </a:cubicBezTo>
                  <a:close/>
                  <a:moveTo>
                    <a:pt x="249" y="433"/>
                  </a:moveTo>
                  <a:cubicBezTo>
                    <a:pt x="248" y="437"/>
                    <a:pt x="245" y="436"/>
                    <a:pt x="243" y="437"/>
                  </a:cubicBezTo>
                  <a:cubicBezTo>
                    <a:pt x="240" y="432"/>
                    <a:pt x="242" y="431"/>
                    <a:pt x="243" y="426"/>
                  </a:cubicBezTo>
                  <a:cubicBezTo>
                    <a:pt x="246" y="427"/>
                    <a:pt x="245" y="433"/>
                    <a:pt x="249" y="433"/>
                  </a:cubicBezTo>
                  <a:close/>
                  <a:moveTo>
                    <a:pt x="235" y="477"/>
                  </a:moveTo>
                  <a:cubicBezTo>
                    <a:pt x="239" y="478"/>
                    <a:pt x="236" y="488"/>
                    <a:pt x="240" y="489"/>
                  </a:cubicBezTo>
                  <a:cubicBezTo>
                    <a:pt x="237" y="500"/>
                    <a:pt x="233" y="485"/>
                    <a:pt x="235" y="477"/>
                  </a:cubicBezTo>
                  <a:close/>
                  <a:moveTo>
                    <a:pt x="238" y="466"/>
                  </a:moveTo>
                  <a:cubicBezTo>
                    <a:pt x="238" y="456"/>
                    <a:pt x="252" y="459"/>
                    <a:pt x="251" y="470"/>
                  </a:cubicBezTo>
                  <a:cubicBezTo>
                    <a:pt x="246" y="462"/>
                    <a:pt x="243" y="473"/>
                    <a:pt x="238" y="466"/>
                  </a:cubicBezTo>
                  <a:close/>
                  <a:moveTo>
                    <a:pt x="254" y="533"/>
                  </a:moveTo>
                  <a:cubicBezTo>
                    <a:pt x="248" y="545"/>
                    <a:pt x="243" y="520"/>
                    <a:pt x="254" y="533"/>
                  </a:cubicBezTo>
                  <a:close/>
                  <a:moveTo>
                    <a:pt x="246" y="448"/>
                  </a:moveTo>
                  <a:cubicBezTo>
                    <a:pt x="246" y="444"/>
                    <a:pt x="251" y="445"/>
                    <a:pt x="254" y="444"/>
                  </a:cubicBezTo>
                  <a:cubicBezTo>
                    <a:pt x="256" y="448"/>
                    <a:pt x="257" y="454"/>
                    <a:pt x="257" y="463"/>
                  </a:cubicBezTo>
                  <a:cubicBezTo>
                    <a:pt x="252" y="459"/>
                    <a:pt x="252" y="449"/>
                    <a:pt x="246" y="448"/>
                  </a:cubicBezTo>
                  <a:close/>
                  <a:moveTo>
                    <a:pt x="254" y="437"/>
                  </a:moveTo>
                  <a:cubicBezTo>
                    <a:pt x="254" y="434"/>
                    <a:pt x="253" y="433"/>
                    <a:pt x="251" y="433"/>
                  </a:cubicBezTo>
                  <a:cubicBezTo>
                    <a:pt x="251" y="429"/>
                    <a:pt x="254" y="430"/>
                    <a:pt x="257" y="429"/>
                  </a:cubicBezTo>
                  <a:cubicBezTo>
                    <a:pt x="255" y="426"/>
                    <a:pt x="254" y="423"/>
                    <a:pt x="251" y="422"/>
                  </a:cubicBezTo>
                  <a:cubicBezTo>
                    <a:pt x="252" y="418"/>
                    <a:pt x="256" y="419"/>
                    <a:pt x="259" y="418"/>
                  </a:cubicBezTo>
                  <a:cubicBezTo>
                    <a:pt x="259" y="424"/>
                    <a:pt x="259" y="431"/>
                    <a:pt x="259" y="437"/>
                  </a:cubicBezTo>
                  <a:cubicBezTo>
                    <a:pt x="257" y="437"/>
                    <a:pt x="256" y="437"/>
                    <a:pt x="254" y="437"/>
                  </a:cubicBezTo>
                  <a:close/>
                  <a:moveTo>
                    <a:pt x="259" y="359"/>
                  </a:moveTo>
                  <a:cubicBezTo>
                    <a:pt x="251" y="360"/>
                    <a:pt x="254" y="347"/>
                    <a:pt x="251" y="341"/>
                  </a:cubicBezTo>
                  <a:cubicBezTo>
                    <a:pt x="254" y="346"/>
                    <a:pt x="259" y="350"/>
                    <a:pt x="259" y="359"/>
                  </a:cubicBezTo>
                  <a:close/>
                  <a:moveTo>
                    <a:pt x="254" y="329"/>
                  </a:moveTo>
                  <a:cubicBezTo>
                    <a:pt x="253" y="320"/>
                    <a:pt x="258" y="318"/>
                    <a:pt x="259" y="311"/>
                  </a:cubicBezTo>
                  <a:cubicBezTo>
                    <a:pt x="264" y="312"/>
                    <a:pt x="260" y="332"/>
                    <a:pt x="254" y="329"/>
                  </a:cubicBezTo>
                  <a:close/>
                  <a:moveTo>
                    <a:pt x="259" y="448"/>
                  </a:moveTo>
                  <a:cubicBezTo>
                    <a:pt x="267" y="434"/>
                    <a:pt x="268" y="459"/>
                    <a:pt x="259" y="448"/>
                  </a:cubicBezTo>
                  <a:close/>
                  <a:moveTo>
                    <a:pt x="265" y="437"/>
                  </a:moveTo>
                  <a:cubicBezTo>
                    <a:pt x="264" y="432"/>
                    <a:pt x="265" y="430"/>
                    <a:pt x="267" y="429"/>
                  </a:cubicBezTo>
                  <a:cubicBezTo>
                    <a:pt x="259" y="417"/>
                    <a:pt x="276" y="429"/>
                    <a:pt x="267" y="418"/>
                  </a:cubicBezTo>
                  <a:cubicBezTo>
                    <a:pt x="270" y="407"/>
                    <a:pt x="275" y="422"/>
                    <a:pt x="278" y="422"/>
                  </a:cubicBezTo>
                  <a:cubicBezTo>
                    <a:pt x="279" y="429"/>
                    <a:pt x="263" y="430"/>
                    <a:pt x="273" y="437"/>
                  </a:cubicBezTo>
                  <a:cubicBezTo>
                    <a:pt x="272" y="442"/>
                    <a:pt x="269" y="435"/>
                    <a:pt x="265" y="437"/>
                  </a:cubicBezTo>
                  <a:close/>
                  <a:moveTo>
                    <a:pt x="294" y="270"/>
                  </a:moveTo>
                  <a:cubicBezTo>
                    <a:pt x="289" y="267"/>
                    <a:pt x="293" y="246"/>
                    <a:pt x="300" y="248"/>
                  </a:cubicBezTo>
                  <a:cubicBezTo>
                    <a:pt x="298" y="256"/>
                    <a:pt x="293" y="259"/>
                    <a:pt x="294" y="270"/>
                  </a:cubicBezTo>
                  <a:close/>
                  <a:moveTo>
                    <a:pt x="294" y="296"/>
                  </a:moveTo>
                  <a:cubicBezTo>
                    <a:pt x="292" y="296"/>
                    <a:pt x="289" y="296"/>
                    <a:pt x="286" y="296"/>
                  </a:cubicBezTo>
                  <a:cubicBezTo>
                    <a:pt x="286" y="294"/>
                    <a:pt x="286" y="291"/>
                    <a:pt x="286" y="289"/>
                  </a:cubicBezTo>
                  <a:cubicBezTo>
                    <a:pt x="292" y="288"/>
                    <a:pt x="295" y="290"/>
                    <a:pt x="294" y="296"/>
                  </a:cubicBezTo>
                  <a:close/>
                  <a:moveTo>
                    <a:pt x="294" y="333"/>
                  </a:moveTo>
                  <a:cubicBezTo>
                    <a:pt x="291" y="332"/>
                    <a:pt x="292" y="324"/>
                    <a:pt x="292" y="318"/>
                  </a:cubicBezTo>
                  <a:cubicBezTo>
                    <a:pt x="302" y="317"/>
                    <a:pt x="293" y="326"/>
                    <a:pt x="294" y="333"/>
                  </a:cubicBezTo>
                  <a:close/>
                  <a:moveTo>
                    <a:pt x="294" y="389"/>
                  </a:moveTo>
                  <a:cubicBezTo>
                    <a:pt x="297" y="390"/>
                    <a:pt x="296" y="396"/>
                    <a:pt x="300" y="396"/>
                  </a:cubicBezTo>
                  <a:cubicBezTo>
                    <a:pt x="297" y="401"/>
                    <a:pt x="292" y="403"/>
                    <a:pt x="292" y="411"/>
                  </a:cubicBezTo>
                  <a:cubicBezTo>
                    <a:pt x="284" y="406"/>
                    <a:pt x="296" y="398"/>
                    <a:pt x="294" y="389"/>
                  </a:cubicBezTo>
                  <a:close/>
                  <a:moveTo>
                    <a:pt x="343" y="248"/>
                  </a:moveTo>
                  <a:cubicBezTo>
                    <a:pt x="347" y="242"/>
                    <a:pt x="351" y="250"/>
                    <a:pt x="361" y="244"/>
                  </a:cubicBezTo>
                  <a:cubicBezTo>
                    <a:pt x="365" y="249"/>
                    <a:pt x="364" y="257"/>
                    <a:pt x="364" y="267"/>
                  </a:cubicBezTo>
                  <a:cubicBezTo>
                    <a:pt x="355" y="262"/>
                    <a:pt x="362" y="279"/>
                    <a:pt x="353" y="274"/>
                  </a:cubicBezTo>
                  <a:cubicBezTo>
                    <a:pt x="351" y="261"/>
                    <a:pt x="356" y="258"/>
                    <a:pt x="361" y="255"/>
                  </a:cubicBezTo>
                  <a:cubicBezTo>
                    <a:pt x="359" y="240"/>
                    <a:pt x="348" y="259"/>
                    <a:pt x="343" y="248"/>
                  </a:cubicBezTo>
                  <a:close/>
                  <a:moveTo>
                    <a:pt x="348" y="300"/>
                  </a:moveTo>
                  <a:cubicBezTo>
                    <a:pt x="344" y="297"/>
                    <a:pt x="338" y="297"/>
                    <a:pt x="340" y="285"/>
                  </a:cubicBezTo>
                  <a:cubicBezTo>
                    <a:pt x="342" y="284"/>
                    <a:pt x="342" y="286"/>
                    <a:pt x="343" y="289"/>
                  </a:cubicBezTo>
                  <a:cubicBezTo>
                    <a:pt x="344" y="293"/>
                    <a:pt x="349" y="293"/>
                    <a:pt x="348" y="300"/>
                  </a:cubicBezTo>
                  <a:close/>
                  <a:moveTo>
                    <a:pt x="383" y="263"/>
                  </a:moveTo>
                  <a:cubicBezTo>
                    <a:pt x="388" y="264"/>
                    <a:pt x="388" y="273"/>
                    <a:pt x="394" y="274"/>
                  </a:cubicBezTo>
                  <a:cubicBezTo>
                    <a:pt x="393" y="279"/>
                    <a:pt x="388" y="278"/>
                    <a:pt x="388" y="274"/>
                  </a:cubicBezTo>
                  <a:cubicBezTo>
                    <a:pt x="386" y="274"/>
                    <a:pt x="386" y="279"/>
                    <a:pt x="386" y="281"/>
                  </a:cubicBezTo>
                  <a:cubicBezTo>
                    <a:pt x="377" y="278"/>
                    <a:pt x="384" y="274"/>
                    <a:pt x="383" y="263"/>
                  </a:cubicBezTo>
                  <a:close/>
                  <a:moveTo>
                    <a:pt x="386" y="333"/>
                  </a:moveTo>
                  <a:cubicBezTo>
                    <a:pt x="381" y="330"/>
                    <a:pt x="379" y="320"/>
                    <a:pt x="383" y="315"/>
                  </a:cubicBezTo>
                  <a:cubicBezTo>
                    <a:pt x="389" y="314"/>
                    <a:pt x="384" y="328"/>
                    <a:pt x="386" y="333"/>
                  </a:cubicBezTo>
                  <a:close/>
                  <a:moveTo>
                    <a:pt x="386" y="307"/>
                  </a:moveTo>
                  <a:cubicBezTo>
                    <a:pt x="378" y="299"/>
                    <a:pt x="384" y="297"/>
                    <a:pt x="380" y="285"/>
                  </a:cubicBezTo>
                  <a:cubicBezTo>
                    <a:pt x="387" y="285"/>
                    <a:pt x="386" y="297"/>
                    <a:pt x="386" y="307"/>
                  </a:cubicBezTo>
                  <a:close/>
                  <a:moveTo>
                    <a:pt x="388" y="489"/>
                  </a:moveTo>
                  <a:cubicBezTo>
                    <a:pt x="389" y="489"/>
                    <a:pt x="388" y="496"/>
                    <a:pt x="388" y="496"/>
                  </a:cubicBezTo>
                  <a:cubicBezTo>
                    <a:pt x="390" y="496"/>
                    <a:pt x="393" y="491"/>
                    <a:pt x="394" y="489"/>
                  </a:cubicBezTo>
                  <a:cubicBezTo>
                    <a:pt x="395" y="487"/>
                    <a:pt x="397" y="495"/>
                    <a:pt x="396" y="496"/>
                  </a:cubicBezTo>
                  <a:cubicBezTo>
                    <a:pt x="396" y="497"/>
                    <a:pt x="391" y="495"/>
                    <a:pt x="391" y="496"/>
                  </a:cubicBezTo>
                  <a:cubicBezTo>
                    <a:pt x="389" y="502"/>
                    <a:pt x="392" y="510"/>
                    <a:pt x="383" y="511"/>
                  </a:cubicBezTo>
                  <a:cubicBezTo>
                    <a:pt x="379" y="520"/>
                    <a:pt x="389" y="519"/>
                    <a:pt x="391" y="522"/>
                  </a:cubicBezTo>
                  <a:cubicBezTo>
                    <a:pt x="393" y="526"/>
                    <a:pt x="389" y="536"/>
                    <a:pt x="396" y="533"/>
                  </a:cubicBezTo>
                  <a:cubicBezTo>
                    <a:pt x="398" y="544"/>
                    <a:pt x="391" y="545"/>
                    <a:pt x="383" y="544"/>
                  </a:cubicBezTo>
                  <a:cubicBezTo>
                    <a:pt x="381" y="537"/>
                    <a:pt x="386" y="534"/>
                    <a:pt x="386" y="529"/>
                  </a:cubicBezTo>
                  <a:cubicBezTo>
                    <a:pt x="384" y="522"/>
                    <a:pt x="380" y="526"/>
                    <a:pt x="378" y="522"/>
                  </a:cubicBezTo>
                  <a:cubicBezTo>
                    <a:pt x="376" y="519"/>
                    <a:pt x="380" y="513"/>
                    <a:pt x="380" y="514"/>
                  </a:cubicBezTo>
                  <a:cubicBezTo>
                    <a:pt x="375" y="506"/>
                    <a:pt x="375" y="505"/>
                    <a:pt x="367" y="507"/>
                  </a:cubicBezTo>
                  <a:cubicBezTo>
                    <a:pt x="366" y="499"/>
                    <a:pt x="369" y="497"/>
                    <a:pt x="370" y="492"/>
                  </a:cubicBezTo>
                  <a:cubicBezTo>
                    <a:pt x="375" y="493"/>
                    <a:pt x="371" y="504"/>
                    <a:pt x="378" y="503"/>
                  </a:cubicBezTo>
                  <a:cubicBezTo>
                    <a:pt x="380" y="504"/>
                    <a:pt x="380" y="502"/>
                    <a:pt x="380" y="500"/>
                  </a:cubicBezTo>
                  <a:cubicBezTo>
                    <a:pt x="380" y="496"/>
                    <a:pt x="377" y="497"/>
                    <a:pt x="375" y="496"/>
                  </a:cubicBezTo>
                  <a:cubicBezTo>
                    <a:pt x="374" y="492"/>
                    <a:pt x="376" y="488"/>
                    <a:pt x="378" y="489"/>
                  </a:cubicBezTo>
                  <a:cubicBezTo>
                    <a:pt x="378" y="489"/>
                    <a:pt x="380" y="496"/>
                    <a:pt x="380" y="496"/>
                  </a:cubicBezTo>
                  <a:cubicBezTo>
                    <a:pt x="381" y="496"/>
                    <a:pt x="385" y="484"/>
                    <a:pt x="388" y="489"/>
                  </a:cubicBezTo>
                  <a:close/>
                  <a:moveTo>
                    <a:pt x="404" y="296"/>
                  </a:moveTo>
                  <a:cubicBezTo>
                    <a:pt x="406" y="299"/>
                    <a:pt x="394" y="307"/>
                    <a:pt x="396" y="300"/>
                  </a:cubicBezTo>
                  <a:cubicBezTo>
                    <a:pt x="397" y="299"/>
                    <a:pt x="402" y="293"/>
                    <a:pt x="404" y="296"/>
                  </a:cubicBezTo>
                  <a:close/>
                  <a:moveTo>
                    <a:pt x="396" y="278"/>
                  </a:moveTo>
                  <a:cubicBezTo>
                    <a:pt x="397" y="275"/>
                    <a:pt x="399" y="274"/>
                    <a:pt x="399" y="270"/>
                  </a:cubicBezTo>
                  <a:cubicBezTo>
                    <a:pt x="401" y="271"/>
                    <a:pt x="402" y="274"/>
                    <a:pt x="404" y="274"/>
                  </a:cubicBezTo>
                  <a:cubicBezTo>
                    <a:pt x="404" y="277"/>
                    <a:pt x="402" y="278"/>
                    <a:pt x="402" y="281"/>
                  </a:cubicBezTo>
                  <a:cubicBezTo>
                    <a:pt x="400" y="281"/>
                    <a:pt x="399" y="278"/>
                    <a:pt x="396" y="278"/>
                  </a:cubicBezTo>
                  <a:close/>
                  <a:moveTo>
                    <a:pt x="421" y="525"/>
                  </a:moveTo>
                  <a:cubicBezTo>
                    <a:pt x="422" y="534"/>
                    <a:pt x="416" y="534"/>
                    <a:pt x="418" y="544"/>
                  </a:cubicBezTo>
                  <a:cubicBezTo>
                    <a:pt x="412" y="539"/>
                    <a:pt x="410" y="546"/>
                    <a:pt x="402" y="540"/>
                  </a:cubicBezTo>
                  <a:cubicBezTo>
                    <a:pt x="404" y="537"/>
                    <a:pt x="405" y="532"/>
                    <a:pt x="404" y="525"/>
                  </a:cubicBezTo>
                  <a:cubicBezTo>
                    <a:pt x="410" y="528"/>
                    <a:pt x="410" y="531"/>
                    <a:pt x="407" y="537"/>
                  </a:cubicBezTo>
                  <a:cubicBezTo>
                    <a:pt x="419" y="543"/>
                    <a:pt x="411" y="522"/>
                    <a:pt x="421" y="525"/>
                  </a:cubicBezTo>
                  <a:close/>
                  <a:moveTo>
                    <a:pt x="410" y="285"/>
                  </a:moveTo>
                  <a:cubicBezTo>
                    <a:pt x="422" y="287"/>
                    <a:pt x="407" y="307"/>
                    <a:pt x="410" y="285"/>
                  </a:cubicBezTo>
                  <a:close/>
                  <a:moveTo>
                    <a:pt x="412" y="281"/>
                  </a:moveTo>
                  <a:cubicBezTo>
                    <a:pt x="412" y="279"/>
                    <a:pt x="412" y="276"/>
                    <a:pt x="412" y="274"/>
                  </a:cubicBezTo>
                  <a:cubicBezTo>
                    <a:pt x="414" y="274"/>
                    <a:pt x="416" y="274"/>
                    <a:pt x="418" y="274"/>
                  </a:cubicBezTo>
                  <a:cubicBezTo>
                    <a:pt x="418" y="276"/>
                    <a:pt x="418" y="279"/>
                    <a:pt x="418" y="281"/>
                  </a:cubicBezTo>
                  <a:cubicBezTo>
                    <a:pt x="416" y="281"/>
                    <a:pt x="414" y="281"/>
                    <a:pt x="412" y="281"/>
                  </a:cubicBezTo>
                  <a:close/>
                  <a:moveTo>
                    <a:pt x="396" y="500"/>
                  </a:moveTo>
                  <a:cubicBezTo>
                    <a:pt x="403" y="501"/>
                    <a:pt x="403" y="509"/>
                    <a:pt x="399" y="514"/>
                  </a:cubicBezTo>
                  <a:cubicBezTo>
                    <a:pt x="395" y="513"/>
                    <a:pt x="397" y="505"/>
                    <a:pt x="396" y="500"/>
                  </a:cubicBezTo>
                  <a:close/>
                  <a:moveTo>
                    <a:pt x="351" y="489"/>
                  </a:moveTo>
                  <a:cubicBezTo>
                    <a:pt x="352" y="483"/>
                    <a:pt x="356" y="482"/>
                    <a:pt x="361" y="481"/>
                  </a:cubicBezTo>
                  <a:cubicBezTo>
                    <a:pt x="363" y="490"/>
                    <a:pt x="368" y="509"/>
                    <a:pt x="356" y="507"/>
                  </a:cubicBezTo>
                  <a:cubicBezTo>
                    <a:pt x="356" y="503"/>
                    <a:pt x="356" y="500"/>
                    <a:pt x="356" y="496"/>
                  </a:cubicBezTo>
                  <a:cubicBezTo>
                    <a:pt x="359" y="496"/>
                    <a:pt x="358" y="500"/>
                    <a:pt x="359" y="503"/>
                  </a:cubicBezTo>
                  <a:cubicBezTo>
                    <a:pt x="367" y="498"/>
                    <a:pt x="357" y="487"/>
                    <a:pt x="351" y="489"/>
                  </a:cubicBezTo>
                  <a:close/>
                  <a:moveTo>
                    <a:pt x="364" y="285"/>
                  </a:moveTo>
                  <a:cubicBezTo>
                    <a:pt x="363" y="279"/>
                    <a:pt x="379" y="280"/>
                    <a:pt x="372" y="289"/>
                  </a:cubicBezTo>
                  <a:cubicBezTo>
                    <a:pt x="373" y="287"/>
                    <a:pt x="364" y="285"/>
                    <a:pt x="364" y="285"/>
                  </a:cubicBezTo>
                  <a:close/>
                  <a:moveTo>
                    <a:pt x="372" y="296"/>
                  </a:moveTo>
                  <a:cubicBezTo>
                    <a:pt x="372" y="303"/>
                    <a:pt x="375" y="304"/>
                    <a:pt x="375" y="311"/>
                  </a:cubicBezTo>
                  <a:cubicBezTo>
                    <a:pt x="372" y="311"/>
                    <a:pt x="373" y="306"/>
                    <a:pt x="372" y="304"/>
                  </a:cubicBezTo>
                  <a:cubicBezTo>
                    <a:pt x="370" y="303"/>
                    <a:pt x="370" y="305"/>
                    <a:pt x="370" y="307"/>
                  </a:cubicBezTo>
                  <a:cubicBezTo>
                    <a:pt x="368" y="314"/>
                    <a:pt x="365" y="303"/>
                    <a:pt x="370" y="304"/>
                  </a:cubicBezTo>
                  <a:cubicBezTo>
                    <a:pt x="371" y="295"/>
                    <a:pt x="357" y="306"/>
                    <a:pt x="361" y="292"/>
                  </a:cubicBezTo>
                  <a:cubicBezTo>
                    <a:pt x="364" y="295"/>
                    <a:pt x="367" y="296"/>
                    <a:pt x="372" y="296"/>
                  </a:cubicBezTo>
                  <a:close/>
                  <a:moveTo>
                    <a:pt x="375" y="533"/>
                  </a:moveTo>
                  <a:cubicBezTo>
                    <a:pt x="367" y="548"/>
                    <a:pt x="368" y="521"/>
                    <a:pt x="361" y="522"/>
                  </a:cubicBezTo>
                  <a:cubicBezTo>
                    <a:pt x="363" y="511"/>
                    <a:pt x="367" y="525"/>
                    <a:pt x="372" y="522"/>
                  </a:cubicBezTo>
                  <a:cubicBezTo>
                    <a:pt x="372" y="527"/>
                    <a:pt x="372" y="532"/>
                    <a:pt x="375" y="533"/>
                  </a:cubicBezTo>
                  <a:close/>
                  <a:moveTo>
                    <a:pt x="364" y="474"/>
                  </a:moveTo>
                  <a:cubicBezTo>
                    <a:pt x="361" y="473"/>
                    <a:pt x="362" y="467"/>
                    <a:pt x="361" y="463"/>
                  </a:cubicBezTo>
                  <a:cubicBezTo>
                    <a:pt x="366" y="461"/>
                    <a:pt x="367" y="465"/>
                    <a:pt x="367" y="470"/>
                  </a:cubicBezTo>
                  <a:cubicBezTo>
                    <a:pt x="365" y="469"/>
                    <a:pt x="364" y="471"/>
                    <a:pt x="364" y="474"/>
                  </a:cubicBezTo>
                  <a:close/>
                  <a:moveTo>
                    <a:pt x="364" y="344"/>
                  </a:moveTo>
                  <a:cubicBezTo>
                    <a:pt x="363" y="336"/>
                    <a:pt x="369" y="339"/>
                    <a:pt x="370" y="333"/>
                  </a:cubicBezTo>
                  <a:cubicBezTo>
                    <a:pt x="373" y="334"/>
                    <a:pt x="372" y="340"/>
                    <a:pt x="372" y="344"/>
                  </a:cubicBezTo>
                  <a:cubicBezTo>
                    <a:pt x="370" y="344"/>
                    <a:pt x="367" y="344"/>
                    <a:pt x="364" y="344"/>
                  </a:cubicBezTo>
                  <a:close/>
                  <a:moveTo>
                    <a:pt x="361" y="555"/>
                  </a:moveTo>
                  <a:cubicBezTo>
                    <a:pt x="368" y="551"/>
                    <a:pt x="379" y="549"/>
                    <a:pt x="378" y="566"/>
                  </a:cubicBezTo>
                  <a:cubicBezTo>
                    <a:pt x="373" y="561"/>
                    <a:pt x="360" y="567"/>
                    <a:pt x="361" y="555"/>
                  </a:cubicBezTo>
                  <a:close/>
                  <a:moveTo>
                    <a:pt x="364" y="274"/>
                  </a:moveTo>
                  <a:cubicBezTo>
                    <a:pt x="366" y="269"/>
                    <a:pt x="370" y="267"/>
                    <a:pt x="375" y="267"/>
                  </a:cubicBezTo>
                  <a:cubicBezTo>
                    <a:pt x="378" y="278"/>
                    <a:pt x="369" y="273"/>
                    <a:pt x="364" y="274"/>
                  </a:cubicBezTo>
                  <a:close/>
                  <a:moveTo>
                    <a:pt x="353" y="363"/>
                  </a:moveTo>
                  <a:cubicBezTo>
                    <a:pt x="352" y="364"/>
                    <a:pt x="350" y="353"/>
                    <a:pt x="348" y="355"/>
                  </a:cubicBezTo>
                  <a:cubicBezTo>
                    <a:pt x="353" y="343"/>
                    <a:pt x="355" y="360"/>
                    <a:pt x="353" y="363"/>
                  </a:cubicBezTo>
                  <a:close/>
                  <a:moveTo>
                    <a:pt x="351" y="459"/>
                  </a:moveTo>
                  <a:cubicBezTo>
                    <a:pt x="351" y="463"/>
                    <a:pt x="351" y="466"/>
                    <a:pt x="351" y="470"/>
                  </a:cubicBezTo>
                  <a:cubicBezTo>
                    <a:pt x="348" y="470"/>
                    <a:pt x="349" y="465"/>
                    <a:pt x="348" y="463"/>
                  </a:cubicBezTo>
                  <a:cubicBezTo>
                    <a:pt x="346" y="466"/>
                    <a:pt x="341" y="465"/>
                    <a:pt x="337" y="459"/>
                  </a:cubicBezTo>
                  <a:cubicBezTo>
                    <a:pt x="336" y="456"/>
                    <a:pt x="334" y="454"/>
                    <a:pt x="335" y="448"/>
                  </a:cubicBezTo>
                  <a:cubicBezTo>
                    <a:pt x="337" y="451"/>
                    <a:pt x="339" y="454"/>
                    <a:pt x="340" y="459"/>
                  </a:cubicBezTo>
                  <a:cubicBezTo>
                    <a:pt x="344" y="459"/>
                    <a:pt x="347" y="459"/>
                    <a:pt x="351" y="459"/>
                  </a:cubicBezTo>
                  <a:close/>
                  <a:moveTo>
                    <a:pt x="340" y="559"/>
                  </a:moveTo>
                  <a:cubicBezTo>
                    <a:pt x="347" y="549"/>
                    <a:pt x="345" y="570"/>
                    <a:pt x="343" y="574"/>
                  </a:cubicBezTo>
                  <a:cubicBezTo>
                    <a:pt x="336" y="572"/>
                    <a:pt x="336" y="564"/>
                    <a:pt x="343" y="562"/>
                  </a:cubicBezTo>
                  <a:cubicBezTo>
                    <a:pt x="343" y="559"/>
                    <a:pt x="342" y="559"/>
                    <a:pt x="340" y="559"/>
                  </a:cubicBezTo>
                  <a:close/>
                  <a:moveTo>
                    <a:pt x="335" y="522"/>
                  </a:moveTo>
                  <a:cubicBezTo>
                    <a:pt x="334" y="521"/>
                    <a:pt x="335" y="518"/>
                    <a:pt x="335" y="518"/>
                  </a:cubicBezTo>
                  <a:cubicBezTo>
                    <a:pt x="332" y="517"/>
                    <a:pt x="320" y="521"/>
                    <a:pt x="324" y="511"/>
                  </a:cubicBezTo>
                  <a:cubicBezTo>
                    <a:pt x="334" y="513"/>
                    <a:pt x="331" y="517"/>
                    <a:pt x="329" y="503"/>
                  </a:cubicBezTo>
                  <a:cubicBezTo>
                    <a:pt x="332" y="503"/>
                    <a:pt x="335" y="503"/>
                    <a:pt x="337" y="503"/>
                  </a:cubicBezTo>
                  <a:cubicBezTo>
                    <a:pt x="334" y="516"/>
                    <a:pt x="336" y="519"/>
                    <a:pt x="345" y="514"/>
                  </a:cubicBezTo>
                  <a:cubicBezTo>
                    <a:pt x="347" y="517"/>
                    <a:pt x="338" y="528"/>
                    <a:pt x="335" y="522"/>
                  </a:cubicBezTo>
                  <a:close/>
                  <a:moveTo>
                    <a:pt x="324" y="707"/>
                  </a:moveTo>
                  <a:cubicBezTo>
                    <a:pt x="320" y="705"/>
                    <a:pt x="325" y="702"/>
                    <a:pt x="324" y="696"/>
                  </a:cubicBezTo>
                  <a:cubicBezTo>
                    <a:pt x="332" y="698"/>
                    <a:pt x="329" y="698"/>
                    <a:pt x="337" y="696"/>
                  </a:cubicBezTo>
                  <a:cubicBezTo>
                    <a:pt x="338" y="706"/>
                    <a:pt x="338" y="716"/>
                    <a:pt x="329" y="714"/>
                  </a:cubicBezTo>
                  <a:cubicBezTo>
                    <a:pt x="329" y="710"/>
                    <a:pt x="329" y="707"/>
                    <a:pt x="329" y="703"/>
                  </a:cubicBezTo>
                  <a:cubicBezTo>
                    <a:pt x="326" y="702"/>
                    <a:pt x="324" y="704"/>
                    <a:pt x="324" y="707"/>
                  </a:cubicBezTo>
                  <a:close/>
                  <a:moveTo>
                    <a:pt x="316" y="644"/>
                  </a:moveTo>
                  <a:cubicBezTo>
                    <a:pt x="322" y="632"/>
                    <a:pt x="323" y="658"/>
                    <a:pt x="324" y="666"/>
                  </a:cubicBezTo>
                  <a:cubicBezTo>
                    <a:pt x="308" y="668"/>
                    <a:pt x="324" y="649"/>
                    <a:pt x="316" y="644"/>
                  </a:cubicBezTo>
                  <a:close/>
                  <a:moveTo>
                    <a:pt x="335" y="562"/>
                  </a:moveTo>
                  <a:cubicBezTo>
                    <a:pt x="335" y="571"/>
                    <a:pt x="335" y="580"/>
                    <a:pt x="335" y="588"/>
                  </a:cubicBezTo>
                  <a:cubicBezTo>
                    <a:pt x="331" y="589"/>
                    <a:pt x="325" y="578"/>
                    <a:pt x="332" y="577"/>
                  </a:cubicBezTo>
                  <a:cubicBezTo>
                    <a:pt x="329" y="573"/>
                    <a:pt x="326" y="577"/>
                    <a:pt x="321" y="570"/>
                  </a:cubicBezTo>
                  <a:cubicBezTo>
                    <a:pt x="322" y="560"/>
                    <a:pt x="326" y="575"/>
                    <a:pt x="332" y="570"/>
                  </a:cubicBezTo>
                  <a:cubicBezTo>
                    <a:pt x="329" y="565"/>
                    <a:pt x="330" y="562"/>
                    <a:pt x="335" y="562"/>
                  </a:cubicBezTo>
                  <a:close/>
                  <a:moveTo>
                    <a:pt x="324" y="618"/>
                  </a:moveTo>
                  <a:cubicBezTo>
                    <a:pt x="327" y="616"/>
                    <a:pt x="327" y="609"/>
                    <a:pt x="332" y="611"/>
                  </a:cubicBezTo>
                  <a:cubicBezTo>
                    <a:pt x="333" y="620"/>
                    <a:pt x="326" y="620"/>
                    <a:pt x="321" y="622"/>
                  </a:cubicBezTo>
                  <a:cubicBezTo>
                    <a:pt x="321" y="618"/>
                    <a:pt x="322" y="618"/>
                    <a:pt x="324" y="618"/>
                  </a:cubicBezTo>
                  <a:close/>
                  <a:moveTo>
                    <a:pt x="337" y="677"/>
                  </a:moveTo>
                  <a:cubicBezTo>
                    <a:pt x="329" y="691"/>
                    <a:pt x="328" y="666"/>
                    <a:pt x="337" y="677"/>
                  </a:cubicBezTo>
                  <a:close/>
                  <a:moveTo>
                    <a:pt x="326" y="670"/>
                  </a:moveTo>
                  <a:cubicBezTo>
                    <a:pt x="326" y="662"/>
                    <a:pt x="327" y="658"/>
                    <a:pt x="332" y="659"/>
                  </a:cubicBezTo>
                  <a:cubicBezTo>
                    <a:pt x="332" y="652"/>
                    <a:pt x="332" y="646"/>
                    <a:pt x="332" y="640"/>
                  </a:cubicBezTo>
                  <a:cubicBezTo>
                    <a:pt x="341" y="642"/>
                    <a:pt x="339" y="675"/>
                    <a:pt x="326" y="670"/>
                  </a:cubicBezTo>
                  <a:close/>
                  <a:moveTo>
                    <a:pt x="326" y="555"/>
                  </a:moveTo>
                  <a:cubicBezTo>
                    <a:pt x="326" y="555"/>
                    <a:pt x="330" y="548"/>
                    <a:pt x="329" y="548"/>
                  </a:cubicBezTo>
                  <a:cubicBezTo>
                    <a:pt x="325" y="546"/>
                    <a:pt x="325" y="551"/>
                    <a:pt x="324" y="551"/>
                  </a:cubicBezTo>
                  <a:cubicBezTo>
                    <a:pt x="322" y="552"/>
                    <a:pt x="319" y="545"/>
                    <a:pt x="318" y="551"/>
                  </a:cubicBezTo>
                  <a:cubicBezTo>
                    <a:pt x="314" y="550"/>
                    <a:pt x="319" y="548"/>
                    <a:pt x="318" y="544"/>
                  </a:cubicBezTo>
                  <a:cubicBezTo>
                    <a:pt x="319" y="541"/>
                    <a:pt x="317" y="540"/>
                    <a:pt x="316" y="540"/>
                  </a:cubicBezTo>
                  <a:cubicBezTo>
                    <a:pt x="309" y="535"/>
                    <a:pt x="333" y="541"/>
                    <a:pt x="337" y="544"/>
                  </a:cubicBezTo>
                  <a:cubicBezTo>
                    <a:pt x="335" y="547"/>
                    <a:pt x="333" y="554"/>
                    <a:pt x="337" y="555"/>
                  </a:cubicBezTo>
                  <a:cubicBezTo>
                    <a:pt x="341" y="561"/>
                    <a:pt x="326" y="554"/>
                    <a:pt x="326" y="555"/>
                  </a:cubicBezTo>
                  <a:close/>
                  <a:moveTo>
                    <a:pt x="313" y="463"/>
                  </a:moveTo>
                  <a:cubicBezTo>
                    <a:pt x="313" y="463"/>
                    <a:pt x="318" y="467"/>
                    <a:pt x="318" y="466"/>
                  </a:cubicBezTo>
                  <a:cubicBezTo>
                    <a:pt x="318" y="467"/>
                    <a:pt x="312" y="474"/>
                    <a:pt x="313" y="474"/>
                  </a:cubicBezTo>
                  <a:cubicBezTo>
                    <a:pt x="309" y="473"/>
                    <a:pt x="313" y="471"/>
                    <a:pt x="313" y="470"/>
                  </a:cubicBezTo>
                  <a:cubicBezTo>
                    <a:pt x="314" y="469"/>
                    <a:pt x="312" y="463"/>
                    <a:pt x="313" y="463"/>
                  </a:cubicBezTo>
                  <a:close/>
                  <a:moveTo>
                    <a:pt x="345" y="492"/>
                  </a:moveTo>
                  <a:cubicBezTo>
                    <a:pt x="350" y="491"/>
                    <a:pt x="350" y="495"/>
                    <a:pt x="351" y="500"/>
                  </a:cubicBezTo>
                  <a:cubicBezTo>
                    <a:pt x="348" y="499"/>
                    <a:pt x="348" y="501"/>
                    <a:pt x="348" y="503"/>
                  </a:cubicBezTo>
                  <a:cubicBezTo>
                    <a:pt x="345" y="503"/>
                    <a:pt x="346" y="497"/>
                    <a:pt x="345" y="492"/>
                  </a:cubicBezTo>
                  <a:close/>
                  <a:moveTo>
                    <a:pt x="343" y="422"/>
                  </a:moveTo>
                  <a:cubicBezTo>
                    <a:pt x="337" y="422"/>
                    <a:pt x="339" y="412"/>
                    <a:pt x="332" y="415"/>
                  </a:cubicBezTo>
                  <a:cubicBezTo>
                    <a:pt x="334" y="406"/>
                    <a:pt x="345" y="413"/>
                    <a:pt x="343" y="422"/>
                  </a:cubicBezTo>
                  <a:close/>
                  <a:moveTo>
                    <a:pt x="340" y="477"/>
                  </a:moveTo>
                  <a:cubicBezTo>
                    <a:pt x="340" y="478"/>
                    <a:pt x="340" y="481"/>
                    <a:pt x="340" y="481"/>
                  </a:cubicBezTo>
                  <a:cubicBezTo>
                    <a:pt x="343" y="483"/>
                    <a:pt x="346" y="481"/>
                    <a:pt x="345" y="489"/>
                  </a:cubicBezTo>
                  <a:cubicBezTo>
                    <a:pt x="341" y="490"/>
                    <a:pt x="340" y="486"/>
                    <a:pt x="340" y="481"/>
                  </a:cubicBezTo>
                  <a:cubicBezTo>
                    <a:pt x="337" y="481"/>
                    <a:pt x="338" y="486"/>
                    <a:pt x="337" y="489"/>
                  </a:cubicBezTo>
                  <a:cubicBezTo>
                    <a:pt x="333" y="487"/>
                    <a:pt x="332" y="491"/>
                    <a:pt x="332" y="496"/>
                  </a:cubicBezTo>
                  <a:cubicBezTo>
                    <a:pt x="329" y="495"/>
                    <a:pt x="330" y="489"/>
                    <a:pt x="329" y="485"/>
                  </a:cubicBezTo>
                  <a:cubicBezTo>
                    <a:pt x="326" y="485"/>
                    <a:pt x="324" y="485"/>
                    <a:pt x="321" y="485"/>
                  </a:cubicBezTo>
                  <a:cubicBezTo>
                    <a:pt x="320" y="482"/>
                    <a:pt x="337" y="476"/>
                    <a:pt x="340" y="477"/>
                  </a:cubicBezTo>
                  <a:close/>
                  <a:moveTo>
                    <a:pt x="332" y="466"/>
                  </a:moveTo>
                  <a:cubicBezTo>
                    <a:pt x="326" y="477"/>
                    <a:pt x="323" y="454"/>
                    <a:pt x="324" y="444"/>
                  </a:cubicBezTo>
                  <a:cubicBezTo>
                    <a:pt x="327" y="447"/>
                    <a:pt x="327" y="453"/>
                    <a:pt x="332" y="452"/>
                  </a:cubicBezTo>
                  <a:cubicBezTo>
                    <a:pt x="331" y="454"/>
                    <a:pt x="325" y="466"/>
                    <a:pt x="332" y="466"/>
                  </a:cubicBezTo>
                  <a:close/>
                  <a:moveTo>
                    <a:pt x="329" y="411"/>
                  </a:moveTo>
                  <a:cubicBezTo>
                    <a:pt x="326" y="411"/>
                    <a:pt x="327" y="418"/>
                    <a:pt x="326" y="422"/>
                  </a:cubicBezTo>
                  <a:cubicBezTo>
                    <a:pt x="323" y="421"/>
                    <a:pt x="322" y="423"/>
                    <a:pt x="321" y="426"/>
                  </a:cubicBezTo>
                  <a:cubicBezTo>
                    <a:pt x="315" y="425"/>
                    <a:pt x="321" y="413"/>
                    <a:pt x="324" y="415"/>
                  </a:cubicBezTo>
                  <a:cubicBezTo>
                    <a:pt x="324" y="407"/>
                    <a:pt x="324" y="400"/>
                    <a:pt x="324" y="392"/>
                  </a:cubicBezTo>
                  <a:cubicBezTo>
                    <a:pt x="328" y="395"/>
                    <a:pt x="328" y="404"/>
                    <a:pt x="329" y="411"/>
                  </a:cubicBezTo>
                  <a:close/>
                  <a:moveTo>
                    <a:pt x="324" y="344"/>
                  </a:moveTo>
                  <a:cubicBezTo>
                    <a:pt x="328" y="343"/>
                    <a:pt x="329" y="347"/>
                    <a:pt x="329" y="352"/>
                  </a:cubicBezTo>
                  <a:cubicBezTo>
                    <a:pt x="327" y="351"/>
                    <a:pt x="327" y="353"/>
                    <a:pt x="326" y="355"/>
                  </a:cubicBezTo>
                  <a:cubicBezTo>
                    <a:pt x="323" y="355"/>
                    <a:pt x="324" y="349"/>
                    <a:pt x="324" y="344"/>
                  </a:cubicBezTo>
                  <a:close/>
                  <a:moveTo>
                    <a:pt x="316" y="385"/>
                  </a:moveTo>
                  <a:cubicBezTo>
                    <a:pt x="316" y="381"/>
                    <a:pt x="321" y="382"/>
                    <a:pt x="321" y="378"/>
                  </a:cubicBezTo>
                  <a:cubicBezTo>
                    <a:pt x="324" y="378"/>
                    <a:pt x="323" y="382"/>
                    <a:pt x="324" y="385"/>
                  </a:cubicBezTo>
                  <a:cubicBezTo>
                    <a:pt x="320" y="389"/>
                    <a:pt x="320" y="386"/>
                    <a:pt x="316" y="385"/>
                  </a:cubicBezTo>
                  <a:close/>
                  <a:moveTo>
                    <a:pt x="321" y="352"/>
                  </a:moveTo>
                  <a:cubicBezTo>
                    <a:pt x="318" y="354"/>
                    <a:pt x="319" y="348"/>
                    <a:pt x="318" y="348"/>
                  </a:cubicBezTo>
                  <a:cubicBezTo>
                    <a:pt x="317" y="347"/>
                    <a:pt x="311" y="349"/>
                    <a:pt x="310" y="348"/>
                  </a:cubicBezTo>
                  <a:cubicBezTo>
                    <a:pt x="307" y="343"/>
                    <a:pt x="323" y="336"/>
                    <a:pt x="321" y="352"/>
                  </a:cubicBezTo>
                  <a:close/>
                  <a:moveTo>
                    <a:pt x="310" y="537"/>
                  </a:moveTo>
                  <a:cubicBezTo>
                    <a:pt x="312" y="551"/>
                    <a:pt x="297" y="551"/>
                    <a:pt x="300" y="537"/>
                  </a:cubicBezTo>
                  <a:cubicBezTo>
                    <a:pt x="305" y="530"/>
                    <a:pt x="303" y="537"/>
                    <a:pt x="310" y="537"/>
                  </a:cubicBezTo>
                  <a:close/>
                  <a:moveTo>
                    <a:pt x="286" y="496"/>
                  </a:moveTo>
                  <a:cubicBezTo>
                    <a:pt x="285" y="489"/>
                    <a:pt x="284" y="493"/>
                    <a:pt x="286" y="481"/>
                  </a:cubicBezTo>
                  <a:cubicBezTo>
                    <a:pt x="293" y="485"/>
                    <a:pt x="293" y="499"/>
                    <a:pt x="286" y="503"/>
                  </a:cubicBezTo>
                  <a:cubicBezTo>
                    <a:pt x="281" y="512"/>
                    <a:pt x="287" y="503"/>
                    <a:pt x="286" y="496"/>
                  </a:cubicBezTo>
                  <a:close/>
                  <a:moveTo>
                    <a:pt x="286" y="466"/>
                  </a:moveTo>
                  <a:cubicBezTo>
                    <a:pt x="286" y="461"/>
                    <a:pt x="286" y="456"/>
                    <a:pt x="286" y="452"/>
                  </a:cubicBezTo>
                  <a:cubicBezTo>
                    <a:pt x="284" y="452"/>
                    <a:pt x="283" y="452"/>
                    <a:pt x="281" y="452"/>
                  </a:cubicBezTo>
                  <a:cubicBezTo>
                    <a:pt x="281" y="447"/>
                    <a:pt x="286" y="448"/>
                    <a:pt x="289" y="448"/>
                  </a:cubicBezTo>
                  <a:cubicBezTo>
                    <a:pt x="289" y="453"/>
                    <a:pt x="289" y="458"/>
                    <a:pt x="289" y="463"/>
                  </a:cubicBezTo>
                  <a:cubicBezTo>
                    <a:pt x="292" y="462"/>
                    <a:pt x="291" y="456"/>
                    <a:pt x="292" y="452"/>
                  </a:cubicBezTo>
                  <a:cubicBezTo>
                    <a:pt x="299" y="456"/>
                    <a:pt x="300" y="464"/>
                    <a:pt x="297" y="474"/>
                  </a:cubicBezTo>
                  <a:cubicBezTo>
                    <a:pt x="293" y="472"/>
                    <a:pt x="295" y="462"/>
                    <a:pt x="286" y="466"/>
                  </a:cubicBezTo>
                  <a:close/>
                  <a:moveTo>
                    <a:pt x="289" y="344"/>
                  </a:moveTo>
                  <a:cubicBezTo>
                    <a:pt x="283" y="356"/>
                    <a:pt x="278" y="331"/>
                    <a:pt x="289" y="344"/>
                  </a:cubicBezTo>
                  <a:close/>
                  <a:moveTo>
                    <a:pt x="286" y="326"/>
                  </a:moveTo>
                  <a:cubicBezTo>
                    <a:pt x="281" y="325"/>
                    <a:pt x="280" y="319"/>
                    <a:pt x="281" y="311"/>
                  </a:cubicBezTo>
                  <a:cubicBezTo>
                    <a:pt x="286" y="312"/>
                    <a:pt x="287" y="317"/>
                    <a:pt x="286" y="326"/>
                  </a:cubicBezTo>
                  <a:close/>
                  <a:moveTo>
                    <a:pt x="281" y="500"/>
                  </a:moveTo>
                  <a:cubicBezTo>
                    <a:pt x="271" y="494"/>
                    <a:pt x="277" y="485"/>
                    <a:pt x="278" y="481"/>
                  </a:cubicBezTo>
                  <a:cubicBezTo>
                    <a:pt x="279" y="478"/>
                    <a:pt x="281" y="479"/>
                    <a:pt x="281" y="481"/>
                  </a:cubicBezTo>
                  <a:cubicBezTo>
                    <a:pt x="280" y="488"/>
                    <a:pt x="279" y="486"/>
                    <a:pt x="281" y="500"/>
                  </a:cubicBezTo>
                  <a:close/>
                  <a:moveTo>
                    <a:pt x="270" y="366"/>
                  </a:moveTo>
                  <a:cubicBezTo>
                    <a:pt x="264" y="367"/>
                    <a:pt x="269" y="353"/>
                    <a:pt x="267" y="348"/>
                  </a:cubicBezTo>
                  <a:cubicBezTo>
                    <a:pt x="271" y="352"/>
                    <a:pt x="274" y="352"/>
                    <a:pt x="275" y="344"/>
                  </a:cubicBezTo>
                  <a:cubicBezTo>
                    <a:pt x="286" y="354"/>
                    <a:pt x="267" y="355"/>
                    <a:pt x="270" y="366"/>
                  </a:cubicBezTo>
                  <a:close/>
                  <a:moveTo>
                    <a:pt x="270" y="389"/>
                  </a:moveTo>
                  <a:cubicBezTo>
                    <a:pt x="280" y="400"/>
                    <a:pt x="262" y="401"/>
                    <a:pt x="270" y="389"/>
                  </a:cubicBezTo>
                  <a:close/>
                  <a:moveTo>
                    <a:pt x="270" y="452"/>
                  </a:moveTo>
                  <a:cubicBezTo>
                    <a:pt x="277" y="452"/>
                    <a:pt x="283" y="460"/>
                    <a:pt x="278" y="466"/>
                  </a:cubicBezTo>
                  <a:cubicBezTo>
                    <a:pt x="271" y="467"/>
                    <a:pt x="269" y="461"/>
                    <a:pt x="270" y="452"/>
                  </a:cubicBezTo>
                  <a:close/>
                  <a:moveTo>
                    <a:pt x="278" y="315"/>
                  </a:moveTo>
                  <a:cubicBezTo>
                    <a:pt x="274" y="323"/>
                    <a:pt x="270" y="307"/>
                    <a:pt x="270" y="322"/>
                  </a:cubicBezTo>
                  <a:cubicBezTo>
                    <a:pt x="258" y="316"/>
                    <a:pt x="280" y="308"/>
                    <a:pt x="270" y="304"/>
                  </a:cubicBezTo>
                  <a:cubicBezTo>
                    <a:pt x="272" y="297"/>
                    <a:pt x="275" y="303"/>
                    <a:pt x="278" y="304"/>
                  </a:cubicBezTo>
                  <a:cubicBezTo>
                    <a:pt x="280" y="290"/>
                    <a:pt x="269" y="294"/>
                    <a:pt x="265" y="289"/>
                  </a:cubicBezTo>
                  <a:cubicBezTo>
                    <a:pt x="265" y="280"/>
                    <a:pt x="271" y="291"/>
                    <a:pt x="273" y="289"/>
                  </a:cubicBezTo>
                  <a:cubicBezTo>
                    <a:pt x="276" y="285"/>
                    <a:pt x="274" y="289"/>
                    <a:pt x="283" y="289"/>
                  </a:cubicBezTo>
                  <a:cubicBezTo>
                    <a:pt x="284" y="300"/>
                    <a:pt x="276" y="301"/>
                    <a:pt x="278" y="315"/>
                  </a:cubicBezTo>
                  <a:close/>
                  <a:moveTo>
                    <a:pt x="305" y="696"/>
                  </a:moveTo>
                  <a:cubicBezTo>
                    <a:pt x="314" y="700"/>
                    <a:pt x="305" y="707"/>
                    <a:pt x="310" y="718"/>
                  </a:cubicBezTo>
                  <a:cubicBezTo>
                    <a:pt x="308" y="715"/>
                    <a:pt x="304" y="714"/>
                    <a:pt x="300" y="714"/>
                  </a:cubicBezTo>
                  <a:cubicBezTo>
                    <a:pt x="297" y="702"/>
                    <a:pt x="304" y="703"/>
                    <a:pt x="305" y="696"/>
                  </a:cubicBezTo>
                  <a:close/>
                  <a:moveTo>
                    <a:pt x="294" y="699"/>
                  </a:moveTo>
                  <a:cubicBezTo>
                    <a:pt x="294" y="697"/>
                    <a:pt x="294" y="694"/>
                    <a:pt x="294" y="692"/>
                  </a:cubicBezTo>
                  <a:cubicBezTo>
                    <a:pt x="296" y="692"/>
                    <a:pt x="298" y="692"/>
                    <a:pt x="300" y="692"/>
                  </a:cubicBezTo>
                  <a:cubicBezTo>
                    <a:pt x="300" y="694"/>
                    <a:pt x="300" y="697"/>
                    <a:pt x="300" y="699"/>
                  </a:cubicBezTo>
                  <a:cubicBezTo>
                    <a:pt x="298" y="699"/>
                    <a:pt x="296" y="699"/>
                    <a:pt x="294" y="699"/>
                  </a:cubicBezTo>
                  <a:close/>
                  <a:moveTo>
                    <a:pt x="316" y="721"/>
                  </a:moveTo>
                  <a:cubicBezTo>
                    <a:pt x="311" y="724"/>
                    <a:pt x="316" y="740"/>
                    <a:pt x="308" y="736"/>
                  </a:cubicBezTo>
                  <a:cubicBezTo>
                    <a:pt x="307" y="727"/>
                    <a:pt x="309" y="720"/>
                    <a:pt x="316" y="721"/>
                  </a:cubicBezTo>
                  <a:close/>
                  <a:moveTo>
                    <a:pt x="316" y="751"/>
                  </a:moveTo>
                  <a:cubicBezTo>
                    <a:pt x="324" y="737"/>
                    <a:pt x="325" y="762"/>
                    <a:pt x="316" y="751"/>
                  </a:cubicBezTo>
                  <a:close/>
                  <a:moveTo>
                    <a:pt x="351" y="681"/>
                  </a:moveTo>
                  <a:cubicBezTo>
                    <a:pt x="353" y="689"/>
                    <a:pt x="341" y="689"/>
                    <a:pt x="343" y="681"/>
                  </a:cubicBezTo>
                  <a:cubicBezTo>
                    <a:pt x="344" y="676"/>
                    <a:pt x="350" y="678"/>
                    <a:pt x="351" y="681"/>
                  </a:cubicBezTo>
                  <a:close/>
                  <a:moveTo>
                    <a:pt x="351" y="662"/>
                  </a:moveTo>
                  <a:cubicBezTo>
                    <a:pt x="356" y="670"/>
                    <a:pt x="359" y="680"/>
                    <a:pt x="367" y="684"/>
                  </a:cubicBezTo>
                  <a:cubicBezTo>
                    <a:pt x="365" y="687"/>
                    <a:pt x="364" y="691"/>
                    <a:pt x="364" y="696"/>
                  </a:cubicBezTo>
                  <a:cubicBezTo>
                    <a:pt x="361" y="696"/>
                    <a:pt x="363" y="690"/>
                    <a:pt x="361" y="688"/>
                  </a:cubicBezTo>
                  <a:cubicBezTo>
                    <a:pt x="357" y="680"/>
                    <a:pt x="349" y="678"/>
                    <a:pt x="351" y="662"/>
                  </a:cubicBezTo>
                  <a:close/>
                  <a:moveTo>
                    <a:pt x="348" y="718"/>
                  </a:moveTo>
                  <a:cubicBezTo>
                    <a:pt x="342" y="717"/>
                    <a:pt x="342" y="708"/>
                    <a:pt x="345" y="703"/>
                  </a:cubicBezTo>
                  <a:cubicBezTo>
                    <a:pt x="349" y="704"/>
                    <a:pt x="347" y="712"/>
                    <a:pt x="348" y="718"/>
                  </a:cubicBezTo>
                  <a:close/>
                  <a:moveTo>
                    <a:pt x="388" y="755"/>
                  </a:moveTo>
                  <a:cubicBezTo>
                    <a:pt x="389" y="750"/>
                    <a:pt x="396" y="752"/>
                    <a:pt x="396" y="755"/>
                  </a:cubicBezTo>
                  <a:cubicBezTo>
                    <a:pt x="399" y="763"/>
                    <a:pt x="387" y="763"/>
                    <a:pt x="388" y="755"/>
                  </a:cubicBezTo>
                  <a:close/>
                  <a:moveTo>
                    <a:pt x="399" y="684"/>
                  </a:moveTo>
                  <a:cubicBezTo>
                    <a:pt x="405" y="687"/>
                    <a:pt x="407" y="696"/>
                    <a:pt x="410" y="703"/>
                  </a:cubicBezTo>
                  <a:cubicBezTo>
                    <a:pt x="408" y="709"/>
                    <a:pt x="407" y="703"/>
                    <a:pt x="407" y="699"/>
                  </a:cubicBezTo>
                  <a:cubicBezTo>
                    <a:pt x="403" y="698"/>
                    <a:pt x="403" y="703"/>
                    <a:pt x="399" y="703"/>
                  </a:cubicBezTo>
                  <a:cubicBezTo>
                    <a:pt x="395" y="701"/>
                    <a:pt x="399" y="699"/>
                    <a:pt x="402" y="699"/>
                  </a:cubicBezTo>
                  <a:cubicBezTo>
                    <a:pt x="402" y="693"/>
                    <a:pt x="398" y="692"/>
                    <a:pt x="399" y="684"/>
                  </a:cubicBezTo>
                  <a:close/>
                  <a:moveTo>
                    <a:pt x="412" y="696"/>
                  </a:moveTo>
                  <a:cubicBezTo>
                    <a:pt x="412" y="692"/>
                    <a:pt x="412" y="688"/>
                    <a:pt x="412" y="684"/>
                  </a:cubicBezTo>
                  <a:cubicBezTo>
                    <a:pt x="416" y="686"/>
                    <a:pt x="417" y="691"/>
                    <a:pt x="421" y="692"/>
                  </a:cubicBezTo>
                  <a:cubicBezTo>
                    <a:pt x="421" y="695"/>
                    <a:pt x="420" y="695"/>
                    <a:pt x="418" y="696"/>
                  </a:cubicBezTo>
                  <a:cubicBezTo>
                    <a:pt x="416" y="696"/>
                    <a:pt x="414" y="696"/>
                    <a:pt x="412" y="696"/>
                  </a:cubicBezTo>
                  <a:close/>
                  <a:moveTo>
                    <a:pt x="439" y="692"/>
                  </a:moveTo>
                  <a:cubicBezTo>
                    <a:pt x="436" y="691"/>
                    <a:pt x="438" y="685"/>
                    <a:pt x="434" y="684"/>
                  </a:cubicBezTo>
                  <a:cubicBezTo>
                    <a:pt x="435" y="680"/>
                    <a:pt x="439" y="681"/>
                    <a:pt x="442" y="681"/>
                  </a:cubicBezTo>
                  <a:cubicBezTo>
                    <a:pt x="443" y="687"/>
                    <a:pt x="440" y="687"/>
                    <a:pt x="439" y="692"/>
                  </a:cubicBezTo>
                  <a:close/>
                  <a:moveTo>
                    <a:pt x="439" y="581"/>
                  </a:moveTo>
                  <a:cubicBezTo>
                    <a:pt x="442" y="582"/>
                    <a:pt x="441" y="588"/>
                    <a:pt x="445" y="588"/>
                  </a:cubicBezTo>
                  <a:cubicBezTo>
                    <a:pt x="444" y="599"/>
                    <a:pt x="436" y="589"/>
                    <a:pt x="439" y="581"/>
                  </a:cubicBezTo>
                  <a:close/>
                  <a:moveTo>
                    <a:pt x="439" y="655"/>
                  </a:moveTo>
                  <a:cubicBezTo>
                    <a:pt x="438" y="666"/>
                    <a:pt x="434" y="651"/>
                    <a:pt x="429" y="655"/>
                  </a:cubicBezTo>
                  <a:cubicBezTo>
                    <a:pt x="424" y="657"/>
                    <a:pt x="427" y="668"/>
                    <a:pt x="423" y="673"/>
                  </a:cubicBezTo>
                  <a:cubicBezTo>
                    <a:pt x="422" y="676"/>
                    <a:pt x="416" y="682"/>
                    <a:pt x="412" y="681"/>
                  </a:cubicBezTo>
                  <a:cubicBezTo>
                    <a:pt x="410" y="666"/>
                    <a:pt x="397" y="665"/>
                    <a:pt x="399" y="644"/>
                  </a:cubicBezTo>
                  <a:cubicBezTo>
                    <a:pt x="393" y="644"/>
                    <a:pt x="393" y="653"/>
                    <a:pt x="394" y="662"/>
                  </a:cubicBezTo>
                  <a:cubicBezTo>
                    <a:pt x="395" y="671"/>
                    <a:pt x="398" y="658"/>
                    <a:pt x="402" y="666"/>
                  </a:cubicBezTo>
                  <a:cubicBezTo>
                    <a:pt x="396" y="674"/>
                    <a:pt x="392" y="680"/>
                    <a:pt x="383" y="673"/>
                  </a:cubicBezTo>
                  <a:cubicBezTo>
                    <a:pt x="386" y="686"/>
                    <a:pt x="389" y="687"/>
                    <a:pt x="383" y="699"/>
                  </a:cubicBezTo>
                  <a:cubicBezTo>
                    <a:pt x="380" y="695"/>
                    <a:pt x="373" y="695"/>
                    <a:pt x="367" y="696"/>
                  </a:cubicBezTo>
                  <a:cubicBezTo>
                    <a:pt x="367" y="689"/>
                    <a:pt x="371" y="687"/>
                    <a:pt x="378" y="688"/>
                  </a:cubicBezTo>
                  <a:cubicBezTo>
                    <a:pt x="379" y="682"/>
                    <a:pt x="371" y="683"/>
                    <a:pt x="370" y="681"/>
                  </a:cubicBezTo>
                  <a:cubicBezTo>
                    <a:pt x="369" y="680"/>
                    <a:pt x="372" y="675"/>
                    <a:pt x="372" y="673"/>
                  </a:cubicBezTo>
                  <a:cubicBezTo>
                    <a:pt x="372" y="672"/>
                    <a:pt x="370" y="661"/>
                    <a:pt x="367" y="659"/>
                  </a:cubicBezTo>
                  <a:cubicBezTo>
                    <a:pt x="361" y="658"/>
                    <a:pt x="366" y="672"/>
                    <a:pt x="364" y="677"/>
                  </a:cubicBezTo>
                  <a:cubicBezTo>
                    <a:pt x="362" y="677"/>
                    <a:pt x="356" y="665"/>
                    <a:pt x="361" y="666"/>
                  </a:cubicBezTo>
                  <a:cubicBezTo>
                    <a:pt x="361" y="658"/>
                    <a:pt x="354" y="659"/>
                    <a:pt x="351" y="655"/>
                  </a:cubicBezTo>
                  <a:cubicBezTo>
                    <a:pt x="345" y="655"/>
                    <a:pt x="345" y="664"/>
                    <a:pt x="345" y="673"/>
                  </a:cubicBezTo>
                  <a:cubicBezTo>
                    <a:pt x="335" y="670"/>
                    <a:pt x="346" y="658"/>
                    <a:pt x="343" y="644"/>
                  </a:cubicBezTo>
                  <a:cubicBezTo>
                    <a:pt x="345" y="646"/>
                    <a:pt x="345" y="652"/>
                    <a:pt x="351" y="651"/>
                  </a:cubicBezTo>
                  <a:cubicBezTo>
                    <a:pt x="360" y="653"/>
                    <a:pt x="351" y="633"/>
                    <a:pt x="351" y="633"/>
                  </a:cubicBezTo>
                  <a:cubicBezTo>
                    <a:pt x="348" y="632"/>
                    <a:pt x="347" y="645"/>
                    <a:pt x="345" y="636"/>
                  </a:cubicBezTo>
                  <a:cubicBezTo>
                    <a:pt x="345" y="634"/>
                    <a:pt x="346" y="631"/>
                    <a:pt x="345" y="629"/>
                  </a:cubicBezTo>
                  <a:cubicBezTo>
                    <a:pt x="343" y="623"/>
                    <a:pt x="335" y="621"/>
                    <a:pt x="340" y="611"/>
                  </a:cubicBezTo>
                  <a:cubicBezTo>
                    <a:pt x="342" y="603"/>
                    <a:pt x="344" y="615"/>
                    <a:pt x="340" y="614"/>
                  </a:cubicBezTo>
                  <a:cubicBezTo>
                    <a:pt x="336" y="622"/>
                    <a:pt x="347" y="618"/>
                    <a:pt x="351" y="622"/>
                  </a:cubicBezTo>
                  <a:cubicBezTo>
                    <a:pt x="352" y="623"/>
                    <a:pt x="360" y="639"/>
                    <a:pt x="359" y="618"/>
                  </a:cubicBezTo>
                  <a:cubicBezTo>
                    <a:pt x="365" y="625"/>
                    <a:pt x="364" y="640"/>
                    <a:pt x="364" y="655"/>
                  </a:cubicBezTo>
                  <a:cubicBezTo>
                    <a:pt x="368" y="656"/>
                    <a:pt x="369" y="651"/>
                    <a:pt x="372" y="651"/>
                  </a:cubicBezTo>
                  <a:cubicBezTo>
                    <a:pt x="371" y="645"/>
                    <a:pt x="364" y="648"/>
                    <a:pt x="367" y="636"/>
                  </a:cubicBezTo>
                  <a:cubicBezTo>
                    <a:pt x="370" y="636"/>
                    <a:pt x="372" y="636"/>
                    <a:pt x="375" y="636"/>
                  </a:cubicBezTo>
                  <a:cubicBezTo>
                    <a:pt x="374" y="632"/>
                    <a:pt x="371" y="629"/>
                    <a:pt x="367" y="629"/>
                  </a:cubicBezTo>
                  <a:cubicBezTo>
                    <a:pt x="365" y="624"/>
                    <a:pt x="377" y="620"/>
                    <a:pt x="370" y="618"/>
                  </a:cubicBezTo>
                  <a:cubicBezTo>
                    <a:pt x="372" y="606"/>
                    <a:pt x="375" y="622"/>
                    <a:pt x="378" y="622"/>
                  </a:cubicBezTo>
                  <a:cubicBezTo>
                    <a:pt x="378" y="652"/>
                    <a:pt x="373" y="658"/>
                    <a:pt x="378" y="681"/>
                  </a:cubicBezTo>
                  <a:cubicBezTo>
                    <a:pt x="386" y="678"/>
                    <a:pt x="375" y="653"/>
                    <a:pt x="380" y="648"/>
                  </a:cubicBezTo>
                  <a:cubicBezTo>
                    <a:pt x="384" y="643"/>
                    <a:pt x="377" y="638"/>
                    <a:pt x="383" y="629"/>
                  </a:cubicBezTo>
                  <a:cubicBezTo>
                    <a:pt x="390" y="634"/>
                    <a:pt x="391" y="637"/>
                    <a:pt x="388" y="648"/>
                  </a:cubicBezTo>
                  <a:cubicBezTo>
                    <a:pt x="399" y="651"/>
                    <a:pt x="392" y="630"/>
                    <a:pt x="402" y="633"/>
                  </a:cubicBezTo>
                  <a:cubicBezTo>
                    <a:pt x="402" y="622"/>
                    <a:pt x="395" y="620"/>
                    <a:pt x="394" y="611"/>
                  </a:cubicBezTo>
                  <a:cubicBezTo>
                    <a:pt x="391" y="612"/>
                    <a:pt x="387" y="617"/>
                    <a:pt x="391" y="618"/>
                  </a:cubicBezTo>
                  <a:cubicBezTo>
                    <a:pt x="389" y="624"/>
                    <a:pt x="385" y="620"/>
                    <a:pt x="386" y="614"/>
                  </a:cubicBezTo>
                  <a:cubicBezTo>
                    <a:pt x="383" y="610"/>
                    <a:pt x="376" y="613"/>
                    <a:pt x="378" y="603"/>
                  </a:cubicBezTo>
                  <a:cubicBezTo>
                    <a:pt x="370" y="603"/>
                    <a:pt x="363" y="603"/>
                    <a:pt x="356" y="603"/>
                  </a:cubicBezTo>
                  <a:cubicBezTo>
                    <a:pt x="358" y="607"/>
                    <a:pt x="361" y="609"/>
                    <a:pt x="364" y="611"/>
                  </a:cubicBezTo>
                  <a:cubicBezTo>
                    <a:pt x="364" y="624"/>
                    <a:pt x="355" y="603"/>
                    <a:pt x="356" y="614"/>
                  </a:cubicBezTo>
                  <a:cubicBezTo>
                    <a:pt x="349" y="614"/>
                    <a:pt x="353" y="598"/>
                    <a:pt x="343" y="603"/>
                  </a:cubicBezTo>
                  <a:cubicBezTo>
                    <a:pt x="340" y="598"/>
                    <a:pt x="345" y="593"/>
                    <a:pt x="345" y="592"/>
                  </a:cubicBezTo>
                  <a:cubicBezTo>
                    <a:pt x="345" y="585"/>
                    <a:pt x="336" y="584"/>
                    <a:pt x="343" y="581"/>
                  </a:cubicBezTo>
                  <a:cubicBezTo>
                    <a:pt x="352" y="577"/>
                    <a:pt x="347" y="592"/>
                    <a:pt x="348" y="599"/>
                  </a:cubicBezTo>
                  <a:cubicBezTo>
                    <a:pt x="355" y="599"/>
                    <a:pt x="352" y="586"/>
                    <a:pt x="356" y="581"/>
                  </a:cubicBezTo>
                  <a:cubicBezTo>
                    <a:pt x="357" y="577"/>
                    <a:pt x="352" y="579"/>
                    <a:pt x="351" y="577"/>
                  </a:cubicBezTo>
                  <a:cubicBezTo>
                    <a:pt x="349" y="574"/>
                    <a:pt x="353" y="565"/>
                    <a:pt x="348" y="566"/>
                  </a:cubicBezTo>
                  <a:cubicBezTo>
                    <a:pt x="350" y="562"/>
                    <a:pt x="354" y="562"/>
                    <a:pt x="353" y="555"/>
                  </a:cubicBezTo>
                  <a:cubicBezTo>
                    <a:pt x="360" y="556"/>
                    <a:pt x="354" y="568"/>
                    <a:pt x="353" y="570"/>
                  </a:cubicBezTo>
                  <a:cubicBezTo>
                    <a:pt x="353" y="578"/>
                    <a:pt x="363" y="572"/>
                    <a:pt x="367" y="574"/>
                  </a:cubicBezTo>
                  <a:cubicBezTo>
                    <a:pt x="365" y="585"/>
                    <a:pt x="372" y="587"/>
                    <a:pt x="370" y="599"/>
                  </a:cubicBezTo>
                  <a:cubicBezTo>
                    <a:pt x="384" y="595"/>
                    <a:pt x="371" y="585"/>
                    <a:pt x="372" y="570"/>
                  </a:cubicBezTo>
                  <a:cubicBezTo>
                    <a:pt x="376" y="571"/>
                    <a:pt x="376" y="576"/>
                    <a:pt x="380" y="577"/>
                  </a:cubicBezTo>
                  <a:cubicBezTo>
                    <a:pt x="386" y="578"/>
                    <a:pt x="382" y="564"/>
                    <a:pt x="383" y="559"/>
                  </a:cubicBezTo>
                  <a:cubicBezTo>
                    <a:pt x="390" y="562"/>
                    <a:pt x="390" y="554"/>
                    <a:pt x="396" y="555"/>
                  </a:cubicBezTo>
                  <a:cubicBezTo>
                    <a:pt x="397" y="570"/>
                    <a:pt x="403" y="555"/>
                    <a:pt x="410" y="562"/>
                  </a:cubicBezTo>
                  <a:cubicBezTo>
                    <a:pt x="409" y="567"/>
                    <a:pt x="405" y="568"/>
                    <a:pt x="404" y="574"/>
                  </a:cubicBezTo>
                  <a:cubicBezTo>
                    <a:pt x="413" y="576"/>
                    <a:pt x="410" y="563"/>
                    <a:pt x="418" y="566"/>
                  </a:cubicBezTo>
                  <a:cubicBezTo>
                    <a:pt x="419" y="574"/>
                    <a:pt x="426" y="573"/>
                    <a:pt x="421" y="581"/>
                  </a:cubicBezTo>
                  <a:cubicBezTo>
                    <a:pt x="417" y="580"/>
                    <a:pt x="420" y="570"/>
                    <a:pt x="415" y="570"/>
                  </a:cubicBezTo>
                  <a:cubicBezTo>
                    <a:pt x="412" y="571"/>
                    <a:pt x="412" y="577"/>
                    <a:pt x="415" y="577"/>
                  </a:cubicBezTo>
                  <a:cubicBezTo>
                    <a:pt x="415" y="582"/>
                    <a:pt x="415" y="588"/>
                    <a:pt x="418" y="588"/>
                  </a:cubicBezTo>
                  <a:cubicBezTo>
                    <a:pt x="416" y="600"/>
                    <a:pt x="416" y="595"/>
                    <a:pt x="418" y="607"/>
                  </a:cubicBezTo>
                  <a:cubicBezTo>
                    <a:pt x="424" y="609"/>
                    <a:pt x="423" y="602"/>
                    <a:pt x="423" y="596"/>
                  </a:cubicBezTo>
                  <a:cubicBezTo>
                    <a:pt x="426" y="596"/>
                    <a:pt x="426" y="602"/>
                    <a:pt x="426" y="607"/>
                  </a:cubicBezTo>
                  <a:cubicBezTo>
                    <a:pt x="426" y="614"/>
                    <a:pt x="433" y="612"/>
                    <a:pt x="431" y="622"/>
                  </a:cubicBezTo>
                  <a:cubicBezTo>
                    <a:pt x="429" y="620"/>
                    <a:pt x="427" y="618"/>
                    <a:pt x="423" y="618"/>
                  </a:cubicBezTo>
                  <a:cubicBezTo>
                    <a:pt x="416" y="617"/>
                    <a:pt x="427" y="642"/>
                    <a:pt x="415" y="636"/>
                  </a:cubicBezTo>
                  <a:cubicBezTo>
                    <a:pt x="418" y="630"/>
                    <a:pt x="416" y="618"/>
                    <a:pt x="421" y="614"/>
                  </a:cubicBezTo>
                  <a:cubicBezTo>
                    <a:pt x="419" y="611"/>
                    <a:pt x="416" y="609"/>
                    <a:pt x="412" y="607"/>
                  </a:cubicBezTo>
                  <a:cubicBezTo>
                    <a:pt x="407" y="607"/>
                    <a:pt x="412" y="615"/>
                    <a:pt x="412" y="614"/>
                  </a:cubicBezTo>
                  <a:cubicBezTo>
                    <a:pt x="411" y="620"/>
                    <a:pt x="400" y="622"/>
                    <a:pt x="410" y="625"/>
                  </a:cubicBezTo>
                  <a:cubicBezTo>
                    <a:pt x="409" y="629"/>
                    <a:pt x="404" y="628"/>
                    <a:pt x="404" y="633"/>
                  </a:cubicBezTo>
                  <a:cubicBezTo>
                    <a:pt x="405" y="637"/>
                    <a:pt x="409" y="636"/>
                    <a:pt x="412" y="636"/>
                  </a:cubicBezTo>
                  <a:cubicBezTo>
                    <a:pt x="414" y="644"/>
                    <a:pt x="409" y="643"/>
                    <a:pt x="404" y="644"/>
                  </a:cubicBezTo>
                  <a:cubicBezTo>
                    <a:pt x="400" y="653"/>
                    <a:pt x="411" y="651"/>
                    <a:pt x="412" y="655"/>
                  </a:cubicBezTo>
                  <a:cubicBezTo>
                    <a:pt x="415" y="662"/>
                    <a:pt x="408" y="669"/>
                    <a:pt x="415" y="673"/>
                  </a:cubicBezTo>
                  <a:cubicBezTo>
                    <a:pt x="420" y="668"/>
                    <a:pt x="415" y="648"/>
                    <a:pt x="421" y="636"/>
                  </a:cubicBezTo>
                  <a:cubicBezTo>
                    <a:pt x="422" y="638"/>
                    <a:pt x="429" y="651"/>
                    <a:pt x="431" y="640"/>
                  </a:cubicBezTo>
                  <a:cubicBezTo>
                    <a:pt x="437" y="641"/>
                    <a:pt x="432" y="657"/>
                    <a:pt x="439" y="655"/>
                  </a:cubicBezTo>
                  <a:close/>
                  <a:moveTo>
                    <a:pt x="426" y="570"/>
                  </a:moveTo>
                  <a:cubicBezTo>
                    <a:pt x="434" y="566"/>
                    <a:pt x="439" y="597"/>
                    <a:pt x="429" y="596"/>
                  </a:cubicBezTo>
                  <a:cubicBezTo>
                    <a:pt x="427" y="592"/>
                    <a:pt x="431" y="593"/>
                    <a:pt x="431" y="592"/>
                  </a:cubicBezTo>
                  <a:cubicBezTo>
                    <a:pt x="432" y="587"/>
                    <a:pt x="426" y="591"/>
                    <a:pt x="426" y="588"/>
                  </a:cubicBezTo>
                  <a:cubicBezTo>
                    <a:pt x="425" y="583"/>
                    <a:pt x="427" y="576"/>
                    <a:pt x="426" y="570"/>
                  </a:cubicBezTo>
                  <a:close/>
                  <a:moveTo>
                    <a:pt x="437" y="285"/>
                  </a:moveTo>
                  <a:cubicBezTo>
                    <a:pt x="435" y="284"/>
                    <a:pt x="434" y="281"/>
                    <a:pt x="431" y="281"/>
                  </a:cubicBezTo>
                  <a:cubicBezTo>
                    <a:pt x="427" y="283"/>
                    <a:pt x="435" y="294"/>
                    <a:pt x="423" y="292"/>
                  </a:cubicBezTo>
                  <a:cubicBezTo>
                    <a:pt x="425" y="290"/>
                    <a:pt x="427" y="282"/>
                    <a:pt x="423" y="281"/>
                  </a:cubicBezTo>
                  <a:cubicBezTo>
                    <a:pt x="423" y="275"/>
                    <a:pt x="441" y="274"/>
                    <a:pt x="437" y="285"/>
                  </a:cubicBezTo>
                  <a:close/>
                  <a:moveTo>
                    <a:pt x="426" y="30"/>
                  </a:moveTo>
                  <a:cubicBezTo>
                    <a:pt x="426" y="26"/>
                    <a:pt x="426" y="26"/>
                    <a:pt x="426" y="26"/>
                  </a:cubicBezTo>
                  <a:cubicBezTo>
                    <a:pt x="436" y="28"/>
                    <a:pt x="421" y="38"/>
                    <a:pt x="418" y="34"/>
                  </a:cubicBezTo>
                  <a:cubicBezTo>
                    <a:pt x="416" y="31"/>
                    <a:pt x="425" y="30"/>
                    <a:pt x="426" y="30"/>
                  </a:cubicBezTo>
                  <a:close/>
                  <a:moveTo>
                    <a:pt x="407" y="174"/>
                  </a:moveTo>
                  <a:cubicBezTo>
                    <a:pt x="413" y="173"/>
                    <a:pt x="422" y="196"/>
                    <a:pt x="410" y="196"/>
                  </a:cubicBezTo>
                  <a:cubicBezTo>
                    <a:pt x="410" y="193"/>
                    <a:pt x="412" y="193"/>
                    <a:pt x="412" y="189"/>
                  </a:cubicBezTo>
                  <a:cubicBezTo>
                    <a:pt x="410" y="183"/>
                    <a:pt x="404" y="184"/>
                    <a:pt x="399" y="182"/>
                  </a:cubicBezTo>
                  <a:cubicBezTo>
                    <a:pt x="400" y="176"/>
                    <a:pt x="407" y="180"/>
                    <a:pt x="407" y="174"/>
                  </a:cubicBezTo>
                  <a:close/>
                  <a:moveTo>
                    <a:pt x="415" y="252"/>
                  </a:moveTo>
                  <a:cubicBezTo>
                    <a:pt x="415" y="258"/>
                    <a:pt x="413" y="262"/>
                    <a:pt x="410" y="263"/>
                  </a:cubicBezTo>
                  <a:cubicBezTo>
                    <a:pt x="411" y="263"/>
                    <a:pt x="400" y="260"/>
                    <a:pt x="399" y="259"/>
                  </a:cubicBezTo>
                  <a:cubicBezTo>
                    <a:pt x="399" y="259"/>
                    <a:pt x="399" y="256"/>
                    <a:pt x="399" y="255"/>
                  </a:cubicBezTo>
                  <a:cubicBezTo>
                    <a:pt x="396" y="253"/>
                    <a:pt x="393" y="255"/>
                    <a:pt x="394" y="248"/>
                  </a:cubicBezTo>
                  <a:cubicBezTo>
                    <a:pt x="402" y="251"/>
                    <a:pt x="405" y="259"/>
                    <a:pt x="415" y="252"/>
                  </a:cubicBezTo>
                  <a:close/>
                  <a:moveTo>
                    <a:pt x="394" y="185"/>
                  </a:moveTo>
                  <a:cubicBezTo>
                    <a:pt x="391" y="182"/>
                    <a:pt x="388" y="181"/>
                    <a:pt x="383" y="182"/>
                  </a:cubicBezTo>
                  <a:cubicBezTo>
                    <a:pt x="382" y="175"/>
                    <a:pt x="398" y="175"/>
                    <a:pt x="394" y="185"/>
                  </a:cubicBezTo>
                  <a:close/>
                  <a:moveTo>
                    <a:pt x="391" y="248"/>
                  </a:moveTo>
                  <a:cubicBezTo>
                    <a:pt x="389" y="256"/>
                    <a:pt x="374" y="252"/>
                    <a:pt x="372" y="248"/>
                  </a:cubicBezTo>
                  <a:cubicBezTo>
                    <a:pt x="373" y="244"/>
                    <a:pt x="375" y="246"/>
                    <a:pt x="375" y="248"/>
                  </a:cubicBezTo>
                  <a:cubicBezTo>
                    <a:pt x="384" y="251"/>
                    <a:pt x="386" y="241"/>
                    <a:pt x="391" y="248"/>
                  </a:cubicBezTo>
                  <a:close/>
                  <a:moveTo>
                    <a:pt x="340" y="174"/>
                  </a:moveTo>
                  <a:cubicBezTo>
                    <a:pt x="350" y="177"/>
                    <a:pt x="339" y="185"/>
                    <a:pt x="345" y="193"/>
                  </a:cubicBezTo>
                  <a:cubicBezTo>
                    <a:pt x="355" y="195"/>
                    <a:pt x="361" y="181"/>
                    <a:pt x="367" y="189"/>
                  </a:cubicBezTo>
                  <a:cubicBezTo>
                    <a:pt x="367" y="185"/>
                    <a:pt x="366" y="182"/>
                    <a:pt x="364" y="182"/>
                  </a:cubicBezTo>
                  <a:cubicBezTo>
                    <a:pt x="362" y="171"/>
                    <a:pt x="377" y="184"/>
                    <a:pt x="375" y="174"/>
                  </a:cubicBezTo>
                  <a:cubicBezTo>
                    <a:pt x="380" y="177"/>
                    <a:pt x="373" y="200"/>
                    <a:pt x="370" y="204"/>
                  </a:cubicBezTo>
                  <a:cubicBezTo>
                    <a:pt x="368" y="205"/>
                    <a:pt x="367" y="208"/>
                    <a:pt x="364" y="207"/>
                  </a:cubicBezTo>
                  <a:cubicBezTo>
                    <a:pt x="370" y="200"/>
                    <a:pt x="364" y="195"/>
                    <a:pt x="359" y="193"/>
                  </a:cubicBezTo>
                  <a:cubicBezTo>
                    <a:pt x="355" y="191"/>
                    <a:pt x="357" y="199"/>
                    <a:pt x="356" y="200"/>
                  </a:cubicBezTo>
                  <a:cubicBezTo>
                    <a:pt x="352" y="203"/>
                    <a:pt x="345" y="198"/>
                    <a:pt x="340" y="200"/>
                  </a:cubicBezTo>
                  <a:cubicBezTo>
                    <a:pt x="335" y="191"/>
                    <a:pt x="333" y="182"/>
                    <a:pt x="340" y="174"/>
                  </a:cubicBezTo>
                  <a:close/>
                  <a:moveTo>
                    <a:pt x="340" y="300"/>
                  </a:moveTo>
                  <a:cubicBezTo>
                    <a:pt x="339" y="307"/>
                    <a:pt x="334" y="309"/>
                    <a:pt x="335" y="318"/>
                  </a:cubicBezTo>
                  <a:cubicBezTo>
                    <a:pt x="335" y="328"/>
                    <a:pt x="339" y="313"/>
                    <a:pt x="345" y="318"/>
                  </a:cubicBezTo>
                  <a:cubicBezTo>
                    <a:pt x="346" y="312"/>
                    <a:pt x="343" y="311"/>
                    <a:pt x="340" y="311"/>
                  </a:cubicBezTo>
                  <a:cubicBezTo>
                    <a:pt x="340" y="303"/>
                    <a:pt x="349" y="309"/>
                    <a:pt x="353" y="307"/>
                  </a:cubicBezTo>
                  <a:cubicBezTo>
                    <a:pt x="357" y="317"/>
                    <a:pt x="343" y="319"/>
                    <a:pt x="351" y="322"/>
                  </a:cubicBezTo>
                  <a:cubicBezTo>
                    <a:pt x="350" y="326"/>
                    <a:pt x="348" y="324"/>
                    <a:pt x="348" y="322"/>
                  </a:cubicBezTo>
                  <a:cubicBezTo>
                    <a:pt x="340" y="319"/>
                    <a:pt x="340" y="328"/>
                    <a:pt x="332" y="326"/>
                  </a:cubicBezTo>
                  <a:cubicBezTo>
                    <a:pt x="328" y="316"/>
                    <a:pt x="333" y="314"/>
                    <a:pt x="329" y="311"/>
                  </a:cubicBezTo>
                  <a:cubicBezTo>
                    <a:pt x="330" y="307"/>
                    <a:pt x="335" y="308"/>
                    <a:pt x="335" y="304"/>
                  </a:cubicBezTo>
                  <a:cubicBezTo>
                    <a:pt x="335" y="300"/>
                    <a:pt x="338" y="301"/>
                    <a:pt x="340" y="300"/>
                  </a:cubicBezTo>
                  <a:close/>
                  <a:moveTo>
                    <a:pt x="335" y="296"/>
                  </a:moveTo>
                  <a:cubicBezTo>
                    <a:pt x="331" y="294"/>
                    <a:pt x="330" y="288"/>
                    <a:pt x="329" y="281"/>
                  </a:cubicBezTo>
                  <a:cubicBezTo>
                    <a:pt x="334" y="282"/>
                    <a:pt x="335" y="288"/>
                    <a:pt x="335" y="296"/>
                  </a:cubicBezTo>
                  <a:close/>
                  <a:moveTo>
                    <a:pt x="324" y="163"/>
                  </a:moveTo>
                  <a:cubicBezTo>
                    <a:pt x="324" y="170"/>
                    <a:pt x="324" y="178"/>
                    <a:pt x="324" y="185"/>
                  </a:cubicBezTo>
                  <a:cubicBezTo>
                    <a:pt x="327" y="183"/>
                    <a:pt x="327" y="177"/>
                    <a:pt x="332" y="178"/>
                  </a:cubicBezTo>
                  <a:cubicBezTo>
                    <a:pt x="334" y="193"/>
                    <a:pt x="313" y="206"/>
                    <a:pt x="313" y="185"/>
                  </a:cubicBezTo>
                  <a:cubicBezTo>
                    <a:pt x="316" y="185"/>
                    <a:pt x="315" y="190"/>
                    <a:pt x="316" y="193"/>
                  </a:cubicBezTo>
                  <a:cubicBezTo>
                    <a:pt x="321" y="194"/>
                    <a:pt x="320" y="176"/>
                    <a:pt x="313" y="182"/>
                  </a:cubicBezTo>
                  <a:cubicBezTo>
                    <a:pt x="320" y="172"/>
                    <a:pt x="310" y="170"/>
                    <a:pt x="310" y="159"/>
                  </a:cubicBezTo>
                  <a:cubicBezTo>
                    <a:pt x="315" y="152"/>
                    <a:pt x="318" y="161"/>
                    <a:pt x="324" y="163"/>
                  </a:cubicBezTo>
                  <a:close/>
                  <a:moveTo>
                    <a:pt x="308" y="241"/>
                  </a:moveTo>
                  <a:cubicBezTo>
                    <a:pt x="316" y="246"/>
                    <a:pt x="318" y="237"/>
                    <a:pt x="321" y="248"/>
                  </a:cubicBezTo>
                  <a:cubicBezTo>
                    <a:pt x="323" y="246"/>
                    <a:pt x="326" y="244"/>
                    <a:pt x="329" y="244"/>
                  </a:cubicBezTo>
                  <a:cubicBezTo>
                    <a:pt x="330" y="248"/>
                    <a:pt x="328" y="248"/>
                    <a:pt x="326" y="248"/>
                  </a:cubicBezTo>
                  <a:cubicBezTo>
                    <a:pt x="319" y="255"/>
                    <a:pt x="326" y="266"/>
                    <a:pt x="326" y="274"/>
                  </a:cubicBezTo>
                  <a:cubicBezTo>
                    <a:pt x="327" y="282"/>
                    <a:pt x="324" y="291"/>
                    <a:pt x="326" y="296"/>
                  </a:cubicBezTo>
                  <a:cubicBezTo>
                    <a:pt x="323" y="296"/>
                    <a:pt x="319" y="296"/>
                    <a:pt x="318" y="300"/>
                  </a:cubicBezTo>
                  <a:cubicBezTo>
                    <a:pt x="312" y="292"/>
                    <a:pt x="326" y="281"/>
                    <a:pt x="321" y="263"/>
                  </a:cubicBezTo>
                  <a:cubicBezTo>
                    <a:pt x="321" y="266"/>
                    <a:pt x="307" y="266"/>
                    <a:pt x="313" y="259"/>
                  </a:cubicBezTo>
                  <a:cubicBezTo>
                    <a:pt x="313" y="259"/>
                    <a:pt x="318" y="260"/>
                    <a:pt x="318" y="259"/>
                  </a:cubicBezTo>
                  <a:cubicBezTo>
                    <a:pt x="318" y="258"/>
                    <a:pt x="314" y="249"/>
                    <a:pt x="313" y="248"/>
                  </a:cubicBezTo>
                  <a:cubicBezTo>
                    <a:pt x="311" y="247"/>
                    <a:pt x="309" y="251"/>
                    <a:pt x="310" y="252"/>
                  </a:cubicBezTo>
                  <a:cubicBezTo>
                    <a:pt x="314" y="256"/>
                    <a:pt x="310" y="255"/>
                    <a:pt x="308" y="252"/>
                  </a:cubicBezTo>
                  <a:cubicBezTo>
                    <a:pt x="305" y="248"/>
                    <a:pt x="308" y="249"/>
                    <a:pt x="308" y="241"/>
                  </a:cubicBezTo>
                  <a:close/>
                  <a:moveTo>
                    <a:pt x="308" y="270"/>
                  </a:moveTo>
                  <a:cubicBezTo>
                    <a:pt x="308" y="261"/>
                    <a:pt x="312" y="275"/>
                    <a:pt x="318" y="270"/>
                  </a:cubicBezTo>
                  <a:cubicBezTo>
                    <a:pt x="317" y="278"/>
                    <a:pt x="313" y="282"/>
                    <a:pt x="310" y="289"/>
                  </a:cubicBezTo>
                  <a:cubicBezTo>
                    <a:pt x="305" y="287"/>
                    <a:pt x="312" y="273"/>
                    <a:pt x="308" y="270"/>
                  </a:cubicBezTo>
                  <a:close/>
                  <a:moveTo>
                    <a:pt x="313" y="311"/>
                  </a:moveTo>
                  <a:cubicBezTo>
                    <a:pt x="318" y="310"/>
                    <a:pt x="321" y="312"/>
                    <a:pt x="321" y="318"/>
                  </a:cubicBezTo>
                  <a:cubicBezTo>
                    <a:pt x="316" y="317"/>
                    <a:pt x="309" y="317"/>
                    <a:pt x="310" y="307"/>
                  </a:cubicBezTo>
                  <a:cubicBezTo>
                    <a:pt x="303" y="306"/>
                    <a:pt x="313" y="328"/>
                    <a:pt x="302" y="322"/>
                  </a:cubicBezTo>
                  <a:cubicBezTo>
                    <a:pt x="303" y="313"/>
                    <a:pt x="303" y="304"/>
                    <a:pt x="297" y="304"/>
                  </a:cubicBezTo>
                  <a:cubicBezTo>
                    <a:pt x="293" y="305"/>
                    <a:pt x="298" y="308"/>
                    <a:pt x="297" y="315"/>
                  </a:cubicBezTo>
                  <a:cubicBezTo>
                    <a:pt x="289" y="318"/>
                    <a:pt x="292" y="306"/>
                    <a:pt x="292" y="300"/>
                  </a:cubicBezTo>
                  <a:cubicBezTo>
                    <a:pt x="299" y="295"/>
                    <a:pt x="306" y="311"/>
                    <a:pt x="305" y="296"/>
                  </a:cubicBezTo>
                  <a:cubicBezTo>
                    <a:pt x="312" y="295"/>
                    <a:pt x="312" y="304"/>
                    <a:pt x="313" y="311"/>
                  </a:cubicBezTo>
                  <a:close/>
                  <a:moveTo>
                    <a:pt x="292" y="159"/>
                  </a:moveTo>
                  <a:cubicBezTo>
                    <a:pt x="297" y="166"/>
                    <a:pt x="296" y="157"/>
                    <a:pt x="305" y="159"/>
                  </a:cubicBezTo>
                  <a:cubicBezTo>
                    <a:pt x="307" y="167"/>
                    <a:pt x="289" y="173"/>
                    <a:pt x="292" y="159"/>
                  </a:cubicBezTo>
                  <a:close/>
                  <a:moveTo>
                    <a:pt x="286" y="174"/>
                  </a:moveTo>
                  <a:cubicBezTo>
                    <a:pt x="293" y="173"/>
                    <a:pt x="292" y="181"/>
                    <a:pt x="300" y="178"/>
                  </a:cubicBezTo>
                  <a:cubicBezTo>
                    <a:pt x="298" y="181"/>
                    <a:pt x="297" y="184"/>
                    <a:pt x="297" y="189"/>
                  </a:cubicBezTo>
                  <a:cubicBezTo>
                    <a:pt x="293" y="185"/>
                    <a:pt x="285" y="186"/>
                    <a:pt x="286" y="174"/>
                  </a:cubicBezTo>
                  <a:close/>
                  <a:moveTo>
                    <a:pt x="289" y="255"/>
                  </a:moveTo>
                  <a:cubicBezTo>
                    <a:pt x="287" y="255"/>
                    <a:pt x="286" y="252"/>
                    <a:pt x="283" y="252"/>
                  </a:cubicBezTo>
                  <a:cubicBezTo>
                    <a:pt x="283" y="249"/>
                    <a:pt x="283" y="247"/>
                    <a:pt x="283" y="244"/>
                  </a:cubicBezTo>
                  <a:cubicBezTo>
                    <a:pt x="289" y="243"/>
                    <a:pt x="289" y="250"/>
                    <a:pt x="289" y="255"/>
                  </a:cubicBezTo>
                  <a:close/>
                  <a:moveTo>
                    <a:pt x="283" y="189"/>
                  </a:moveTo>
                  <a:cubicBezTo>
                    <a:pt x="278" y="188"/>
                    <a:pt x="282" y="177"/>
                    <a:pt x="275" y="178"/>
                  </a:cubicBezTo>
                  <a:cubicBezTo>
                    <a:pt x="279" y="167"/>
                    <a:pt x="287" y="178"/>
                    <a:pt x="283" y="189"/>
                  </a:cubicBezTo>
                  <a:close/>
                  <a:moveTo>
                    <a:pt x="278" y="248"/>
                  </a:moveTo>
                  <a:cubicBezTo>
                    <a:pt x="274" y="246"/>
                    <a:pt x="273" y="240"/>
                    <a:pt x="273" y="233"/>
                  </a:cubicBezTo>
                  <a:cubicBezTo>
                    <a:pt x="277" y="234"/>
                    <a:pt x="279" y="240"/>
                    <a:pt x="278" y="248"/>
                  </a:cubicBezTo>
                  <a:close/>
                  <a:moveTo>
                    <a:pt x="267" y="174"/>
                  </a:moveTo>
                  <a:cubicBezTo>
                    <a:pt x="269" y="174"/>
                    <a:pt x="271" y="174"/>
                    <a:pt x="273" y="174"/>
                  </a:cubicBezTo>
                  <a:cubicBezTo>
                    <a:pt x="273" y="177"/>
                    <a:pt x="273" y="179"/>
                    <a:pt x="273" y="182"/>
                  </a:cubicBezTo>
                  <a:cubicBezTo>
                    <a:pt x="271" y="182"/>
                    <a:pt x="269" y="182"/>
                    <a:pt x="267" y="182"/>
                  </a:cubicBezTo>
                  <a:cubicBezTo>
                    <a:pt x="267" y="179"/>
                    <a:pt x="267" y="177"/>
                    <a:pt x="267" y="174"/>
                  </a:cubicBezTo>
                  <a:close/>
                  <a:moveTo>
                    <a:pt x="276" y="259"/>
                  </a:moveTo>
                  <a:cubicBezTo>
                    <a:pt x="277" y="257"/>
                    <a:pt x="279" y="253"/>
                    <a:pt x="278" y="252"/>
                  </a:cubicBezTo>
                  <a:cubicBezTo>
                    <a:pt x="281" y="254"/>
                    <a:pt x="279" y="256"/>
                    <a:pt x="281" y="259"/>
                  </a:cubicBezTo>
                  <a:cubicBezTo>
                    <a:pt x="283" y="262"/>
                    <a:pt x="289" y="264"/>
                    <a:pt x="286" y="278"/>
                  </a:cubicBezTo>
                  <a:cubicBezTo>
                    <a:pt x="284" y="284"/>
                    <a:pt x="283" y="275"/>
                    <a:pt x="283" y="270"/>
                  </a:cubicBezTo>
                  <a:cubicBezTo>
                    <a:pt x="284" y="266"/>
                    <a:pt x="275" y="260"/>
                    <a:pt x="270" y="259"/>
                  </a:cubicBezTo>
                  <a:cubicBezTo>
                    <a:pt x="268" y="259"/>
                    <a:pt x="265" y="266"/>
                    <a:pt x="265" y="259"/>
                  </a:cubicBezTo>
                  <a:cubicBezTo>
                    <a:pt x="257" y="254"/>
                    <a:pt x="274" y="257"/>
                    <a:pt x="276" y="259"/>
                  </a:cubicBezTo>
                  <a:close/>
                  <a:moveTo>
                    <a:pt x="259" y="237"/>
                  </a:moveTo>
                  <a:cubicBezTo>
                    <a:pt x="263" y="238"/>
                    <a:pt x="260" y="248"/>
                    <a:pt x="265" y="248"/>
                  </a:cubicBezTo>
                  <a:cubicBezTo>
                    <a:pt x="264" y="257"/>
                    <a:pt x="257" y="245"/>
                    <a:pt x="259" y="237"/>
                  </a:cubicBezTo>
                  <a:close/>
                  <a:moveTo>
                    <a:pt x="257" y="270"/>
                  </a:moveTo>
                  <a:cubicBezTo>
                    <a:pt x="250" y="282"/>
                    <a:pt x="261" y="262"/>
                    <a:pt x="254" y="263"/>
                  </a:cubicBezTo>
                  <a:cubicBezTo>
                    <a:pt x="255" y="249"/>
                    <a:pt x="265" y="271"/>
                    <a:pt x="257" y="270"/>
                  </a:cubicBezTo>
                  <a:close/>
                  <a:moveTo>
                    <a:pt x="251" y="174"/>
                  </a:moveTo>
                  <a:cubicBezTo>
                    <a:pt x="253" y="174"/>
                    <a:pt x="255" y="174"/>
                    <a:pt x="257" y="174"/>
                  </a:cubicBezTo>
                  <a:cubicBezTo>
                    <a:pt x="257" y="177"/>
                    <a:pt x="257" y="179"/>
                    <a:pt x="257" y="182"/>
                  </a:cubicBezTo>
                  <a:cubicBezTo>
                    <a:pt x="255" y="182"/>
                    <a:pt x="253" y="182"/>
                    <a:pt x="251" y="182"/>
                  </a:cubicBezTo>
                  <a:cubicBezTo>
                    <a:pt x="251" y="179"/>
                    <a:pt x="251" y="177"/>
                    <a:pt x="251" y="174"/>
                  </a:cubicBezTo>
                  <a:close/>
                  <a:moveTo>
                    <a:pt x="249" y="289"/>
                  </a:moveTo>
                  <a:cubicBezTo>
                    <a:pt x="251" y="289"/>
                    <a:pt x="251" y="284"/>
                    <a:pt x="251" y="281"/>
                  </a:cubicBezTo>
                  <a:cubicBezTo>
                    <a:pt x="253" y="283"/>
                    <a:pt x="257" y="285"/>
                    <a:pt x="257" y="289"/>
                  </a:cubicBezTo>
                  <a:cubicBezTo>
                    <a:pt x="256" y="289"/>
                    <a:pt x="251" y="293"/>
                    <a:pt x="251" y="292"/>
                  </a:cubicBezTo>
                  <a:cubicBezTo>
                    <a:pt x="251" y="299"/>
                    <a:pt x="257" y="302"/>
                    <a:pt x="254" y="311"/>
                  </a:cubicBezTo>
                  <a:cubicBezTo>
                    <a:pt x="241" y="308"/>
                    <a:pt x="251" y="297"/>
                    <a:pt x="246" y="285"/>
                  </a:cubicBezTo>
                  <a:cubicBezTo>
                    <a:pt x="248" y="284"/>
                    <a:pt x="248" y="286"/>
                    <a:pt x="249" y="289"/>
                  </a:cubicBezTo>
                  <a:close/>
                  <a:moveTo>
                    <a:pt x="243" y="274"/>
                  </a:moveTo>
                  <a:cubicBezTo>
                    <a:pt x="240" y="279"/>
                    <a:pt x="242" y="275"/>
                    <a:pt x="240" y="270"/>
                  </a:cubicBezTo>
                  <a:cubicBezTo>
                    <a:pt x="240" y="270"/>
                    <a:pt x="238" y="270"/>
                    <a:pt x="238" y="270"/>
                  </a:cubicBezTo>
                  <a:cubicBezTo>
                    <a:pt x="238" y="265"/>
                    <a:pt x="240" y="270"/>
                    <a:pt x="240" y="270"/>
                  </a:cubicBezTo>
                  <a:cubicBezTo>
                    <a:pt x="245" y="273"/>
                    <a:pt x="246" y="271"/>
                    <a:pt x="243" y="274"/>
                  </a:cubicBezTo>
                  <a:close/>
                  <a:moveTo>
                    <a:pt x="227" y="304"/>
                  </a:moveTo>
                  <a:cubicBezTo>
                    <a:pt x="226" y="296"/>
                    <a:pt x="239" y="298"/>
                    <a:pt x="235" y="307"/>
                  </a:cubicBezTo>
                  <a:cubicBezTo>
                    <a:pt x="233" y="307"/>
                    <a:pt x="231" y="307"/>
                    <a:pt x="230" y="307"/>
                  </a:cubicBezTo>
                  <a:cubicBezTo>
                    <a:pt x="230" y="304"/>
                    <a:pt x="229" y="304"/>
                    <a:pt x="227" y="304"/>
                  </a:cubicBezTo>
                  <a:close/>
                  <a:moveTo>
                    <a:pt x="235" y="278"/>
                  </a:moveTo>
                  <a:cubicBezTo>
                    <a:pt x="238" y="279"/>
                    <a:pt x="237" y="285"/>
                    <a:pt x="240" y="285"/>
                  </a:cubicBezTo>
                  <a:cubicBezTo>
                    <a:pt x="239" y="295"/>
                    <a:pt x="232" y="285"/>
                    <a:pt x="235" y="278"/>
                  </a:cubicBezTo>
                  <a:close/>
                  <a:moveTo>
                    <a:pt x="235" y="244"/>
                  </a:moveTo>
                  <a:cubicBezTo>
                    <a:pt x="238" y="245"/>
                    <a:pt x="237" y="252"/>
                    <a:pt x="240" y="252"/>
                  </a:cubicBezTo>
                  <a:cubicBezTo>
                    <a:pt x="240" y="255"/>
                    <a:pt x="237" y="255"/>
                    <a:pt x="235" y="255"/>
                  </a:cubicBezTo>
                  <a:cubicBezTo>
                    <a:pt x="235" y="259"/>
                    <a:pt x="236" y="259"/>
                    <a:pt x="238" y="259"/>
                  </a:cubicBezTo>
                  <a:cubicBezTo>
                    <a:pt x="237" y="268"/>
                    <a:pt x="231" y="255"/>
                    <a:pt x="227" y="255"/>
                  </a:cubicBezTo>
                  <a:cubicBezTo>
                    <a:pt x="227" y="251"/>
                    <a:pt x="230" y="253"/>
                    <a:pt x="230" y="255"/>
                  </a:cubicBezTo>
                  <a:cubicBezTo>
                    <a:pt x="232" y="253"/>
                    <a:pt x="234" y="249"/>
                    <a:pt x="235" y="244"/>
                  </a:cubicBezTo>
                  <a:close/>
                  <a:moveTo>
                    <a:pt x="230" y="163"/>
                  </a:moveTo>
                  <a:cubicBezTo>
                    <a:pt x="231" y="162"/>
                    <a:pt x="222" y="159"/>
                    <a:pt x="222" y="159"/>
                  </a:cubicBezTo>
                  <a:cubicBezTo>
                    <a:pt x="221" y="153"/>
                    <a:pt x="236" y="154"/>
                    <a:pt x="230" y="163"/>
                  </a:cubicBezTo>
                  <a:close/>
                  <a:moveTo>
                    <a:pt x="222" y="244"/>
                  </a:moveTo>
                  <a:cubicBezTo>
                    <a:pt x="218" y="243"/>
                    <a:pt x="216" y="240"/>
                    <a:pt x="216" y="233"/>
                  </a:cubicBezTo>
                  <a:cubicBezTo>
                    <a:pt x="219" y="235"/>
                    <a:pt x="222" y="238"/>
                    <a:pt x="222" y="244"/>
                  </a:cubicBezTo>
                  <a:close/>
                  <a:moveTo>
                    <a:pt x="214" y="270"/>
                  </a:moveTo>
                  <a:cubicBezTo>
                    <a:pt x="212" y="260"/>
                    <a:pt x="226" y="273"/>
                    <a:pt x="224" y="263"/>
                  </a:cubicBezTo>
                  <a:cubicBezTo>
                    <a:pt x="230" y="265"/>
                    <a:pt x="220" y="277"/>
                    <a:pt x="222" y="285"/>
                  </a:cubicBezTo>
                  <a:cubicBezTo>
                    <a:pt x="221" y="299"/>
                    <a:pt x="215" y="274"/>
                    <a:pt x="222" y="278"/>
                  </a:cubicBezTo>
                  <a:cubicBezTo>
                    <a:pt x="220" y="274"/>
                    <a:pt x="217" y="272"/>
                    <a:pt x="214" y="270"/>
                  </a:cubicBezTo>
                  <a:close/>
                  <a:moveTo>
                    <a:pt x="216" y="337"/>
                  </a:moveTo>
                  <a:cubicBezTo>
                    <a:pt x="216" y="326"/>
                    <a:pt x="218" y="334"/>
                    <a:pt x="222" y="333"/>
                  </a:cubicBezTo>
                  <a:cubicBezTo>
                    <a:pt x="223" y="333"/>
                    <a:pt x="234" y="322"/>
                    <a:pt x="232" y="337"/>
                  </a:cubicBezTo>
                  <a:cubicBezTo>
                    <a:pt x="238" y="339"/>
                    <a:pt x="242" y="319"/>
                    <a:pt x="232" y="322"/>
                  </a:cubicBezTo>
                  <a:cubicBezTo>
                    <a:pt x="232" y="318"/>
                    <a:pt x="232" y="315"/>
                    <a:pt x="232" y="311"/>
                  </a:cubicBezTo>
                  <a:cubicBezTo>
                    <a:pt x="236" y="315"/>
                    <a:pt x="238" y="321"/>
                    <a:pt x="240" y="326"/>
                  </a:cubicBezTo>
                  <a:cubicBezTo>
                    <a:pt x="241" y="332"/>
                    <a:pt x="238" y="332"/>
                    <a:pt x="238" y="337"/>
                  </a:cubicBezTo>
                  <a:cubicBezTo>
                    <a:pt x="237" y="349"/>
                    <a:pt x="242" y="368"/>
                    <a:pt x="232" y="366"/>
                  </a:cubicBezTo>
                  <a:cubicBezTo>
                    <a:pt x="235" y="356"/>
                    <a:pt x="235" y="351"/>
                    <a:pt x="232" y="341"/>
                  </a:cubicBezTo>
                  <a:cubicBezTo>
                    <a:pt x="226" y="339"/>
                    <a:pt x="234" y="357"/>
                    <a:pt x="224" y="352"/>
                  </a:cubicBezTo>
                  <a:cubicBezTo>
                    <a:pt x="224" y="346"/>
                    <a:pt x="227" y="345"/>
                    <a:pt x="227" y="341"/>
                  </a:cubicBezTo>
                  <a:cubicBezTo>
                    <a:pt x="226" y="328"/>
                    <a:pt x="215" y="347"/>
                    <a:pt x="216" y="337"/>
                  </a:cubicBezTo>
                  <a:close/>
                  <a:moveTo>
                    <a:pt x="211" y="703"/>
                  </a:moveTo>
                  <a:cubicBezTo>
                    <a:pt x="210" y="696"/>
                    <a:pt x="203" y="696"/>
                    <a:pt x="205" y="684"/>
                  </a:cubicBezTo>
                  <a:cubicBezTo>
                    <a:pt x="208" y="684"/>
                    <a:pt x="211" y="684"/>
                    <a:pt x="214" y="684"/>
                  </a:cubicBezTo>
                  <a:cubicBezTo>
                    <a:pt x="216" y="693"/>
                    <a:pt x="215" y="705"/>
                    <a:pt x="222" y="707"/>
                  </a:cubicBezTo>
                  <a:cubicBezTo>
                    <a:pt x="221" y="712"/>
                    <a:pt x="215" y="710"/>
                    <a:pt x="211" y="710"/>
                  </a:cubicBezTo>
                  <a:cubicBezTo>
                    <a:pt x="209" y="707"/>
                    <a:pt x="208" y="704"/>
                    <a:pt x="211" y="703"/>
                  </a:cubicBezTo>
                  <a:close/>
                  <a:moveTo>
                    <a:pt x="214" y="795"/>
                  </a:moveTo>
                  <a:cubicBezTo>
                    <a:pt x="224" y="806"/>
                    <a:pt x="204" y="810"/>
                    <a:pt x="214" y="795"/>
                  </a:cubicBezTo>
                  <a:close/>
                  <a:moveTo>
                    <a:pt x="214" y="788"/>
                  </a:moveTo>
                  <a:cubicBezTo>
                    <a:pt x="212" y="779"/>
                    <a:pt x="218" y="780"/>
                    <a:pt x="216" y="770"/>
                  </a:cubicBezTo>
                  <a:cubicBezTo>
                    <a:pt x="219" y="772"/>
                    <a:pt x="222" y="774"/>
                    <a:pt x="227" y="773"/>
                  </a:cubicBezTo>
                  <a:cubicBezTo>
                    <a:pt x="227" y="777"/>
                    <a:pt x="224" y="776"/>
                    <a:pt x="222" y="777"/>
                  </a:cubicBezTo>
                  <a:cubicBezTo>
                    <a:pt x="221" y="783"/>
                    <a:pt x="224" y="784"/>
                    <a:pt x="227" y="784"/>
                  </a:cubicBezTo>
                  <a:cubicBezTo>
                    <a:pt x="228" y="790"/>
                    <a:pt x="216" y="793"/>
                    <a:pt x="224" y="795"/>
                  </a:cubicBezTo>
                  <a:cubicBezTo>
                    <a:pt x="222" y="806"/>
                    <a:pt x="218" y="787"/>
                    <a:pt x="214" y="788"/>
                  </a:cubicBezTo>
                  <a:close/>
                  <a:moveTo>
                    <a:pt x="227" y="832"/>
                  </a:moveTo>
                  <a:cubicBezTo>
                    <a:pt x="217" y="831"/>
                    <a:pt x="220" y="823"/>
                    <a:pt x="222" y="814"/>
                  </a:cubicBezTo>
                  <a:cubicBezTo>
                    <a:pt x="227" y="814"/>
                    <a:pt x="227" y="823"/>
                    <a:pt x="227" y="832"/>
                  </a:cubicBezTo>
                  <a:close/>
                  <a:moveTo>
                    <a:pt x="227" y="640"/>
                  </a:moveTo>
                  <a:cubicBezTo>
                    <a:pt x="230" y="629"/>
                    <a:pt x="236" y="642"/>
                    <a:pt x="238" y="644"/>
                  </a:cubicBezTo>
                  <a:cubicBezTo>
                    <a:pt x="237" y="653"/>
                    <a:pt x="231" y="640"/>
                    <a:pt x="227" y="640"/>
                  </a:cubicBezTo>
                  <a:close/>
                  <a:moveTo>
                    <a:pt x="232" y="559"/>
                  </a:moveTo>
                  <a:cubicBezTo>
                    <a:pt x="235" y="549"/>
                    <a:pt x="238" y="567"/>
                    <a:pt x="243" y="566"/>
                  </a:cubicBezTo>
                  <a:cubicBezTo>
                    <a:pt x="238" y="579"/>
                    <a:pt x="238" y="557"/>
                    <a:pt x="232" y="559"/>
                  </a:cubicBezTo>
                  <a:close/>
                  <a:moveTo>
                    <a:pt x="240" y="692"/>
                  </a:moveTo>
                  <a:cubicBezTo>
                    <a:pt x="243" y="689"/>
                    <a:pt x="243" y="684"/>
                    <a:pt x="243" y="677"/>
                  </a:cubicBezTo>
                  <a:cubicBezTo>
                    <a:pt x="248" y="676"/>
                    <a:pt x="248" y="698"/>
                    <a:pt x="240" y="692"/>
                  </a:cubicBezTo>
                  <a:close/>
                  <a:moveTo>
                    <a:pt x="246" y="592"/>
                  </a:moveTo>
                  <a:cubicBezTo>
                    <a:pt x="245" y="594"/>
                    <a:pt x="238" y="582"/>
                    <a:pt x="243" y="577"/>
                  </a:cubicBezTo>
                  <a:cubicBezTo>
                    <a:pt x="245" y="576"/>
                    <a:pt x="248" y="590"/>
                    <a:pt x="246" y="592"/>
                  </a:cubicBezTo>
                  <a:close/>
                  <a:moveTo>
                    <a:pt x="238" y="555"/>
                  </a:moveTo>
                  <a:cubicBezTo>
                    <a:pt x="238" y="547"/>
                    <a:pt x="250" y="554"/>
                    <a:pt x="249" y="544"/>
                  </a:cubicBezTo>
                  <a:cubicBezTo>
                    <a:pt x="252" y="550"/>
                    <a:pt x="264" y="545"/>
                    <a:pt x="267" y="551"/>
                  </a:cubicBezTo>
                  <a:cubicBezTo>
                    <a:pt x="262" y="560"/>
                    <a:pt x="249" y="542"/>
                    <a:pt x="249" y="562"/>
                  </a:cubicBezTo>
                  <a:cubicBezTo>
                    <a:pt x="244" y="561"/>
                    <a:pt x="246" y="551"/>
                    <a:pt x="238" y="555"/>
                  </a:cubicBezTo>
                  <a:close/>
                  <a:moveTo>
                    <a:pt x="249" y="651"/>
                  </a:moveTo>
                  <a:cubicBezTo>
                    <a:pt x="258" y="647"/>
                    <a:pt x="253" y="663"/>
                    <a:pt x="254" y="670"/>
                  </a:cubicBezTo>
                  <a:cubicBezTo>
                    <a:pt x="245" y="665"/>
                    <a:pt x="253" y="662"/>
                    <a:pt x="249" y="651"/>
                  </a:cubicBezTo>
                  <a:close/>
                  <a:moveTo>
                    <a:pt x="254" y="847"/>
                  </a:moveTo>
                  <a:cubicBezTo>
                    <a:pt x="250" y="846"/>
                    <a:pt x="252" y="838"/>
                    <a:pt x="251" y="832"/>
                  </a:cubicBezTo>
                  <a:cubicBezTo>
                    <a:pt x="262" y="831"/>
                    <a:pt x="253" y="840"/>
                    <a:pt x="254" y="847"/>
                  </a:cubicBezTo>
                  <a:close/>
                  <a:moveTo>
                    <a:pt x="262" y="633"/>
                  </a:moveTo>
                  <a:cubicBezTo>
                    <a:pt x="250" y="627"/>
                    <a:pt x="264" y="620"/>
                    <a:pt x="262" y="607"/>
                  </a:cubicBezTo>
                  <a:cubicBezTo>
                    <a:pt x="255" y="606"/>
                    <a:pt x="254" y="613"/>
                    <a:pt x="251" y="618"/>
                  </a:cubicBezTo>
                  <a:cubicBezTo>
                    <a:pt x="247" y="616"/>
                    <a:pt x="251" y="615"/>
                    <a:pt x="251" y="611"/>
                  </a:cubicBezTo>
                  <a:cubicBezTo>
                    <a:pt x="250" y="605"/>
                    <a:pt x="254" y="604"/>
                    <a:pt x="254" y="599"/>
                  </a:cubicBezTo>
                  <a:cubicBezTo>
                    <a:pt x="251" y="594"/>
                    <a:pt x="249" y="579"/>
                    <a:pt x="251" y="570"/>
                  </a:cubicBezTo>
                  <a:cubicBezTo>
                    <a:pt x="251" y="569"/>
                    <a:pt x="254" y="570"/>
                    <a:pt x="254" y="566"/>
                  </a:cubicBezTo>
                  <a:cubicBezTo>
                    <a:pt x="254" y="560"/>
                    <a:pt x="255" y="559"/>
                    <a:pt x="259" y="559"/>
                  </a:cubicBezTo>
                  <a:cubicBezTo>
                    <a:pt x="260" y="566"/>
                    <a:pt x="257" y="569"/>
                    <a:pt x="257" y="574"/>
                  </a:cubicBezTo>
                  <a:cubicBezTo>
                    <a:pt x="258" y="582"/>
                    <a:pt x="261" y="569"/>
                    <a:pt x="265" y="577"/>
                  </a:cubicBezTo>
                  <a:cubicBezTo>
                    <a:pt x="261" y="589"/>
                    <a:pt x="265" y="592"/>
                    <a:pt x="262" y="599"/>
                  </a:cubicBezTo>
                  <a:cubicBezTo>
                    <a:pt x="260" y="611"/>
                    <a:pt x="269" y="607"/>
                    <a:pt x="267" y="618"/>
                  </a:cubicBezTo>
                  <a:cubicBezTo>
                    <a:pt x="258" y="618"/>
                    <a:pt x="267" y="623"/>
                    <a:pt x="262" y="633"/>
                  </a:cubicBezTo>
                  <a:close/>
                  <a:moveTo>
                    <a:pt x="265" y="666"/>
                  </a:moveTo>
                  <a:cubicBezTo>
                    <a:pt x="269" y="667"/>
                    <a:pt x="270" y="662"/>
                    <a:pt x="275" y="662"/>
                  </a:cubicBezTo>
                  <a:cubicBezTo>
                    <a:pt x="273" y="664"/>
                    <a:pt x="264" y="682"/>
                    <a:pt x="265" y="666"/>
                  </a:cubicBezTo>
                  <a:close/>
                  <a:moveTo>
                    <a:pt x="278" y="766"/>
                  </a:moveTo>
                  <a:cubicBezTo>
                    <a:pt x="273" y="766"/>
                    <a:pt x="272" y="761"/>
                    <a:pt x="267" y="762"/>
                  </a:cubicBezTo>
                  <a:cubicBezTo>
                    <a:pt x="268" y="758"/>
                    <a:pt x="273" y="758"/>
                    <a:pt x="273" y="762"/>
                  </a:cubicBezTo>
                  <a:cubicBezTo>
                    <a:pt x="275" y="761"/>
                    <a:pt x="278" y="759"/>
                    <a:pt x="278" y="755"/>
                  </a:cubicBezTo>
                  <a:cubicBezTo>
                    <a:pt x="283" y="745"/>
                    <a:pt x="278" y="761"/>
                    <a:pt x="278" y="766"/>
                  </a:cubicBezTo>
                  <a:close/>
                  <a:moveTo>
                    <a:pt x="275" y="721"/>
                  </a:moveTo>
                  <a:cubicBezTo>
                    <a:pt x="275" y="717"/>
                    <a:pt x="280" y="716"/>
                    <a:pt x="281" y="714"/>
                  </a:cubicBezTo>
                  <a:cubicBezTo>
                    <a:pt x="282" y="710"/>
                    <a:pt x="272" y="697"/>
                    <a:pt x="283" y="699"/>
                  </a:cubicBezTo>
                  <a:cubicBezTo>
                    <a:pt x="283" y="702"/>
                    <a:pt x="281" y="703"/>
                    <a:pt x="281" y="707"/>
                  </a:cubicBezTo>
                  <a:cubicBezTo>
                    <a:pt x="279" y="713"/>
                    <a:pt x="288" y="712"/>
                    <a:pt x="289" y="714"/>
                  </a:cubicBezTo>
                  <a:cubicBezTo>
                    <a:pt x="290" y="718"/>
                    <a:pt x="284" y="717"/>
                    <a:pt x="283" y="718"/>
                  </a:cubicBezTo>
                  <a:cubicBezTo>
                    <a:pt x="282" y="723"/>
                    <a:pt x="292" y="724"/>
                    <a:pt x="289" y="733"/>
                  </a:cubicBezTo>
                  <a:cubicBezTo>
                    <a:pt x="279" y="737"/>
                    <a:pt x="285" y="719"/>
                    <a:pt x="275" y="721"/>
                  </a:cubicBezTo>
                  <a:close/>
                  <a:moveTo>
                    <a:pt x="281" y="766"/>
                  </a:moveTo>
                  <a:cubicBezTo>
                    <a:pt x="281" y="759"/>
                    <a:pt x="288" y="761"/>
                    <a:pt x="286" y="751"/>
                  </a:cubicBezTo>
                  <a:cubicBezTo>
                    <a:pt x="292" y="753"/>
                    <a:pt x="290" y="773"/>
                    <a:pt x="281" y="766"/>
                  </a:cubicBezTo>
                  <a:close/>
                  <a:moveTo>
                    <a:pt x="286" y="648"/>
                  </a:moveTo>
                  <a:cubicBezTo>
                    <a:pt x="286" y="643"/>
                    <a:pt x="286" y="638"/>
                    <a:pt x="286" y="633"/>
                  </a:cubicBezTo>
                  <a:cubicBezTo>
                    <a:pt x="289" y="634"/>
                    <a:pt x="291" y="636"/>
                    <a:pt x="292" y="640"/>
                  </a:cubicBezTo>
                  <a:cubicBezTo>
                    <a:pt x="294" y="640"/>
                    <a:pt x="294" y="636"/>
                    <a:pt x="294" y="633"/>
                  </a:cubicBezTo>
                  <a:cubicBezTo>
                    <a:pt x="304" y="636"/>
                    <a:pt x="296" y="650"/>
                    <a:pt x="286" y="648"/>
                  </a:cubicBezTo>
                  <a:close/>
                  <a:moveTo>
                    <a:pt x="297" y="777"/>
                  </a:moveTo>
                  <a:cubicBezTo>
                    <a:pt x="298" y="784"/>
                    <a:pt x="296" y="789"/>
                    <a:pt x="292" y="788"/>
                  </a:cubicBezTo>
                  <a:cubicBezTo>
                    <a:pt x="292" y="782"/>
                    <a:pt x="292" y="776"/>
                    <a:pt x="292" y="770"/>
                  </a:cubicBezTo>
                  <a:cubicBezTo>
                    <a:pt x="294" y="772"/>
                    <a:pt x="299" y="775"/>
                    <a:pt x="300" y="770"/>
                  </a:cubicBezTo>
                  <a:cubicBezTo>
                    <a:pt x="304" y="772"/>
                    <a:pt x="301" y="778"/>
                    <a:pt x="297" y="777"/>
                  </a:cubicBezTo>
                  <a:close/>
                  <a:moveTo>
                    <a:pt x="300" y="755"/>
                  </a:moveTo>
                  <a:cubicBezTo>
                    <a:pt x="300" y="755"/>
                    <a:pt x="300" y="750"/>
                    <a:pt x="302" y="751"/>
                  </a:cubicBezTo>
                  <a:cubicBezTo>
                    <a:pt x="300" y="751"/>
                    <a:pt x="306" y="756"/>
                    <a:pt x="305" y="755"/>
                  </a:cubicBezTo>
                  <a:cubicBezTo>
                    <a:pt x="307" y="759"/>
                    <a:pt x="286" y="756"/>
                    <a:pt x="300" y="755"/>
                  </a:cubicBezTo>
                  <a:close/>
                  <a:moveTo>
                    <a:pt x="361" y="825"/>
                  </a:moveTo>
                  <a:cubicBezTo>
                    <a:pt x="360" y="824"/>
                    <a:pt x="355" y="827"/>
                    <a:pt x="353" y="825"/>
                  </a:cubicBezTo>
                  <a:cubicBezTo>
                    <a:pt x="353" y="824"/>
                    <a:pt x="354" y="818"/>
                    <a:pt x="353" y="818"/>
                  </a:cubicBezTo>
                  <a:cubicBezTo>
                    <a:pt x="348" y="814"/>
                    <a:pt x="338" y="818"/>
                    <a:pt x="337" y="807"/>
                  </a:cubicBezTo>
                  <a:cubicBezTo>
                    <a:pt x="325" y="808"/>
                    <a:pt x="318" y="804"/>
                    <a:pt x="316" y="792"/>
                  </a:cubicBezTo>
                  <a:cubicBezTo>
                    <a:pt x="312" y="796"/>
                    <a:pt x="309" y="796"/>
                    <a:pt x="305" y="792"/>
                  </a:cubicBezTo>
                  <a:cubicBezTo>
                    <a:pt x="304" y="780"/>
                    <a:pt x="310" y="776"/>
                    <a:pt x="308" y="762"/>
                  </a:cubicBezTo>
                  <a:cubicBezTo>
                    <a:pt x="311" y="748"/>
                    <a:pt x="310" y="801"/>
                    <a:pt x="316" y="773"/>
                  </a:cubicBezTo>
                  <a:cubicBezTo>
                    <a:pt x="325" y="774"/>
                    <a:pt x="309" y="789"/>
                    <a:pt x="318" y="792"/>
                  </a:cubicBezTo>
                  <a:cubicBezTo>
                    <a:pt x="322" y="787"/>
                    <a:pt x="322" y="778"/>
                    <a:pt x="326" y="773"/>
                  </a:cubicBezTo>
                  <a:cubicBezTo>
                    <a:pt x="326" y="771"/>
                    <a:pt x="326" y="768"/>
                    <a:pt x="326" y="766"/>
                  </a:cubicBezTo>
                  <a:cubicBezTo>
                    <a:pt x="330" y="766"/>
                    <a:pt x="329" y="773"/>
                    <a:pt x="329" y="777"/>
                  </a:cubicBezTo>
                  <a:cubicBezTo>
                    <a:pt x="329" y="781"/>
                    <a:pt x="333" y="779"/>
                    <a:pt x="335" y="781"/>
                  </a:cubicBezTo>
                  <a:cubicBezTo>
                    <a:pt x="337" y="785"/>
                    <a:pt x="334" y="793"/>
                    <a:pt x="337" y="795"/>
                  </a:cubicBezTo>
                  <a:cubicBezTo>
                    <a:pt x="342" y="794"/>
                    <a:pt x="339" y="781"/>
                    <a:pt x="348" y="784"/>
                  </a:cubicBezTo>
                  <a:cubicBezTo>
                    <a:pt x="347" y="789"/>
                    <a:pt x="343" y="790"/>
                    <a:pt x="343" y="795"/>
                  </a:cubicBezTo>
                  <a:cubicBezTo>
                    <a:pt x="343" y="803"/>
                    <a:pt x="352" y="791"/>
                    <a:pt x="359" y="795"/>
                  </a:cubicBezTo>
                  <a:cubicBezTo>
                    <a:pt x="359" y="813"/>
                    <a:pt x="366" y="808"/>
                    <a:pt x="361" y="825"/>
                  </a:cubicBezTo>
                  <a:close/>
                  <a:moveTo>
                    <a:pt x="415" y="851"/>
                  </a:moveTo>
                  <a:cubicBezTo>
                    <a:pt x="407" y="853"/>
                    <a:pt x="414" y="833"/>
                    <a:pt x="404" y="836"/>
                  </a:cubicBezTo>
                  <a:cubicBezTo>
                    <a:pt x="400" y="838"/>
                    <a:pt x="405" y="841"/>
                    <a:pt x="404" y="847"/>
                  </a:cubicBezTo>
                  <a:cubicBezTo>
                    <a:pt x="399" y="847"/>
                    <a:pt x="401" y="840"/>
                    <a:pt x="399" y="836"/>
                  </a:cubicBezTo>
                  <a:cubicBezTo>
                    <a:pt x="396" y="830"/>
                    <a:pt x="395" y="830"/>
                    <a:pt x="391" y="825"/>
                  </a:cubicBezTo>
                  <a:cubicBezTo>
                    <a:pt x="387" y="828"/>
                    <a:pt x="392" y="831"/>
                    <a:pt x="388" y="840"/>
                  </a:cubicBezTo>
                  <a:cubicBezTo>
                    <a:pt x="386" y="840"/>
                    <a:pt x="386" y="835"/>
                    <a:pt x="386" y="832"/>
                  </a:cubicBezTo>
                  <a:cubicBezTo>
                    <a:pt x="378" y="829"/>
                    <a:pt x="379" y="838"/>
                    <a:pt x="372" y="836"/>
                  </a:cubicBezTo>
                  <a:cubicBezTo>
                    <a:pt x="371" y="835"/>
                    <a:pt x="368" y="818"/>
                    <a:pt x="367" y="829"/>
                  </a:cubicBezTo>
                  <a:cubicBezTo>
                    <a:pt x="361" y="830"/>
                    <a:pt x="367" y="818"/>
                    <a:pt x="370" y="818"/>
                  </a:cubicBezTo>
                  <a:cubicBezTo>
                    <a:pt x="367" y="809"/>
                    <a:pt x="365" y="798"/>
                    <a:pt x="378" y="795"/>
                  </a:cubicBezTo>
                  <a:cubicBezTo>
                    <a:pt x="376" y="803"/>
                    <a:pt x="383" y="804"/>
                    <a:pt x="383" y="799"/>
                  </a:cubicBezTo>
                  <a:cubicBezTo>
                    <a:pt x="388" y="802"/>
                    <a:pt x="383" y="806"/>
                    <a:pt x="383" y="810"/>
                  </a:cubicBezTo>
                  <a:cubicBezTo>
                    <a:pt x="386" y="817"/>
                    <a:pt x="386" y="807"/>
                    <a:pt x="391" y="814"/>
                  </a:cubicBezTo>
                  <a:cubicBezTo>
                    <a:pt x="397" y="822"/>
                    <a:pt x="394" y="802"/>
                    <a:pt x="402" y="807"/>
                  </a:cubicBezTo>
                  <a:cubicBezTo>
                    <a:pt x="403" y="816"/>
                    <a:pt x="403" y="827"/>
                    <a:pt x="407" y="832"/>
                  </a:cubicBezTo>
                  <a:cubicBezTo>
                    <a:pt x="415" y="832"/>
                    <a:pt x="401" y="822"/>
                    <a:pt x="412" y="825"/>
                  </a:cubicBezTo>
                  <a:cubicBezTo>
                    <a:pt x="410" y="838"/>
                    <a:pt x="417" y="839"/>
                    <a:pt x="415" y="851"/>
                  </a:cubicBezTo>
                  <a:close/>
                  <a:moveTo>
                    <a:pt x="466" y="866"/>
                  </a:moveTo>
                  <a:cubicBezTo>
                    <a:pt x="465" y="863"/>
                    <a:pt x="475" y="860"/>
                    <a:pt x="477" y="862"/>
                  </a:cubicBezTo>
                  <a:cubicBezTo>
                    <a:pt x="478" y="864"/>
                    <a:pt x="470" y="873"/>
                    <a:pt x="466" y="866"/>
                  </a:cubicBezTo>
                  <a:close/>
                  <a:moveTo>
                    <a:pt x="485" y="807"/>
                  </a:moveTo>
                  <a:cubicBezTo>
                    <a:pt x="482" y="797"/>
                    <a:pt x="477" y="818"/>
                    <a:pt x="472" y="818"/>
                  </a:cubicBezTo>
                  <a:cubicBezTo>
                    <a:pt x="468" y="837"/>
                    <a:pt x="482" y="845"/>
                    <a:pt x="474" y="858"/>
                  </a:cubicBezTo>
                  <a:cubicBezTo>
                    <a:pt x="469" y="858"/>
                    <a:pt x="473" y="846"/>
                    <a:pt x="469" y="844"/>
                  </a:cubicBezTo>
                  <a:cubicBezTo>
                    <a:pt x="464" y="843"/>
                    <a:pt x="468" y="855"/>
                    <a:pt x="466" y="858"/>
                  </a:cubicBezTo>
                  <a:cubicBezTo>
                    <a:pt x="466" y="859"/>
                    <a:pt x="454" y="847"/>
                    <a:pt x="458" y="862"/>
                  </a:cubicBezTo>
                  <a:cubicBezTo>
                    <a:pt x="451" y="866"/>
                    <a:pt x="445" y="851"/>
                    <a:pt x="442" y="862"/>
                  </a:cubicBezTo>
                  <a:cubicBezTo>
                    <a:pt x="438" y="857"/>
                    <a:pt x="439" y="844"/>
                    <a:pt x="431" y="844"/>
                  </a:cubicBezTo>
                  <a:cubicBezTo>
                    <a:pt x="428" y="844"/>
                    <a:pt x="429" y="851"/>
                    <a:pt x="431" y="851"/>
                  </a:cubicBezTo>
                  <a:cubicBezTo>
                    <a:pt x="430" y="862"/>
                    <a:pt x="418" y="849"/>
                    <a:pt x="418" y="847"/>
                  </a:cubicBezTo>
                  <a:cubicBezTo>
                    <a:pt x="418" y="845"/>
                    <a:pt x="426" y="835"/>
                    <a:pt x="415" y="836"/>
                  </a:cubicBezTo>
                  <a:cubicBezTo>
                    <a:pt x="415" y="829"/>
                    <a:pt x="419" y="828"/>
                    <a:pt x="418" y="821"/>
                  </a:cubicBezTo>
                  <a:cubicBezTo>
                    <a:pt x="428" y="819"/>
                    <a:pt x="430" y="827"/>
                    <a:pt x="429" y="840"/>
                  </a:cubicBezTo>
                  <a:cubicBezTo>
                    <a:pt x="431" y="838"/>
                    <a:pt x="433" y="836"/>
                    <a:pt x="437" y="836"/>
                  </a:cubicBezTo>
                  <a:cubicBezTo>
                    <a:pt x="437" y="830"/>
                    <a:pt x="435" y="827"/>
                    <a:pt x="431" y="825"/>
                  </a:cubicBezTo>
                  <a:cubicBezTo>
                    <a:pt x="431" y="814"/>
                    <a:pt x="439" y="834"/>
                    <a:pt x="439" y="821"/>
                  </a:cubicBezTo>
                  <a:cubicBezTo>
                    <a:pt x="444" y="822"/>
                    <a:pt x="441" y="834"/>
                    <a:pt x="445" y="836"/>
                  </a:cubicBezTo>
                  <a:cubicBezTo>
                    <a:pt x="447" y="834"/>
                    <a:pt x="448" y="828"/>
                    <a:pt x="453" y="829"/>
                  </a:cubicBezTo>
                  <a:cubicBezTo>
                    <a:pt x="455" y="839"/>
                    <a:pt x="447" y="836"/>
                    <a:pt x="447" y="844"/>
                  </a:cubicBezTo>
                  <a:cubicBezTo>
                    <a:pt x="450" y="855"/>
                    <a:pt x="455" y="832"/>
                    <a:pt x="458" y="836"/>
                  </a:cubicBezTo>
                  <a:cubicBezTo>
                    <a:pt x="462" y="842"/>
                    <a:pt x="461" y="833"/>
                    <a:pt x="469" y="832"/>
                  </a:cubicBezTo>
                  <a:cubicBezTo>
                    <a:pt x="470" y="824"/>
                    <a:pt x="464" y="824"/>
                    <a:pt x="466" y="814"/>
                  </a:cubicBezTo>
                  <a:cubicBezTo>
                    <a:pt x="475" y="817"/>
                    <a:pt x="471" y="804"/>
                    <a:pt x="480" y="807"/>
                  </a:cubicBezTo>
                  <a:cubicBezTo>
                    <a:pt x="479" y="802"/>
                    <a:pt x="475" y="803"/>
                    <a:pt x="472" y="803"/>
                  </a:cubicBezTo>
                  <a:cubicBezTo>
                    <a:pt x="478" y="789"/>
                    <a:pt x="490" y="800"/>
                    <a:pt x="496" y="807"/>
                  </a:cubicBezTo>
                  <a:cubicBezTo>
                    <a:pt x="497" y="820"/>
                    <a:pt x="478" y="810"/>
                    <a:pt x="485" y="807"/>
                  </a:cubicBezTo>
                  <a:close/>
                  <a:moveTo>
                    <a:pt x="493" y="858"/>
                  </a:moveTo>
                  <a:cubicBezTo>
                    <a:pt x="490" y="857"/>
                    <a:pt x="488" y="854"/>
                    <a:pt x="488" y="847"/>
                  </a:cubicBezTo>
                  <a:cubicBezTo>
                    <a:pt x="491" y="849"/>
                    <a:pt x="493" y="852"/>
                    <a:pt x="493" y="858"/>
                  </a:cubicBezTo>
                  <a:close/>
                  <a:moveTo>
                    <a:pt x="501" y="877"/>
                  </a:moveTo>
                  <a:cubicBezTo>
                    <a:pt x="499" y="877"/>
                    <a:pt x="499" y="872"/>
                    <a:pt x="499" y="869"/>
                  </a:cubicBezTo>
                  <a:cubicBezTo>
                    <a:pt x="494" y="869"/>
                    <a:pt x="493" y="874"/>
                    <a:pt x="488" y="873"/>
                  </a:cubicBezTo>
                  <a:cubicBezTo>
                    <a:pt x="488" y="869"/>
                    <a:pt x="488" y="866"/>
                    <a:pt x="488" y="862"/>
                  </a:cubicBezTo>
                  <a:cubicBezTo>
                    <a:pt x="492" y="867"/>
                    <a:pt x="510" y="865"/>
                    <a:pt x="501" y="877"/>
                  </a:cubicBezTo>
                  <a:close/>
                  <a:moveTo>
                    <a:pt x="590" y="45"/>
                  </a:moveTo>
                  <a:cubicBezTo>
                    <a:pt x="589" y="30"/>
                    <a:pt x="606" y="42"/>
                    <a:pt x="606" y="30"/>
                  </a:cubicBezTo>
                  <a:cubicBezTo>
                    <a:pt x="613" y="35"/>
                    <a:pt x="593" y="53"/>
                    <a:pt x="590" y="45"/>
                  </a:cubicBezTo>
                  <a:close/>
                  <a:moveTo>
                    <a:pt x="612" y="137"/>
                  </a:moveTo>
                  <a:cubicBezTo>
                    <a:pt x="609" y="136"/>
                    <a:pt x="609" y="133"/>
                    <a:pt x="606" y="133"/>
                  </a:cubicBezTo>
                  <a:cubicBezTo>
                    <a:pt x="606" y="125"/>
                    <a:pt x="619" y="130"/>
                    <a:pt x="612" y="137"/>
                  </a:cubicBezTo>
                  <a:close/>
                  <a:moveTo>
                    <a:pt x="636" y="126"/>
                  </a:moveTo>
                  <a:cubicBezTo>
                    <a:pt x="647" y="128"/>
                    <a:pt x="633" y="147"/>
                    <a:pt x="636" y="126"/>
                  </a:cubicBezTo>
                  <a:close/>
                  <a:moveTo>
                    <a:pt x="644" y="137"/>
                  </a:moveTo>
                  <a:cubicBezTo>
                    <a:pt x="645" y="127"/>
                    <a:pt x="658" y="120"/>
                    <a:pt x="657" y="137"/>
                  </a:cubicBezTo>
                  <a:cubicBezTo>
                    <a:pt x="652" y="144"/>
                    <a:pt x="652" y="135"/>
                    <a:pt x="644" y="137"/>
                  </a:cubicBezTo>
                  <a:close/>
                  <a:moveTo>
                    <a:pt x="708" y="137"/>
                  </a:moveTo>
                  <a:cubicBezTo>
                    <a:pt x="703" y="138"/>
                    <a:pt x="700" y="136"/>
                    <a:pt x="700" y="130"/>
                  </a:cubicBezTo>
                  <a:cubicBezTo>
                    <a:pt x="704" y="126"/>
                    <a:pt x="707" y="133"/>
                    <a:pt x="708" y="133"/>
                  </a:cubicBezTo>
                  <a:cubicBezTo>
                    <a:pt x="713" y="134"/>
                    <a:pt x="715" y="127"/>
                    <a:pt x="716" y="133"/>
                  </a:cubicBezTo>
                  <a:cubicBezTo>
                    <a:pt x="718" y="146"/>
                    <a:pt x="711" y="139"/>
                    <a:pt x="708" y="137"/>
                  </a:cubicBezTo>
                  <a:close/>
                  <a:moveTo>
                    <a:pt x="716" y="100"/>
                  </a:moveTo>
                  <a:cubicBezTo>
                    <a:pt x="719" y="100"/>
                    <a:pt x="722" y="100"/>
                    <a:pt x="724" y="100"/>
                  </a:cubicBezTo>
                  <a:cubicBezTo>
                    <a:pt x="723" y="111"/>
                    <a:pt x="696" y="99"/>
                    <a:pt x="716" y="100"/>
                  </a:cubicBezTo>
                  <a:close/>
                  <a:moveTo>
                    <a:pt x="792" y="115"/>
                  </a:moveTo>
                  <a:cubicBezTo>
                    <a:pt x="786" y="114"/>
                    <a:pt x="786" y="106"/>
                    <a:pt x="786" y="96"/>
                  </a:cubicBezTo>
                  <a:cubicBezTo>
                    <a:pt x="791" y="96"/>
                    <a:pt x="795" y="96"/>
                    <a:pt x="800" y="96"/>
                  </a:cubicBezTo>
                  <a:cubicBezTo>
                    <a:pt x="797" y="103"/>
                    <a:pt x="793" y="107"/>
                    <a:pt x="792" y="115"/>
                  </a:cubicBezTo>
                  <a:close/>
                  <a:moveTo>
                    <a:pt x="816" y="111"/>
                  </a:moveTo>
                  <a:cubicBezTo>
                    <a:pt x="812" y="108"/>
                    <a:pt x="810" y="102"/>
                    <a:pt x="810" y="93"/>
                  </a:cubicBezTo>
                  <a:cubicBezTo>
                    <a:pt x="815" y="90"/>
                    <a:pt x="820" y="87"/>
                    <a:pt x="827" y="85"/>
                  </a:cubicBezTo>
                  <a:cubicBezTo>
                    <a:pt x="830" y="104"/>
                    <a:pt x="818" y="101"/>
                    <a:pt x="816" y="111"/>
                  </a:cubicBezTo>
                  <a:close/>
                  <a:moveTo>
                    <a:pt x="827" y="126"/>
                  </a:moveTo>
                  <a:cubicBezTo>
                    <a:pt x="827" y="121"/>
                    <a:pt x="835" y="125"/>
                    <a:pt x="835" y="119"/>
                  </a:cubicBezTo>
                  <a:cubicBezTo>
                    <a:pt x="843" y="123"/>
                    <a:pt x="829" y="134"/>
                    <a:pt x="827" y="126"/>
                  </a:cubicBezTo>
                  <a:close/>
                  <a:moveTo>
                    <a:pt x="870" y="152"/>
                  </a:moveTo>
                  <a:cubicBezTo>
                    <a:pt x="867" y="153"/>
                    <a:pt x="865" y="157"/>
                    <a:pt x="862" y="156"/>
                  </a:cubicBezTo>
                  <a:cubicBezTo>
                    <a:pt x="861" y="156"/>
                    <a:pt x="861" y="152"/>
                    <a:pt x="859" y="152"/>
                  </a:cubicBezTo>
                  <a:cubicBezTo>
                    <a:pt x="857" y="152"/>
                    <a:pt x="855" y="147"/>
                    <a:pt x="851" y="148"/>
                  </a:cubicBezTo>
                  <a:cubicBezTo>
                    <a:pt x="853" y="142"/>
                    <a:pt x="873" y="142"/>
                    <a:pt x="875" y="148"/>
                  </a:cubicBezTo>
                  <a:cubicBezTo>
                    <a:pt x="875" y="159"/>
                    <a:pt x="873" y="151"/>
                    <a:pt x="870" y="152"/>
                  </a:cubicBezTo>
                  <a:close/>
                  <a:moveTo>
                    <a:pt x="859" y="133"/>
                  </a:moveTo>
                  <a:cubicBezTo>
                    <a:pt x="859" y="128"/>
                    <a:pt x="859" y="123"/>
                    <a:pt x="856" y="122"/>
                  </a:cubicBezTo>
                  <a:cubicBezTo>
                    <a:pt x="860" y="114"/>
                    <a:pt x="871" y="127"/>
                    <a:pt x="878" y="126"/>
                  </a:cubicBezTo>
                  <a:cubicBezTo>
                    <a:pt x="872" y="133"/>
                    <a:pt x="867" y="138"/>
                    <a:pt x="859" y="133"/>
                  </a:cubicBezTo>
                  <a:close/>
                  <a:moveTo>
                    <a:pt x="886" y="104"/>
                  </a:moveTo>
                  <a:cubicBezTo>
                    <a:pt x="884" y="104"/>
                    <a:pt x="882" y="104"/>
                    <a:pt x="880" y="104"/>
                  </a:cubicBezTo>
                  <a:cubicBezTo>
                    <a:pt x="880" y="101"/>
                    <a:pt x="880" y="99"/>
                    <a:pt x="880" y="96"/>
                  </a:cubicBezTo>
                  <a:cubicBezTo>
                    <a:pt x="882" y="96"/>
                    <a:pt x="884" y="96"/>
                    <a:pt x="886" y="96"/>
                  </a:cubicBezTo>
                  <a:cubicBezTo>
                    <a:pt x="886" y="99"/>
                    <a:pt x="886" y="101"/>
                    <a:pt x="886" y="104"/>
                  </a:cubicBezTo>
                  <a:close/>
                  <a:moveTo>
                    <a:pt x="913" y="1239"/>
                  </a:moveTo>
                  <a:cubicBezTo>
                    <a:pt x="909" y="1234"/>
                    <a:pt x="912" y="1233"/>
                    <a:pt x="913" y="1228"/>
                  </a:cubicBezTo>
                  <a:cubicBezTo>
                    <a:pt x="916" y="1229"/>
                    <a:pt x="914" y="1235"/>
                    <a:pt x="918" y="1235"/>
                  </a:cubicBezTo>
                  <a:cubicBezTo>
                    <a:pt x="918" y="1239"/>
                    <a:pt x="915" y="1238"/>
                    <a:pt x="913" y="1239"/>
                  </a:cubicBezTo>
                  <a:close/>
                  <a:moveTo>
                    <a:pt x="926" y="119"/>
                  </a:moveTo>
                  <a:cubicBezTo>
                    <a:pt x="923" y="118"/>
                    <a:pt x="924" y="112"/>
                    <a:pt x="923" y="108"/>
                  </a:cubicBezTo>
                  <a:cubicBezTo>
                    <a:pt x="926" y="108"/>
                    <a:pt x="929" y="108"/>
                    <a:pt x="931" y="108"/>
                  </a:cubicBezTo>
                  <a:cubicBezTo>
                    <a:pt x="931" y="112"/>
                    <a:pt x="927" y="113"/>
                    <a:pt x="926" y="119"/>
                  </a:cubicBezTo>
                  <a:close/>
                  <a:moveTo>
                    <a:pt x="931" y="673"/>
                  </a:moveTo>
                  <a:cubicBezTo>
                    <a:pt x="928" y="672"/>
                    <a:pt x="929" y="664"/>
                    <a:pt x="929" y="659"/>
                  </a:cubicBezTo>
                  <a:cubicBezTo>
                    <a:pt x="935" y="660"/>
                    <a:pt x="935" y="668"/>
                    <a:pt x="931" y="673"/>
                  </a:cubicBezTo>
                  <a:close/>
                  <a:moveTo>
                    <a:pt x="956" y="385"/>
                  </a:moveTo>
                  <a:cubicBezTo>
                    <a:pt x="954" y="385"/>
                    <a:pt x="952" y="385"/>
                    <a:pt x="950" y="385"/>
                  </a:cubicBezTo>
                  <a:cubicBezTo>
                    <a:pt x="951" y="382"/>
                    <a:pt x="949" y="381"/>
                    <a:pt x="948" y="381"/>
                  </a:cubicBezTo>
                  <a:cubicBezTo>
                    <a:pt x="947" y="374"/>
                    <a:pt x="960" y="376"/>
                    <a:pt x="956" y="385"/>
                  </a:cubicBezTo>
                  <a:close/>
                  <a:moveTo>
                    <a:pt x="977" y="111"/>
                  </a:moveTo>
                  <a:cubicBezTo>
                    <a:pt x="977" y="108"/>
                    <a:pt x="977" y="104"/>
                    <a:pt x="977" y="100"/>
                  </a:cubicBezTo>
                  <a:cubicBezTo>
                    <a:pt x="980" y="100"/>
                    <a:pt x="983" y="100"/>
                    <a:pt x="985" y="100"/>
                  </a:cubicBezTo>
                  <a:cubicBezTo>
                    <a:pt x="982" y="104"/>
                    <a:pt x="984" y="114"/>
                    <a:pt x="977" y="111"/>
                  </a:cubicBezTo>
                  <a:close/>
                  <a:moveTo>
                    <a:pt x="993" y="688"/>
                  </a:moveTo>
                  <a:cubicBezTo>
                    <a:pt x="993" y="684"/>
                    <a:pt x="993" y="681"/>
                    <a:pt x="993" y="677"/>
                  </a:cubicBezTo>
                  <a:cubicBezTo>
                    <a:pt x="1001" y="672"/>
                    <a:pt x="1001" y="694"/>
                    <a:pt x="993" y="688"/>
                  </a:cubicBezTo>
                  <a:close/>
                  <a:moveTo>
                    <a:pt x="1009" y="1254"/>
                  </a:moveTo>
                  <a:cubicBezTo>
                    <a:pt x="1008" y="1254"/>
                    <a:pt x="1006" y="1254"/>
                    <a:pt x="1004" y="1254"/>
                  </a:cubicBezTo>
                  <a:cubicBezTo>
                    <a:pt x="1003" y="1244"/>
                    <a:pt x="1005" y="1238"/>
                    <a:pt x="1012" y="1239"/>
                  </a:cubicBezTo>
                  <a:cubicBezTo>
                    <a:pt x="1010" y="1242"/>
                    <a:pt x="1008" y="1249"/>
                    <a:pt x="1012" y="1250"/>
                  </a:cubicBezTo>
                  <a:cubicBezTo>
                    <a:pt x="1013" y="1254"/>
                    <a:pt x="1011" y="1254"/>
                    <a:pt x="1009" y="1254"/>
                  </a:cubicBezTo>
                  <a:close/>
                  <a:moveTo>
                    <a:pt x="1039" y="145"/>
                  </a:moveTo>
                  <a:cubicBezTo>
                    <a:pt x="1031" y="158"/>
                    <a:pt x="1030" y="133"/>
                    <a:pt x="1039" y="145"/>
                  </a:cubicBezTo>
                  <a:close/>
                  <a:moveTo>
                    <a:pt x="1074" y="133"/>
                  </a:moveTo>
                  <a:cubicBezTo>
                    <a:pt x="1071" y="132"/>
                    <a:pt x="1068" y="129"/>
                    <a:pt x="1069" y="122"/>
                  </a:cubicBezTo>
                  <a:cubicBezTo>
                    <a:pt x="1071" y="123"/>
                    <a:pt x="1071" y="121"/>
                    <a:pt x="1071" y="119"/>
                  </a:cubicBezTo>
                  <a:cubicBezTo>
                    <a:pt x="1074" y="121"/>
                    <a:pt x="1076" y="123"/>
                    <a:pt x="1079" y="122"/>
                  </a:cubicBezTo>
                  <a:cubicBezTo>
                    <a:pt x="1078" y="126"/>
                    <a:pt x="1073" y="126"/>
                    <a:pt x="1074" y="133"/>
                  </a:cubicBezTo>
                  <a:close/>
                  <a:moveTo>
                    <a:pt x="1085" y="640"/>
                  </a:moveTo>
                  <a:cubicBezTo>
                    <a:pt x="1083" y="640"/>
                    <a:pt x="1081" y="640"/>
                    <a:pt x="1079" y="640"/>
                  </a:cubicBezTo>
                  <a:cubicBezTo>
                    <a:pt x="1079" y="638"/>
                    <a:pt x="1079" y="635"/>
                    <a:pt x="1079" y="633"/>
                  </a:cubicBezTo>
                  <a:cubicBezTo>
                    <a:pt x="1081" y="633"/>
                    <a:pt x="1083" y="633"/>
                    <a:pt x="1085" y="633"/>
                  </a:cubicBezTo>
                  <a:cubicBezTo>
                    <a:pt x="1085" y="635"/>
                    <a:pt x="1085" y="638"/>
                    <a:pt x="1085" y="640"/>
                  </a:cubicBezTo>
                  <a:close/>
                  <a:moveTo>
                    <a:pt x="1096" y="1254"/>
                  </a:moveTo>
                  <a:cubicBezTo>
                    <a:pt x="1094" y="1254"/>
                    <a:pt x="1092" y="1254"/>
                    <a:pt x="1090" y="1254"/>
                  </a:cubicBezTo>
                  <a:cubicBezTo>
                    <a:pt x="1090" y="1252"/>
                    <a:pt x="1090" y="1249"/>
                    <a:pt x="1090" y="1247"/>
                  </a:cubicBezTo>
                  <a:cubicBezTo>
                    <a:pt x="1092" y="1247"/>
                    <a:pt x="1094" y="1247"/>
                    <a:pt x="1096" y="1247"/>
                  </a:cubicBezTo>
                  <a:cubicBezTo>
                    <a:pt x="1096" y="1249"/>
                    <a:pt x="1096" y="1252"/>
                    <a:pt x="1096" y="1254"/>
                  </a:cubicBezTo>
                  <a:close/>
                  <a:moveTo>
                    <a:pt x="1101" y="170"/>
                  </a:moveTo>
                  <a:cubicBezTo>
                    <a:pt x="1109" y="167"/>
                    <a:pt x="1111" y="174"/>
                    <a:pt x="1114" y="178"/>
                  </a:cubicBezTo>
                  <a:cubicBezTo>
                    <a:pt x="1116" y="181"/>
                    <a:pt x="1098" y="181"/>
                    <a:pt x="1101" y="170"/>
                  </a:cubicBezTo>
                  <a:close/>
                  <a:moveTo>
                    <a:pt x="1117" y="119"/>
                  </a:moveTo>
                  <a:cubicBezTo>
                    <a:pt x="1117" y="115"/>
                    <a:pt x="1120" y="116"/>
                    <a:pt x="1122" y="115"/>
                  </a:cubicBezTo>
                  <a:cubicBezTo>
                    <a:pt x="1125" y="115"/>
                    <a:pt x="1128" y="115"/>
                    <a:pt x="1131" y="115"/>
                  </a:cubicBezTo>
                  <a:cubicBezTo>
                    <a:pt x="1131" y="123"/>
                    <a:pt x="1121" y="117"/>
                    <a:pt x="1117" y="119"/>
                  </a:cubicBezTo>
                  <a:close/>
                  <a:moveTo>
                    <a:pt x="1125" y="1265"/>
                  </a:moveTo>
                  <a:cubicBezTo>
                    <a:pt x="1118" y="1258"/>
                    <a:pt x="1128" y="1249"/>
                    <a:pt x="1122" y="1239"/>
                  </a:cubicBezTo>
                  <a:cubicBezTo>
                    <a:pt x="1135" y="1240"/>
                    <a:pt x="1123" y="1256"/>
                    <a:pt x="1125" y="1265"/>
                  </a:cubicBezTo>
                  <a:close/>
                  <a:moveTo>
                    <a:pt x="1147" y="178"/>
                  </a:moveTo>
                  <a:cubicBezTo>
                    <a:pt x="1140" y="190"/>
                    <a:pt x="1134" y="168"/>
                    <a:pt x="1147" y="178"/>
                  </a:cubicBezTo>
                  <a:close/>
                  <a:moveTo>
                    <a:pt x="1171" y="189"/>
                  </a:moveTo>
                  <a:cubicBezTo>
                    <a:pt x="1167" y="185"/>
                    <a:pt x="1161" y="185"/>
                    <a:pt x="1157" y="182"/>
                  </a:cubicBezTo>
                  <a:cubicBezTo>
                    <a:pt x="1159" y="174"/>
                    <a:pt x="1176" y="175"/>
                    <a:pt x="1171" y="189"/>
                  </a:cubicBezTo>
                  <a:close/>
                  <a:moveTo>
                    <a:pt x="1176" y="1217"/>
                  </a:moveTo>
                  <a:cubicBezTo>
                    <a:pt x="1176" y="1214"/>
                    <a:pt x="1181" y="1213"/>
                    <a:pt x="1184" y="1213"/>
                  </a:cubicBezTo>
                  <a:cubicBezTo>
                    <a:pt x="1183" y="1213"/>
                    <a:pt x="1190" y="1219"/>
                    <a:pt x="1190" y="1217"/>
                  </a:cubicBezTo>
                  <a:cubicBezTo>
                    <a:pt x="1192" y="1224"/>
                    <a:pt x="1181" y="1219"/>
                    <a:pt x="1176" y="1217"/>
                  </a:cubicBezTo>
                  <a:close/>
                  <a:moveTo>
                    <a:pt x="1187" y="592"/>
                  </a:moveTo>
                  <a:cubicBezTo>
                    <a:pt x="1190" y="580"/>
                    <a:pt x="1190" y="602"/>
                    <a:pt x="1190" y="607"/>
                  </a:cubicBezTo>
                  <a:cubicBezTo>
                    <a:pt x="1187" y="619"/>
                    <a:pt x="1187" y="597"/>
                    <a:pt x="1187" y="592"/>
                  </a:cubicBezTo>
                  <a:close/>
                  <a:moveTo>
                    <a:pt x="1192" y="577"/>
                  </a:moveTo>
                  <a:cubicBezTo>
                    <a:pt x="1191" y="577"/>
                    <a:pt x="1190" y="574"/>
                    <a:pt x="1190" y="574"/>
                  </a:cubicBezTo>
                  <a:cubicBezTo>
                    <a:pt x="1188" y="573"/>
                    <a:pt x="1186" y="576"/>
                    <a:pt x="1187" y="577"/>
                  </a:cubicBezTo>
                  <a:cubicBezTo>
                    <a:pt x="1185" y="575"/>
                    <a:pt x="1185" y="574"/>
                    <a:pt x="1187" y="574"/>
                  </a:cubicBezTo>
                  <a:cubicBezTo>
                    <a:pt x="1188" y="573"/>
                    <a:pt x="1189" y="569"/>
                    <a:pt x="1192" y="570"/>
                  </a:cubicBezTo>
                  <a:cubicBezTo>
                    <a:pt x="1192" y="570"/>
                    <a:pt x="1204" y="581"/>
                    <a:pt x="1192" y="577"/>
                  </a:cubicBezTo>
                  <a:close/>
                  <a:moveTo>
                    <a:pt x="1200" y="133"/>
                  </a:moveTo>
                  <a:cubicBezTo>
                    <a:pt x="1203" y="133"/>
                    <a:pt x="1203" y="137"/>
                    <a:pt x="1203" y="137"/>
                  </a:cubicBezTo>
                  <a:cubicBezTo>
                    <a:pt x="1207" y="137"/>
                    <a:pt x="1219" y="134"/>
                    <a:pt x="1217" y="145"/>
                  </a:cubicBezTo>
                  <a:cubicBezTo>
                    <a:pt x="1213" y="139"/>
                    <a:pt x="1205" y="141"/>
                    <a:pt x="1198" y="141"/>
                  </a:cubicBezTo>
                  <a:cubicBezTo>
                    <a:pt x="1199" y="141"/>
                    <a:pt x="1200" y="134"/>
                    <a:pt x="1200" y="133"/>
                  </a:cubicBezTo>
                  <a:close/>
                  <a:moveTo>
                    <a:pt x="1200" y="189"/>
                  </a:moveTo>
                  <a:cubicBezTo>
                    <a:pt x="1201" y="184"/>
                    <a:pt x="1207" y="186"/>
                    <a:pt x="1211" y="185"/>
                  </a:cubicBezTo>
                  <a:cubicBezTo>
                    <a:pt x="1210" y="194"/>
                    <a:pt x="1204" y="194"/>
                    <a:pt x="1200" y="189"/>
                  </a:cubicBezTo>
                  <a:close/>
                  <a:moveTo>
                    <a:pt x="1208" y="1269"/>
                  </a:moveTo>
                  <a:cubicBezTo>
                    <a:pt x="1205" y="1257"/>
                    <a:pt x="1213" y="1260"/>
                    <a:pt x="1214" y="1254"/>
                  </a:cubicBezTo>
                  <a:cubicBezTo>
                    <a:pt x="1217" y="1255"/>
                    <a:pt x="1216" y="1263"/>
                    <a:pt x="1217" y="1269"/>
                  </a:cubicBezTo>
                  <a:cubicBezTo>
                    <a:pt x="1214" y="1269"/>
                    <a:pt x="1211" y="1269"/>
                    <a:pt x="1208" y="1269"/>
                  </a:cubicBezTo>
                  <a:close/>
                  <a:moveTo>
                    <a:pt x="1214" y="237"/>
                  </a:moveTo>
                  <a:cubicBezTo>
                    <a:pt x="1213" y="243"/>
                    <a:pt x="1210" y="236"/>
                    <a:pt x="1206" y="237"/>
                  </a:cubicBezTo>
                  <a:cubicBezTo>
                    <a:pt x="1208" y="227"/>
                    <a:pt x="1202" y="227"/>
                    <a:pt x="1203" y="218"/>
                  </a:cubicBezTo>
                  <a:cubicBezTo>
                    <a:pt x="1206" y="217"/>
                    <a:pt x="1207" y="226"/>
                    <a:pt x="1208" y="226"/>
                  </a:cubicBezTo>
                  <a:cubicBezTo>
                    <a:pt x="1213" y="227"/>
                    <a:pt x="1215" y="211"/>
                    <a:pt x="1222" y="222"/>
                  </a:cubicBezTo>
                  <a:cubicBezTo>
                    <a:pt x="1220" y="227"/>
                    <a:pt x="1204" y="229"/>
                    <a:pt x="1214" y="237"/>
                  </a:cubicBezTo>
                  <a:close/>
                  <a:moveTo>
                    <a:pt x="1340" y="152"/>
                  </a:moveTo>
                  <a:cubicBezTo>
                    <a:pt x="1341" y="154"/>
                    <a:pt x="1333" y="158"/>
                    <a:pt x="1332" y="156"/>
                  </a:cubicBezTo>
                  <a:cubicBezTo>
                    <a:pt x="1332" y="155"/>
                    <a:pt x="1332" y="152"/>
                    <a:pt x="1332" y="152"/>
                  </a:cubicBezTo>
                  <a:cubicBezTo>
                    <a:pt x="1329" y="152"/>
                    <a:pt x="1324" y="159"/>
                    <a:pt x="1321" y="152"/>
                  </a:cubicBezTo>
                  <a:cubicBezTo>
                    <a:pt x="1323" y="144"/>
                    <a:pt x="1338" y="148"/>
                    <a:pt x="1340" y="152"/>
                  </a:cubicBezTo>
                  <a:close/>
                  <a:moveTo>
                    <a:pt x="1316" y="574"/>
                  </a:moveTo>
                  <a:cubicBezTo>
                    <a:pt x="1314" y="561"/>
                    <a:pt x="1320" y="559"/>
                    <a:pt x="1319" y="548"/>
                  </a:cubicBezTo>
                  <a:cubicBezTo>
                    <a:pt x="1328" y="549"/>
                    <a:pt x="1324" y="574"/>
                    <a:pt x="1316" y="574"/>
                  </a:cubicBezTo>
                  <a:close/>
                  <a:moveTo>
                    <a:pt x="1281" y="130"/>
                  </a:moveTo>
                  <a:cubicBezTo>
                    <a:pt x="1285" y="118"/>
                    <a:pt x="1285" y="140"/>
                    <a:pt x="1278" y="137"/>
                  </a:cubicBezTo>
                  <a:cubicBezTo>
                    <a:pt x="1273" y="134"/>
                    <a:pt x="1281" y="135"/>
                    <a:pt x="1281" y="130"/>
                  </a:cubicBezTo>
                  <a:close/>
                  <a:moveTo>
                    <a:pt x="1260" y="137"/>
                  </a:moveTo>
                  <a:cubicBezTo>
                    <a:pt x="1267" y="141"/>
                    <a:pt x="1273" y="146"/>
                    <a:pt x="1284" y="145"/>
                  </a:cubicBezTo>
                  <a:cubicBezTo>
                    <a:pt x="1286" y="157"/>
                    <a:pt x="1278" y="151"/>
                    <a:pt x="1276" y="148"/>
                  </a:cubicBezTo>
                  <a:cubicBezTo>
                    <a:pt x="1274" y="158"/>
                    <a:pt x="1277" y="162"/>
                    <a:pt x="1284" y="159"/>
                  </a:cubicBezTo>
                  <a:cubicBezTo>
                    <a:pt x="1294" y="168"/>
                    <a:pt x="1255" y="158"/>
                    <a:pt x="1265" y="167"/>
                  </a:cubicBezTo>
                  <a:cubicBezTo>
                    <a:pt x="1264" y="177"/>
                    <a:pt x="1256" y="167"/>
                    <a:pt x="1260" y="159"/>
                  </a:cubicBezTo>
                  <a:cubicBezTo>
                    <a:pt x="1257" y="159"/>
                    <a:pt x="1254" y="159"/>
                    <a:pt x="1251" y="159"/>
                  </a:cubicBezTo>
                  <a:cubicBezTo>
                    <a:pt x="1251" y="153"/>
                    <a:pt x="1268" y="153"/>
                    <a:pt x="1268" y="159"/>
                  </a:cubicBezTo>
                  <a:cubicBezTo>
                    <a:pt x="1270" y="157"/>
                    <a:pt x="1272" y="153"/>
                    <a:pt x="1273" y="148"/>
                  </a:cubicBezTo>
                  <a:cubicBezTo>
                    <a:pt x="1264" y="154"/>
                    <a:pt x="1261" y="150"/>
                    <a:pt x="1251" y="148"/>
                  </a:cubicBezTo>
                  <a:cubicBezTo>
                    <a:pt x="1247" y="135"/>
                    <a:pt x="1261" y="146"/>
                    <a:pt x="1260" y="137"/>
                  </a:cubicBezTo>
                  <a:close/>
                  <a:moveTo>
                    <a:pt x="1276" y="237"/>
                  </a:moveTo>
                  <a:cubicBezTo>
                    <a:pt x="1274" y="237"/>
                    <a:pt x="1272" y="237"/>
                    <a:pt x="1270" y="237"/>
                  </a:cubicBezTo>
                  <a:cubicBezTo>
                    <a:pt x="1270" y="231"/>
                    <a:pt x="1273" y="231"/>
                    <a:pt x="1273" y="226"/>
                  </a:cubicBezTo>
                  <a:cubicBezTo>
                    <a:pt x="1279" y="228"/>
                    <a:pt x="1279" y="232"/>
                    <a:pt x="1276" y="237"/>
                  </a:cubicBezTo>
                  <a:close/>
                  <a:moveTo>
                    <a:pt x="1260" y="237"/>
                  </a:moveTo>
                  <a:cubicBezTo>
                    <a:pt x="1255" y="238"/>
                    <a:pt x="1254" y="234"/>
                    <a:pt x="1254" y="230"/>
                  </a:cubicBezTo>
                  <a:cubicBezTo>
                    <a:pt x="1240" y="238"/>
                    <a:pt x="1262" y="214"/>
                    <a:pt x="1260" y="237"/>
                  </a:cubicBezTo>
                  <a:close/>
                  <a:moveTo>
                    <a:pt x="1254" y="614"/>
                  </a:moveTo>
                  <a:cubicBezTo>
                    <a:pt x="1248" y="625"/>
                    <a:pt x="1253" y="587"/>
                    <a:pt x="1254" y="581"/>
                  </a:cubicBezTo>
                  <a:cubicBezTo>
                    <a:pt x="1258" y="583"/>
                    <a:pt x="1259" y="586"/>
                    <a:pt x="1260" y="592"/>
                  </a:cubicBezTo>
                  <a:cubicBezTo>
                    <a:pt x="1260" y="600"/>
                    <a:pt x="1250" y="603"/>
                    <a:pt x="1254" y="614"/>
                  </a:cubicBezTo>
                  <a:close/>
                  <a:moveTo>
                    <a:pt x="1227" y="148"/>
                  </a:moveTo>
                  <a:cubicBezTo>
                    <a:pt x="1225" y="149"/>
                    <a:pt x="1225" y="147"/>
                    <a:pt x="1225" y="145"/>
                  </a:cubicBezTo>
                  <a:cubicBezTo>
                    <a:pt x="1225" y="142"/>
                    <a:pt x="1225" y="140"/>
                    <a:pt x="1225" y="137"/>
                  </a:cubicBezTo>
                  <a:cubicBezTo>
                    <a:pt x="1233" y="134"/>
                    <a:pt x="1234" y="141"/>
                    <a:pt x="1241" y="141"/>
                  </a:cubicBezTo>
                  <a:cubicBezTo>
                    <a:pt x="1239" y="145"/>
                    <a:pt x="1235" y="145"/>
                    <a:pt x="1235" y="152"/>
                  </a:cubicBezTo>
                  <a:cubicBezTo>
                    <a:pt x="1233" y="152"/>
                    <a:pt x="1230" y="136"/>
                    <a:pt x="1227" y="148"/>
                  </a:cubicBezTo>
                  <a:close/>
                  <a:moveTo>
                    <a:pt x="1230" y="588"/>
                  </a:moveTo>
                  <a:cubicBezTo>
                    <a:pt x="1229" y="580"/>
                    <a:pt x="1230" y="574"/>
                    <a:pt x="1233" y="570"/>
                  </a:cubicBezTo>
                  <a:cubicBezTo>
                    <a:pt x="1235" y="572"/>
                    <a:pt x="1237" y="574"/>
                    <a:pt x="1238" y="570"/>
                  </a:cubicBezTo>
                  <a:cubicBezTo>
                    <a:pt x="1244" y="574"/>
                    <a:pt x="1234" y="587"/>
                    <a:pt x="1238" y="599"/>
                  </a:cubicBezTo>
                  <a:cubicBezTo>
                    <a:pt x="1232" y="601"/>
                    <a:pt x="1240" y="583"/>
                    <a:pt x="1230" y="588"/>
                  </a:cubicBezTo>
                  <a:close/>
                  <a:moveTo>
                    <a:pt x="1238" y="1273"/>
                  </a:moveTo>
                  <a:cubicBezTo>
                    <a:pt x="1246" y="1259"/>
                    <a:pt x="1247" y="1284"/>
                    <a:pt x="1238" y="1273"/>
                  </a:cubicBezTo>
                  <a:close/>
                  <a:moveTo>
                    <a:pt x="1254" y="1239"/>
                  </a:moveTo>
                  <a:cubicBezTo>
                    <a:pt x="1257" y="1241"/>
                    <a:pt x="1260" y="1244"/>
                    <a:pt x="1260" y="1250"/>
                  </a:cubicBezTo>
                  <a:cubicBezTo>
                    <a:pt x="1256" y="1249"/>
                    <a:pt x="1254" y="1246"/>
                    <a:pt x="1254" y="1239"/>
                  </a:cubicBezTo>
                  <a:close/>
                  <a:moveTo>
                    <a:pt x="1260" y="1235"/>
                  </a:moveTo>
                  <a:cubicBezTo>
                    <a:pt x="1251" y="1233"/>
                    <a:pt x="1246" y="1228"/>
                    <a:pt x="1238" y="1225"/>
                  </a:cubicBezTo>
                  <a:cubicBezTo>
                    <a:pt x="1238" y="1215"/>
                    <a:pt x="1247" y="1223"/>
                    <a:pt x="1249" y="1225"/>
                  </a:cubicBezTo>
                  <a:cubicBezTo>
                    <a:pt x="1251" y="1224"/>
                    <a:pt x="1251" y="1220"/>
                    <a:pt x="1251" y="1217"/>
                  </a:cubicBezTo>
                  <a:cubicBezTo>
                    <a:pt x="1260" y="1215"/>
                    <a:pt x="1260" y="1225"/>
                    <a:pt x="1260" y="1235"/>
                  </a:cubicBezTo>
                  <a:close/>
                  <a:moveTo>
                    <a:pt x="1260" y="193"/>
                  </a:moveTo>
                  <a:cubicBezTo>
                    <a:pt x="1265" y="183"/>
                    <a:pt x="1269" y="196"/>
                    <a:pt x="1276" y="189"/>
                  </a:cubicBezTo>
                  <a:cubicBezTo>
                    <a:pt x="1278" y="203"/>
                    <a:pt x="1261" y="196"/>
                    <a:pt x="1260" y="193"/>
                  </a:cubicBezTo>
                  <a:close/>
                  <a:moveTo>
                    <a:pt x="1270" y="1261"/>
                  </a:moveTo>
                  <a:cubicBezTo>
                    <a:pt x="1274" y="1262"/>
                    <a:pt x="1271" y="1273"/>
                    <a:pt x="1276" y="1273"/>
                  </a:cubicBezTo>
                  <a:cubicBezTo>
                    <a:pt x="1274" y="1282"/>
                    <a:pt x="1268" y="1269"/>
                    <a:pt x="1270" y="1261"/>
                  </a:cubicBezTo>
                  <a:close/>
                  <a:moveTo>
                    <a:pt x="1284" y="1232"/>
                  </a:moveTo>
                  <a:cubicBezTo>
                    <a:pt x="1281" y="1228"/>
                    <a:pt x="1274" y="1231"/>
                    <a:pt x="1276" y="1221"/>
                  </a:cubicBezTo>
                  <a:cubicBezTo>
                    <a:pt x="1282" y="1220"/>
                    <a:pt x="1284" y="1224"/>
                    <a:pt x="1284" y="1232"/>
                  </a:cubicBezTo>
                  <a:close/>
                  <a:moveTo>
                    <a:pt x="1286" y="603"/>
                  </a:moveTo>
                  <a:cubicBezTo>
                    <a:pt x="1277" y="603"/>
                    <a:pt x="1292" y="591"/>
                    <a:pt x="1284" y="592"/>
                  </a:cubicBezTo>
                  <a:cubicBezTo>
                    <a:pt x="1290" y="581"/>
                    <a:pt x="1289" y="597"/>
                    <a:pt x="1286" y="603"/>
                  </a:cubicBezTo>
                  <a:close/>
                  <a:moveTo>
                    <a:pt x="1292" y="585"/>
                  </a:moveTo>
                  <a:cubicBezTo>
                    <a:pt x="1285" y="584"/>
                    <a:pt x="1286" y="572"/>
                    <a:pt x="1286" y="562"/>
                  </a:cubicBezTo>
                  <a:cubicBezTo>
                    <a:pt x="1296" y="559"/>
                    <a:pt x="1290" y="577"/>
                    <a:pt x="1292" y="585"/>
                  </a:cubicBezTo>
                  <a:close/>
                  <a:moveTo>
                    <a:pt x="1292" y="152"/>
                  </a:moveTo>
                  <a:cubicBezTo>
                    <a:pt x="1283" y="149"/>
                    <a:pt x="1317" y="141"/>
                    <a:pt x="1313" y="156"/>
                  </a:cubicBezTo>
                  <a:cubicBezTo>
                    <a:pt x="1309" y="150"/>
                    <a:pt x="1300" y="152"/>
                    <a:pt x="1292" y="152"/>
                  </a:cubicBezTo>
                  <a:close/>
                  <a:moveTo>
                    <a:pt x="1316" y="170"/>
                  </a:moveTo>
                  <a:cubicBezTo>
                    <a:pt x="1315" y="175"/>
                    <a:pt x="1313" y="178"/>
                    <a:pt x="1308" y="178"/>
                  </a:cubicBezTo>
                  <a:cubicBezTo>
                    <a:pt x="1309" y="173"/>
                    <a:pt x="1311" y="170"/>
                    <a:pt x="1316" y="170"/>
                  </a:cubicBezTo>
                  <a:close/>
                  <a:moveTo>
                    <a:pt x="1294" y="603"/>
                  </a:moveTo>
                  <a:cubicBezTo>
                    <a:pt x="1297" y="600"/>
                    <a:pt x="1297" y="595"/>
                    <a:pt x="1297" y="588"/>
                  </a:cubicBezTo>
                  <a:cubicBezTo>
                    <a:pt x="1305" y="589"/>
                    <a:pt x="1302" y="604"/>
                    <a:pt x="1294" y="603"/>
                  </a:cubicBezTo>
                  <a:close/>
                  <a:moveTo>
                    <a:pt x="1305" y="577"/>
                  </a:moveTo>
                  <a:cubicBezTo>
                    <a:pt x="1303" y="585"/>
                    <a:pt x="1304" y="585"/>
                    <a:pt x="1303" y="577"/>
                  </a:cubicBezTo>
                  <a:cubicBezTo>
                    <a:pt x="1303" y="569"/>
                    <a:pt x="1306" y="562"/>
                    <a:pt x="1308" y="555"/>
                  </a:cubicBezTo>
                  <a:cubicBezTo>
                    <a:pt x="1312" y="552"/>
                    <a:pt x="1308" y="570"/>
                    <a:pt x="1305" y="577"/>
                  </a:cubicBezTo>
                  <a:close/>
                  <a:moveTo>
                    <a:pt x="1300" y="200"/>
                  </a:moveTo>
                  <a:cubicBezTo>
                    <a:pt x="1301" y="192"/>
                    <a:pt x="1313" y="198"/>
                    <a:pt x="1319" y="196"/>
                  </a:cubicBezTo>
                  <a:cubicBezTo>
                    <a:pt x="1317" y="202"/>
                    <a:pt x="1315" y="206"/>
                    <a:pt x="1313" y="211"/>
                  </a:cubicBezTo>
                  <a:cubicBezTo>
                    <a:pt x="1306" y="211"/>
                    <a:pt x="1310" y="195"/>
                    <a:pt x="1300" y="200"/>
                  </a:cubicBezTo>
                  <a:close/>
                  <a:moveTo>
                    <a:pt x="1324" y="603"/>
                  </a:moveTo>
                  <a:cubicBezTo>
                    <a:pt x="1322" y="601"/>
                    <a:pt x="1317" y="597"/>
                    <a:pt x="1316" y="603"/>
                  </a:cubicBezTo>
                  <a:cubicBezTo>
                    <a:pt x="1313" y="602"/>
                    <a:pt x="1314" y="599"/>
                    <a:pt x="1316" y="599"/>
                  </a:cubicBezTo>
                  <a:cubicBezTo>
                    <a:pt x="1316" y="595"/>
                    <a:pt x="1315" y="593"/>
                    <a:pt x="1313" y="592"/>
                  </a:cubicBezTo>
                  <a:cubicBezTo>
                    <a:pt x="1316" y="582"/>
                    <a:pt x="1328" y="592"/>
                    <a:pt x="1324" y="603"/>
                  </a:cubicBezTo>
                  <a:close/>
                  <a:moveTo>
                    <a:pt x="1327" y="607"/>
                  </a:moveTo>
                  <a:cubicBezTo>
                    <a:pt x="1330" y="608"/>
                    <a:pt x="1329" y="614"/>
                    <a:pt x="1332" y="614"/>
                  </a:cubicBezTo>
                  <a:cubicBezTo>
                    <a:pt x="1331" y="624"/>
                    <a:pt x="1324" y="614"/>
                    <a:pt x="1327" y="607"/>
                  </a:cubicBezTo>
                  <a:close/>
                  <a:moveTo>
                    <a:pt x="1329" y="1235"/>
                  </a:moveTo>
                  <a:cubicBezTo>
                    <a:pt x="1329" y="1232"/>
                    <a:pt x="1329" y="1228"/>
                    <a:pt x="1329" y="1225"/>
                  </a:cubicBezTo>
                  <a:cubicBezTo>
                    <a:pt x="1337" y="1219"/>
                    <a:pt x="1337" y="1241"/>
                    <a:pt x="1329" y="1235"/>
                  </a:cubicBezTo>
                  <a:close/>
                  <a:moveTo>
                    <a:pt x="1329" y="555"/>
                  </a:moveTo>
                  <a:cubicBezTo>
                    <a:pt x="1329" y="551"/>
                    <a:pt x="1337" y="542"/>
                    <a:pt x="1338" y="551"/>
                  </a:cubicBezTo>
                  <a:cubicBezTo>
                    <a:pt x="1337" y="555"/>
                    <a:pt x="1339" y="555"/>
                    <a:pt x="1340" y="555"/>
                  </a:cubicBezTo>
                  <a:cubicBezTo>
                    <a:pt x="1338" y="566"/>
                    <a:pt x="1334" y="552"/>
                    <a:pt x="1329" y="555"/>
                  </a:cubicBezTo>
                  <a:close/>
                  <a:moveTo>
                    <a:pt x="1348" y="1232"/>
                  </a:moveTo>
                  <a:cubicBezTo>
                    <a:pt x="1348" y="1236"/>
                    <a:pt x="1349" y="1238"/>
                    <a:pt x="1351" y="1239"/>
                  </a:cubicBezTo>
                  <a:cubicBezTo>
                    <a:pt x="1346" y="1252"/>
                    <a:pt x="1347" y="1229"/>
                    <a:pt x="1338" y="1235"/>
                  </a:cubicBezTo>
                  <a:cubicBezTo>
                    <a:pt x="1338" y="1226"/>
                    <a:pt x="1347" y="1228"/>
                    <a:pt x="1354" y="1228"/>
                  </a:cubicBezTo>
                  <a:cubicBezTo>
                    <a:pt x="1354" y="1232"/>
                    <a:pt x="1350" y="1231"/>
                    <a:pt x="1348" y="1232"/>
                  </a:cubicBezTo>
                  <a:close/>
                  <a:moveTo>
                    <a:pt x="1628" y="326"/>
                  </a:moveTo>
                  <a:cubicBezTo>
                    <a:pt x="1627" y="327"/>
                    <a:pt x="1624" y="337"/>
                    <a:pt x="1623" y="337"/>
                  </a:cubicBezTo>
                  <a:cubicBezTo>
                    <a:pt x="1619" y="338"/>
                    <a:pt x="1619" y="324"/>
                    <a:pt x="1628" y="326"/>
                  </a:cubicBezTo>
                  <a:close/>
                  <a:moveTo>
                    <a:pt x="1628" y="1202"/>
                  </a:moveTo>
                  <a:cubicBezTo>
                    <a:pt x="1625" y="1201"/>
                    <a:pt x="1622" y="1198"/>
                    <a:pt x="1623" y="1191"/>
                  </a:cubicBezTo>
                  <a:cubicBezTo>
                    <a:pt x="1626" y="1193"/>
                    <a:pt x="1628" y="1196"/>
                    <a:pt x="1628" y="1202"/>
                  </a:cubicBezTo>
                  <a:close/>
                  <a:moveTo>
                    <a:pt x="1617" y="1235"/>
                  </a:moveTo>
                  <a:cubicBezTo>
                    <a:pt x="1611" y="1248"/>
                    <a:pt x="1604" y="1225"/>
                    <a:pt x="1617" y="1235"/>
                  </a:cubicBezTo>
                  <a:close/>
                  <a:moveTo>
                    <a:pt x="1609" y="1180"/>
                  </a:moveTo>
                  <a:cubicBezTo>
                    <a:pt x="1607" y="1179"/>
                    <a:pt x="1607" y="1182"/>
                    <a:pt x="1606" y="1184"/>
                  </a:cubicBezTo>
                  <a:cubicBezTo>
                    <a:pt x="1603" y="1183"/>
                    <a:pt x="1604" y="1177"/>
                    <a:pt x="1604" y="1173"/>
                  </a:cubicBezTo>
                  <a:cubicBezTo>
                    <a:pt x="1608" y="1171"/>
                    <a:pt x="1609" y="1176"/>
                    <a:pt x="1609" y="1180"/>
                  </a:cubicBezTo>
                  <a:close/>
                  <a:moveTo>
                    <a:pt x="1604" y="226"/>
                  </a:moveTo>
                  <a:cubicBezTo>
                    <a:pt x="1608" y="225"/>
                    <a:pt x="1608" y="247"/>
                    <a:pt x="1601" y="241"/>
                  </a:cubicBezTo>
                  <a:cubicBezTo>
                    <a:pt x="1600" y="233"/>
                    <a:pt x="1603" y="231"/>
                    <a:pt x="1604" y="226"/>
                  </a:cubicBezTo>
                  <a:close/>
                  <a:moveTo>
                    <a:pt x="1604" y="740"/>
                  </a:moveTo>
                  <a:cubicBezTo>
                    <a:pt x="1603" y="743"/>
                    <a:pt x="1605" y="743"/>
                    <a:pt x="1606" y="744"/>
                  </a:cubicBezTo>
                  <a:cubicBezTo>
                    <a:pt x="1605" y="755"/>
                    <a:pt x="1601" y="740"/>
                    <a:pt x="1596" y="744"/>
                  </a:cubicBezTo>
                  <a:cubicBezTo>
                    <a:pt x="1595" y="739"/>
                    <a:pt x="1603" y="731"/>
                    <a:pt x="1604" y="740"/>
                  </a:cubicBezTo>
                  <a:close/>
                  <a:moveTo>
                    <a:pt x="1593" y="551"/>
                  </a:moveTo>
                  <a:cubicBezTo>
                    <a:pt x="1599" y="553"/>
                    <a:pt x="1595" y="571"/>
                    <a:pt x="1593" y="574"/>
                  </a:cubicBezTo>
                  <a:cubicBezTo>
                    <a:pt x="1585" y="570"/>
                    <a:pt x="1594" y="558"/>
                    <a:pt x="1593" y="551"/>
                  </a:cubicBezTo>
                  <a:close/>
                  <a:moveTo>
                    <a:pt x="1588" y="611"/>
                  </a:moveTo>
                  <a:cubicBezTo>
                    <a:pt x="1589" y="600"/>
                    <a:pt x="1592" y="616"/>
                    <a:pt x="1596" y="614"/>
                  </a:cubicBezTo>
                  <a:cubicBezTo>
                    <a:pt x="1595" y="619"/>
                    <a:pt x="1591" y="617"/>
                    <a:pt x="1588" y="618"/>
                  </a:cubicBezTo>
                  <a:cubicBezTo>
                    <a:pt x="1587" y="615"/>
                    <a:pt x="1589" y="614"/>
                    <a:pt x="1590" y="614"/>
                  </a:cubicBezTo>
                  <a:cubicBezTo>
                    <a:pt x="1591" y="611"/>
                    <a:pt x="1589" y="611"/>
                    <a:pt x="1588" y="611"/>
                  </a:cubicBezTo>
                  <a:close/>
                  <a:moveTo>
                    <a:pt x="1593" y="636"/>
                  </a:moveTo>
                  <a:cubicBezTo>
                    <a:pt x="1593" y="639"/>
                    <a:pt x="1593" y="641"/>
                    <a:pt x="1593" y="644"/>
                  </a:cubicBezTo>
                  <a:cubicBezTo>
                    <a:pt x="1580" y="648"/>
                    <a:pt x="1588" y="624"/>
                    <a:pt x="1593" y="636"/>
                  </a:cubicBezTo>
                  <a:close/>
                  <a:moveTo>
                    <a:pt x="1580" y="577"/>
                  </a:moveTo>
                  <a:cubicBezTo>
                    <a:pt x="1581" y="567"/>
                    <a:pt x="1583" y="586"/>
                    <a:pt x="1582" y="588"/>
                  </a:cubicBezTo>
                  <a:cubicBezTo>
                    <a:pt x="1581" y="596"/>
                    <a:pt x="1577" y="591"/>
                    <a:pt x="1580" y="577"/>
                  </a:cubicBezTo>
                  <a:close/>
                  <a:moveTo>
                    <a:pt x="1577" y="263"/>
                  </a:moveTo>
                  <a:cubicBezTo>
                    <a:pt x="1575" y="274"/>
                    <a:pt x="1571" y="259"/>
                    <a:pt x="1566" y="263"/>
                  </a:cubicBezTo>
                  <a:cubicBezTo>
                    <a:pt x="1566" y="258"/>
                    <a:pt x="1566" y="252"/>
                    <a:pt x="1563" y="252"/>
                  </a:cubicBezTo>
                  <a:cubicBezTo>
                    <a:pt x="1565" y="245"/>
                    <a:pt x="1568" y="251"/>
                    <a:pt x="1569" y="252"/>
                  </a:cubicBezTo>
                  <a:cubicBezTo>
                    <a:pt x="1570" y="252"/>
                    <a:pt x="1573" y="251"/>
                    <a:pt x="1574" y="252"/>
                  </a:cubicBezTo>
                  <a:cubicBezTo>
                    <a:pt x="1574" y="252"/>
                    <a:pt x="1570" y="268"/>
                    <a:pt x="1577" y="263"/>
                  </a:cubicBezTo>
                  <a:close/>
                  <a:moveTo>
                    <a:pt x="1563" y="707"/>
                  </a:moveTo>
                  <a:cubicBezTo>
                    <a:pt x="1561" y="705"/>
                    <a:pt x="1561" y="704"/>
                    <a:pt x="1563" y="703"/>
                  </a:cubicBezTo>
                  <a:cubicBezTo>
                    <a:pt x="1564" y="703"/>
                    <a:pt x="1563" y="700"/>
                    <a:pt x="1563" y="699"/>
                  </a:cubicBezTo>
                  <a:cubicBezTo>
                    <a:pt x="1566" y="696"/>
                    <a:pt x="1570" y="704"/>
                    <a:pt x="1569" y="707"/>
                  </a:cubicBezTo>
                  <a:cubicBezTo>
                    <a:pt x="1567" y="710"/>
                    <a:pt x="1566" y="703"/>
                    <a:pt x="1566" y="703"/>
                  </a:cubicBezTo>
                  <a:cubicBezTo>
                    <a:pt x="1565" y="703"/>
                    <a:pt x="1562" y="706"/>
                    <a:pt x="1563" y="707"/>
                  </a:cubicBezTo>
                  <a:close/>
                  <a:moveTo>
                    <a:pt x="1566" y="640"/>
                  </a:moveTo>
                  <a:cubicBezTo>
                    <a:pt x="1564" y="640"/>
                    <a:pt x="1562" y="635"/>
                    <a:pt x="1558" y="636"/>
                  </a:cubicBezTo>
                  <a:cubicBezTo>
                    <a:pt x="1561" y="630"/>
                    <a:pt x="1569" y="630"/>
                    <a:pt x="1571" y="633"/>
                  </a:cubicBezTo>
                  <a:cubicBezTo>
                    <a:pt x="1573" y="634"/>
                    <a:pt x="1567" y="640"/>
                    <a:pt x="1566" y="640"/>
                  </a:cubicBezTo>
                  <a:close/>
                  <a:moveTo>
                    <a:pt x="1561" y="618"/>
                  </a:moveTo>
                  <a:cubicBezTo>
                    <a:pt x="1569" y="604"/>
                    <a:pt x="1570" y="629"/>
                    <a:pt x="1561" y="618"/>
                  </a:cubicBezTo>
                  <a:close/>
                  <a:moveTo>
                    <a:pt x="1569" y="599"/>
                  </a:moveTo>
                  <a:cubicBezTo>
                    <a:pt x="1569" y="594"/>
                    <a:pt x="1569" y="589"/>
                    <a:pt x="1566" y="588"/>
                  </a:cubicBezTo>
                  <a:cubicBezTo>
                    <a:pt x="1566" y="585"/>
                    <a:pt x="1567" y="585"/>
                    <a:pt x="1569" y="585"/>
                  </a:cubicBezTo>
                  <a:cubicBezTo>
                    <a:pt x="1571" y="585"/>
                    <a:pt x="1572" y="585"/>
                    <a:pt x="1574" y="585"/>
                  </a:cubicBezTo>
                  <a:cubicBezTo>
                    <a:pt x="1571" y="596"/>
                    <a:pt x="1573" y="594"/>
                    <a:pt x="1577" y="603"/>
                  </a:cubicBezTo>
                  <a:cubicBezTo>
                    <a:pt x="1574" y="616"/>
                    <a:pt x="1576" y="593"/>
                    <a:pt x="1569" y="599"/>
                  </a:cubicBezTo>
                  <a:close/>
                  <a:moveTo>
                    <a:pt x="1539" y="196"/>
                  </a:moveTo>
                  <a:cubicBezTo>
                    <a:pt x="1546" y="192"/>
                    <a:pt x="1550" y="207"/>
                    <a:pt x="1553" y="196"/>
                  </a:cubicBezTo>
                  <a:cubicBezTo>
                    <a:pt x="1556" y="198"/>
                    <a:pt x="1553" y="203"/>
                    <a:pt x="1550" y="204"/>
                  </a:cubicBezTo>
                  <a:cubicBezTo>
                    <a:pt x="1555" y="217"/>
                    <a:pt x="1557" y="197"/>
                    <a:pt x="1563" y="200"/>
                  </a:cubicBezTo>
                  <a:cubicBezTo>
                    <a:pt x="1561" y="203"/>
                    <a:pt x="1560" y="208"/>
                    <a:pt x="1561" y="215"/>
                  </a:cubicBezTo>
                  <a:cubicBezTo>
                    <a:pt x="1551" y="218"/>
                    <a:pt x="1548" y="211"/>
                    <a:pt x="1547" y="200"/>
                  </a:cubicBezTo>
                  <a:cubicBezTo>
                    <a:pt x="1537" y="195"/>
                    <a:pt x="1547" y="217"/>
                    <a:pt x="1536" y="211"/>
                  </a:cubicBezTo>
                  <a:cubicBezTo>
                    <a:pt x="1539" y="208"/>
                    <a:pt x="1539" y="203"/>
                    <a:pt x="1539" y="196"/>
                  </a:cubicBezTo>
                  <a:close/>
                  <a:moveTo>
                    <a:pt x="1571" y="222"/>
                  </a:moveTo>
                  <a:cubicBezTo>
                    <a:pt x="1571" y="227"/>
                    <a:pt x="1571" y="233"/>
                    <a:pt x="1574" y="233"/>
                  </a:cubicBezTo>
                  <a:cubicBezTo>
                    <a:pt x="1574" y="237"/>
                    <a:pt x="1571" y="236"/>
                    <a:pt x="1569" y="237"/>
                  </a:cubicBezTo>
                  <a:cubicBezTo>
                    <a:pt x="1566" y="239"/>
                    <a:pt x="1567" y="230"/>
                    <a:pt x="1566" y="230"/>
                  </a:cubicBezTo>
                  <a:cubicBezTo>
                    <a:pt x="1562" y="229"/>
                    <a:pt x="1558" y="234"/>
                    <a:pt x="1553" y="233"/>
                  </a:cubicBezTo>
                  <a:cubicBezTo>
                    <a:pt x="1553" y="233"/>
                    <a:pt x="1552" y="230"/>
                    <a:pt x="1550" y="230"/>
                  </a:cubicBezTo>
                  <a:cubicBezTo>
                    <a:pt x="1546" y="229"/>
                    <a:pt x="1537" y="229"/>
                    <a:pt x="1536" y="218"/>
                  </a:cubicBezTo>
                  <a:cubicBezTo>
                    <a:pt x="1548" y="219"/>
                    <a:pt x="1557" y="224"/>
                    <a:pt x="1571" y="222"/>
                  </a:cubicBezTo>
                  <a:close/>
                  <a:moveTo>
                    <a:pt x="1550" y="1221"/>
                  </a:moveTo>
                  <a:cubicBezTo>
                    <a:pt x="1554" y="1221"/>
                    <a:pt x="1551" y="1232"/>
                    <a:pt x="1555" y="1232"/>
                  </a:cubicBezTo>
                  <a:cubicBezTo>
                    <a:pt x="1554" y="1243"/>
                    <a:pt x="1550" y="1228"/>
                    <a:pt x="1545" y="1232"/>
                  </a:cubicBezTo>
                  <a:cubicBezTo>
                    <a:pt x="1545" y="1226"/>
                    <a:pt x="1545" y="1220"/>
                    <a:pt x="1545" y="1213"/>
                  </a:cubicBezTo>
                  <a:cubicBezTo>
                    <a:pt x="1548" y="1214"/>
                    <a:pt x="1546" y="1220"/>
                    <a:pt x="1550" y="1221"/>
                  </a:cubicBezTo>
                  <a:close/>
                  <a:moveTo>
                    <a:pt x="1528" y="200"/>
                  </a:moveTo>
                  <a:cubicBezTo>
                    <a:pt x="1523" y="202"/>
                    <a:pt x="1523" y="195"/>
                    <a:pt x="1523" y="189"/>
                  </a:cubicBezTo>
                  <a:cubicBezTo>
                    <a:pt x="1520" y="188"/>
                    <a:pt x="1518" y="190"/>
                    <a:pt x="1518" y="193"/>
                  </a:cubicBezTo>
                  <a:cubicBezTo>
                    <a:pt x="1508" y="182"/>
                    <a:pt x="1535" y="183"/>
                    <a:pt x="1528" y="200"/>
                  </a:cubicBezTo>
                  <a:close/>
                  <a:moveTo>
                    <a:pt x="1523" y="259"/>
                  </a:moveTo>
                  <a:cubicBezTo>
                    <a:pt x="1521" y="265"/>
                    <a:pt x="1519" y="271"/>
                    <a:pt x="1512" y="270"/>
                  </a:cubicBezTo>
                  <a:cubicBezTo>
                    <a:pt x="1514" y="263"/>
                    <a:pt x="1513" y="250"/>
                    <a:pt x="1523" y="259"/>
                  </a:cubicBezTo>
                  <a:close/>
                  <a:moveTo>
                    <a:pt x="1483" y="174"/>
                  </a:moveTo>
                  <a:cubicBezTo>
                    <a:pt x="1485" y="174"/>
                    <a:pt x="1486" y="174"/>
                    <a:pt x="1488" y="174"/>
                  </a:cubicBezTo>
                  <a:cubicBezTo>
                    <a:pt x="1489" y="185"/>
                    <a:pt x="1468" y="173"/>
                    <a:pt x="1483" y="174"/>
                  </a:cubicBezTo>
                  <a:close/>
                  <a:moveTo>
                    <a:pt x="1464" y="163"/>
                  </a:moveTo>
                  <a:cubicBezTo>
                    <a:pt x="1464" y="170"/>
                    <a:pt x="1467" y="171"/>
                    <a:pt x="1467" y="178"/>
                  </a:cubicBezTo>
                  <a:cubicBezTo>
                    <a:pt x="1463" y="178"/>
                    <a:pt x="1459" y="178"/>
                    <a:pt x="1456" y="178"/>
                  </a:cubicBezTo>
                  <a:cubicBezTo>
                    <a:pt x="1451" y="171"/>
                    <a:pt x="1460" y="165"/>
                    <a:pt x="1448" y="167"/>
                  </a:cubicBezTo>
                  <a:cubicBezTo>
                    <a:pt x="1440" y="161"/>
                    <a:pt x="1459" y="163"/>
                    <a:pt x="1464" y="163"/>
                  </a:cubicBezTo>
                  <a:close/>
                  <a:moveTo>
                    <a:pt x="1464" y="662"/>
                  </a:moveTo>
                  <a:cubicBezTo>
                    <a:pt x="1467" y="663"/>
                    <a:pt x="1466" y="670"/>
                    <a:pt x="1469" y="670"/>
                  </a:cubicBezTo>
                  <a:cubicBezTo>
                    <a:pt x="1470" y="673"/>
                    <a:pt x="1468" y="673"/>
                    <a:pt x="1467" y="673"/>
                  </a:cubicBezTo>
                  <a:cubicBezTo>
                    <a:pt x="1463" y="681"/>
                    <a:pt x="1467" y="670"/>
                    <a:pt x="1464" y="662"/>
                  </a:cubicBezTo>
                  <a:close/>
                  <a:moveTo>
                    <a:pt x="1445" y="562"/>
                  </a:moveTo>
                  <a:cubicBezTo>
                    <a:pt x="1444" y="561"/>
                    <a:pt x="1442" y="558"/>
                    <a:pt x="1445" y="562"/>
                  </a:cubicBezTo>
                  <a:cubicBezTo>
                    <a:pt x="1452" y="568"/>
                    <a:pt x="1449" y="572"/>
                    <a:pt x="1445" y="585"/>
                  </a:cubicBezTo>
                  <a:cubicBezTo>
                    <a:pt x="1442" y="584"/>
                    <a:pt x="1444" y="581"/>
                    <a:pt x="1445" y="581"/>
                  </a:cubicBezTo>
                  <a:cubicBezTo>
                    <a:pt x="1443" y="574"/>
                    <a:pt x="1440" y="580"/>
                    <a:pt x="1437" y="581"/>
                  </a:cubicBezTo>
                  <a:cubicBezTo>
                    <a:pt x="1431" y="589"/>
                    <a:pt x="1442" y="569"/>
                    <a:pt x="1448" y="570"/>
                  </a:cubicBezTo>
                  <a:cubicBezTo>
                    <a:pt x="1447" y="567"/>
                    <a:pt x="1445" y="566"/>
                    <a:pt x="1445" y="562"/>
                  </a:cubicBezTo>
                  <a:close/>
                  <a:moveTo>
                    <a:pt x="1442" y="1180"/>
                  </a:moveTo>
                  <a:cubicBezTo>
                    <a:pt x="1447" y="1185"/>
                    <a:pt x="1447" y="1195"/>
                    <a:pt x="1445" y="1199"/>
                  </a:cubicBezTo>
                  <a:cubicBezTo>
                    <a:pt x="1445" y="1199"/>
                    <a:pt x="1437" y="1189"/>
                    <a:pt x="1442" y="1180"/>
                  </a:cubicBezTo>
                  <a:close/>
                  <a:moveTo>
                    <a:pt x="1445" y="1228"/>
                  </a:moveTo>
                  <a:cubicBezTo>
                    <a:pt x="1443" y="1227"/>
                    <a:pt x="1443" y="1230"/>
                    <a:pt x="1442" y="1232"/>
                  </a:cubicBezTo>
                  <a:cubicBezTo>
                    <a:pt x="1439" y="1231"/>
                    <a:pt x="1440" y="1225"/>
                    <a:pt x="1440" y="1221"/>
                  </a:cubicBezTo>
                  <a:cubicBezTo>
                    <a:pt x="1444" y="1219"/>
                    <a:pt x="1445" y="1224"/>
                    <a:pt x="1445" y="1228"/>
                  </a:cubicBezTo>
                  <a:close/>
                  <a:moveTo>
                    <a:pt x="1440" y="644"/>
                  </a:moveTo>
                  <a:cubicBezTo>
                    <a:pt x="1444" y="637"/>
                    <a:pt x="1450" y="638"/>
                    <a:pt x="1453" y="640"/>
                  </a:cubicBezTo>
                  <a:cubicBezTo>
                    <a:pt x="1454" y="641"/>
                    <a:pt x="1447" y="651"/>
                    <a:pt x="1440" y="644"/>
                  </a:cubicBezTo>
                  <a:close/>
                  <a:moveTo>
                    <a:pt x="1450" y="270"/>
                  </a:moveTo>
                  <a:cubicBezTo>
                    <a:pt x="1449" y="259"/>
                    <a:pt x="1453" y="257"/>
                    <a:pt x="1453" y="248"/>
                  </a:cubicBezTo>
                  <a:cubicBezTo>
                    <a:pt x="1463" y="245"/>
                    <a:pt x="1456" y="258"/>
                    <a:pt x="1453" y="259"/>
                  </a:cubicBezTo>
                  <a:cubicBezTo>
                    <a:pt x="1455" y="267"/>
                    <a:pt x="1451" y="288"/>
                    <a:pt x="1450" y="270"/>
                  </a:cubicBezTo>
                  <a:close/>
                  <a:moveTo>
                    <a:pt x="1448" y="1210"/>
                  </a:moveTo>
                  <a:cubicBezTo>
                    <a:pt x="1452" y="1209"/>
                    <a:pt x="1452" y="1213"/>
                    <a:pt x="1456" y="1213"/>
                  </a:cubicBezTo>
                  <a:cubicBezTo>
                    <a:pt x="1457" y="1221"/>
                    <a:pt x="1444" y="1219"/>
                    <a:pt x="1448" y="1210"/>
                  </a:cubicBezTo>
                  <a:close/>
                  <a:moveTo>
                    <a:pt x="1450" y="1195"/>
                  </a:moveTo>
                  <a:cubicBezTo>
                    <a:pt x="1450" y="1190"/>
                    <a:pt x="1450" y="1185"/>
                    <a:pt x="1450" y="1180"/>
                  </a:cubicBezTo>
                  <a:cubicBezTo>
                    <a:pt x="1458" y="1173"/>
                    <a:pt x="1456" y="1196"/>
                    <a:pt x="1458" y="1184"/>
                  </a:cubicBezTo>
                  <a:cubicBezTo>
                    <a:pt x="1466" y="1188"/>
                    <a:pt x="1455" y="1196"/>
                    <a:pt x="1450" y="1195"/>
                  </a:cubicBezTo>
                  <a:close/>
                  <a:moveTo>
                    <a:pt x="1418" y="170"/>
                  </a:moveTo>
                  <a:cubicBezTo>
                    <a:pt x="1422" y="178"/>
                    <a:pt x="1402" y="180"/>
                    <a:pt x="1402" y="167"/>
                  </a:cubicBezTo>
                  <a:cubicBezTo>
                    <a:pt x="1405" y="171"/>
                    <a:pt x="1412" y="171"/>
                    <a:pt x="1418" y="170"/>
                  </a:cubicBezTo>
                  <a:close/>
                  <a:moveTo>
                    <a:pt x="1402" y="204"/>
                  </a:moveTo>
                  <a:cubicBezTo>
                    <a:pt x="1406" y="204"/>
                    <a:pt x="1409" y="204"/>
                    <a:pt x="1413" y="204"/>
                  </a:cubicBezTo>
                  <a:cubicBezTo>
                    <a:pt x="1413" y="213"/>
                    <a:pt x="1409" y="215"/>
                    <a:pt x="1407" y="222"/>
                  </a:cubicBezTo>
                  <a:cubicBezTo>
                    <a:pt x="1403" y="219"/>
                    <a:pt x="1402" y="213"/>
                    <a:pt x="1402" y="204"/>
                  </a:cubicBezTo>
                  <a:close/>
                  <a:moveTo>
                    <a:pt x="1413" y="566"/>
                  </a:moveTo>
                  <a:cubicBezTo>
                    <a:pt x="1404" y="581"/>
                    <a:pt x="1403" y="555"/>
                    <a:pt x="1405" y="544"/>
                  </a:cubicBezTo>
                  <a:cubicBezTo>
                    <a:pt x="1408" y="545"/>
                    <a:pt x="1410" y="543"/>
                    <a:pt x="1410" y="540"/>
                  </a:cubicBezTo>
                  <a:cubicBezTo>
                    <a:pt x="1420" y="544"/>
                    <a:pt x="1397" y="565"/>
                    <a:pt x="1413" y="566"/>
                  </a:cubicBezTo>
                  <a:close/>
                  <a:moveTo>
                    <a:pt x="1378" y="207"/>
                  </a:moveTo>
                  <a:cubicBezTo>
                    <a:pt x="1381" y="202"/>
                    <a:pt x="1389" y="204"/>
                    <a:pt x="1397" y="204"/>
                  </a:cubicBezTo>
                  <a:cubicBezTo>
                    <a:pt x="1389" y="213"/>
                    <a:pt x="1403" y="208"/>
                    <a:pt x="1399" y="222"/>
                  </a:cubicBezTo>
                  <a:cubicBezTo>
                    <a:pt x="1397" y="222"/>
                    <a:pt x="1397" y="218"/>
                    <a:pt x="1397" y="215"/>
                  </a:cubicBezTo>
                  <a:cubicBezTo>
                    <a:pt x="1393" y="220"/>
                    <a:pt x="1385" y="218"/>
                    <a:pt x="1378" y="218"/>
                  </a:cubicBezTo>
                  <a:cubicBezTo>
                    <a:pt x="1378" y="215"/>
                    <a:pt x="1378" y="211"/>
                    <a:pt x="1378" y="207"/>
                  </a:cubicBezTo>
                  <a:close/>
                  <a:moveTo>
                    <a:pt x="1359" y="562"/>
                  </a:moveTo>
                  <a:cubicBezTo>
                    <a:pt x="1365" y="561"/>
                    <a:pt x="1364" y="568"/>
                    <a:pt x="1364" y="574"/>
                  </a:cubicBezTo>
                  <a:cubicBezTo>
                    <a:pt x="1362" y="573"/>
                    <a:pt x="1362" y="570"/>
                    <a:pt x="1359" y="570"/>
                  </a:cubicBezTo>
                  <a:cubicBezTo>
                    <a:pt x="1359" y="567"/>
                    <a:pt x="1359" y="565"/>
                    <a:pt x="1359" y="562"/>
                  </a:cubicBezTo>
                  <a:close/>
                  <a:moveTo>
                    <a:pt x="1373" y="618"/>
                  </a:moveTo>
                  <a:cubicBezTo>
                    <a:pt x="1367" y="622"/>
                    <a:pt x="1377" y="595"/>
                    <a:pt x="1370" y="607"/>
                  </a:cubicBezTo>
                  <a:cubicBezTo>
                    <a:pt x="1367" y="607"/>
                    <a:pt x="1368" y="602"/>
                    <a:pt x="1367" y="599"/>
                  </a:cubicBezTo>
                  <a:cubicBezTo>
                    <a:pt x="1369" y="600"/>
                    <a:pt x="1370" y="598"/>
                    <a:pt x="1370" y="596"/>
                  </a:cubicBezTo>
                  <a:cubicBezTo>
                    <a:pt x="1375" y="599"/>
                    <a:pt x="1377" y="612"/>
                    <a:pt x="1373" y="618"/>
                  </a:cubicBezTo>
                  <a:close/>
                  <a:moveTo>
                    <a:pt x="1375" y="629"/>
                  </a:moveTo>
                  <a:cubicBezTo>
                    <a:pt x="1375" y="631"/>
                    <a:pt x="1375" y="634"/>
                    <a:pt x="1375" y="636"/>
                  </a:cubicBezTo>
                  <a:cubicBezTo>
                    <a:pt x="1373" y="636"/>
                    <a:pt x="1372" y="636"/>
                    <a:pt x="1370" y="636"/>
                  </a:cubicBezTo>
                  <a:cubicBezTo>
                    <a:pt x="1370" y="634"/>
                    <a:pt x="1370" y="631"/>
                    <a:pt x="1370" y="629"/>
                  </a:cubicBezTo>
                  <a:cubicBezTo>
                    <a:pt x="1372" y="629"/>
                    <a:pt x="1373" y="629"/>
                    <a:pt x="1375" y="629"/>
                  </a:cubicBezTo>
                  <a:close/>
                  <a:moveTo>
                    <a:pt x="1370" y="1235"/>
                  </a:moveTo>
                  <a:cubicBezTo>
                    <a:pt x="1366" y="1232"/>
                    <a:pt x="1359" y="1233"/>
                    <a:pt x="1362" y="1221"/>
                  </a:cubicBezTo>
                  <a:cubicBezTo>
                    <a:pt x="1364" y="1220"/>
                    <a:pt x="1364" y="1222"/>
                    <a:pt x="1364" y="1225"/>
                  </a:cubicBezTo>
                  <a:cubicBezTo>
                    <a:pt x="1366" y="1228"/>
                    <a:pt x="1371" y="1228"/>
                    <a:pt x="1370" y="1235"/>
                  </a:cubicBezTo>
                  <a:close/>
                  <a:moveTo>
                    <a:pt x="1356" y="1280"/>
                  </a:moveTo>
                  <a:cubicBezTo>
                    <a:pt x="1359" y="1275"/>
                    <a:pt x="1364" y="1273"/>
                    <a:pt x="1364" y="1265"/>
                  </a:cubicBezTo>
                  <a:cubicBezTo>
                    <a:pt x="1371" y="1264"/>
                    <a:pt x="1366" y="1279"/>
                    <a:pt x="1375" y="1276"/>
                  </a:cubicBezTo>
                  <a:cubicBezTo>
                    <a:pt x="1374" y="1285"/>
                    <a:pt x="1362" y="1278"/>
                    <a:pt x="1356" y="1280"/>
                  </a:cubicBezTo>
                  <a:close/>
                  <a:moveTo>
                    <a:pt x="1375" y="1239"/>
                  </a:moveTo>
                  <a:cubicBezTo>
                    <a:pt x="1370" y="1237"/>
                    <a:pt x="1375" y="1233"/>
                    <a:pt x="1375" y="1228"/>
                  </a:cubicBezTo>
                  <a:cubicBezTo>
                    <a:pt x="1380" y="1231"/>
                    <a:pt x="1376" y="1235"/>
                    <a:pt x="1375" y="1239"/>
                  </a:cubicBezTo>
                  <a:close/>
                  <a:moveTo>
                    <a:pt x="1378" y="255"/>
                  </a:moveTo>
                  <a:cubicBezTo>
                    <a:pt x="1369" y="255"/>
                    <a:pt x="1362" y="253"/>
                    <a:pt x="1362" y="241"/>
                  </a:cubicBezTo>
                  <a:cubicBezTo>
                    <a:pt x="1364" y="244"/>
                    <a:pt x="1379" y="249"/>
                    <a:pt x="1380" y="241"/>
                  </a:cubicBezTo>
                  <a:cubicBezTo>
                    <a:pt x="1392" y="245"/>
                    <a:pt x="1369" y="251"/>
                    <a:pt x="1380" y="255"/>
                  </a:cubicBezTo>
                  <a:cubicBezTo>
                    <a:pt x="1380" y="260"/>
                    <a:pt x="1378" y="258"/>
                    <a:pt x="1378" y="255"/>
                  </a:cubicBezTo>
                  <a:close/>
                  <a:moveTo>
                    <a:pt x="1383" y="562"/>
                  </a:moveTo>
                  <a:cubicBezTo>
                    <a:pt x="1380" y="587"/>
                    <a:pt x="1377" y="524"/>
                    <a:pt x="1383" y="562"/>
                  </a:cubicBezTo>
                  <a:close/>
                  <a:moveTo>
                    <a:pt x="1389" y="267"/>
                  </a:moveTo>
                  <a:cubicBezTo>
                    <a:pt x="1379" y="257"/>
                    <a:pt x="1398" y="256"/>
                    <a:pt x="1389" y="248"/>
                  </a:cubicBezTo>
                  <a:cubicBezTo>
                    <a:pt x="1391" y="242"/>
                    <a:pt x="1400" y="244"/>
                    <a:pt x="1405" y="241"/>
                  </a:cubicBezTo>
                  <a:cubicBezTo>
                    <a:pt x="1407" y="244"/>
                    <a:pt x="1406" y="251"/>
                    <a:pt x="1410" y="252"/>
                  </a:cubicBezTo>
                  <a:cubicBezTo>
                    <a:pt x="1409" y="256"/>
                    <a:pt x="1405" y="255"/>
                    <a:pt x="1405" y="252"/>
                  </a:cubicBezTo>
                  <a:cubicBezTo>
                    <a:pt x="1401" y="251"/>
                    <a:pt x="1404" y="261"/>
                    <a:pt x="1402" y="263"/>
                  </a:cubicBezTo>
                  <a:cubicBezTo>
                    <a:pt x="1400" y="266"/>
                    <a:pt x="1391" y="254"/>
                    <a:pt x="1391" y="267"/>
                  </a:cubicBezTo>
                  <a:cubicBezTo>
                    <a:pt x="1396" y="273"/>
                    <a:pt x="1401" y="265"/>
                    <a:pt x="1407" y="274"/>
                  </a:cubicBezTo>
                  <a:cubicBezTo>
                    <a:pt x="1407" y="278"/>
                    <a:pt x="1402" y="277"/>
                    <a:pt x="1402" y="281"/>
                  </a:cubicBezTo>
                  <a:cubicBezTo>
                    <a:pt x="1396" y="270"/>
                    <a:pt x="1400" y="280"/>
                    <a:pt x="1391" y="281"/>
                  </a:cubicBezTo>
                  <a:cubicBezTo>
                    <a:pt x="1399" y="273"/>
                    <a:pt x="1384" y="264"/>
                    <a:pt x="1383" y="278"/>
                  </a:cubicBezTo>
                  <a:cubicBezTo>
                    <a:pt x="1375" y="274"/>
                    <a:pt x="1386" y="268"/>
                    <a:pt x="1389" y="267"/>
                  </a:cubicBezTo>
                  <a:close/>
                  <a:moveTo>
                    <a:pt x="1389" y="555"/>
                  </a:moveTo>
                  <a:cubicBezTo>
                    <a:pt x="1390" y="550"/>
                    <a:pt x="1394" y="548"/>
                    <a:pt x="1399" y="548"/>
                  </a:cubicBezTo>
                  <a:cubicBezTo>
                    <a:pt x="1397" y="554"/>
                    <a:pt x="1393" y="562"/>
                    <a:pt x="1389" y="555"/>
                  </a:cubicBezTo>
                  <a:close/>
                  <a:moveTo>
                    <a:pt x="1399" y="577"/>
                  </a:moveTo>
                  <a:cubicBezTo>
                    <a:pt x="1396" y="576"/>
                    <a:pt x="1394" y="573"/>
                    <a:pt x="1394" y="566"/>
                  </a:cubicBezTo>
                  <a:cubicBezTo>
                    <a:pt x="1397" y="568"/>
                    <a:pt x="1399" y="571"/>
                    <a:pt x="1399" y="577"/>
                  </a:cubicBezTo>
                  <a:close/>
                  <a:moveTo>
                    <a:pt x="1389" y="1280"/>
                  </a:moveTo>
                  <a:cubicBezTo>
                    <a:pt x="1390" y="1280"/>
                    <a:pt x="1392" y="1280"/>
                    <a:pt x="1394" y="1280"/>
                  </a:cubicBezTo>
                  <a:cubicBezTo>
                    <a:pt x="1395" y="1290"/>
                    <a:pt x="1374" y="1279"/>
                    <a:pt x="1389" y="1280"/>
                  </a:cubicBezTo>
                  <a:close/>
                  <a:moveTo>
                    <a:pt x="1394" y="1250"/>
                  </a:moveTo>
                  <a:cubicBezTo>
                    <a:pt x="1391" y="1248"/>
                    <a:pt x="1391" y="1242"/>
                    <a:pt x="1386" y="1243"/>
                  </a:cubicBezTo>
                  <a:cubicBezTo>
                    <a:pt x="1388" y="1240"/>
                    <a:pt x="1390" y="1233"/>
                    <a:pt x="1386" y="1232"/>
                  </a:cubicBezTo>
                  <a:cubicBezTo>
                    <a:pt x="1387" y="1227"/>
                    <a:pt x="1394" y="1231"/>
                    <a:pt x="1394" y="1225"/>
                  </a:cubicBezTo>
                  <a:cubicBezTo>
                    <a:pt x="1400" y="1223"/>
                    <a:pt x="1397" y="1235"/>
                    <a:pt x="1402" y="1235"/>
                  </a:cubicBezTo>
                  <a:cubicBezTo>
                    <a:pt x="1401" y="1243"/>
                    <a:pt x="1390" y="1236"/>
                    <a:pt x="1394" y="1250"/>
                  </a:cubicBezTo>
                  <a:close/>
                  <a:moveTo>
                    <a:pt x="1402" y="577"/>
                  </a:moveTo>
                  <a:cubicBezTo>
                    <a:pt x="1404" y="567"/>
                    <a:pt x="1406" y="583"/>
                    <a:pt x="1410" y="581"/>
                  </a:cubicBezTo>
                  <a:cubicBezTo>
                    <a:pt x="1407" y="593"/>
                    <a:pt x="1405" y="577"/>
                    <a:pt x="1402" y="577"/>
                  </a:cubicBezTo>
                  <a:close/>
                  <a:moveTo>
                    <a:pt x="1405" y="1306"/>
                  </a:moveTo>
                  <a:cubicBezTo>
                    <a:pt x="1405" y="1297"/>
                    <a:pt x="1414" y="1305"/>
                    <a:pt x="1415" y="1306"/>
                  </a:cubicBezTo>
                  <a:cubicBezTo>
                    <a:pt x="1415" y="1315"/>
                    <a:pt x="1406" y="1307"/>
                    <a:pt x="1405" y="1306"/>
                  </a:cubicBezTo>
                  <a:close/>
                  <a:moveTo>
                    <a:pt x="1426" y="1247"/>
                  </a:moveTo>
                  <a:cubicBezTo>
                    <a:pt x="1422" y="1245"/>
                    <a:pt x="1424" y="1235"/>
                    <a:pt x="1415" y="1239"/>
                  </a:cubicBezTo>
                  <a:cubicBezTo>
                    <a:pt x="1415" y="1234"/>
                    <a:pt x="1415" y="1229"/>
                    <a:pt x="1415" y="1225"/>
                  </a:cubicBezTo>
                  <a:cubicBezTo>
                    <a:pt x="1421" y="1226"/>
                    <a:pt x="1420" y="1235"/>
                    <a:pt x="1429" y="1232"/>
                  </a:cubicBezTo>
                  <a:cubicBezTo>
                    <a:pt x="1430" y="1240"/>
                    <a:pt x="1427" y="1242"/>
                    <a:pt x="1426" y="1247"/>
                  </a:cubicBezTo>
                  <a:close/>
                  <a:moveTo>
                    <a:pt x="1421" y="1180"/>
                  </a:moveTo>
                  <a:cubicBezTo>
                    <a:pt x="1421" y="1183"/>
                    <a:pt x="1421" y="1185"/>
                    <a:pt x="1421" y="1187"/>
                  </a:cubicBezTo>
                  <a:cubicBezTo>
                    <a:pt x="1419" y="1187"/>
                    <a:pt x="1417" y="1187"/>
                    <a:pt x="1415" y="1187"/>
                  </a:cubicBezTo>
                  <a:cubicBezTo>
                    <a:pt x="1415" y="1185"/>
                    <a:pt x="1415" y="1183"/>
                    <a:pt x="1415" y="1180"/>
                  </a:cubicBezTo>
                  <a:cubicBezTo>
                    <a:pt x="1417" y="1180"/>
                    <a:pt x="1419" y="1180"/>
                    <a:pt x="1421" y="1180"/>
                  </a:cubicBezTo>
                  <a:close/>
                  <a:moveTo>
                    <a:pt x="1424" y="244"/>
                  </a:moveTo>
                  <a:cubicBezTo>
                    <a:pt x="1425" y="252"/>
                    <a:pt x="1422" y="254"/>
                    <a:pt x="1421" y="259"/>
                  </a:cubicBezTo>
                  <a:cubicBezTo>
                    <a:pt x="1413" y="259"/>
                    <a:pt x="1414" y="242"/>
                    <a:pt x="1424" y="244"/>
                  </a:cubicBezTo>
                  <a:close/>
                  <a:moveTo>
                    <a:pt x="1424" y="1180"/>
                  </a:moveTo>
                  <a:cubicBezTo>
                    <a:pt x="1424" y="1176"/>
                    <a:pt x="1424" y="1173"/>
                    <a:pt x="1424" y="1169"/>
                  </a:cubicBezTo>
                  <a:cubicBezTo>
                    <a:pt x="1431" y="1164"/>
                    <a:pt x="1431" y="1185"/>
                    <a:pt x="1424" y="1180"/>
                  </a:cubicBezTo>
                  <a:close/>
                  <a:moveTo>
                    <a:pt x="1421" y="289"/>
                  </a:moveTo>
                  <a:cubicBezTo>
                    <a:pt x="1420" y="282"/>
                    <a:pt x="1427" y="284"/>
                    <a:pt x="1429" y="281"/>
                  </a:cubicBezTo>
                  <a:cubicBezTo>
                    <a:pt x="1435" y="273"/>
                    <a:pt x="1430" y="288"/>
                    <a:pt x="1421" y="289"/>
                  </a:cubicBezTo>
                  <a:close/>
                  <a:moveTo>
                    <a:pt x="1421" y="270"/>
                  </a:moveTo>
                  <a:cubicBezTo>
                    <a:pt x="1423" y="267"/>
                    <a:pt x="1424" y="262"/>
                    <a:pt x="1424" y="255"/>
                  </a:cubicBezTo>
                  <a:cubicBezTo>
                    <a:pt x="1426" y="255"/>
                    <a:pt x="1429" y="255"/>
                    <a:pt x="1432" y="255"/>
                  </a:cubicBezTo>
                  <a:cubicBezTo>
                    <a:pt x="1428" y="261"/>
                    <a:pt x="1429" y="272"/>
                    <a:pt x="1421" y="270"/>
                  </a:cubicBezTo>
                  <a:close/>
                  <a:moveTo>
                    <a:pt x="1413" y="189"/>
                  </a:moveTo>
                  <a:cubicBezTo>
                    <a:pt x="1413" y="185"/>
                    <a:pt x="1416" y="186"/>
                    <a:pt x="1418" y="185"/>
                  </a:cubicBezTo>
                  <a:cubicBezTo>
                    <a:pt x="1425" y="187"/>
                    <a:pt x="1417" y="168"/>
                    <a:pt x="1426" y="174"/>
                  </a:cubicBezTo>
                  <a:cubicBezTo>
                    <a:pt x="1425" y="177"/>
                    <a:pt x="1423" y="180"/>
                    <a:pt x="1424" y="185"/>
                  </a:cubicBezTo>
                  <a:cubicBezTo>
                    <a:pt x="1436" y="183"/>
                    <a:pt x="1428" y="174"/>
                    <a:pt x="1429" y="159"/>
                  </a:cubicBezTo>
                  <a:cubicBezTo>
                    <a:pt x="1434" y="152"/>
                    <a:pt x="1434" y="162"/>
                    <a:pt x="1442" y="159"/>
                  </a:cubicBezTo>
                  <a:cubicBezTo>
                    <a:pt x="1442" y="165"/>
                    <a:pt x="1434" y="161"/>
                    <a:pt x="1434" y="167"/>
                  </a:cubicBezTo>
                  <a:cubicBezTo>
                    <a:pt x="1434" y="173"/>
                    <a:pt x="1448" y="163"/>
                    <a:pt x="1448" y="178"/>
                  </a:cubicBezTo>
                  <a:cubicBezTo>
                    <a:pt x="1444" y="182"/>
                    <a:pt x="1441" y="182"/>
                    <a:pt x="1440" y="174"/>
                  </a:cubicBezTo>
                  <a:cubicBezTo>
                    <a:pt x="1433" y="179"/>
                    <a:pt x="1431" y="182"/>
                    <a:pt x="1434" y="193"/>
                  </a:cubicBezTo>
                  <a:cubicBezTo>
                    <a:pt x="1426" y="193"/>
                    <a:pt x="1423" y="186"/>
                    <a:pt x="1413" y="189"/>
                  </a:cubicBezTo>
                  <a:close/>
                  <a:moveTo>
                    <a:pt x="1437" y="1295"/>
                  </a:moveTo>
                  <a:cubicBezTo>
                    <a:pt x="1434" y="1294"/>
                    <a:pt x="1435" y="1288"/>
                    <a:pt x="1434" y="1284"/>
                  </a:cubicBezTo>
                  <a:cubicBezTo>
                    <a:pt x="1439" y="1282"/>
                    <a:pt x="1439" y="1286"/>
                    <a:pt x="1440" y="1291"/>
                  </a:cubicBezTo>
                  <a:cubicBezTo>
                    <a:pt x="1437" y="1290"/>
                    <a:pt x="1437" y="1292"/>
                    <a:pt x="1437" y="1295"/>
                  </a:cubicBezTo>
                  <a:close/>
                  <a:moveTo>
                    <a:pt x="1445" y="1273"/>
                  </a:moveTo>
                  <a:cubicBezTo>
                    <a:pt x="1443" y="1273"/>
                    <a:pt x="1442" y="1273"/>
                    <a:pt x="1440" y="1273"/>
                  </a:cubicBezTo>
                  <a:cubicBezTo>
                    <a:pt x="1440" y="1270"/>
                    <a:pt x="1440" y="1268"/>
                    <a:pt x="1440" y="1265"/>
                  </a:cubicBezTo>
                  <a:cubicBezTo>
                    <a:pt x="1442" y="1265"/>
                    <a:pt x="1443" y="1265"/>
                    <a:pt x="1445" y="1265"/>
                  </a:cubicBezTo>
                  <a:cubicBezTo>
                    <a:pt x="1445" y="1268"/>
                    <a:pt x="1445" y="1270"/>
                    <a:pt x="1445" y="1273"/>
                  </a:cubicBezTo>
                  <a:close/>
                  <a:moveTo>
                    <a:pt x="1448" y="1254"/>
                  </a:moveTo>
                  <a:cubicBezTo>
                    <a:pt x="1444" y="1251"/>
                    <a:pt x="1439" y="1249"/>
                    <a:pt x="1440" y="1239"/>
                  </a:cubicBezTo>
                  <a:cubicBezTo>
                    <a:pt x="1444" y="1237"/>
                    <a:pt x="1454" y="1244"/>
                    <a:pt x="1453" y="1235"/>
                  </a:cubicBezTo>
                  <a:cubicBezTo>
                    <a:pt x="1451" y="1232"/>
                    <a:pt x="1447" y="1232"/>
                    <a:pt x="1448" y="1225"/>
                  </a:cubicBezTo>
                  <a:cubicBezTo>
                    <a:pt x="1450" y="1225"/>
                    <a:pt x="1453" y="1225"/>
                    <a:pt x="1456" y="1225"/>
                  </a:cubicBezTo>
                  <a:cubicBezTo>
                    <a:pt x="1452" y="1229"/>
                    <a:pt x="1454" y="1236"/>
                    <a:pt x="1458" y="1239"/>
                  </a:cubicBezTo>
                  <a:cubicBezTo>
                    <a:pt x="1460" y="1251"/>
                    <a:pt x="1445" y="1241"/>
                    <a:pt x="1448" y="1254"/>
                  </a:cubicBezTo>
                  <a:close/>
                  <a:moveTo>
                    <a:pt x="1458" y="1302"/>
                  </a:moveTo>
                  <a:cubicBezTo>
                    <a:pt x="1463" y="1294"/>
                    <a:pt x="1465" y="1305"/>
                    <a:pt x="1472" y="1298"/>
                  </a:cubicBezTo>
                  <a:cubicBezTo>
                    <a:pt x="1475" y="1312"/>
                    <a:pt x="1460" y="1305"/>
                    <a:pt x="1458" y="1302"/>
                  </a:cubicBezTo>
                  <a:close/>
                  <a:moveTo>
                    <a:pt x="1475" y="655"/>
                  </a:moveTo>
                  <a:cubicBezTo>
                    <a:pt x="1472" y="658"/>
                    <a:pt x="1470" y="652"/>
                    <a:pt x="1469" y="651"/>
                  </a:cubicBezTo>
                  <a:cubicBezTo>
                    <a:pt x="1469" y="651"/>
                    <a:pt x="1464" y="644"/>
                    <a:pt x="1467" y="640"/>
                  </a:cubicBezTo>
                  <a:cubicBezTo>
                    <a:pt x="1469" y="637"/>
                    <a:pt x="1469" y="650"/>
                    <a:pt x="1469" y="651"/>
                  </a:cubicBezTo>
                  <a:cubicBezTo>
                    <a:pt x="1469" y="651"/>
                    <a:pt x="1477" y="652"/>
                    <a:pt x="1475" y="655"/>
                  </a:cubicBezTo>
                  <a:close/>
                  <a:moveTo>
                    <a:pt x="1469" y="588"/>
                  </a:moveTo>
                  <a:cubicBezTo>
                    <a:pt x="1473" y="575"/>
                    <a:pt x="1474" y="595"/>
                    <a:pt x="1472" y="596"/>
                  </a:cubicBezTo>
                  <a:cubicBezTo>
                    <a:pt x="1470" y="596"/>
                    <a:pt x="1469" y="591"/>
                    <a:pt x="1469" y="588"/>
                  </a:cubicBezTo>
                  <a:close/>
                  <a:moveTo>
                    <a:pt x="1475" y="285"/>
                  </a:moveTo>
                  <a:cubicBezTo>
                    <a:pt x="1473" y="280"/>
                    <a:pt x="1468" y="276"/>
                    <a:pt x="1469" y="267"/>
                  </a:cubicBezTo>
                  <a:cubicBezTo>
                    <a:pt x="1472" y="267"/>
                    <a:pt x="1475" y="267"/>
                    <a:pt x="1477" y="267"/>
                  </a:cubicBezTo>
                  <a:cubicBezTo>
                    <a:pt x="1472" y="277"/>
                    <a:pt x="1483" y="284"/>
                    <a:pt x="1483" y="281"/>
                  </a:cubicBezTo>
                  <a:cubicBezTo>
                    <a:pt x="1483" y="285"/>
                    <a:pt x="1475" y="285"/>
                    <a:pt x="1477" y="292"/>
                  </a:cubicBezTo>
                  <a:cubicBezTo>
                    <a:pt x="1474" y="293"/>
                    <a:pt x="1476" y="288"/>
                    <a:pt x="1475" y="285"/>
                  </a:cubicBezTo>
                  <a:close/>
                  <a:moveTo>
                    <a:pt x="1480" y="699"/>
                  </a:moveTo>
                  <a:cubicBezTo>
                    <a:pt x="1480" y="695"/>
                    <a:pt x="1479" y="693"/>
                    <a:pt x="1477" y="692"/>
                  </a:cubicBezTo>
                  <a:cubicBezTo>
                    <a:pt x="1478" y="687"/>
                    <a:pt x="1483" y="688"/>
                    <a:pt x="1483" y="692"/>
                  </a:cubicBezTo>
                  <a:cubicBezTo>
                    <a:pt x="1485" y="693"/>
                    <a:pt x="1485" y="690"/>
                    <a:pt x="1485" y="688"/>
                  </a:cubicBezTo>
                  <a:cubicBezTo>
                    <a:pt x="1490" y="687"/>
                    <a:pt x="1486" y="703"/>
                    <a:pt x="1480" y="699"/>
                  </a:cubicBezTo>
                  <a:close/>
                  <a:moveTo>
                    <a:pt x="1493" y="1243"/>
                  </a:moveTo>
                  <a:cubicBezTo>
                    <a:pt x="1482" y="1245"/>
                    <a:pt x="1494" y="1235"/>
                    <a:pt x="1491" y="1225"/>
                  </a:cubicBezTo>
                  <a:cubicBezTo>
                    <a:pt x="1494" y="1226"/>
                    <a:pt x="1497" y="1245"/>
                    <a:pt x="1493" y="1243"/>
                  </a:cubicBezTo>
                  <a:close/>
                  <a:moveTo>
                    <a:pt x="1485" y="566"/>
                  </a:moveTo>
                  <a:cubicBezTo>
                    <a:pt x="1484" y="561"/>
                    <a:pt x="1496" y="557"/>
                    <a:pt x="1488" y="555"/>
                  </a:cubicBezTo>
                  <a:cubicBezTo>
                    <a:pt x="1499" y="541"/>
                    <a:pt x="1484" y="571"/>
                    <a:pt x="1496" y="566"/>
                  </a:cubicBezTo>
                  <a:cubicBezTo>
                    <a:pt x="1494" y="577"/>
                    <a:pt x="1490" y="563"/>
                    <a:pt x="1485" y="566"/>
                  </a:cubicBezTo>
                  <a:close/>
                  <a:moveTo>
                    <a:pt x="1491" y="182"/>
                  </a:moveTo>
                  <a:cubicBezTo>
                    <a:pt x="1491" y="179"/>
                    <a:pt x="1493" y="178"/>
                    <a:pt x="1493" y="174"/>
                  </a:cubicBezTo>
                  <a:cubicBezTo>
                    <a:pt x="1497" y="176"/>
                    <a:pt x="1499" y="179"/>
                    <a:pt x="1499" y="185"/>
                  </a:cubicBezTo>
                  <a:cubicBezTo>
                    <a:pt x="1494" y="186"/>
                    <a:pt x="1494" y="182"/>
                    <a:pt x="1491" y="182"/>
                  </a:cubicBezTo>
                  <a:close/>
                  <a:moveTo>
                    <a:pt x="1499" y="1221"/>
                  </a:moveTo>
                  <a:cubicBezTo>
                    <a:pt x="1494" y="1218"/>
                    <a:pt x="1498" y="1214"/>
                    <a:pt x="1499" y="1210"/>
                  </a:cubicBezTo>
                  <a:cubicBezTo>
                    <a:pt x="1504" y="1212"/>
                    <a:pt x="1499" y="1216"/>
                    <a:pt x="1499" y="1221"/>
                  </a:cubicBezTo>
                  <a:close/>
                  <a:moveTo>
                    <a:pt x="1496" y="170"/>
                  </a:moveTo>
                  <a:cubicBezTo>
                    <a:pt x="1495" y="165"/>
                    <a:pt x="1511" y="165"/>
                    <a:pt x="1504" y="174"/>
                  </a:cubicBezTo>
                  <a:cubicBezTo>
                    <a:pt x="1505" y="173"/>
                    <a:pt x="1496" y="170"/>
                    <a:pt x="1496" y="170"/>
                  </a:cubicBezTo>
                  <a:close/>
                  <a:moveTo>
                    <a:pt x="1504" y="651"/>
                  </a:moveTo>
                  <a:cubicBezTo>
                    <a:pt x="1506" y="648"/>
                    <a:pt x="1507" y="643"/>
                    <a:pt x="1507" y="636"/>
                  </a:cubicBezTo>
                  <a:cubicBezTo>
                    <a:pt x="1510" y="637"/>
                    <a:pt x="1512" y="636"/>
                    <a:pt x="1512" y="633"/>
                  </a:cubicBezTo>
                  <a:cubicBezTo>
                    <a:pt x="1516" y="634"/>
                    <a:pt x="1513" y="639"/>
                    <a:pt x="1510" y="640"/>
                  </a:cubicBezTo>
                  <a:cubicBezTo>
                    <a:pt x="1510" y="648"/>
                    <a:pt x="1509" y="652"/>
                    <a:pt x="1504" y="651"/>
                  </a:cubicBezTo>
                  <a:close/>
                  <a:moveTo>
                    <a:pt x="1515" y="1180"/>
                  </a:moveTo>
                  <a:cubicBezTo>
                    <a:pt x="1512" y="1178"/>
                    <a:pt x="1509" y="1175"/>
                    <a:pt x="1510" y="1169"/>
                  </a:cubicBezTo>
                  <a:cubicBezTo>
                    <a:pt x="1513" y="1171"/>
                    <a:pt x="1515" y="1174"/>
                    <a:pt x="1515" y="1180"/>
                  </a:cubicBezTo>
                  <a:close/>
                  <a:moveTo>
                    <a:pt x="1523" y="1291"/>
                  </a:moveTo>
                  <a:cubicBezTo>
                    <a:pt x="1518" y="1280"/>
                    <a:pt x="1511" y="1294"/>
                    <a:pt x="1510" y="1276"/>
                  </a:cubicBezTo>
                  <a:cubicBezTo>
                    <a:pt x="1522" y="1278"/>
                    <a:pt x="1514" y="1273"/>
                    <a:pt x="1515" y="1261"/>
                  </a:cubicBezTo>
                  <a:cubicBezTo>
                    <a:pt x="1522" y="1259"/>
                    <a:pt x="1520" y="1269"/>
                    <a:pt x="1526" y="1269"/>
                  </a:cubicBezTo>
                  <a:cubicBezTo>
                    <a:pt x="1525" y="1273"/>
                    <a:pt x="1523" y="1271"/>
                    <a:pt x="1523" y="1269"/>
                  </a:cubicBezTo>
                  <a:cubicBezTo>
                    <a:pt x="1520" y="1269"/>
                    <a:pt x="1521" y="1273"/>
                    <a:pt x="1520" y="1276"/>
                  </a:cubicBezTo>
                  <a:cubicBezTo>
                    <a:pt x="1523" y="1287"/>
                    <a:pt x="1532" y="1275"/>
                    <a:pt x="1536" y="1276"/>
                  </a:cubicBezTo>
                  <a:cubicBezTo>
                    <a:pt x="1538" y="1290"/>
                    <a:pt x="1524" y="1281"/>
                    <a:pt x="1523" y="1291"/>
                  </a:cubicBezTo>
                  <a:close/>
                  <a:moveTo>
                    <a:pt x="1534" y="230"/>
                  </a:moveTo>
                  <a:cubicBezTo>
                    <a:pt x="1536" y="230"/>
                    <a:pt x="1537" y="230"/>
                    <a:pt x="1539" y="230"/>
                  </a:cubicBezTo>
                  <a:cubicBezTo>
                    <a:pt x="1540" y="240"/>
                    <a:pt x="1519" y="229"/>
                    <a:pt x="1534" y="230"/>
                  </a:cubicBezTo>
                  <a:close/>
                  <a:moveTo>
                    <a:pt x="1553" y="1291"/>
                  </a:moveTo>
                  <a:cubicBezTo>
                    <a:pt x="1551" y="1291"/>
                    <a:pt x="1549" y="1291"/>
                    <a:pt x="1547" y="1291"/>
                  </a:cubicBezTo>
                  <a:cubicBezTo>
                    <a:pt x="1547" y="1289"/>
                    <a:pt x="1547" y="1286"/>
                    <a:pt x="1547" y="1284"/>
                  </a:cubicBezTo>
                  <a:cubicBezTo>
                    <a:pt x="1549" y="1284"/>
                    <a:pt x="1551" y="1284"/>
                    <a:pt x="1553" y="1284"/>
                  </a:cubicBezTo>
                  <a:cubicBezTo>
                    <a:pt x="1553" y="1286"/>
                    <a:pt x="1553" y="1289"/>
                    <a:pt x="1553" y="1291"/>
                  </a:cubicBezTo>
                  <a:close/>
                  <a:moveTo>
                    <a:pt x="1550" y="1276"/>
                  </a:moveTo>
                  <a:cubicBezTo>
                    <a:pt x="1548" y="1276"/>
                    <a:pt x="1547" y="1273"/>
                    <a:pt x="1545" y="1273"/>
                  </a:cubicBezTo>
                  <a:cubicBezTo>
                    <a:pt x="1545" y="1270"/>
                    <a:pt x="1547" y="1269"/>
                    <a:pt x="1547" y="1265"/>
                  </a:cubicBezTo>
                  <a:cubicBezTo>
                    <a:pt x="1549" y="1266"/>
                    <a:pt x="1550" y="1269"/>
                    <a:pt x="1553" y="1269"/>
                  </a:cubicBezTo>
                  <a:cubicBezTo>
                    <a:pt x="1552" y="1272"/>
                    <a:pt x="1550" y="1273"/>
                    <a:pt x="1550" y="1276"/>
                  </a:cubicBezTo>
                  <a:close/>
                  <a:moveTo>
                    <a:pt x="1555" y="1265"/>
                  </a:moveTo>
                  <a:cubicBezTo>
                    <a:pt x="1550" y="1266"/>
                    <a:pt x="1552" y="1257"/>
                    <a:pt x="1550" y="1254"/>
                  </a:cubicBezTo>
                  <a:cubicBezTo>
                    <a:pt x="1547" y="1251"/>
                    <a:pt x="1547" y="1254"/>
                    <a:pt x="1545" y="1250"/>
                  </a:cubicBezTo>
                  <a:cubicBezTo>
                    <a:pt x="1543" y="1247"/>
                    <a:pt x="1539" y="1246"/>
                    <a:pt x="1539" y="1239"/>
                  </a:cubicBezTo>
                  <a:cubicBezTo>
                    <a:pt x="1549" y="1240"/>
                    <a:pt x="1547" y="1243"/>
                    <a:pt x="1555" y="1239"/>
                  </a:cubicBezTo>
                  <a:cubicBezTo>
                    <a:pt x="1556" y="1250"/>
                    <a:pt x="1555" y="1252"/>
                    <a:pt x="1550" y="1247"/>
                  </a:cubicBezTo>
                  <a:cubicBezTo>
                    <a:pt x="1548" y="1258"/>
                    <a:pt x="1559" y="1251"/>
                    <a:pt x="1555" y="1265"/>
                  </a:cubicBezTo>
                  <a:close/>
                  <a:moveTo>
                    <a:pt x="1547" y="555"/>
                  </a:moveTo>
                  <a:cubicBezTo>
                    <a:pt x="1551" y="562"/>
                    <a:pt x="1556" y="568"/>
                    <a:pt x="1561" y="574"/>
                  </a:cubicBezTo>
                  <a:cubicBezTo>
                    <a:pt x="1558" y="579"/>
                    <a:pt x="1545" y="569"/>
                    <a:pt x="1547" y="555"/>
                  </a:cubicBezTo>
                  <a:close/>
                  <a:moveTo>
                    <a:pt x="1566" y="1243"/>
                  </a:moveTo>
                  <a:cubicBezTo>
                    <a:pt x="1560" y="1244"/>
                    <a:pt x="1563" y="1232"/>
                    <a:pt x="1558" y="1232"/>
                  </a:cubicBezTo>
                  <a:cubicBezTo>
                    <a:pt x="1558" y="1223"/>
                    <a:pt x="1567" y="1231"/>
                    <a:pt x="1569" y="1232"/>
                  </a:cubicBezTo>
                  <a:cubicBezTo>
                    <a:pt x="1567" y="1235"/>
                    <a:pt x="1566" y="1238"/>
                    <a:pt x="1566" y="1243"/>
                  </a:cubicBezTo>
                  <a:close/>
                  <a:moveTo>
                    <a:pt x="1561" y="1199"/>
                  </a:moveTo>
                  <a:cubicBezTo>
                    <a:pt x="1561" y="1195"/>
                    <a:pt x="1561" y="1191"/>
                    <a:pt x="1561" y="1187"/>
                  </a:cubicBezTo>
                  <a:cubicBezTo>
                    <a:pt x="1568" y="1185"/>
                    <a:pt x="1566" y="1195"/>
                    <a:pt x="1571" y="1195"/>
                  </a:cubicBezTo>
                  <a:cubicBezTo>
                    <a:pt x="1571" y="1200"/>
                    <a:pt x="1565" y="1198"/>
                    <a:pt x="1561" y="1199"/>
                  </a:cubicBezTo>
                  <a:close/>
                  <a:moveTo>
                    <a:pt x="1580" y="1250"/>
                  </a:moveTo>
                  <a:cubicBezTo>
                    <a:pt x="1577" y="1246"/>
                    <a:pt x="1570" y="1249"/>
                    <a:pt x="1571" y="1239"/>
                  </a:cubicBezTo>
                  <a:cubicBezTo>
                    <a:pt x="1574" y="1243"/>
                    <a:pt x="1581" y="1240"/>
                    <a:pt x="1580" y="1250"/>
                  </a:cubicBezTo>
                  <a:close/>
                  <a:moveTo>
                    <a:pt x="1577" y="640"/>
                  </a:moveTo>
                  <a:cubicBezTo>
                    <a:pt x="1577" y="638"/>
                    <a:pt x="1577" y="635"/>
                    <a:pt x="1577" y="633"/>
                  </a:cubicBezTo>
                  <a:cubicBezTo>
                    <a:pt x="1579" y="633"/>
                    <a:pt x="1580" y="633"/>
                    <a:pt x="1582" y="633"/>
                  </a:cubicBezTo>
                  <a:cubicBezTo>
                    <a:pt x="1582" y="635"/>
                    <a:pt x="1582" y="638"/>
                    <a:pt x="1582" y="640"/>
                  </a:cubicBezTo>
                  <a:cubicBezTo>
                    <a:pt x="1580" y="640"/>
                    <a:pt x="1579" y="640"/>
                    <a:pt x="1577" y="640"/>
                  </a:cubicBezTo>
                  <a:close/>
                  <a:moveTo>
                    <a:pt x="1598" y="1254"/>
                  </a:moveTo>
                  <a:cubicBezTo>
                    <a:pt x="1593" y="1257"/>
                    <a:pt x="1592" y="1248"/>
                    <a:pt x="1590" y="1247"/>
                  </a:cubicBezTo>
                  <a:cubicBezTo>
                    <a:pt x="1588" y="1246"/>
                    <a:pt x="1585" y="1252"/>
                    <a:pt x="1582" y="1247"/>
                  </a:cubicBezTo>
                  <a:cubicBezTo>
                    <a:pt x="1587" y="1239"/>
                    <a:pt x="1600" y="1236"/>
                    <a:pt x="1598" y="1254"/>
                  </a:cubicBezTo>
                  <a:close/>
                  <a:moveTo>
                    <a:pt x="1633" y="1291"/>
                  </a:moveTo>
                  <a:cubicBezTo>
                    <a:pt x="1625" y="1305"/>
                    <a:pt x="1624" y="1280"/>
                    <a:pt x="1633" y="1291"/>
                  </a:cubicBezTo>
                  <a:close/>
                  <a:moveTo>
                    <a:pt x="1628" y="1313"/>
                  </a:moveTo>
                  <a:cubicBezTo>
                    <a:pt x="1628" y="1308"/>
                    <a:pt x="1628" y="1303"/>
                    <a:pt x="1628" y="1298"/>
                  </a:cubicBezTo>
                  <a:cubicBezTo>
                    <a:pt x="1637" y="1298"/>
                    <a:pt x="1638" y="1316"/>
                    <a:pt x="1628" y="1313"/>
                  </a:cubicBezTo>
                  <a:close/>
                  <a:moveTo>
                    <a:pt x="1625" y="1250"/>
                  </a:moveTo>
                  <a:cubicBezTo>
                    <a:pt x="1617" y="1249"/>
                    <a:pt x="1607" y="1253"/>
                    <a:pt x="1601" y="1247"/>
                  </a:cubicBezTo>
                  <a:cubicBezTo>
                    <a:pt x="1602" y="1236"/>
                    <a:pt x="1609" y="1246"/>
                    <a:pt x="1612" y="1247"/>
                  </a:cubicBezTo>
                  <a:cubicBezTo>
                    <a:pt x="1614" y="1247"/>
                    <a:pt x="1615" y="1242"/>
                    <a:pt x="1617" y="1243"/>
                  </a:cubicBezTo>
                  <a:cubicBezTo>
                    <a:pt x="1618" y="1243"/>
                    <a:pt x="1617" y="1246"/>
                    <a:pt x="1620" y="1247"/>
                  </a:cubicBezTo>
                  <a:cubicBezTo>
                    <a:pt x="1625" y="1247"/>
                    <a:pt x="1629" y="1246"/>
                    <a:pt x="1636" y="1247"/>
                  </a:cubicBezTo>
                  <a:cubicBezTo>
                    <a:pt x="1638" y="1240"/>
                    <a:pt x="1638" y="1251"/>
                    <a:pt x="1641" y="1250"/>
                  </a:cubicBezTo>
                  <a:cubicBezTo>
                    <a:pt x="1639" y="1261"/>
                    <a:pt x="1631" y="1251"/>
                    <a:pt x="1625" y="1250"/>
                  </a:cubicBezTo>
                  <a:close/>
                  <a:moveTo>
                    <a:pt x="1641" y="588"/>
                  </a:moveTo>
                  <a:cubicBezTo>
                    <a:pt x="1641" y="595"/>
                    <a:pt x="1648" y="600"/>
                    <a:pt x="1639" y="599"/>
                  </a:cubicBezTo>
                  <a:cubicBezTo>
                    <a:pt x="1637" y="611"/>
                    <a:pt x="1644" y="611"/>
                    <a:pt x="1639" y="618"/>
                  </a:cubicBezTo>
                  <a:cubicBezTo>
                    <a:pt x="1627" y="611"/>
                    <a:pt x="1643" y="590"/>
                    <a:pt x="1641" y="574"/>
                  </a:cubicBezTo>
                  <a:cubicBezTo>
                    <a:pt x="1638" y="569"/>
                    <a:pt x="1641" y="572"/>
                    <a:pt x="1644" y="574"/>
                  </a:cubicBezTo>
                  <a:cubicBezTo>
                    <a:pt x="1646" y="581"/>
                    <a:pt x="1641" y="583"/>
                    <a:pt x="1641" y="588"/>
                  </a:cubicBezTo>
                  <a:close/>
                  <a:moveTo>
                    <a:pt x="2066" y="156"/>
                  </a:moveTo>
                  <a:cubicBezTo>
                    <a:pt x="2076" y="166"/>
                    <a:pt x="2060" y="179"/>
                    <a:pt x="2066" y="156"/>
                  </a:cubicBezTo>
                  <a:close/>
                  <a:moveTo>
                    <a:pt x="2055" y="562"/>
                  </a:moveTo>
                  <a:cubicBezTo>
                    <a:pt x="2055" y="562"/>
                    <a:pt x="2053" y="563"/>
                    <a:pt x="2053" y="562"/>
                  </a:cubicBezTo>
                  <a:cubicBezTo>
                    <a:pt x="2043" y="552"/>
                    <a:pt x="2062" y="561"/>
                    <a:pt x="2058" y="566"/>
                  </a:cubicBezTo>
                  <a:cubicBezTo>
                    <a:pt x="2057" y="568"/>
                    <a:pt x="2052" y="570"/>
                    <a:pt x="2053" y="566"/>
                  </a:cubicBezTo>
                  <a:cubicBezTo>
                    <a:pt x="2053" y="565"/>
                    <a:pt x="2056" y="566"/>
                    <a:pt x="2055" y="562"/>
                  </a:cubicBezTo>
                  <a:close/>
                  <a:moveTo>
                    <a:pt x="2034" y="296"/>
                  </a:moveTo>
                  <a:cubicBezTo>
                    <a:pt x="2038" y="296"/>
                    <a:pt x="2042" y="312"/>
                    <a:pt x="2042" y="296"/>
                  </a:cubicBezTo>
                  <a:cubicBezTo>
                    <a:pt x="2051" y="297"/>
                    <a:pt x="2042" y="306"/>
                    <a:pt x="2047" y="307"/>
                  </a:cubicBezTo>
                  <a:cubicBezTo>
                    <a:pt x="2047" y="312"/>
                    <a:pt x="2042" y="311"/>
                    <a:pt x="2042" y="307"/>
                  </a:cubicBezTo>
                  <a:cubicBezTo>
                    <a:pt x="2037" y="307"/>
                    <a:pt x="2036" y="312"/>
                    <a:pt x="2031" y="311"/>
                  </a:cubicBezTo>
                  <a:cubicBezTo>
                    <a:pt x="2031" y="304"/>
                    <a:pt x="2035" y="303"/>
                    <a:pt x="2034" y="296"/>
                  </a:cubicBezTo>
                  <a:close/>
                  <a:moveTo>
                    <a:pt x="2039" y="285"/>
                  </a:moveTo>
                  <a:cubicBezTo>
                    <a:pt x="2041" y="274"/>
                    <a:pt x="2045" y="289"/>
                    <a:pt x="2050" y="285"/>
                  </a:cubicBezTo>
                  <a:cubicBezTo>
                    <a:pt x="2050" y="294"/>
                    <a:pt x="2041" y="286"/>
                    <a:pt x="2039" y="285"/>
                  </a:cubicBezTo>
                  <a:close/>
                  <a:moveTo>
                    <a:pt x="2058" y="241"/>
                  </a:moveTo>
                  <a:cubicBezTo>
                    <a:pt x="2051" y="236"/>
                    <a:pt x="2066" y="214"/>
                    <a:pt x="2058" y="241"/>
                  </a:cubicBezTo>
                  <a:close/>
                  <a:moveTo>
                    <a:pt x="2050" y="174"/>
                  </a:moveTo>
                  <a:cubicBezTo>
                    <a:pt x="2060" y="185"/>
                    <a:pt x="2042" y="187"/>
                    <a:pt x="2050" y="174"/>
                  </a:cubicBezTo>
                  <a:close/>
                  <a:moveTo>
                    <a:pt x="2053" y="244"/>
                  </a:moveTo>
                  <a:cubicBezTo>
                    <a:pt x="2061" y="248"/>
                    <a:pt x="2052" y="257"/>
                    <a:pt x="2050" y="259"/>
                  </a:cubicBezTo>
                  <a:cubicBezTo>
                    <a:pt x="2047" y="259"/>
                    <a:pt x="2048" y="255"/>
                    <a:pt x="2047" y="252"/>
                  </a:cubicBezTo>
                  <a:cubicBezTo>
                    <a:pt x="2045" y="251"/>
                    <a:pt x="2045" y="253"/>
                    <a:pt x="2045" y="255"/>
                  </a:cubicBezTo>
                  <a:cubicBezTo>
                    <a:pt x="2042" y="256"/>
                    <a:pt x="2042" y="254"/>
                    <a:pt x="2042" y="252"/>
                  </a:cubicBezTo>
                  <a:cubicBezTo>
                    <a:pt x="2042" y="249"/>
                    <a:pt x="2042" y="247"/>
                    <a:pt x="2042" y="244"/>
                  </a:cubicBezTo>
                  <a:cubicBezTo>
                    <a:pt x="2047" y="241"/>
                    <a:pt x="2051" y="255"/>
                    <a:pt x="2053" y="244"/>
                  </a:cubicBezTo>
                  <a:close/>
                  <a:moveTo>
                    <a:pt x="2037" y="185"/>
                  </a:moveTo>
                  <a:cubicBezTo>
                    <a:pt x="2038" y="185"/>
                    <a:pt x="2040" y="185"/>
                    <a:pt x="2042" y="185"/>
                  </a:cubicBezTo>
                  <a:cubicBezTo>
                    <a:pt x="2042" y="188"/>
                    <a:pt x="2042" y="190"/>
                    <a:pt x="2042" y="193"/>
                  </a:cubicBezTo>
                  <a:cubicBezTo>
                    <a:pt x="2040" y="193"/>
                    <a:pt x="2038" y="193"/>
                    <a:pt x="2037" y="193"/>
                  </a:cubicBezTo>
                  <a:cubicBezTo>
                    <a:pt x="2037" y="190"/>
                    <a:pt x="2037" y="188"/>
                    <a:pt x="2037" y="185"/>
                  </a:cubicBezTo>
                  <a:close/>
                  <a:moveTo>
                    <a:pt x="2031" y="233"/>
                  </a:moveTo>
                  <a:cubicBezTo>
                    <a:pt x="2041" y="232"/>
                    <a:pt x="2035" y="253"/>
                    <a:pt x="2039" y="259"/>
                  </a:cubicBezTo>
                  <a:cubicBezTo>
                    <a:pt x="2029" y="262"/>
                    <a:pt x="2032" y="245"/>
                    <a:pt x="2031" y="233"/>
                  </a:cubicBezTo>
                  <a:close/>
                  <a:moveTo>
                    <a:pt x="2018" y="548"/>
                  </a:moveTo>
                  <a:cubicBezTo>
                    <a:pt x="2030" y="550"/>
                    <a:pt x="2016" y="570"/>
                    <a:pt x="2018" y="548"/>
                  </a:cubicBezTo>
                  <a:close/>
                  <a:moveTo>
                    <a:pt x="2020" y="1180"/>
                  </a:moveTo>
                  <a:cubicBezTo>
                    <a:pt x="2019" y="1187"/>
                    <a:pt x="2016" y="1181"/>
                    <a:pt x="2012" y="1180"/>
                  </a:cubicBezTo>
                  <a:cubicBezTo>
                    <a:pt x="2014" y="1173"/>
                    <a:pt x="2017" y="1180"/>
                    <a:pt x="2020" y="1180"/>
                  </a:cubicBezTo>
                  <a:close/>
                  <a:moveTo>
                    <a:pt x="2010" y="156"/>
                  </a:moveTo>
                  <a:cubicBezTo>
                    <a:pt x="2018" y="150"/>
                    <a:pt x="2018" y="172"/>
                    <a:pt x="2010" y="167"/>
                  </a:cubicBezTo>
                  <a:cubicBezTo>
                    <a:pt x="2010" y="163"/>
                    <a:pt x="2010" y="159"/>
                    <a:pt x="2010" y="156"/>
                  </a:cubicBezTo>
                  <a:close/>
                  <a:moveTo>
                    <a:pt x="2010" y="174"/>
                  </a:moveTo>
                  <a:cubicBezTo>
                    <a:pt x="2011" y="167"/>
                    <a:pt x="2013" y="176"/>
                    <a:pt x="2012" y="182"/>
                  </a:cubicBezTo>
                  <a:cubicBezTo>
                    <a:pt x="2011" y="189"/>
                    <a:pt x="2009" y="179"/>
                    <a:pt x="2010" y="174"/>
                  </a:cubicBezTo>
                  <a:close/>
                  <a:moveTo>
                    <a:pt x="2012" y="559"/>
                  </a:moveTo>
                  <a:cubicBezTo>
                    <a:pt x="2009" y="557"/>
                    <a:pt x="2007" y="554"/>
                    <a:pt x="2007" y="548"/>
                  </a:cubicBezTo>
                  <a:cubicBezTo>
                    <a:pt x="2010" y="549"/>
                    <a:pt x="2013" y="552"/>
                    <a:pt x="2012" y="559"/>
                  </a:cubicBezTo>
                  <a:close/>
                  <a:moveTo>
                    <a:pt x="2007" y="1187"/>
                  </a:moveTo>
                  <a:cubicBezTo>
                    <a:pt x="2019" y="1189"/>
                    <a:pt x="2004" y="1209"/>
                    <a:pt x="2007" y="1187"/>
                  </a:cubicBezTo>
                  <a:close/>
                  <a:moveTo>
                    <a:pt x="1991" y="182"/>
                  </a:moveTo>
                  <a:cubicBezTo>
                    <a:pt x="1995" y="172"/>
                    <a:pt x="2006" y="183"/>
                    <a:pt x="2004" y="193"/>
                  </a:cubicBezTo>
                  <a:cubicBezTo>
                    <a:pt x="1998" y="197"/>
                    <a:pt x="1993" y="182"/>
                    <a:pt x="1991" y="193"/>
                  </a:cubicBezTo>
                  <a:cubicBezTo>
                    <a:pt x="1988" y="192"/>
                    <a:pt x="1989" y="185"/>
                    <a:pt x="1986" y="185"/>
                  </a:cubicBezTo>
                  <a:cubicBezTo>
                    <a:pt x="1985" y="178"/>
                    <a:pt x="2004" y="189"/>
                    <a:pt x="1991" y="182"/>
                  </a:cubicBezTo>
                  <a:close/>
                  <a:moveTo>
                    <a:pt x="1996" y="537"/>
                  </a:moveTo>
                  <a:cubicBezTo>
                    <a:pt x="1995" y="544"/>
                    <a:pt x="1995" y="552"/>
                    <a:pt x="1988" y="551"/>
                  </a:cubicBezTo>
                  <a:cubicBezTo>
                    <a:pt x="1989" y="548"/>
                    <a:pt x="1991" y="545"/>
                    <a:pt x="1994" y="544"/>
                  </a:cubicBezTo>
                  <a:cubicBezTo>
                    <a:pt x="1991" y="539"/>
                    <a:pt x="1991" y="536"/>
                    <a:pt x="1996" y="537"/>
                  </a:cubicBezTo>
                  <a:close/>
                  <a:moveTo>
                    <a:pt x="1996" y="1169"/>
                  </a:moveTo>
                  <a:cubicBezTo>
                    <a:pt x="1999" y="1172"/>
                    <a:pt x="2000" y="1180"/>
                    <a:pt x="1996" y="1187"/>
                  </a:cubicBezTo>
                  <a:cubicBezTo>
                    <a:pt x="1990" y="1187"/>
                    <a:pt x="1995" y="1171"/>
                    <a:pt x="1996" y="1169"/>
                  </a:cubicBezTo>
                  <a:close/>
                  <a:moveTo>
                    <a:pt x="1996" y="211"/>
                  </a:moveTo>
                  <a:cubicBezTo>
                    <a:pt x="1990" y="213"/>
                    <a:pt x="1990" y="204"/>
                    <a:pt x="1983" y="207"/>
                  </a:cubicBezTo>
                  <a:cubicBezTo>
                    <a:pt x="1989" y="197"/>
                    <a:pt x="1991" y="205"/>
                    <a:pt x="1999" y="200"/>
                  </a:cubicBezTo>
                  <a:cubicBezTo>
                    <a:pt x="1998" y="203"/>
                    <a:pt x="1996" y="206"/>
                    <a:pt x="1996" y="211"/>
                  </a:cubicBezTo>
                  <a:close/>
                  <a:moveTo>
                    <a:pt x="1999" y="570"/>
                  </a:moveTo>
                  <a:cubicBezTo>
                    <a:pt x="2011" y="571"/>
                    <a:pt x="1996" y="591"/>
                    <a:pt x="1999" y="570"/>
                  </a:cubicBezTo>
                  <a:close/>
                  <a:moveTo>
                    <a:pt x="1986" y="122"/>
                  </a:moveTo>
                  <a:cubicBezTo>
                    <a:pt x="1988" y="123"/>
                    <a:pt x="1987" y="130"/>
                    <a:pt x="1991" y="130"/>
                  </a:cubicBezTo>
                  <a:cubicBezTo>
                    <a:pt x="1990" y="134"/>
                    <a:pt x="1986" y="132"/>
                    <a:pt x="1986" y="137"/>
                  </a:cubicBezTo>
                  <a:cubicBezTo>
                    <a:pt x="1977" y="135"/>
                    <a:pt x="1988" y="129"/>
                    <a:pt x="1986" y="122"/>
                  </a:cubicBezTo>
                  <a:close/>
                  <a:moveTo>
                    <a:pt x="1977" y="133"/>
                  </a:moveTo>
                  <a:cubicBezTo>
                    <a:pt x="1976" y="133"/>
                    <a:pt x="1974" y="133"/>
                    <a:pt x="1972" y="133"/>
                  </a:cubicBezTo>
                  <a:cubicBezTo>
                    <a:pt x="1973" y="130"/>
                    <a:pt x="1971" y="130"/>
                    <a:pt x="1969" y="130"/>
                  </a:cubicBezTo>
                  <a:cubicBezTo>
                    <a:pt x="1968" y="123"/>
                    <a:pt x="1982" y="124"/>
                    <a:pt x="1977" y="133"/>
                  </a:cubicBezTo>
                  <a:close/>
                  <a:moveTo>
                    <a:pt x="1961" y="133"/>
                  </a:moveTo>
                  <a:cubicBezTo>
                    <a:pt x="1966" y="142"/>
                    <a:pt x="1971" y="147"/>
                    <a:pt x="1980" y="141"/>
                  </a:cubicBezTo>
                  <a:cubicBezTo>
                    <a:pt x="1979" y="144"/>
                    <a:pt x="1978" y="145"/>
                    <a:pt x="1977" y="148"/>
                  </a:cubicBezTo>
                  <a:cubicBezTo>
                    <a:pt x="1977" y="156"/>
                    <a:pt x="1983" y="158"/>
                    <a:pt x="1983" y="163"/>
                  </a:cubicBezTo>
                  <a:cubicBezTo>
                    <a:pt x="1982" y="176"/>
                    <a:pt x="1978" y="182"/>
                    <a:pt x="1972" y="193"/>
                  </a:cubicBezTo>
                  <a:cubicBezTo>
                    <a:pt x="1969" y="192"/>
                    <a:pt x="1972" y="174"/>
                    <a:pt x="1975" y="174"/>
                  </a:cubicBezTo>
                  <a:cubicBezTo>
                    <a:pt x="1979" y="174"/>
                    <a:pt x="1974" y="159"/>
                    <a:pt x="1972" y="152"/>
                  </a:cubicBezTo>
                  <a:cubicBezTo>
                    <a:pt x="1968" y="152"/>
                    <a:pt x="1971" y="159"/>
                    <a:pt x="1969" y="163"/>
                  </a:cubicBezTo>
                  <a:cubicBezTo>
                    <a:pt x="1964" y="176"/>
                    <a:pt x="1972" y="145"/>
                    <a:pt x="1961" y="148"/>
                  </a:cubicBezTo>
                  <a:cubicBezTo>
                    <a:pt x="1961" y="143"/>
                    <a:pt x="1961" y="138"/>
                    <a:pt x="1961" y="133"/>
                  </a:cubicBezTo>
                  <a:close/>
                  <a:moveTo>
                    <a:pt x="1969" y="1232"/>
                  </a:moveTo>
                  <a:cubicBezTo>
                    <a:pt x="1973" y="1227"/>
                    <a:pt x="1971" y="1214"/>
                    <a:pt x="1961" y="1217"/>
                  </a:cubicBezTo>
                  <a:cubicBezTo>
                    <a:pt x="1960" y="1209"/>
                    <a:pt x="1966" y="1212"/>
                    <a:pt x="1967" y="1206"/>
                  </a:cubicBezTo>
                  <a:cubicBezTo>
                    <a:pt x="1967" y="1202"/>
                    <a:pt x="1972" y="1203"/>
                    <a:pt x="1975" y="1202"/>
                  </a:cubicBezTo>
                  <a:cubicBezTo>
                    <a:pt x="1976" y="1211"/>
                    <a:pt x="1974" y="1216"/>
                    <a:pt x="1972" y="1221"/>
                  </a:cubicBezTo>
                  <a:cubicBezTo>
                    <a:pt x="1974" y="1224"/>
                    <a:pt x="1978" y="1234"/>
                    <a:pt x="1969" y="1232"/>
                  </a:cubicBezTo>
                  <a:close/>
                  <a:moveTo>
                    <a:pt x="1964" y="1306"/>
                  </a:moveTo>
                  <a:cubicBezTo>
                    <a:pt x="1963" y="1310"/>
                    <a:pt x="1961" y="1313"/>
                    <a:pt x="1956" y="1313"/>
                  </a:cubicBezTo>
                  <a:cubicBezTo>
                    <a:pt x="1957" y="1309"/>
                    <a:pt x="1959" y="1306"/>
                    <a:pt x="1964" y="1306"/>
                  </a:cubicBezTo>
                  <a:close/>
                  <a:moveTo>
                    <a:pt x="1964" y="207"/>
                  </a:moveTo>
                  <a:cubicBezTo>
                    <a:pt x="1964" y="205"/>
                    <a:pt x="1964" y="202"/>
                    <a:pt x="1964" y="200"/>
                  </a:cubicBezTo>
                  <a:cubicBezTo>
                    <a:pt x="1969" y="199"/>
                    <a:pt x="1972" y="201"/>
                    <a:pt x="1972" y="207"/>
                  </a:cubicBezTo>
                  <a:cubicBezTo>
                    <a:pt x="1969" y="207"/>
                    <a:pt x="1967" y="207"/>
                    <a:pt x="1964" y="207"/>
                  </a:cubicBezTo>
                  <a:close/>
                  <a:moveTo>
                    <a:pt x="1961" y="163"/>
                  </a:moveTo>
                  <a:cubicBezTo>
                    <a:pt x="1969" y="151"/>
                    <a:pt x="1953" y="183"/>
                    <a:pt x="1967" y="178"/>
                  </a:cubicBezTo>
                  <a:cubicBezTo>
                    <a:pt x="1967" y="184"/>
                    <a:pt x="1963" y="186"/>
                    <a:pt x="1964" y="193"/>
                  </a:cubicBezTo>
                  <a:cubicBezTo>
                    <a:pt x="1960" y="187"/>
                    <a:pt x="1956" y="171"/>
                    <a:pt x="1961" y="163"/>
                  </a:cubicBezTo>
                  <a:close/>
                  <a:moveTo>
                    <a:pt x="1940" y="108"/>
                  </a:moveTo>
                  <a:cubicBezTo>
                    <a:pt x="1942" y="108"/>
                    <a:pt x="1945" y="108"/>
                    <a:pt x="1948" y="108"/>
                  </a:cubicBezTo>
                  <a:cubicBezTo>
                    <a:pt x="1945" y="115"/>
                    <a:pt x="1952" y="125"/>
                    <a:pt x="1953" y="115"/>
                  </a:cubicBezTo>
                  <a:cubicBezTo>
                    <a:pt x="1956" y="114"/>
                    <a:pt x="1956" y="116"/>
                    <a:pt x="1956" y="119"/>
                  </a:cubicBezTo>
                  <a:cubicBezTo>
                    <a:pt x="1955" y="122"/>
                    <a:pt x="1957" y="122"/>
                    <a:pt x="1959" y="122"/>
                  </a:cubicBezTo>
                  <a:cubicBezTo>
                    <a:pt x="1959" y="127"/>
                    <a:pt x="1954" y="124"/>
                    <a:pt x="1953" y="126"/>
                  </a:cubicBezTo>
                  <a:cubicBezTo>
                    <a:pt x="1951" y="130"/>
                    <a:pt x="1954" y="139"/>
                    <a:pt x="1951" y="141"/>
                  </a:cubicBezTo>
                  <a:cubicBezTo>
                    <a:pt x="1947" y="138"/>
                    <a:pt x="1945" y="132"/>
                    <a:pt x="1945" y="122"/>
                  </a:cubicBezTo>
                  <a:cubicBezTo>
                    <a:pt x="1943" y="122"/>
                    <a:pt x="1943" y="127"/>
                    <a:pt x="1942" y="130"/>
                  </a:cubicBezTo>
                  <a:cubicBezTo>
                    <a:pt x="1940" y="128"/>
                    <a:pt x="1938" y="126"/>
                    <a:pt x="1934" y="126"/>
                  </a:cubicBezTo>
                  <a:cubicBezTo>
                    <a:pt x="1937" y="121"/>
                    <a:pt x="1937" y="112"/>
                    <a:pt x="1940" y="108"/>
                  </a:cubicBezTo>
                  <a:close/>
                  <a:moveTo>
                    <a:pt x="1937" y="174"/>
                  </a:moveTo>
                  <a:cubicBezTo>
                    <a:pt x="1934" y="161"/>
                    <a:pt x="1954" y="164"/>
                    <a:pt x="1948" y="178"/>
                  </a:cubicBezTo>
                  <a:cubicBezTo>
                    <a:pt x="1943" y="171"/>
                    <a:pt x="1946" y="171"/>
                    <a:pt x="1937" y="174"/>
                  </a:cubicBezTo>
                  <a:close/>
                  <a:moveTo>
                    <a:pt x="1945" y="1095"/>
                  </a:moveTo>
                  <a:cubicBezTo>
                    <a:pt x="1944" y="1100"/>
                    <a:pt x="1942" y="1103"/>
                    <a:pt x="1937" y="1102"/>
                  </a:cubicBezTo>
                  <a:cubicBezTo>
                    <a:pt x="1938" y="1098"/>
                    <a:pt x="1941" y="1095"/>
                    <a:pt x="1945" y="1095"/>
                  </a:cubicBezTo>
                  <a:close/>
                  <a:moveTo>
                    <a:pt x="1942" y="137"/>
                  </a:moveTo>
                  <a:cubicBezTo>
                    <a:pt x="1941" y="142"/>
                    <a:pt x="1939" y="145"/>
                    <a:pt x="1934" y="145"/>
                  </a:cubicBezTo>
                  <a:cubicBezTo>
                    <a:pt x="1936" y="140"/>
                    <a:pt x="1938" y="137"/>
                    <a:pt x="1942" y="137"/>
                  </a:cubicBezTo>
                  <a:close/>
                  <a:moveTo>
                    <a:pt x="1908" y="193"/>
                  </a:moveTo>
                  <a:cubicBezTo>
                    <a:pt x="1910" y="201"/>
                    <a:pt x="1917" y="202"/>
                    <a:pt x="1921" y="207"/>
                  </a:cubicBezTo>
                  <a:cubicBezTo>
                    <a:pt x="1919" y="214"/>
                    <a:pt x="1915" y="210"/>
                    <a:pt x="1916" y="204"/>
                  </a:cubicBezTo>
                  <a:cubicBezTo>
                    <a:pt x="1910" y="205"/>
                    <a:pt x="1909" y="201"/>
                    <a:pt x="1905" y="200"/>
                  </a:cubicBezTo>
                  <a:cubicBezTo>
                    <a:pt x="1901" y="191"/>
                    <a:pt x="1913" y="185"/>
                    <a:pt x="1905" y="182"/>
                  </a:cubicBezTo>
                  <a:cubicBezTo>
                    <a:pt x="1905" y="173"/>
                    <a:pt x="1912" y="183"/>
                    <a:pt x="1913" y="182"/>
                  </a:cubicBezTo>
                  <a:cubicBezTo>
                    <a:pt x="1913" y="181"/>
                    <a:pt x="1913" y="178"/>
                    <a:pt x="1913" y="178"/>
                  </a:cubicBezTo>
                  <a:cubicBezTo>
                    <a:pt x="1919" y="179"/>
                    <a:pt x="1920" y="185"/>
                    <a:pt x="1924" y="193"/>
                  </a:cubicBezTo>
                  <a:cubicBezTo>
                    <a:pt x="1927" y="199"/>
                    <a:pt x="1935" y="201"/>
                    <a:pt x="1932" y="207"/>
                  </a:cubicBezTo>
                  <a:cubicBezTo>
                    <a:pt x="1922" y="210"/>
                    <a:pt x="1920" y="202"/>
                    <a:pt x="1921" y="189"/>
                  </a:cubicBezTo>
                  <a:cubicBezTo>
                    <a:pt x="1915" y="188"/>
                    <a:pt x="1911" y="190"/>
                    <a:pt x="1908" y="193"/>
                  </a:cubicBezTo>
                  <a:close/>
                  <a:moveTo>
                    <a:pt x="1897" y="244"/>
                  </a:moveTo>
                  <a:cubicBezTo>
                    <a:pt x="1897" y="239"/>
                    <a:pt x="1894" y="244"/>
                    <a:pt x="1894" y="244"/>
                  </a:cubicBezTo>
                  <a:cubicBezTo>
                    <a:pt x="1891" y="243"/>
                    <a:pt x="1892" y="235"/>
                    <a:pt x="1886" y="237"/>
                  </a:cubicBezTo>
                  <a:cubicBezTo>
                    <a:pt x="1888" y="231"/>
                    <a:pt x="1895" y="232"/>
                    <a:pt x="1899" y="230"/>
                  </a:cubicBezTo>
                  <a:cubicBezTo>
                    <a:pt x="1899" y="239"/>
                    <a:pt x="1897" y="253"/>
                    <a:pt x="1908" y="248"/>
                  </a:cubicBezTo>
                  <a:cubicBezTo>
                    <a:pt x="1909" y="258"/>
                    <a:pt x="1898" y="252"/>
                    <a:pt x="1897" y="259"/>
                  </a:cubicBezTo>
                  <a:cubicBezTo>
                    <a:pt x="1890" y="258"/>
                    <a:pt x="1900" y="253"/>
                    <a:pt x="1897" y="244"/>
                  </a:cubicBezTo>
                  <a:close/>
                  <a:moveTo>
                    <a:pt x="1908" y="241"/>
                  </a:moveTo>
                  <a:cubicBezTo>
                    <a:pt x="1901" y="240"/>
                    <a:pt x="1901" y="231"/>
                    <a:pt x="1905" y="226"/>
                  </a:cubicBezTo>
                  <a:cubicBezTo>
                    <a:pt x="1911" y="227"/>
                    <a:pt x="1911" y="236"/>
                    <a:pt x="1908" y="241"/>
                  </a:cubicBezTo>
                  <a:close/>
                  <a:moveTo>
                    <a:pt x="1902" y="222"/>
                  </a:moveTo>
                  <a:cubicBezTo>
                    <a:pt x="1904" y="217"/>
                    <a:pt x="1911" y="217"/>
                    <a:pt x="1916" y="215"/>
                  </a:cubicBezTo>
                  <a:cubicBezTo>
                    <a:pt x="1918" y="227"/>
                    <a:pt x="1907" y="221"/>
                    <a:pt x="1902" y="222"/>
                  </a:cubicBezTo>
                  <a:close/>
                  <a:moveTo>
                    <a:pt x="1926" y="189"/>
                  </a:moveTo>
                  <a:cubicBezTo>
                    <a:pt x="1936" y="167"/>
                    <a:pt x="1940" y="211"/>
                    <a:pt x="1926" y="189"/>
                  </a:cubicBezTo>
                  <a:close/>
                  <a:moveTo>
                    <a:pt x="1932" y="211"/>
                  </a:moveTo>
                  <a:cubicBezTo>
                    <a:pt x="1941" y="209"/>
                    <a:pt x="1932" y="228"/>
                    <a:pt x="1929" y="222"/>
                  </a:cubicBezTo>
                  <a:cubicBezTo>
                    <a:pt x="1929" y="222"/>
                    <a:pt x="1931" y="215"/>
                    <a:pt x="1932" y="215"/>
                  </a:cubicBezTo>
                  <a:cubicBezTo>
                    <a:pt x="1932" y="215"/>
                    <a:pt x="1932" y="211"/>
                    <a:pt x="1932" y="211"/>
                  </a:cubicBezTo>
                  <a:close/>
                  <a:moveTo>
                    <a:pt x="1934" y="159"/>
                  </a:moveTo>
                  <a:cubicBezTo>
                    <a:pt x="1934" y="164"/>
                    <a:pt x="1933" y="161"/>
                    <a:pt x="1932" y="163"/>
                  </a:cubicBezTo>
                  <a:cubicBezTo>
                    <a:pt x="1931" y="166"/>
                    <a:pt x="1922" y="176"/>
                    <a:pt x="1932" y="174"/>
                  </a:cubicBezTo>
                  <a:cubicBezTo>
                    <a:pt x="1931" y="178"/>
                    <a:pt x="1927" y="177"/>
                    <a:pt x="1924" y="178"/>
                  </a:cubicBezTo>
                  <a:cubicBezTo>
                    <a:pt x="1924" y="173"/>
                    <a:pt x="1924" y="168"/>
                    <a:pt x="1924" y="163"/>
                  </a:cubicBezTo>
                  <a:cubicBezTo>
                    <a:pt x="1928" y="163"/>
                    <a:pt x="1931" y="164"/>
                    <a:pt x="1932" y="159"/>
                  </a:cubicBezTo>
                  <a:cubicBezTo>
                    <a:pt x="1932" y="155"/>
                    <a:pt x="1935" y="157"/>
                    <a:pt x="1934" y="159"/>
                  </a:cubicBezTo>
                  <a:close/>
                  <a:moveTo>
                    <a:pt x="1921" y="119"/>
                  </a:moveTo>
                  <a:cubicBezTo>
                    <a:pt x="1923" y="120"/>
                    <a:pt x="1926" y="113"/>
                    <a:pt x="1929" y="119"/>
                  </a:cubicBezTo>
                  <a:cubicBezTo>
                    <a:pt x="1930" y="125"/>
                    <a:pt x="1920" y="138"/>
                    <a:pt x="1932" y="137"/>
                  </a:cubicBezTo>
                  <a:cubicBezTo>
                    <a:pt x="1929" y="146"/>
                    <a:pt x="1915" y="158"/>
                    <a:pt x="1921" y="167"/>
                  </a:cubicBezTo>
                  <a:cubicBezTo>
                    <a:pt x="1913" y="177"/>
                    <a:pt x="1913" y="159"/>
                    <a:pt x="1916" y="148"/>
                  </a:cubicBezTo>
                  <a:cubicBezTo>
                    <a:pt x="1918" y="148"/>
                    <a:pt x="1921" y="148"/>
                    <a:pt x="1924" y="148"/>
                  </a:cubicBezTo>
                  <a:cubicBezTo>
                    <a:pt x="1922" y="137"/>
                    <a:pt x="1922" y="141"/>
                    <a:pt x="1924" y="130"/>
                  </a:cubicBezTo>
                  <a:cubicBezTo>
                    <a:pt x="1921" y="129"/>
                    <a:pt x="1919" y="131"/>
                    <a:pt x="1918" y="133"/>
                  </a:cubicBezTo>
                  <a:cubicBezTo>
                    <a:pt x="1912" y="135"/>
                    <a:pt x="1926" y="115"/>
                    <a:pt x="1913" y="119"/>
                  </a:cubicBezTo>
                  <a:cubicBezTo>
                    <a:pt x="1914" y="117"/>
                    <a:pt x="1916" y="110"/>
                    <a:pt x="1918" y="111"/>
                  </a:cubicBezTo>
                  <a:cubicBezTo>
                    <a:pt x="1921" y="112"/>
                    <a:pt x="1920" y="118"/>
                    <a:pt x="1921" y="119"/>
                  </a:cubicBezTo>
                  <a:close/>
                  <a:moveTo>
                    <a:pt x="1913" y="71"/>
                  </a:moveTo>
                  <a:cubicBezTo>
                    <a:pt x="1915" y="71"/>
                    <a:pt x="1917" y="71"/>
                    <a:pt x="1918" y="71"/>
                  </a:cubicBezTo>
                  <a:cubicBezTo>
                    <a:pt x="1918" y="77"/>
                    <a:pt x="1918" y="83"/>
                    <a:pt x="1918" y="89"/>
                  </a:cubicBezTo>
                  <a:cubicBezTo>
                    <a:pt x="1916" y="87"/>
                    <a:pt x="1916" y="81"/>
                    <a:pt x="1910" y="82"/>
                  </a:cubicBezTo>
                  <a:cubicBezTo>
                    <a:pt x="1910" y="76"/>
                    <a:pt x="1913" y="75"/>
                    <a:pt x="1913" y="71"/>
                  </a:cubicBezTo>
                  <a:close/>
                  <a:moveTo>
                    <a:pt x="1897" y="111"/>
                  </a:moveTo>
                  <a:cubicBezTo>
                    <a:pt x="1904" y="113"/>
                    <a:pt x="1909" y="131"/>
                    <a:pt x="1897" y="130"/>
                  </a:cubicBezTo>
                  <a:cubicBezTo>
                    <a:pt x="1897" y="124"/>
                    <a:pt x="1897" y="117"/>
                    <a:pt x="1897" y="111"/>
                  </a:cubicBezTo>
                  <a:close/>
                  <a:moveTo>
                    <a:pt x="1894" y="137"/>
                  </a:moveTo>
                  <a:cubicBezTo>
                    <a:pt x="1891" y="136"/>
                    <a:pt x="1889" y="132"/>
                    <a:pt x="1889" y="126"/>
                  </a:cubicBezTo>
                  <a:cubicBezTo>
                    <a:pt x="1892" y="128"/>
                    <a:pt x="1894" y="131"/>
                    <a:pt x="1894" y="137"/>
                  </a:cubicBezTo>
                  <a:close/>
                  <a:moveTo>
                    <a:pt x="1875" y="126"/>
                  </a:moveTo>
                  <a:cubicBezTo>
                    <a:pt x="1884" y="126"/>
                    <a:pt x="1872" y="118"/>
                    <a:pt x="1873" y="108"/>
                  </a:cubicBezTo>
                  <a:cubicBezTo>
                    <a:pt x="1875" y="110"/>
                    <a:pt x="1879" y="111"/>
                    <a:pt x="1883" y="111"/>
                  </a:cubicBezTo>
                  <a:cubicBezTo>
                    <a:pt x="1883" y="116"/>
                    <a:pt x="1883" y="122"/>
                    <a:pt x="1886" y="122"/>
                  </a:cubicBezTo>
                  <a:cubicBezTo>
                    <a:pt x="1886" y="129"/>
                    <a:pt x="1877" y="125"/>
                    <a:pt x="1875" y="130"/>
                  </a:cubicBezTo>
                  <a:cubicBezTo>
                    <a:pt x="1876" y="137"/>
                    <a:pt x="1875" y="141"/>
                    <a:pt x="1870" y="141"/>
                  </a:cubicBezTo>
                  <a:cubicBezTo>
                    <a:pt x="1874" y="139"/>
                    <a:pt x="1867" y="126"/>
                    <a:pt x="1875" y="126"/>
                  </a:cubicBezTo>
                  <a:close/>
                  <a:moveTo>
                    <a:pt x="1878" y="152"/>
                  </a:moveTo>
                  <a:cubicBezTo>
                    <a:pt x="1879" y="149"/>
                    <a:pt x="1881" y="148"/>
                    <a:pt x="1881" y="145"/>
                  </a:cubicBezTo>
                  <a:cubicBezTo>
                    <a:pt x="1882" y="145"/>
                    <a:pt x="1884" y="145"/>
                    <a:pt x="1886" y="145"/>
                  </a:cubicBezTo>
                  <a:cubicBezTo>
                    <a:pt x="1887" y="152"/>
                    <a:pt x="1882" y="152"/>
                    <a:pt x="1878" y="152"/>
                  </a:cubicBezTo>
                  <a:close/>
                  <a:moveTo>
                    <a:pt x="1838" y="133"/>
                  </a:moveTo>
                  <a:cubicBezTo>
                    <a:pt x="1839" y="126"/>
                    <a:pt x="1841" y="136"/>
                    <a:pt x="1840" y="141"/>
                  </a:cubicBezTo>
                  <a:cubicBezTo>
                    <a:pt x="1839" y="148"/>
                    <a:pt x="1837" y="138"/>
                    <a:pt x="1838" y="133"/>
                  </a:cubicBezTo>
                  <a:close/>
                  <a:moveTo>
                    <a:pt x="1830" y="126"/>
                  </a:moveTo>
                  <a:cubicBezTo>
                    <a:pt x="1822" y="128"/>
                    <a:pt x="1827" y="112"/>
                    <a:pt x="1822" y="111"/>
                  </a:cubicBezTo>
                  <a:cubicBezTo>
                    <a:pt x="1825" y="101"/>
                    <a:pt x="1831" y="117"/>
                    <a:pt x="1830" y="126"/>
                  </a:cubicBezTo>
                  <a:close/>
                  <a:moveTo>
                    <a:pt x="1773" y="122"/>
                  </a:moveTo>
                  <a:cubicBezTo>
                    <a:pt x="1775" y="123"/>
                    <a:pt x="1776" y="126"/>
                    <a:pt x="1778" y="126"/>
                  </a:cubicBezTo>
                  <a:cubicBezTo>
                    <a:pt x="1778" y="129"/>
                    <a:pt x="1776" y="130"/>
                    <a:pt x="1776" y="133"/>
                  </a:cubicBezTo>
                  <a:cubicBezTo>
                    <a:pt x="1774" y="133"/>
                    <a:pt x="1773" y="130"/>
                    <a:pt x="1770" y="130"/>
                  </a:cubicBezTo>
                  <a:cubicBezTo>
                    <a:pt x="1771" y="127"/>
                    <a:pt x="1773" y="126"/>
                    <a:pt x="1773" y="122"/>
                  </a:cubicBezTo>
                  <a:close/>
                  <a:moveTo>
                    <a:pt x="1757" y="96"/>
                  </a:moveTo>
                  <a:cubicBezTo>
                    <a:pt x="1769" y="99"/>
                    <a:pt x="1755" y="119"/>
                    <a:pt x="1757" y="96"/>
                  </a:cubicBezTo>
                  <a:close/>
                  <a:moveTo>
                    <a:pt x="1711" y="163"/>
                  </a:moveTo>
                  <a:cubicBezTo>
                    <a:pt x="1717" y="164"/>
                    <a:pt x="1715" y="146"/>
                    <a:pt x="1709" y="152"/>
                  </a:cubicBezTo>
                  <a:cubicBezTo>
                    <a:pt x="1710" y="149"/>
                    <a:pt x="1711" y="145"/>
                    <a:pt x="1714" y="145"/>
                  </a:cubicBezTo>
                  <a:cubicBezTo>
                    <a:pt x="1723" y="135"/>
                    <a:pt x="1724" y="159"/>
                    <a:pt x="1725" y="137"/>
                  </a:cubicBezTo>
                  <a:cubicBezTo>
                    <a:pt x="1730" y="139"/>
                    <a:pt x="1730" y="148"/>
                    <a:pt x="1738" y="145"/>
                  </a:cubicBezTo>
                  <a:cubicBezTo>
                    <a:pt x="1736" y="155"/>
                    <a:pt x="1742" y="154"/>
                    <a:pt x="1741" y="163"/>
                  </a:cubicBezTo>
                  <a:cubicBezTo>
                    <a:pt x="1749" y="160"/>
                    <a:pt x="1739" y="151"/>
                    <a:pt x="1741" y="145"/>
                  </a:cubicBezTo>
                  <a:cubicBezTo>
                    <a:pt x="1746" y="151"/>
                    <a:pt x="1753" y="132"/>
                    <a:pt x="1760" y="141"/>
                  </a:cubicBezTo>
                  <a:cubicBezTo>
                    <a:pt x="1760" y="141"/>
                    <a:pt x="1760" y="145"/>
                    <a:pt x="1760" y="145"/>
                  </a:cubicBezTo>
                  <a:cubicBezTo>
                    <a:pt x="1761" y="144"/>
                    <a:pt x="1763" y="137"/>
                    <a:pt x="1762" y="137"/>
                  </a:cubicBezTo>
                  <a:cubicBezTo>
                    <a:pt x="1766" y="137"/>
                    <a:pt x="1766" y="147"/>
                    <a:pt x="1768" y="148"/>
                  </a:cubicBezTo>
                  <a:cubicBezTo>
                    <a:pt x="1772" y="151"/>
                    <a:pt x="1773" y="134"/>
                    <a:pt x="1778" y="145"/>
                  </a:cubicBezTo>
                  <a:cubicBezTo>
                    <a:pt x="1787" y="146"/>
                    <a:pt x="1779" y="126"/>
                    <a:pt x="1789" y="130"/>
                  </a:cubicBezTo>
                  <a:cubicBezTo>
                    <a:pt x="1788" y="135"/>
                    <a:pt x="1785" y="139"/>
                    <a:pt x="1784" y="145"/>
                  </a:cubicBezTo>
                  <a:cubicBezTo>
                    <a:pt x="1785" y="152"/>
                    <a:pt x="1794" y="147"/>
                    <a:pt x="1797" y="148"/>
                  </a:cubicBezTo>
                  <a:cubicBezTo>
                    <a:pt x="1797" y="148"/>
                    <a:pt x="1797" y="152"/>
                    <a:pt x="1797" y="152"/>
                  </a:cubicBezTo>
                  <a:cubicBezTo>
                    <a:pt x="1803" y="153"/>
                    <a:pt x="1811" y="148"/>
                    <a:pt x="1816" y="156"/>
                  </a:cubicBezTo>
                  <a:cubicBezTo>
                    <a:pt x="1816" y="156"/>
                    <a:pt x="1816" y="159"/>
                    <a:pt x="1816" y="159"/>
                  </a:cubicBezTo>
                  <a:cubicBezTo>
                    <a:pt x="1824" y="159"/>
                    <a:pt x="1822" y="138"/>
                    <a:pt x="1827" y="159"/>
                  </a:cubicBezTo>
                  <a:cubicBezTo>
                    <a:pt x="1831" y="158"/>
                    <a:pt x="1829" y="150"/>
                    <a:pt x="1830" y="145"/>
                  </a:cubicBezTo>
                  <a:cubicBezTo>
                    <a:pt x="1827" y="141"/>
                    <a:pt x="1824" y="137"/>
                    <a:pt x="1822" y="133"/>
                  </a:cubicBezTo>
                  <a:cubicBezTo>
                    <a:pt x="1821" y="122"/>
                    <a:pt x="1829" y="143"/>
                    <a:pt x="1830" y="130"/>
                  </a:cubicBezTo>
                  <a:cubicBezTo>
                    <a:pt x="1837" y="136"/>
                    <a:pt x="1826" y="166"/>
                    <a:pt x="1843" y="159"/>
                  </a:cubicBezTo>
                  <a:cubicBezTo>
                    <a:pt x="1842" y="162"/>
                    <a:pt x="1840" y="165"/>
                    <a:pt x="1840" y="170"/>
                  </a:cubicBezTo>
                  <a:cubicBezTo>
                    <a:pt x="1832" y="174"/>
                    <a:pt x="1832" y="165"/>
                    <a:pt x="1827" y="163"/>
                  </a:cubicBezTo>
                  <a:cubicBezTo>
                    <a:pt x="1820" y="163"/>
                    <a:pt x="1815" y="167"/>
                    <a:pt x="1811" y="167"/>
                  </a:cubicBezTo>
                  <a:cubicBezTo>
                    <a:pt x="1812" y="167"/>
                    <a:pt x="1808" y="155"/>
                    <a:pt x="1805" y="159"/>
                  </a:cubicBezTo>
                  <a:cubicBezTo>
                    <a:pt x="1803" y="164"/>
                    <a:pt x="1805" y="160"/>
                    <a:pt x="1803" y="159"/>
                  </a:cubicBezTo>
                  <a:cubicBezTo>
                    <a:pt x="1800" y="159"/>
                    <a:pt x="1800" y="163"/>
                    <a:pt x="1800" y="163"/>
                  </a:cubicBezTo>
                  <a:cubicBezTo>
                    <a:pt x="1794" y="162"/>
                    <a:pt x="1793" y="156"/>
                    <a:pt x="1787" y="156"/>
                  </a:cubicBezTo>
                  <a:cubicBezTo>
                    <a:pt x="1787" y="159"/>
                    <a:pt x="1790" y="159"/>
                    <a:pt x="1792" y="159"/>
                  </a:cubicBezTo>
                  <a:cubicBezTo>
                    <a:pt x="1789" y="166"/>
                    <a:pt x="1785" y="170"/>
                    <a:pt x="1784" y="178"/>
                  </a:cubicBezTo>
                  <a:cubicBezTo>
                    <a:pt x="1776" y="175"/>
                    <a:pt x="1787" y="169"/>
                    <a:pt x="1784" y="159"/>
                  </a:cubicBezTo>
                  <a:cubicBezTo>
                    <a:pt x="1781" y="159"/>
                    <a:pt x="1782" y="164"/>
                    <a:pt x="1781" y="167"/>
                  </a:cubicBezTo>
                  <a:cubicBezTo>
                    <a:pt x="1778" y="164"/>
                    <a:pt x="1778" y="158"/>
                    <a:pt x="1773" y="159"/>
                  </a:cubicBezTo>
                  <a:cubicBezTo>
                    <a:pt x="1773" y="156"/>
                    <a:pt x="1773" y="152"/>
                    <a:pt x="1773" y="148"/>
                  </a:cubicBezTo>
                  <a:cubicBezTo>
                    <a:pt x="1770" y="147"/>
                    <a:pt x="1764" y="159"/>
                    <a:pt x="1770" y="159"/>
                  </a:cubicBezTo>
                  <a:cubicBezTo>
                    <a:pt x="1769" y="163"/>
                    <a:pt x="1764" y="163"/>
                    <a:pt x="1765" y="170"/>
                  </a:cubicBezTo>
                  <a:cubicBezTo>
                    <a:pt x="1760" y="164"/>
                    <a:pt x="1762" y="171"/>
                    <a:pt x="1754" y="170"/>
                  </a:cubicBezTo>
                  <a:cubicBezTo>
                    <a:pt x="1754" y="160"/>
                    <a:pt x="1759" y="163"/>
                    <a:pt x="1754" y="156"/>
                  </a:cubicBezTo>
                  <a:cubicBezTo>
                    <a:pt x="1750" y="159"/>
                    <a:pt x="1749" y="165"/>
                    <a:pt x="1749" y="174"/>
                  </a:cubicBezTo>
                  <a:cubicBezTo>
                    <a:pt x="1747" y="172"/>
                    <a:pt x="1744" y="171"/>
                    <a:pt x="1744" y="167"/>
                  </a:cubicBezTo>
                  <a:cubicBezTo>
                    <a:pt x="1741" y="168"/>
                    <a:pt x="1741" y="170"/>
                    <a:pt x="1738" y="170"/>
                  </a:cubicBezTo>
                  <a:cubicBezTo>
                    <a:pt x="1734" y="171"/>
                    <a:pt x="1734" y="167"/>
                    <a:pt x="1730" y="167"/>
                  </a:cubicBezTo>
                  <a:cubicBezTo>
                    <a:pt x="1725" y="166"/>
                    <a:pt x="1722" y="176"/>
                    <a:pt x="1722" y="163"/>
                  </a:cubicBezTo>
                  <a:cubicBezTo>
                    <a:pt x="1717" y="159"/>
                    <a:pt x="1718" y="170"/>
                    <a:pt x="1717" y="170"/>
                  </a:cubicBezTo>
                  <a:cubicBezTo>
                    <a:pt x="1716" y="171"/>
                    <a:pt x="1706" y="163"/>
                    <a:pt x="1698" y="167"/>
                  </a:cubicBezTo>
                  <a:cubicBezTo>
                    <a:pt x="1700" y="155"/>
                    <a:pt x="1695" y="153"/>
                    <a:pt x="1695" y="145"/>
                  </a:cubicBezTo>
                  <a:cubicBezTo>
                    <a:pt x="1704" y="146"/>
                    <a:pt x="1704" y="160"/>
                    <a:pt x="1711" y="163"/>
                  </a:cubicBezTo>
                  <a:close/>
                  <a:moveTo>
                    <a:pt x="1832" y="196"/>
                  </a:moveTo>
                  <a:cubicBezTo>
                    <a:pt x="1824" y="194"/>
                    <a:pt x="1836" y="191"/>
                    <a:pt x="1835" y="185"/>
                  </a:cubicBezTo>
                  <a:cubicBezTo>
                    <a:pt x="1844" y="189"/>
                    <a:pt x="1832" y="193"/>
                    <a:pt x="1832" y="196"/>
                  </a:cubicBezTo>
                  <a:close/>
                  <a:moveTo>
                    <a:pt x="1838" y="1199"/>
                  </a:moveTo>
                  <a:cubicBezTo>
                    <a:pt x="1841" y="1198"/>
                    <a:pt x="1840" y="1202"/>
                    <a:pt x="1840" y="1202"/>
                  </a:cubicBezTo>
                  <a:cubicBezTo>
                    <a:pt x="1843" y="1203"/>
                    <a:pt x="1854" y="1199"/>
                    <a:pt x="1851" y="1210"/>
                  </a:cubicBezTo>
                  <a:cubicBezTo>
                    <a:pt x="1843" y="1212"/>
                    <a:pt x="1841" y="1206"/>
                    <a:pt x="1835" y="1206"/>
                  </a:cubicBezTo>
                  <a:cubicBezTo>
                    <a:pt x="1836" y="1206"/>
                    <a:pt x="1837" y="1199"/>
                    <a:pt x="1838" y="1199"/>
                  </a:cubicBezTo>
                  <a:close/>
                  <a:moveTo>
                    <a:pt x="1784" y="244"/>
                  </a:moveTo>
                  <a:cubicBezTo>
                    <a:pt x="1785" y="239"/>
                    <a:pt x="1792" y="241"/>
                    <a:pt x="1789" y="230"/>
                  </a:cubicBezTo>
                  <a:cubicBezTo>
                    <a:pt x="1792" y="232"/>
                    <a:pt x="1793" y="236"/>
                    <a:pt x="1795" y="241"/>
                  </a:cubicBezTo>
                  <a:cubicBezTo>
                    <a:pt x="1797" y="238"/>
                    <a:pt x="1799" y="234"/>
                    <a:pt x="1800" y="230"/>
                  </a:cubicBezTo>
                  <a:cubicBezTo>
                    <a:pt x="1804" y="231"/>
                    <a:pt x="1802" y="239"/>
                    <a:pt x="1803" y="244"/>
                  </a:cubicBezTo>
                  <a:cubicBezTo>
                    <a:pt x="1807" y="249"/>
                    <a:pt x="1809" y="255"/>
                    <a:pt x="1816" y="255"/>
                  </a:cubicBezTo>
                  <a:cubicBezTo>
                    <a:pt x="1814" y="266"/>
                    <a:pt x="1808" y="250"/>
                    <a:pt x="1800" y="255"/>
                  </a:cubicBezTo>
                  <a:cubicBezTo>
                    <a:pt x="1801" y="238"/>
                    <a:pt x="1795" y="249"/>
                    <a:pt x="1784" y="244"/>
                  </a:cubicBezTo>
                  <a:close/>
                  <a:moveTo>
                    <a:pt x="1805" y="226"/>
                  </a:moveTo>
                  <a:cubicBezTo>
                    <a:pt x="1796" y="232"/>
                    <a:pt x="1804" y="213"/>
                    <a:pt x="1797" y="215"/>
                  </a:cubicBezTo>
                  <a:cubicBezTo>
                    <a:pt x="1800" y="205"/>
                    <a:pt x="1808" y="217"/>
                    <a:pt x="1805" y="226"/>
                  </a:cubicBezTo>
                  <a:close/>
                  <a:moveTo>
                    <a:pt x="1797" y="189"/>
                  </a:moveTo>
                  <a:cubicBezTo>
                    <a:pt x="1800" y="178"/>
                    <a:pt x="1804" y="194"/>
                    <a:pt x="1811" y="189"/>
                  </a:cubicBezTo>
                  <a:cubicBezTo>
                    <a:pt x="1810" y="198"/>
                    <a:pt x="1799" y="191"/>
                    <a:pt x="1797" y="189"/>
                  </a:cubicBezTo>
                  <a:close/>
                  <a:moveTo>
                    <a:pt x="1730" y="1254"/>
                  </a:moveTo>
                  <a:cubicBezTo>
                    <a:pt x="1728" y="1255"/>
                    <a:pt x="1727" y="1258"/>
                    <a:pt x="1725" y="1258"/>
                  </a:cubicBezTo>
                  <a:cubicBezTo>
                    <a:pt x="1720" y="1258"/>
                    <a:pt x="1723" y="1270"/>
                    <a:pt x="1719" y="1273"/>
                  </a:cubicBezTo>
                  <a:cubicBezTo>
                    <a:pt x="1715" y="1265"/>
                    <a:pt x="1716" y="1269"/>
                    <a:pt x="1709" y="1265"/>
                  </a:cubicBezTo>
                  <a:cubicBezTo>
                    <a:pt x="1708" y="1258"/>
                    <a:pt x="1718" y="1265"/>
                    <a:pt x="1719" y="1261"/>
                  </a:cubicBezTo>
                  <a:cubicBezTo>
                    <a:pt x="1720" y="1261"/>
                    <a:pt x="1715" y="1252"/>
                    <a:pt x="1717" y="1250"/>
                  </a:cubicBezTo>
                  <a:cubicBezTo>
                    <a:pt x="1719" y="1248"/>
                    <a:pt x="1730" y="1259"/>
                    <a:pt x="1727" y="1243"/>
                  </a:cubicBezTo>
                  <a:cubicBezTo>
                    <a:pt x="1731" y="1232"/>
                    <a:pt x="1728" y="1261"/>
                    <a:pt x="1738" y="1254"/>
                  </a:cubicBezTo>
                  <a:cubicBezTo>
                    <a:pt x="1748" y="1256"/>
                    <a:pt x="1728" y="1263"/>
                    <a:pt x="1730" y="1254"/>
                  </a:cubicBezTo>
                  <a:close/>
                  <a:moveTo>
                    <a:pt x="1738" y="1265"/>
                  </a:moveTo>
                  <a:cubicBezTo>
                    <a:pt x="1732" y="1277"/>
                    <a:pt x="1725" y="1255"/>
                    <a:pt x="1738" y="1265"/>
                  </a:cubicBezTo>
                  <a:close/>
                  <a:moveTo>
                    <a:pt x="1725" y="1206"/>
                  </a:moveTo>
                  <a:cubicBezTo>
                    <a:pt x="1721" y="1207"/>
                    <a:pt x="1724" y="1217"/>
                    <a:pt x="1719" y="1217"/>
                  </a:cubicBezTo>
                  <a:cubicBezTo>
                    <a:pt x="1720" y="1221"/>
                    <a:pt x="1724" y="1220"/>
                    <a:pt x="1727" y="1221"/>
                  </a:cubicBezTo>
                  <a:cubicBezTo>
                    <a:pt x="1727" y="1226"/>
                    <a:pt x="1727" y="1231"/>
                    <a:pt x="1727" y="1235"/>
                  </a:cubicBezTo>
                  <a:cubicBezTo>
                    <a:pt x="1725" y="1235"/>
                    <a:pt x="1725" y="1231"/>
                    <a:pt x="1725" y="1228"/>
                  </a:cubicBezTo>
                  <a:cubicBezTo>
                    <a:pt x="1724" y="1223"/>
                    <a:pt x="1718" y="1225"/>
                    <a:pt x="1714" y="1225"/>
                  </a:cubicBezTo>
                  <a:cubicBezTo>
                    <a:pt x="1713" y="1216"/>
                    <a:pt x="1715" y="1211"/>
                    <a:pt x="1719" y="1210"/>
                  </a:cubicBezTo>
                  <a:cubicBezTo>
                    <a:pt x="1719" y="1204"/>
                    <a:pt x="1711" y="1208"/>
                    <a:pt x="1711" y="1202"/>
                  </a:cubicBezTo>
                  <a:cubicBezTo>
                    <a:pt x="1709" y="1191"/>
                    <a:pt x="1717" y="1196"/>
                    <a:pt x="1722" y="1195"/>
                  </a:cubicBezTo>
                  <a:cubicBezTo>
                    <a:pt x="1722" y="1192"/>
                    <a:pt x="1722" y="1190"/>
                    <a:pt x="1722" y="1187"/>
                  </a:cubicBezTo>
                  <a:cubicBezTo>
                    <a:pt x="1726" y="1189"/>
                    <a:pt x="1724" y="1197"/>
                    <a:pt x="1725" y="1202"/>
                  </a:cubicBezTo>
                  <a:cubicBezTo>
                    <a:pt x="1733" y="1205"/>
                    <a:pt x="1733" y="1195"/>
                    <a:pt x="1738" y="1202"/>
                  </a:cubicBezTo>
                  <a:cubicBezTo>
                    <a:pt x="1739" y="1210"/>
                    <a:pt x="1729" y="1204"/>
                    <a:pt x="1725" y="1206"/>
                  </a:cubicBezTo>
                  <a:close/>
                  <a:moveTo>
                    <a:pt x="1719" y="577"/>
                  </a:moveTo>
                  <a:cubicBezTo>
                    <a:pt x="1719" y="581"/>
                    <a:pt x="1716" y="580"/>
                    <a:pt x="1714" y="581"/>
                  </a:cubicBezTo>
                  <a:cubicBezTo>
                    <a:pt x="1714" y="578"/>
                    <a:pt x="1713" y="577"/>
                    <a:pt x="1711" y="577"/>
                  </a:cubicBezTo>
                  <a:cubicBezTo>
                    <a:pt x="1712" y="573"/>
                    <a:pt x="1717" y="575"/>
                    <a:pt x="1717" y="570"/>
                  </a:cubicBezTo>
                  <a:cubicBezTo>
                    <a:pt x="1720" y="571"/>
                    <a:pt x="1718" y="574"/>
                    <a:pt x="1717" y="574"/>
                  </a:cubicBezTo>
                  <a:cubicBezTo>
                    <a:pt x="1716" y="577"/>
                    <a:pt x="1718" y="577"/>
                    <a:pt x="1719" y="577"/>
                  </a:cubicBezTo>
                  <a:close/>
                  <a:moveTo>
                    <a:pt x="1722" y="614"/>
                  </a:moveTo>
                  <a:cubicBezTo>
                    <a:pt x="1718" y="616"/>
                    <a:pt x="1717" y="611"/>
                    <a:pt x="1717" y="607"/>
                  </a:cubicBezTo>
                  <a:cubicBezTo>
                    <a:pt x="1711" y="608"/>
                    <a:pt x="1708" y="606"/>
                    <a:pt x="1709" y="599"/>
                  </a:cubicBezTo>
                  <a:cubicBezTo>
                    <a:pt x="1719" y="597"/>
                    <a:pt x="1728" y="606"/>
                    <a:pt x="1722" y="614"/>
                  </a:cubicBezTo>
                  <a:close/>
                  <a:moveTo>
                    <a:pt x="1741" y="559"/>
                  </a:moveTo>
                  <a:cubicBezTo>
                    <a:pt x="1744" y="560"/>
                    <a:pt x="1742" y="562"/>
                    <a:pt x="1741" y="562"/>
                  </a:cubicBezTo>
                  <a:cubicBezTo>
                    <a:pt x="1739" y="576"/>
                    <a:pt x="1754" y="590"/>
                    <a:pt x="1738" y="592"/>
                  </a:cubicBezTo>
                  <a:cubicBezTo>
                    <a:pt x="1739" y="589"/>
                    <a:pt x="1741" y="585"/>
                    <a:pt x="1744" y="585"/>
                  </a:cubicBezTo>
                  <a:cubicBezTo>
                    <a:pt x="1744" y="577"/>
                    <a:pt x="1734" y="583"/>
                    <a:pt x="1730" y="581"/>
                  </a:cubicBezTo>
                  <a:cubicBezTo>
                    <a:pt x="1733" y="573"/>
                    <a:pt x="1738" y="567"/>
                    <a:pt x="1741" y="559"/>
                  </a:cubicBezTo>
                  <a:close/>
                  <a:moveTo>
                    <a:pt x="1738" y="230"/>
                  </a:moveTo>
                  <a:cubicBezTo>
                    <a:pt x="1738" y="227"/>
                    <a:pt x="1738" y="225"/>
                    <a:pt x="1738" y="222"/>
                  </a:cubicBezTo>
                  <a:cubicBezTo>
                    <a:pt x="1744" y="220"/>
                    <a:pt x="1743" y="228"/>
                    <a:pt x="1744" y="233"/>
                  </a:cubicBezTo>
                  <a:cubicBezTo>
                    <a:pt x="1741" y="233"/>
                    <a:pt x="1741" y="230"/>
                    <a:pt x="1738" y="230"/>
                  </a:cubicBezTo>
                  <a:close/>
                  <a:moveTo>
                    <a:pt x="1754" y="222"/>
                  </a:moveTo>
                  <a:cubicBezTo>
                    <a:pt x="1761" y="224"/>
                    <a:pt x="1753" y="246"/>
                    <a:pt x="1762" y="244"/>
                  </a:cubicBezTo>
                  <a:cubicBezTo>
                    <a:pt x="1760" y="263"/>
                    <a:pt x="1753" y="236"/>
                    <a:pt x="1749" y="248"/>
                  </a:cubicBezTo>
                  <a:cubicBezTo>
                    <a:pt x="1742" y="247"/>
                    <a:pt x="1747" y="231"/>
                    <a:pt x="1754" y="237"/>
                  </a:cubicBezTo>
                  <a:cubicBezTo>
                    <a:pt x="1753" y="224"/>
                    <a:pt x="1746" y="231"/>
                    <a:pt x="1754" y="222"/>
                  </a:cubicBezTo>
                  <a:close/>
                  <a:moveTo>
                    <a:pt x="1754" y="204"/>
                  </a:moveTo>
                  <a:cubicBezTo>
                    <a:pt x="1754" y="199"/>
                    <a:pt x="1754" y="194"/>
                    <a:pt x="1754" y="189"/>
                  </a:cubicBezTo>
                  <a:cubicBezTo>
                    <a:pt x="1756" y="189"/>
                    <a:pt x="1758" y="189"/>
                    <a:pt x="1760" y="189"/>
                  </a:cubicBezTo>
                  <a:cubicBezTo>
                    <a:pt x="1760" y="194"/>
                    <a:pt x="1760" y="199"/>
                    <a:pt x="1760" y="204"/>
                  </a:cubicBezTo>
                  <a:cubicBezTo>
                    <a:pt x="1758" y="204"/>
                    <a:pt x="1756" y="204"/>
                    <a:pt x="1754" y="204"/>
                  </a:cubicBezTo>
                  <a:close/>
                  <a:moveTo>
                    <a:pt x="1754" y="618"/>
                  </a:moveTo>
                  <a:cubicBezTo>
                    <a:pt x="1759" y="617"/>
                    <a:pt x="1759" y="621"/>
                    <a:pt x="1762" y="622"/>
                  </a:cubicBezTo>
                  <a:cubicBezTo>
                    <a:pt x="1763" y="629"/>
                    <a:pt x="1750" y="627"/>
                    <a:pt x="1754" y="618"/>
                  </a:cubicBezTo>
                  <a:close/>
                  <a:moveTo>
                    <a:pt x="1741" y="784"/>
                  </a:moveTo>
                  <a:cubicBezTo>
                    <a:pt x="1741" y="785"/>
                    <a:pt x="1743" y="777"/>
                    <a:pt x="1744" y="777"/>
                  </a:cubicBezTo>
                  <a:cubicBezTo>
                    <a:pt x="1744" y="777"/>
                    <a:pt x="1743" y="773"/>
                    <a:pt x="1744" y="773"/>
                  </a:cubicBezTo>
                  <a:cubicBezTo>
                    <a:pt x="1753" y="771"/>
                    <a:pt x="1744" y="790"/>
                    <a:pt x="1741" y="784"/>
                  </a:cubicBezTo>
                  <a:close/>
                  <a:moveTo>
                    <a:pt x="1735" y="640"/>
                  </a:moveTo>
                  <a:cubicBezTo>
                    <a:pt x="1736" y="636"/>
                    <a:pt x="1735" y="634"/>
                    <a:pt x="1733" y="633"/>
                  </a:cubicBezTo>
                  <a:cubicBezTo>
                    <a:pt x="1737" y="619"/>
                    <a:pt x="1737" y="641"/>
                    <a:pt x="1744" y="636"/>
                  </a:cubicBezTo>
                  <a:cubicBezTo>
                    <a:pt x="1743" y="645"/>
                    <a:pt x="1740" y="652"/>
                    <a:pt x="1738" y="659"/>
                  </a:cubicBezTo>
                  <a:cubicBezTo>
                    <a:pt x="1734" y="667"/>
                    <a:pt x="1739" y="635"/>
                    <a:pt x="1735" y="640"/>
                  </a:cubicBezTo>
                  <a:close/>
                  <a:moveTo>
                    <a:pt x="1730" y="603"/>
                  </a:moveTo>
                  <a:cubicBezTo>
                    <a:pt x="1736" y="612"/>
                    <a:pt x="1744" y="596"/>
                    <a:pt x="1744" y="614"/>
                  </a:cubicBezTo>
                  <a:cubicBezTo>
                    <a:pt x="1739" y="611"/>
                    <a:pt x="1729" y="614"/>
                    <a:pt x="1730" y="603"/>
                  </a:cubicBezTo>
                  <a:close/>
                  <a:moveTo>
                    <a:pt x="1733" y="566"/>
                  </a:moveTo>
                  <a:cubicBezTo>
                    <a:pt x="1731" y="568"/>
                    <a:pt x="1727" y="565"/>
                    <a:pt x="1727" y="570"/>
                  </a:cubicBezTo>
                  <a:cubicBezTo>
                    <a:pt x="1723" y="568"/>
                    <a:pt x="1725" y="564"/>
                    <a:pt x="1727" y="562"/>
                  </a:cubicBezTo>
                  <a:cubicBezTo>
                    <a:pt x="1731" y="560"/>
                    <a:pt x="1741" y="559"/>
                    <a:pt x="1733" y="566"/>
                  </a:cubicBezTo>
                  <a:close/>
                  <a:moveTo>
                    <a:pt x="1727" y="688"/>
                  </a:moveTo>
                  <a:cubicBezTo>
                    <a:pt x="1726" y="695"/>
                    <a:pt x="1731" y="711"/>
                    <a:pt x="1722" y="707"/>
                  </a:cubicBezTo>
                  <a:cubicBezTo>
                    <a:pt x="1727" y="700"/>
                    <a:pt x="1722" y="687"/>
                    <a:pt x="1717" y="684"/>
                  </a:cubicBezTo>
                  <a:cubicBezTo>
                    <a:pt x="1721" y="671"/>
                    <a:pt x="1721" y="693"/>
                    <a:pt x="1727" y="688"/>
                  </a:cubicBezTo>
                  <a:close/>
                  <a:moveTo>
                    <a:pt x="1738" y="1165"/>
                  </a:moveTo>
                  <a:cubicBezTo>
                    <a:pt x="1742" y="1168"/>
                    <a:pt x="1743" y="1173"/>
                    <a:pt x="1744" y="1180"/>
                  </a:cubicBezTo>
                  <a:cubicBezTo>
                    <a:pt x="1739" y="1179"/>
                    <a:pt x="1737" y="1174"/>
                    <a:pt x="1738" y="1165"/>
                  </a:cubicBezTo>
                  <a:close/>
                  <a:moveTo>
                    <a:pt x="1757" y="1206"/>
                  </a:moveTo>
                  <a:cubicBezTo>
                    <a:pt x="1750" y="1207"/>
                    <a:pt x="1751" y="1199"/>
                    <a:pt x="1744" y="1202"/>
                  </a:cubicBezTo>
                  <a:cubicBezTo>
                    <a:pt x="1744" y="1191"/>
                    <a:pt x="1760" y="1192"/>
                    <a:pt x="1757" y="1206"/>
                  </a:cubicBezTo>
                  <a:close/>
                  <a:moveTo>
                    <a:pt x="1757" y="1235"/>
                  </a:moveTo>
                  <a:cubicBezTo>
                    <a:pt x="1760" y="1237"/>
                    <a:pt x="1763" y="1240"/>
                    <a:pt x="1762" y="1247"/>
                  </a:cubicBezTo>
                  <a:cubicBezTo>
                    <a:pt x="1753" y="1250"/>
                    <a:pt x="1753" y="1241"/>
                    <a:pt x="1757" y="1235"/>
                  </a:cubicBezTo>
                  <a:close/>
                  <a:moveTo>
                    <a:pt x="1760" y="696"/>
                  </a:moveTo>
                  <a:cubicBezTo>
                    <a:pt x="1764" y="695"/>
                    <a:pt x="1765" y="699"/>
                    <a:pt x="1762" y="699"/>
                  </a:cubicBezTo>
                  <a:cubicBezTo>
                    <a:pt x="1763" y="709"/>
                    <a:pt x="1767" y="711"/>
                    <a:pt x="1762" y="718"/>
                  </a:cubicBezTo>
                  <a:cubicBezTo>
                    <a:pt x="1756" y="717"/>
                    <a:pt x="1761" y="702"/>
                    <a:pt x="1760" y="696"/>
                  </a:cubicBezTo>
                  <a:close/>
                  <a:moveTo>
                    <a:pt x="1706" y="640"/>
                  </a:moveTo>
                  <a:cubicBezTo>
                    <a:pt x="1711" y="640"/>
                    <a:pt x="1705" y="656"/>
                    <a:pt x="1698" y="651"/>
                  </a:cubicBezTo>
                  <a:cubicBezTo>
                    <a:pt x="1698" y="644"/>
                    <a:pt x="1707" y="649"/>
                    <a:pt x="1706" y="640"/>
                  </a:cubicBezTo>
                  <a:close/>
                  <a:moveTo>
                    <a:pt x="1698" y="540"/>
                  </a:moveTo>
                  <a:cubicBezTo>
                    <a:pt x="1699" y="533"/>
                    <a:pt x="1701" y="543"/>
                    <a:pt x="1700" y="548"/>
                  </a:cubicBezTo>
                  <a:cubicBezTo>
                    <a:pt x="1700" y="555"/>
                    <a:pt x="1697" y="545"/>
                    <a:pt x="1698" y="540"/>
                  </a:cubicBezTo>
                  <a:close/>
                  <a:moveTo>
                    <a:pt x="1698" y="200"/>
                  </a:moveTo>
                  <a:cubicBezTo>
                    <a:pt x="1700" y="200"/>
                    <a:pt x="1701" y="200"/>
                    <a:pt x="1703" y="200"/>
                  </a:cubicBezTo>
                  <a:cubicBezTo>
                    <a:pt x="1704" y="210"/>
                    <a:pt x="1683" y="199"/>
                    <a:pt x="1698" y="200"/>
                  </a:cubicBezTo>
                  <a:close/>
                  <a:moveTo>
                    <a:pt x="1684" y="566"/>
                  </a:moveTo>
                  <a:cubicBezTo>
                    <a:pt x="1684" y="560"/>
                    <a:pt x="1699" y="560"/>
                    <a:pt x="1695" y="570"/>
                  </a:cubicBezTo>
                  <a:cubicBezTo>
                    <a:pt x="1690" y="570"/>
                    <a:pt x="1689" y="565"/>
                    <a:pt x="1684" y="566"/>
                  </a:cubicBezTo>
                  <a:close/>
                  <a:moveTo>
                    <a:pt x="1692" y="622"/>
                  </a:moveTo>
                  <a:cubicBezTo>
                    <a:pt x="1692" y="624"/>
                    <a:pt x="1692" y="627"/>
                    <a:pt x="1692" y="629"/>
                  </a:cubicBezTo>
                  <a:cubicBezTo>
                    <a:pt x="1691" y="629"/>
                    <a:pt x="1689" y="629"/>
                    <a:pt x="1687" y="629"/>
                  </a:cubicBezTo>
                  <a:cubicBezTo>
                    <a:pt x="1687" y="627"/>
                    <a:pt x="1687" y="624"/>
                    <a:pt x="1687" y="622"/>
                  </a:cubicBezTo>
                  <a:cubicBezTo>
                    <a:pt x="1689" y="622"/>
                    <a:pt x="1691" y="622"/>
                    <a:pt x="1692" y="622"/>
                  </a:cubicBezTo>
                  <a:close/>
                  <a:moveTo>
                    <a:pt x="1690" y="63"/>
                  </a:moveTo>
                  <a:cubicBezTo>
                    <a:pt x="1699" y="70"/>
                    <a:pt x="1686" y="73"/>
                    <a:pt x="1684" y="71"/>
                  </a:cubicBezTo>
                  <a:cubicBezTo>
                    <a:pt x="1683" y="69"/>
                    <a:pt x="1691" y="66"/>
                    <a:pt x="1690" y="63"/>
                  </a:cubicBezTo>
                  <a:close/>
                  <a:moveTo>
                    <a:pt x="1684" y="1184"/>
                  </a:moveTo>
                  <a:cubicBezTo>
                    <a:pt x="1695" y="1183"/>
                    <a:pt x="1685" y="1187"/>
                    <a:pt x="1687" y="1195"/>
                  </a:cubicBezTo>
                  <a:cubicBezTo>
                    <a:pt x="1699" y="1195"/>
                    <a:pt x="1691" y="1186"/>
                    <a:pt x="1695" y="1180"/>
                  </a:cubicBezTo>
                  <a:cubicBezTo>
                    <a:pt x="1703" y="1180"/>
                    <a:pt x="1693" y="1203"/>
                    <a:pt x="1700" y="1202"/>
                  </a:cubicBezTo>
                  <a:cubicBezTo>
                    <a:pt x="1696" y="1213"/>
                    <a:pt x="1688" y="1197"/>
                    <a:pt x="1679" y="1202"/>
                  </a:cubicBezTo>
                  <a:cubicBezTo>
                    <a:pt x="1680" y="1195"/>
                    <a:pt x="1687" y="1196"/>
                    <a:pt x="1684" y="1184"/>
                  </a:cubicBezTo>
                  <a:close/>
                  <a:moveTo>
                    <a:pt x="1671" y="185"/>
                  </a:moveTo>
                  <a:cubicBezTo>
                    <a:pt x="1677" y="183"/>
                    <a:pt x="1681" y="207"/>
                    <a:pt x="1671" y="204"/>
                  </a:cubicBezTo>
                  <a:cubicBezTo>
                    <a:pt x="1675" y="198"/>
                    <a:pt x="1673" y="192"/>
                    <a:pt x="1666" y="193"/>
                  </a:cubicBezTo>
                  <a:cubicBezTo>
                    <a:pt x="1666" y="189"/>
                    <a:pt x="1671" y="190"/>
                    <a:pt x="1671" y="185"/>
                  </a:cubicBezTo>
                  <a:close/>
                  <a:moveTo>
                    <a:pt x="1668" y="215"/>
                  </a:moveTo>
                  <a:cubicBezTo>
                    <a:pt x="1676" y="215"/>
                    <a:pt x="1674" y="209"/>
                    <a:pt x="1679" y="215"/>
                  </a:cubicBezTo>
                  <a:cubicBezTo>
                    <a:pt x="1678" y="218"/>
                    <a:pt x="1676" y="221"/>
                    <a:pt x="1676" y="226"/>
                  </a:cubicBezTo>
                  <a:cubicBezTo>
                    <a:pt x="1668" y="229"/>
                    <a:pt x="1673" y="214"/>
                    <a:pt x="1666" y="215"/>
                  </a:cubicBezTo>
                  <a:cubicBezTo>
                    <a:pt x="1660" y="212"/>
                    <a:pt x="1668" y="209"/>
                    <a:pt x="1668" y="215"/>
                  </a:cubicBezTo>
                  <a:close/>
                  <a:moveTo>
                    <a:pt x="1668" y="237"/>
                  </a:moveTo>
                  <a:cubicBezTo>
                    <a:pt x="1669" y="234"/>
                    <a:pt x="1671" y="233"/>
                    <a:pt x="1671" y="230"/>
                  </a:cubicBezTo>
                  <a:cubicBezTo>
                    <a:pt x="1674" y="231"/>
                    <a:pt x="1676" y="234"/>
                    <a:pt x="1676" y="241"/>
                  </a:cubicBezTo>
                  <a:cubicBezTo>
                    <a:pt x="1672" y="242"/>
                    <a:pt x="1672" y="237"/>
                    <a:pt x="1668" y="237"/>
                  </a:cubicBezTo>
                  <a:close/>
                  <a:moveTo>
                    <a:pt x="1676" y="692"/>
                  </a:moveTo>
                  <a:cubicBezTo>
                    <a:pt x="1676" y="694"/>
                    <a:pt x="1676" y="697"/>
                    <a:pt x="1676" y="699"/>
                  </a:cubicBezTo>
                  <a:cubicBezTo>
                    <a:pt x="1675" y="699"/>
                    <a:pt x="1673" y="699"/>
                    <a:pt x="1671" y="699"/>
                  </a:cubicBezTo>
                  <a:cubicBezTo>
                    <a:pt x="1671" y="697"/>
                    <a:pt x="1671" y="694"/>
                    <a:pt x="1671" y="692"/>
                  </a:cubicBezTo>
                  <a:cubicBezTo>
                    <a:pt x="1673" y="692"/>
                    <a:pt x="1675" y="692"/>
                    <a:pt x="1676" y="692"/>
                  </a:cubicBezTo>
                  <a:close/>
                  <a:moveTo>
                    <a:pt x="1668" y="648"/>
                  </a:moveTo>
                  <a:cubicBezTo>
                    <a:pt x="1660" y="661"/>
                    <a:pt x="1659" y="636"/>
                    <a:pt x="1668" y="648"/>
                  </a:cubicBezTo>
                  <a:close/>
                  <a:moveTo>
                    <a:pt x="1663" y="1162"/>
                  </a:moveTo>
                  <a:cubicBezTo>
                    <a:pt x="1661" y="1161"/>
                    <a:pt x="1660" y="1163"/>
                    <a:pt x="1660" y="1165"/>
                  </a:cubicBezTo>
                  <a:cubicBezTo>
                    <a:pt x="1657" y="1165"/>
                    <a:pt x="1658" y="1159"/>
                    <a:pt x="1657" y="1154"/>
                  </a:cubicBezTo>
                  <a:cubicBezTo>
                    <a:pt x="1662" y="1153"/>
                    <a:pt x="1663" y="1157"/>
                    <a:pt x="1663" y="1162"/>
                  </a:cubicBezTo>
                  <a:close/>
                  <a:moveTo>
                    <a:pt x="1655" y="233"/>
                  </a:moveTo>
                  <a:cubicBezTo>
                    <a:pt x="1658" y="234"/>
                    <a:pt x="1657" y="241"/>
                    <a:pt x="1660" y="241"/>
                  </a:cubicBezTo>
                  <a:cubicBezTo>
                    <a:pt x="1659" y="251"/>
                    <a:pt x="1652" y="241"/>
                    <a:pt x="1655" y="233"/>
                  </a:cubicBezTo>
                  <a:close/>
                  <a:moveTo>
                    <a:pt x="1671" y="1254"/>
                  </a:moveTo>
                  <a:cubicBezTo>
                    <a:pt x="1670" y="1260"/>
                    <a:pt x="1673" y="1261"/>
                    <a:pt x="1676" y="1261"/>
                  </a:cubicBezTo>
                  <a:cubicBezTo>
                    <a:pt x="1675" y="1272"/>
                    <a:pt x="1668" y="1261"/>
                    <a:pt x="1666" y="1261"/>
                  </a:cubicBezTo>
                  <a:cubicBezTo>
                    <a:pt x="1660" y="1262"/>
                    <a:pt x="1659" y="1268"/>
                    <a:pt x="1652" y="1269"/>
                  </a:cubicBezTo>
                  <a:cubicBezTo>
                    <a:pt x="1652" y="1259"/>
                    <a:pt x="1660" y="1259"/>
                    <a:pt x="1663" y="1254"/>
                  </a:cubicBezTo>
                  <a:cubicBezTo>
                    <a:pt x="1662" y="1250"/>
                    <a:pt x="1658" y="1251"/>
                    <a:pt x="1655" y="1250"/>
                  </a:cubicBezTo>
                  <a:cubicBezTo>
                    <a:pt x="1652" y="1253"/>
                    <a:pt x="1652" y="1259"/>
                    <a:pt x="1647" y="1258"/>
                  </a:cubicBezTo>
                  <a:cubicBezTo>
                    <a:pt x="1643" y="1243"/>
                    <a:pt x="1655" y="1249"/>
                    <a:pt x="1655" y="1239"/>
                  </a:cubicBezTo>
                  <a:cubicBezTo>
                    <a:pt x="1657" y="1239"/>
                    <a:pt x="1657" y="1241"/>
                    <a:pt x="1657" y="1243"/>
                  </a:cubicBezTo>
                  <a:cubicBezTo>
                    <a:pt x="1662" y="1251"/>
                    <a:pt x="1679" y="1244"/>
                    <a:pt x="1684" y="1250"/>
                  </a:cubicBezTo>
                  <a:cubicBezTo>
                    <a:pt x="1683" y="1254"/>
                    <a:pt x="1678" y="1264"/>
                    <a:pt x="1687" y="1261"/>
                  </a:cubicBezTo>
                  <a:cubicBezTo>
                    <a:pt x="1680" y="1282"/>
                    <a:pt x="1683" y="1249"/>
                    <a:pt x="1671" y="1254"/>
                  </a:cubicBezTo>
                  <a:close/>
                  <a:moveTo>
                    <a:pt x="1690" y="1258"/>
                  </a:moveTo>
                  <a:cubicBezTo>
                    <a:pt x="1680" y="1250"/>
                    <a:pt x="1696" y="1247"/>
                    <a:pt x="1698" y="1243"/>
                  </a:cubicBezTo>
                  <a:cubicBezTo>
                    <a:pt x="1700" y="1242"/>
                    <a:pt x="1700" y="1244"/>
                    <a:pt x="1700" y="1247"/>
                  </a:cubicBezTo>
                  <a:cubicBezTo>
                    <a:pt x="1701" y="1252"/>
                    <a:pt x="1707" y="1250"/>
                    <a:pt x="1711" y="1250"/>
                  </a:cubicBezTo>
                  <a:cubicBezTo>
                    <a:pt x="1719" y="1260"/>
                    <a:pt x="1690" y="1248"/>
                    <a:pt x="1690" y="1258"/>
                  </a:cubicBezTo>
                  <a:close/>
                  <a:moveTo>
                    <a:pt x="1700" y="1273"/>
                  </a:moveTo>
                  <a:cubicBezTo>
                    <a:pt x="1697" y="1273"/>
                    <a:pt x="1697" y="1260"/>
                    <a:pt x="1706" y="1261"/>
                  </a:cubicBezTo>
                  <a:cubicBezTo>
                    <a:pt x="1705" y="1263"/>
                    <a:pt x="1702" y="1272"/>
                    <a:pt x="1700" y="1273"/>
                  </a:cubicBezTo>
                  <a:close/>
                  <a:moveTo>
                    <a:pt x="1730" y="1298"/>
                  </a:moveTo>
                  <a:cubicBezTo>
                    <a:pt x="1728" y="1299"/>
                    <a:pt x="1726" y="1312"/>
                    <a:pt x="1717" y="1306"/>
                  </a:cubicBezTo>
                  <a:cubicBezTo>
                    <a:pt x="1716" y="1305"/>
                    <a:pt x="1718" y="1295"/>
                    <a:pt x="1717" y="1295"/>
                  </a:cubicBezTo>
                  <a:cubicBezTo>
                    <a:pt x="1712" y="1293"/>
                    <a:pt x="1709" y="1301"/>
                    <a:pt x="1703" y="1298"/>
                  </a:cubicBezTo>
                  <a:cubicBezTo>
                    <a:pt x="1701" y="1288"/>
                    <a:pt x="1709" y="1291"/>
                    <a:pt x="1709" y="1284"/>
                  </a:cubicBezTo>
                  <a:cubicBezTo>
                    <a:pt x="1711" y="1283"/>
                    <a:pt x="1713" y="1291"/>
                    <a:pt x="1714" y="1291"/>
                  </a:cubicBezTo>
                  <a:cubicBezTo>
                    <a:pt x="1716" y="1292"/>
                    <a:pt x="1720" y="1286"/>
                    <a:pt x="1725" y="1287"/>
                  </a:cubicBezTo>
                  <a:cubicBezTo>
                    <a:pt x="1725" y="1287"/>
                    <a:pt x="1725" y="1295"/>
                    <a:pt x="1725" y="1295"/>
                  </a:cubicBezTo>
                  <a:cubicBezTo>
                    <a:pt x="1727" y="1295"/>
                    <a:pt x="1732" y="1290"/>
                    <a:pt x="1733" y="1287"/>
                  </a:cubicBezTo>
                  <a:cubicBezTo>
                    <a:pt x="1736" y="1290"/>
                    <a:pt x="1738" y="1295"/>
                    <a:pt x="1738" y="1302"/>
                  </a:cubicBezTo>
                  <a:cubicBezTo>
                    <a:pt x="1735" y="1306"/>
                    <a:pt x="1730" y="1298"/>
                    <a:pt x="1730" y="1298"/>
                  </a:cubicBezTo>
                  <a:close/>
                  <a:moveTo>
                    <a:pt x="1735" y="1324"/>
                  </a:moveTo>
                  <a:cubicBezTo>
                    <a:pt x="1733" y="1314"/>
                    <a:pt x="1741" y="1320"/>
                    <a:pt x="1744" y="1317"/>
                  </a:cubicBezTo>
                  <a:cubicBezTo>
                    <a:pt x="1748" y="1311"/>
                    <a:pt x="1745" y="1318"/>
                    <a:pt x="1752" y="1324"/>
                  </a:cubicBezTo>
                  <a:cubicBezTo>
                    <a:pt x="1751" y="1331"/>
                    <a:pt x="1743" y="1320"/>
                    <a:pt x="1735" y="1324"/>
                  </a:cubicBezTo>
                  <a:close/>
                  <a:moveTo>
                    <a:pt x="1752" y="1302"/>
                  </a:moveTo>
                  <a:cubicBezTo>
                    <a:pt x="1750" y="1302"/>
                    <a:pt x="1748" y="1302"/>
                    <a:pt x="1746" y="1302"/>
                  </a:cubicBezTo>
                  <a:cubicBezTo>
                    <a:pt x="1746" y="1300"/>
                    <a:pt x="1746" y="1297"/>
                    <a:pt x="1746" y="1295"/>
                  </a:cubicBezTo>
                  <a:cubicBezTo>
                    <a:pt x="1748" y="1295"/>
                    <a:pt x="1750" y="1295"/>
                    <a:pt x="1752" y="1295"/>
                  </a:cubicBezTo>
                  <a:cubicBezTo>
                    <a:pt x="1752" y="1297"/>
                    <a:pt x="1752" y="1300"/>
                    <a:pt x="1752" y="1302"/>
                  </a:cubicBezTo>
                  <a:close/>
                  <a:moveTo>
                    <a:pt x="1757" y="1269"/>
                  </a:moveTo>
                  <a:cubicBezTo>
                    <a:pt x="1752" y="1270"/>
                    <a:pt x="1754" y="1261"/>
                    <a:pt x="1752" y="1258"/>
                  </a:cubicBezTo>
                  <a:cubicBezTo>
                    <a:pt x="1750" y="1255"/>
                    <a:pt x="1745" y="1256"/>
                    <a:pt x="1744" y="1254"/>
                  </a:cubicBezTo>
                  <a:cubicBezTo>
                    <a:pt x="1741" y="1251"/>
                    <a:pt x="1742" y="1244"/>
                    <a:pt x="1738" y="1243"/>
                  </a:cubicBezTo>
                  <a:cubicBezTo>
                    <a:pt x="1741" y="1233"/>
                    <a:pt x="1749" y="1245"/>
                    <a:pt x="1746" y="1254"/>
                  </a:cubicBezTo>
                  <a:cubicBezTo>
                    <a:pt x="1753" y="1249"/>
                    <a:pt x="1756" y="1252"/>
                    <a:pt x="1762" y="1254"/>
                  </a:cubicBezTo>
                  <a:cubicBezTo>
                    <a:pt x="1762" y="1261"/>
                    <a:pt x="1755" y="1259"/>
                    <a:pt x="1757" y="1269"/>
                  </a:cubicBezTo>
                  <a:close/>
                  <a:moveTo>
                    <a:pt x="1762" y="1269"/>
                  </a:moveTo>
                  <a:cubicBezTo>
                    <a:pt x="1767" y="1261"/>
                    <a:pt x="1772" y="1268"/>
                    <a:pt x="1768" y="1254"/>
                  </a:cubicBezTo>
                  <a:cubicBezTo>
                    <a:pt x="1777" y="1256"/>
                    <a:pt x="1773" y="1273"/>
                    <a:pt x="1762" y="1269"/>
                  </a:cubicBezTo>
                  <a:close/>
                  <a:moveTo>
                    <a:pt x="1773" y="1210"/>
                  </a:moveTo>
                  <a:cubicBezTo>
                    <a:pt x="1771" y="1207"/>
                    <a:pt x="1767" y="1206"/>
                    <a:pt x="1762" y="1206"/>
                  </a:cubicBezTo>
                  <a:cubicBezTo>
                    <a:pt x="1762" y="1199"/>
                    <a:pt x="1777" y="1199"/>
                    <a:pt x="1773" y="1210"/>
                  </a:cubicBezTo>
                  <a:close/>
                  <a:moveTo>
                    <a:pt x="1776" y="241"/>
                  </a:moveTo>
                  <a:cubicBezTo>
                    <a:pt x="1771" y="240"/>
                    <a:pt x="1770" y="245"/>
                    <a:pt x="1765" y="244"/>
                  </a:cubicBezTo>
                  <a:cubicBezTo>
                    <a:pt x="1765" y="241"/>
                    <a:pt x="1765" y="237"/>
                    <a:pt x="1765" y="233"/>
                  </a:cubicBezTo>
                  <a:cubicBezTo>
                    <a:pt x="1768" y="238"/>
                    <a:pt x="1778" y="235"/>
                    <a:pt x="1778" y="244"/>
                  </a:cubicBezTo>
                  <a:cubicBezTo>
                    <a:pt x="1777" y="250"/>
                    <a:pt x="1776" y="245"/>
                    <a:pt x="1776" y="241"/>
                  </a:cubicBezTo>
                  <a:close/>
                  <a:moveTo>
                    <a:pt x="1776" y="1206"/>
                  </a:moveTo>
                  <a:cubicBezTo>
                    <a:pt x="1777" y="1201"/>
                    <a:pt x="1782" y="1203"/>
                    <a:pt x="1787" y="1202"/>
                  </a:cubicBezTo>
                  <a:cubicBezTo>
                    <a:pt x="1787" y="1200"/>
                    <a:pt x="1787" y="1197"/>
                    <a:pt x="1787" y="1195"/>
                  </a:cubicBezTo>
                  <a:cubicBezTo>
                    <a:pt x="1789" y="1194"/>
                    <a:pt x="1789" y="1196"/>
                    <a:pt x="1789" y="1199"/>
                  </a:cubicBezTo>
                  <a:cubicBezTo>
                    <a:pt x="1789" y="1207"/>
                    <a:pt x="1799" y="1200"/>
                    <a:pt x="1803" y="1202"/>
                  </a:cubicBezTo>
                  <a:cubicBezTo>
                    <a:pt x="1805" y="1202"/>
                    <a:pt x="1805" y="1198"/>
                    <a:pt x="1805" y="1195"/>
                  </a:cubicBezTo>
                  <a:cubicBezTo>
                    <a:pt x="1808" y="1197"/>
                    <a:pt x="1810" y="1199"/>
                    <a:pt x="1811" y="1195"/>
                  </a:cubicBezTo>
                  <a:cubicBezTo>
                    <a:pt x="1814" y="1194"/>
                    <a:pt x="1812" y="1201"/>
                    <a:pt x="1813" y="1202"/>
                  </a:cubicBezTo>
                  <a:cubicBezTo>
                    <a:pt x="1817" y="1206"/>
                    <a:pt x="1827" y="1196"/>
                    <a:pt x="1824" y="1210"/>
                  </a:cubicBezTo>
                  <a:cubicBezTo>
                    <a:pt x="1818" y="1204"/>
                    <a:pt x="1813" y="1210"/>
                    <a:pt x="1805" y="1210"/>
                  </a:cubicBezTo>
                  <a:cubicBezTo>
                    <a:pt x="1797" y="1209"/>
                    <a:pt x="1787" y="1203"/>
                    <a:pt x="1776" y="1206"/>
                  </a:cubicBezTo>
                  <a:close/>
                  <a:moveTo>
                    <a:pt x="1797" y="1225"/>
                  </a:moveTo>
                  <a:cubicBezTo>
                    <a:pt x="1805" y="1211"/>
                    <a:pt x="1806" y="1236"/>
                    <a:pt x="1797" y="1225"/>
                  </a:cubicBezTo>
                  <a:close/>
                  <a:moveTo>
                    <a:pt x="1787" y="1276"/>
                  </a:moveTo>
                  <a:cubicBezTo>
                    <a:pt x="1782" y="1273"/>
                    <a:pt x="1780" y="1266"/>
                    <a:pt x="1784" y="1261"/>
                  </a:cubicBezTo>
                  <a:cubicBezTo>
                    <a:pt x="1792" y="1265"/>
                    <a:pt x="1787" y="1267"/>
                    <a:pt x="1787" y="1276"/>
                  </a:cubicBezTo>
                  <a:close/>
                  <a:moveTo>
                    <a:pt x="1778" y="1258"/>
                  </a:moveTo>
                  <a:cubicBezTo>
                    <a:pt x="1779" y="1254"/>
                    <a:pt x="1782" y="1255"/>
                    <a:pt x="1784" y="1254"/>
                  </a:cubicBezTo>
                  <a:cubicBezTo>
                    <a:pt x="1787" y="1254"/>
                    <a:pt x="1789" y="1254"/>
                    <a:pt x="1792" y="1254"/>
                  </a:cubicBezTo>
                  <a:cubicBezTo>
                    <a:pt x="1792" y="1262"/>
                    <a:pt x="1782" y="1256"/>
                    <a:pt x="1778" y="1258"/>
                  </a:cubicBezTo>
                  <a:close/>
                  <a:moveTo>
                    <a:pt x="1800" y="1276"/>
                  </a:moveTo>
                  <a:cubicBezTo>
                    <a:pt x="1795" y="1276"/>
                    <a:pt x="1798" y="1264"/>
                    <a:pt x="1792" y="1265"/>
                  </a:cubicBezTo>
                  <a:cubicBezTo>
                    <a:pt x="1792" y="1261"/>
                    <a:pt x="1797" y="1262"/>
                    <a:pt x="1800" y="1261"/>
                  </a:cubicBezTo>
                  <a:cubicBezTo>
                    <a:pt x="1796" y="1256"/>
                    <a:pt x="1790" y="1252"/>
                    <a:pt x="1792" y="1239"/>
                  </a:cubicBezTo>
                  <a:cubicBezTo>
                    <a:pt x="1802" y="1236"/>
                    <a:pt x="1800" y="1269"/>
                    <a:pt x="1805" y="1261"/>
                  </a:cubicBezTo>
                  <a:cubicBezTo>
                    <a:pt x="1816" y="1270"/>
                    <a:pt x="1796" y="1265"/>
                    <a:pt x="1800" y="1276"/>
                  </a:cubicBezTo>
                  <a:close/>
                  <a:moveTo>
                    <a:pt x="1811" y="1221"/>
                  </a:moveTo>
                  <a:cubicBezTo>
                    <a:pt x="1811" y="1208"/>
                    <a:pt x="1820" y="1229"/>
                    <a:pt x="1819" y="1217"/>
                  </a:cubicBezTo>
                  <a:cubicBezTo>
                    <a:pt x="1820" y="1216"/>
                    <a:pt x="1822" y="1224"/>
                    <a:pt x="1822" y="1225"/>
                  </a:cubicBezTo>
                  <a:cubicBezTo>
                    <a:pt x="1821" y="1225"/>
                    <a:pt x="1816" y="1223"/>
                    <a:pt x="1816" y="1225"/>
                  </a:cubicBezTo>
                  <a:cubicBezTo>
                    <a:pt x="1814" y="1232"/>
                    <a:pt x="1814" y="1235"/>
                    <a:pt x="1813" y="1243"/>
                  </a:cubicBezTo>
                  <a:cubicBezTo>
                    <a:pt x="1801" y="1236"/>
                    <a:pt x="1818" y="1227"/>
                    <a:pt x="1811" y="1221"/>
                  </a:cubicBezTo>
                  <a:close/>
                  <a:moveTo>
                    <a:pt x="1811" y="1254"/>
                  </a:moveTo>
                  <a:cubicBezTo>
                    <a:pt x="1806" y="1252"/>
                    <a:pt x="1814" y="1248"/>
                    <a:pt x="1813" y="1254"/>
                  </a:cubicBezTo>
                  <a:cubicBezTo>
                    <a:pt x="1820" y="1254"/>
                    <a:pt x="1822" y="1247"/>
                    <a:pt x="1827" y="1254"/>
                  </a:cubicBezTo>
                  <a:cubicBezTo>
                    <a:pt x="1825" y="1264"/>
                    <a:pt x="1824" y="1275"/>
                    <a:pt x="1813" y="1273"/>
                  </a:cubicBezTo>
                  <a:cubicBezTo>
                    <a:pt x="1812" y="1267"/>
                    <a:pt x="1817" y="1253"/>
                    <a:pt x="1811" y="1254"/>
                  </a:cubicBezTo>
                  <a:close/>
                  <a:moveTo>
                    <a:pt x="1827" y="1295"/>
                  </a:moveTo>
                  <a:cubicBezTo>
                    <a:pt x="1820" y="1296"/>
                    <a:pt x="1821" y="1288"/>
                    <a:pt x="1813" y="1291"/>
                  </a:cubicBezTo>
                  <a:cubicBezTo>
                    <a:pt x="1813" y="1285"/>
                    <a:pt x="1831" y="1284"/>
                    <a:pt x="1827" y="1295"/>
                  </a:cubicBezTo>
                  <a:close/>
                  <a:moveTo>
                    <a:pt x="1835" y="1306"/>
                  </a:moveTo>
                  <a:cubicBezTo>
                    <a:pt x="1832" y="1305"/>
                    <a:pt x="1833" y="1299"/>
                    <a:pt x="1832" y="1295"/>
                  </a:cubicBezTo>
                  <a:cubicBezTo>
                    <a:pt x="1837" y="1293"/>
                    <a:pt x="1837" y="1298"/>
                    <a:pt x="1838" y="1302"/>
                  </a:cubicBezTo>
                  <a:cubicBezTo>
                    <a:pt x="1835" y="1301"/>
                    <a:pt x="1835" y="1304"/>
                    <a:pt x="1835" y="1306"/>
                  </a:cubicBezTo>
                  <a:close/>
                  <a:moveTo>
                    <a:pt x="1843" y="1269"/>
                  </a:moveTo>
                  <a:cubicBezTo>
                    <a:pt x="1842" y="1282"/>
                    <a:pt x="1831" y="1262"/>
                    <a:pt x="1832" y="1273"/>
                  </a:cubicBezTo>
                  <a:cubicBezTo>
                    <a:pt x="1823" y="1272"/>
                    <a:pt x="1838" y="1260"/>
                    <a:pt x="1830" y="1261"/>
                  </a:cubicBezTo>
                  <a:cubicBezTo>
                    <a:pt x="1829" y="1256"/>
                    <a:pt x="1845" y="1257"/>
                    <a:pt x="1835" y="1250"/>
                  </a:cubicBezTo>
                  <a:cubicBezTo>
                    <a:pt x="1837" y="1245"/>
                    <a:pt x="1839" y="1251"/>
                    <a:pt x="1846" y="1247"/>
                  </a:cubicBezTo>
                  <a:cubicBezTo>
                    <a:pt x="1846" y="1251"/>
                    <a:pt x="1845" y="1253"/>
                    <a:pt x="1843" y="1254"/>
                  </a:cubicBezTo>
                  <a:cubicBezTo>
                    <a:pt x="1843" y="1258"/>
                    <a:pt x="1846" y="1257"/>
                    <a:pt x="1848" y="1258"/>
                  </a:cubicBezTo>
                  <a:cubicBezTo>
                    <a:pt x="1847" y="1262"/>
                    <a:pt x="1828" y="1265"/>
                    <a:pt x="1843" y="1269"/>
                  </a:cubicBezTo>
                  <a:close/>
                  <a:moveTo>
                    <a:pt x="1862" y="1309"/>
                  </a:moveTo>
                  <a:cubicBezTo>
                    <a:pt x="1861" y="1311"/>
                    <a:pt x="1859" y="1300"/>
                    <a:pt x="1856" y="1302"/>
                  </a:cubicBezTo>
                  <a:cubicBezTo>
                    <a:pt x="1861" y="1290"/>
                    <a:pt x="1864" y="1307"/>
                    <a:pt x="1862" y="1309"/>
                  </a:cubicBezTo>
                  <a:close/>
                  <a:moveTo>
                    <a:pt x="1867" y="1273"/>
                  </a:moveTo>
                  <a:cubicBezTo>
                    <a:pt x="1862" y="1276"/>
                    <a:pt x="1856" y="1279"/>
                    <a:pt x="1854" y="1287"/>
                  </a:cubicBezTo>
                  <a:cubicBezTo>
                    <a:pt x="1845" y="1279"/>
                    <a:pt x="1860" y="1274"/>
                    <a:pt x="1859" y="1265"/>
                  </a:cubicBezTo>
                  <a:cubicBezTo>
                    <a:pt x="1859" y="1261"/>
                    <a:pt x="1854" y="1262"/>
                    <a:pt x="1851" y="1261"/>
                  </a:cubicBezTo>
                  <a:cubicBezTo>
                    <a:pt x="1853" y="1256"/>
                    <a:pt x="1857" y="1255"/>
                    <a:pt x="1862" y="1254"/>
                  </a:cubicBezTo>
                  <a:cubicBezTo>
                    <a:pt x="1859" y="1249"/>
                    <a:pt x="1861" y="1248"/>
                    <a:pt x="1862" y="1243"/>
                  </a:cubicBezTo>
                  <a:cubicBezTo>
                    <a:pt x="1868" y="1242"/>
                    <a:pt x="1860" y="1260"/>
                    <a:pt x="1870" y="1254"/>
                  </a:cubicBezTo>
                  <a:cubicBezTo>
                    <a:pt x="1869" y="1259"/>
                    <a:pt x="1866" y="1262"/>
                    <a:pt x="1862" y="1261"/>
                  </a:cubicBezTo>
                  <a:cubicBezTo>
                    <a:pt x="1862" y="1269"/>
                    <a:pt x="1868" y="1262"/>
                    <a:pt x="1867" y="1261"/>
                  </a:cubicBezTo>
                  <a:cubicBezTo>
                    <a:pt x="1870" y="1263"/>
                    <a:pt x="1870" y="1271"/>
                    <a:pt x="1875" y="1269"/>
                  </a:cubicBezTo>
                  <a:cubicBezTo>
                    <a:pt x="1875" y="1273"/>
                    <a:pt x="1870" y="1272"/>
                    <a:pt x="1867" y="1273"/>
                  </a:cubicBezTo>
                  <a:close/>
                  <a:moveTo>
                    <a:pt x="1867" y="1165"/>
                  </a:moveTo>
                  <a:cubicBezTo>
                    <a:pt x="1865" y="1165"/>
                    <a:pt x="1864" y="1165"/>
                    <a:pt x="1862" y="1165"/>
                  </a:cubicBezTo>
                  <a:cubicBezTo>
                    <a:pt x="1862" y="1163"/>
                    <a:pt x="1862" y="1160"/>
                    <a:pt x="1862" y="1158"/>
                  </a:cubicBezTo>
                  <a:cubicBezTo>
                    <a:pt x="1864" y="1158"/>
                    <a:pt x="1865" y="1158"/>
                    <a:pt x="1867" y="1158"/>
                  </a:cubicBezTo>
                  <a:cubicBezTo>
                    <a:pt x="1867" y="1160"/>
                    <a:pt x="1867" y="1163"/>
                    <a:pt x="1867" y="1165"/>
                  </a:cubicBezTo>
                  <a:close/>
                  <a:moveTo>
                    <a:pt x="1873" y="1173"/>
                  </a:moveTo>
                  <a:cubicBezTo>
                    <a:pt x="1873" y="1175"/>
                    <a:pt x="1873" y="1178"/>
                    <a:pt x="1873" y="1180"/>
                  </a:cubicBezTo>
                  <a:cubicBezTo>
                    <a:pt x="1871" y="1180"/>
                    <a:pt x="1869" y="1180"/>
                    <a:pt x="1867" y="1180"/>
                  </a:cubicBezTo>
                  <a:cubicBezTo>
                    <a:pt x="1867" y="1178"/>
                    <a:pt x="1867" y="1175"/>
                    <a:pt x="1867" y="1173"/>
                  </a:cubicBezTo>
                  <a:cubicBezTo>
                    <a:pt x="1869" y="1173"/>
                    <a:pt x="1871" y="1173"/>
                    <a:pt x="1873" y="1173"/>
                  </a:cubicBezTo>
                  <a:close/>
                  <a:moveTo>
                    <a:pt x="1873" y="1191"/>
                  </a:moveTo>
                  <a:cubicBezTo>
                    <a:pt x="1871" y="1197"/>
                    <a:pt x="1870" y="1191"/>
                    <a:pt x="1870" y="1187"/>
                  </a:cubicBezTo>
                  <a:cubicBezTo>
                    <a:pt x="1867" y="1187"/>
                    <a:pt x="1865" y="1188"/>
                    <a:pt x="1865" y="1191"/>
                  </a:cubicBezTo>
                  <a:cubicBezTo>
                    <a:pt x="1854" y="1184"/>
                    <a:pt x="1875" y="1179"/>
                    <a:pt x="1873" y="1191"/>
                  </a:cubicBezTo>
                  <a:close/>
                  <a:moveTo>
                    <a:pt x="1867" y="1210"/>
                  </a:moveTo>
                  <a:cubicBezTo>
                    <a:pt x="1866" y="1192"/>
                    <a:pt x="1879" y="1201"/>
                    <a:pt x="1878" y="1213"/>
                  </a:cubicBezTo>
                  <a:cubicBezTo>
                    <a:pt x="1876" y="1211"/>
                    <a:pt x="1872" y="1209"/>
                    <a:pt x="1867" y="1210"/>
                  </a:cubicBezTo>
                  <a:close/>
                  <a:moveTo>
                    <a:pt x="1873" y="174"/>
                  </a:moveTo>
                  <a:cubicBezTo>
                    <a:pt x="1868" y="183"/>
                    <a:pt x="1863" y="171"/>
                    <a:pt x="1859" y="170"/>
                  </a:cubicBezTo>
                  <a:cubicBezTo>
                    <a:pt x="1858" y="170"/>
                    <a:pt x="1854" y="170"/>
                    <a:pt x="1854" y="170"/>
                  </a:cubicBezTo>
                  <a:cubicBezTo>
                    <a:pt x="1850" y="176"/>
                    <a:pt x="1856" y="179"/>
                    <a:pt x="1846" y="174"/>
                  </a:cubicBezTo>
                  <a:cubicBezTo>
                    <a:pt x="1843" y="185"/>
                    <a:pt x="1852" y="181"/>
                    <a:pt x="1856" y="182"/>
                  </a:cubicBezTo>
                  <a:cubicBezTo>
                    <a:pt x="1856" y="188"/>
                    <a:pt x="1848" y="184"/>
                    <a:pt x="1848" y="193"/>
                  </a:cubicBezTo>
                  <a:cubicBezTo>
                    <a:pt x="1851" y="203"/>
                    <a:pt x="1856" y="187"/>
                    <a:pt x="1859" y="196"/>
                  </a:cubicBezTo>
                  <a:cubicBezTo>
                    <a:pt x="1864" y="199"/>
                    <a:pt x="1856" y="202"/>
                    <a:pt x="1856" y="196"/>
                  </a:cubicBezTo>
                  <a:cubicBezTo>
                    <a:pt x="1854" y="196"/>
                    <a:pt x="1854" y="201"/>
                    <a:pt x="1854" y="204"/>
                  </a:cubicBezTo>
                  <a:cubicBezTo>
                    <a:pt x="1848" y="205"/>
                    <a:pt x="1847" y="201"/>
                    <a:pt x="1843" y="200"/>
                  </a:cubicBezTo>
                  <a:cubicBezTo>
                    <a:pt x="1842" y="208"/>
                    <a:pt x="1844" y="214"/>
                    <a:pt x="1848" y="215"/>
                  </a:cubicBezTo>
                  <a:cubicBezTo>
                    <a:pt x="1842" y="227"/>
                    <a:pt x="1839" y="204"/>
                    <a:pt x="1838" y="196"/>
                  </a:cubicBezTo>
                  <a:cubicBezTo>
                    <a:pt x="1847" y="195"/>
                    <a:pt x="1846" y="185"/>
                    <a:pt x="1840" y="178"/>
                  </a:cubicBezTo>
                  <a:cubicBezTo>
                    <a:pt x="1840" y="171"/>
                    <a:pt x="1848" y="173"/>
                    <a:pt x="1846" y="163"/>
                  </a:cubicBezTo>
                  <a:cubicBezTo>
                    <a:pt x="1855" y="164"/>
                    <a:pt x="1863" y="162"/>
                    <a:pt x="1870" y="159"/>
                  </a:cubicBezTo>
                  <a:cubicBezTo>
                    <a:pt x="1869" y="162"/>
                    <a:pt x="1867" y="163"/>
                    <a:pt x="1867" y="167"/>
                  </a:cubicBezTo>
                  <a:cubicBezTo>
                    <a:pt x="1871" y="170"/>
                    <a:pt x="1875" y="163"/>
                    <a:pt x="1875" y="163"/>
                  </a:cubicBezTo>
                  <a:cubicBezTo>
                    <a:pt x="1879" y="164"/>
                    <a:pt x="1876" y="169"/>
                    <a:pt x="1878" y="170"/>
                  </a:cubicBezTo>
                  <a:cubicBezTo>
                    <a:pt x="1882" y="174"/>
                    <a:pt x="1889" y="167"/>
                    <a:pt x="1883" y="167"/>
                  </a:cubicBezTo>
                  <a:cubicBezTo>
                    <a:pt x="1883" y="167"/>
                    <a:pt x="1885" y="161"/>
                    <a:pt x="1886" y="163"/>
                  </a:cubicBezTo>
                  <a:cubicBezTo>
                    <a:pt x="1888" y="166"/>
                    <a:pt x="1891" y="166"/>
                    <a:pt x="1891" y="170"/>
                  </a:cubicBezTo>
                  <a:cubicBezTo>
                    <a:pt x="1897" y="170"/>
                    <a:pt x="1888" y="161"/>
                    <a:pt x="1891" y="152"/>
                  </a:cubicBezTo>
                  <a:cubicBezTo>
                    <a:pt x="1902" y="153"/>
                    <a:pt x="1896" y="131"/>
                    <a:pt x="1908" y="133"/>
                  </a:cubicBezTo>
                  <a:cubicBezTo>
                    <a:pt x="1903" y="144"/>
                    <a:pt x="1891" y="164"/>
                    <a:pt x="1902" y="174"/>
                  </a:cubicBezTo>
                  <a:cubicBezTo>
                    <a:pt x="1897" y="182"/>
                    <a:pt x="1893" y="205"/>
                    <a:pt x="1902" y="211"/>
                  </a:cubicBezTo>
                  <a:cubicBezTo>
                    <a:pt x="1900" y="218"/>
                    <a:pt x="1893" y="224"/>
                    <a:pt x="1889" y="218"/>
                  </a:cubicBezTo>
                  <a:cubicBezTo>
                    <a:pt x="1890" y="211"/>
                    <a:pt x="1893" y="211"/>
                    <a:pt x="1897" y="215"/>
                  </a:cubicBezTo>
                  <a:cubicBezTo>
                    <a:pt x="1892" y="209"/>
                    <a:pt x="1897" y="189"/>
                    <a:pt x="1886" y="193"/>
                  </a:cubicBezTo>
                  <a:cubicBezTo>
                    <a:pt x="1887" y="188"/>
                    <a:pt x="1891" y="190"/>
                    <a:pt x="1894" y="189"/>
                  </a:cubicBezTo>
                  <a:cubicBezTo>
                    <a:pt x="1891" y="177"/>
                    <a:pt x="1886" y="188"/>
                    <a:pt x="1881" y="178"/>
                  </a:cubicBezTo>
                  <a:cubicBezTo>
                    <a:pt x="1878" y="179"/>
                    <a:pt x="1879" y="182"/>
                    <a:pt x="1881" y="182"/>
                  </a:cubicBezTo>
                  <a:cubicBezTo>
                    <a:pt x="1880" y="191"/>
                    <a:pt x="1870" y="182"/>
                    <a:pt x="1873" y="174"/>
                  </a:cubicBezTo>
                  <a:close/>
                  <a:moveTo>
                    <a:pt x="1899" y="1317"/>
                  </a:moveTo>
                  <a:cubicBezTo>
                    <a:pt x="1889" y="1322"/>
                    <a:pt x="1899" y="1300"/>
                    <a:pt x="1889" y="1306"/>
                  </a:cubicBezTo>
                  <a:cubicBezTo>
                    <a:pt x="1890" y="1301"/>
                    <a:pt x="1895" y="1303"/>
                    <a:pt x="1899" y="1302"/>
                  </a:cubicBezTo>
                  <a:cubicBezTo>
                    <a:pt x="1899" y="1307"/>
                    <a:pt x="1899" y="1312"/>
                    <a:pt x="1899" y="1317"/>
                  </a:cubicBezTo>
                  <a:close/>
                  <a:moveTo>
                    <a:pt x="1937" y="1258"/>
                  </a:moveTo>
                  <a:cubicBezTo>
                    <a:pt x="1935" y="1258"/>
                    <a:pt x="1935" y="1253"/>
                    <a:pt x="1934" y="1250"/>
                  </a:cubicBezTo>
                  <a:cubicBezTo>
                    <a:pt x="1928" y="1251"/>
                    <a:pt x="1934" y="1262"/>
                    <a:pt x="1934" y="1261"/>
                  </a:cubicBezTo>
                  <a:cubicBezTo>
                    <a:pt x="1934" y="1269"/>
                    <a:pt x="1927" y="1263"/>
                    <a:pt x="1932" y="1276"/>
                  </a:cubicBezTo>
                  <a:cubicBezTo>
                    <a:pt x="1924" y="1279"/>
                    <a:pt x="1925" y="1271"/>
                    <a:pt x="1918" y="1273"/>
                  </a:cubicBezTo>
                  <a:cubicBezTo>
                    <a:pt x="1919" y="1268"/>
                    <a:pt x="1923" y="1269"/>
                    <a:pt x="1926" y="1269"/>
                  </a:cubicBezTo>
                  <a:cubicBezTo>
                    <a:pt x="1924" y="1260"/>
                    <a:pt x="1913" y="1260"/>
                    <a:pt x="1913" y="1273"/>
                  </a:cubicBezTo>
                  <a:cubicBezTo>
                    <a:pt x="1907" y="1275"/>
                    <a:pt x="1909" y="1265"/>
                    <a:pt x="1905" y="1265"/>
                  </a:cubicBezTo>
                  <a:cubicBezTo>
                    <a:pt x="1902" y="1266"/>
                    <a:pt x="1903" y="1269"/>
                    <a:pt x="1905" y="1269"/>
                  </a:cubicBezTo>
                  <a:cubicBezTo>
                    <a:pt x="1904" y="1279"/>
                    <a:pt x="1886" y="1266"/>
                    <a:pt x="1886" y="1276"/>
                  </a:cubicBezTo>
                  <a:cubicBezTo>
                    <a:pt x="1882" y="1275"/>
                    <a:pt x="1885" y="1265"/>
                    <a:pt x="1881" y="1265"/>
                  </a:cubicBezTo>
                  <a:cubicBezTo>
                    <a:pt x="1880" y="1258"/>
                    <a:pt x="1886" y="1261"/>
                    <a:pt x="1889" y="1258"/>
                  </a:cubicBezTo>
                  <a:cubicBezTo>
                    <a:pt x="1890" y="1256"/>
                    <a:pt x="1890" y="1242"/>
                    <a:pt x="1897" y="1247"/>
                  </a:cubicBezTo>
                  <a:cubicBezTo>
                    <a:pt x="1897" y="1257"/>
                    <a:pt x="1891" y="1260"/>
                    <a:pt x="1886" y="1265"/>
                  </a:cubicBezTo>
                  <a:cubicBezTo>
                    <a:pt x="1886" y="1273"/>
                    <a:pt x="1896" y="1267"/>
                    <a:pt x="1899" y="1269"/>
                  </a:cubicBezTo>
                  <a:cubicBezTo>
                    <a:pt x="1899" y="1265"/>
                    <a:pt x="1896" y="1266"/>
                    <a:pt x="1894" y="1265"/>
                  </a:cubicBezTo>
                  <a:cubicBezTo>
                    <a:pt x="1894" y="1262"/>
                    <a:pt x="1897" y="1262"/>
                    <a:pt x="1899" y="1261"/>
                  </a:cubicBezTo>
                  <a:cubicBezTo>
                    <a:pt x="1898" y="1254"/>
                    <a:pt x="1901" y="1252"/>
                    <a:pt x="1902" y="1247"/>
                  </a:cubicBezTo>
                  <a:cubicBezTo>
                    <a:pt x="1906" y="1247"/>
                    <a:pt x="1903" y="1258"/>
                    <a:pt x="1908" y="1258"/>
                  </a:cubicBezTo>
                  <a:cubicBezTo>
                    <a:pt x="1912" y="1258"/>
                    <a:pt x="1910" y="1230"/>
                    <a:pt x="1913" y="1250"/>
                  </a:cubicBezTo>
                  <a:cubicBezTo>
                    <a:pt x="1915" y="1255"/>
                    <a:pt x="1919" y="1257"/>
                    <a:pt x="1924" y="1258"/>
                  </a:cubicBezTo>
                  <a:cubicBezTo>
                    <a:pt x="1928" y="1254"/>
                    <a:pt x="1929" y="1246"/>
                    <a:pt x="1937" y="1247"/>
                  </a:cubicBezTo>
                  <a:cubicBezTo>
                    <a:pt x="1937" y="1250"/>
                    <a:pt x="1937" y="1254"/>
                    <a:pt x="1937" y="1258"/>
                  </a:cubicBezTo>
                  <a:close/>
                  <a:moveTo>
                    <a:pt x="1945" y="1217"/>
                  </a:moveTo>
                  <a:cubicBezTo>
                    <a:pt x="1942" y="1212"/>
                    <a:pt x="1944" y="1218"/>
                    <a:pt x="1940" y="1217"/>
                  </a:cubicBezTo>
                  <a:cubicBezTo>
                    <a:pt x="1937" y="1217"/>
                    <a:pt x="1934" y="1210"/>
                    <a:pt x="1932" y="1221"/>
                  </a:cubicBezTo>
                  <a:cubicBezTo>
                    <a:pt x="1929" y="1221"/>
                    <a:pt x="1930" y="1216"/>
                    <a:pt x="1929" y="1213"/>
                  </a:cubicBezTo>
                  <a:cubicBezTo>
                    <a:pt x="1925" y="1213"/>
                    <a:pt x="1920" y="1213"/>
                    <a:pt x="1916" y="1213"/>
                  </a:cubicBezTo>
                  <a:cubicBezTo>
                    <a:pt x="1913" y="1216"/>
                    <a:pt x="1913" y="1222"/>
                    <a:pt x="1908" y="1221"/>
                  </a:cubicBezTo>
                  <a:cubicBezTo>
                    <a:pt x="1912" y="1208"/>
                    <a:pt x="1900" y="1217"/>
                    <a:pt x="1894" y="1213"/>
                  </a:cubicBezTo>
                  <a:cubicBezTo>
                    <a:pt x="1892" y="1212"/>
                    <a:pt x="1892" y="1205"/>
                    <a:pt x="1889" y="1206"/>
                  </a:cubicBezTo>
                  <a:cubicBezTo>
                    <a:pt x="1887" y="1196"/>
                    <a:pt x="1901" y="1209"/>
                    <a:pt x="1899" y="1199"/>
                  </a:cubicBezTo>
                  <a:cubicBezTo>
                    <a:pt x="1901" y="1206"/>
                    <a:pt x="1914" y="1198"/>
                    <a:pt x="1916" y="1206"/>
                  </a:cubicBezTo>
                  <a:cubicBezTo>
                    <a:pt x="1919" y="1198"/>
                    <a:pt x="1927" y="1201"/>
                    <a:pt x="1942" y="1202"/>
                  </a:cubicBezTo>
                  <a:cubicBezTo>
                    <a:pt x="1943" y="1202"/>
                    <a:pt x="1942" y="1206"/>
                    <a:pt x="1942" y="1206"/>
                  </a:cubicBezTo>
                  <a:cubicBezTo>
                    <a:pt x="1945" y="1207"/>
                    <a:pt x="1945" y="1205"/>
                    <a:pt x="1945" y="1202"/>
                  </a:cubicBezTo>
                  <a:cubicBezTo>
                    <a:pt x="1948" y="1203"/>
                    <a:pt x="1947" y="1206"/>
                    <a:pt x="1945" y="1206"/>
                  </a:cubicBezTo>
                  <a:cubicBezTo>
                    <a:pt x="1945" y="1210"/>
                    <a:pt x="1946" y="1214"/>
                    <a:pt x="1948" y="1213"/>
                  </a:cubicBezTo>
                  <a:cubicBezTo>
                    <a:pt x="1951" y="1213"/>
                    <a:pt x="1953" y="1206"/>
                    <a:pt x="1959" y="1213"/>
                  </a:cubicBezTo>
                  <a:cubicBezTo>
                    <a:pt x="1962" y="1218"/>
                    <a:pt x="1947" y="1220"/>
                    <a:pt x="1945" y="1217"/>
                  </a:cubicBezTo>
                  <a:close/>
                  <a:moveTo>
                    <a:pt x="1967" y="1339"/>
                  </a:moveTo>
                  <a:cubicBezTo>
                    <a:pt x="1959" y="1342"/>
                    <a:pt x="1961" y="1332"/>
                    <a:pt x="1956" y="1332"/>
                  </a:cubicBezTo>
                  <a:cubicBezTo>
                    <a:pt x="1958" y="1327"/>
                    <a:pt x="1962" y="1325"/>
                    <a:pt x="1967" y="1324"/>
                  </a:cubicBezTo>
                  <a:cubicBezTo>
                    <a:pt x="1967" y="1329"/>
                    <a:pt x="1967" y="1334"/>
                    <a:pt x="1967" y="1339"/>
                  </a:cubicBezTo>
                  <a:close/>
                  <a:moveTo>
                    <a:pt x="1969" y="1269"/>
                  </a:moveTo>
                  <a:cubicBezTo>
                    <a:pt x="1970" y="1266"/>
                    <a:pt x="1968" y="1265"/>
                    <a:pt x="1967" y="1265"/>
                  </a:cubicBezTo>
                  <a:cubicBezTo>
                    <a:pt x="1967" y="1262"/>
                    <a:pt x="1970" y="1262"/>
                    <a:pt x="1972" y="1261"/>
                  </a:cubicBezTo>
                  <a:cubicBezTo>
                    <a:pt x="1967" y="1253"/>
                    <a:pt x="1973" y="1257"/>
                    <a:pt x="1975" y="1250"/>
                  </a:cubicBezTo>
                  <a:cubicBezTo>
                    <a:pt x="1983" y="1254"/>
                    <a:pt x="1971" y="1260"/>
                    <a:pt x="1975" y="1269"/>
                  </a:cubicBezTo>
                  <a:cubicBezTo>
                    <a:pt x="1973" y="1269"/>
                    <a:pt x="1971" y="1269"/>
                    <a:pt x="1969" y="1269"/>
                  </a:cubicBezTo>
                  <a:close/>
                  <a:moveTo>
                    <a:pt x="1977" y="1306"/>
                  </a:moveTo>
                  <a:cubicBezTo>
                    <a:pt x="1984" y="1296"/>
                    <a:pt x="1986" y="1310"/>
                    <a:pt x="1994" y="1309"/>
                  </a:cubicBezTo>
                  <a:cubicBezTo>
                    <a:pt x="1994" y="1315"/>
                    <a:pt x="1974" y="1318"/>
                    <a:pt x="1977" y="1306"/>
                  </a:cubicBezTo>
                  <a:close/>
                  <a:moveTo>
                    <a:pt x="1980" y="1232"/>
                  </a:moveTo>
                  <a:cubicBezTo>
                    <a:pt x="1981" y="1225"/>
                    <a:pt x="1985" y="1223"/>
                    <a:pt x="1991" y="1225"/>
                  </a:cubicBezTo>
                  <a:cubicBezTo>
                    <a:pt x="1989" y="1229"/>
                    <a:pt x="1985" y="1231"/>
                    <a:pt x="1980" y="1232"/>
                  </a:cubicBezTo>
                  <a:close/>
                  <a:moveTo>
                    <a:pt x="2015" y="1269"/>
                  </a:moveTo>
                  <a:cubicBezTo>
                    <a:pt x="2004" y="1271"/>
                    <a:pt x="2007" y="1255"/>
                    <a:pt x="2007" y="1243"/>
                  </a:cubicBezTo>
                  <a:cubicBezTo>
                    <a:pt x="2010" y="1245"/>
                    <a:pt x="2010" y="1252"/>
                    <a:pt x="2015" y="1250"/>
                  </a:cubicBezTo>
                  <a:cubicBezTo>
                    <a:pt x="2015" y="1257"/>
                    <a:pt x="2015" y="1263"/>
                    <a:pt x="2015" y="1269"/>
                  </a:cubicBezTo>
                  <a:close/>
                  <a:moveTo>
                    <a:pt x="2020" y="1261"/>
                  </a:moveTo>
                  <a:cubicBezTo>
                    <a:pt x="2028" y="1259"/>
                    <a:pt x="2019" y="1279"/>
                    <a:pt x="2026" y="1276"/>
                  </a:cubicBezTo>
                  <a:cubicBezTo>
                    <a:pt x="2021" y="1289"/>
                    <a:pt x="2019" y="1269"/>
                    <a:pt x="2020" y="1261"/>
                  </a:cubicBezTo>
                  <a:close/>
                  <a:moveTo>
                    <a:pt x="2026" y="1217"/>
                  </a:moveTo>
                  <a:cubicBezTo>
                    <a:pt x="2026" y="1217"/>
                    <a:pt x="2022" y="1221"/>
                    <a:pt x="2023" y="1221"/>
                  </a:cubicBezTo>
                  <a:cubicBezTo>
                    <a:pt x="2021" y="1221"/>
                    <a:pt x="2018" y="1213"/>
                    <a:pt x="2018" y="1213"/>
                  </a:cubicBezTo>
                  <a:cubicBezTo>
                    <a:pt x="2014" y="1214"/>
                    <a:pt x="2013" y="1220"/>
                    <a:pt x="2010" y="1221"/>
                  </a:cubicBezTo>
                  <a:cubicBezTo>
                    <a:pt x="2001" y="1223"/>
                    <a:pt x="1995" y="1212"/>
                    <a:pt x="1988" y="1221"/>
                  </a:cubicBezTo>
                  <a:cubicBezTo>
                    <a:pt x="1985" y="1222"/>
                    <a:pt x="1979" y="1210"/>
                    <a:pt x="1986" y="1210"/>
                  </a:cubicBezTo>
                  <a:cubicBezTo>
                    <a:pt x="1985" y="1206"/>
                    <a:pt x="1982" y="1207"/>
                    <a:pt x="1980" y="1206"/>
                  </a:cubicBezTo>
                  <a:cubicBezTo>
                    <a:pt x="1981" y="1198"/>
                    <a:pt x="1996" y="1201"/>
                    <a:pt x="1991" y="1213"/>
                  </a:cubicBezTo>
                  <a:cubicBezTo>
                    <a:pt x="1994" y="1213"/>
                    <a:pt x="1994" y="1202"/>
                    <a:pt x="1991" y="1202"/>
                  </a:cubicBezTo>
                  <a:cubicBezTo>
                    <a:pt x="1991" y="1198"/>
                    <a:pt x="1996" y="1199"/>
                    <a:pt x="1999" y="1199"/>
                  </a:cubicBezTo>
                  <a:cubicBezTo>
                    <a:pt x="1999" y="1202"/>
                    <a:pt x="1999" y="1206"/>
                    <a:pt x="1999" y="1210"/>
                  </a:cubicBezTo>
                  <a:cubicBezTo>
                    <a:pt x="2009" y="1209"/>
                    <a:pt x="2004" y="1201"/>
                    <a:pt x="2012" y="1206"/>
                  </a:cubicBezTo>
                  <a:cubicBezTo>
                    <a:pt x="2013" y="1206"/>
                    <a:pt x="2017" y="1205"/>
                    <a:pt x="2018" y="1206"/>
                  </a:cubicBezTo>
                  <a:cubicBezTo>
                    <a:pt x="2018" y="1206"/>
                    <a:pt x="2019" y="1212"/>
                    <a:pt x="2020" y="1210"/>
                  </a:cubicBezTo>
                  <a:cubicBezTo>
                    <a:pt x="2025" y="1204"/>
                    <a:pt x="2023" y="1215"/>
                    <a:pt x="2031" y="1213"/>
                  </a:cubicBezTo>
                  <a:cubicBezTo>
                    <a:pt x="2031" y="1217"/>
                    <a:pt x="2028" y="1216"/>
                    <a:pt x="2026" y="1217"/>
                  </a:cubicBezTo>
                  <a:close/>
                  <a:moveTo>
                    <a:pt x="2031" y="588"/>
                  </a:moveTo>
                  <a:cubicBezTo>
                    <a:pt x="2033" y="585"/>
                    <a:pt x="2034" y="580"/>
                    <a:pt x="2034" y="574"/>
                  </a:cubicBezTo>
                  <a:cubicBezTo>
                    <a:pt x="2039" y="572"/>
                    <a:pt x="2039" y="594"/>
                    <a:pt x="2031" y="588"/>
                  </a:cubicBezTo>
                  <a:close/>
                  <a:moveTo>
                    <a:pt x="2039" y="1210"/>
                  </a:moveTo>
                  <a:cubicBezTo>
                    <a:pt x="2044" y="1209"/>
                    <a:pt x="2044" y="1213"/>
                    <a:pt x="2047" y="1213"/>
                  </a:cubicBezTo>
                  <a:cubicBezTo>
                    <a:pt x="2046" y="1218"/>
                    <a:pt x="2042" y="1220"/>
                    <a:pt x="2037" y="1221"/>
                  </a:cubicBezTo>
                  <a:cubicBezTo>
                    <a:pt x="2038" y="1218"/>
                    <a:pt x="2039" y="1215"/>
                    <a:pt x="2039" y="1210"/>
                  </a:cubicBezTo>
                  <a:close/>
                  <a:moveTo>
                    <a:pt x="2039" y="1306"/>
                  </a:moveTo>
                  <a:cubicBezTo>
                    <a:pt x="2042" y="1309"/>
                    <a:pt x="2045" y="1310"/>
                    <a:pt x="2050" y="1309"/>
                  </a:cubicBezTo>
                  <a:cubicBezTo>
                    <a:pt x="2051" y="1316"/>
                    <a:pt x="2035" y="1316"/>
                    <a:pt x="2039" y="1306"/>
                  </a:cubicBezTo>
                  <a:close/>
                  <a:moveTo>
                    <a:pt x="2050" y="1269"/>
                  </a:moveTo>
                  <a:cubicBezTo>
                    <a:pt x="2048" y="1268"/>
                    <a:pt x="2048" y="1270"/>
                    <a:pt x="2047" y="1273"/>
                  </a:cubicBezTo>
                  <a:cubicBezTo>
                    <a:pt x="2044" y="1272"/>
                    <a:pt x="2045" y="1266"/>
                    <a:pt x="2045" y="1261"/>
                  </a:cubicBezTo>
                  <a:cubicBezTo>
                    <a:pt x="2048" y="1263"/>
                    <a:pt x="2049" y="1268"/>
                    <a:pt x="2053" y="1269"/>
                  </a:cubicBezTo>
                  <a:cubicBezTo>
                    <a:pt x="2052" y="1273"/>
                    <a:pt x="2050" y="1271"/>
                    <a:pt x="2050" y="1269"/>
                  </a:cubicBezTo>
                  <a:close/>
                  <a:moveTo>
                    <a:pt x="2064" y="1213"/>
                  </a:moveTo>
                  <a:cubicBezTo>
                    <a:pt x="2061" y="1219"/>
                    <a:pt x="2057" y="1221"/>
                    <a:pt x="2050" y="1221"/>
                  </a:cubicBezTo>
                  <a:cubicBezTo>
                    <a:pt x="2050" y="1214"/>
                    <a:pt x="2059" y="1218"/>
                    <a:pt x="2058" y="1210"/>
                  </a:cubicBezTo>
                  <a:cubicBezTo>
                    <a:pt x="2058" y="1206"/>
                    <a:pt x="2055" y="1207"/>
                    <a:pt x="2053" y="1206"/>
                  </a:cubicBezTo>
                  <a:cubicBezTo>
                    <a:pt x="2054" y="1201"/>
                    <a:pt x="2059" y="1203"/>
                    <a:pt x="2064" y="1202"/>
                  </a:cubicBezTo>
                  <a:cubicBezTo>
                    <a:pt x="2064" y="1209"/>
                    <a:pt x="2059" y="1212"/>
                    <a:pt x="2064" y="1213"/>
                  </a:cubicBezTo>
                  <a:close/>
                  <a:moveTo>
                    <a:pt x="2055" y="1195"/>
                  </a:moveTo>
                  <a:cubicBezTo>
                    <a:pt x="2055" y="1191"/>
                    <a:pt x="2055" y="1187"/>
                    <a:pt x="2055" y="1184"/>
                  </a:cubicBezTo>
                  <a:cubicBezTo>
                    <a:pt x="2060" y="1180"/>
                    <a:pt x="2064" y="1195"/>
                    <a:pt x="2066" y="1184"/>
                  </a:cubicBezTo>
                  <a:cubicBezTo>
                    <a:pt x="2072" y="1186"/>
                    <a:pt x="2063" y="1198"/>
                    <a:pt x="2055" y="1195"/>
                  </a:cubicBezTo>
                  <a:close/>
                  <a:moveTo>
                    <a:pt x="2069" y="204"/>
                  </a:moveTo>
                  <a:cubicBezTo>
                    <a:pt x="2065" y="208"/>
                    <a:pt x="2064" y="215"/>
                    <a:pt x="2058" y="207"/>
                  </a:cubicBezTo>
                  <a:cubicBezTo>
                    <a:pt x="2062" y="202"/>
                    <a:pt x="2071" y="196"/>
                    <a:pt x="2072" y="207"/>
                  </a:cubicBezTo>
                  <a:cubicBezTo>
                    <a:pt x="2070" y="213"/>
                    <a:pt x="2069" y="208"/>
                    <a:pt x="2069" y="204"/>
                  </a:cubicBezTo>
                  <a:close/>
                  <a:moveTo>
                    <a:pt x="2074" y="182"/>
                  </a:moveTo>
                  <a:cubicBezTo>
                    <a:pt x="2069" y="181"/>
                    <a:pt x="2074" y="174"/>
                    <a:pt x="2074" y="174"/>
                  </a:cubicBezTo>
                  <a:cubicBezTo>
                    <a:pt x="2074" y="170"/>
                    <a:pt x="2069" y="164"/>
                    <a:pt x="2074" y="159"/>
                  </a:cubicBezTo>
                  <a:cubicBezTo>
                    <a:pt x="2082" y="163"/>
                    <a:pt x="2073" y="175"/>
                    <a:pt x="2074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</p:grpSp>
      <p:sp>
        <p:nvSpPr>
          <p:cNvPr id="112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792107" y="4619607"/>
            <a:ext cx="4232424" cy="749300"/>
          </a:xfrm>
        </p:spPr>
        <p:txBody>
          <a:bodyPr/>
          <a:lstStyle>
            <a:lvl1pPr>
              <a:defRPr>
                <a:solidFill>
                  <a:srgbClr val="442E54"/>
                </a:solidFill>
              </a:defRPr>
            </a:lvl1pPr>
            <a:lvl2pPr>
              <a:defRPr>
                <a:solidFill>
                  <a:srgbClr val="442E54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  <a:endParaRPr lang="en-AU"/>
          </a:p>
        </p:txBody>
      </p:sp>
      <p:sp>
        <p:nvSpPr>
          <p:cNvPr id="113" name="Title 4124"/>
          <p:cNvSpPr>
            <a:spLocks noGrp="1"/>
          </p:cNvSpPr>
          <p:nvPr>
            <p:ph type="title"/>
          </p:nvPr>
        </p:nvSpPr>
        <p:spPr>
          <a:xfrm>
            <a:off x="5735264" y="1927683"/>
            <a:ext cx="5486400" cy="2603500"/>
          </a:xfrm>
        </p:spPr>
        <p:txBody>
          <a:bodyPr/>
          <a:lstStyle>
            <a:lvl1pPr>
              <a:defRPr sz="7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182571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AC413-F642-7B43-A968-2D751862D47C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91C19-2013-9A4F-B879-86BE714CC76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7186977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8778148E-ACFD-4862-B0C6-933459DCD210}" type="datetimeFigureOut">
              <a:rPr lang="en-US" smtClean="0"/>
              <a:t>4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A38B5E2-9982-4FAB-B6DA-C3AC1973587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96294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"/>
          <p:cNvGrpSpPr>
            <a:grpSpLocks noChangeAspect="1"/>
          </p:cNvGrpSpPr>
          <p:nvPr userDrawn="1"/>
        </p:nvGrpSpPr>
        <p:grpSpPr bwMode="auto">
          <a:xfrm>
            <a:off x="-12000" y="0"/>
            <a:ext cx="12216000" cy="1178432"/>
            <a:chOff x="-530" y="1723"/>
            <a:chExt cx="6834" cy="879"/>
          </a:xfrm>
          <a:solidFill>
            <a:schemeClr val="accent4"/>
          </a:solidFill>
        </p:grpSpPr>
        <p:sp>
          <p:nvSpPr>
            <p:cNvPr id="56" name="Freeform 6"/>
            <p:cNvSpPr>
              <a:spLocks/>
            </p:cNvSpPr>
            <p:nvPr userDrawn="1"/>
          </p:nvSpPr>
          <p:spPr bwMode="auto">
            <a:xfrm>
              <a:off x="4076" y="2427"/>
              <a:ext cx="45" cy="49"/>
            </a:xfrm>
            <a:custGeom>
              <a:avLst/>
              <a:gdLst>
                <a:gd name="T0" fmla="*/ 8 w 19"/>
                <a:gd name="T1" fmla="*/ 14 h 21"/>
                <a:gd name="T2" fmla="*/ 11 w 19"/>
                <a:gd name="T3" fmla="*/ 21 h 21"/>
                <a:gd name="T4" fmla="*/ 16 w 19"/>
                <a:gd name="T5" fmla="*/ 2 h 21"/>
                <a:gd name="T6" fmla="*/ 8 w 19"/>
                <a:gd name="T7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8" y="14"/>
                  </a:moveTo>
                  <a:cubicBezTo>
                    <a:pt x="9" y="17"/>
                    <a:pt x="7" y="21"/>
                    <a:pt x="11" y="21"/>
                  </a:cubicBezTo>
                  <a:cubicBezTo>
                    <a:pt x="16" y="14"/>
                    <a:pt x="19" y="12"/>
                    <a:pt x="16" y="2"/>
                  </a:cubicBezTo>
                  <a:cubicBezTo>
                    <a:pt x="0" y="0"/>
                    <a:pt x="7" y="11"/>
                    <a:pt x="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6" name="Freeform 7"/>
            <p:cNvSpPr>
              <a:spLocks/>
            </p:cNvSpPr>
            <p:nvPr userDrawn="1"/>
          </p:nvSpPr>
          <p:spPr bwMode="auto">
            <a:xfrm>
              <a:off x="5264" y="2389"/>
              <a:ext cx="22" cy="12"/>
            </a:xfrm>
            <a:custGeom>
              <a:avLst/>
              <a:gdLst>
                <a:gd name="T0" fmla="*/ 1 w 9"/>
                <a:gd name="T1" fmla="*/ 5 h 5"/>
                <a:gd name="T2" fmla="*/ 9 w 9"/>
                <a:gd name="T3" fmla="*/ 0 h 5"/>
                <a:gd name="T4" fmla="*/ 1 w 9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5">
                  <a:moveTo>
                    <a:pt x="1" y="5"/>
                  </a:moveTo>
                  <a:cubicBezTo>
                    <a:pt x="6" y="5"/>
                    <a:pt x="8" y="3"/>
                    <a:pt x="9" y="0"/>
                  </a:cubicBezTo>
                  <a:cubicBezTo>
                    <a:pt x="5" y="0"/>
                    <a:pt x="0" y="0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7" name="Freeform 8"/>
            <p:cNvSpPr>
              <a:spLocks/>
            </p:cNvSpPr>
            <p:nvPr userDrawn="1"/>
          </p:nvSpPr>
          <p:spPr bwMode="auto">
            <a:xfrm>
              <a:off x="5659" y="2375"/>
              <a:ext cx="28" cy="35"/>
            </a:xfrm>
            <a:custGeom>
              <a:avLst/>
              <a:gdLst>
                <a:gd name="T0" fmla="*/ 7 w 12"/>
                <a:gd name="T1" fmla="*/ 5 h 15"/>
                <a:gd name="T2" fmla="*/ 4 w 12"/>
                <a:gd name="T3" fmla="*/ 8 h 15"/>
                <a:gd name="T4" fmla="*/ 1 w 12"/>
                <a:gd name="T5" fmla="*/ 6 h 15"/>
                <a:gd name="T6" fmla="*/ 4 w 12"/>
                <a:gd name="T7" fmla="*/ 15 h 15"/>
                <a:gd name="T8" fmla="*/ 7 w 12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7" y="5"/>
                  </a:moveTo>
                  <a:cubicBezTo>
                    <a:pt x="7" y="7"/>
                    <a:pt x="6" y="8"/>
                    <a:pt x="4" y="8"/>
                  </a:cubicBezTo>
                  <a:cubicBezTo>
                    <a:pt x="4" y="6"/>
                    <a:pt x="4" y="5"/>
                    <a:pt x="1" y="6"/>
                  </a:cubicBezTo>
                  <a:cubicBezTo>
                    <a:pt x="2" y="9"/>
                    <a:pt x="0" y="14"/>
                    <a:pt x="4" y="15"/>
                  </a:cubicBezTo>
                  <a:cubicBezTo>
                    <a:pt x="6" y="13"/>
                    <a:pt x="12" y="0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8" name="Freeform 9"/>
            <p:cNvSpPr>
              <a:spLocks/>
            </p:cNvSpPr>
            <p:nvPr userDrawn="1"/>
          </p:nvSpPr>
          <p:spPr bwMode="auto">
            <a:xfrm>
              <a:off x="6155" y="2018"/>
              <a:ext cx="68" cy="35"/>
            </a:xfrm>
            <a:custGeom>
              <a:avLst/>
              <a:gdLst>
                <a:gd name="T0" fmla="*/ 16 w 29"/>
                <a:gd name="T1" fmla="*/ 12 h 15"/>
                <a:gd name="T2" fmla="*/ 27 w 29"/>
                <a:gd name="T3" fmla="*/ 7 h 15"/>
                <a:gd name="T4" fmla="*/ 5 w 29"/>
                <a:gd name="T5" fmla="*/ 0 h 15"/>
                <a:gd name="T6" fmla="*/ 3 w 29"/>
                <a:gd name="T7" fmla="*/ 12 h 15"/>
                <a:gd name="T8" fmla="*/ 16 w 29"/>
                <a:gd name="T9" fmla="*/ 7 h 15"/>
                <a:gd name="T10" fmla="*/ 16 w 29"/>
                <a:gd name="T11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5">
                  <a:moveTo>
                    <a:pt x="16" y="12"/>
                  </a:moveTo>
                  <a:cubicBezTo>
                    <a:pt x="21" y="15"/>
                    <a:pt x="29" y="8"/>
                    <a:pt x="27" y="7"/>
                  </a:cubicBezTo>
                  <a:cubicBezTo>
                    <a:pt x="24" y="1"/>
                    <a:pt x="11" y="3"/>
                    <a:pt x="5" y="0"/>
                  </a:cubicBezTo>
                  <a:cubicBezTo>
                    <a:pt x="6" y="6"/>
                    <a:pt x="0" y="5"/>
                    <a:pt x="3" y="12"/>
                  </a:cubicBezTo>
                  <a:cubicBezTo>
                    <a:pt x="11" y="15"/>
                    <a:pt x="10" y="8"/>
                    <a:pt x="16" y="7"/>
                  </a:cubicBezTo>
                  <a:cubicBezTo>
                    <a:pt x="16" y="7"/>
                    <a:pt x="16" y="11"/>
                    <a:pt x="1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9" name="Freeform 10"/>
            <p:cNvSpPr>
              <a:spLocks/>
            </p:cNvSpPr>
            <p:nvPr userDrawn="1"/>
          </p:nvSpPr>
          <p:spPr bwMode="auto">
            <a:xfrm>
              <a:off x="5633" y="2365"/>
              <a:ext cx="24" cy="29"/>
            </a:xfrm>
            <a:custGeom>
              <a:avLst/>
              <a:gdLst>
                <a:gd name="T0" fmla="*/ 4 w 10"/>
                <a:gd name="T1" fmla="*/ 0 h 12"/>
                <a:gd name="T2" fmla="*/ 7 w 10"/>
                <a:gd name="T3" fmla="*/ 12 h 12"/>
                <a:gd name="T4" fmla="*/ 4 w 10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4" y="0"/>
                  </a:moveTo>
                  <a:cubicBezTo>
                    <a:pt x="0" y="3"/>
                    <a:pt x="3" y="9"/>
                    <a:pt x="7" y="12"/>
                  </a:cubicBezTo>
                  <a:cubicBezTo>
                    <a:pt x="10" y="9"/>
                    <a:pt x="8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0" name="Freeform 11"/>
            <p:cNvSpPr>
              <a:spLocks/>
            </p:cNvSpPr>
            <p:nvPr userDrawn="1"/>
          </p:nvSpPr>
          <p:spPr bwMode="auto">
            <a:xfrm>
              <a:off x="4187" y="2453"/>
              <a:ext cx="33" cy="21"/>
            </a:xfrm>
            <a:custGeom>
              <a:avLst/>
              <a:gdLst>
                <a:gd name="T0" fmla="*/ 7 w 14"/>
                <a:gd name="T1" fmla="*/ 0 h 9"/>
                <a:gd name="T2" fmla="*/ 2 w 14"/>
                <a:gd name="T3" fmla="*/ 7 h 9"/>
                <a:gd name="T4" fmla="*/ 7 w 14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9">
                  <a:moveTo>
                    <a:pt x="7" y="0"/>
                  </a:moveTo>
                  <a:cubicBezTo>
                    <a:pt x="7" y="3"/>
                    <a:pt x="0" y="2"/>
                    <a:pt x="2" y="7"/>
                  </a:cubicBezTo>
                  <a:cubicBezTo>
                    <a:pt x="8" y="9"/>
                    <a:pt x="14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1" name="Freeform 12"/>
            <p:cNvSpPr>
              <a:spLocks/>
            </p:cNvSpPr>
            <p:nvPr userDrawn="1"/>
          </p:nvSpPr>
          <p:spPr bwMode="auto">
            <a:xfrm>
              <a:off x="5678" y="2379"/>
              <a:ext cx="40" cy="31"/>
            </a:xfrm>
            <a:custGeom>
              <a:avLst/>
              <a:gdLst>
                <a:gd name="T0" fmla="*/ 7 w 17"/>
                <a:gd name="T1" fmla="*/ 6 h 13"/>
                <a:gd name="T2" fmla="*/ 4 w 17"/>
                <a:gd name="T3" fmla="*/ 6 h 13"/>
                <a:gd name="T4" fmla="*/ 7 w 17"/>
                <a:gd name="T5" fmla="*/ 8 h 13"/>
                <a:gd name="T6" fmla="*/ 15 w 17"/>
                <a:gd name="T7" fmla="*/ 1 h 13"/>
                <a:gd name="T8" fmla="*/ 7 w 17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3">
                  <a:moveTo>
                    <a:pt x="7" y="6"/>
                  </a:moveTo>
                  <a:cubicBezTo>
                    <a:pt x="7" y="4"/>
                    <a:pt x="5" y="3"/>
                    <a:pt x="4" y="6"/>
                  </a:cubicBezTo>
                  <a:cubicBezTo>
                    <a:pt x="6" y="6"/>
                    <a:pt x="8" y="6"/>
                    <a:pt x="7" y="8"/>
                  </a:cubicBezTo>
                  <a:cubicBezTo>
                    <a:pt x="0" y="13"/>
                    <a:pt x="17" y="6"/>
                    <a:pt x="15" y="1"/>
                  </a:cubicBezTo>
                  <a:cubicBezTo>
                    <a:pt x="10" y="0"/>
                    <a:pt x="10" y="4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2" name="Freeform 13"/>
            <p:cNvSpPr>
              <a:spLocks/>
            </p:cNvSpPr>
            <p:nvPr userDrawn="1"/>
          </p:nvSpPr>
          <p:spPr bwMode="auto">
            <a:xfrm>
              <a:off x="6219" y="2016"/>
              <a:ext cx="73" cy="35"/>
            </a:xfrm>
            <a:custGeom>
              <a:avLst/>
              <a:gdLst>
                <a:gd name="T0" fmla="*/ 20 w 31"/>
                <a:gd name="T1" fmla="*/ 10 h 15"/>
                <a:gd name="T2" fmla="*/ 19 w 31"/>
                <a:gd name="T3" fmla="*/ 0 h 15"/>
                <a:gd name="T4" fmla="*/ 11 w 31"/>
                <a:gd name="T5" fmla="*/ 5 h 15"/>
                <a:gd name="T6" fmla="*/ 0 w 31"/>
                <a:gd name="T7" fmla="*/ 1 h 15"/>
                <a:gd name="T8" fmla="*/ 9 w 31"/>
                <a:gd name="T9" fmla="*/ 15 h 15"/>
                <a:gd name="T10" fmla="*/ 11 w 31"/>
                <a:gd name="T11" fmla="*/ 7 h 15"/>
                <a:gd name="T12" fmla="*/ 11 w 31"/>
                <a:gd name="T13" fmla="*/ 12 h 15"/>
                <a:gd name="T14" fmla="*/ 31 w 31"/>
                <a:gd name="T15" fmla="*/ 11 h 15"/>
                <a:gd name="T16" fmla="*/ 31 w 31"/>
                <a:gd name="T17" fmla="*/ 2 h 15"/>
                <a:gd name="T18" fmla="*/ 20 w 31"/>
                <a:gd name="T1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15">
                  <a:moveTo>
                    <a:pt x="20" y="10"/>
                  </a:moveTo>
                  <a:cubicBezTo>
                    <a:pt x="15" y="5"/>
                    <a:pt x="20" y="7"/>
                    <a:pt x="19" y="0"/>
                  </a:cubicBezTo>
                  <a:cubicBezTo>
                    <a:pt x="14" y="0"/>
                    <a:pt x="14" y="4"/>
                    <a:pt x="11" y="5"/>
                  </a:cubicBezTo>
                  <a:cubicBezTo>
                    <a:pt x="9" y="2"/>
                    <a:pt x="5" y="1"/>
                    <a:pt x="0" y="1"/>
                  </a:cubicBezTo>
                  <a:cubicBezTo>
                    <a:pt x="2" y="6"/>
                    <a:pt x="2" y="13"/>
                    <a:pt x="9" y="15"/>
                  </a:cubicBezTo>
                  <a:cubicBezTo>
                    <a:pt x="9" y="12"/>
                    <a:pt x="8" y="8"/>
                    <a:pt x="11" y="7"/>
                  </a:cubicBezTo>
                  <a:cubicBezTo>
                    <a:pt x="11" y="9"/>
                    <a:pt x="11" y="11"/>
                    <a:pt x="11" y="12"/>
                  </a:cubicBezTo>
                  <a:cubicBezTo>
                    <a:pt x="19" y="12"/>
                    <a:pt x="26" y="12"/>
                    <a:pt x="31" y="1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6" y="3"/>
                    <a:pt x="28" y="11"/>
                    <a:pt x="2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3" name="Freeform 14"/>
            <p:cNvSpPr>
              <a:spLocks/>
            </p:cNvSpPr>
            <p:nvPr userDrawn="1"/>
          </p:nvSpPr>
          <p:spPr bwMode="auto">
            <a:xfrm>
              <a:off x="4256" y="2441"/>
              <a:ext cx="24" cy="21"/>
            </a:xfrm>
            <a:custGeom>
              <a:avLst/>
              <a:gdLst>
                <a:gd name="T0" fmla="*/ 0 w 10"/>
                <a:gd name="T1" fmla="*/ 7 h 9"/>
                <a:gd name="T2" fmla="*/ 9 w 10"/>
                <a:gd name="T3" fmla="*/ 9 h 9"/>
                <a:gd name="T4" fmla="*/ 0 w 10"/>
                <a:gd name="T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7"/>
                  </a:moveTo>
                  <a:cubicBezTo>
                    <a:pt x="4" y="6"/>
                    <a:pt x="6" y="8"/>
                    <a:pt x="9" y="9"/>
                  </a:cubicBezTo>
                  <a:cubicBezTo>
                    <a:pt x="10" y="2"/>
                    <a:pt x="1" y="0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4" name="Freeform 15"/>
            <p:cNvSpPr>
              <a:spLocks/>
            </p:cNvSpPr>
            <p:nvPr userDrawn="1"/>
          </p:nvSpPr>
          <p:spPr bwMode="auto">
            <a:xfrm>
              <a:off x="3859" y="2455"/>
              <a:ext cx="14" cy="31"/>
            </a:xfrm>
            <a:custGeom>
              <a:avLst/>
              <a:gdLst>
                <a:gd name="T0" fmla="*/ 1 w 6"/>
                <a:gd name="T1" fmla="*/ 8 h 13"/>
                <a:gd name="T2" fmla="*/ 4 w 6"/>
                <a:gd name="T3" fmla="*/ 13 h 13"/>
                <a:gd name="T4" fmla="*/ 1 w 6"/>
                <a:gd name="T5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3">
                  <a:moveTo>
                    <a:pt x="1" y="8"/>
                  </a:moveTo>
                  <a:cubicBezTo>
                    <a:pt x="0" y="10"/>
                    <a:pt x="2" y="13"/>
                    <a:pt x="4" y="13"/>
                  </a:cubicBezTo>
                  <a:cubicBezTo>
                    <a:pt x="6" y="13"/>
                    <a:pt x="5" y="0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5" name="Freeform 16"/>
            <p:cNvSpPr>
              <a:spLocks/>
            </p:cNvSpPr>
            <p:nvPr userDrawn="1"/>
          </p:nvSpPr>
          <p:spPr bwMode="auto">
            <a:xfrm>
              <a:off x="3982" y="2455"/>
              <a:ext cx="38" cy="31"/>
            </a:xfrm>
            <a:custGeom>
              <a:avLst/>
              <a:gdLst>
                <a:gd name="T0" fmla="*/ 10 w 16"/>
                <a:gd name="T1" fmla="*/ 12 h 13"/>
                <a:gd name="T2" fmla="*/ 15 w 16"/>
                <a:gd name="T3" fmla="*/ 2 h 13"/>
                <a:gd name="T4" fmla="*/ 10 w 16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10" y="12"/>
                  </a:moveTo>
                  <a:cubicBezTo>
                    <a:pt x="11" y="12"/>
                    <a:pt x="16" y="5"/>
                    <a:pt x="15" y="2"/>
                  </a:cubicBezTo>
                  <a:cubicBezTo>
                    <a:pt x="0" y="0"/>
                    <a:pt x="4" y="13"/>
                    <a:pt x="1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6" name="Freeform 17"/>
            <p:cNvSpPr>
              <a:spLocks/>
            </p:cNvSpPr>
            <p:nvPr userDrawn="1"/>
          </p:nvSpPr>
          <p:spPr bwMode="auto">
            <a:xfrm>
              <a:off x="5872" y="2004"/>
              <a:ext cx="56" cy="54"/>
            </a:xfrm>
            <a:custGeom>
              <a:avLst/>
              <a:gdLst>
                <a:gd name="T0" fmla="*/ 18 w 24"/>
                <a:gd name="T1" fmla="*/ 13 h 23"/>
                <a:gd name="T2" fmla="*/ 24 w 24"/>
                <a:gd name="T3" fmla="*/ 15 h 23"/>
                <a:gd name="T4" fmla="*/ 18 w 24"/>
                <a:gd name="T5" fmla="*/ 8 h 23"/>
                <a:gd name="T6" fmla="*/ 16 w 24"/>
                <a:gd name="T7" fmla="*/ 10 h 23"/>
                <a:gd name="T8" fmla="*/ 2 w 24"/>
                <a:gd name="T9" fmla="*/ 1 h 23"/>
                <a:gd name="T10" fmla="*/ 5 w 24"/>
                <a:gd name="T11" fmla="*/ 8 h 23"/>
                <a:gd name="T12" fmla="*/ 5 w 24"/>
                <a:gd name="T13" fmla="*/ 15 h 23"/>
                <a:gd name="T14" fmla="*/ 10 w 24"/>
                <a:gd name="T15" fmla="*/ 20 h 23"/>
                <a:gd name="T16" fmla="*/ 18 w 24"/>
                <a:gd name="T17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3">
                  <a:moveTo>
                    <a:pt x="18" y="13"/>
                  </a:moveTo>
                  <a:cubicBezTo>
                    <a:pt x="19" y="14"/>
                    <a:pt x="21" y="15"/>
                    <a:pt x="24" y="15"/>
                  </a:cubicBezTo>
                  <a:cubicBezTo>
                    <a:pt x="24" y="12"/>
                    <a:pt x="21" y="7"/>
                    <a:pt x="18" y="8"/>
                  </a:cubicBezTo>
                  <a:cubicBezTo>
                    <a:pt x="18" y="8"/>
                    <a:pt x="18" y="12"/>
                    <a:pt x="16" y="10"/>
                  </a:cubicBezTo>
                  <a:cubicBezTo>
                    <a:pt x="13" y="9"/>
                    <a:pt x="12" y="0"/>
                    <a:pt x="2" y="1"/>
                  </a:cubicBezTo>
                  <a:cubicBezTo>
                    <a:pt x="2" y="4"/>
                    <a:pt x="3" y="6"/>
                    <a:pt x="5" y="8"/>
                  </a:cubicBezTo>
                  <a:cubicBezTo>
                    <a:pt x="4" y="11"/>
                    <a:pt x="0" y="14"/>
                    <a:pt x="5" y="15"/>
                  </a:cubicBezTo>
                  <a:cubicBezTo>
                    <a:pt x="7" y="5"/>
                    <a:pt x="16" y="16"/>
                    <a:pt x="10" y="20"/>
                  </a:cubicBezTo>
                  <a:cubicBezTo>
                    <a:pt x="20" y="23"/>
                    <a:pt x="12" y="12"/>
                    <a:pt x="1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7" name="Freeform 18"/>
            <p:cNvSpPr>
              <a:spLocks/>
            </p:cNvSpPr>
            <p:nvPr userDrawn="1"/>
          </p:nvSpPr>
          <p:spPr bwMode="auto">
            <a:xfrm>
              <a:off x="6129" y="2051"/>
              <a:ext cx="26" cy="31"/>
            </a:xfrm>
            <a:custGeom>
              <a:avLst/>
              <a:gdLst>
                <a:gd name="T0" fmla="*/ 3 w 11"/>
                <a:gd name="T1" fmla="*/ 5 h 13"/>
                <a:gd name="T2" fmla="*/ 0 w 11"/>
                <a:gd name="T3" fmla="*/ 0 h 13"/>
                <a:gd name="T4" fmla="*/ 0 w 11"/>
                <a:gd name="T5" fmla="*/ 12 h 13"/>
                <a:gd name="T6" fmla="*/ 11 w 11"/>
                <a:gd name="T7" fmla="*/ 7 h 13"/>
                <a:gd name="T8" fmla="*/ 3 w 11"/>
                <a:gd name="T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3" y="5"/>
                  </a:moveTo>
                  <a:cubicBezTo>
                    <a:pt x="2" y="3"/>
                    <a:pt x="3" y="0"/>
                    <a:pt x="0" y="0"/>
                  </a:cubicBezTo>
                  <a:cubicBezTo>
                    <a:pt x="0" y="4"/>
                    <a:pt x="0" y="8"/>
                    <a:pt x="0" y="12"/>
                  </a:cubicBezTo>
                  <a:cubicBezTo>
                    <a:pt x="6" y="13"/>
                    <a:pt x="11" y="11"/>
                    <a:pt x="11" y="7"/>
                  </a:cubicBezTo>
                  <a:cubicBezTo>
                    <a:pt x="8" y="7"/>
                    <a:pt x="3" y="8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8" name="Freeform 19"/>
            <p:cNvSpPr>
              <a:spLocks noEditPoints="1"/>
            </p:cNvSpPr>
            <p:nvPr userDrawn="1"/>
          </p:nvSpPr>
          <p:spPr bwMode="auto">
            <a:xfrm>
              <a:off x="-530" y="1723"/>
              <a:ext cx="6834" cy="879"/>
            </a:xfrm>
            <a:custGeom>
              <a:avLst/>
              <a:gdLst>
                <a:gd name="T0" fmla="*/ 389 w 2893"/>
                <a:gd name="T1" fmla="*/ 342 h 372"/>
                <a:gd name="T2" fmla="*/ 740 w 2893"/>
                <a:gd name="T3" fmla="*/ 359 h 372"/>
                <a:gd name="T4" fmla="*/ 1103 w 2893"/>
                <a:gd name="T5" fmla="*/ 367 h 372"/>
                <a:gd name="T6" fmla="*/ 1426 w 2893"/>
                <a:gd name="T7" fmla="*/ 356 h 372"/>
                <a:gd name="T8" fmla="*/ 1695 w 2893"/>
                <a:gd name="T9" fmla="*/ 331 h 372"/>
                <a:gd name="T10" fmla="*/ 1895 w 2893"/>
                <a:gd name="T11" fmla="*/ 320 h 372"/>
                <a:gd name="T12" fmla="*/ 2114 w 2893"/>
                <a:gd name="T13" fmla="*/ 302 h 372"/>
                <a:gd name="T14" fmla="*/ 2309 w 2893"/>
                <a:gd name="T15" fmla="*/ 287 h 372"/>
                <a:gd name="T16" fmla="*/ 2459 w 2893"/>
                <a:gd name="T17" fmla="*/ 275 h 372"/>
                <a:gd name="T18" fmla="*/ 2597 w 2893"/>
                <a:gd name="T19" fmla="*/ 289 h 372"/>
                <a:gd name="T20" fmla="*/ 2723 w 2893"/>
                <a:gd name="T21" fmla="*/ 280 h 372"/>
                <a:gd name="T22" fmla="*/ 2838 w 2893"/>
                <a:gd name="T23" fmla="*/ 287 h 372"/>
                <a:gd name="T24" fmla="*/ 2866 w 2893"/>
                <a:gd name="T25" fmla="*/ 183 h 372"/>
                <a:gd name="T26" fmla="*/ 2808 w 2893"/>
                <a:gd name="T27" fmla="*/ 147 h 372"/>
                <a:gd name="T28" fmla="*/ 2631 w 2893"/>
                <a:gd name="T29" fmla="*/ 218 h 372"/>
                <a:gd name="T30" fmla="*/ 2665 w 2893"/>
                <a:gd name="T31" fmla="*/ 112 h 372"/>
                <a:gd name="T32" fmla="*/ 2857 w 2893"/>
                <a:gd name="T33" fmla="*/ 113 h 372"/>
                <a:gd name="T34" fmla="*/ 485 w 2893"/>
                <a:gd name="T35" fmla="*/ 201 h 372"/>
                <a:gd name="T36" fmla="*/ 777 w 2893"/>
                <a:gd name="T37" fmla="*/ 267 h 372"/>
                <a:gd name="T38" fmla="*/ 1016 w 2893"/>
                <a:gd name="T39" fmla="*/ 272 h 372"/>
                <a:gd name="T40" fmla="*/ 1266 w 2893"/>
                <a:gd name="T41" fmla="*/ 265 h 372"/>
                <a:gd name="T42" fmla="*/ 1356 w 2893"/>
                <a:gd name="T43" fmla="*/ 252 h 372"/>
                <a:gd name="T44" fmla="*/ 1456 w 2893"/>
                <a:gd name="T45" fmla="*/ 330 h 372"/>
                <a:gd name="T46" fmla="*/ 1548 w 2893"/>
                <a:gd name="T47" fmla="*/ 241 h 372"/>
                <a:gd name="T48" fmla="*/ 1656 w 2893"/>
                <a:gd name="T49" fmla="*/ 331 h 372"/>
                <a:gd name="T50" fmla="*/ 1709 w 2893"/>
                <a:gd name="T51" fmla="*/ 232 h 372"/>
                <a:gd name="T52" fmla="*/ 1779 w 2893"/>
                <a:gd name="T53" fmla="*/ 259 h 372"/>
                <a:gd name="T54" fmla="*/ 1829 w 2893"/>
                <a:gd name="T55" fmla="*/ 147 h 372"/>
                <a:gd name="T56" fmla="*/ 1920 w 2893"/>
                <a:gd name="T57" fmla="*/ 193 h 372"/>
                <a:gd name="T58" fmla="*/ 1900 w 2893"/>
                <a:gd name="T59" fmla="*/ 151 h 372"/>
                <a:gd name="T60" fmla="*/ 1948 w 2893"/>
                <a:gd name="T61" fmla="*/ 220 h 372"/>
                <a:gd name="T62" fmla="*/ 2044 w 2893"/>
                <a:gd name="T63" fmla="*/ 214 h 372"/>
                <a:gd name="T64" fmla="*/ 2069 w 2893"/>
                <a:gd name="T65" fmla="*/ 218 h 372"/>
                <a:gd name="T66" fmla="*/ 2172 w 2893"/>
                <a:gd name="T67" fmla="*/ 167 h 372"/>
                <a:gd name="T68" fmla="*/ 2111 w 2893"/>
                <a:gd name="T69" fmla="*/ 107 h 372"/>
                <a:gd name="T70" fmla="*/ 2115 w 2893"/>
                <a:gd name="T71" fmla="*/ 217 h 372"/>
                <a:gd name="T72" fmla="*/ 2157 w 2893"/>
                <a:gd name="T73" fmla="*/ 236 h 372"/>
                <a:gd name="T74" fmla="*/ 2191 w 2893"/>
                <a:gd name="T75" fmla="*/ 148 h 372"/>
                <a:gd name="T76" fmla="*/ 2262 w 2893"/>
                <a:gd name="T77" fmla="*/ 135 h 372"/>
                <a:gd name="T78" fmla="*/ 2862 w 2893"/>
                <a:gd name="T79" fmla="*/ 247 h 372"/>
                <a:gd name="T80" fmla="*/ 2740 w 2893"/>
                <a:gd name="T81" fmla="*/ 190 h 372"/>
                <a:gd name="T82" fmla="*/ 2824 w 2893"/>
                <a:gd name="T83" fmla="*/ 259 h 372"/>
                <a:gd name="T84" fmla="*/ 2831 w 2893"/>
                <a:gd name="T85" fmla="*/ 198 h 372"/>
                <a:gd name="T86" fmla="*/ 2792 w 2893"/>
                <a:gd name="T87" fmla="*/ 177 h 372"/>
                <a:gd name="T88" fmla="*/ 2732 w 2893"/>
                <a:gd name="T89" fmla="*/ 181 h 372"/>
                <a:gd name="T90" fmla="*/ 2702 w 2893"/>
                <a:gd name="T91" fmla="*/ 207 h 372"/>
                <a:gd name="T92" fmla="*/ 2674 w 2893"/>
                <a:gd name="T93" fmla="*/ 8 h 372"/>
                <a:gd name="T94" fmla="*/ 2563 w 2893"/>
                <a:gd name="T95" fmla="*/ 116 h 372"/>
                <a:gd name="T96" fmla="*/ 2514 w 2893"/>
                <a:gd name="T97" fmla="*/ 121 h 372"/>
                <a:gd name="T98" fmla="*/ 2453 w 2893"/>
                <a:gd name="T99" fmla="*/ 101 h 372"/>
                <a:gd name="T100" fmla="*/ 2349 w 2893"/>
                <a:gd name="T101" fmla="*/ 103 h 372"/>
                <a:gd name="T102" fmla="*/ 2298 w 2893"/>
                <a:gd name="T103" fmla="*/ 139 h 372"/>
                <a:gd name="T104" fmla="*/ 2305 w 2893"/>
                <a:gd name="T105" fmla="*/ 231 h 372"/>
                <a:gd name="T106" fmla="*/ 2365 w 2893"/>
                <a:gd name="T107" fmla="*/ 211 h 372"/>
                <a:gd name="T108" fmla="*/ 2456 w 2893"/>
                <a:gd name="T109" fmla="*/ 256 h 372"/>
                <a:gd name="T110" fmla="*/ 2497 w 2893"/>
                <a:gd name="T111" fmla="*/ 213 h 372"/>
                <a:gd name="T112" fmla="*/ 2543 w 2893"/>
                <a:gd name="T113" fmla="*/ 219 h 372"/>
                <a:gd name="T114" fmla="*/ 2582 w 2893"/>
                <a:gd name="T115" fmla="*/ 230 h 372"/>
                <a:gd name="T116" fmla="*/ 2599 w 2893"/>
                <a:gd name="T117" fmla="*/ 258 h 372"/>
                <a:gd name="T118" fmla="*/ 2671 w 2893"/>
                <a:gd name="T119" fmla="*/ 156 h 372"/>
                <a:gd name="T120" fmla="*/ 2638 w 2893"/>
                <a:gd name="T121" fmla="*/ 133 h 372"/>
                <a:gd name="T122" fmla="*/ 2741 w 2893"/>
                <a:gd name="T123" fmla="*/ 87 h 372"/>
                <a:gd name="T124" fmla="*/ 2808 w 2893"/>
                <a:gd name="T125" fmla="*/ 12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93" h="372">
                  <a:moveTo>
                    <a:pt x="288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1"/>
                    <a:pt x="1" y="320"/>
                    <a:pt x="2" y="320"/>
                  </a:cubicBezTo>
                  <a:cubicBezTo>
                    <a:pt x="1" y="331"/>
                    <a:pt x="12" y="320"/>
                    <a:pt x="15" y="320"/>
                  </a:cubicBezTo>
                  <a:cubicBezTo>
                    <a:pt x="16" y="328"/>
                    <a:pt x="25" y="329"/>
                    <a:pt x="35" y="329"/>
                  </a:cubicBezTo>
                  <a:cubicBezTo>
                    <a:pt x="35" y="327"/>
                    <a:pt x="35" y="324"/>
                    <a:pt x="37" y="324"/>
                  </a:cubicBezTo>
                  <a:cubicBezTo>
                    <a:pt x="39" y="331"/>
                    <a:pt x="43" y="322"/>
                    <a:pt x="48" y="324"/>
                  </a:cubicBezTo>
                  <a:cubicBezTo>
                    <a:pt x="50" y="329"/>
                    <a:pt x="56" y="325"/>
                    <a:pt x="62" y="326"/>
                  </a:cubicBezTo>
                  <a:cubicBezTo>
                    <a:pt x="70" y="328"/>
                    <a:pt x="66" y="332"/>
                    <a:pt x="70" y="328"/>
                  </a:cubicBezTo>
                  <a:cubicBezTo>
                    <a:pt x="77" y="323"/>
                    <a:pt x="90" y="333"/>
                    <a:pt x="87" y="333"/>
                  </a:cubicBezTo>
                  <a:cubicBezTo>
                    <a:pt x="102" y="336"/>
                    <a:pt x="117" y="327"/>
                    <a:pt x="136" y="330"/>
                  </a:cubicBezTo>
                  <a:cubicBezTo>
                    <a:pt x="139" y="338"/>
                    <a:pt x="156" y="332"/>
                    <a:pt x="167" y="334"/>
                  </a:cubicBezTo>
                  <a:cubicBezTo>
                    <a:pt x="170" y="334"/>
                    <a:pt x="170" y="336"/>
                    <a:pt x="175" y="336"/>
                  </a:cubicBezTo>
                  <a:cubicBezTo>
                    <a:pt x="178" y="336"/>
                    <a:pt x="179" y="334"/>
                    <a:pt x="183" y="333"/>
                  </a:cubicBezTo>
                  <a:cubicBezTo>
                    <a:pt x="190" y="333"/>
                    <a:pt x="194" y="335"/>
                    <a:pt x="200" y="336"/>
                  </a:cubicBezTo>
                  <a:cubicBezTo>
                    <a:pt x="202" y="332"/>
                    <a:pt x="204" y="328"/>
                    <a:pt x="210" y="328"/>
                  </a:cubicBezTo>
                  <a:cubicBezTo>
                    <a:pt x="211" y="331"/>
                    <a:pt x="210" y="335"/>
                    <a:pt x="213" y="335"/>
                  </a:cubicBezTo>
                  <a:cubicBezTo>
                    <a:pt x="216" y="328"/>
                    <a:pt x="221" y="337"/>
                    <a:pt x="222" y="337"/>
                  </a:cubicBezTo>
                  <a:cubicBezTo>
                    <a:pt x="225" y="339"/>
                    <a:pt x="233" y="339"/>
                    <a:pt x="238" y="340"/>
                  </a:cubicBezTo>
                  <a:cubicBezTo>
                    <a:pt x="246" y="340"/>
                    <a:pt x="240" y="332"/>
                    <a:pt x="246" y="337"/>
                  </a:cubicBezTo>
                  <a:cubicBezTo>
                    <a:pt x="248" y="338"/>
                    <a:pt x="255" y="336"/>
                    <a:pt x="257" y="337"/>
                  </a:cubicBezTo>
                  <a:cubicBezTo>
                    <a:pt x="259" y="338"/>
                    <a:pt x="260" y="343"/>
                    <a:pt x="266" y="341"/>
                  </a:cubicBezTo>
                  <a:cubicBezTo>
                    <a:pt x="275" y="336"/>
                    <a:pt x="294" y="346"/>
                    <a:pt x="307" y="341"/>
                  </a:cubicBezTo>
                  <a:cubicBezTo>
                    <a:pt x="309" y="340"/>
                    <a:pt x="309" y="334"/>
                    <a:pt x="312" y="334"/>
                  </a:cubicBezTo>
                  <a:cubicBezTo>
                    <a:pt x="312" y="335"/>
                    <a:pt x="312" y="337"/>
                    <a:pt x="312" y="338"/>
                  </a:cubicBezTo>
                  <a:cubicBezTo>
                    <a:pt x="315" y="339"/>
                    <a:pt x="321" y="337"/>
                    <a:pt x="323" y="338"/>
                  </a:cubicBezTo>
                  <a:cubicBezTo>
                    <a:pt x="323" y="338"/>
                    <a:pt x="323" y="340"/>
                    <a:pt x="323" y="340"/>
                  </a:cubicBezTo>
                  <a:cubicBezTo>
                    <a:pt x="327" y="341"/>
                    <a:pt x="334" y="339"/>
                    <a:pt x="340" y="340"/>
                  </a:cubicBezTo>
                  <a:cubicBezTo>
                    <a:pt x="342" y="341"/>
                    <a:pt x="343" y="342"/>
                    <a:pt x="345" y="342"/>
                  </a:cubicBezTo>
                  <a:cubicBezTo>
                    <a:pt x="345" y="342"/>
                    <a:pt x="345" y="340"/>
                    <a:pt x="348" y="340"/>
                  </a:cubicBezTo>
                  <a:cubicBezTo>
                    <a:pt x="349" y="340"/>
                    <a:pt x="347" y="343"/>
                    <a:pt x="351" y="342"/>
                  </a:cubicBezTo>
                  <a:cubicBezTo>
                    <a:pt x="352" y="342"/>
                    <a:pt x="354" y="338"/>
                    <a:pt x="356" y="338"/>
                  </a:cubicBezTo>
                  <a:cubicBezTo>
                    <a:pt x="355" y="338"/>
                    <a:pt x="360" y="341"/>
                    <a:pt x="361" y="337"/>
                  </a:cubicBezTo>
                  <a:cubicBezTo>
                    <a:pt x="361" y="339"/>
                    <a:pt x="361" y="341"/>
                    <a:pt x="362" y="342"/>
                  </a:cubicBezTo>
                  <a:cubicBezTo>
                    <a:pt x="370" y="341"/>
                    <a:pt x="374" y="337"/>
                    <a:pt x="381" y="335"/>
                  </a:cubicBezTo>
                  <a:cubicBezTo>
                    <a:pt x="381" y="341"/>
                    <a:pt x="376" y="340"/>
                    <a:pt x="381" y="344"/>
                  </a:cubicBezTo>
                  <a:cubicBezTo>
                    <a:pt x="387" y="347"/>
                    <a:pt x="389" y="333"/>
                    <a:pt x="389" y="342"/>
                  </a:cubicBezTo>
                  <a:cubicBezTo>
                    <a:pt x="389" y="345"/>
                    <a:pt x="400" y="345"/>
                    <a:pt x="403" y="346"/>
                  </a:cubicBezTo>
                  <a:cubicBezTo>
                    <a:pt x="403" y="344"/>
                    <a:pt x="403" y="341"/>
                    <a:pt x="405" y="341"/>
                  </a:cubicBezTo>
                  <a:cubicBezTo>
                    <a:pt x="405" y="345"/>
                    <a:pt x="407" y="346"/>
                    <a:pt x="408" y="348"/>
                  </a:cubicBezTo>
                  <a:cubicBezTo>
                    <a:pt x="423" y="348"/>
                    <a:pt x="437" y="348"/>
                    <a:pt x="452" y="348"/>
                  </a:cubicBezTo>
                  <a:cubicBezTo>
                    <a:pt x="453" y="346"/>
                    <a:pt x="452" y="343"/>
                    <a:pt x="455" y="343"/>
                  </a:cubicBezTo>
                  <a:cubicBezTo>
                    <a:pt x="453" y="352"/>
                    <a:pt x="461" y="345"/>
                    <a:pt x="463" y="345"/>
                  </a:cubicBezTo>
                  <a:cubicBezTo>
                    <a:pt x="465" y="345"/>
                    <a:pt x="466" y="349"/>
                    <a:pt x="469" y="350"/>
                  </a:cubicBezTo>
                  <a:cubicBezTo>
                    <a:pt x="469" y="350"/>
                    <a:pt x="471" y="345"/>
                    <a:pt x="474" y="347"/>
                  </a:cubicBezTo>
                  <a:cubicBezTo>
                    <a:pt x="475" y="351"/>
                    <a:pt x="481" y="349"/>
                    <a:pt x="485" y="349"/>
                  </a:cubicBezTo>
                  <a:cubicBezTo>
                    <a:pt x="485" y="345"/>
                    <a:pt x="487" y="341"/>
                    <a:pt x="490" y="340"/>
                  </a:cubicBezTo>
                  <a:cubicBezTo>
                    <a:pt x="491" y="343"/>
                    <a:pt x="490" y="349"/>
                    <a:pt x="493" y="349"/>
                  </a:cubicBezTo>
                  <a:cubicBezTo>
                    <a:pt x="494" y="345"/>
                    <a:pt x="503" y="348"/>
                    <a:pt x="504" y="344"/>
                  </a:cubicBezTo>
                  <a:cubicBezTo>
                    <a:pt x="506" y="341"/>
                    <a:pt x="501" y="332"/>
                    <a:pt x="507" y="332"/>
                  </a:cubicBezTo>
                  <a:cubicBezTo>
                    <a:pt x="506" y="340"/>
                    <a:pt x="512" y="341"/>
                    <a:pt x="510" y="349"/>
                  </a:cubicBezTo>
                  <a:cubicBezTo>
                    <a:pt x="515" y="350"/>
                    <a:pt x="515" y="346"/>
                    <a:pt x="518" y="344"/>
                  </a:cubicBezTo>
                  <a:cubicBezTo>
                    <a:pt x="518" y="356"/>
                    <a:pt x="541" y="354"/>
                    <a:pt x="551" y="351"/>
                  </a:cubicBezTo>
                  <a:cubicBezTo>
                    <a:pt x="552" y="346"/>
                    <a:pt x="547" y="345"/>
                    <a:pt x="551" y="343"/>
                  </a:cubicBezTo>
                  <a:cubicBezTo>
                    <a:pt x="555" y="344"/>
                    <a:pt x="553" y="349"/>
                    <a:pt x="554" y="353"/>
                  </a:cubicBezTo>
                  <a:cubicBezTo>
                    <a:pt x="563" y="352"/>
                    <a:pt x="578" y="356"/>
                    <a:pt x="578" y="348"/>
                  </a:cubicBezTo>
                  <a:cubicBezTo>
                    <a:pt x="576" y="347"/>
                    <a:pt x="573" y="348"/>
                    <a:pt x="573" y="345"/>
                  </a:cubicBezTo>
                  <a:cubicBezTo>
                    <a:pt x="575" y="346"/>
                    <a:pt x="577" y="345"/>
                    <a:pt x="578" y="345"/>
                  </a:cubicBezTo>
                  <a:cubicBezTo>
                    <a:pt x="582" y="346"/>
                    <a:pt x="579" y="348"/>
                    <a:pt x="581" y="350"/>
                  </a:cubicBezTo>
                  <a:cubicBezTo>
                    <a:pt x="583" y="351"/>
                    <a:pt x="587" y="349"/>
                    <a:pt x="587" y="352"/>
                  </a:cubicBezTo>
                  <a:cubicBezTo>
                    <a:pt x="601" y="349"/>
                    <a:pt x="614" y="358"/>
                    <a:pt x="622" y="352"/>
                  </a:cubicBezTo>
                  <a:cubicBezTo>
                    <a:pt x="619" y="351"/>
                    <a:pt x="616" y="348"/>
                    <a:pt x="620" y="347"/>
                  </a:cubicBezTo>
                  <a:cubicBezTo>
                    <a:pt x="623" y="348"/>
                    <a:pt x="625" y="350"/>
                    <a:pt x="625" y="354"/>
                  </a:cubicBezTo>
                  <a:cubicBezTo>
                    <a:pt x="630" y="356"/>
                    <a:pt x="634" y="351"/>
                    <a:pt x="636" y="351"/>
                  </a:cubicBezTo>
                  <a:cubicBezTo>
                    <a:pt x="636" y="351"/>
                    <a:pt x="638" y="356"/>
                    <a:pt x="639" y="356"/>
                  </a:cubicBezTo>
                  <a:cubicBezTo>
                    <a:pt x="641" y="357"/>
                    <a:pt x="645" y="356"/>
                    <a:pt x="647" y="356"/>
                  </a:cubicBezTo>
                  <a:cubicBezTo>
                    <a:pt x="649" y="356"/>
                    <a:pt x="649" y="358"/>
                    <a:pt x="650" y="358"/>
                  </a:cubicBezTo>
                  <a:cubicBezTo>
                    <a:pt x="656" y="359"/>
                    <a:pt x="655" y="355"/>
                    <a:pt x="658" y="358"/>
                  </a:cubicBezTo>
                  <a:cubicBezTo>
                    <a:pt x="659" y="359"/>
                    <a:pt x="663" y="358"/>
                    <a:pt x="664" y="358"/>
                  </a:cubicBezTo>
                  <a:cubicBezTo>
                    <a:pt x="673" y="359"/>
                    <a:pt x="674" y="359"/>
                    <a:pt x="680" y="360"/>
                  </a:cubicBezTo>
                  <a:cubicBezTo>
                    <a:pt x="690" y="350"/>
                    <a:pt x="712" y="364"/>
                    <a:pt x="721" y="355"/>
                  </a:cubicBezTo>
                  <a:cubicBezTo>
                    <a:pt x="720" y="356"/>
                    <a:pt x="716" y="350"/>
                    <a:pt x="721" y="350"/>
                  </a:cubicBezTo>
                  <a:cubicBezTo>
                    <a:pt x="724" y="355"/>
                    <a:pt x="726" y="361"/>
                    <a:pt x="738" y="359"/>
                  </a:cubicBezTo>
                  <a:cubicBezTo>
                    <a:pt x="741" y="353"/>
                    <a:pt x="727" y="352"/>
                    <a:pt x="735" y="350"/>
                  </a:cubicBezTo>
                  <a:cubicBezTo>
                    <a:pt x="740" y="350"/>
                    <a:pt x="741" y="354"/>
                    <a:pt x="740" y="359"/>
                  </a:cubicBezTo>
                  <a:cubicBezTo>
                    <a:pt x="750" y="362"/>
                    <a:pt x="742" y="351"/>
                    <a:pt x="749" y="352"/>
                  </a:cubicBezTo>
                  <a:cubicBezTo>
                    <a:pt x="749" y="356"/>
                    <a:pt x="756" y="355"/>
                    <a:pt x="754" y="361"/>
                  </a:cubicBezTo>
                  <a:cubicBezTo>
                    <a:pt x="785" y="357"/>
                    <a:pt x="804" y="370"/>
                    <a:pt x="820" y="360"/>
                  </a:cubicBezTo>
                  <a:cubicBezTo>
                    <a:pt x="821" y="363"/>
                    <a:pt x="826" y="363"/>
                    <a:pt x="828" y="364"/>
                  </a:cubicBezTo>
                  <a:cubicBezTo>
                    <a:pt x="833" y="360"/>
                    <a:pt x="828" y="362"/>
                    <a:pt x="828" y="355"/>
                  </a:cubicBezTo>
                  <a:cubicBezTo>
                    <a:pt x="837" y="363"/>
                    <a:pt x="829" y="348"/>
                    <a:pt x="839" y="350"/>
                  </a:cubicBezTo>
                  <a:cubicBezTo>
                    <a:pt x="838" y="356"/>
                    <a:pt x="834" y="360"/>
                    <a:pt x="839" y="364"/>
                  </a:cubicBezTo>
                  <a:cubicBezTo>
                    <a:pt x="851" y="363"/>
                    <a:pt x="864" y="362"/>
                    <a:pt x="875" y="364"/>
                  </a:cubicBezTo>
                  <a:cubicBezTo>
                    <a:pt x="873" y="357"/>
                    <a:pt x="881" y="359"/>
                    <a:pt x="883" y="356"/>
                  </a:cubicBezTo>
                  <a:cubicBezTo>
                    <a:pt x="884" y="362"/>
                    <a:pt x="887" y="366"/>
                    <a:pt x="894" y="366"/>
                  </a:cubicBezTo>
                  <a:cubicBezTo>
                    <a:pt x="894" y="365"/>
                    <a:pt x="895" y="360"/>
                    <a:pt x="897" y="361"/>
                  </a:cubicBezTo>
                  <a:cubicBezTo>
                    <a:pt x="898" y="361"/>
                    <a:pt x="896" y="365"/>
                    <a:pt x="897" y="366"/>
                  </a:cubicBezTo>
                  <a:cubicBezTo>
                    <a:pt x="900" y="367"/>
                    <a:pt x="905" y="364"/>
                    <a:pt x="908" y="365"/>
                  </a:cubicBezTo>
                  <a:cubicBezTo>
                    <a:pt x="908" y="366"/>
                    <a:pt x="908" y="368"/>
                    <a:pt x="908" y="368"/>
                  </a:cubicBezTo>
                  <a:cubicBezTo>
                    <a:pt x="915" y="368"/>
                    <a:pt x="927" y="366"/>
                    <a:pt x="935" y="367"/>
                  </a:cubicBezTo>
                  <a:cubicBezTo>
                    <a:pt x="939" y="368"/>
                    <a:pt x="939" y="370"/>
                    <a:pt x="941" y="367"/>
                  </a:cubicBezTo>
                  <a:cubicBezTo>
                    <a:pt x="943" y="365"/>
                    <a:pt x="958" y="367"/>
                    <a:pt x="960" y="367"/>
                  </a:cubicBezTo>
                  <a:cubicBezTo>
                    <a:pt x="964" y="366"/>
                    <a:pt x="963" y="364"/>
                    <a:pt x="966" y="367"/>
                  </a:cubicBezTo>
                  <a:cubicBezTo>
                    <a:pt x="968" y="370"/>
                    <a:pt x="980" y="364"/>
                    <a:pt x="982" y="367"/>
                  </a:cubicBezTo>
                  <a:cubicBezTo>
                    <a:pt x="986" y="361"/>
                    <a:pt x="975" y="358"/>
                    <a:pt x="982" y="357"/>
                  </a:cubicBezTo>
                  <a:cubicBezTo>
                    <a:pt x="988" y="362"/>
                    <a:pt x="987" y="365"/>
                    <a:pt x="990" y="366"/>
                  </a:cubicBezTo>
                  <a:cubicBezTo>
                    <a:pt x="988" y="365"/>
                    <a:pt x="995" y="358"/>
                    <a:pt x="993" y="366"/>
                  </a:cubicBezTo>
                  <a:cubicBezTo>
                    <a:pt x="1002" y="368"/>
                    <a:pt x="1002" y="363"/>
                    <a:pt x="1007" y="361"/>
                  </a:cubicBezTo>
                  <a:cubicBezTo>
                    <a:pt x="1006" y="361"/>
                    <a:pt x="1009" y="364"/>
                    <a:pt x="1011" y="362"/>
                  </a:cubicBezTo>
                  <a:cubicBezTo>
                    <a:pt x="1008" y="367"/>
                    <a:pt x="1012" y="366"/>
                    <a:pt x="1018" y="366"/>
                  </a:cubicBezTo>
                  <a:cubicBezTo>
                    <a:pt x="1020" y="366"/>
                    <a:pt x="1020" y="368"/>
                    <a:pt x="1020" y="368"/>
                  </a:cubicBezTo>
                  <a:cubicBezTo>
                    <a:pt x="1028" y="369"/>
                    <a:pt x="1040" y="368"/>
                    <a:pt x="1042" y="365"/>
                  </a:cubicBezTo>
                  <a:cubicBezTo>
                    <a:pt x="1042" y="368"/>
                    <a:pt x="1044" y="367"/>
                    <a:pt x="1045" y="368"/>
                  </a:cubicBezTo>
                  <a:cubicBezTo>
                    <a:pt x="1045" y="368"/>
                    <a:pt x="1049" y="370"/>
                    <a:pt x="1048" y="370"/>
                  </a:cubicBezTo>
                  <a:cubicBezTo>
                    <a:pt x="1058" y="372"/>
                    <a:pt x="1076" y="367"/>
                    <a:pt x="1078" y="367"/>
                  </a:cubicBezTo>
                  <a:cubicBezTo>
                    <a:pt x="1081" y="367"/>
                    <a:pt x="1082" y="369"/>
                    <a:pt x="1086" y="369"/>
                  </a:cubicBezTo>
                  <a:cubicBezTo>
                    <a:pt x="1087" y="369"/>
                    <a:pt x="1086" y="367"/>
                    <a:pt x="1089" y="367"/>
                  </a:cubicBezTo>
                  <a:cubicBezTo>
                    <a:pt x="1090" y="367"/>
                    <a:pt x="1089" y="370"/>
                    <a:pt x="1092" y="369"/>
                  </a:cubicBezTo>
                  <a:cubicBezTo>
                    <a:pt x="1091" y="369"/>
                    <a:pt x="1094" y="367"/>
                    <a:pt x="1095" y="367"/>
                  </a:cubicBezTo>
                  <a:cubicBezTo>
                    <a:pt x="1097" y="366"/>
                    <a:pt x="1099" y="365"/>
                    <a:pt x="1100" y="362"/>
                  </a:cubicBezTo>
                  <a:cubicBezTo>
                    <a:pt x="1097" y="362"/>
                    <a:pt x="1096" y="360"/>
                    <a:pt x="1094" y="357"/>
                  </a:cubicBezTo>
                  <a:cubicBezTo>
                    <a:pt x="1098" y="357"/>
                    <a:pt x="1100" y="356"/>
                    <a:pt x="1103" y="355"/>
                  </a:cubicBezTo>
                  <a:cubicBezTo>
                    <a:pt x="1105" y="362"/>
                    <a:pt x="1105" y="359"/>
                    <a:pt x="1103" y="367"/>
                  </a:cubicBezTo>
                  <a:cubicBezTo>
                    <a:pt x="1112" y="371"/>
                    <a:pt x="1115" y="365"/>
                    <a:pt x="1127" y="366"/>
                  </a:cubicBezTo>
                  <a:cubicBezTo>
                    <a:pt x="1131" y="365"/>
                    <a:pt x="1128" y="357"/>
                    <a:pt x="1133" y="357"/>
                  </a:cubicBezTo>
                  <a:cubicBezTo>
                    <a:pt x="1132" y="364"/>
                    <a:pt x="1133" y="370"/>
                    <a:pt x="1141" y="368"/>
                  </a:cubicBezTo>
                  <a:cubicBezTo>
                    <a:pt x="1143" y="364"/>
                    <a:pt x="1133" y="359"/>
                    <a:pt x="1141" y="357"/>
                  </a:cubicBezTo>
                  <a:cubicBezTo>
                    <a:pt x="1145" y="359"/>
                    <a:pt x="1144" y="366"/>
                    <a:pt x="1152" y="366"/>
                  </a:cubicBezTo>
                  <a:cubicBezTo>
                    <a:pt x="1152" y="363"/>
                    <a:pt x="1153" y="360"/>
                    <a:pt x="1158" y="361"/>
                  </a:cubicBezTo>
                  <a:cubicBezTo>
                    <a:pt x="1158" y="357"/>
                    <a:pt x="1157" y="353"/>
                    <a:pt x="1163" y="354"/>
                  </a:cubicBezTo>
                  <a:cubicBezTo>
                    <a:pt x="1167" y="363"/>
                    <a:pt x="1155" y="359"/>
                    <a:pt x="1158" y="366"/>
                  </a:cubicBezTo>
                  <a:cubicBezTo>
                    <a:pt x="1172" y="369"/>
                    <a:pt x="1165" y="355"/>
                    <a:pt x="1174" y="354"/>
                  </a:cubicBezTo>
                  <a:cubicBezTo>
                    <a:pt x="1182" y="360"/>
                    <a:pt x="1176" y="360"/>
                    <a:pt x="1174" y="368"/>
                  </a:cubicBezTo>
                  <a:cubicBezTo>
                    <a:pt x="1185" y="370"/>
                    <a:pt x="1191" y="370"/>
                    <a:pt x="1199" y="365"/>
                  </a:cubicBezTo>
                  <a:cubicBezTo>
                    <a:pt x="1202" y="369"/>
                    <a:pt x="1216" y="362"/>
                    <a:pt x="1221" y="367"/>
                  </a:cubicBezTo>
                  <a:cubicBezTo>
                    <a:pt x="1221" y="365"/>
                    <a:pt x="1221" y="362"/>
                    <a:pt x="1223" y="362"/>
                  </a:cubicBezTo>
                  <a:cubicBezTo>
                    <a:pt x="1223" y="364"/>
                    <a:pt x="1223" y="365"/>
                    <a:pt x="1223" y="367"/>
                  </a:cubicBezTo>
                  <a:cubicBezTo>
                    <a:pt x="1233" y="362"/>
                    <a:pt x="1233" y="372"/>
                    <a:pt x="1240" y="367"/>
                  </a:cubicBezTo>
                  <a:cubicBezTo>
                    <a:pt x="1240" y="363"/>
                    <a:pt x="1239" y="359"/>
                    <a:pt x="1237" y="357"/>
                  </a:cubicBezTo>
                  <a:cubicBezTo>
                    <a:pt x="1242" y="358"/>
                    <a:pt x="1243" y="355"/>
                    <a:pt x="1248" y="355"/>
                  </a:cubicBezTo>
                  <a:cubicBezTo>
                    <a:pt x="1247" y="358"/>
                    <a:pt x="1244" y="359"/>
                    <a:pt x="1243" y="362"/>
                  </a:cubicBezTo>
                  <a:cubicBezTo>
                    <a:pt x="1252" y="364"/>
                    <a:pt x="1246" y="352"/>
                    <a:pt x="1256" y="355"/>
                  </a:cubicBezTo>
                  <a:cubicBezTo>
                    <a:pt x="1255" y="359"/>
                    <a:pt x="1250" y="361"/>
                    <a:pt x="1251" y="367"/>
                  </a:cubicBezTo>
                  <a:cubicBezTo>
                    <a:pt x="1261" y="366"/>
                    <a:pt x="1261" y="363"/>
                    <a:pt x="1270" y="366"/>
                  </a:cubicBezTo>
                  <a:cubicBezTo>
                    <a:pt x="1284" y="364"/>
                    <a:pt x="1292" y="371"/>
                    <a:pt x="1298" y="363"/>
                  </a:cubicBezTo>
                  <a:cubicBezTo>
                    <a:pt x="1302" y="371"/>
                    <a:pt x="1312" y="359"/>
                    <a:pt x="1317" y="365"/>
                  </a:cubicBezTo>
                  <a:cubicBezTo>
                    <a:pt x="1315" y="360"/>
                    <a:pt x="1314" y="356"/>
                    <a:pt x="1319" y="351"/>
                  </a:cubicBezTo>
                  <a:cubicBezTo>
                    <a:pt x="1324" y="356"/>
                    <a:pt x="1318" y="356"/>
                    <a:pt x="1319" y="363"/>
                  </a:cubicBezTo>
                  <a:cubicBezTo>
                    <a:pt x="1328" y="365"/>
                    <a:pt x="1324" y="358"/>
                    <a:pt x="1325" y="353"/>
                  </a:cubicBezTo>
                  <a:cubicBezTo>
                    <a:pt x="1329" y="353"/>
                    <a:pt x="1336" y="345"/>
                    <a:pt x="1338" y="351"/>
                  </a:cubicBezTo>
                  <a:cubicBezTo>
                    <a:pt x="1334" y="351"/>
                    <a:pt x="1331" y="353"/>
                    <a:pt x="1330" y="356"/>
                  </a:cubicBezTo>
                  <a:cubicBezTo>
                    <a:pt x="1340" y="356"/>
                    <a:pt x="1325" y="364"/>
                    <a:pt x="1333" y="363"/>
                  </a:cubicBezTo>
                  <a:cubicBezTo>
                    <a:pt x="1337" y="358"/>
                    <a:pt x="1343" y="365"/>
                    <a:pt x="1350" y="360"/>
                  </a:cubicBezTo>
                  <a:cubicBezTo>
                    <a:pt x="1353" y="365"/>
                    <a:pt x="1369" y="361"/>
                    <a:pt x="1377" y="362"/>
                  </a:cubicBezTo>
                  <a:cubicBezTo>
                    <a:pt x="1378" y="358"/>
                    <a:pt x="1374" y="348"/>
                    <a:pt x="1379" y="348"/>
                  </a:cubicBezTo>
                  <a:cubicBezTo>
                    <a:pt x="1389" y="350"/>
                    <a:pt x="1381" y="352"/>
                    <a:pt x="1382" y="360"/>
                  </a:cubicBezTo>
                  <a:cubicBezTo>
                    <a:pt x="1388" y="358"/>
                    <a:pt x="1401" y="362"/>
                    <a:pt x="1402" y="357"/>
                  </a:cubicBezTo>
                  <a:cubicBezTo>
                    <a:pt x="1399" y="356"/>
                    <a:pt x="1395" y="353"/>
                    <a:pt x="1399" y="352"/>
                  </a:cubicBezTo>
                  <a:cubicBezTo>
                    <a:pt x="1401" y="355"/>
                    <a:pt x="1409" y="353"/>
                    <a:pt x="1407" y="359"/>
                  </a:cubicBezTo>
                  <a:cubicBezTo>
                    <a:pt x="1418" y="359"/>
                    <a:pt x="1409" y="352"/>
                    <a:pt x="1415" y="357"/>
                  </a:cubicBezTo>
                  <a:cubicBezTo>
                    <a:pt x="1421" y="361"/>
                    <a:pt x="1422" y="357"/>
                    <a:pt x="1426" y="356"/>
                  </a:cubicBezTo>
                  <a:cubicBezTo>
                    <a:pt x="1438" y="354"/>
                    <a:pt x="1439" y="354"/>
                    <a:pt x="1446" y="358"/>
                  </a:cubicBezTo>
                  <a:cubicBezTo>
                    <a:pt x="1446" y="355"/>
                    <a:pt x="1445" y="350"/>
                    <a:pt x="1451" y="351"/>
                  </a:cubicBezTo>
                  <a:cubicBezTo>
                    <a:pt x="1451" y="347"/>
                    <a:pt x="1448" y="346"/>
                    <a:pt x="1448" y="342"/>
                  </a:cubicBezTo>
                  <a:cubicBezTo>
                    <a:pt x="1451" y="342"/>
                    <a:pt x="1454" y="342"/>
                    <a:pt x="1456" y="342"/>
                  </a:cubicBezTo>
                  <a:cubicBezTo>
                    <a:pt x="1457" y="346"/>
                    <a:pt x="1453" y="347"/>
                    <a:pt x="1454" y="351"/>
                  </a:cubicBezTo>
                  <a:cubicBezTo>
                    <a:pt x="1460" y="350"/>
                    <a:pt x="1464" y="352"/>
                    <a:pt x="1465" y="356"/>
                  </a:cubicBezTo>
                  <a:cubicBezTo>
                    <a:pt x="1473" y="356"/>
                    <a:pt x="1481" y="355"/>
                    <a:pt x="1489" y="355"/>
                  </a:cubicBezTo>
                  <a:cubicBezTo>
                    <a:pt x="1492" y="353"/>
                    <a:pt x="1494" y="347"/>
                    <a:pt x="1497" y="346"/>
                  </a:cubicBezTo>
                  <a:cubicBezTo>
                    <a:pt x="1502" y="345"/>
                    <a:pt x="1504" y="349"/>
                    <a:pt x="1508" y="348"/>
                  </a:cubicBezTo>
                  <a:cubicBezTo>
                    <a:pt x="1508" y="343"/>
                    <a:pt x="1509" y="339"/>
                    <a:pt x="1514" y="338"/>
                  </a:cubicBezTo>
                  <a:cubicBezTo>
                    <a:pt x="1515" y="346"/>
                    <a:pt x="1508" y="348"/>
                    <a:pt x="1514" y="352"/>
                  </a:cubicBezTo>
                  <a:cubicBezTo>
                    <a:pt x="1526" y="355"/>
                    <a:pt x="1523" y="344"/>
                    <a:pt x="1533" y="345"/>
                  </a:cubicBezTo>
                  <a:cubicBezTo>
                    <a:pt x="1534" y="347"/>
                    <a:pt x="1533" y="350"/>
                    <a:pt x="1536" y="350"/>
                  </a:cubicBezTo>
                  <a:cubicBezTo>
                    <a:pt x="1539" y="350"/>
                    <a:pt x="1540" y="353"/>
                    <a:pt x="1541" y="350"/>
                  </a:cubicBezTo>
                  <a:cubicBezTo>
                    <a:pt x="1537" y="349"/>
                    <a:pt x="1543" y="344"/>
                    <a:pt x="1541" y="340"/>
                  </a:cubicBezTo>
                  <a:cubicBezTo>
                    <a:pt x="1541" y="339"/>
                    <a:pt x="1533" y="341"/>
                    <a:pt x="1536" y="336"/>
                  </a:cubicBezTo>
                  <a:cubicBezTo>
                    <a:pt x="1540" y="336"/>
                    <a:pt x="1545" y="336"/>
                    <a:pt x="1549" y="335"/>
                  </a:cubicBezTo>
                  <a:cubicBezTo>
                    <a:pt x="1553" y="343"/>
                    <a:pt x="1552" y="345"/>
                    <a:pt x="1547" y="350"/>
                  </a:cubicBezTo>
                  <a:cubicBezTo>
                    <a:pt x="1555" y="349"/>
                    <a:pt x="1563" y="349"/>
                    <a:pt x="1572" y="349"/>
                  </a:cubicBezTo>
                  <a:cubicBezTo>
                    <a:pt x="1573" y="346"/>
                    <a:pt x="1574" y="344"/>
                    <a:pt x="1577" y="342"/>
                  </a:cubicBezTo>
                  <a:cubicBezTo>
                    <a:pt x="1579" y="353"/>
                    <a:pt x="1592" y="340"/>
                    <a:pt x="1599" y="346"/>
                  </a:cubicBezTo>
                  <a:cubicBezTo>
                    <a:pt x="1600" y="345"/>
                    <a:pt x="1599" y="342"/>
                    <a:pt x="1602" y="342"/>
                  </a:cubicBezTo>
                  <a:cubicBezTo>
                    <a:pt x="1604" y="345"/>
                    <a:pt x="1609" y="340"/>
                    <a:pt x="1615" y="344"/>
                  </a:cubicBezTo>
                  <a:cubicBezTo>
                    <a:pt x="1619" y="338"/>
                    <a:pt x="1617" y="328"/>
                    <a:pt x="1626" y="327"/>
                  </a:cubicBezTo>
                  <a:cubicBezTo>
                    <a:pt x="1629" y="330"/>
                    <a:pt x="1629" y="336"/>
                    <a:pt x="1632" y="339"/>
                  </a:cubicBezTo>
                  <a:cubicBezTo>
                    <a:pt x="1628" y="339"/>
                    <a:pt x="1623" y="329"/>
                    <a:pt x="1624" y="339"/>
                  </a:cubicBezTo>
                  <a:cubicBezTo>
                    <a:pt x="1627" y="342"/>
                    <a:pt x="1633" y="343"/>
                    <a:pt x="1640" y="343"/>
                  </a:cubicBezTo>
                  <a:cubicBezTo>
                    <a:pt x="1640" y="340"/>
                    <a:pt x="1639" y="335"/>
                    <a:pt x="1643" y="334"/>
                  </a:cubicBezTo>
                  <a:cubicBezTo>
                    <a:pt x="1642" y="340"/>
                    <a:pt x="1647" y="341"/>
                    <a:pt x="1651" y="343"/>
                  </a:cubicBezTo>
                  <a:cubicBezTo>
                    <a:pt x="1651" y="340"/>
                    <a:pt x="1656" y="341"/>
                    <a:pt x="1656" y="338"/>
                  </a:cubicBezTo>
                  <a:cubicBezTo>
                    <a:pt x="1655" y="338"/>
                    <a:pt x="1653" y="336"/>
                    <a:pt x="1656" y="336"/>
                  </a:cubicBezTo>
                  <a:cubicBezTo>
                    <a:pt x="1662" y="335"/>
                    <a:pt x="1663" y="338"/>
                    <a:pt x="1667" y="338"/>
                  </a:cubicBezTo>
                  <a:cubicBezTo>
                    <a:pt x="1667" y="338"/>
                    <a:pt x="1669" y="334"/>
                    <a:pt x="1670" y="333"/>
                  </a:cubicBezTo>
                  <a:cubicBezTo>
                    <a:pt x="1670" y="333"/>
                    <a:pt x="1678" y="338"/>
                    <a:pt x="1681" y="336"/>
                  </a:cubicBezTo>
                  <a:cubicBezTo>
                    <a:pt x="1682" y="330"/>
                    <a:pt x="1676" y="330"/>
                    <a:pt x="1678" y="324"/>
                  </a:cubicBezTo>
                  <a:cubicBezTo>
                    <a:pt x="1682" y="323"/>
                    <a:pt x="1683" y="320"/>
                    <a:pt x="1686" y="319"/>
                  </a:cubicBezTo>
                  <a:cubicBezTo>
                    <a:pt x="1686" y="322"/>
                    <a:pt x="1691" y="321"/>
                    <a:pt x="1692" y="324"/>
                  </a:cubicBezTo>
                  <a:cubicBezTo>
                    <a:pt x="1681" y="324"/>
                    <a:pt x="1694" y="328"/>
                    <a:pt x="1695" y="331"/>
                  </a:cubicBezTo>
                  <a:cubicBezTo>
                    <a:pt x="1695" y="330"/>
                    <a:pt x="1687" y="343"/>
                    <a:pt x="1695" y="340"/>
                  </a:cubicBezTo>
                  <a:cubicBezTo>
                    <a:pt x="1694" y="335"/>
                    <a:pt x="1705" y="339"/>
                    <a:pt x="1709" y="337"/>
                  </a:cubicBezTo>
                  <a:cubicBezTo>
                    <a:pt x="1709" y="335"/>
                    <a:pt x="1712" y="334"/>
                    <a:pt x="1714" y="333"/>
                  </a:cubicBezTo>
                  <a:cubicBezTo>
                    <a:pt x="1714" y="335"/>
                    <a:pt x="1715" y="338"/>
                    <a:pt x="1720" y="337"/>
                  </a:cubicBezTo>
                  <a:cubicBezTo>
                    <a:pt x="1716" y="330"/>
                    <a:pt x="1728" y="335"/>
                    <a:pt x="1725" y="328"/>
                  </a:cubicBezTo>
                  <a:cubicBezTo>
                    <a:pt x="1721" y="327"/>
                    <a:pt x="1715" y="329"/>
                    <a:pt x="1714" y="326"/>
                  </a:cubicBezTo>
                  <a:cubicBezTo>
                    <a:pt x="1717" y="322"/>
                    <a:pt x="1718" y="318"/>
                    <a:pt x="1722" y="316"/>
                  </a:cubicBezTo>
                  <a:cubicBezTo>
                    <a:pt x="1718" y="324"/>
                    <a:pt x="1731" y="317"/>
                    <a:pt x="1730" y="323"/>
                  </a:cubicBezTo>
                  <a:cubicBezTo>
                    <a:pt x="1727" y="323"/>
                    <a:pt x="1727" y="329"/>
                    <a:pt x="1730" y="330"/>
                  </a:cubicBezTo>
                  <a:cubicBezTo>
                    <a:pt x="1734" y="325"/>
                    <a:pt x="1735" y="318"/>
                    <a:pt x="1744" y="318"/>
                  </a:cubicBezTo>
                  <a:cubicBezTo>
                    <a:pt x="1741" y="323"/>
                    <a:pt x="1735" y="326"/>
                    <a:pt x="1733" y="332"/>
                  </a:cubicBezTo>
                  <a:cubicBezTo>
                    <a:pt x="1748" y="334"/>
                    <a:pt x="1742" y="318"/>
                    <a:pt x="1760" y="322"/>
                  </a:cubicBezTo>
                  <a:cubicBezTo>
                    <a:pt x="1767" y="320"/>
                    <a:pt x="1754" y="312"/>
                    <a:pt x="1763" y="308"/>
                  </a:cubicBezTo>
                  <a:cubicBezTo>
                    <a:pt x="1759" y="319"/>
                    <a:pt x="1769" y="319"/>
                    <a:pt x="1774" y="322"/>
                  </a:cubicBezTo>
                  <a:cubicBezTo>
                    <a:pt x="1773" y="327"/>
                    <a:pt x="1760" y="323"/>
                    <a:pt x="1763" y="332"/>
                  </a:cubicBezTo>
                  <a:cubicBezTo>
                    <a:pt x="1770" y="333"/>
                    <a:pt x="1769" y="327"/>
                    <a:pt x="1777" y="329"/>
                  </a:cubicBezTo>
                  <a:cubicBezTo>
                    <a:pt x="1776" y="324"/>
                    <a:pt x="1779" y="322"/>
                    <a:pt x="1785" y="322"/>
                  </a:cubicBezTo>
                  <a:cubicBezTo>
                    <a:pt x="1783" y="330"/>
                    <a:pt x="1790" y="330"/>
                    <a:pt x="1796" y="331"/>
                  </a:cubicBezTo>
                  <a:cubicBezTo>
                    <a:pt x="1793" y="321"/>
                    <a:pt x="1802" y="324"/>
                    <a:pt x="1807" y="322"/>
                  </a:cubicBezTo>
                  <a:cubicBezTo>
                    <a:pt x="1809" y="320"/>
                    <a:pt x="1810" y="315"/>
                    <a:pt x="1815" y="317"/>
                  </a:cubicBezTo>
                  <a:cubicBezTo>
                    <a:pt x="1818" y="323"/>
                    <a:pt x="1811" y="323"/>
                    <a:pt x="1813" y="329"/>
                  </a:cubicBezTo>
                  <a:cubicBezTo>
                    <a:pt x="1818" y="329"/>
                    <a:pt x="1817" y="327"/>
                    <a:pt x="1818" y="324"/>
                  </a:cubicBezTo>
                  <a:cubicBezTo>
                    <a:pt x="1818" y="323"/>
                    <a:pt x="1821" y="324"/>
                    <a:pt x="1821" y="324"/>
                  </a:cubicBezTo>
                  <a:cubicBezTo>
                    <a:pt x="1822" y="321"/>
                    <a:pt x="1820" y="317"/>
                    <a:pt x="1821" y="314"/>
                  </a:cubicBezTo>
                  <a:cubicBezTo>
                    <a:pt x="1822" y="303"/>
                    <a:pt x="1828" y="308"/>
                    <a:pt x="1823" y="314"/>
                  </a:cubicBezTo>
                  <a:cubicBezTo>
                    <a:pt x="1834" y="316"/>
                    <a:pt x="1825" y="302"/>
                    <a:pt x="1837" y="305"/>
                  </a:cubicBezTo>
                  <a:cubicBezTo>
                    <a:pt x="1834" y="311"/>
                    <a:pt x="1833" y="322"/>
                    <a:pt x="1843" y="323"/>
                  </a:cubicBezTo>
                  <a:cubicBezTo>
                    <a:pt x="1849" y="318"/>
                    <a:pt x="1839" y="319"/>
                    <a:pt x="1840" y="312"/>
                  </a:cubicBezTo>
                  <a:cubicBezTo>
                    <a:pt x="1843" y="312"/>
                    <a:pt x="1844" y="315"/>
                    <a:pt x="1848" y="314"/>
                  </a:cubicBezTo>
                  <a:cubicBezTo>
                    <a:pt x="1853" y="308"/>
                    <a:pt x="1844" y="304"/>
                    <a:pt x="1851" y="300"/>
                  </a:cubicBezTo>
                  <a:cubicBezTo>
                    <a:pt x="1858" y="309"/>
                    <a:pt x="1841" y="322"/>
                    <a:pt x="1854" y="328"/>
                  </a:cubicBezTo>
                  <a:cubicBezTo>
                    <a:pt x="1853" y="321"/>
                    <a:pt x="1854" y="316"/>
                    <a:pt x="1859" y="314"/>
                  </a:cubicBezTo>
                  <a:cubicBezTo>
                    <a:pt x="1868" y="315"/>
                    <a:pt x="1866" y="307"/>
                    <a:pt x="1873" y="306"/>
                  </a:cubicBezTo>
                  <a:cubicBezTo>
                    <a:pt x="1875" y="314"/>
                    <a:pt x="1870" y="316"/>
                    <a:pt x="1867" y="320"/>
                  </a:cubicBezTo>
                  <a:cubicBezTo>
                    <a:pt x="1878" y="323"/>
                    <a:pt x="1872" y="312"/>
                    <a:pt x="1881" y="313"/>
                  </a:cubicBezTo>
                  <a:cubicBezTo>
                    <a:pt x="1881" y="316"/>
                    <a:pt x="1878" y="317"/>
                    <a:pt x="1878" y="320"/>
                  </a:cubicBezTo>
                  <a:cubicBezTo>
                    <a:pt x="1884" y="321"/>
                    <a:pt x="1884" y="317"/>
                    <a:pt x="1886" y="315"/>
                  </a:cubicBezTo>
                  <a:cubicBezTo>
                    <a:pt x="1891" y="316"/>
                    <a:pt x="1889" y="321"/>
                    <a:pt x="1895" y="320"/>
                  </a:cubicBezTo>
                  <a:cubicBezTo>
                    <a:pt x="1897" y="315"/>
                    <a:pt x="1895" y="308"/>
                    <a:pt x="1903" y="303"/>
                  </a:cubicBezTo>
                  <a:cubicBezTo>
                    <a:pt x="1903" y="307"/>
                    <a:pt x="1904" y="309"/>
                    <a:pt x="1906" y="310"/>
                  </a:cubicBezTo>
                  <a:cubicBezTo>
                    <a:pt x="1895" y="307"/>
                    <a:pt x="1905" y="325"/>
                    <a:pt x="1906" y="325"/>
                  </a:cubicBezTo>
                  <a:cubicBezTo>
                    <a:pt x="1909" y="319"/>
                    <a:pt x="1905" y="320"/>
                    <a:pt x="1908" y="313"/>
                  </a:cubicBezTo>
                  <a:cubicBezTo>
                    <a:pt x="1919" y="315"/>
                    <a:pt x="1916" y="307"/>
                    <a:pt x="1925" y="308"/>
                  </a:cubicBezTo>
                  <a:cubicBezTo>
                    <a:pt x="1929" y="309"/>
                    <a:pt x="1925" y="317"/>
                    <a:pt x="1930" y="317"/>
                  </a:cubicBezTo>
                  <a:cubicBezTo>
                    <a:pt x="1936" y="311"/>
                    <a:pt x="1927" y="306"/>
                    <a:pt x="1933" y="303"/>
                  </a:cubicBezTo>
                  <a:cubicBezTo>
                    <a:pt x="1937" y="303"/>
                    <a:pt x="1935" y="309"/>
                    <a:pt x="1939" y="310"/>
                  </a:cubicBezTo>
                  <a:cubicBezTo>
                    <a:pt x="1939" y="308"/>
                    <a:pt x="1941" y="307"/>
                    <a:pt x="1944" y="307"/>
                  </a:cubicBezTo>
                  <a:cubicBezTo>
                    <a:pt x="1948" y="307"/>
                    <a:pt x="1955" y="298"/>
                    <a:pt x="1949" y="298"/>
                  </a:cubicBezTo>
                  <a:cubicBezTo>
                    <a:pt x="1950" y="303"/>
                    <a:pt x="1941" y="298"/>
                    <a:pt x="1941" y="296"/>
                  </a:cubicBezTo>
                  <a:cubicBezTo>
                    <a:pt x="1952" y="300"/>
                    <a:pt x="1950" y="292"/>
                    <a:pt x="1955" y="295"/>
                  </a:cubicBezTo>
                  <a:cubicBezTo>
                    <a:pt x="1957" y="297"/>
                    <a:pt x="1963" y="294"/>
                    <a:pt x="1966" y="295"/>
                  </a:cubicBezTo>
                  <a:cubicBezTo>
                    <a:pt x="1966" y="293"/>
                    <a:pt x="1966" y="291"/>
                    <a:pt x="1968" y="291"/>
                  </a:cubicBezTo>
                  <a:cubicBezTo>
                    <a:pt x="1968" y="295"/>
                    <a:pt x="1972" y="295"/>
                    <a:pt x="1974" y="297"/>
                  </a:cubicBezTo>
                  <a:cubicBezTo>
                    <a:pt x="1975" y="302"/>
                    <a:pt x="1971" y="303"/>
                    <a:pt x="1971" y="307"/>
                  </a:cubicBezTo>
                  <a:cubicBezTo>
                    <a:pt x="1978" y="311"/>
                    <a:pt x="1992" y="309"/>
                    <a:pt x="1999" y="306"/>
                  </a:cubicBezTo>
                  <a:cubicBezTo>
                    <a:pt x="1999" y="304"/>
                    <a:pt x="1998" y="300"/>
                    <a:pt x="2001" y="299"/>
                  </a:cubicBezTo>
                  <a:cubicBezTo>
                    <a:pt x="2004" y="301"/>
                    <a:pt x="2011" y="310"/>
                    <a:pt x="2013" y="304"/>
                  </a:cubicBezTo>
                  <a:cubicBezTo>
                    <a:pt x="2011" y="304"/>
                    <a:pt x="2009" y="302"/>
                    <a:pt x="2012" y="301"/>
                  </a:cubicBezTo>
                  <a:cubicBezTo>
                    <a:pt x="2013" y="298"/>
                    <a:pt x="2011" y="296"/>
                    <a:pt x="2010" y="295"/>
                  </a:cubicBezTo>
                  <a:cubicBezTo>
                    <a:pt x="2017" y="296"/>
                    <a:pt x="2017" y="291"/>
                    <a:pt x="2023" y="292"/>
                  </a:cubicBezTo>
                  <a:cubicBezTo>
                    <a:pt x="2024" y="298"/>
                    <a:pt x="2019" y="297"/>
                    <a:pt x="2023" y="301"/>
                  </a:cubicBezTo>
                  <a:cubicBezTo>
                    <a:pt x="2021" y="301"/>
                    <a:pt x="2020" y="305"/>
                    <a:pt x="2024" y="306"/>
                  </a:cubicBezTo>
                  <a:cubicBezTo>
                    <a:pt x="2025" y="297"/>
                    <a:pt x="2032" y="305"/>
                    <a:pt x="2034" y="303"/>
                  </a:cubicBezTo>
                  <a:cubicBezTo>
                    <a:pt x="2036" y="303"/>
                    <a:pt x="2034" y="298"/>
                    <a:pt x="2037" y="299"/>
                  </a:cubicBezTo>
                  <a:cubicBezTo>
                    <a:pt x="2037" y="303"/>
                    <a:pt x="2045" y="300"/>
                    <a:pt x="2045" y="303"/>
                  </a:cubicBezTo>
                  <a:cubicBezTo>
                    <a:pt x="2038" y="300"/>
                    <a:pt x="2033" y="310"/>
                    <a:pt x="2040" y="310"/>
                  </a:cubicBezTo>
                  <a:cubicBezTo>
                    <a:pt x="2040" y="304"/>
                    <a:pt x="2048" y="306"/>
                    <a:pt x="2051" y="303"/>
                  </a:cubicBezTo>
                  <a:cubicBezTo>
                    <a:pt x="2053" y="301"/>
                    <a:pt x="2050" y="291"/>
                    <a:pt x="2059" y="294"/>
                  </a:cubicBezTo>
                  <a:cubicBezTo>
                    <a:pt x="2057" y="299"/>
                    <a:pt x="2051" y="301"/>
                    <a:pt x="2051" y="308"/>
                  </a:cubicBezTo>
                  <a:cubicBezTo>
                    <a:pt x="2061" y="307"/>
                    <a:pt x="2062" y="299"/>
                    <a:pt x="2073" y="298"/>
                  </a:cubicBezTo>
                  <a:cubicBezTo>
                    <a:pt x="2072" y="294"/>
                    <a:pt x="2064" y="279"/>
                    <a:pt x="2075" y="279"/>
                  </a:cubicBezTo>
                  <a:cubicBezTo>
                    <a:pt x="2072" y="288"/>
                    <a:pt x="2072" y="298"/>
                    <a:pt x="2084" y="303"/>
                  </a:cubicBezTo>
                  <a:cubicBezTo>
                    <a:pt x="2085" y="299"/>
                    <a:pt x="2080" y="297"/>
                    <a:pt x="2084" y="296"/>
                  </a:cubicBezTo>
                  <a:cubicBezTo>
                    <a:pt x="2090" y="299"/>
                    <a:pt x="2088" y="301"/>
                    <a:pt x="2087" y="307"/>
                  </a:cubicBezTo>
                  <a:cubicBezTo>
                    <a:pt x="2095" y="308"/>
                    <a:pt x="2096" y="298"/>
                    <a:pt x="2103" y="305"/>
                  </a:cubicBezTo>
                  <a:cubicBezTo>
                    <a:pt x="2102" y="295"/>
                    <a:pt x="2109" y="303"/>
                    <a:pt x="2114" y="302"/>
                  </a:cubicBezTo>
                  <a:cubicBezTo>
                    <a:pt x="2115" y="299"/>
                    <a:pt x="2118" y="298"/>
                    <a:pt x="2117" y="293"/>
                  </a:cubicBezTo>
                  <a:cubicBezTo>
                    <a:pt x="2122" y="293"/>
                    <a:pt x="2122" y="289"/>
                    <a:pt x="2125" y="288"/>
                  </a:cubicBezTo>
                  <a:cubicBezTo>
                    <a:pt x="2124" y="293"/>
                    <a:pt x="2119" y="301"/>
                    <a:pt x="2128" y="302"/>
                  </a:cubicBezTo>
                  <a:cubicBezTo>
                    <a:pt x="2128" y="300"/>
                    <a:pt x="2128" y="297"/>
                    <a:pt x="2130" y="297"/>
                  </a:cubicBezTo>
                  <a:cubicBezTo>
                    <a:pt x="2127" y="305"/>
                    <a:pt x="2139" y="299"/>
                    <a:pt x="2136" y="306"/>
                  </a:cubicBezTo>
                  <a:cubicBezTo>
                    <a:pt x="2135" y="306"/>
                    <a:pt x="2133" y="308"/>
                    <a:pt x="2136" y="309"/>
                  </a:cubicBezTo>
                  <a:cubicBezTo>
                    <a:pt x="2137" y="306"/>
                    <a:pt x="2140" y="304"/>
                    <a:pt x="2139" y="299"/>
                  </a:cubicBezTo>
                  <a:cubicBezTo>
                    <a:pt x="2146" y="298"/>
                    <a:pt x="2149" y="288"/>
                    <a:pt x="2152" y="285"/>
                  </a:cubicBezTo>
                  <a:cubicBezTo>
                    <a:pt x="2154" y="292"/>
                    <a:pt x="2154" y="289"/>
                    <a:pt x="2152" y="297"/>
                  </a:cubicBezTo>
                  <a:cubicBezTo>
                    <a:pt x="2166" y="292"/>
                    <a:pt x="2160" y="304"/>
                    <a:pt x="2169" y="303"/>
                  </a:cubicBezTo>
                  <a:cubicBezTo>
                    <a:pt x="2175" y="311"/>
                    <a:pt x="2170" y="295"/>
                    <a:pt x="2174" y="294"/>
                  </a:cubicBezTo>
                  <a:cubicBezTo>
                    <a:pt x="2176" y="294"/>
                    <a:pt x="2179" y="297"/>
                    <a:pt x="2180" y="296"/>
                  </a:cubicBezTo>
                  <a:cubicBezTo>
                    <a:pt x="2182" y="294"/>
                    <a:pt x="2177" y="287"/>
                    <a:pt x="2182" y="287"/>
                  </a:cubicBezTo>
                  <a:cubicBezTo>
                    <a:pt x="2187" y="286"/>
                    <a:pt x="2184" y="294"/>
                    <a:pt x="2188" y="294"/>
                  </a:cubicBezTo>
                  <a:cubicBezTo>
                    <a:pt x="2189" y="285"/>
                    <a:pt x="2188" y="282"/>
                    <a:pt x="2190" y="280"/>
                  </a:cubicBezTo>
                  <a:cubicBezTo>
                    <a:pt x="2201" y="287"/>
                    <a:pt x="2186" y="293"/>
                    <a:pt x="2193" y="294"/>
                  </a:cubicBezTo>
                  <a:cubicBezTo>
                    <a:pt x="2200" y="294"/>
                    <a:pt x="2195" y="303"/>
                    <a:pt x="2196" y="305"/>
                  </a:cubicBezTo>
                  <a:cubicBezTo>
                    <a:pt x="2208" y="306"/>
                    <a:pt x="2196" y="302"/>
                    <a:pt x="2199" y="296"/>
                  </a:cubicBezTo>
                  <a:cubicBezTo>
                    <a:pt x="2205" y="293"/>
                    <a:pt x="2206" y="296"/>
                    <a:pt x="2213" y="291"/>
                  </a:cubicBezTo>
                  <a:cubicBezTo>
                    <a:pt x="2218" y="293"/>
                    <a:pt x="2212" y="304"/>
                    <a:pt x="2218" y="305"/>
                  </a:cubicBezTo>
                  <a:cubicBezTo>
                    <a:pt x="2219" y="299"/>
                    <a:pt x="2223" y="297"/>
                    <a:pt x="2226" y="293"/>
                  </a:cubicBezTo>
                  <a:cubicBezTo>
                    <a:pt x="2227" y="299"/>
                    <a:pt x="2231" y="290"/>
                    <a:pt x="2237" y="293"/>
                  </a:cubicBezTo>
                  <a:cubicBezTo>
                    <a:pt x="2244" y="290"/>
                    <a:pt x="2232" y="284"/>
                    <a:pt x="2240" y="281"/>
                  </a:cubicBezTo>
                  <a:cubicBezTo>
                    <a:pt x="2243" y="281"/>
                    <a:pt x="2242" y="285"/>
                    <a:pt x="2245" y="286"/>
                  </a:cubicBezTo>
                  <a:cubicBezTo>
                    <a:pt x="2253" y="281"/>
                    <a:pt x="2242" y="274"/>
                    <a:pt x="2248" y="274"/>
                  </a:cubicBezTo>
                  <a:cubicBezTo>
                    <a:pt x="2250" y="274"/>
                    <a:pt x="2252" y="274"/>
                    <a:pt x="2253" y="274"/>
                  </a:cubicBezTo>
                  <a:cubicBezTo>
                    <a:pt x="2250" y="277"/>
                    <a:pt x="2250" y="280"/>
                    <a:pt x="2254" y="283"/>
                  </a:cubicBezTo>
                  <a:cubicBezTo>
                    <a:pt x="2250" y="286"/>
                    <a:pt x="2245" y="287"/>
                    <a:pt x="2243" y="290"/>
                  </a:cubicBezTo>
                  <a:cubicBezTo>
                    <a:pt x="2247" y="290"/>
                    <a:pt x="2252" y="290"/>
                    <a:pt x="2257" y="290"/>
                  </a:cubicBezTo>
                  <a:cubicBezTo>
                    <a:pt x="2256" y="296"/>
                    <a:pt x="2257" y="299"/>
                    <a:pt x="2262" y="300"/>
                  </a:cubicBezTo>
                  <a:cubicBezTo>
                    <a:pt x="2263" y="295"/>
                    <a:pt x="2259" y="288"/>
                    <a:pt x="2267" y="290"/>
                  </a:cubicBezTo>
                  <a:cubicBezTo>
                    <a:pt x="2268" y="293"/>
                    <a:pt x="2264" y="294"/>
                    <a:pt x="2268" y="295"/>
                  </a:cubicBezTo>
                  <a:cubicBezTo>
                    <a:pt x="2272" y="288"/>
                    <a:pt x="2276" y="301"/>
                    <a:pt x="2281" y="302"/>
                  </a:cubicBezTo>
                  <a:cubicBezTo>
                    <a:pt x="2281" y="295"/>
                    <a:pt x="2280" y="288"/>
                    <a:pt x="2287" y="287"/>
                  </a:cubicBezTo>
                  <a:cubicBezTo>
                    <a:pt x="2287" y="292"/>
                    <a:pt x="2289" y="295"/>
                    <a:pt x="2292" y="297"/>
                  </a:cubicBezTo>
                  <a:cubicBezTo>
                    <a:pt x="2293" y="294"/>
                    <a:pt x="2295" y="295"/>
                    <a:pt x="2298" y="297"/>
                  </a:cubicBezTo>
                  <a:cubicBezTo>
                    <a:pt x="2298" y="294"/>
                    <a:pt x="2297" y="290"/>
                    <a:pt x="2300" y="289"/>
                  </a:cubicBezTo>
                  <a:cubicBezTo>
                    <a:pt x="2303" y="298"/>
                    <a:pt x="2306" y="286"/>
                    <a:pt x="2309" y="287"/>
                  </a:cubicBezTo>
                  <a:cubicBezTo>
                    <a:pt x="2311" y="288"/>
                    <a:pt x="2311" y="294"/>
                    <a:pt x="2314" y="294"/>
                  </a:cubicBezTo>
                  <a:cubicBezTo>
                    <a:pt x="2318" y="288"/>
                    <a:pt x="2307" y="285"/>
                    <a:pt x="2314" y="284"/>
                  </a:cubicBezTo>
                  <a:cubicBezTo>
                    <a:pt x="2321" y="283"/>
                    <a:pt x="2319" y="289"/>
                    <a:pt x="2322" y="291"/>
                  </a:cubicBezTo>
                  <a:cubicBezTo>
                    <a:pt x="2319" y="291"/>
                    <a:pt x="2313" y="298"/>
                    <a:pt x="2320" y="299"/>
                  </a:cubicBezTo>
                  <a:cubicBezTo>
                    <a:pt x="2320" y="296"/>
                    <a:pt x="2323" y="295"/>
                    <a:pt x="2325" y="294"/>
                  </a:cubicBezTo>
                  <a:cubicBezTo>
                    <a:pt x="2326" y="290"/>
                    <a:pt x="2317" y="282"/>
                    <a:pt x="2325" y="280"/>
                  </a:cubicBezTo>
                  <a:cubicBezTo>
                    <a:pt x="2330" y="280"/>
                    <a:pt x="2326" y="301"/>
                    <a:pt x="2331" y="294"/>
                  </a:cubicBezTo>
                  <a:cubicBezTo>
                    <a:pt x="2331" y="284"/>
                    <a:pt x="2328" y="271"/>
                    <a:pt x="2338" y="270"/>
                  </a:cubicBezTo>
                  <a:cubicBezTo>
                    <a:pt x="2332" y="275"/>
                    <a:pt x="2338" y="281"/>
                    <a:pt x="2339" y="286"/>
                  </a:cubicBezTo>
                  <a:cubicBezTo>
                    <a:pt x="2339" y="289"/>
                    <a:pt x="2336" y="289"/>
                    <a:pt x="2336" y="291"/>
                  </a:cubicBezTo>
                  <a:cubicBezTo>
                    <a:pt x="2336" y="294"/>
                    <a:pt x="2340" y="295"/>
                    <a:pt x="2342" y="296"/>
                  </a:cubicBezTo>
                  <a:cubicBezTo>
                    <a:pt x="2342" y="292"/>
                    <a:pt x="2340" y="287"/>
                    <a:pt x="2344" y="286"/>
                  </a:cubicBezTo>
                  <a:cubicBezTo>
                    <a:pt x="2348" y="286"/>
                    <a:pt x="2347" y="290"/>
                    <a:pt x="2350" y="291"/>
                  </a:cubicBezTo>
                  <a:cubicBezTo>
                    <a:pt x="2352" y="278"/>
                    <a:pt x="2350" y="297"/>
                    <a:pt x="2358" y="293"/>
                  </a:cubicBezTo>
                  <a:cubicBezTo>
                    <a:pt x="2362" y="286"/>
                    <a:pt x="2357" y="286"/>
                    <a:pt x="2358" y="277"/>
                  </a:cubicBezTo>
                  <a:cubicBezTo>
                    <a:pt x="2363" y="278"/>
                    <a:pt x="2361" y="271"/>
                    <a:pt x="2366" y="270"/>
                  </a:cubicBezTo>
                  <a:cubicBezTo>
                    <a:pt x="2369" y="269"/>
                    <a:pt x="2374" y="270"/>
                    <a:pt x="2374" y="272"/>
                  </a:cubicBezTo>
                  <a:cubicBezTo>
                    <a:pt x="2371" y="273"/>
                    <a:pt x="2367" y="274"/>
                    <a:pt x="2366" y="277"/>
                  </a:cubicBezTo>
                  <a:cubicBezTo>
                    <a:pt x="2366" y="276"/>
                    <a:pt x="2371" y="279"/>
                    <a:pt x="2369" y="281"/>
                  </a:cubicBezTo>
                  <a:cubicBezTo>
                    <a:pt x="2365" y="285"/>
                    <a:pt x="2368" y="284"/>
                    <a:pt x="2369" y="288"/>
                  </a:cubicBezTo>
                  <a:cubicBezTo>
                    <a:pt x="2369" y="288"/>
                    <a:pt x="2363" y="293"/>
                    <a:pt x="2369" y="293"/>
                  </a:cubicBezTo>
                  <a:cubicBezTo>
                    <a:pt x="2374" y="285"/>
                    <a:pt x="2379" y="296"/>
                    <a:pt x="2386" y="295"/>
                  </a:cubicBezTo>
                  <a:cubicBezTo>
                    <a:pt x="2387" y="295"/>
                    <a:pt x="2385" y="289"/>
                    <a:pt x="2388" y="290"/>
                  </a:cubicBezTo>
                  <a:cubicBezTo>
                    <a:pt x="2389" y="296"/>
                    <a:pt x="2397" y="291"/>
                    <a:pt x="2399" y="290"/>
                  </a:cubicBezTo>
                  <a:cubicBezTo>
                    <a:pt x="2399" y="282"/>
                    <a:pt x="2392" y="273"/>
                    <a:pt x="2401" y="267"/>
                  </a:cubicBezTo>
                  <a:cubicBezTo>
                    <a:pt x="2397" y="274"/>
                    <a:pt x="2403" y="277"/>
                    <a:pt x="2402" y="288"/>
                  </a:cubicBezTo>
                  <a:cubicBezTo>
                    <a:pt x="2407" y="288"/>
                    <a:pt x="2409" y="292"/>
                    <a:pt x="2413" y="294"/>
                  </a:cubicBezTo>
                  <a:cubicBezTo>
                    <a:pt x="2411" y="288"/>
                    <a:pt x="2417" y="288"/>
                    <a:pt x="2415" y="283"/>
                  </a:cubicBezTo>
                  <a:cubicBezTo>
                    <a:pt x="2412" y="282"/>
                    <a:pt x="2408" y="283"/>
                    <a:pt x="2407" y="281"/>
                  </a:cubicBezTo>
                  <a:cubicBezTo>
                    <a:pt x="2420" y="283"/>
                    <a:pt x="2414" y="269"/>
                    <a:pt x="2423" y="269"/>
                  </a:cubicBezTo>
                  <a:cubicBezTo>
                    <a:pt x="2419" y="274"/>
                    <a:pt x="2426" y="278"/>
                    <a:pt x="2426" y="283"/>
                  </a:cubicBezTo>
                  <a:cubicBezTo>
                    <a:pt x="2427" y="285"/>
                    <a:pt x="2421" y="288"/>
                    <a:pt x="2427" y="290"/>
                  </a:cubicBezTo>
                  <a:cubicBezTo>
                    <a:pt x="2428" y="286"/>
                    <a:pt x="2430" y="290"/>
                    <a:pt x="2435" y="289"/>
                  </a:cubicBezTo>
                  <a:cubicBezTo>
                    <a:pt x="2438" y="284"/>
                    <a:pt x="2424" y="282"/>
                    <a:pt x="2432" y="280"/>
                  </a:cubicBezTo>
                  <a:cubicBezTo>
                    <a:pt x="2441" y="278"/>
                    <a:pt x="2436" y="288"/>
                    <a:pt x="2443" y="287"/>
                  </a:cubicBezTo>
                  <a:cubicBezTo>
                    <a:pt x="2441" y="278"/>
                    <a:pt x="2434" y="268"/>
                    <a:pt x="2443" y="261"/>
                  </a:cubicBezTo>
                  <a:cubicBezTo>
                    <a:pt x="2448" y="268"/>
                    <a:pt x="2439" y="284"/>
                    <a:pt x="2451" y="289"/>
                  </a:cubicBezTo>
                  <a:cubicBezTo>
                    <a:pt x="2449" y="280"/>
                    <a:pt x="2456" y="279"/>
                    <a:pt x="2459" y="275"/>
                  </a:cubicBezTo>
                  <a:cubicBezTo>
                    <a:pt x="2458" y="280"/>
                    <a:pt x="2467" y="277"/>
                    <a:pt x="2468" y="282"/>
                  </a:cubicBezTo>
                  <a:cubicBezTo>
                    <a:pt x="2459" y="285"/>
                    <a:pt x="2472" y="291"/>
                    <a:pt x="2465" y="294"/>
                  </a:cubicBezTo>
                  <a:cubicBezTo>
                    <a:pt x="2473" y="295"/>
                    <a:pt x="2470" y="289"/>
                    <a:pt x="2476" y="289"/>
                  </a:cubicBezTo>
                  <a:cubicBezTo>
                    <a:pt x="2476" y="292"/>
                    <a:pt x="2477" y="294"/>
                    <a:pt x="2482" y="293"/>
                  </a:cubicBezTo>
                  <a:cubicBezTo>
                    <a:pt x="2479" y="288"/>
                    <a:pt x="2479" y="284"/>
                    <a:pt x="2484" y="279"/>
                  </a:cubicBezTo>
                  <a:cubicBezTo>
                    <a:pt x="2489" y="278"/>
                    <a:pt x="2500" y="282"/>
                    <a:pt x="2500" y="277"/>
                  </a:cubicBezTo>
                  <a:cubicBezTo>
                    <a:pt x="2499" y="277"/>
                    <a:pt x="2497" y="275"/>
                    <a:pt x="2500" y="274"/>
                  </a:cubicBezTo>
                  <a:cubicBezTo>
                    <a:pt x="2501" y="277"/>
                    <a:pt x="2504" y="279"/>
                    <a:pt x="2503" y="284"/>
                  </a:cubicBezTo>
                  <a:cubicBezTo>
                    <a:pt x="2500" y="281"/>
                    <a:pt x="2479" y="277"/>
                    <a:pt x="2484" y="289"/>
                  </a:cubicBezTo>
                  <a:cubicBezTo>
                    <a:pt x="2493" y="290"/>
                    <a:pt x="2493" y="285"/>
                    <a:pt x="2498" y="284"/>
                  </a:cubicBezTo>
                  <a:cubicBezTo>
                    <a:pt x="2496" y="288"/>
                    <a:pt x="2502" y="287"/>
                    <a:pt x="2503" y="288"/>
                  </a:cubicBezTo>
                  <a:cubicBezTo>
                    <a:pt x="2505" y="290"/>
                    <a:pt x="2503" y="295"/>
                    <a:pt x="2509" y="293"/>
                  </a:cubicBezTo>
                  <a:cubicBezTo>
                    <a:pt x="2507" y="284"/>
                    <a:pt x="2508" y="287"/>
                    <a:pt x="2506" y="276"/>
                  </a:cubicBezTo>
                  <a:cubicBezTo>
                    <a:pt x="2512" y="282"/>
                    <a:pt x="2523" y="270"/>
                    <a:pt x="2525" y="281"/>
                  </a:cubicBezTo>
                  <a:cubicBezTo>
                    <a:pt x="2522" y="278"/>
                    <a:pt x="2515" y="278"/>
                    <a:pt x="2511" y="281"/>
                  </a:cubicBezTo>
                  <a:cubicBezTo>
                    <a:pt x="2512" y="287"/>
                    <a:pt x="2514" y="291"/>
                    <a:pt x="2520" y="293"/>
                  </a:cubicBezTo>
                  <a:cubicBezTo>
                    <a:pt x="2522" y="289"/>
                    <a:pt x="2526" y="288"/>
                    <a:pt x="2531" y="288"/>
                  </a:cubicBezTo>
                  <a:cubicBezTo>
                    <a:pt x="2531" y="290"/>
                    <a:pt x="2531" y="292"/>
                    <a:pt x="2534" y="292"/>
                  </a:cubicBezTo>
                  <a:cubicBezTo>
                    <a:pt x="2531" y="284"/>
                    <a:pt x="2533" y="284"/>
                    <a:pt x="2528" y="276"/>
                  </a:cubicBezTo>
                  <a:cubicBezTo>
                    <a:pt x="2531" y="274"/>
                    <a:pt x="2535" y="273"/>
                    <a:pt x="2542" y="273"/>
                  </a:cubicBezTo>
                  <a:cubicBezTo>
                    <a:pt x="2540" y="277"/>
                    <a:pt x="2538" y="278"/>
                    <a:pt x="2542" y="281"/>
                  </a:cubicBezTo>
                  <a:cubicBezTo>
                    <a:pt x="2544" y="282"/>
                    <a:pt x="2539" y="291"/>
                    <a:pt x="2545" y="290"/>
                  </a:cubicBezTo>
                  <a:cubicBezTo>
                    <a:pt x="2549" y="285"/>
                    <a:pt x="2551" y="283"/>
                    <a:pt x="2547" y="276"/>
                  </a:cubicBezTo>
                  <a:cubicBezTo>
                    <a:pt x="2558" y="280"/>
                    <a:pt x="2550" y="270"/>
                    <a:pt x="2555" y="269"/>
                  </a:cubicBezTo>
                  <a:cubicBezTo>
                    <a:pt x="2554" y="269"/>
                    <a:pt x="2564" y="276"/>
                    <a:pt x="2572" y="273"/>
                  </a:cubicBezTo>
                  <a:cubicBezTo>
                    <a:pt x="2573" y="272"/>
                    <a:pt x="2571" y="266"/>
                    <a:pt x="2577" y="268"/>
                  </a:cubicBezTo>
                  <a:cubicBezTo>
                    <a:pt x="2578" y="274"/>
                    <a:pt x="2576" y="278"/>
                    <a:pt x="2572" y="280"/>
                  </a:cubicBezTo>
                  <a:cubicBezTo>
                    <a:pt x="2571" y="277"/>
                    <a:pt x="2569" y="276"/>
                    <a:pt x="2566" y="275"/>
                  </a:cubicBezTo>
                  <a:cubicBezTo>
                    <a:pt x="2567" y="286"/>
                    <a:pt x="2558" y="276"/>
                    <a:pt x="2555" y="276"/>
                  </a:cubicBezTo>
                  <a:cubicBezTo>
                    <a:pt x="2552" y="281"/>
                    <a:pt x="2562" y="284"/>
                    <a:pt x="2555" y="285"/>
                  </a:cubicBezTo>
                  <a:cubicBezTo>
                    <a:pt x="2554" y="285"/>
                    <a:pt x="2552" y="285"/>
                    <a:pt x="2553" y="287"/>
                  </a:cubicBezTo>
                  <a:cubicBezTo>
                    <a:pt x="2560" y="288"/>
                    <a:pt x="2561" y="284"/>
                    <a:pt x="2566" y="282"/>
                  </a:cubicBezTo>
                  <a:cubicBezTo>
                    <a:pt x="2571" y="290"/>
                    <a:pt x="2578" y="281"/>
                    <a:pt x="2580" y="289"/>
                  </a:cubicBezTo>
                  <a:cubicBezTo>
                    <a:pt x="2580" y="291"/>
                    <a:pt x="2581" y="292"/>
                    <a:pt x="2583" y="292"/>
                  </a:cubicBezTo>
                  <a:cubicBezTo>
                    <a:pt x="2583" y="287"/>
                    <a:pt x="2580" y="286"/>
                    <a:pt x="2580" y="282"/>
                  </a:cubicBezTo>
                  <a:cubicBezTo>
                    <a:pt x="2583" y="282"/>
                    <a:pt x="2583" y="280"/>
                    <a:pt x="2585" y="280"/>
                  </a:cubicBezTo>
                  <a:cubicBezTo>
                    <a:pt x="2586" y="290"/>
                    <a:pt x="2587" y="280"/>
                    <a:pt x="2591" y="280"/>
                  </a:cubicBezTo>
                  <a:cubicBezTo>
                    <a:pt x="2589" y="285"/>
                    <a:pt x="2594" y="295"/>
                    <a:pt x="2597" y="289"/>
                  </a:cubicBezTo>
                  <a:cubicBezTo>
                    <a:pt x="2594" y="289"/>
                    <a:pt x="2593" y="285"/>
                    <a:pt x="2597" y="284"/>
                  </a:cubicBezTo>
                  <a:cubicBezTo>
                    <a:pt x="2600" y="284"/>
                    <a:pt x="2599" y="288"/>
                    <a:pt x="2602" y="289"/>
                  </a:cubicBezTo>
                  <a:cubicBezTo>
                    <a:pt x="2606" y="287"/>
                    <a:pt x="2602" y="283"/>
                    <a:pt x="2602" y="279"/>
                  </a:cubicBezTo>
                  <a:cubicBezTo>
                    <a:pt x="2602" y="277"/>
                    <a:pt x="2605" y="278"/>
                    <a:pt x="2605" y="277"/>
                  </a:cubicBezTo>
                  <a:cubicBezTo>
                    <a:pt x="2606" y="274"/>
                    <a:pt x="2601" y="266"/>
                    <a:pt x="2607" y="265"/>
                  </a:cubicBezTo>
                  <a:cubicBezTo>
                    <a:pt x="2614" y="270"/>
                    <a:pt x="2618" y="277"/>
                    <a:pt x="2629" y="277"/>
                  </a:cubicBezTo>
                  <a:cubicBezTo>
                    <a:pt x="2633" y="277"/>
                    <a:pt x="2632" y="272"/>
                    <a:pt x="2635" y="272"/>
                  </a:cubicBezTo>
                  <a:cubicBezTo>
                    <a:pt x="2638" y="271"/>
                    <a:pt x="2643" y="272"/>
                    <a:pt x="2643" y="269"/>
                  </a:cubicBezTo>
                  <a:cubicBezTo>
                    <a:pt x="2628" y="273"/>
                    <a:pt x="2637" y="256"/>
                    <a:pt x="2637" y="255"/>
                  </a:cubicBezTo>
                  <a:cubicBezTo>
                    <a:pt x="2642" y="248"/>
                    <a:pt x="2636" y="253"/>
                    <a:pt x="2634" y="248"/>
                  </a:cubicBezTo>
                  <a:cubicBezTo>
                    <a:pt x="2639" y="249"/>
                    <a:pt x="2644" y="250"/>
                    <a:pt x="2645" y="253"/>
                  </a:cubicBezTo>
                  <a:cubicBezTo>
                    <a:pt x="2641" y="253"/>
                    <a:pt x="2639" y="255"/>
                    <a:pt x="2640" y="260"/>
                  </a:cubicBezTo>
                  <a:cubicBezTo>
                    <a:pt x="2650" y="264"/>
                    <a:pt x="2655" y="257"/>
                    <a:pt x="2662" y="262"/>
                  </a:cubicBezTo>
                  <a:cubicBezTo>
                    <a:pt x="2658" y="265"/>
                    <a:pt x="2661" y="274"/>
                    <a:pt x="2654" y="274"/>
                  </a:cubicBezTo>
                  <a:cubicBezTo>
                    <a:pt x="2649" y="268"/>
                    <a:pt x="2658" y="265"/>
                    <a:pt x="2648" y="265"/>
                  </a:cubicBezTo>
                  <a:cubicBezTo>
                    <a:pt x="2646" y="276"/>
                    <a:pt x="2650" y="280"/>
                    <a:pt x="2646" y="290"/>
                  </a:cubicBezTo>
                  <a:cubicBezTo>
                    <a:pt x="2654" y="292"/>
                    <a:pt x="2649" y="286"/>
                    <a:pt x="2651" y="283"/>
                  </a:cubicBezTo>
                  <a:cubicBezTo>
                    <a:pt x="2653" y="282"/>
                    <a:pt x="2658" y="284"/>
                    <a:pt x="2657" y="281"/>
                  </a:cubicBezTo>
                  <a:cubicBezTo>
                    <a:pt x="2654" y="280"/>
                    <a:pt x="2650" y="277"/>
                    <a:pt x="2654" y="276"/>
                  </a:cubicBezTo>
                  <a:cubicBezTo>
                    <a:pt x="2661" y="278"/>
                    <a:pt x="2660" y="287"/>
                    <a:pt x="2668" y="288"/>
                  </a:cubicBezTo>
                  <a:cubicBezTo>
                    <a:pt x="2669" y="285"/>
                    <a:pt x="2672" y="282"/>
                    <a:pt x="2673" y="285"/>
                  </a:cubicBezTo>
                  <a:cubicBezTo>
                    <a:pt x="2674" y="287"/>
                    <a:pt x="2674" y="290"/>
                    <a:pt x="2676" y="290"/>
                  </a:cubicBezTo>
                  <a:cubicBezTo>
                    <a:pt x="2676" y="283"/>
                    <a:pt x="2677" y="278"/>
                    <a:pt x="2681" y="276"/>
                  </a:cubicBezTo>
                  <a:cubicBezTo>
                    <a:pt x="2684" y="283"/>
                    <a:pt x="2687" y="273"/>
                    <a:pt x="2690" y="273"/>
                  </a:cubicBezTo>
                  <a:cubicBezTo>
                    <a:pt x="2690" y="276"/>
                    <a:pt x="2692" y="276"/>
                    <a:pt x="2692" y="278"/>
                  </a:cubicBezTo>
                  <a:cubicBezTo>
                    <a:pt x="2690" y="281"/>
                    <a:pt x="2690" y="287"/>
                    <a:pt x="2684" y="287"/>
                  </a:cubicBezTo>
                  <a:cubicBezTo>
                    <a:pt x="2684" y="286"/>
                    <a:pt x="2682" y="285"/>
                    <a:pt x="2682" y="287"/>
                  </a:cubicBezTo>
                  <a:cubicBezTo>
                    <a:pt x="2689" y="293"/>
                    <a:pt x="2699" y="287"/>
                    <a:pt x="2701" y="287"/>
                  </a:cubicBezTo>
                  <a:cubicBezTo>
                    <a:pt x="2704" y="287"/>
                    <a:pt x="2703" y="283"/>
                    <a:pt x="2706" y="282"/>
                  </a:cubicBezTo>
                  <a:cubicBezTo>
                    <a:pt x="2709" y="282"/>
                    <a:pt x="2710" y="284"/>
                    <a:pt x="2712" y="285"/>
                  </a:cubicBezTo>
                  <a:cubicBezTo>
                    <a:pt x="2715" y="275"/>
                    <a:pt x="2700" y="281"/>
                    <a:pt x="2698" y="275"/>
                  </a:cubicBezTo>
                  <a:cubicBezTo>
                    <a:pt x="2702" y="275"/>
                    <a:pt x="2708" y="276"/>
                    <a:pt x="2709" y="273"/>
                  </a:cubicBezTo>
                  <a:cubicBezTo>
                    <a:pt x="2696" y="273"/>
                    <a:pt x="2699" y="251"/>
                    <a:pt x="2711" y="252"/>
                  </a:cubicBezTo>
                  <a:cubicBezTo>
                    <a:pt x="2712" y="255"/>
                    <a:pt x="2710" y="260"/>
                    <a:pt x="2714" y="261"/>
                  </a:cubicBezTo>
                  <a:cubicBezTo>
                    <a:pt x="2720" y="259"/>
                    <a:pt x="2713" y="248"/>
                    <a:pt x="2719" y="247"/>
                  </a:cubicBezTo>
                  <a:cubicBezTo>
                    <a:pt x="2715" y="256"/>
                    <a:pt x="2725" y="258"/>
                    <a:pt x="2725" y="263"/>
                  </a:cubicBezTo>
                  <a:cubicBezTo>
                    <a:pt x="2725" y="263"/>
                    <a:pt x="2720" y="263"/>
                    <a:pt x="2720" y="263"/>
                  </a:cubicBezTo>
                  <a:cubicBezTo>
                    <a:pt x="2719" y="264"/>
                    <a:pt x="2719" y="272"/>
                    <a:pt x="2723" y="280"/>
                  </a:cubicBezTo>
                  <a:cubicBezTo>
                    <a:pt x="2719" y="280"/>
                    <a:pt x="2717" y="279"/>
                    <a:pt x="2714" y="277"/>
                  </a:cubicBezTo>
                  <a:cubicBezTo>
                    <a:pt x="2714" y="281"/>
                    <a:pt x="2716" y="283"/>
                    <a:pt x="2717" y="285"/>
                  </a:cubicBezTo>
                  <a:cubicBezTo>
                    <a:pt x="2723" y="284"/>
                    <a:pt x="2723" y="288"/>
                    <a:pt x="2726" y="289"/>
                  </a:cubicBezTo>
                  <a:cubicBezTo>
                    <a:pt x="2726" y="284"/>
                    <a:pt x="2731" y="273"/>
                    <a:pt x="2731" y="275"/>
                  </a:cubicBezTo>
                  <a:cubicBezTo>
                    <a:pt x="2731" y="273"/>
                    <a:pt x="2728" y="268"/>
                    <a:pt x="2728" y="268"/>
                  </a:cubicBezTo>
                  <a:cubicBezTo>
                    <a:pt x="2729" y="266"/>
                    <a:pt x="2735" y="265"/>
                    <a:pt x="2736" y="263"/>
                  </a:cubicBezTo>
                  <a:cubicBezTo>
                    <a:pt x="2739" y="259"/>
                    <a:pt x="2735" y="255"/>
                    <a:pt x="2741" y="254"/>
                  </a:cubicBezTo>
                  <a:cubicBezTo>
                    <a:pt x="2745" y="254"/>
                    <a:pt x="2747" y="256"/>
                    <a:pt x="2747" y="260"/>
                  </a:cubicBezTo>
                  <a:cubicBezTo>
                    <a:pt x="2742" y="260"/>
                    <a:pt x="2741" y="263"/>
                    <a:pt x="2736" y="263"/>
                  </a:cubicBezTo>
                  <a:cubicBezTo>
                    <a:pt x="2738" y="266"/>
                    <a:pt x="2733" y="275"/>
                    <a:pt x="2739" y="275"/>
                  </a:cubicBezTo>
                  <a:cubicBezTo>
                    <a:pt x="2742" y="270"/>
                    <a:pt x="2738" y="264"/>
                    <a:pt x="2750" y="263"/>
                  </a:cubicBezTo>
                  <a:cubicBezTo>
                    <a:pt x="2751" y="268"/>
                    <a:pt x="2745" y="268"/>
                    <a:pt x="2747" y="275"/>
                  </a:cubicBezTo>
                  <a:cubicBezTo>
                    <a:pt x="2748" y="274"/>
                    <a:pt x="2752" y="275"/>
                    <a:pt x="2753" y="275"/>
                  </a:cubicBezTo>
                  <a:cubicBezTo>
                    <a:pt x="2753" y="273"/>
                    <a:pt x="2752" y="271"/>
                    <a:pt x="2753" y="270"/>
                  </a:cubicBezTo>
                  <a:cubicBezTo>
                    <a:pt x="2754" y="265"/>
                    <a:pt x="2759" y="256"/>
                    <a:pt x="2755" y="251"/>
                  </a:cubicBezTo>
                  <a:cubicBezTo>
                    <a:pt x="2764" y="252"/>
                    <a:pt x="2766" y="250"/>
                    <a:pt x="2769" y="253"/>
                  </a:cubicBezTo>
                  <a:cubicBezTo>
                    <a:pt x="2768" y="255"/>
                    <a:pt x="2767" y="256"/>
                    <a:pt x="2763" y="256"/>
                  </a:cubicBezTo>
                  <a:cubicBezTo>
                    <a:pt x="2763" y="257"/>
                    <a:pt x="2763" y="260"/>
                    <a:pt x="2761" y="260"/>
                  </a:cubicBezTo>
                  <a:cubicBezTo>
                    <a:pt x="2763" y="264"/>
                    <a:pt x="2762" y="272"/>
                    <a:pt x="2767" y="274"/>
                  </a:cubicBezTo>
                  <a:cubicBezTo>
                    <a:pt x="2769" y="266"/>
                    <a:pt x="2780" y="274"/>
                    <a:pt x="2783" y="269"/>
                  </a:cubicBezTo>
                  <a:cubicBezTo>
                    <a:pt x="2779" y="269"/>
                    <a:pt x="2783" y="260"/>
                    <a:pt x="2783" y="260"/>
                  </a:cubicBezTo>
                  <a:cubicBezTo>
                    <a:pt x="2784" y="259"/>
                    <a:pt x="2788" y="262"/>
                    <a:pt x="2788" y="262"/>
                  </a:cubicBezTo>
                  <a:cubicBezTo>
                    <a:pt x="2789" y="257"/>
                    <a:pt x="2783" y="255"/>
                    <a:pt x="2785" y="246"/>
                  </a:cubicBezTo>
                  <a:cubicBezTo>
                    <a:pt x="2789" y="246"/>
                    <a:pt x="2789" y="243"/>
                    <a:pt x="2793" y="243"/>
                  </a:cubicBezTo>
                  <a:cubicBezTo>
                    <a:pt x="2796" y="252"/>
                    <a:pt x="2787" y="256"/>
                    <a:pt x="2794" y="262"/>
                  </a:cubicBezTo>
                  <a:cubicBezTo>
                    <a:pt x="2789" y="262"/>
                    <a:pt x="2787" y="264"/>
                    <a:pt x="2786" y="267"/>
                  </a:cubicBezTo>
                  <a:cubicBezTo>
                    <a:pt x="2792" y="267"/>
                    <a:pt x="2789" y="268"/>
                    <a:pt x="2788" y="272"/>
                  </a:cubicBezTo>
                  <a:cubicBezTo>
                    <a:pt x="2787" y="278"/>
                    <a:pt x="2792" y="281"/>
                    <a:pt x="2791" y="283"/>
                  </a:cubicBezTo>
                  <a:cubicBezTo>
                    <a:pt x="2791" y="283"/>
                    <a:pt x="2781" y="286"/>
                    <a:pt x="2789" y="288"/>
                  </a:cubicBezTo>
                  <a:cubicBezTo>
                    <a:pt x="2792" y="284"/>
                    <a:pt x="2797" y="279"/>
                    <a:pt x="2791" y="274"/>
                  </a:cubicBezTo>
                  <a:cubicBezTo>
                    <a:pt x="2795" y="274"/>
                    <a:pt x="2797" y="273"/>
                    <a:pt x="2799" y="271"/>
                  </a:cubicBezTo>
                  <a:cubicBezTo>
                    <a:pt x="2799" y="274"/>
                    <a:pt x="2800" y="286"/>
                    <a:pt x="2802" y="278"/>
                  </a:cubicBezTo>
                  <a:cubicBezTo>
                    <a:pt x="2799" y="266"/>
                    <a:pt x="2808" y="278"/>
                    <a:pt x="2810" y="271"/>
                  </a:cubicBezTo>
                  <a:cubicBezTo>
                    <a:pt x="2805" y="272"/>
                    <a:pt x="2806" y="260"/>
                    <a:pt x="2813" y="264"/>
                  </a:cubicBezTo>
                  <a:cubicBezTo>
                    <a:pt x="2811" y="266"/>
                    <a:pt x="2807" y="273"/>
                    <a:pt x="2816" y="271"/>
                  </a:cubicBezTo>
                  <a:cubicBezTo>
                    <a:pt x="2817" y="268"/>
                    <a:pt x="2812" y="259"/>
                    <a:pt x="2818" y="259"/>
                  </a:cubicBezTo>
                  <a:cubicBezTo>
                    <a:pt x="2817" y="267"/>
                    <a:pt x="2826" y="270"/>
                    <a:pt x="2830" y="275"/>
                  </a:cubicBezTo>
                  <a:cubicBezTo>
                    <a:pt x="2832" y="279"/>
                    <a:pt x="2829" y="288"/>
                    <a:pt x="2838" y="287"/>
                  </a:cubicBezTo>
                  <a:cubicBezTo>
                    <a:pt x="2838" y="283"/>
                    <a:pt x="2830" y="274"/>
                    <a:pt x="2838" y="271"/>
                  </a:cubicBezTo>
                  <a:cubicBezTo>
                    <a:pt x="2842" y="271"/>
                    <a:pt x="2841" y="276"/>
                    <a:pt x="2843" y="278"/>
                  </a:cubicBezTo>
                  <a:cubicBezTo>
                    <a:pt x="2836" y="272"/>
                    <a:pt x="2837" y="282"/>
                    <a:pt x="2841" y="285"/>
                  </a:cubicBezTo>
                  <a:cubicBezTo>
                    <a:pt x="2861" y="284"/>
                    <a:pt x="2841" y="259"/>
                    <a:pt x="2859" y="254"/>
                  </a:cubicBezTo>
                  <a:cubicBezTo>
                    <a:pt x="2859" y="257"/>
                    <a:pt x="2861" y="259"/>
                    <a:pt x="2862" y="261"/>
                  </a:cubicBezTo>
                  <a:cubicBezTo>
                    <a:pt x="2856" y="261"/>
                    <a:pt x="2861" y="269"/>
                    <a:pt x="2860" y="273"/>
                  </a:cubicBezTo>
                  <a:cubicBezTo>
                    <a:pt x="2855" y="271"/>
                    <a:pt x="2855" y="284"/>
                    <a:pt x="2860" y="282"/>
                  </a:cubicBezTo>
                  <a:cubicBezTo>
                    <a:pt x="2860" y="279"/>
                    <a:pt x="2863" y="278"/>
                    <a:pt x="2865" y="277"/>
                  </a:cubicBezTo>
                  <a:cubicBezTo>
                    <a:pt x="2870" y="283"/>
                    <a:pt x="2861" y="286"/>
                    <a:pt x="2871" y="287"/>
                  </a:cubicBezTo>
                  <a:cubicBezTo>
                    <a:pt x="2873" y="278"/>
                    <a:pt x="2862" y="271"/>
                    <a:pt x="2876" y="270"/>
                  </a:cubicBezTo>
                  <a:cubicBezTo>
                    <a:pt x="2879" y="277"/>
                    <a:pt x="2872" y="276"/>
                    <a:pt x="2874" y="282"/>
                  </a:cubicBezTo>
                  <a:cubicBezTo>
                    <a:pt x="2885" y="280"/>
                    <a:pt x="2879" y="273"/>
                    <a:pt x="2879" y="265"/>
                  </a:cubicBezTo>
                  <a:cubicBezTo>
                    <a:pt x="2881" y="265"/>
                    <a:pt x="2884" y="265"/>
                    <a:pt x="2884" y="263"/>
                  </a:cubicBezTo>
                  <a:cubicBezTo>
                    <a:pt x="2886" y="263"/>
                    <a:pt x="2887" y="261"/>
                    <a:pt x="2884" y="260"/>
                  </a:cubicBezTo>
                  <a:cubicBezTo>
                    <a:pt x="2884" y="264"/>
                    <a:pt x="2880" y="261"/>
                    <a:pt x="2879" y="258"/>
                  </a:cubicBezTo>
                  <a:cubicBezTo>
                    <a:pt x="2884" y="259"/>
                    <a:pt x="2884" y="255"/>
                    <a:pt x="2887" y="253"/>
                  </a:cubicBezTo>
                  <a:cubicBezTo>
                    <a:pt x="2887" y="255"/>
                    <a:pt x="2887" y="256"/>
                    <a:pt x="2888" y="257"/>
                  </a:cubicBezTo>
                  <a:cubicBezTo>
                    <a:pt x="2888" y="244"/>
                    <a:pt x="2888" y="244"/>
                    <a:pt x="2888" y="244"/>
                  </a:cubicBezTo>
                  <a:cubicBezTo>
                    <a:pt x="2887" y="244"/>
                    <a:pt x="2885" y="244"/>
                    <a:pt x="2884" y="244"/>
                  </a:cubicBezTo>
                  <a:cubicBezTo>
                    <a:pt x="2884" y="242"/>
                    <a:pt x="2884" y="239"/>
                    <a:pt x="2884" y="237"/>
                  </a:cubicBezTo>
                  <a:cubicBezTo>
                    <a:pt x="2886" y="237"/>
                    <a:pt x="2887" y="238"/>
                    <a:pt x="2888" y="239"/>
                  </a:cubicBezTo>
                  <a:cubicBezTo>
                    <a:pt x="2888" y="205"/>
                    <a:pt x="2888" y="205"/>
                    <a:pt x="2888" y="205"/>
                  </a:cubicBezTo>
                  <a:cubicBezTo>
                    <a:pt x="2885" y="205"/>
                    <a:pt x="2883" y="205"/>
                    <a:pt x="2881" y="209"/>
                  </a:cubicBezTo>
                  <a:cubicBezTo>
                    <a:pt x="2884" y="211"/>
                    <a:pt x="2893" y="228"/>
                    <a:pt x="2881" y="228"/>
                  </a:cubicBezTo>
                  <a:cubicBezTo>
                    <a:pt x="2886" y="223"/>
                    <a:pt x="2880" y="220"/>
                    <a:pt x="2875" y="218"/>
                  </a:cubicBezTo>
                  <a:cubicBezTo>
                    <a:pt x="2875" y="222"/>
                    <a:pt x="2876" y="227"/>
                    <a:pt x="2873" y="228"/>
                  </a:cubicBezTo>
                  <a:cubicBezTo>
                    <a:pt x="2872" y="222"/>
                    <a:pt x="2871" y="217"/>
                    <a:pt x="2862" y="219"/>
                  </a:cubicBezTo>
                  <a:cubicBezTo>
                    <a:pt x="2860" y="224"/>
                    <a:pt x="2865" y="236"/>
                    <a:pt x="2859" y="237"/>
                  </a:cubicBezTo>
                  <a:cubicBezTo>
                    <a:pt x="2855" y="232"/>
                    <a:pt x="2852" y="240"/>
                    <a:pt x="2851" y="235"/>
                  </a:cubicBezTo>
                  <a:cubicBezTo>
                    <a:pt x="2851" y="231"/>
                    <a:pt x="2851" y="228"/>
                    <a:pt x="2853" y="226"/>
                  </a:cubicBezTo>
                  <a:cubicBezTo>
                    <a:pt x="2851" y="225"/>
                    <a:pt x="2848" y="226"/>
                    <a:pt x="2848" y="223"/>
                  </a:cubicBezTo>
                  <a:cubicBezTo>
                    <a:pt x="2857" y="221"/>
                    <a:pt x="2854" y="229"/>
                    <a:pt x="2859" y="230"/>
                  </a:cubicBezTo>
                  <a:cubicBezTo>
                    <a:pt x="2857" y="227"/>
                    <a:pt x="2862" y="218"/>
                    <a:pt x="2856" y="219"/>
                  </a:cubicBezTo>
                  <a:cubicBezTo>
                    <a:pt x="2856" y="221"/>
                    <a:pt x="2851" y="222"/>
                    <a:pt x="2851" y="219"/>
                  </a:cubicBezTo>
                  <a:cubicBezTo>
                    <a:pt x="2851" y="209"/>
                    <a:pt x="2859" y="220"/>
                    <a:pt x="2861" y="214"/>
                  </a:cubicBezTo>
                  <a:cubicBezTo>
                    <a:pt x="2857" y="213"/>
                    <a:pt x="2859" y="209"/>
                    <a:pt x="2861" y="207"/>
                  </a:cubicBezTo>
                  <a:cubicBezTo>
                    <a:pt x="2855" y="204"/>
                    <a:pt x="2860" y="192"/>
                    <a:pt x="2858" y="186"/>
                  </a:cubicBezTo>
                  <a:cubicBezTo>
                    <a:pt x="2862" y="185"/>
                    <a:pt x="2862" y="183"/>
                    <a:pt x="2866" y="183"/>
                  </a:cubicBezTo>
                  <a:cubicBezTo>
                    <a:pt x="2860" y="196"/>
                    <a:pt x="2870" y="207"/>
                    <a:pt x="2864" y="216"/>
                  </a:cubicBezTo>
                  <a:cubicBezTo>
                    <a:pt x="2867" y="216"/>
                    <a:pt x="2870" y="216"/>
                    <a:pt x="2873" y="216"/>
                  </a:cubicBezTo>
                  <a:cubicBezTo>
                    <a:pt x="2869" y="209"/>
                    <a:pt x="2873" y="210"/>
                    <a:pt x="2870" y="204"/>
                  </a:cubicBezTo>
                  <a:cubicBezTo>
                    <a:pt x="2874" y="204"/>
                    <a:pt x="2871" y="198"/>
                    <a:pt x="2875" y="197"/>
                  </a:cubicBezTo>
                  <a:cubicBezTo>
                    <a:pt x="2876" y="200"/>
                    <a:pt x="2878" y="202"/>
                    <a:pt x="2881" y="204"/>
                  </a:cubicBezTo>
                  <a:cubicBezTo>
                    <a:pt x="2877" y="196"/>
                    <a:pt x="2884" y="198"/>
                    <a:pt x="2888" y="197"/>
                  </a:cubicBezTo>
                  <a:cubicBezTo>
                    <a:pt x="2888" y="191"/>
                    <a:pt x="2888" y="191"/>
                    <a:pt x="2888" y="191"/>
                  </a:cubicBezTo>
                  <a:cubicBezTo>
                    <a:pt x="2888" y="190"/>
                    <a:pt x="2888" y="189"/>
                    <a:pt x="2888" y="188"/>
                  </a:cubicBezTo>
                  <a:cubicBezTo>
                    <a:pt x="2888" y="159"/>
                    <a:pt x="2888" y="159"/>
                    <a:pt x="2888" y="159"/>
                  </a:cubicBezTo>
                  <a:cubicBezTo>
                    <a:pt x="2885" y="158"/>
                    <a:pt x="2882" y="158"/>
                    <a:pt x="2877" y="160"/>
                  </a:cubicBezTo>
                  <a:cubicBezTo>
                    <a:pt x="2877" y="157"/>
                    <a:pt x="2880" y="158"/>
                    <a:pt x="2882" y="157"/>
                  </a:cubicBezTo>
                  <a:cubicBezTo>
                    <a:pt x="2883" y="155"/>
                    <a:pt x="2881" y="155"/>
                    <a:pt x="2880" y="155"/>
                  </a:cubicBezTo>
                  <a:cubicBezTo>
                    <a:pt x="2879" y="151"/>
                    <a:pt x="2884" y="152"/>
                    <a:pt x="2888" y="152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2" y="148"/>
                    <a:pt x="2884" y="141"/>
                    <a:pt x="2877" y="143"/>
                  </a:cubicBezTo>
                  <a:cubicBezTo>
                    <a:pt x="2876" y="145"/>
                    <a:pt x="2877" y="148"/>
                    <a:pt x="2874" y="148"/>
                  </a:cubicBezTo>
                  <a:cubicBezTo>
                    <a:pt x="2874" y="140"/>
                    <a:pt x="2871" y="146"/>
                    <a:pt x="2866" y="146"/>
                  </a:cubicBezTo>
                  <a:cubicBezTo>
                    <a:pt x="2866" y="146"/>
                    <a:pt x="2866" y="143"/>
                    <a:pt x="2866" y="143"/>
                  </a:cubicBezTo>
                  <a:cubicBezTo>
                    <a:pt x="2863" y="142"/>
                    <a:pt x="2859" y="146"/>
                    <a:pt x="2858" y="146"/>
                  </a:cubicBezTo>
                  <a:cubicBezTo>
                    <a:pt x="2855" y="145"/>
                    <a:pt x="2855" y="141"/>
                    <a:pt x="2849" y="141"/>
                  </a:cubicBezTo>
                  <a:cubicBezTo>
                    <a:pt x="2848" y="141"/>
                    <a:pt x="2849" y="147"/>
                    <a:pt x="2847" y="146"/>
                  </a:cubicBezTo>
                  <a:cubicBezTo>
                    <a:pt x="2849" y="138"/>
                    <a:pt x="2838" y="143"/>
                    <a:pt x="2835" y="139"/>
                  </a:cubicBezTo>
                  <a:cubicBezTo>
                    <a:pt x="2829" y="145"/>
                    <a:pt x="2836" y="151"/>
                    <a:pt x="2836" y="158"/>
                  </a:cubicBezTo>
                  <a:cubicBezTo>
                    <a:pt x="2832" y="157"/>
                    <a:pt x="2826" y="160"/>
                    <a:pt x="2822" y="158"/>
                  </a:cubicBezTo>
                  <a:cubicBezTo>
                    <a:pt x="2821" y="158"/>
                    <a:pt x="2822" y="151"/>
                    <a:pt x="2816" y="153"/>
                  </a:cubicBezTo>
                  <a:cubicBezTo>
                    <a:pt x="2818" y="161"/>
                    <a:pt x="2815" y="164"/>
                    <a:pt x="2814" y="170"/>
                  </a:cubicBezTo>
                  <a:cubicBezTo>
                    <a:pt x="2823" y="172"/>
                    <a:pt x="2818" y="162"/>
                    <a:pt x="2825" y="163"/>
                  </a:cubicBezTo>
                  <a:cubicBezTo>
                    <a:pt x="2825" y="166"/>
                    <a:pt x="2826" y="168"/>
                    <a:pt x="2828" y="170"/>
                  </a:cubicBezTo>
                  <a:cubicBezTo>
                    <a:pt x="2821" y="171"/>
                    <a:pt x="2822" y="177"/>
                    <a:pt x="2817" y="179"/>
                  </a:cubicBezTo>
                  <a:cubicBezTo>
                    <a:pt x="2818" y="174"/>
                    <a:pt x="2816" y="171"/>
                    <a:pt x="2811" y="170"/>
                  </a:cubicBezTo>
                  <a:cubicBezTo>
                    <a:pt x="2811" y="173"/>
                    <a:pt x="2812" y="177"/>
                    <a:pt x="2809" y="177"/>
                  </a:cubicBezTo>
                  <a:cubicBezTo>
                    <a:pt x="2810" y="171"/>
                    <a:pt x="2798" y="175"/>
                    <a:pt x="2798" y="170"/>
                  </a:cubicBezTo>
                  <a:cubicBezTo>
                    <a:pt x="2805" y="172"/>
                    <a:pt x="2795" y="159"/>
                    <a:pt x="2803" y="161"/>
                  </a:cubicBezTo>
                  <a:cubicBezTo>
                    <a:pt x="2803" y="164"/>
                    <a:pt x="2802" y="169"/>
                    <a:pt x="2806" y="170"/>
                  </a:cubicBezTo>
                  <a:cubicBezTo>
                    <a:pt x="2808" y="158"/>
                    <a:pt x="2819" y="154"/>
                    <a:pt x="2814" y="142"/>
                  </a:cubicBezTo>
                  <a:cubicBezTo>
                    <a:pt x="2815" y="142"/>
                    <a:pt x="2817" y="140"/>
                    <a:pt x="2814" y="139"/>
                  </a:cubicBezTo>
                  <a:cubicBezTo>
                    <a:pt x="2812" y="142"/>
                    <a:pt x="2811" y="145"/>
                    <a:pt x="2808" y="147"/>
                  </a:cubicBezTo>
                  <a:cubicBezTo>
                    <a:pt x="2803" y="140"/>
                    <a:pt x="2792" y="144"/>
                    <a:pt x="2784" y="147"/>
                  </a:cubicBezTo>
                  <a:cubicBezTo>
                    <a:pt x="2787" y="139"/>
                    <a:pt x="2775" y="145"/>
                    <a:pt x="2778" y="138"/>
                  </a:cubicBezTo>
                  <a:cubicBezTo>
                    <a:pt x="2768" y="138"/>
                    <a:pt x="2772" y="150"/>
                    <a:pt x="2759" y="147"/>
                  </a:cubicBezTo>
                  <a:cubicBezTo>
                    <a:pt x="2759" y="144"/>
                    <a:pt x="2759" y="141"/>
                    <a:pt x="2759" y="138"/>
                  </a:cubicBezTo>
                  <a:cubicBezTo>
                    <a:pt x="2749" y="139"/>
                    <a:pt x="2748" y="142"/>
                    <a:pt x="2739" y="138"/>
                  </a:cubicBezTo>
                  <a:cubicBezTo>
                    <a:pt x="2739" y="143"/>
                    <a:pt x="2738" y="146"/>
                    <a:pt x="2734" y="148"/>
                  </a:cubicBezTo>
                  <a:cubicBezTo>
                    <a:pt x="2736" y="143"/>
                    <a:pt x="2733" y="130"/>
                    <a:pt x="2728" y="139"/>
                  </a:cubicBezTo>
                  <a:cubicBezTo>
                    <a:pt x="2733" y="139"/>
                    <a:pt x="2729" y="142"/>
                    <a:pt x="2729" y="146"/>
                  </a:cubicBezTo>
                  <a:cubicBezTo>
                    <a:pt x="2729" y="148"/>
                    <a:pt x="2731" y="148"/>
                    <a:pt x="2731" y="150"/>
                  </a:cubicBezTo>
                  <a:cubicBezTo>
                    <a:pt x="2731" y="150"/>
                    <a:pt x="2728" y="151"/>
                    <a:pt x="2729" y="153"/>
                  </a:cubicBezTo>
                  <a:cubicBezTo>
                    <a:pt x="2729" y="153"/>
                    <a:pt x="2733" y="153"/>
                    <a:pt x="2731" y="155"/>
                  </a:cubicBezTo>
                  <a:cubicBezTo>
                    <a:pt x="2727" y="155"/>
                    <a:pt x="2721" y="156"/>
                    <a:pt x="2720" y="153"/>
                  </a:cubicBezTo>
                  <a:cubicBezTo>
                    <a:pt x="2722" y="148"/>
                    <a:pt x="2728" y="148"/>
                    <a:pt x="2726" y="141"/>
                  </a:cubicBezTo>
                  <a:cubicBezTo>
                    <a:pt x="2717" y="144"/>
                    <a:pt x="2716" y="140"/>
                    <a:pt x="2707" y="144"/>
                  </a:cubicBezTo>
                  <a:cubicBezTo>
                    <a:pt x="2710" y="139"/>
                    <a:pt x="2702" y="133"/>
                    <a:pt x="2701" y="139"/>
                  </a:cubicBezTo>
                  <a:cubicBezTo>
                    <a:pt x="2710" y="142"/>
                    <a:pt x="2694" y="142"/>
                    <a:pt x="2690" y="142"/>
                  </a:cubicBezTo>
                  <a:cubicBezTo>
                    <a:pt x="2688" y="149"/>
                    <a:pt x="2697" y="146"/>
                    <a:pt x="2698" y="151"/>
                  </a:cubicBezTo>
                  <a:cubicBezTo>
                    <a:pt x="2693" y="152"/>
                    <a:pt x="2698" y="161"/>
                    <a:pt x="2693" y="163"/>
                  </a:cubicBezTo>
                  <a:cubicBezTo>
                    <a:pt x="2696" y="164"/>
                    <a:pt x="2699" y="165"/>
                    <a:pt x="2702" y="167"/>
                  </a:cubicBezTo>
                  <a:cubicBezTo>
                    <a:pt x="2701" y="172"/>
                    <a:pt x="2696" y="174"/>
                    <a:pt x="2693" y="177"/>
                  </a:cubicBezTo>
                  <a:cubicBezTo>
                    <a:pt x="2699" y="182"/>
                    <a:pt x="2691" y="188"/>
                    <a:pt x="2699" y="193"/>
                  </a:cubicBezTo>
                  <a:cubicBezTo>
                    <a:pt x="2696" y="194"/>
                    <a:pt x="2694" y="196"/>
                    <a:pt x="2694" y="200"/>
                  </a:cubicBezTo>
                  <a:cubicBezTo>
                    <a:pt x="2697" y="207"/>
                    <a:pt x="2694" y="206"/>
                    <a:pt x="2700" y="210"/>
                  </a:cubicBezTo>
                  <a:cubicBezTo>
                    <a:pt x="2698" y="213"/>
                    <a:pt x="2695" y="215"/>
                    <a:pt x="2691" y="217"/>
                  </a:cubicBezTo>
                  <a:cubicBezTo>
                    <a:pt x="2689" y="215"/>
                    <a:pt x="2688" y="202"/>
                    <a:pt x="2683" y="210"/>
                  </a:cubicBezTo>
                  <a:cubicBezTo>
                    <a:pt x="2690" y="213"/>
                    <a:pt x="2683" y="220"/>
                    <a:pt x="2683" y="224"/>
                  </a:cubicBezTo>
                  <a:cubicBezTo>
                    <a:pt x="2683" y="226"/>
                    <a:pt x="2681" y="227"/>
                    <a:pt x="2681" y="226"/>
                  </a:cubicBezTo>
                  <a:cubicBezTo>
                    <a:pt x="2680" y="231"/>
                    <a:pt x="2684" y="232"/>
                    <a:pt x="2683" y="236"/>
                  </a:cubicBezTo>
                  <a:cubicBezTo>
                    <a:pt x="2680" y="233"/>
                    <a:pt x="2673" y="234"/>
                    <a:pt x="2672" y="229"/>
                  </a:cubicBezTo>
                  <a:cubicBezTo>
                    <a:pt x="2677" y="224"/>
                    <a:pt x="2676" y="212"/>
                    <a:pt x="2669" y="210"/>
                  </a:cubicBezTo>
                  <a:cubicBezTo>
                    <a:pt x="2668" y="216"/>
                    <a:pt x="2673" y="227"/>
                    <a:pt x="2667" y="229"/>
                  </a:cubicBezTo>
                  <a:cubicBezTo>
                    <a:pt x="2662" y="229"/>
                    <a:pt x="2665" y="222"/>
                    <a:pt x="2661" y="222"/>
                  </a:cubicBezTo>
                  <a:cubicBezTo>
                    <a:pt x="2662" y="222"/>
                    <a:pt x="2658" y="231"/>
                    <a:pt x="2653" y="227"/>
                  </a:cubicBezTo>
                  <a:cubicBezTo>
                    <a:pt x="2653" y="222"/>
                    <a:pt x="2661" y="224"/>
                    <a:pt x="2658" y="217"/>
                  </a:cubicBezTo>
                  <a:cubicBezTo>
                    <a:pt x="2650" y="215"/>
                    <a:pt x="2652" y="221"/>
                    <a:pt x="2648" y="222"/>
                  </a:cubicBezTo>
                  <a:cubicBezTo>
                    <a:pt x="2647" y="213"/>
                    <a:pt x="2640" y="222"/>
                    <a:pt x="2634" y="218"/>
                  </a:cubicBezTo>
                  <a:cubicBezTo>
                    <a:pt x="2634" y="224"/>
                    <a:pt x="2635" y="229"/>
                    <a:pt x="2629" y="230"/>
                  </a:cubicBezTo>
                  <a:cubicBezTo>
                    <a:pt x="2627" y="224"/>
                    <a:pt x="2633" y="224"/>
                    <a:pt x="2631" y="218"/>
                  </a:cubicBezTo>
                  <a:cubicBezTo>
                    <a:pt x="2627" y="216"/>
                    <a:pt x="2622" y="221"/>
                    <a:pt x="2620" y="220"/>
                  </a:cubicBezTo>
                  <a:cubicBezTo>
                    <a:pt x="2616" y="219"/>
                    <a:pt x="2619" y="205"/>
                    <a:pt x="2612" y="214"/>
                  </a:cubicBezTo>
                  <a:cubicBezTo>
                    <a:pt x="2616" y="212"/>
                    <a:pt x="2616" y="225"/>
                    <a:pt x="2612" y="223"/>
                  </a:cubicBezTo>
                  <a:cubicBezTo>
                    <a:pt x="2614" y="212"/>
                    <a:pt x="2603" y="213"/>
                    <a:pt x="2598" y="209"/>
                  </a:cubicBezTo>
                  <a:cubicBezTo>
                    <a:pt x="2609" y="212"/>
                    <a:pt x="2608" y="205"/>
                    <a:pt x="2612" y="202"/>
                  </a:cubicBezTo>
                  <a:cubicBezTo>
                    <a:pt x="2621" y="200"/>
                    <a:pt x="2637" y="204"/>
                    <a:pt x="2642" y="199"/>
                  </a:cubicBezTo>
                  <a:cubicBezTo>
                    <a:pt x="2638" y="193"/>
                    <a:pt x="2634" y="203"/>
                    <a:pt x="2631" y="197"/>
                  </a:cubicBezTo>
                  <a:cubicBezTo>
                    <a:pt x="2635" y="196"/>
                    <a:pt x="2635" y="193"/>
                    <a:pt x="2639" y="192"/>
                  </a:cubicBezTo>
                  <a:cubicBezTo>
                    <a:pt x="2643" y="195"/>
                    <a:pt x="2642" y="202"/>
                    <a:pt x="2650" y="201"/>
                  </a:cubicBezTo>
                  <a:cubicBezTo>
                    <a:pt x="2647" y="194"/>
                    <a:pt x="2659" y="198"/>
                    <a:pt x="2661" y="194"/>
                  </a:cubicBezTo>
                  <a:cubicBezTo>
                    <a:pt x="2662" y="199"/>
                    <a:pt x="2666" y="200"/>
                    <a:pt x="2669" y="203"/>
                  </a:cubicBezTo>
                  <a:cubicBezTo>
                    <a:pt x="2665" y="203"/>
                    <a:pt x="2662" y="205"/>
                    <a:pt x="2661" y="208"/>
                  </a:cubicBezTo>
                  <a:cubicBezTo>
                    <a:pt x="2669" y="206"/>
                    <a:pt x="2671" y="210"/>
                    <a:pt x="2678" y="210"/>
                  </a:cubicBezTo>
                  <a:cubicBezTo>
                    <a:pt x="2678" y="205"/>
                    <a:pt x="2674" y="205"/>
                    <a:pt x="2672" y="203"/>
                  </a:cubicBezTo>
                  <a:cubicBezTo>
                    <a:pt x="2679" y="199"/>
                    <a:pt x="2680" y="204"/>
                    <a:pt x="2683" y="203"/>
                  </a:cubicBezTo>
                  <a:cubicBezTo>
                    <a:pt x="2684" y="202"/>
                    <a:pt x="2682" y="197"/>
                    <a:pt x="2683" y="196"/>
                  </a:cubicBezTo>
                  <a:cubicBezTo>
                    <a:pt x="2685" y="194"/>
                    <a:pt x="2686" y="198"/>
                    <a:pt x="2686" y="198"/>
                  </a:cubicBezTo>
                  <a:cubicBezTo>
                    <a:pt x="2690" y="199"/>
                    <a:pt x="2695" y="192"/>
                    <a:pt x="2694" y="189"/>
                  </a:cubicBezTo>
                  <a:cubicBezTo>
                    <a:pt x="2687" y="186"/>
                    <a:pt x="2684" y="199"/>
                    <a:pt x="2680" y="191"/>
                  </a:cubicBezTo>
                  <a:cubicBezTo>
                    <a:pt x="2682" y="188"/>
                    <a:pt x="2686" y="187"/>
                    <a:pt x="2691" y="186"/>
                  </a:cubicBezTo>
                  <a:cubicBezTo>
                    <a:pt x="2691" y="182"/>
                    <a:pt x="2691" y="179"/>
                    <a:pt x="2693" y="177"/>
                  </a:cubicBezTo>
                  <a:cubicBezTo>
                    <a:pt x="2690" y="175"/>
                    <a:pt x="2688" y="172"/>
                    <a:pt x="2688" y="167"/>
                  </a:cubicBezTo>
                  <a:cubicBezTo>
                    <a:pt x="2684" y="167"/>
                    <a:pt x="2681" y="167"/>
                    <a:pt x="2682" y="163"/>
                  </a:cubicBezTo>
                  <a:cubicBezTo>
                    <a:pt x="2688" y="168"/>
                    <a:pt x="2689" y="159"/>
                    <a:pt x="2693" y="156"/>
                  </a:cubicBezTo>
                  <a:cubicBezTo>
                    <a:pt x="2690" y="155"/>
                    <a:pt x="2685" y="156"/>
                    <a:pt x="2685" y="154"/>
                  </a:cubicBezTo>
                  <a:cubicBezTo>
                    <a:pt x="2688" y="147"/>
                    <a:pt x="2688" y="141"/>
                    <a:pt x="2685" y="135"/>
                  </a:cubicBezTo>
                  <a:cubicBezTo>
                    <a:pt x="2694" y="138"/>
                    <a:pt x="2686" y="127"/>
                    <a:pt x="2693" y="128"/>
                  </a:cubicBezTo>
                  <a:cubicBezTo>
                    <a:pt x="2696" y="128"/>
                    <a:pt x="2696" y="131"/>
                    <a:pt x="2695" y="134"/>
                  </a:cubicBezTo>
                  <a:cubicBezTo>
                    <a:pt x="2702" y="130"/>
                    <a:pt x="2705" y="137"/>
                    <a:pt x="2709" y="132"/>
                  </a:cubicBezTo>
                  <a:cubicBezTo>
                    <a:pt x="2706" y="130"/>
                    <a:pt x="2704" y="127"/>
                    <a:pt x="2701" y="125"/>
                  </a:cubicBezTo>
                  <a:cubicBezTo>
                    <a:pt x="2705" y="125"/>
                    <a:pt x="2710" y="125"/>
                    <a:pt x="2709" y="120"/>
                  </a:cubicBezTo>
                  <a:cubicBezTo>
                    <a:pt x="2701" y="123"/>
                    <a:pt x="2701" y="120"/>
                    <a:pt x="2690" y="121"/>
                  </a:cubicBezTo>
                  <a:cubicBezTo>
                    <a:pt x="2690" y="126"/>
                    <a:pt x="2688" y="128"/>
                    <a:pt x="2682" y="128"/>
                  </a:cubicBezTo>
                  <a:cubicBezTo>
                    <a:pt x="2682" y="125"/>
                    <a:pt x="2685" y="124"/>
                    <a:pt x="2684" y="121"/>
                  </a:cubicBezTo>
                  <a:cubicBezTo>
                    <a:pt x="2672" y="118"/>
                    <a:pt x="2679" y="130"/>
                    <a:pt x="2668" y="128"/>
                  </a:cubicBezTo>
                  <a:cubicBezTo>
                    <a:pt x="2674" y="124"/>
                    <a:pt x="2667" y="121"/>
                    <a:pt x="2668" y="119"/>
                  </a:cubicBezTo>
                  <a:cubicBezTo>
                    <a:pt x="2668" y="118"/>
                    <a:pt x="2673" y="117"/>
                    <a:pt x="2670" y="114"/>
                  </a:cubicBezTo>
                  <a:cubicBezTo>
                    <a:pt x="2670" y="113"/>
                    <a:pt x="2664" y="114"/>
                    <a:pt x="2665" y="112"/>
                  </a:cubicBezTo>
                  <a:cubicBezTo>
                    <a:pt x="2678" y="107"/>
                    <a:pt x="2672" y="119"/>
                    <a:pt x="2681" y="118"/>
                  </a:cubicBezTo>
                  <a:cubicBezTo>
                    <a:pt x="2691" y="118"/>
                    <a:pt x="2676" y="111"/>
                    <a:pt x="2684" y="111"/>
                  </a:cubicBezTo>
                  <a:cubicBezTo>
                    <a:pt x="2687" y="112"/>
                    <a:pt x="2687" y="115"/>
                    <a:pt x="2687" y="118"/>
                  </a:cubicBezTo>
                  <a:cubicBezTo>
                    <a:pt x="2699" y="117"/>
                    <a:pt x="2715" y="120"/>
                    <a:pt x="2723" y="115"/>
                  </a:cubicBezTo>
                  <a:cubicBezTo>
                    <a:pt x="2727" y="117"/>
                    <a:pt x="2722" y="127"/>
                    <a:pt x="2731" y="124"/>
                  </a:cubicBezTo>
                  <a:cubicBezTo>
                    <a:pt x="2731" y="122"/>
                    <a:pt x="2730" y="118"/>
                    <a:pt x="2734" y="117"/>
                  </a:cubicBezTo>
                  <a:cubicBezTo>
                    <a:pt x="2737" y="117"/>
                    <a:pt x="2741" y="117"/>
                    <a:pt x="2745" y="117"/>
                  </a:cubicBezTo>
                  <a:cubicBezTo>
                    <a:pt x="2744" y="123"/>
                    <a:pt x="2745" y="126"/>
                    <a:pt x="2747" y="129"/>
                  </a:cubicBezTo>
                  <a:cubicBezTo>
                    <a:pt x="2739" y="126"/>
                    <a:pt x="2740" y="128"/>
                    <a:pt x="2737" y="134"/>
                  </a:cubicBezTo>
                  <a:cubicBezTo>
                    <a:pt x="2748" y="138"/>
                    <a:pt x="2756" y="128"/>
                    <a:pt x="2758" y="129"/>
                  </a:cubicBezTo>
                  <a:cubicBezTo>
                    <a:pt x="2762" y="129"/>
                    <a:pt x="2763" y="138"/>
                    <a:pt x="2767" y="136"/>
                  </a:cubicBezTo>
                  <a:cubicBezTo>
                    <a:pt x="2764" y="127"/>
                    <a:pt x="2779" y="132"/>
                    <a:pt x="2775" y="121"/>
                  </a:cubicBezTo>
                  <a:cubicBezTo>
                    <a:pt x="2765" y="119"/>
                    <a:pt x="2771" y="130"/>
                    <a:pt x="2761" y="129"/>
                  </a:cubicBezTo>
                  <a:cubicBezTo>
                    <a:pt x="2770" y="121"/>
                    <a:pt x="2751" y="126"/>
                    <a:pt x="2753" y="117"/>
                  </a:cubicBezTo>
                  <a:cubicBezTo>
                    <a:pt x="2759" y="122"/>
                    <a:pt x="2765" y="117"/>
                    <a:pt x="2769" y="114"/>
                  </a:cubicBezTo>
                  <a:cubicBezTo>
                    <a:pt x="2770" y="117"/>
                    <a:pt x="2772" y="118"/>
                    <a:pt x="2775" y="119"/>
                  </a:cubicBezTo>
                  <a:cubicBezTo>
                    <a:pt x="2778" y="115"/>
                    <a:pt x="2772" y="107"/>
                    <a:pt x="2780" y="102"/>
                  </a:cubicBezTo>
                  <a:cubicBezTo>
                    <a:pt x="2779" y="108"/>
                    <a:pt x="2781" y="112"/>
                    <a:pt x="2783" y="114"/>
                  </a:cubicBezTo>
                  <a:cubicBezTo>
                    <a:pt x="2780" y="114"/>
                    <a:pt x="2780" y="118"/>
                    <a:pt x="2783" y="119"/>
                  </a:cubicBezTo>
                  <a:cubicBezTo>
                    <a:pt x="2784" y="117"/>
                    <a:pt x="2785" y="116"/>
                    <a:pt x="2788" y="116"/>
                  </a:cubicBezTo>
                  <a:cubicBezTo>
                    <a:pt x="2789" y="112"/>
                    <a:pt x="2785" y="111"/>
                    <a:pt x="2786" y="107"/>
                  </a:cubicBezTo>
                  <a:cubicBezTo>
                    <a:pt x="2790" y="107"/>
                    <a:pt x="2796" y="106"/>
                    <a:pt x="2797" y="109"/>
                  </a:cubicBezTo>
                  <a:cubicBezTo>
                    <a:pt x="2797" y="114"/>
                    <a:pt x="2794" y="117"/>
                    <a:pt x="2788" y="116"/>
                  </a:cubicBezTo>
                  <a:cubicBezTo>
                    <a:pt x="2791" y="124"/>
                    <a:pt x="2785" y="124"/>
                    <a:pt x="2778" y="124"/>
                  </a:cubicBezTo>
                  <a:cubicBezTo>
                    <a:pt x="2775" y="129"/>
                    <a:pt x="2782" y="137"/>
                    <a:pt x="2783" y="131"/>
                  </a:cubicBezTo>
                  <a:cubicBezTo>
                    <a:pt x="2780" y="131"/>
                    <a:pt x="2780" y="127"/>
                    <a:pt x="2783" y="126"/>
                  </a:cubicBezTo>
                  <a:cubicBezTo>
                    <a:pt x="2790" y="133"/>
                    <a:pt x="2785" y="127"/>
                    <a:pt x="2794" y="126"/>
                  </a:cubicBezTo>
                  <a:cubicBezTo>
                    <a:pt x="2794" y="130"/>
                    <a:pt x="2797" y="131"/>
                    <a:pt x="2797" y="135"/>
                  </a:cubicBezTo>
                  <a:cubicBezTo>
                    <a:pt x="2806" y="138"/>
                    <a:pt x="2799" y="127"/>
                    <a:pt x="2808" y="130"/>
                  </a:cubicBezTo>
                  <a:cubicBezTo>
                    <a:pt x="2808" y="133"/>
                    <a:pt x="2804" y="133"/>
                    <a:pt x="2805" y="137"/>
                  </a:cubicBezTo>
                  <a:cubicBezTo>
                    <a:pt x="2816" y="140"/>
                    <a:pt x="2809" y="128"/>
                    <a:pt x="2819" y="130"/>
                  </a:cubicBezTo>
                  <a:cubicBezTo>
                    <a:pt x="2817" y="132"/>
                    <a:pt x="2813" y="139"/>
                    <a:pt x="2822" y="137"/>
                  </a:cubicBezTo>
                  <a:cubicBezTo>
                    <a:pt x="2822" y="128"/>
                    <a:pt x="2825" y="128"/>
                    <a:pt x="2821" y="121"/>
                  </a:cubicBezTo>
                  <a:cubicBezTo>
                    <a:pt x="2830" y="123"/>
                    <a:pt x="2842" y="119"/>
                    <a:pt x="2854" y="122"/>
                  </a:cubicBezTo>
                  <a:cubicBezTo>
                    <a:pt x="2855" y="118"/>
                    <a:pt x="2851" y="118"/>
                    <a:pt x="2849" y="115"/>
                  </a:cubicBezTo>
                  <a:cubicBezTo>
                    <a:pt x="2852" y="109"/>
                    <a:pt x="2840" y="104"/>
                    <a:pt x="2849" y="101"/>
                  </a:cubicBezTo>
                  <a:cubicBezTo>
                    <a:pt x="2850" y="101"/>
                    <a:pt x="2852" y="101"/>
                    <a:pt x="2854" y="101"/>
                  </a:cubicBezTo>
                  <a:cubicBezTo>
                    <a:pt x="2856" y="105"/>
                    <a:pt x="2851" y="113"/>
                    <a:pt x="2857" y="113"/>
                  </a:cubicBezTo>
                  <a:cubicBezTo>
                    <a:pt x="2856" y="103"/>
                    <a:pt x="2863" y="111"/>
                    <a:pt x="2868" y="110"/>
                  </a:cubicBezTo>
                  <a:cubicBezTo>
                    <a:pt x="2868" y="107"/>
                    <a:pt x="2867" y="102"/>
                    <a:pt x="2871" y="101"/>
                  </a:cubicBezTo>
                  <a:cubicBezTo>
                    <a:pt x="2869" y="104"/>
                    <a:pt x="2874" y="113"/>
                    <a:pt x="2868" y="113"/>
                  </a:cubicBezTo>
                  <a:cubicBezTo>
                    <a:pt x="2858" y="108"/>
                    <a:pt x="2860" y="115"/>
                    <a:pt x="2857" y="122"/>
                  </a:cubicBezTo>
                  <a:cubicBezTo>
                    <a:pt x="2862" y="124"/>
                    <a:pt x="2866" y="120"/>
                    <a:pt x="2868" y="120"/>
                  </a:cubicBezTo>
                  <a:cubicBezTo>
                    <a:pt x="2871" y="120"/>
                    <a:pt x="2873" y="123"/>
                    <a:pt x="2876" y="122"/>
                  </a:cubicBezTo>
                  <a:cubicBezTo>
                    <a:pt x="2878" y="121"/>
                    <a:pt x="2876" y="116"/>
                    <a:pt x="2879" y="117"/>
                  </a:cubicBezTo>
                  <a:cubicBezTo>
                    <a:pt x="2877" y="123"/>
                    <a:pt x="2883" y="122"/>
                    <a:pt x="2888" y="122"/>
                  </a:cubicBezTo>
                  <a:cubicBezTo>
                    <a:pt x="2888" y="114"/>
                    <a:pt x="2888" y="114"/>
                    <a:pt x="2888" y="114"/>
                  </a:cubicBezTo>
                  <a:cubicBezTo>
                    <a:pt x="2885" y="113"/>
                    <a:pt x="2882" y="111"/>
                    <a:pt x="2876" y="113"/>
                  </a:cubicBezTo>
                  <a:cubicBezTo>
                    <a:pt x="2877" y="110"/>
                    <a:pt x="2881" y="110"/>
                    <a:pt x="2884" y="110"/>
                  </a:cubicBezTo>
                  <a:cubicBezTo>
                    <a:pt x="2887" y="110"/>
                    <a:pt x="2886" y="107"/>
                    <a:pt x="2887" y="105"/>
                  </a:cubicBezTo>
                  <a:cubicBezTo>
                    <a:pt x="2887" y="105"/>
                    <a:pt x="2888" y="105"/>
                    <a:pt x="2888" y="105"/>
                  </a:cubicBezTo>
                  <a:cubicBezTo>
                    <a:pt x="2888" y="74"/>
                    <a:pt x="2888" y="74"/>
                    <a:pt x="2888" y="74"/>
                  </a:cubicBezTo>
                  <a:cubicBezTo>
                    <a:pt x="2887" y="73"/>
                    <a:pt x="2887" y="72"/>
                    <a:pt x="2888" y="70"/>
                  </a:cubicBezTo>
                  <a:lnTo>
                    <a:pt x="2888" y="0"/>
                  </a:lnTo>
                  <a:close/>
                  <a:moveTo>
                    <a:pt x="220" y="274"/>
                  </a:moveTo>
                  <a:cubicBezTo>
                    <a:pt x="213" y="274"/>
                    <a:pt x="214" y="263"/>
                    <a:pt x="217" y="260"/>
                  </a:cubicBezTo>
                  <a:cubicBezTo>
                    <a:pt x="224" y="260"/>
                    <a:pt x="219" y="270"/>
                    <a:pt x="220" y="274"/>
                  </a:cubicBezTo>
                  <a:close/>
                  <a:moveTo>
                    <a:pt x="227" y="203"/>
                  </a:moveTo>
                  <a:cubicBezTo>
                    <a:pt x="224" y="203"/>
                    <a:pt x="225" y="199"/>
                    <a:pt x="225" y="196"/>
                  </a:cubicBezTo>
                  <a:cubicBezTo>
                    <a:pt x="229" y="195"/>
                    <a:pt x="230" y="198"/>
                    <a:pt x="230" y="201"/>
                  </a:cubicBezTo>
                  <a:cubicBezTo>
                    <a:pt x="228" y="201"/>
                    <a:pt x="228" y="202"/>
                    <a:pt x="227" y="203"/>
                  </a:cubicBezTo>
                  <a:close/>
                  <a:moveTo>
                    <a:pt x="305" y="256"/>
                  </a:moveTo>
                  <a:cubicBezTo>
                    <a:pt x="297" y="258"/>
                    <a:pt x="298" y="253"/>
                    <a:pt x="291" y="254"/>
                  </a:cubicBezTo>
                  <a:cubicBezTo>
                    <a:pt x="292" y="247"/>
                    <a:pt x="306" y="249"/>
                    <a:pt x="305" y="256"/>
                  </a:cubicBezTo>
                  <a:close/>
                  <a:moveTo>
                    <a:pt x="340" y="197"/>
                  </a:moveTo>
                  <a:cubicBezTo>
                    <a:pt x="342" y="197"/>
                    <a:pt x="343" y="197"/>
                    <a:pt x="345" y="197"/>
                  </a:cubicBezTo>
                  <a:cubicBezTo>
                    <a:pt x="346" y="203"/>
                    <a:pt x="325" y="196"/>
                    <a:pt x="340" y="197"/>
                  </a:cubicBezTo>
                  <a:close/>
                  <a:moveTo>
                    <a:pt x="357" y="258"/>
                  </a:moveTo>
                  <a:cubicBezTo>
                    <a:pt x="359" y="255"/>
                    <a:pt x="361" y="253"/>
                    <a:pt x="357" y="253"/>
                  </a:cubicBezTo>
                  <a:cubicBezTo>
                    <a:pt x="361" y="245"/>
                    <a:pt x="364" y="258"/>
                    <a:pt x="371" y="255"/>
                  </a:cubicBezTo>
                  <a:cubicBezTo>
                    <a:pt x="372" y="260"/>
                    <a:pt x="361" y="256"/>
                    <a:pt x="357" y="258"/>
                  </a:cubicBezTo>
                  <a:close/>
                  <a:moveTo>
                    <a:pt x="415" y="259"/>
                  </a:moveTo>
                  <a:cubicBezTo>
                    <a:pt x="409" y="260"/>
                    <a:pt x="405" y="259"/>
                    <a:pt x="401" y="257"/>
                  </a:cubicBezTo>
                  <a:cubicBezTo>
                    <a:pt x="401" y="253"/>
                    <a:pt x="419" y="252"/>
                    <a:pt x="415" y="259"/>
                  </a:cubicBezTo>
                  <a:close/>
                  <a:moveTo>
                    <a:pt x="480" y="201"/>
                  </a:moveTo>
                  <a:cubicBezTo>
                    <a:pt x="482" y="201"/>
                    <a:pt x="484" y="201"/>
                    <a:pt x="485" y="201"/>
                  </a:cubicBezTo>
                  <a:cubicBezTo>
                    <a:pt x="486" y="208"/>
                    <a:pt x="465" y="201"/>
                    <a:pt x="480" y="201"/>
                  </a:cubicBezTo>
                  <a:close/>
                  <a:moveTo>
                    <a:pt x="502" y="201"/>
                  </a:moveTo>
                  <a:cubicBezTo>
                    <a:pt x="514" y="202"/>
                    <a:pt x="499" y="215"/>
                    <a:pt x="502" y="201"/>
                  </a:cubicBezTo>
                  <a:close/>
                  <a:moveTo>
                    <a:pt x="538" y="205"/>
                  </a:moveTo>
                  <a:cubicBezTo>
                    <a:pt x="538" y="200"/>
                    <a:pt x="545" y="200"/>
                    <a:pt x="548" y="203"/>
                  </a:cubicBezTo>
                  <a:cubicBezTo>
                    <a:pt x="548" y="206"/>
                    <a:pt x="542" y="205"/>
                    <a:pt x="538" y="205"/>
                  </a:cubicBezTo>
                  <a:close/>
                  <a:moveTo>
                    <a:pt x="552" y="264"/>
                  </a:moveTo>
                  <a:cubicBezTo>
                    <a:pt x="551" y="259"/>
                    <a:pt x="554" y="257"/>
                    <a:pt x="555" y="254"/>
                  </a:cubicBezTo>
                  <a:cubicBezTo>
                    <a:pt x="561" y="256"/>
                    <a:pt x="563" y="264"/>
                    <a:pt x="552" y="264"/>
                  </a:cubicBezTo>
                  <a:close/>
                  <a:moveTo>
                    <a:pt x="573" y="204"/>
                  </a:moveTo>
                  <a:cubicBezTo>
                    <a:pt x="574" y="199"/>
                    <a:pt x="587" y="203"/>
                    <a:pt x="592" y="202"/>
                  </a:cubicBezTo>
                  <a:cubicBezTo>
                    <a:pt x="591" y="207"/>
                    <a:pt x="579" y="203"/>
                    <a:pt x="573" y="204"/>
                  </a:cubicBezTo>
                  <a:close/>
                  <a:moveTo>
                    <a:pt x="592" y="199"/>
                  </a:moveTo>
                  <a:cubicBezTo>
                    <a:pt x="587" y="198"/>
                    <a:pt x="592" y="195"/>
                    <a:pt x="592" y="192"/>
                  </a:cubicBezTo>
                  <a:cubicBezTo>
                    <a:pt x="597" y="194"/>
                    <a:pt x="593" y="197"/>
                    <a:pt x="592" y="199"/>
                  </a:cubicBezTo>
                  <a:close/>
                  <a:moveTo>
                    <a:pt x="624" y="265"/>
                  </a:moveTo>
                  <a:cubicBezTo>
                    <a:pt x="625" y="262"/>
                    <a:pt x="627" y="260"/>
                    <a:pt x="632" y="260"/>
                  </a:cubicBezTo>
                  <a:cubicBezTo>
                    <a:pt x="631" y="263"/>
                    <a:pt x="628" y="265"/>
                    <a:pt x="624" y="265"/>
                  </a:cubicBezTo>
                  <a:close/>
                  <a:moveTo>
                    <a:pt x="653" y="203"/>
                  </a:moveTo>
                  <a:cubicBezTo>
                    <a:pt x="655" y="203"/>
                    <a:pt x="658" y="203"/>
                    <a:pt x="661" y="203"/>
                  </a:cubicBezTo>
                  <a:cubicBezTo>
                    <a:pt x="661" y="208"/>
                    <a:pt x="651" y="204"/>
                    <a:pt x="647" y="205"/>
                  </a:cubicBezTo>
                  <a:cubicBezTo>
                    <a:pt x="647" y="203"/>
                    <a:pt x="651" y="204"/>
                    <a:pt x="653" y="203"/>
                  </a:cubicBezTo>
                  <a:close/>
                  <a:moveTo>
                    <a:pt x="656" y="264"/>
                  </a:moveTo>
                  <a:cubicBezTo>
                    <a:pt x="650" y="263"/>
                    <a:pt x="639" y="267"/>
                    <a:pt x="643" y="260"/>
                  </a:cubicBezTo>
                  <a:cubicBezTo>
                    <a:pt x="652" y="263"/>
                    <a:pt x="661" y="258"/>
                    <a:pt x="667" y="264"/>
                  </a:cubicBezTo>
                  <a:cubicBezTo>
                    <a:pt x="676" y="266"/>
                    <a:pt x="663" y="265"/>
                    <a:pt x="656" y="264"/>
                  </a:cubicBezTo>
                  <a:close/>
                  <a:moveTo>
                    <a:pt x="690" y="266"/>
                  </a:moveTo>
                  <a:cubicBezTo>
                    <a:pt x="697" y="257"/>
                    <a:pt x="707" y="271"/>
                    <a:pt x="690" y="266"/>
                  </a:cubicBezTo>
                  <a:close/>
                  <a:moveTo>
                    <a:pt x="714" y="263"/>
                  </a:moveTo>
                  <a:cubicBezTo>
                    <a:pt x="716" y="263"/>
                    <a:pt x="718" y="263"/>
                    <a:pt x="720" y="263"/>
                  </a:cubicBezTo>
                  <a:cubicBezTo>
                    <a:pt x="720" y="270"/>
                    <a:pt x="699" y="263"/>
                    <a:pt x="714" y="263"/>
                  </a:cubicBezTo>
                  <a:close/>
                  <a:moveTo>
                    <a:pt x="738" y="209"/>
                  </a:moveTo>
                  <a:cubicBezTo>
                    <a:pt x="737" y="208"/>
                    <a:pt x="745" y="206"/>
                    <a:pt x="743" y="204"/>
                  </a:cubicBezTo>
                  <a:cubicBezTo>
                    <a:pt x="753" y="208"/>
                    <a:pt x="740" y="210"/>
                    <a:pt x="738" y="209"/>
                  </a:cubicBezTo>
                  <a:close/>
                  <a:moveTo>
                    <a:pt x="777" y="267"/>
                  </a:moveTo>
                  <a:cubicBezTo>
                    <a:pt x="773" y="266"/>
                    <a:pt x="763" y="269"/>
                    <a:pt x="766" y="262"/>
                  </a:cubicBezTo>
                  <a:cubicBezTo>
                    <a:pt x="773" y="263"/>
                    <a:pt x="779" y="265"/>
                    <a:pt x="788" y="264"/>
                  </a:cubicBezTo>
                  <a:cubicBezTo>
                    <a:pt x="788" y="270"/>
                    <a:pt x="782" y="267"/>
                    <a:pt x="777" y="267"/>
                  </a:cubicBezTo>
                  <a:close/>
                  <a:moveTo>
                    <a:pt x="791" y="269"/>
                  </a:moveTo>
                  <a:cubicBezTo>
                    <a:pt x="793" y="266"/>
                    <a:pt x="797" y="264"/>
                    <a:pt x="802" y="264"/>
                  </a:cubicBezTo>
                  <a:cubicBezTo>
                    <a:pt x="801" y="268"/>
                    <a:pt x="797" y="269"/>
                    <a:pt x="791" y="269"/>
                  </a:cubicBezTo>
                  <a:close/>
                  <a:moveTo>
                    <a:pt x="810" y="261"/>
                  </a:moveTo>
                  <a:cubicBezTo>
                    <a:pt x="814" y="263"/>
                    <a:pt x="815" y="266"/>
                    <a:pt x="816" y="271"/>
                  </a:cubicBezTo>
                  <a:cubicBezTo>
                    <a:pt x="807" y="272"/>
                    <a:pt x="806" y="265"/>
                    <a:pt x="810" y="261"/>
                  </a:cubicBezTo>
                  <a:close/>
                  <a:moveTo>
                    <a:pt x="824" y="264"/>
                  </a:moveTo>
                  <a:cubicBezTo>
                    <a:pt x="830" y="269"/>
                    <a:pt x="836" y="261"/>
                    <a:pt x="840" y="266"/>
                  </a:cubicBezTo>
                  <a:cubicBezTo>
                    <a:pt x="836" y="270"/>
                    <a:pt x="824" y="273"/>
                    <a:pt x="824" y="264"/>
                  </a:cubicBezTo>
                  <a:close/>
                  <a:moveTo>
                    <a:pt x="865" y="268"/>
                  </a:moveTo>
                  <a:cubicBezTo>
                    <a:pt x="867" y="267"/>
                    <a:pt x="869" y="267"/>
                    <a:pt x="871" y="267"/>
                  </a:cubicBezTo>
                  <a:cubicBezTo>
                    <a:pt x="871" y="274"/>
                    <a:pt x="850" y="267"/>
                    <a:pt x="865" y="268"/>
                  </a:cubicBezTo>
                  <a:close/>
                  <a:moveTo>
                    <a:pt x="866" y="326"/>
                  </a:moveTo>
                  <a:cubicBezTo>
                    <a:pt x="866" y="325"/>
                    <a:pt x="866" y="323"/>
                    <a:pt x="866" y="321"/>
                  </a:cubicBezTo>
                  <a:cubicBezTo>
                    <a:pt x="868" y="321"/>
                    <a:pt x="870" y="321"/>
                    <a:pt x="871" y="321"/>
                  </a:cubicBezTo>
                  <a:cubicBezTo>
                    <a:pt x="872" y="323"/>
                    <a:pt x="872" y="325"/>
                    <a:pt x="872" y="326"/>
                  </a:cubicBezTo>
                  <a:cubicBezTo>
                    <a:pt x="870" y="326"/>
                    <a:pt x="868" y="326"/>
                    <a:pt x="866" y="326"/>
                  </a:cubicBezTo>
                  <a:close/>
                  <a:moveTo>
                    <a:pt x="903" y="269"/>
                  </a:moveTo>
                  <a:cubicBezTo>
                    <a:pt x="912" y="260"/>
                    <a:pt x="913" y="276"/>
                    <a:pt x="903" y="269"/>
                  </a:cubicBezTo>
                  <a:close/>
                  <a:moveTo>
                    <a:pt x="925" y="266"/>
                  </a:moveTo>
                  <a:cubicBezTo>
                    <a:pt x="930" y="266"/>
                    <a:pt x="931" y="269"/>
                    <a:pt x="936" y="269"/>
                  </a:cubicBezTo>
                  <a:cubicBezTo>
                    <a:pt x="937" y="273"/>
                    <a:pt x="921" y="273"/>
                    <a:pt x="925" y="266"/>
                  </a:cubicBezTo>
                  <a:close/>
                  <a:moveTo>
                    <a:pt x="947" y="271"/>
                  </a:moveTo>
                  <a:cubicBezTo>
                    <a:pt x="945" y="264"/>
                    <a:pt x="953" y="266"/>
                    <a:pt x="958" y="266"/>
                  </a:cubicBezTo>
                  <a:cubicBezTo>
                    <a:pt x="958" y="270"/>
                    <a:pt x="954" y="271"/>
                    <a:pt x="947" y="271"/>
                  </a:cubicBezTo>
                  <a:close/>
                  <a:moveTo>
                    <a:pt x="961" y="271"/>
                  </a:moveTo>
                  <a:cubicBezTo>
                    <a:pt x="963" y="269"/>
                    <a:pt x="964" y="267"/>
                    <a:pt x="964" y="263"/>
                  </a:cubicBezTo>
                  <a:cubicBezTo>
                    <a:pt x="971" y="263"/>
                    <a:pt x="972" y="267"/>
                    <a:pt x="978" y="268"/>
                  </a:cubicBezTo>
                  <a:cubicBezTo>
                    <a:pt x="977" y="273"/>
                    <a:pt x="966" y="269"/>
                    <a:pt x="961" y="271"/>
                  </a:cubicBezTo>
                  <a:close/>
                  <a:moveTo>
                    <a:pt x="986" y="275"/>
                  </a:moveTo>
                  <a:cubicBezTo>
                    <a:pt x="985" y="273"/>
                    <a:pt x="987" y="273"/>
                    <a:pt x="989" y="272"/>
                  </a:cubicBezTo>
                  <a:cubicBezTo>
                    <a:pt x="985" y="269"/>
                    <a:pt x="980" y="268"/>
                    <a:pt x="986" y="263"/>
                  </a:cubicBezTo>
                  <a:cubicBezTo>
                    <a:pt x="994" y="261"/>
                    <a:pt x="989" y="271"/>
                    <a:pt x="1000" y="268"/>
                  </a:cubicBezTo>
                  <a:cubicBezTo>
                    <a:pt x="995" y="270"/>
                    <a:pt x="993" y="274"/>
                    <a:pt x="986" y="275"/>
                  </a:cubicBezTo>
                  <a:close/>
                  <a:moveTo>
                    <a:pt x="1011" y="272"/>
                  </a:moveTo>
                  <a:cubicBezTo>
                    <a:pt x="1011" y="270"/>
                    <a:pt x="1011" y="269"/>
                    <a:pt x="1010" y="267"/>
                  </a:cubicBezTo>
                  <a:cubicBezTo>
                    <a:pt x="1012" y="267"/>
                    <a:pt x="1014" y="267"/>
                    <a:pt x="1016" y="267"/>
                  </a:cubicBezTo>
                  <a:cubicBezTo>
                    <a:pt x="1016" y="269"/>
                    <a:pt x="1016" y="270"/>
                    <a:pt x="1016" y="272"/>
                  </a:cubicBezTo>
                  <a:cubicBezTo>
                    <a:pt x="1014" y="272"/>
                    <a:pt x="1012" y="272"/>
                    <a:pt x="1011" y="272"/>
                  </a:cubicBezTo>
                  <a:close/>
                  <a:moveTo>
                    <a:pt x="1150" y="270"/>
                  </a:moveTo>
                  <a:cubicBezTo>
                    <a:pt x="1150" y="268"/>
                    <a:pt x="1150" y="266"/>
                    <a:pt x="1150" y="265"/>
                  </a:cubicBezTo>
                  <a:cubicBezTo>
                    <a:pt x="1152" y="265"/>
                    <a:pt x="1154" y="265"/>
                    <a:pt x="1156" y="265"/>
                  </a:cubicBezTo>
                  <a:cubicBezTo>
                    <a:pt x="1156" y="266"/>
                    <a:pt x="1156" y="268"/>
                    <a:pt x="1156" y="269"/>
                  </a:cubicBezTo>
                  <a:cubicBezTo>
                    <a:pt x="1154" y="270"/>
                    <a:pt x="1152" y="270"/>
                    <a:pt x="1150" y="270"/>
                  </a:cubicBezTo>
                  <a:close/>
                  <a:moveTo>
                    <a:pt x="1170" y="269"/>
                  </a:moveTo>
                  <a:cubicBezTo>
                    <a:pt x="1170" y="268"/>
                    <a:pt x="1170" y="266"/>
                    <a:pt x="1170" y="265"/>
                  </a:cubicBezTo>
                  <a:cubicBezTo>
                    <a:pt x="1171" y="265"/>
                    <a:pt x="1173" y="265"/>
                    <a:pt x="1175" y="264"/>
                  </a:cubicBezTo>
                  <a:cubicBezTo>
                    <a:pt x="1175" y="266"/>
                    <a:pt x="1175" y="268"/>
                    <a:pt x="1175" y="269"/>
                  </a:cubicBezTo>
                  <a:cubicBezTo>
                    <a:pt x="1173" y="269"/>
                    <a:pt x="1171" y="269"/>
                    <a:pt x="1170" y="269"/>
                  </a:cubicBezTo>
                  <a:close/>
                  <a:moveTo>
                    <a:pt x="1194" y="271"/>
                  </a:moveTo>
                  <a:cubicBezTo>
                    <a:pt x="1195" y="263"/>
                    <a:pt x="1187" y="272"/>
                    <a:pt x="1181" y="267"/>
                  </a:cubicBezTo>
                  <a:cubicBezTo>
                    <a:pt x="1179" y="261"/>
                    <a:pt x="1191" y="267"/>
                    <a:pt x="1194" y="264"/>
                  </a:cubicBezTo>
                  <a:cubicBezTo>
                    <a:pt x="1194" y="264"/>
                    <a:pt x="1194" y="262"/>
                    <a:pt x="1194" y="262"/>
                  </a:cubicBezTo>
                  <a:cubicBezTo>
                    <a:pt x="1200" y="261"/>
                    <a:pt x="1208" y="268"/>
                    <a:pt x="1211" y="261"/>
                  </a:cubicBezTo>
                  <a:cubicBezTo>
                    <a:pt x="1221" y="266"/>
                    <a:pt x="1208" y="265"/>
                    <a:pt x="1205" y="266"/>
                  </a:cubicBezTo>
                  <a:cubicBezTo>
                    <a:pt x="1201" y="268"/>
                    <a:pt x="1198" y="272"/>
                    <a:pt x="1194" y="271"/>
                  </a:cubicBezTo>
                  <a:close/>
                  <a:moveTo>
                    <a:pt x="1199" y="353"/>
                  </a:moveTo>
                  <a:cubicBezTo>
                    <a:pt x="1207" y="350"/>
                    <a:pt x="1205" y="357"/>
                    <a:pt x="1210" y="358"/>
                  </a:cubicBezTo>
                  <a:cubicBezTo>
                    <a:pt x="1209" y="363"/>
                    <a:pt x="1194" y="361"/>
                    <a:pt x="1199" y="353"/>
                  </a:cubicBezTo>
                  <a:close/>
                  <a:moveTo>
                    <a:pt x="1212" y="355"/>
                  </a:moveTo>
                  <a:cubicBezTo>
                    <a:pt x="1215" y="349"/>
                    <a:pt x="1216" y="353"/>
                    <a:pt x="1223" y="353"/>
                  </a:cubicBezTo>
                  <a:cubicBezTo>
                    <a:pt x="1223" y="358"/>
                    <a:pt x="1216" y="358"/>
                    <a:pt x="1212" y="355"/>
                  </a:cubicBezTo>
                  <a:close/>
                  <a:moveTo>
                    <a:pt x="1227" y="261"/>
                  </a:moveTo>
                  <a:cubicBezTo>
                    <a:pt x="1232" y="261"/>
                    <a:pt x="1234" y="265"/>
                    <a:pt x="1235" y="261"/>
                  </a:cubicBezTo>
                  <a:cubicBezTo>
                    <a:pt x="1247" y="264"/>
                    <a:pt x="1223" y="271"/>
                    <a:pt x="1227" y="261"/>
                  </a:cubicBezTo>
                  <a:close/>
                  <a:moveTo>
                    <a:pt x="1237" y="195"/>
                  </a:moveTo>
                  <a:cubicBezTo>
                    <a:pt x="1237" y="194"/>
                    <a:pt x="1237" y="192"/>
                    <a:pt x="1237" y="191"/>
                  </a:cubicBezTo>
                  <a:cubicBezTo>
                    <a:pt x="1239" y="190"/>
                    <a:pt x="1240" y="190"/>
                    <a:pt x="1242" y="190"/>
                  </a:cubicBezTo>
                  <a:cubicBezTo>
                    <a:pt x="1242" y="192"/>
                    <a:pt x="1242" y="194"/>
                    <a:pt x="1242" y="195"/>
                  </a:cubicBezTo>
                  <a:cubicBezTo>
                    <a:pt x="1241" y="195"/>
                    <a:pt x="1239" y="195"/>
                    <a:pt x="1237" y="195"/>
                  </a:cubicBezTo>
                  <a:close/>
                  <a:moveTo>
                    <a:pt x="1259" y="195"/>
                  </a:moveTo>
                  <a:cubicBezTo>
                    <a:pt x="1252" y="196"/>
                    <a:pt x="1252" y="190"/>
                    <a:pt x="1250" y="186"/>
                  </a:cubicBezTo>
                  <a:cubicBezTo>
                    <a:pt x="1258" y="185"/>
                    <a:pt x="1258" y="190"/>
                    <a:pt x="1259" y="195"/>
                  </a:cubicBezTo>
                  <a:close/>
                  <a:moveTo>
                    <a:pt x="1252" y="261"/>
                  </a:moveTo>
                  <a:cubicBezTo>
                    <a:pt x="1256" y="260"/>
                    <a:pt x="1262" y="262"/>
                    <a:pt x="1263" y="258"/>
                  </a:cubicBezTo>
                  <a:cubicBezTo>
                    <a:pt x="1266" y="259"/>
                    <a:pt x="1265" y="262"/>
                    <a:pt x="1266" y="265"/>
                  </a:cubicBezTo>
                  <a:cubicBezTo>
                    <a:pt x="1263" y="268"/>
                    <a:pt x="1252" y="268"/>
                    <a:pt x="1252" y="261"/>
                  </a:cubicBezTo>
                  <a:close/>
                  <a:moveTo>
                    <a:pt x="1279" y="267"/>
                  </a:moveTo>
                  <a:cubicBezTo>
                    <a:pt x="1271" y="269"/>
                    <a:pt x="1269" y="262"/>
                    <a:pt x="1274" y="258"/>
                  </a:cubicBezTo>
                  <a:cubicBezTo>
                    <a:pt x="1279" y="259"/>
                    <a:pt x="1280" y="262"/>
                    <a:pt x="1279" y="267"/>
                  </a:cubicBezTo>
                  <a:close/>
                  <a:moveTo>
                    <a:pt x="1282" y="260"/>
                  </a:moveTo>
                  <a:cubicBezTo>
                    <a:pt x="1283" y="254"/>
                    <a:pt x="1287" y="263"/>
                    <a:pt x="1293" y="260"/>
                  </a:cubicBezTo>
                  <a:cubicBezTo>
                    <a:pt x="1291" y="268"/>
                    <a:pt x="1287" y="262"/>
                    <a:pt x="1282" y="260"/>
                  </a:cubicBezTo>
                  <a:close/>
                  <a:moveTo>
                    <a:pt x="1312" y="257"/>
                  </a:moveTo>
                  <a:cubicBezTo>
                    <a:pt x="1308" y="258"/>
                    <a:pt x="1310" y="265"/>
                    <a:pt x="1301" y="262"/>
                  </a:cubicBezTo>
                  <a:cubicBezTo>
                    <a:pt x="1300" y="255"/>
                    <a:pt x="1310" y="257"/>
                    <a:pt x="1315" y="255"/>
                  </a:cubicBezTo>
                  <a:cubicBezTo>
                    <a:pt x="1316" y="259"/>
                    <a:pt x="1312" y="260"/>
                    <a:pt x="1312" y="257"/>
                  </a:cubicBezTo>
                  <a:close/>
                  <a:moveTo>
                    <a:pt x="1479" y="238"/>
                  </a:moveTo>
                  <a:cubicBezTo>
                    <a:pt x="1478" y="239"/>
                    <a:pt x="1476" y="232"/>
                    <a:pt x="1474" y="233"/>
                  </a:cubicBezTo>
                  <a:cubicBezTo>
                    <a:pt x="1478" y="225"/>
                    <a:pt x="1481" y="236"/>
                    <a:pt x="1479" y="238"/>
                  </a:cubicBezTo>
                  <a:close/>
                  <a:moveTo>
                    <a:pt x="1448" y="177"/>
                  </a:moveTo>
                  <a:cubicBezTo>
                    <a:pt x="1447" y="180"/>
                    <a:pt x="1445" y="182"/>
                    <a:pt x="1440" y="182"/>
                  </a:cubicBezTo>
                  <a:cubicBezTo>
                    <a:pt x="1438" y="177"/>
                    <a:pt x="1444" y="178"/>
                    <a:pt x="1448" y="177"/>
                  </a:cubicBezTo>
                  <a:close/>
                  <a:moveTo>
                    <a:pt x="1424" y="248"/>
                  </a:moveTo>
                  <a:cubicBezTo>
                    <a:pt x="1429" y="248"/>
                    <a:pt x="1429" y="250"/>
                    <a:pt x="1433" y="251"/>
                  </a:cubicBezTo>
                  <a:cubicBezTo>
                    <a:pt x="1434" y="255"/>
                    <a:pt x="1420" y="254"/>
                    <a:pt x="1424" y="248"/>
                  </a:cubicBezTo>
                  <a:close/>
                  <a:moveTo>
                    <a:pt x="1334" y="259"/>
                  </a:moveTo>
                  <a:cubicBezTo>
                    <a:pt x="1334" y="257"/>
                    <a:pt x="1331" y="258"/>
                    <a:pt x="1329" y="257"/>
                  </a:cubicBezTo>
                  <a:cubicBezTo>
                    <a:pt x="1331" y="252"/>
                    <a:pt x="1344" y="256"/>
                    <a:pt x="1350" y="254"/>
                  </a:cubicBezTo>
                  <a:cubicBezTo>
                    <a:pt x="1347" y="261"/>
                    <a:pt x="1344" y="256"/>
                    <a:pt x="1334" y="259"/>
                  </a:cubicBezTo>
                  <a:close/>
                  <a:moveTo>
                    <a:pt x="1392" y="279"/>
                  </a:moveTo>
                  <a:cubicBezTo>
                    <a:pt x="1392" y="278"/>
                    <a:pt x="1392" y="276"/>
                    <a:pt x="1392" y="275"/>
                  </a:cubicBezTo>
                  <a:cubicBezTo>
                    <a:pt x="1394" y="275"/>
                    <a:pt x="1396" y="275"/>
                    <a:pt x="1397" y="275"/>
                  </a:cubicBezTo>
                  <a:cubicBezTo>
                    <a:pt x="1398" y="276"/>
                    <a:pt x="1398" y="278"/>
                    <a:pt x="1398" y="279"/>
                  </a:cubicBezTo>
                  <a:cubicBezTo>
                    <a:pt x="1396" y="279"/>
                    <a:pt x="1394" y="279"/>
                    <a:pt x="1392" y="279"/>
                  </a:cubicBezTo>
                  <a:close/>
                  <a:moveTo>
                    <a:pt x="1394" y="258"/>
                  </a:moveTo>
                  <a:cubicBezTo>
                    <a:pt x="1394" y="261"/>
                    <a:pt x="1392" y="260"/>
                    <a:pt x="1392" y="258"/>
                  </a:cubicBezTo>
                  <a:cubicBezTo>
                    <a:pt x="1388" y="259"/>
                    <a:pt x="1384" y="259"/>
                    <a:pt x="1383" y="256"/>
                  </a:cubicBezTo>
                  <a:cubicBezTo>
                    <a:pt x="1381" y="258"/>
                    <a:pt x="1376" y="260"/>
                    <a:pt x="1375" y="256"/>
                  </a:cubicBezTo>
                  <a:cubicBezTo>
                    <a:pt x="1373" y="257"/>
                    <a:pt x="1372" y="259"/>
                    <a:pt x="1370" y="259"/>
                  </a:cubicBezTo>
                  <a:cubicBezTo>
                    <a:pt x="1369" y="261"/>
                    <a:pt x="1371" y="261"/>
                    <a:pt x="1373" y="261"/>
                  </a:cubicBezTo>
                  <a:cubicBezTo>
                    <a:pt x="1373" y="267"/>
                    <a:pt x="1365" y="260"/>
                    <a:pt x="1367" y="256"/>
                  </a:cubicBezTo>
                  <a:cubicBezTo>
                    <a:pt x="1362" y="257"/>
                    <a:pt x="1365" y="266"/>
                    <a:pt x="1356" y="264"/>
                  </a:cubicBezTo>
                  <a:cubicBezTo>
                    <a:pt x="1358" y="256"/>
                    <a:pt x="1351" y="256"/>
                    <a:pt x="1356" y="252"/>
                  </a:cubicBezTo>
                  <a:cubicBezTo>
                    <a:pt x="1360" y="249"/>
                    <a:pt x="1366" y="255"/>
                    <a:pt x="1367" y="254"/>
                  </a:cubicBezTo>
                  <a:cubicBezTo>
                    <a:pt x="1367" y="254"/>
                    <a:pt x="1367" y="252"/>
                    <a:pt x="1367" y="252"/>
                  </a:cubicBezTo>
                  <a:cubicBezTo>
                    <a:pt x="1370" y="251"/>
                    <a:pt x="1372" y="254"/>
                    <a:pt x="1372" y="254"/>
                  </a:cubicBezTo>
                  <a:cubicBezTo>
                    <a:pt x="1379" y="253"/>
                    <a:pt x="1377" y="249"/>
                    <a:pt x="1383" y="249"/>
                  </a:cubicBezTo>
                  <a:cubicBezTo>
                    <a:pt x="1383" y="249"/>
                    <a:pt x="1384" y="255"/>
                    <a:pt x="1386" y="254"/>
                  </a:cubicBezTo>
                  <a:cubicBezTo>
                    <a:pt x="1392" y="254"/>
                    <a:pt x="1387" y="245"/>
                    <a:pt x="1389" y="242"/>
                  </a:cubicBezTo>
                  <a:cubicBezTo>
                    <a:pt x="1391" y="243"/>
                    <a:pt x="1393" y="244"/>
                    <a:pt x="1397" y="244"/>
                  </a:cubicBezTo>
                  <a:cubicBezTo>
                    <a:pt x="1396" y="246"/>
                    <a:pt x="1395" y="248"/>
                    <a:pt x="1392" y="249"/>
                  </a:cubicBezTo>
                  <a:cubicBezTo>
                    <a:pt x="1391" y="255"/>
                    <a:pt x="1404" y="247"/>
                    <a:pt x="1400" y="256"/>
                  </a:cubicBezTo>
                  <a:cubicBezTo>
                    <a:pt x="1395" y="255"/>
                    <a:pt x="1390" y="258"/>
                    <a:pt x="1394" y="258"/>
                  </a:cubicBezTo>
                  <a:close/>
                  <a:moveTo>
                    <a:pt x="1405" y="258"/>
                  </a:moveTo>
                  <a:cubicBezTo>
                    <a:pt x="1407" y="258"/>
                    <a:pt x="1409" y="258"/>
                    <a:pt x="1411" y="258"/>
                  </a:cubicBezTo>
                  <a:cubicBezTo>
                    <a:pt x="1412" y="265"/>
                    <a:pt x="1390" y="258"/>
                    <a:pt x="1405" y="258"/>
                  </a:cubicBezTo>
                  <a:close/>
                  <a:moveTo>
                    <a:pt x="1403" y="279"/>
                  </a:moveTo>
                  <a:cubicBezTo>
                    <a:pt x="1403" y="277"/>
                    <a:pt x="1406" y="277"/>
                    <a:pt x="1408" y="277"/>
                  </a:cubicBezTo>
                  <a:cubicBezTo>
                    <a:pt x="1410" y="277"/>
                    <a:pt x="1412" y="277"/>
                    <a:pt x="1414" y="277"/>
                  </a:cubicBezTo>
                  <a:cubicBezTo>
                    <a:pt x="1413" y="280"/>
                    <a:pt x="1407" y="279"/>
                    <a:pt x="1403" y="279"/>
                  </a:cubicBezTo>
                  <a:close/>
                  <a:moveTo>
                    <a:pt x="1416" y="256"/>
                  </a:moveTo>
                  <a:cubicBezTo>
                    <a:pt x="1412" y="256"/>
                    <a:pt x="1407" y="256"/>
                    <a:pt x="1403" y="256"/>
                  </a:cubicBezTo>
                  <a:cubicBezTo>
                    <a:pt x="1401" y="247"/>
                    <a:pt x="1411" y="248"/>
                    <a:pt x="1419" y="248"/>
                  </a:cubicBezTo>
                  <a:cubicBezTo>
                    <a:pt x="1419" y="254"/>
                    <a:pt x="1424" y="256"/>
                    <a:pt x="1419" y="260"/>
                  </a:cubicBezTo>
                  <a:cubicBezTo>
                    <a:pt x="1416" y="260"/>
                    <a:pt x="1417" y="257"/>
                    <a:pt x="1416" y="256"/>
                  </a:cubicBezTo>
                  <a:close/>
                  <a:moveTo>
                    <a:pt x="1418" y="352"/>
                  </a:moveTo>
                  <a:cubicBezTo>
                    <a:pt x="1417" y="348"/>
                    <a:pt x="1423" y="346"/>
                    <a:pt x="1418" y="345"/>
                  </a:cubicBezTo>
                  <a:cubicBezTo>
                    <a:pt x="1420" y="342"/>
                    <a:pt x="1424" y="342"/>
                    <a:pt x="1423" y="338"/>
                  </a:cubicBezTo>
                  <a:cubicBezTo>
                    <a:pt x="1428" y="340"/>
                    <a:pt x="1430" y="344"/>
                    <a:pt x="1426" y="347"/>
                  </a:cubicBezTo>
                  <a:cubicBezTo>
                    <a:pt x="1427" y="352"/>
                    <a:pt x="1433" y="344"/>
                    <a:pt x="1440" y="347"/>
                  </a:cubicBezTo>
                  <a:cubicBezTo>
                    <a:pt x="1439" y="354"/>
                    <a:pt x="1426" y="351"/>
                    <a:pt x="1418" y="352"/>
                  </a:cubicBezTo>
                  <a:close/>
                  <a:moveTo>
                    <a:pt x="1433" y="281"/>
                  </a:moveTo>
                  <a:cubicBezTo>
                    <a:pt x="1435" y="277"/>
                    <a:pt x="1438" y="281"/>
                    <a:pt x="1441" y="281"/>
                  </a:cubicBezTo>
                  <a:cubicBezTo>
                    <a:pt x="1440" y="285"/>
                    <a:pt x="1437" y="281"/>
                    <a:pt x="1433" y="281"/>
                  </a:cubicBezTo>
                  <a:close/>
                  <a:moveTo>
                    <a:pt x="1438" y="250"/>
                  </a:moveTo>
                  <a:cubicBezTo>
                    <a:pt x="1435" y="241"/>
                    <a:pt x="1455" y="254"/>
                    <a:pt x="1452" y="241"/>
                  </a:cubicBezTo>
                  <a:cubicBezTo>
                    <a:pt x="1457" y="241"/>
                    <a:pt x="1454" y="249"/>
                    <a:pt x="1460" y="248"/>
                  </a:cubicBezTo>
                  <a:cubicBezTo>
                    <a:pt x="1459" y="250"/>
                    <a:pt x="1439" y="253"/>
                    <a:pt x="1438" y="250"/>
                  </a:cubicBezTo>
                  <a:close/>
                  <a:moveTo>
                    <a:pt x="1456" y="330"/>
                  </a:moveTo>
                  <a:cubicBezTo>
                    <a:pt x="1459" y="331"/>
                    <a:pt x="1462" y="333"/>
                    <a:pt x="1462" y="337"/>
                  </a:cubicBezTo>
                  <a:cubicBezTo>
                    <a:pt x="1458" y="336"/>
                    <a:pt x="1456" y="334"/>
                    <a:pt x="1456" y="330"/>
                  </a:cubicBezTo>
                  <a:close/>
                  <a:moveTo>
                    <a:pt x="1485" y="250"/>
                  </a:moveTo>
                  <a:cubicBezTo>
                    <a:pt x="1485" y="251"/>
                    <a:pt x="1485" y="253"/>
                    <a:pt x="1485" y="254"/>
                  </a:cubicBezTo>
                  <a:cubicBezTo>
                    <a:pt x="1482" y="254"/>
                    <a:pt x="1483" y="251"/>
                    <a:pt x="1482" y="250"/>
                  </a:cubicBezTo>
                  <a:cubicBezTo>
                    <a:pt x="1477" y="251"/>
                    <a:pt x="1466" y="247"/>
                    <a:pt x="1466" y="252"/>
                  </a:cubicBezTo>
                  <a:cubicBezTo>
                    <a:pt x="1462" y="252"/>
                    <a:pt x="1463" y="246"/>
                    <a:pt x="1463" y="243"/>
                  </a:cubicBezTo>
                  <a:cubicBezTo>
                    <a:pt x="1468" y="244"/>
                    <a:pt x="1471" y="242"/>
                    <a:pt x="1471" y="238"/>
                  </a:cubicBezTo>
                  <a:cubicBezTo>
                    <a:pt x="1476" y="242"/>
                    <a:pt x="1478" y="248"/>
                    <a:pt x="1487" y="247"/>
                  </a:cubicBezTo>
                  <a:cubicBezTo>
                    <a:pt x="1488" y="249"/>
                    <a:pt x="1486" y="249"/>
                    <a:pt x="1485" y="250"/>
                  </a:cubicBezTo>
                  <a:close/>
                  <a:moveTo>
                    <a:pt x="1493" y="233"/>
                  </a:moveTo>
                  <a:cubicBezTo>
                    <a:pt x="1505" y="234"/>
                    <a:pt x="1490" y="247"/>
                    <a:pt x="1493" y="233"/>
                  </a:cubicBezTo>
                  <a:close/>
                  <a:moveTo>
                    <a:pt x="1529" y="251"/>
                  </a:moveTo>
                  <a:cubicBezTo>
                    <a:pt x="1523" y="254"/>
                    <a:pt x="1525" y="247"/>
                    <a:pt x="1523" y="247"/>
                  </a:cubicBezTo>
                  <a:cubicBezTo>
                    <a:pt x="1516" y="244"/>
                    <a:pt x="1502" y="249"/>
                    <a:pt x="1493" y="247"/>
                  </a:cubicBezTo>
                  <a:cubicBezTo>
                    <a:pt x="1492" y="243"/>
                    <a:pt x="1499" y="246"/>
                    <a:pt x="1501" y="245"/>
                  </a:cubicBezTo>
                  <a:cubicBezTo>
                    <a:pt x="1504" y="242"/>
                    <a:pt x="1505" y="245"/>
                    <a:pt x="1512" y="242"/>
                  </a:cubicBezTo>
                  <a:cubicBezTo>
                    <a:pt x="1513" y="242"/>
                    <a:pt x="1517" y="243"/>
                    <a:pt x="1518" y="242"/>
                  </a:cubicBezTo>
                  <a:cubicBezTo>
                    <a:pt x="1519" y="240"/>
                    <a:pt x="1519" y="240"/>
                    <a:pt x="1520" y="242"/>
                  </a:cubicBezTo>
                  <a:cubicBezTo>
                    <a:pt x="1525" y="242"/>
                    <a:pt x="1526" y="239"/>
                    <a:pt x="1531" y="239"/>
                  </a:cubicBezTo>
                  <a:cubicBezTo>
                    <a:pt x="1532" y="245"/>
                    <a:pt x="1526" y="245"/>
                    <a:pt x="1529" y="251"/>
                  </a:cubicBezTo>
                  <a:close/>
                  <a:moveTo>
                    <a:pt x="1606" y="125"/>
                  </a:moveTo>
                  <a:cubicBezTo>
                    <a:pt x="1608" y="119"/>
                    <a:pt x="1609" y="131"/>
                    <a:pt x="1609" y="132"/>
                  </a:cubicBezTo>
                  <a:cubicBezTo>
                    <a:pt x="1608" y="137"/>
                    <a:pt x="1604" y="134"/>
                    <a:pt x="1606" y="125"/>
                  </a:cubicBezTo>
                  <a:close/>
                  <a:moveTo>
                    <a:pt x="1536" y="181"/>
                  </a:moveTo>
                  <a:cubicBezTo>
                    <a:pt x="1539" y="181"/>
                    <a:pt x="1541" y="180"/>
                    <a:pt x="1544" y="180"/>
                  </a:cubicBezTo>
                  <a:cubicBezTo>
                    <a:pt x="1546" y="182"/>
                    <a:pt x="1547" y="178"/>
                    <a:pt x="1547" y="178"/>
                  </a:cubicBezTo>
                  <a:cubicBezTo>
                    <a:pt x="1560" y="181"/>
                    <a:pt x="1525" y="188"/>
                    <a:pt x="1536" y="181"/>
                  </a:cubicBezTo>
                  <a:close/>
                  <a:moveTo>
                    <a:pt x="1566" y="340"/>
                  </a:moveTo>
                  <a:cubicBezTo>
                    <a:pt x="1566" y="338"/>
                    <a:pt x="1566" y="337"/>
                    <a:pt x="1566" y="335"/>
                  </a:cubicBezTo>
                  <a:cubicBezTo>
                    <a:pt x="1571" y="334"/>
                    <a:pt x="1574" y="335"/>
                    <a:pt x="1574" y="340"/>
                  </a:cubicBezTo>
                  <a:cubicBezTo>
                    <a:pt x="1571" y="340"/>
                    <a:pt x="1569" y="340"/>
                    <a:pt x="1566" y="340"/>
                  </a:cubicBezTo>
                  <a:close/>
                  <a:moveTo>
                    <a:pt x="1582" y="342"/>
                  </a:moveTo>
                  <a:cubicBezTo>
                    <a:pt x="1581" y="343"/>
                    <a:pt x="1574" y="336"/>
                    <a:pt x="1580" y="333"/>
                  </a:cubicBezTo>
                  <a:cubicBezTo>
                    <a:pt x="1582" y="332"/>
                    <a:pt x="1584" y="340"/>
                    <a:pt x="1582" y="342"/>
                  </a:cubicBezTo>
                  <a:close/>
                  <a:moveTo>
                    <a:pt x="1573" y="248"/>
                  </a:moveTo>
                  <a:cubicBezTo>
                    <a:pt x="1569" y="250"/>
                    <a:pt x="1569" y="237"/>
                    <a:pt x="1564" y="241"/>
                  </a:cubicBezTo>
                  <a:cubicBezTo>
                    <a:pt x="1564" y="241"/>
                    <a:pt x="1565" y="243"/>
                    <a:pt x="1564" y="244"/>
                  </a:cubicBezTo>
                  <a:cubicBezTo>
                    <a:pt x="1559" y="245"/>
                    <a:pt x="1545" y="243"/>
                    <a:pt x="1537" y="244"/>
                  </a:cubicBezTo>
                  <a:cubicBezTo>
                    <a:pt x="1537" y="236"/>
                    <a:pt x="1545" y="242"/>
                    <a:pt x="1548" y="241"/>
                  </a:cubicBezTo>
                  <a:cubicBezTo>
                    <a:pt x="1550" y="241"/>
                    <a:pt x="1550" y="239"/>
                    <a:pt x="1551" y="239"/>
                  </a:cubicBezTo>
                  <a:cubicBezTo>
                    <a:pt x="1553" y="239"/>
                    <a:pt x="1557" y="243"/>
                    <a:pt x="1556" y="237"/>
                  </a:cubicBezTo>
                  <a:cubicBezTo>
                    <a:pt x="1558" y="238"/>
                    <a:pt x="1559" y="238"/>
                    <a:pt x="1561" y="239"/>
                  </a:cubicBezTo>
                  <a:cubicBezTo>
                    <a:pt x="1562" y="239"/>
                    <a:pt x="1566" y="238"/>
                    <a:pt x="1567" y="239"/>
                  </a:cubicBezTo>
                  <a:cubicBezTo>
                    <a:pt x="1569" y="241"/>
                    <a:pt x="1568" y="240"/>
                    <a:pt x="1578" y="239"/>
                  </a:cubicBezTo>
                  <a:cubicBezTo>
                    <a:pt x="1580" y="238"/>
                    <a:pt x="1588" y="240"/>
                    <a:pt x="1589" y="238"/>
                  </a:cubicBezTo>
                  <a:cubicBezTo>
                    <a:pt x="1592" y="235"/>
                    <a:pt x="1589" y="239"/>
                    <a:pt x="1600" y="238"/>
                  </a:cubicBezTo>
                  <a:cubicBezTo>
                    <a:pt x="1605" y="238"/>
                    <a:pt x="1606" y="236"/>
                    <a:pt x="1611" y="236"/>
                  </a:cubicBezTo>
                  <a:cubicBezTo>
                    <a:pt x="1613" y="249"/>
                    <a:pt x="1568" y="231"/>
                    <a:pt x="1573" y="248"/>
                  </a:cubicBezTo>
                  <a:close/>
                  <a:moveTo>
                    <a:pt x="1593" y="337"/>
                  </a:moveTo>
                  <a:cubicBezTo>
                    <a:pt x="1596" y="328"/>
                    <a:pt x="1599" y="337"/>
                    <a:pt x="1604" y="337"/>
                  </a:cubicBezTo>
                  <a:cubicBezTo>
                    <a:pt x="1606" y="337"/>
                    <a:pt x="1609" y="333"/>
                    <a:pt x="1612" y="334"/>
                  </a:cubicBezTo>
                  <a:cubicBezTo>
                    <a:pt x="1610" y="343"/>
                    <a:pt x="1601" y="336"/>
                    <a:pt x="1593" y="337"/>
                  </a:cubicBezTo>
                  <a:close/>
                  <a:moveTo>
                    <a:pt x="1619" y="238"/>
                  </a:moveTo>
                  <a:cubicBezTo>
                    <a:pt x="1618" y="242"/>
                    <a:pt x="1626" y="239"/>
                    <a:pt x="1627" y="240"/>
                  </a:cubicBezTo>
                  <a:cubicBezTo>
                    <a:pt x="1630" y="244"/>
                    <a:pt x="1618" y="241"/>
                    <a:pt x="1619" y="247"/>
                  </a:cubicBezTo>
                  <a:cubicBezTo>
                    <a:pt x="1615" y="245"/>
                    <a:pt x="1616" y="237"/>
                    <a:pt x="1613" y="233"/>
                  </a:cubicBezTo>
                  <a:cubicBezTo>
                    <a:pt x="1618" y="237"/>
                    <a:pt x="1623" y="231"/>
                    <a:pt x="1633" y="233"/>
                  </a:cubicBezTo>
                  <a:cubicBezTo>
                    <a:pt x="1636" y="241"/>
                    <a:pt x="1624" y="237"/>
                    <a:pt x="1619" y="238"/>
                  </a:cubicBezTo>
                  <a:close/>
                  <a:moveTo>
                    <a:pt x="1642" y="320"/>
                  </a:moveTo>
                  <a:cubicBezTo>
                    <a:pt x="1644" y="319"/>
                    <a:pt x="1647" y="313"/>
                    <a:pt x="1648" y="313"/>
                  </a:cubicBezTo>
                  <a:cubicBezTo>
                    <a:pt x="1651" y="312"/>
                    <a:pt x="1651" y="320"/>
                    <a:pt x="1642" y="320"/>
                  </a:cubicBezTo>
                  <a:close/>
                  <a:moveTo>
                    <a:pt x="1644" y="249"/>
                  </a:moveTo>
                  <a:cubicBezTo>
                    <a:pt x="1652" y="240"/>
                    <a:pt x="1653" y="256"/>
                    <a:pt x="1644" y="249"/>
                  </a:cubicBezTo>
                  <a:close/>
                  <a:moveTo>
                    <a:pt x="1638" y="245"/>
                  </a:moveTo>
                  <a:cubicBezTo>
                    <a:pt x="1634" y="243"/>
                    <a:pt x="1638" y="242"/>
                    <a:pt x="1641" y="242"/>
                  </a:cubicBezTo>
                  <a:cubicBezTo>
                    <a:pt x="1642" y="238"/>
                    <a:pt x="1638" y="237"/>
                    <a:pt x="1638" y="240"/>
                  </a:cubicBezTo>
                  <a:cubicBezTo>
                    <a:pt x="1637" y="241"/>
                    <a:pt x="1635" y="236"/>
                    <a:pt x="1635" y="235"/>
                  </a:cubicBezTo>
                  <a:cubicBezTo>
                    <a:pt x="1636" y="234"/>
                    <a:pt x="1640" y="236"/>
                    <a:pt x="1641" y="235"/>
                  </a:cubicBezTo>
                  <a:cubicBezTo>
                    <a:pt x="1642" y="235"/>
                    <a:pt x="1640" y="231"/>
                    <a:pt x="1641" y="230"/>
                  </a:cubicBezTo>
                  <a:cubicBezTo>
                    <a:pt x="1644" y="229"/>
                    <a:pt x="1643" y="235"/>
                    <a:pt x="1644" y="235"/>
                  </a:cubicBezTo>
                  <a:cubicBezTo>
                    <a:pt x="1644" y="236"/>
                    <a:pt x="1650" y="232"/>
                    <a:pt x="1652" y="235"/>
                  </a:cubicBezTo>
                  <a:cubicBezTo>
                    <a:pt x="1649" y="238"/>
                    <a:pt x="1637" y="240"/>
                    <a:pt x="1652" y="240"/>
                  </a:cubicBezTo>
                  <a:cubicBezTo>
                    <a:pt x="1648" y="247"/>
                    <a:pt x="1643" y="241"/>
                    <a:pt x="1638" y="245"/>
                  </a:cubicBezTo>
                  <a:close/>
                  <a:moveTo>
                    <a:pt x="1739" y="203"/>
                  </a:moveTo>
                  <a:cubicBezTo>
                    <a:pt x="1739" y="206"/>
                    <a:pt x="1731" y="204"/>
                    <a:pt x="1731" y="208"/>
                  </a:cubicBezTo>
                  <a:cubicBezTo>
                    <a:pt x="1722" y="205"/>
                    <a:pt x="1734" y="201"/>
                    <a:pt x="1739" y="203"/>
                  </a:cubicBezTo>
                  <a:close/>
                  <a:moveTo>
                    <a:pt x="1656" y="331"/>
                  </a:moveTo>
                  <a:cubicBezTo>
                    <a:pt x="1656" y="330"/>
                    <a:pt x="1656" y="328"/>
                    <a:pt x="1656" y="327"/>
                  </a:cubicBezTo>
                  <a:cubicBezTo>
                    <a:pt x="1660" y="326"/>
                    <a:pt x="1664" y="326"/>
                    <a:pt x="1667" y="326"/>
                  </a:cubicBezTo>
                  <a:cubicBezTo>
                    <a:pt x="1670" y="333"/>
                    <a:pt x="1661" y="331"/>
                    <a:pt x="1656" y="331"/>
                  </a:cubicBezTo>
                  <a:close/>
                  <a:moveTo>
                    <a:pt x="1662" y="315"/>
                  </a:moveTo>
                  <a:cubicBezTo>
                    <a:pt x="1663" y="315"/>
                    <a:pt x="1665" y="315"/>
                    <a:pt x="1667" y="315"/>
                  </a:cubicBezTo>
                  <a:cubicBezTo>
                    <a:pt x="1668" y="321"/>
                    <a:pt x="1647" y="314"/>
                    <a:pt x="1662" y="315"/>
                  </a:cubicBezTo>
                  <a:close/>
                  <a:moveTo>
                    <a:pt x="1669" y="289"/>
                  </a:moveTo>
                  <a:cubicBezTo>
                    <a:pt x="1662" y="297"/>
                    <a:pt x="1652" y="284"/>
                    <a:pt x="1669" y="289"/>
                  </a:cubicBezTo>
                  <a:close/>
                  <a:moveTo>
                    <a:pt x="1663" y="268"/>
                  </a:moveTo>
                  <a:cubicBezTo>
                    <a:pt x="1664" y="268"/>
                    <a:pt x="1666" y="263"/>
                    <a:pt x="1666" y="263"/>
                  </a:cubicBezTo>
                  <a:cubicBezTo>
                    <a:pt x="1666" y="263"/>
                    <a:pt x="1666" y="261"/>
                    <a:pt x="1666" y="261"/>
                  </a:cubicBezTo>
                  <a:cubicBezTo>
                    <a:pt x="1676" y="259"/>
                    <a:pt x="1667" y="271"/>
                    <a:pt x="1663" y="268"/>
                  </a:cubicBezTo>
                  <a:close/>
                  <a:moveTo>
                    <a:pt x="1697" y="293"/>
                  </a:moveTo>
                  <a:cubicBezTo>
                    <a:pt x="1695" y="297"/>
                    <a:pt x="1694" y="292"/>
                    <a:pt x="1694" y="288"/>
                  </a:cubicBezTo>
                  <a:cubicBezTo>
                    <a:pt x="1686" y="285"/>
                    <a:pt x="1700" y="286"/>
                    <a:pt x="1697" y="293"/>
                  </a:cubicBezTo>
                  <a:close/>
                  <a:moveTo>
                    <a:pt x="1705" y="269"/>
                  </a:moveTo>
                  <a:cubicBezTo>
                    <a:pt x="1700" y="269"/>
                    <a:pt x="1698" y="265"/>
                    <a:pt x="1699" y="260"/>
                  </a:cubicBezTo>
                  <a:cubicBezTo>
                    <a:pt x="1704" y="260"/>
                    <a:pt x="1705" y="264"/>
                    <a:pt x="1705" y="269"/>
                  </a:cubicBezTo>
                  <a:close/>
                  <a:moveTo>
                    <a:pt x="1718" y="269"/>
                  </a:moveTo>
                  <a:cubicBezTo>
                    <a:pt x="1713" y="268"/>
                    <a:pt x="1716" y="260"/>
                    <a:pt x="1710" y="260"/>
                  </a:cubicBezTo>
                  <a:cubicBezTo>
                    <a:pt x="1710" y="257"/>
                    <a:pt x="1715" y="258"/>
                    <a:pt x="1718" y="257"/>
                  </a:cubicBezTo>
                  <a:cubicBezTo>
                    <a:pt x="1717" y="265"/>
                    <a:pt x="1723" y="264"/>
                    <a:pt x="1718" y="269"/>
                  </a:cubicBezTo>
                  <a:close/>
                  <a:moveTo>
                    <a:pt x="1718" y="238"/>
                  </a:moveTo>
                  <a:cubicBezTo>
                    <a:pt x="1720" y="234"/>
                    <a:pt x="1726" y="233"/>
                    <a:pt x="1734" y="234"/>
                  </a:cubicBezTo>
                  <a:cubicBezTo>
                    <a:pt x="1731" y="237"/>
                    <a:pt x="1725" y="238"/>
                    <a:pt x="1718" y="238"/>
                  </a:cubicBezTo>
                  <a:close/>
                  <a:moveTo>
                    <a:pt x="1738" y="309"/>
                  </a:moveTo>
                  <a:cubicBezTo>
                    <a:pt x="1739" y="306"/>
                    <a:pt x="1742" y="304"/>
                    <a:pt x="1746" y="304"/>
                  </a:cubicBezTo>
                  <a:cubicBezTo>
                    <a:pt x="1745" y="307"/>
                    <a:pt x="1743" y="309"/>
                    <a:pt x="1738" y="309"/>
                  </a:cubicBezTo>
                  <a:close/>
                  <a:moveTo>
                    <a:pt x="1747" y="318"/>
                  </a:moveTo>
                  <a:cubicBezTo>
                    <a:pt x="1747" y="316"/>
                    <a:pt x="1747" y="315"/>
                    <a:pt x="1747" y="313"/>
                  </a:cubicBezTo>
                  <a:cubicBezTo>
                    <a:pt x="1748" y="313"/>
                    <a:pt x="1750" y="313"/>
                    <a:pt x="1752" y="313"/>
                  </a:cubicBezTo>
                  <a:cubicBezTo>
                    <a:pt x="1752" y="315"/>
                    <a:pt x="1752" y="316"/>
                    <a:pt x="1752" y="318"/>
                  </a:cubicBezTo>
                  <a:cubicBezTo>
                    <a:pt x="1750" y="318"/>
                    <a:pt x="1748" y="318"/>
                    <a:pt x="1747" y="318"/>
                  </a:cubicBezTo>
                  <a:close/>
                  <a:moveTo>
                    <a:pt x="1745" y="236"/>
                  </a:moveTo>
                  <a:cubicBezTo>
                    <a:pt x="1752" y="231"/>
                    <a:pt x="1741" y="225"/>
                    <a:pt x="1740" y="233"/>
                  </a:cubicBezTo>
                  <a:cubicBezTo>
                    <a:pt x="1733" y="231"/>
                    <a:pt x="1714" y="229"/>
                    <a:pt x="1712" y="234"/>
                  </a:cubicBezTo>
                  <a:cubicBezTo>
                    <a:pt x="1712" y="234"/>
                    <a:pt x="1713" y="239"/>
                    <a:pt x="1712" y="239"/>
                  </a:cubicBezTo>
                  <a:cubicBezTo>
                    <a:pt x="1708" y="239"/>
                    <a:pt x="1712" y="233"/>
                    <a:pt x="1709" y="232"/>
                  </a:cubicBezTo>
                  <a:cubicBezTo>
                    <a:pt x="1705" y="230"/>
                    <a:pt x="1701" y="234"/>
                    <a:pt x="1699" y="234"/>
                  </a:cubicBezTo>
                  <a:cubicBezTo>
                    <a:pt x="1694" y="235"/>
                    <a:pt x="1683" y="231"/>
                    <a:pt x="1685" y="239"/>
                  </a:cubicBezTo>
                  <a:cubicBezTo>
                    <a:pt x="1683" y="237"/>
                    <a:pt x="1677" y="236"/>
                    <a:pt x="1677" y="239"/>
                  </a:cubicBezTo>
                  <a:cubicBezTo>
                    <a:pt x="1674" y="239"/>
                    <a:pt x="1675" y="237"/>
                    <a:pt x="1677" y="237"/>
                  </a:cubicBezTo>
                  <a:cubicBezTo>
                    <a:pt x="1678" y="235"/>
                    <a:pt x="1670" y="233"/>
                    <a:pt x="1668" y="235"/>
                  </a:cubicBezTo>
                  <a:cubicBezTo>
                    <a:pt x="1665" y="237"/>
                    <a:pt x="1667" y="234"/>
                    <a:pt x="1663" y="235"/>
                  </a:cubicBezTo>
                  <a:cubicBezTo>
                    <a:pt x="1660" y="235"/>
                    <a:pt x="1658" y="235"/>
                    <a:pt x="1657" y="237"/>
                  </a:cubicBezTo>
                  <a:cubicBezTo>
                    <a:pt x="1653" y="236"/>
                    <a:pt x="1659" y="234"/>
                    <a:pt x="1657" y="230"/>
                  </a:cubicBezTo>
                  <a:cubicBezTo>
                    <a:pt x="1660" y="229"/>
                    <a:pt x="1660" y="232"/>
                    <a:pt x="1660" y="232"/>
                  </a:cubicBezTo>
                  <a:cubicBezTo>
                    <a:pt x="1663" y="233"/>
                    <a:pt x="1663" y="230"/>
                    <a:pt x="1663" y="230"/>
                  </a:cubicBezTo>
                  <a:cubicBezTo>
                    <a:pt x="1666" y="230"/>
                    <a:pt x="1669" y="233"/>
                    <a:pt x="1671" y="232"/>
                  </a:cubicBezTo>
                  <a:cubicBezTo>
                    <a:pt x="1675" y="231"/>
                    <a:pt x="1680" y="223"/>
                    <a:pt x="1687" y="230"/>
                  </a:cubicBezTo>
                  <a:cubicBezTo>
                    <a:pt x="1691" y="229"/>
                    <a:pt x="1690" y="225"/>
                    <a:pt x="1690" y="223"/>
                  </a:cubicBezTo>
                  <a:cubicBezTo>
                    <a:pt x="1696" y="223"/>
                    <a:pt x="1699" y="222"/>
                    <a:pt x="1698" y="218"/>
                  </a:cubicBezTo>
                  <a:cubicBezTo>
                    <a:pt x="1707" y="219"/>
                    <a:pt x="1704" y="228"/>
                    <a:pt x="1693" y="225"/>
                  </a:cubicBezTo>
                  <a:cubicBezTo>
                    <a:pt x="1692" y="229"/>
                    <a:pt x="1696" y="229"/>
                    <a:pt x="1696" y="232"/>
                  </a:cubicBezTo>
                  <a:cubicBezTo>
                    <a:pt x="1699" y="233"/>
                    <a:pt x="1697" y="228"/>
                    <a:pt x="1698" y="227"/>
                  </a:cubicBezTo>
                  <a:cubicBezTo>
                    <a:pt x="1701" y="226"/>
                    <a:pt x="1701" y="229"/>
                    <a:pt x="1701" y="229"/>
                  </a:cubicBezTo>
                  <a:cubicBezTo>
                    <a:pt x="1701" y="229"/>
                    <a:pt x="1710" y="227"/>
                    <a:pt x="1712" y="227"/>
                  </a:cubicBezTo>
                  <a:cubicBezTo>
                    <a:pt x="1714" y="226"/>
                    <a:pt x="1719" y="222"/>
                    <a:pt x="1720" y="229"/>
                  </a:cubicBezTo>
                  <a:cubicBezTo>
                    <a:pt x="1723" y="230"/>
                    <a:pt x="1722" y="225"/>
                    <a:pt x="1723" y="224"/>
                  </a:cubicBezTo>
                  <a:cubicBezTo>
                    <a:pt x="1734" y="222"/>
                    <a:pt x="1746" y="228"/>
                    <a:pt x="1756" y="224"/>
                  </a:cubicBezTo>
                  <a:cubicBezTo>
                    <a:pt x="1754" y="229"/>
                    <a:pt x="1753" y="235"/>
                    <a:pt x="1745" y="236"/>
                  </a:cubicBezTo>
                  <a:close/>
                  <a:moveTo>
                    <a:pt x="1753" y="186"/>
                  </a:moveTo>
                  <a:cubicBezTo>
                    <a:pt x="1755" y="187"/>
                    <a:pt x="1755" y="189"/>
                    <a:pt x="1758" y="188"/>
                  </a:cubicBezTo>
                  <a:cubicBezTo>
                    <a:pt x="1758" y="194"/>
                    <a:pt x="1745" y="191"/>
                    <a:pt x="1753" y="186"/>
                  </a:cubicBezTo>
                  <a:close/>
                  <a:moveTo>
                    <a:pt x="1831" y="110"/>
                  </a:moveTo>
                  <a:cubicBezTo>
                    <a:pt x="1831" y="108"/>
                    <a:pt x="1831" y="107"/>
                    <a:pt x="1831" y="105"/>
                  </a:cubicBezTo>
                  <a:cubicBezTo>
                    <a:pt x="1837" y="104"/>
                    <a:pt x="1832" y="113"/>
                    <a:pt x="1834" y="117"/>
                  </a:cubicBezTo>
                  <a:cubicBezTo>
                    <a:pt x="1831" y="115"/>
                    <a:pt x="1829" y="114"/>
                    <a:pt x="1828" y="117"/>
                  </a:cubicBezTo>
                  <a:cubicBezTo>
                    <a:pt x="1819" y="115"/>
                    <a:pt x="1831" y="112"/>
                    <a:pt x="1831" y="110"/>
                  </a:cubicBezTo>
                  <a:close/>
                  <a:moveTo>
                    <a:pt x="1792" y="230"/>
                  </a:moveTo>
                  <a:cubicBezTo>
                    <a:pt x="1789" y="237"/>
                    <a:pt x="1781" y="233"/>
                    <a:pt x="1775" y="233"/>
                  </a:cubicBezTo>
                  <a:cubicBezTo>
                    <a:pt x="1776" y="228"/>
                    <a:pt x="1787" y="232"/>
                    <a:pt x="1792" y="230"/>
                  </a:cubicBezTo>
                  <a:close/>
                  <a:moveTo>
                    <a:pt x="1779" y="259"/>
                  </a:moveTo>
                  <a:cubicBezTo>
                    <a:pt x="1776" y="258"/>
                    <a:pt x="1776" y="256"/>
                    <a:pt x="1773" y="256"/>
                  </a:cubicBezTo>
                  <a:cubicBezTo>
                    <a:pt x="1773" y="255"/>
                    <a:pt x="1773" y="253"/>
                    <a:pt x="1773" y="252"/>
                  </a:cubicBezTo>
                  <a:cubicBezTo>
                    <a:pt x="1779" y="250"/>
                    <a:pt x="1778" y="255"/>
                    <a:pt x="1779" y="259"/>
                  </a:cubicBezTo>
                  <a:close/>
                  <a:moveTo>
                    <a:pt x="1771" y="310"/>
                  </a:moveTo>
                  <a:cubicBezTo>
                    <a:pt x="1777" y="309"/>
                    <a:pt x="1775" y="315"/>
                    <a:pt x="1780" y="315"/>
                  </a:cubicBezTo>
                  <a:cubicBezTo>
                    <a:pt x="1780" y="319"/>
                    <a:pt x="1769" y="315"/>
                    <a:pt x="1771" y="310"/>
                  </a:cubicBezTo>
                  <a:close/>
                  <a:moveTo>
                    <a:pt x="1790" y="280"/>
                  </a:moveTo>
                  <a:cubicBezTo>
                    <a:pt x="1788" y="283"/>
                    <a:pt x="1792" y="288"/>
                    <a:pt x="1785" y="287"/>
                  </a:cubicBezTo>
                  <a:cubicBezTo>
                    <a:pt x="1789" y="283"/>
                    <a:pt x="1786" y="274"/>
                    <a:pt x="1795" y="275"/>
                  </a:cubicBezTo>
                  <a:cubicBezTo>
                    <a:pt x="1796" y="278"/>
                    <a:pt x="1791" y="278"/>
                    <a:pt x="1790" y="280"/>
                  </a:cubicBezTo>
                  <a:close/>
                  <a:moveTo>
                    <a:pt x="1789" y="226"/>
                  </a:moveTo>
                  <a:cubicBezTo>
                    <a:pt x="1787" y="225"/>
                    <a:pt x="1786" y="226"/>
                    <a:pt x="1786" y="228"/>
                  </a:cubicBezTo>
                  <a:cubicBezTo>
                    <a:pt x="1784" y="228"/>
                    <a:pt x="1784" y="225"/>
                    <a:pt x="1783" y="223"/>
                  </a:cubicBezTo>
                  <a:cubicBezTo>
                    <a:pt x="1785" y="223"/>
                    <a:pt x="1787" y="223"/>
                    <a:pt x="1789" y="223"/>
                  </a:cubicBezTo>
                  <a:cubicBezTo>
                    <a:pt x="1787" y="218"/>
                    <a:pt x="1781" y="219"/>
                    <a:pt x="1786" y="214"/>
                  </a:cubicBezTo>
                  <a:cubicBezTo>
                    <a:pt x="1791" y="214"/>
                    <a:pt x="1792" y="218"/>
                    <a:pt x="1792" y="223"/>
                  </a:cubicBezTo>
                  <a:cubicBezTo>
                    <a:pt x="1798" y="219"/>
                    <a:pt x="1803" y="224"/>
                    <a:pt x="1805" y="221"/>
                  </a:cubicBezTo>
                  <a:cubicBezTo>
                    <a:pt x="1809" y="222"/>
                    <a:pt x="1807" y="224"/>
                    <a:pt x="1805" y="225"/>
                  </a:cubicBezTo>
                  <a:cubicBezTo>
                    <a:pt x="1799" y="229"/>
                    <a:pt x="1799" y="225"/>
                    <a:pt x="1789" y="226"/>
                  </a:cubicBezTo>
                  <a:close/>
                  <a:moveTo>
                    <a:pt x="1800" y="235"/>
                  </a:moveTo>
                  <a:cubicBezTo>
                    <a:pt x="1792" y="232"/>
                    <a:pt x="1806" y="225"/>
                    <a:pt x="1808" y="230"/>
                  </a:cubicBezTo>
                  <a:cubicBezTo>
                    <a:pt x="1808" y="233"/>
                    <a:pt x="1800" y="231"/>
                    <a:pt x="1800" y="235"/>
                  </a:cubicBezTo>
                  <a:close/>
                  <a:moveTo>
                    <a:pt x="1812" y="314"/>
                  </a:moveTo>
                  <a:cubicBezTo>
                    <a:pt x="1808" y="312"/>
                    <a:pt x="1806" y="308"/>
                    <a:pt x="1810" y="305"/>
                  </a:cubicBezTo>
                  <a:cubicBezTo>
                    <a:pt x="1814" y="307"/>
                    <a:pt x="1816" y="311"/>
                    <a:pt x="1812" y="314"/>
                  </a:cubicBezTo>
                  <a:close/>
                  <a:moveTo>
                    <a:pt x="1811" y="258"/>
                  </a:moveTo>
                  <a:cubicBezTo>
                    <a:pt x="1811" y="256"/>
                    <a:pt x="1811" y="255"/>
                    <a:pt x="1811" y="253"/>
                  </a:cubicBezTo>
                  <a:cubicBezTo>
                    <a:pt x="1817" y="252"/>
                    <a:pt x="1817" y="257"/>
                    <a:pt x="1817" y="260"/>
                  </a:cubicBezTo>
                  <a:cubicBezTo>
                    <a:pt x="1815" y="260"/>
                    <a:pt x="1814" y="258"/>
                    <a:pt x="1811" y="258"/>
                  </a:cubicBezTo>
                  <a:close/>
                  <a:moveTo>
                    <a:pt x="1822" y="225"/>
                  </a:moveTo>
                  <a:cubicBezTo>
                    <a:pt x="1819" y="225"/>
                    <a:pt x="1816" y="225"/>
                    <a:pt x="1814" y="225"/>
                  </a:cubicBezTo>
                  <a:cubicBezTo>
                    <a:pt x="1816" y="218"/>
                    <a:pt x="1810" y="219"/>
                    <a:pt x="1811" y="213"/>
                  </a:cubicBezTo>
                  <a:cubicBezTo>
                    <a:pt x="1815" y="212"/>
                    <a:pt x="1823" y="218"/>
                    <a:pt x="1816" y="218"/>
                  </a:cubicBezTo>
                  <a:cubicBezTo>
                    <a:pt x="1818" y="220"/>
                    <a:pt x="1823" y="220"/>
                    <a:pt x="1822" y="225"/>
                  </a:cubicBezTo>
                  <a:close/>
                  <a:moveTo>
                    <a:pt x="1815" y="155"/>
                  </a:moveTo>
                  <a:cubicBezTo>
                    <a:pt x="1817" y="153"/>
                    <a:pt x="1818" y="151"/>
                    <a:pt x="1818" y="147"/>
                  </a:cubicBezTo>
                  <a:cubicBezTo>
                    <a:pt x="1821" y="148"/>
                    <a:pt x="1822" y="152"/>
                    <a:pt x="1826" y="152"/>
                  </a:cubicBezTo>
                  <a:cubicBezTo>
                    <a:pt x="1825" y="155"/>
                    <a:pt x="1819" y="154"/>
                    <a:pt x="1815" y="155"/>
                  </a:cubicBezTo>
                  <a:close/>
                  <a:moveTo>
                    <a:pt x="1829" y="147"/>
                  </a:moveTo>
                  <a:cubicBezTo>
                    <a:pt x="1832" y="148"/>
                    <a:pt x="1831" y="152"/>
                    <a:pt x="1834" y="152"/>
                  </a:cubicBezTo>
                  <a:cubicBezTo>
                    <a:pt x="1833" y="158"/>
                    <a:pt x="1826" y="152"/>
                    <a:pt x="1829" y="147"/>
                  </a:cubicBezTo>
                  <a:close/>
                  <a:moveTo>
                    <a:pt x="1830" y="229"/>
                  </a:moveTo>
                  <a:cubicBezTo>
                    <a:pt x="1826" y="225"/>
                    <a:pt x="1830" y="226"/>
                    <a:pt x="1830" y="220"/>
                  </a:cubicBezTo>
                  <a:cubicBezTo>
                    <a:pt x="1835" y="220"/>
                    <a:pt x="1837" y="224"/>
                    <a:pt x="1838" y="220"/>
                  </a:cubicBezTo>
                  <a:cubicBezTo>
                    <a:pt x="1843" y="220"/>
                    <a:pt x="1836" y="230"/>
                    <a:pt x="1830" y="229"/>
                  </a:cubicBezTo>
                  <a:close/>
                  <a:moveTo>
                    <a:pt x="1850" y="137"/>
                  </a:moveTo>
                  <a:cubicBezTo>
                    <a:pt x="1850" y="140"/>
                    <a:pt x="1845" y="139"/>
                    <a:pt x="1845" y="142"/>
                  </a:cubicBezTo>
                  <a:cubicBezTo>
                    <a:pt x="1842" y="142"/>
                    <a:pt x="1843" y="139"/>
                    <a:pt x="1842" y="138"/>
                  </a:cubicBezTo>
                  <a:cubicBezTo>
                    <a:pt x="1846" y="135"/>
                    <a:pt x="1847" y="137"/>
                    <a:pt x="1850" y="137"/>
                  </a:cubicBezTo>
                  <a:close/>
                  <a:moveTo>
                    <a:pt x="1845" y="154"/>
                  </a:moveTo>
                  <a:cubicBezTo>
                    <a:pt x="1844" y="154"/>
                    <a:pt x="1842" y="151"/>
                    <a:pt x="1843" y="149"/>
                  </a:cubicBezTo>
                  <a:cubicBezTo>
                    <a:pt x="1846" y="141"/>
                    <a:pt x="1848" y="154"/>
                    <a:pt x="1845" y="154"/>
                  </a:cubicBezTo>
                  <a:close/>
                  <a:moveTo>
                    <a:pt x="1841" y="227"/>
                  </a:moveTo>
                  <a:cubicBezTo>
                    <a:pt x="1840" y="223"/>
                    <a:pt x="1847" y="224"/>
                    <a:pt x="1849" y="222"/>
                  </a:cubicBezTo>
                  <a:cubicBezTo>
                    <a:pt x="1855" y="217"/>
                    <a:pt x="1850" y="226"/>
                    <a:pt x="1841" y="227"/>
                  </a:cubicBezTo>
                  <a:close/>
                  <a:moveTo>
                    <a:pt x="1855" y="220"/>
                  </a:moveTo>
                  <a:cubicBezTo>
                    <a:pt x="1864" y="221"/>
                    <a:pt x="1851" y="235"/>
                    <a:pt x="1858" y="234"/>
                  </a:cubicBezTo>
                  <a:cubicBezTo>
                    <a:pt x="1848" y="244"/>
                    <a:pt x="1856" y="220"/>
                    <a:pt x="1852" y="229"/>
                  </a:cubicBezTo>
                  <a:cubicBezTo>
                    <a:pt x="1844" y="227"/>
                    <a:pt x="1858" y="225"/>
                    <a:pt x="1855" y="220"/>
                  </a:cubicBezTo>
                  <a:close/>
                  <a:moveTo>
                    <a:pt x="1853" y="255"/>
                  </a:moveTo>
                  <a:cubicBezTo>
                    <a:pt x="1849" y="254"/>
                    <a:pt x="1850" y="249"/>
                    <a:pt x="1850" y="246"/>
                  </a:cubicBezTo>
                  <a:cubicBezTo>
                    <a:pt x="1856" y="246"/>
                    <a:pt x="1856" y="252"/>
                    <a:pt x="1853" y="255"/>
                  </a:cubicBezTo>
                  <a:close/>
                  <a:moveTo>
                    <a:pt x="1859" y="309"/>
                  </a:moveTo>
                  <a:cubicBezTo>
                    <a:pt x="1856" y="308"/>
                    <a:pt x="1857" y="304"/>
                    <a:pt x="1853" y="304"/>
                  </a:cubicBezTo>
                  <a:cubicBezTo>
                    <a:pt x="1854" y="302"/>
                    <a:pt x="1858" y="302"/>
                    <a:pt x="1862" y="302"/>
                  </a:cubicBezTo>
                  <a:cubicBezTo>
                    <a:pt x="1862" y="306"/>
                    <a:pt x="1859" y="306"/>
                    <a:pt x="1859" y="309"/>
                  </a:cubicBezTo>
                  <a:close/>
                  <a:moveTo>
                    <a:pt x="1848" y="154"/>
                  </a:moveTo>
                  <a:cubicBezTo>
                    <a:pt x="1849" y="150"/>
                    <a:pt x="1852" y="148"/>
                    <a:pt x="1853" y="144"/>
                  </a:cubicBezTo>
                  <a:cubicBezTo>
                    <a:pt x="1857" y="145"/>
                    <a:pt x="1860" y="149"/>
                    <a:pt x="1856" y="149"/>
                  </a:cubicBezTo>
                  <a:cubicBezTo>
                    <a:pt x="1856" y="151"/>
                    <a:pt x="1860" y="151"/>
                    <a:pt x="1862" y="151"/>
                  </a:cubicBezTo>
                  <a:cubicBezTo>
                    <a:pt x="1871" y="154"/>
                    <a:pt x="1852" y="154"/>
                    <a:pt x="1848" y="154"/>
                  </a:cubicBezTo>
                  <a:close/>
                  <a:moveTo>
                    <a:pt x="1928" y="178"/>
                  </a:moveTo>
                  <a:cubicBezTo>
                    <a:pt x="1929" y="177"/>
                    <a:pt x="1931" y="176"/>
                    <a:pt x="1931" y="174"/>
                  </a:cubicBezTo>
                  <a:cubicBezTo>
                    <a:pt x="1933" y="174"/>
                    <a:pt x="1934" y="174"/>
                    <a:pt x="1936" y="174"/>
                  </a:cubicBezTo>
                  <a:cubicBezTo>
                    <a:pt x="1938" y="179"/>
                    <a:pt x="1932" y="178"/>
                    <a:pt x="1928" y="178"/>
                  </a:cubicBezTo>
                  <a:close/>
                  <a:moveTo>
                    <a:pt x="1930" y="138"/>
                  </a:moveTo>
                  <a:cubicBezTo>
                    <a:pt x="1937" y="141"/>
                    <a:pt x="1932" y="154"/>
                    <a:pt x="1922" y="150"/>
                  </a:cubicBezTo>
                  <a:cubicBezTo>
                    <a:pt x="1919" y="142"/>
                    <a:pt x="1928" y="143"/>
                    <a:pt x="1930" y="138"/>
                  </a:cubicBezTo>
                  <a:close/>
                  <a:moveTo>
                    <a:pt x="1920" y="193"/>
                  </a:moveTo>
                  <a:cubicBezTo>
                    <a:pt x="1929" y="190"/>
                    <a:pt x="1922" y="200"/>
                    <a:pt x="1931" y="197"/>
                  </a:cubicBezTo>
                  <a:cubicBezTo>
                    <a:pt x="1930" y="202"/>
                    <a:pt x="1918" y="198"/>
                    <a:pt x="1920" y="193"/>
                  </a:cubicBezTo>
                  <a:close/>
                  <a:moveTo>
                    <a:pt x="1892" y="144"/>
                  </a:moveTo>
                  <a:cubicBezTo>
                    <a:pt x="1896" y="145"/>
                    <a:pt x="1894" y="147"/>
                    <a:pt x="1892" y="149"/>
                  </a:cubicBezTo>
                  <a:cubicBezTo>
                    <a:pt x="1887" y="152"/>
                    <a:pt x="1885" y="151"/>
                    <a:pt x="1892" y="144"/>
                  </a:cubicBezTo>
                  <a:close/>
                  <a:moveTo>
                    <a:pt x="1875" y="123"/>
                  </a:moveTo>
                  <a:cubicBezTo>
                    <a:pt x="1878" y="124"/>
                    <a:pt x="1877" y="128"/>
                    <a:pt x="1881" y="128"/>
                  </a:cubicBezTo>
                  <a:cubicBezTo>
                    <a:pt x="1880" y="130"/>
                    <a:pt x="1877" y="129"/>
                    <a:pt x="1875" y="130"/>
                  </a:cubicBezTo>
                  <a:cubicBezTo>
                    <a:pt x="1872" y="127"/>
                    <a:pt x="1874" y="126"/>
                    <a:pt x="1875" y="123"/>
                  </a:cubicBezTo>
                  <a:close/>
                  <a:moveTo>
                    <a:pt x="1867" y="147"/>
                  </a:moveTo>
                  <a:cubicBezTo>
                    <a:pt x="1869" y="138"/>
                    <a:pt x="1883" y="151"/>
                    <a:pt x="1883" y="144"/>
                  </a:cubicBezTo>
                  <a:cubicBezTo>
                    <a:pt x="1880" y="141"/>
                    <a:pt x="1883" y="143"/>
                    <a:pt x="1886" y="144"/>
                  </a:cubicBezTo>
                  <a:cubicBezTo>
                    <a:pt x="1882" y="147"/>
                    <a:pt x="1883" y="155"/>
                    <a:pt x="1873" y="154"/>
                  </a:cubicBezTo>
                  <a:cubicBezTo>
                    <a:pt x="1874" y="149"/>
                    <a:pt x="1872" y="146"/>
                    <a:pt x="1867" y="147"/>
                  </a:cubicBezTo>
                  <a:close/>
                  <a:moveTo>
                    <a:pt x="1877" y="229"/>
                  </a:moveTo>
                  <a:cubicBezTo>
                    <a:pt x="1878" y="231"/>
                    <a:pt x="1880" y="232"/>
                    <a:pt x="1880" y="236"/>
                  </a:cubicBezTo>
                  <a:cubicBezTo>
                    <a:pt x="1877" y="236"/>
                    <a:pt x="1874" y="236"/>
                    <a:pt x="1871" y="236"/>
                  </a:cubicBezTo>
                  <a:cubicBezTo>
                    <a:pt x="1874" y="234"/>
                    <a:pt x="1874" y="230"/>
                    <a:pt x="1874" y="226"/>
                  </a:cubicBezTo>
                  <a:cubicBezTo>
                    <a:pt x="1877" y="226"/>
                    <a:pt x="1879" y="226"/>
                    <a:pt x="1882" y="226"/>
                  </a:cubicBezTo>
                  <a:cubicBezTo>
                    <a:pt x="1887" y="228"/>
                    <a:pt x="1881" y="229"/>
                    <a:pt x="1877" y="229"/>
                  </a:cubicBezTo>
                  <a:close/>
                  <a:moveTo>
                    <a:pt x="1884" y="182"/>
                  </a:moveTo>
                  <a:cubicBezTo>
                    <a:pt x="1881" y="170"/>
                    <a:pt x="1883" y="167"/>
                    <a:pt x="1881" y="156"/>
                  </a:cubicBezTo>
                  <a:cubicBezTo>
                    <a:pt x="1884" y="155"/>
                    <a:pt x="1886" y="156"/>
                    <a:pt x="1886" y="158"/>
                  </a:cubicBezTo>
                  <a:cubicBezTo>
                    <a:pt x="1887" y="161"/>
                    <a:pt x="1892" y="160"/>
                    <a:pt x="1892" y="163"/>
                  </a:cubicBezTo>
                  <a:cubicBezTo>
                    <a:pt x="1894" y="168"/>
                    <a:pt x="1887" y="166"/>
                    <a:pt x="1887" y="170"/>
                  </a:cubicBezTo>
                  <a:cubicBezTo>
                    <a:pt x="1886" y="174"/>
                    <a:pt x="1889" y="174"/>
                    <a:pt x="1892" y="174"/>
                  </a:cubicBezTo>
                  <a:cubicBezTo>
                    <a:pt x="1892" y="178"/>
                    <a:pt x="1881" y="179"/>
                    <a:pt x="1892" y="179"/>
                  </a:cubicBezTo>
                  <a:cubicBezTo>
                    <a:pt x="1893" y="181"/>
                    <a:pt x="1891" y="181"/>
                    <a:pt x="1890" y="181"/>
                  </a:cubicBezTo>
                  <a:cubicBezTo>
                    <a:pt x="1888" y="181"/>
                    <a:pt x="1886" y="181"/>
                    <a:pt x="1884" y="182"/>
                  </a:cubicBezTo>
                  <a:close/>
                  <a:moveTo>
                    <a:pt x="1888" y="238"/>
                  </a:moveTo>
                  <a:cubicBezTo>
                    <a:pt x="1888" y="236"/>
                    <a:pt x="1888" y="235"/>
                    <a:pt x="1888" y="233"/>
                  </a:cubicBezTo>
                  <a:cubicBezTo>
                    <a:pt x="1890" y="233"/>
                    <a:pt x="1892" y="233"/>
                    <a:pt x="1893" y="233"/>
                  </a:cubicBezTo>
                  <a:cubicBezTo>
                    <a:pt x="1893" y="235"/>
                    <a:pt x="1893" y="236"/>
                    <a:pt x="1893" y="238"/>
                  </a:cubicBezTo>
                  <a:cubicBezTo>
                    <a:pt x="1892" y="238"/>
                    <a:pt x="1890" y="238"/>
                    <a:pt x="1888" y="238"/>
                  </a:cubicBezTo>
                  <a:close/>
                  <a:moveTo>
                    <a:pt x="1888" y="228"/>
                  </a:moveTo>
                  <a:cubicBezTo>
                    <a:pt x="1889" y="225"/>
                    <a:pt x="1894" y="224"/>
                    <a:pt x="1899" y="224"/>
                  </a:cubicBezTo>
                  <a:cubicBezTo>
                    <a:pt x="1901" y="231"/>
                    <a:pt x="1893" y="228"/>
                    <a:pt x="1888" y="228"/>
                  </a:cubicBezTo>
                  <a:close/>
                  <a:moveTo>
                    <a:pt x="1900" y="151"/>
                  </a:moveTo>
                  <a:cubicBezTo>
                    <a:pt x="1896" y="152"/>
                    <a:pt x="1898" y="157"/>
                    <a:pt x="1897" y="160"/>
                  </a:cubicBezTo>
                  <a:cubicBezTo>
                    <a:pt x="1890" y="154"/>
                    <a:pt x="1894" y="148"/>
                    <a:pt x="1900" y="144"/>
                  </a:cubicBezTo>
                  <a:cubicBezTo>
                    <a:pt x="1905" y="143"/>
                    <a:pt x="1905" y="145"/>
                    <a:pt x="1906" y="148"/>
                  </a:cubicBezTo>
                  <a:cubicBezTo>
                    <a:pt x="1910" y="146"/>
                    <a:pt x="1911" y="141"/>
                    <a:pt x="1919" y="141"/>
                  </a:cubicBezTo>
                  <a:cubicBezTo>
                    <a:pt x="1921" y="148"/>
                    <a:pt x="1912" y="147"/>
                    <a:pt x="1911" y="153"/>
                  </a:cubicBezTo>
                  <a:cubicBezTo>
                    <a:pt x="1914" y="155"/>
                    <a:pt x="1912" y="162"/>
                    <a:pt x="1919" y="160"/>
                  </a:cubicBezTo>
                  <a:cubicBezTo>
                    <a:pt x="1919" y="168"/>
                    <a:pt x="1910" y="155"/>
                    <a:pt x="1911" y="162"/>
                  </a:cubicBezTo>
                  <a:cubicBezTo>
                    <a:pt x="1900" y="162"/>
                    <a:pt x="1915" y="150"/>
                    <a:pt x="1900" y="151"/>
                  </a:cubicBezTo>
                  <a:close/>
                  <a:moveTo>
                    <a:pt x="1908" y="310"/>
                  </a:moveTo>
                  <a:cubicBezTo>
                    <a:pt x="1909" y="307"/>
                    <a:pt x="1913" y="307"/>
                    <a:pt x="1914" y="303"/>
                  </a:cubicBezTo>
                  <a:cubicBezTo>
                    <a:pt x="1921" y="304"/>
                    <a:pt x="1914" y="312"/>
                    <a:pt x="1908" y="310"/>
                  </a:cubicBezTo>
                  <a:close/>
                  <a:moveTo>
                    <a:pt x="1915" y="235"/>
                  </a:moveTo>
                  <a:cubicBezTo>
                    <a:pt x="1917" y="233"/>
                    <a:pt x="1920" y="231"/>
                    <a:pt x="1923" y="230"/>
                  </a:cubicBezTo>
                  <a:cubicBezTo>
                    <a:pt x="1923" y="227"/>
                    <a:pt x="1917" y="228"/>
                    <a:pt x="1912" y="228"/>
                  </a:cubicBezTo>
                  <a:cubicBezTo>
                    <a:pt x="1919" y="222"/>
                    <a:pt x="1906" y="222"/>
                    <a:pt x="1909" y="212"/>
                  </a:cubicBezTo>
                  <a:cubicBezTo>
                    <a:pt x="1918" y="212"/>
                    <a:pt x="1913" y="223"/>
                    <a:pt x="1918" y="226"/>
                  </a:cubicBezTo>
                  <a:cubicBezTo>
                    <a:pt x="1923" y="224"/>
                    <a:pt x="1923" y="218"/>
                    <a:pt x="1929" y="223"/>
                  </a:cubicBezTo>
                  <a:cubicBezTo>
                    <a:pt x="1928" y="232"/>
                    <a:pt x="1922" y="232"/>
                    <a:pt x="1926" y="240"/>
                  </a:cubicBezTo>
                  <a:cubicBezTo>
                    <a:pt x="1922" y="239"/>
                    <a:pt x="1924" y="232"/>
                    <a:pt x="1915" y="235"/>
                  </a:cubicBezTo>
                  <a:close/>
                  <a:moveTo>
                    <a:pt x="1930" y="287"/>
                  </a:moveTo>
                  <a:cubicBezTo>
                    <a:pt x="1923" y="294"/>
                    <a:pt x="1917" y="280"/>
                    <a:pt x="1930" y="287"/>
                  </a:cubicBezTo>
                  <a:close/>
                  <a:moveTo>
                    <a:pt x="1918" y="219"/>
                  </a:moveTo>
                  <a:cubicBezTo>
                    <a:pt x="1915" y="212"/>
                    <a:pt x="1924" y="214"/>
                    <a:pt x="1929" y="214"/>
                  </a:cubicBezTo>
                  <a:cubicBezTo>
                    <a:pt x="1929" y="210"/>
                    <a:pt x="1926" y="208"/>
                    <a:pt x="1923" y="207"/>
                  </a:cubicBezTo>
                  <a:cubicBezTo>
                    <a:pt x="1923" y="204"/>
                    <a:pt x="1928" y="205"/>
                    <a:pt x="1931" y="204"/>
                  </a:cubicBezTo>
                  <a:cubicBezTo>
                    <a:pt x="1930" y="209"/>
                    <a:pt x="1933" y="210"/>
                    <a:pt x="1934" y="214"/>
                  </a:cubicBezTo>
                  <a:cubicBezTo>
                    <a:pt x="1936" y="216"/>
                    <a:pt x="1940" y="216"/>
                    <a:pt x="1940" y="221"/>
                  </a:cubicBezTo>
                  <a:cubicBezTo>
                    <a:pt x="1936" y="217"/>
                    <a:pt x="1926" y="219"/>
                    <a:pt x="1918" y="219"/>
                  </a:cubicBezTo>
                  <a:close/>
                  <a:moveTo>
                    <a:pt x="1943" y="258"/>
                  </a:moveTo>
                  <a:cubicBezTo>
                    <a:pt x="1938" y="258"/>
                    <a:pt x="1937" y="254"/>
                    <a:pt x="1937" y="249"/>
                  </a:cubicBezTo>
                  <a:cubicBezTo>
                    <a:pt x="1946" y="246"/>
                    <a:pt x="1942" y="254"/>
                    <a:pt x="1943" y="258"/>
                  </a:cubicBezTo>
                  <a:close/>
                  <a:moveTo>
                    <a:pt x="1945" y="216"/>
                  </a:moveTo>
                  <a:cubicBezTo>
                    <a:pt x="1947" y="214"/>
                    <a:pt x="1948" y="212"/>
                    <a:pt x="1948" y="209"/>
                  </a:cubicBezTo>
                  <a:cubicBezTo>
                    <a:pt x="1951" y="209"/>
                    <a:pt x="1950" y="213"/>
                    <a:pt x="1953" y="213"/>
                  </a:cubicBezTo>
                  <a:cubicBezTo>
                    <a:pt x="1954" y="215"/>
                    <a:pt x="1952" y="215"/>
                    <a:pt x="1951" y="216"/>
                  </a:cubicBezTo>
                  <a:cubicBezTo>
                    <a:pt x="1949" y="216"/>
                    <a:pt x="1947" y="216"/>
                    <a:pt x="1945" y="216"/>
                  </a:cubicBezTo>
                  <a:close/>
                  <a:moveTo>
                    <a:pt x="1948" y="225"/>
                  </a:moveTo>
                  <a:cubicBezTo>
                    <a:pt x="1948" y="224"/>
                    <a:pt x="1948" y="222"/>
                    <a:pt x="1948" y="220"/>
                  </a:cubicBezTo>
                  <a:cubicBezTo>
                    <a:pt x="1953" y="220"/>
                    <a:pt x="1957" y="221"/>
                    <a:pt x="1956" y="225"/>
                  </a:cubicBezTo>
                  <a:cubicBezTo>
                    <a:pt x="1954" y="225"/>
                    <a:pt x="1951" y="225"/>
                    <a:pt x="1948" y="225"/>
                  </a:cubicBezTo>
                  <a:close/>
                  <a:moveTo>
                    <a:pt x="2054" y="169"/>
                  </a:moveTo>
                  <a:cubicBezTo>
                    <a:pt x="2050" y="171"/>
                    <a:pt x="2055" y="181"/>
                    <a:pt x="2046" y="179"/>
                  </a:cubicBezTo>
                  <a:cubicBezTo>
                    <a:pt x="2045" y="173"/>
                    <a:pt x="2047" y="169"/>
                    <a:pt x="2054" y="169"/>
                  </a:cubicBezTo>
                  <a:close/>
                  <a:moveTo>
                    <a:pt x="1985" y="145"/>
                  </a:moveTo>
                  <a:cubicBezTo>
                    <a:pt x="1984" y="151"/>
                    <a:pt x="1981" y="141"/>
                    <a:pt x="1977" y="142"/>
                  </a:cubicBezTo>
                  <a:cubicBezTo>
                    <a:pt x="1979" y="135"/>
                    <a:pt x="1982" y="145"/>
                    <a:pt x="1985" y="145"/>
                  </a:cubicBezTo>
                  <a:close/>
                  <a:moveTo>
                    <a:pt x="1985" y="274"/>
                  </a:moveTo>
                  <a:cubicBezTo>
                    <a:pt x="1984" y="278"/>
                    <a:pt x="1981" y="272"/>
                    <a:pt x="1982" y="269"/>
                  </a:cubicBezTo>
                  <a:cubicBezTo>
                    <a:pt x="1983" y="265"/>
                    <a:pt x="1985" y="271"/>
                    <a:pt x="1985" y="274"/>
                  </a:cubicBezTo>
                  <a:close/>
                  <a:moveTo>
                    <a:pt x="1979" y="255"/>
                  </a:moveTo>
                  <a:cubicBezTo>
                    <a:pt x="1978" y="250"/>
                    <a:pt x="1981" y="248"/>
                    <a:pt x="1987" y="248"/>
                  </a:cubicBezTo>
                  <a:cubicBezTo>
                    <a:pt x="1984" y="250"/>
                    <a:pt x="1986" y="257"/>
                    <a:pt x="1979" y="255"/>
                  </a:cubicBezTo>
                  <a:close/>
                  <a:moveTo>
                    <a:pt x="1998" y="252"/>
                  </a:moveTo>
                  <a:cubicBezTo>
                    <a:pt x="1993" y="260"/>
                    <a:pt x="1990" y="247"/>
                    <a:pt x="1990" y="243"/>
                  </a:cubicBezTo>
                  <a:cubicBezTo>
                    <a:pt x="1993" y="243"/>
                    <a:pt x="1991" y="241"/>
                    <a:pt x="1989" y="241"/>
                  </a:cubicBezTo>
                  <a:cubicBezTo>
                    <a:pt x="1989" y="239"/>
                    <a:pt x="1991" y="239"/>
                    <a:pt x="1992" y="238"/>
                  </a:cubicBezTo>
                  <a:cubicBezTo>
                    <a:pt x="1994" y="238"/>
                    <a:pt x="1996" y="238"/>
                    <a:pt x="1998" y="238"/>
                  </a:cubicBezTo>
                  <a:cubicBezTo>
                    <a:pt x="2001" y="245"/>
                    <a:pt x="1993" y="252"/>
                    <a:pt x="1998" y="252"/>
                  </a:cubicBezTo>
                  <a:close/>
                  <a:moveTo>
                    <a:pt x="1999" y="285"/>
                  </a:moveTo>
                  <a:cubicBezTo>
                    <a:pt x="2002" y="279"/>
                    <a:pt x="2005" y="276"/>
                    <a:pt x="2001" y="269"/>
                  </a:cubicBezTo>
                  <a:cubicBezTo>
                    <a:pt x="2009" y="268"/>
                    <a:pt x="2004" y="278"/>
                    <a:pt x="2009" y="278"/>
                  </a:cubicBezTo>
                  <a:cubicBezTo>
                    <a:pt x="2009" y="281"/>
                    <a:pt x="2007" y="279"/>
                    <a:pt x="2007" y="278"/>
                  </a:cubicBezTo>
                  <a:cubicBezTo>
                    <a:pt x="2000" y="277"/>
                    <a:pt x="2008" y="289"/>
                    <a:pt x="1999" y="285"/>
                  </a:cubicBezTo>
                  <a:close/>
                  <a:moveTo>
                    <a:pt x="2001" y="297"/>
                  </a:moveTo>
                  <a:cubicBezTo>
                    <a:pt x="2005" y="293"/>
                    <a:pt x="2007" y="288"/>
                    <a:pt x="2015" y="287"/>
                  </a:cubicBezTo>
                  <a:cubicBezTo>
                    <a:pt x="2012" y="291"/>
                    <a:pt x="2009" y="297"/>
                    <a:pt x="2001" y="297"/>
                  </a:cubicBezTo>
                  <a:close/>
                  <a:moveTo>
                    <a:pt x="2017" y="266"/>
                  </a:moveTo>
                  <a:cubicBezTo>
                    <a:pt x="2018" y="261"/>
                    <a:pt x="2025" y="261"/>
                    <a:pt x="2028" y="264"/>
                  </a:cubicBezTo>
                  <a:cubicBezTo>
                    <a:pt x="2028" y="267"/>
                    <a:pt x="2021" y="266"/>
                    <a:pt x="2017" y="266"/>
                  </a:cubicBezTo>
                  <a:close/>
                  <a:moveTo>
                    <a:pt x="2042" y="254"/>
                  </a:moveTo>
                  <a:cubicBezTo>
                    <a:pt x="2042" y="252"/>
                    <a:pt x="2042" y="251"/>
                    <a:pt x="2042" y="249"/>
                  </a:cubicBezTo>
                  <a:cubicBezTo>
                    <a:pt x="2044" y="249"/>
                    <a:pt x="2045" y="249"/>
                    <a:pt x="2047" y="249"/>
                  </a:cubicBezTo>
                  <a:cubicBezTo>
                    <a:pt x="2047" y="251"/>
                    <a:pt x="2047" y="252"/>
                    <a:pt x="2047" y="254"/>
                  </a:cubicBezTo>
                  <a:cubicBezTo>
                    <a:pt x="2046" y="254"/>
                    <a:pt x="2044" y="254"/>
                    <a:pt x="2042" y="254"/>
                  </a:cubicBezTo>
                  <a:close/>
                  <a:moveTo>
                    <a:pt x="2044" y="221"/>
                  </a:moveTo>
                  <a:cubicBezTo>
                    <a:pt x="2044" y="219"/>
                    <a:pt x="2044" y="216"/>
                    <a:pt x="2044" y="214"/>
                  </a:cubicBezTo>
                  <a:cubicBezTo>
                    <a:pt x="2038" y="213"/>
                    <a:pt x="2039" y="217"/>
                    <a:pt x="2039" y="221"/>
                  </a:cubicBezTo>
                  <a:cubicBezTo>
                    <a:pt x="2034" y="222"/>
                    <a:pt x="2025" y="219"/>
                    <a:pt x="2028" y="226"/>
                  </a:cubicBezTo>
                  <a:cubicBezTo>
                    <a:pt x="2018" y="222"/>
                    <a:pt x="2031" y="219"/>
                    <a:pt x="2033" y="217"/>
                  </a:cubicBezTo>
                  <a:cubicBezTo>
                    <a:pt x="2032" y="211"/>
                    <a:pt x="2021" y="216"/>
                    <a:pt x="2016" y="214"/>
                  </a:cubicBezTo>
                  <a:cubicBezTo>
                    <a:pt x="2013" y="222"/>
                    <a:pt x="2025" y="216"/>
                    <a:pt x="2022" y="224"/>
                  </a:cubicBezTo>
                  <a:cubicBezTo>
                    <a:pt x="2018" y="224"/>
                    <a:pt x="2014" y="224"/>
                    <a:pt x="2014" y="226"/>
                  </a:cubicBezTo>
                  <a:cubicBezTo>
                    <a:pt x="2011" y="226"/>
                    <a:pt x="2012" y="222"/>
                    <a:pt x="2008" y="222"/>
                  </a:cubicBezTo>
                  <a:cubicBezTo>
                    <a:pt x="2001" y="221"/>
                    <a:pt x="2016" y="231"/>
                    <a:pt x="2003" y="229"/>
                  </a:cubicBezTo>
                  <a:cubicBezTo>
                    <a:pt x="2001" y="236"/>
                    <a:pt x="2007" y="235"/>
                    <a:pt x="2006" y="241"/>
                  </a:cubicBezTo>
                  <a:cubicBezTo>
                    <a:pt x="1999" y="239"/>
                    <a:pt x="1997" y="231"/>
                    <a:pt x="2000" y="227"/>
                  </a:cubicBezTo>
                  <a:cubicBezTo>
                    <a:pt x="2001" y="226"/>
                    <a:pt x="2006" y="227"/>
                    <a:pt x="2006" y="226"/>
                  </a:cubicBezTo>
                  <a:cubicBezTo>
                    <a:pt x="2006" y="224"/>
                    <a:pt x="1999" y="222"/>
                    <a:pt x="2006" y="217"/>
                  </a:cubicBezTo>
                  <a:cubicBezTo>
                    <a:pt x="2005" y="214"/>
                    <a:pt x="1999" y="215"/>
                    <a:pt x="1994" y="215"/>
                  </a:cubicBezTo>
                  <a:cubicBezTo>
                    <a:pt x="1987" y="217"/>
                    <a:pt x="1992" y="218"/>
                    <a:pt x="1992" y="224"/>
                  </a:cubicBezTo>
                  <a:cubicBezTo>
                    <a:pt x="1983" y="227"/>
                    <a:pt x="1988" y="217"/>
                    <a:pt x="1984" y="215"/>
                  </a:cubicBezTo>
                  <a:cubicBezTo>
                    <a:pt x="1976" y="215"/>
                    <a:pt x="1980" y="222"/>
                    <a:pt x="1978" y="225"/>
                  </a:cubicBezTo>
                  <a:cubicBezTo>
                    <a:pt x="1978" y="225"/>
                    <a:pt x="1973" y="224"/>
                    <a:pt x="1973" y="225"/>
                  </a:cubicBezTo>
                  <a:cubicBezTo>
                    <a:pt x="1971" y="226"/>
                    <a:pt x="1974" y="230"/>
                    <a:pt x="1973" y="232"/>
                  </a:cubicBezTo>
                  <a:cubicBezTo>
                    <a:pt x="1967" y="230"/>
                    <a:pt x="1967" y="228"/>
                    <a:pt x="1970" y="225"/>
                  </a:cubicBezTo>
                  <a:cubicBezTo>
                    <a:pt x="1965" y="224"/>
                    <a:pt x="1965" y="227"/>
                    <a:pt x="1965" y="230"/>
                  </a:cubicBezTo>
                  <a:cubicBezTo>
                    <a:pt x="1961" y="229"/>
                    <a:pt x="1962" y="224"/>
                    <a:pt x="1962" y="220"/>
                  </a:cubicBezTo>
                  <a:cubicBezTo>
                    <a:pt x="1966" y="220"/>
                    <a:pt x="1971" y="220"/>
                    <a:pt x="1975" y="220"/>
                  </a:cubicBezTo>
                  <a:cubicBezTo>
                    <a:pt x="1976" y="214"/>
                    <a:pt x="1960" y="222"/>
                    <a:pt x="1964" y="213"/>
                  </a:cubicBezTo>
                  <a:cubicBezTo>
                    <a:pt x="1974" y="212"/>
                    <a:pt x="1988" y="216"/>
                    <a:pt x="1986" y="206"/>
                  </a:cubicBezTo>
                  <a:cubicBezTo>
                    <a:pt x="1992" y="205"/>
                    <a:pt x="1995" y="207"/>
                    <a:pt x="1994" y="213"/>
                  </a:cubicBezTo>
                  <a:cubicBezTo>
                    <a:pt x="2004" y="211"/>
                    <a:pt x="2003" y="210"/>
                    <a:pt x="2011" y="212"/>
                  </a:cubicBezTo>
                  <a:cubicBezTo>
                    <a:pt x="2015" y="211"/>
                    <a:pt x="2010" y="209"/>
                    <a:pt x="2011" y="205"/>
                  </a:cubicBezTo>
                  <a:cubicBezTo>
                    <a:pt x="2018" y="204"/>
                    <a:pt x="2021" y="206"/>
                    <a:pt x="2019" y="212"/>
                  </a:cubicBezTo>
                  <a:cubicBezTo>
                    <a:pt x="2024" y="212"/>
                    <a:pt x="2026" y="210"/>
                    <a:pt x="2027" y="207"/>
                  </a:cubicBezTo>
                  <a:cubicBezTo>
                    <a:pt x="2031" y="208"/>
                    <a:pt x="2032" y="211"/>
                    <a:pt x="2036" y="212"/>
                  </a:cubicBezTo>
                  <a:cubicBezTo>
                    <a:pt x="2039" y="212"/>
                    <a:pt x="2037" y="210"/>
                    <a:pt x="2038" y="209"/>
                  </a:cubicBezTo>
                  <a:cubicBezTo>
                    <a:pt x="2041" y="209"/>
                    <a:pt x="2045" y="214"/>
                    <a:pt x="2047" y="207"/>
                  </a:cubicBezTo>
                  <a:cubicBezTo>
                    <a:pt x="2051" y="208"/>
                    <a:pt x="2049" y="214"/>
                    <a:pt x="2058" y="211"/>
                  </a:cubicBezTo>
                  <a:cubicBezTo>
                    <a:pt x="2066" y="214"/>
                    <a:pt x="2050" y="214"/>
                    <a:pt x="2047" y="214"/>
                  </a:cubicBezTo>
                  <a:cubicBezTo>
                    <a:pt x="2047" y="220"/>
                    <a:pt x="2057" y="218"/>
                    <a:pt x="2060" y="221"/>
                  </a:cubicBezTo>
                  <a:cubicBezTo>
                    <a:pt x="2057" y="225"/>
                    <a:pt x="2054" y="221"/>
                    <a:pt x="2044" y="221"/>
                  </a:cubicBezTo>
                  <a:close/>
                  <a:moveTo>
                    <a:pt x="2063" y="221"/>
                  </a:moveTo>
                  <a:cubicBezTo>
                    <a:pt x="2063" y="218"/>
                    <a:pt x="2067" y="219"/>
                    <a:pt x="2069" y="218"/>
                  </a:cubicBezTo>
                  <a:cubicBezTo>
                    <a:pt x="2069" y="214"/>
                    <a:pt x="2069" y="210"/>
                    <a:pt x="2068" y="207"/>
                  </a:cubicBezTo>
                  <a:cubicBezTo>
                    <a:pt x="2080" y="203"/>
                    <a:pt x="2069" y="219"/>
                    <a:pt x="2077" y="218"/>
                  </a:cubicBezTo>
                  <a:cubicBezTo>
                    <a:pt x="2077" y="223"/>
                    <a:pt x="2067" y="219"/>
                    <a:pt x="2063" y="221"/>
                  </a:cubicBezTo>
                  <a:close/>
                  <a:moveTo>
                    <a:pt x="2074" y="239"/>
                  </a:moveTo>
                  <a:cubicBezTo>
                    <a:pt x="2073" y="239"/>
                    <a:pt x="2071" y="239"/>
                    <a:pt x="2069" y="239"/>
                  </a:cubicBezTo>
                  <a:cubicBezTo>
                    <a:pt x="2069" y="237"/>
                    <a:pt x="2069" y="235"/>
                    <a:pt x="2069" y="232"/>
                  </a:cubicBezTo>
                  <a:cubicBezTo>
                    <a:pt x="2073" y="232"/>
                    <a:pt x="2074" y="235"/>
                    <a:pt x="2077" y="235"/>
                  </a:cubicBezTo>
                  <a:cubicBezTo>
                    <a:pt x="2077" y="237"/>
                    <a:pt x="2074" y="237"/>
                    <a:pt x="2074" y="239"/>
                  </a:cubicBezTo>
                  <a:close/>
                  <a:moveTo>
                    <a:pt x="2200" y="66"/>
                  </a:moveTo>
                  <a:cubicBezTo>
                    <a:pt x="2203" y="68"/>
                    <a:pt x="2211" y="66"/>
                    <a:pt x="2209" y="72"/>
                  </a:cubicBezTo>
                  <a:cubicBezTo>
                    <a:pt x="2206" y="70"/>
                    <a:pt x="2199" y="72"/>
                    <a:pt x="2200" y="66"/>
                  </a:cubicBezTo>
                  <a:close/>
                  <a:moveTo>
                    <a:pt x="2184" y="71"/>
                  </a:moveTo>
                  <a:cubicBezTo>
                    <a:pt x="2184" y="72"/>
                    <a:pt x="2184" y="74"/>
                    <a:pt x="2184" y="75"/>
                  </a:cubicBezTo>
                  <a:cubicBezTo>
                    <a:pt x="2182" y="75"/>
                    <a:pt x="2180" y="75"/>
                    <a:pt x="2179" y="75"/>
                  </a:cubicBezTo>
                  <a:cubicBezTo>
                    <a:pt x="2179" y="74"/>
                    <a:pt x="2179" y="72"/>
                    <a:pt x="2179" y="71"/>
                  </a:cubicBezTo>
                  <a:cubicBezTo>
                    <a:pt x="2180" y="71"/>
                    <a:pt x="2182" y="71"/>
                    <a:pt x="2184" y="71"/>
                  </a:cubicBezTo>
                  <a:close/>
                  <a:moveTo>
                    <a:pt x="2180" y="132"/>
                  </a:moveTo>
                  <a:cubicBezTo>
                    <a:pt x="2179" y="136"/>
                    <a:pt x="2175" y="141"/>
                    <a:pt x="2174" y="144"/>
                  </a:cubicBezTo>
                  <a:cubicBezTo>
                    <a:pt x="2172" y="142"/>
                    <a:pt x="2170" y="141"/>
                    <a:pt x="2166" y="141"/>
                  </a:cubicBezTo>
                  <a:cubicBezTo>
                    <a:pt x="2162" y="135"/>
                    <a:pt x="2171" y="136"/>
                    <a:pt x="2171" y="132"/>
                  </a:cubicBezTo>
                  <a:cubicBezTo>
                    <a:pt x="2172" y="129"/>
                    <a:pt x="2177" y="130"/>
                    <a:pt x="2180" y="129"/>
                  </a:cubicBezTo>
                  <a:cubicBezTo>
                    <a:pt x="2180" y="127"/>
                    <a:pt x="2178" y="127"/>
                    <a:pt x="2177" y="127"/>
                  </a:cubicBezTo>
                  <a:cubicBezTo>
                    <a:pt x="2185" y="120"/>
                    <a:pt x="2181" y="128"/>
                    <a:pt x="2180" y="132"/>
                  </a:cubicBezTo>
                  <a:close/>
                  <a:moveTo>
                    <a:pt x="2183" y="174"/>
                  </a:moveTo>
                  <a:cubicBezTo>
                    <a:pt x="2180" y="173"/>
                    <a:pt x="2179" y="170"/>
                    <a:pt x="2175" y="169"/>
                  </a:cubicBezTo>
                  <a:cubicBezTo>
                    <a:pt x="2175" y="167"/>
                    <a:pt x="2178" y="168"/>
                    <a:pt x="2178" y="169"/>
                  </a:cubicBezTo>
                  <a:cubicBezTo>
                    <a:pt x="2180" y="169"/>
                    <a:pt x="2180" y="166"/>
                    <a:pt x="2180" y="165"/>
                  </a:cubicBezTo>
                  <a:cubicBezTo>
                    <a:pt x="2184" y="165"/>
                    <a:pt x="2183" y="170"/>
                    <a:pt x="2183" y="174"/>
                  </a:cubicBezTo>
                  <a:close/>
                  <a:moveTo>
                    <a:pt x="2177" y="120"/>
                  </a:moveTo>
                  <a:cubicBezTo>
                    <a:pt x="2176" y="125"/>
                    <a:pt x="2164" y="121"/>
                    <a:pt x="2166" y="116"/>
                  </a:cubicBezTo>
                  <a:cubicBezTo>
                    <a:pt x="2173" y="114"/>
                    <a:pt x="2171" y="120"/>
                    <a:pt x="2177" y="120"/>
                  </a:cubicBezTo>
                  <a:close/>
                  <a:moveTo>
                    <a:pt x="2166" y="108"/>
                  </a:moveTo>
                  <a:cubicBezTo>
                    <a:pt x="2166" y="108"/>
                    <a:pt x="2168" y="109"/>
                    <a:pt x="2168" y="108"/>
                  </a:cubicBezTo>
                  <a:cubicBezTo>
                    <a:pt x="2169" y="108"/>
                    <a:pt x="2169" y="102"/>
                    <a:pt x="2171" y="104"/>
                  </a:cubicBezTo>
                  <a:cubicBezTo>
                    <a:pt x="2179" y="111"/>
                    <a:pt x="2155" y="110"/>
                    <a:pt x="2166" y="108"/>
                  </a:cubicBezTo>
                  <a:close/>
                  <a:moveTo>
                    <a:pt x="2177" y="146"/>
                  </a:moveTo>
                  <a:cubicBezTo>
                    <a:pt x="2172" y="149"/>
                    <a:pt x="2177" y="160"/>
                    <a:pt x="2169" y="160"/>
                  </a:cubicBezTo>
                  <a:cubicBezTo>
                    <a:pt x="2171" y="162"/>
                    <a:pt x="2172" y="164"/>
                    <a:pt x="2172" y="167"/>
                  </a:cubicBezTo>
                  <a:cubicBezTo>
                    <a:pt x="2164" y="171"/>
                    <a:pt x="2163" y="152"/>
                    <a:pt x="2172" y="155"/>
                  </a:cubicBezTo>
                  <a:cubicBezTo>
                    <a:pt x="2171" y="151"/>
                    <a:pt x="2167" y="150"/>
                    <a:pt x="2161" y="151"/>
                  </a:cubicBezTo>
                  <a:cubicBezTo>
                    <a:pt x="2164" y="147"/>
                    <a:pt x="2170" y="146"/>
                    <a:pt x="2177" y="146"/>
                  </a:cubicBezTo>
                  <a:close/>
                  <a:moveTo>
                    <a:pt x="2164" y="205"/>
                  </a:moveTo>
                  <a:cubicBezTo>
                    <a:pt x="2165" y="200"/>
                    <a:pt x="2174" y="207"/>
                    <a:pt x="2173" y="212"/>
                  </a:cubicBezTo>
                  <a:cubicBezTo>
                    <a:pt x="2170" y="212"/>
                    <a:pt x="2167" y="212"/>
                    <a:pt x="2165" y="212"/>
                  </a:cubicBezTo>
                  <a:cubicBezTo>
                    <a:pt x="2166" y="210"/>
                    <a:pt x="2169" y="205"/>
                    <a:pt x="2164" y="205"/>
                  </a:cubicBezTo>
                  <a:close/>
                  <a:moveTo>
                    <a:pt x="2164" y="186"/>
                  </a:moveTo>
                  <a:cubicBezTo>
                    <a:pt x="2166" y="173"/>
                    <a:pt x="2181" y="193"/>
                    <a:pt x="2167" y="193"/>
                  </a:cubicBezTo>
                  <a:cubicBezTo>
                    <a:pt x="2167" y="191"/>
                    <a:pt x="2170" y="191"/>
                    <a:pt x="2170" y="188"/>
                  </a:cubicBezTo>
                  <a:cubicBezTo>
                    <a:pt x="2170" y="186"/>
                    <a:pt x="2166" y="187"/>
                    <a:pt x="2164" y="186"/>
                  </a:cubicBezTo>
                  <a:close/>
                  <a:moveTo>
                    <a:pt x="2154" y="99"/>
                  </a:moveTo>
                  <a:cubicBezTo>
                    <a:pt x="2166" y="98"/>
                    <a:pt x="2156" y="104"/>
                    <a:pt x="2157" y="109"/>
                  </a:cubicBezTo>
                  <a:cubicBezTo>
                    <a:pt x="2149" y="108"/>
                    <a:pt x="2150" y="117"/>
                    <a:pt x="2144" y="111"/>
                  </a:cubicBezTo>
                  <a:cubicBezTo>
                    <a:pt x="2145" y="106"/>
                    <a:pt x="2158" y="109"/>
                    <a:pt x="2154" y="99"/>
                  </a:cubicBezTo>
                  <a:close/>
                  <a:moveTo>
                    <a:pt x="2159" y="207"/>
                  </a:moveTo>
                  <a:cubicBezTo>
                    <a:pt x="2146" y="210"/>
                    <a:pt x="2154" y="195"/>
                    <a:pt x="2159" y="203"/>
                  </a:cubicBezTo>
                  <a:cubicBezTo>
                    <a:pt x="2159" y="204"/>
                    <a:pt x="2159" y="206"/>
                    <a:pt x="2159" y="207"/>
                  </a:cubicBezTo>
                  <a:close/>
                  <a:moveTo>
                    <a:pt x="2141" y="130"/>
                  </a:moveTo>
                  <a:cubicBezTo>
                    <a:pt x="2150" y="127"/>
                    <a:pt x="2143" y="138"/>
                    <a:pt x="2152" y="135"/>
                  </a:cubicBezTo>
                  <a:cubicBezTo>
                    <a:pt x="2150" y="139"/>
                    <a:pt x="2147" y="143"/>
                    <a:pt x="2139" y="142"/>
                  </a:cubicBezTo>
                  <a:cubicBezTo>
                    <a:pt x="2137" y="136"/>
                    <a:pt x="2144" y="137"/>
                    <a:pt x="2141" y="130"/>
                  </a:cubicBezTo>
                  <a:close/>
                  <a:moveTo>
                    <a:pt x="2115" y="189"/>
                  </a:moveTo>
                  <a:cubicBezTo>
                    <a:pt x="2120" y="183"/>
                    <a:pt x="2127" y="192"/>
                    <a:pt x="2134" y="187"/>
                  </a:cubicBezTo>
                  <a:cubicBezTo>
                    <a:pt x="2135" y="195"/>
                    <a:pt x="2119" y="190"/>
                    <a:pt x="2115" y="194"/>
                  </a:cubicBezTo>
                  <a:cubicBezTo>
                    <a:pt x="2117" y="192"/>
                    <a:pt x="2118" y="190"/>
                    <a:pt x="2115" y="189"/>
                  </a:cubicBezTo>
                  <a:close/>
                  <a:moveTo>
                    <a:pt x="2128" y="140"/>
                  </a:moveTo>
                  <a:cubicBezTo>
                    <a:pt x="2125" y="148"/>
                    <a:pt x="2122" y="137"/>
                    <a:pt x="2119" y="138"/>
                  </a:cubicBezTo>
                  <a:cubicBezTo>
                    <a:pt x="2114" y="135"/>
                    <a:pt x="2116" y="142"/>
                    <a:pt x="2114" y="142"/>
                  </a:cubicBezTo>
                  <a:cubicBezTo>
                    <a:pt x="2112" y="143"/>
                    <a:pt x="2108" y="139"/>
                    <a:pt x="2103" y="142"/>
                  </a:cubicBezTo>
                  <a:cubicBezTo>
                    <a:pt x="2103" y="140"/>
                    <a:pt x="2103" y="138"/>
                    <a:pt x="2103" y="135"/>
                  </a:cubicBezTo>
                  <a:cubicBezTo>
                    <a:pt x="2114" y="137"/>
                    <a:pt x="2112" y="136"/>
                    <a:pt x="2125" y="135"/>
                  </a:cubicBezTo>
                  <a:cubicBezTo>
                    <a:pt x="2124" y="138"/>
                    <a:pt x="2126" y="139"/>
                    <a:pt x="2128" y="140"/>
                  </a:cubicBezTo>
                  <a:close/>
                  <a:moveTo>
                    <a:pt x="2130" y="107"/>
                  </a:moveTo>
                  <a:cubicBezTo>
                    <a:pt x="2124" y="116"/>
                    <a:pt x="2136" y="115"/>
                    <a:pt x="2133" y="128"/>
                  </a:cubicBezTo>
                  <a:cubicBezTo>
                    <a:pt x="2130" y="128"/>
                    <a:pt x="2131" y="124"/>
                    <a:pt x="2130" y="121"/>
                  </a:cubicBezTo>
                  <a:cubicBezTo>
                    <a:pt x="2129" y="118"/>
                    <a:pt x="2117" y="107"/>
                    <a:pt x="2130" y="107"/>
                  </a:cubicBezTo>
                  <a:close/>
                  <a:moveTo>
                    <a:pt x="2111" y="107"/>
                  </a:moveTo>
                  <a:cubicBezTo>
                    <a:pt x="2110" y="110"/>
                    <a:pt x="2099" y="112"/>
                    <a:pt x="2111" y="112"/>
                  </a:cubicBezTo>
                  <a:cubicBezTo>
                    <a:pt x="2110" y="115"/>
                    <a:pt x="2106" y="114"/>
                    <a:pt x="2102" y="114"/>
                  </a:cubicBezTo>
                  <a:cubicBezTo>
                    <a:pt x="2098" y="107"/>
                    <a:pt x="2103" y="102"/>
                    <a:pt x="2111" y="107"/>
                  </a:cubicBezTo>
                  <a:close/>
                  <a:moveTo>
                    <a:pt x="2088" y="251"/>
                  </a:moveTo>
                  <a:cubicBezTo>
                    <a:pt x="2084" y="249"/>
                    <a:pt x="2081" y="243"/>
                    <a:pt x="2085" y="239"/>
                  </a:cubicBezTo>
                  <a:cubicBezTo>
                    <a:pt x="2091" y="239"/>
                    <a:pt x="2087" y="247"/>
                    <a:pt x="2088" y="251"/>
                  </a:cubicBezTo>
                  <a:close/>
                  <a:moveTo>
                    <a:pt x="2085" y="227"/>
                  </a:moveTo>
                  <a:cubicBezTo>
                    <a:pt x="2075" y="221"/>
                    <a:pt x="2088" y="214"/>
                    <a:pt x="2082" y="204"/>
                  </a:cubicBezTo>
                  <a:cubicBezTo>
                    <a:pt x="2085" y="205"/>
                    <a:pt x="2085" y="209"/>
                    <a:pt x="2090" y="209"/>
                  </a:cubicBezTo>
                  <a:cubicBezTo>
                    <a:pt x="2090" y="216"/>
                    <a:pt x="2083" y="218"/>
                    <a:pt x="2085" y="227"/>
                  </a:cubicBezTo>
                  <a:close/>
                  <a:moveTo>
                    <a:pt x="2103" y="168"/>
                  </a:moveTo>
                  <a:cubicBezTo>
                    <a:pt x="2105" y="169"/>
                    <a:pt x="2096" y="175"/>
                    <a:pt x="2093" y="171"/>
                  </a:cubicBezTo>
                  <a:cubicBezTo>
                    <a:pt x="2092" y="169"/>
                    <a:pt x="2102" y="167"/>
                    <a:pt x="2103" y="168"/>
                  </a:cubicBezTo>
                  <a:close/>
                  <a:moveTo>
                    <a:pt x="2095" y="293"/>
                  </a:moveTo>
                  <a:cubicBezTo>
                    <a:pt x="2095" y="289"/>
                    <a:pt x="2104" y="291"/>
                    <a:pt x="2103" y="286"/>
                  </a:cubicBezTo>
                  <a:cubicBezTo>
                    <a:pt x="2107" y="287"/>
                    <a:pt x="2105" y="293"/>
                    <a:pt x="2114" y="290"/>
                  </a:cubicBezTo>
                  <a:cubicBezTo>
                    <a:pt x="2108" y="295"/>
                    <a:pt x="2101" y="295"/>
                    <a:pt x="2095" y="293"/>
                  </a:cubicBezTo>
                  <a:close/>
                  <a:moveTo>
                    <a:pt x="2094" y="270"/>
                  </a:moveTo>
                  <a:cubicBezTo>
                    <a:pt x="2095" y="265"/>
                    <a:pt x="2098" y="271"/>
                    <a:pt x="2097" y="274"/>
                  </a:cubicBezTo>
                  <a:cubicBezTo>
                    <a:pt x="2096" y="279"/>
                    <a:pt x="2094" y="273"/>
                    <a:pt x="2094" y="270"/>
                  </a:cubicBezTo>
                  <a:close/>
                  <a:moveTo>
                    <a:pt x="2102" y="225"/>
                  </a:moveTo>
                  <a:cubicBezTo>
                    <a:pt x="2094" y="222"/>
                    <a:pt x="2109" y="208"/>
                    <a:pt x="2102" y="225"/>
                  </a:cubicBezTo>
                  <a:close/>
                  <a:moveTo>
                    <a:pt x="2110" y="218"/>
                  </a:moveTo>
                  <a:cubicBezTo>
                    <a:pt x="2117" y="218"/>
                    <a:pt x="2111" y="226"/>
                    <a:pt x="2110" y="227"/>
                  </a:cubicBezTo>
                  <a:cubicBezTo>
                    <a:pt x="2102" y="226"/>
                    <a:pt x="2112" y="222"/>
                    <a:pt x="2110" y="218"/>
                  </a:cubicBezTo>
                  <a:close/>
                  <a:moveTo>
                    <a:pt x="2119" y="281"/>
                  </a:moveTo>
                  <a:cubicBezTo>
                    <a:pt x="2117" y="288"/>
                    <a:pt x="2115" y="277"/>
                    <a:pt x="2116" y="274"/>
                  </a:cubicBezTo>
                  <a:cubicBezTo>
                    <a:pt x="2113" y="277"/>
                    <a:pt x="2112" y="275"/>
                    <a:pt x="2108" y="274"/>
                  </a:cubicBezTo>
                  <a:cubicBezTo>
                    <a:pt x="2110" y="272"/>
                    <a:pt x="2114" y="271"/>
                    <a:pt x="2113" y="267"/>
                  </a:cubicBezTo>
                  <a:cubicBezTo>
                    <a:pt x="2118" y="269"/>
                    <a:pt x="2120" y="274"/>
                    <a:pt x="2119" y="281"/>
                  </a:cubicBezTo>
                  <a:close/>
                  <a:moveTo>
                    <a:pt x="2121" y="246"/>
                  </a:moveTo>
                  <a:cubicBezTo>
                    <a:pt x="2121" y="246"/>
                    <a:pt x="2116" y="243"/>
                    <a:pt x="2116" y="243"/>
                  </a:cubicBezTo>
                  <a:cubicBezTo>
                    <a:pt x="2116" y="240"/>
                    <a:pt x="2120" y="243"/>
                    <a:pt x="2121" y="241"/>
                  </a:cubicBezTo>
                  <a:cubicBezTo>
                    <a:pt x="2121" y="240"/>
                    <a:pt x="2122" y="234"/>
                    <a:pt x="2124" y="236"/>
                  </a:cubicBezTo>
                  <a:cubicBezTo>
                    <a:pt x="2124" y="237"/>
                    <a:pt x="2121" y="245"/>
                    <a:pt x="2121" y="246"/>
                  </a:cubicBezTo>
                  <a:close/>
                  <a:moveTo>
                    <a:pt x="2115" y="217"/>
                  </a:moveTo>
                  <a:cubicBezTo>
                    <a:pt x="2117" y="212"/>
                    <a:pt x="2129" y="216"/>
                    <a:pt x="2126" y="222"/>
                  </a:cubicBezTo>
                  <a:cubicBezTo>
                    <a:pt x="2122" y="221"/>
                    <a:pt x="2119" y="219"/>
                    <a:pt x="2115" y="217"/>
                  </a:cubicBezTo>
                  <a:close/>
                  <a:moveTo>
                    <a:pt x="2122" y="276"/>
                  </a:moveTo>
                  <a:cubicBezTo>
                    <a:pt x="2122" y="272"/>
                    <a:pt x="2126" y="271"/>
                    <a:pt x="2133" y="271"/>
                  </a:cubicBezTo>
                  <a:cubicBezTo>
                    <a:pt x="2132" y="275"/>
                    <a:pt x="2128" y="277"/>
                    <a:pt x="2122" y="276"/>
                  </a:cubicBezTo>
                  <a:close/>
                  <a:moveTo>
                    <a:pt x="2129" y="243"/>
                  </a:moveTo>
                  <a:cubicBezTo>
                    <a:pt x="2129" y="241"/>
                    <a:pt x="2129" y="240"/>
                    <a:pt x="2129" y="238"/>
                  </a:cubicBezTo>
                  <a:cubicBezTo>
                    <a:pt x="2131" y="238"/>
                    <a:pt x="2133" y="238"/>
                    <a:pt x="2135" y="238"/>
                  </a:cubicBezTo>
                  <a:cubicBezTo>
                    <a:pt x="2135" y="240"/>
                    <a:pt x="2135" y="241"/>
                    <a:pt x="2135" y="243"/>
                  </a:cubicBezTo>
                  <a:cubicBezTo>
                    <a:pt x="2133" y="243"/>
                    <a:pt x="2131" y="243"/>
                    <a:pt x="2129" y="243"/>
                  </a:cubicBezTo>
                  <a:close/>
                  <a:moveTo>
                    <a:pt x="2134" y="210"/>
                  </a:moveTo>
                  <a:cubicBezTo>
                    <a:pt x="2132" y="212"/>
                    <a:pt x="2130" y="212"/>
                    <a:pt x="2126" y="213"/>
                  </a:cubicBezTo>
                  <a:cubicBezTo>
                    <a:pt x="2126" y="213"/>
                    <a:pt x="2126" y="210"/>
                    <a:pt x="2126" y="210"/>
                  </a:cubicBezTo>
                  <a:cubicBezTo>
                    <a:pt x="2124" y="211"/>
                    <a:pt x="2124" y="213"/>
                    <a:pt x="2123" y="213"/>
                  </a:cubicBezTo>
                  <a:cubicBezTo>
                    <a:pt x="2121" y="213"/>
                    <a:pt x="2120" y="210"/>
                    <a:pt x="2121" y="210"/>
                  </a:cubicBezTo>
                  <a:cubicBezTo>
                    <a:pt x="2121" y="210"/>
                    <a:pt x="2113" y="212"/>
                    <a:pt x="2112" y="213"/>
                  </a:cubicBezTo>
                  <a:cubicBezTo>
                    <a:pt x="2110" y="215"/>
                    <a:pt x="2112" y="213"/>
                    <a:pt x="2101" y="213"/>
                  </a:cubicBezTo>
                  <a:cubicBezTo>
                    <a:pt x="2103" y="207"/>
                    <a:pt x="2100" y="205"/>
                    <a:pt x="2093" y="206"/>
                  </a:cubicBezTo>
                  <a:cubicBezTo>
                    <a:pt x="2092" y="203"/>
                    <a:pt x="2097" y="205"/>
                    <a:pt x="2099" y="204"/>
                  </a:cubicBezTo>
                  <a:cubicBezTo>
                    <a:pt x="2103" y="199"/>
                    <a:pt x="2097" y="191"/>
                    <a:pt x="2107" y="192"/>
                  </a:cubicBezTo>
                  <a:cubicBezTo>
                    <a:pt x="2101" y="197"/>
                    <a:pt x="2105" y="205"/>
                    <a:pt x="2107" y="211"/>
                  </a:cubicBezTo>
                  <a:cubicBezTo>
                    <a:pt x="2112" y="208"/>
                    <a:pt x="2122" y="210"/>
                    <a:pt x="2121" y="203"/>
                  </a:cubicBezTo>
                  <a:cubicBezTo>
                    <a:pt x="2123" y="205"/>
                    <a:pt x="2125" y="207"/>
                    <a:pt x="2126" y="210"/>
                  </a:cubicBezTo>
                  <a:cubicBezTo>
                    <a:pt x="2130" y="206"/>
                    <a:pt x="2135" y="204"/>
                    <a:pt x="2134" y="196"/>
                  </a:cubicBezTo>
                  <a:cubicBezTo>
                    <a:pt x="2138" y="196"/>
                    <a:pt x="2135" y="203"/>
                    <a:pt x="2140" y="203"/>
                  </a:cubicBezTo>
                  <a:cubicBezTo>
                    <a:pt x="2138" y="205"/>
                    <a:pt x="2133" y="206"/>
                    <a:pt x="2134" y="210"/>
                  </a:cubicBezTo>
                  <a:close/>
                  <a:moveTo>
                    <a:pt x="2144" y="285"/>
                  </a:moveTo>
                  <a:cubicBezTo>
                    <a:pt x="2139" y="283"/>
                    <a:pt x="2136" y="275"/>
                    <a:pt x="2141" y="271"/>
                  </a:cubicBezTo>
                  <a:cubicBezTo>
                    <a:pt x="2147" y="271"/>
                    <a:pt x="2142" y="281"/>
                    <a:pt x="2144" y="285"/>
                  </a:cubicBezTo>
                  <a:close/>
                  <a:moveTo>
                    <a:pt x="2143" y="215"/>
                  </a:moveTo>
                  <a:cubicBezTo>
                    <a:pt x="2146" y="216"/>
                    <a:pt x="2148" y="218"/>
                    <a:pt x="2148" y="222"/>
                  </a:cubicBezTo>
                  <a:cubicBezTo>
                    <a:pt x="2145" y="221"/>
                    <a:pt x="2143" y="219"/>
                    <a:pt x="2143" y="215"/>
                  </a:cubicBezTo>
                  <a:close/>
                  <a:moveTo>
                    <a:pt x="2147" y="156"/>
                  </a:moveTo>
                  <a:cubicBezTo>
                    <a:pt x="2143" y="154"/>
                    <a:pt x="2148" y="152"/>
                    <a:pt x="2144" y="146"/>
                  </a:cubicBezTo>
                  <a:cubicBezTo>
                    <a:pt x="2154" y="144"/>
                    <a:pt x="2150" y="154"/>
                    <a:pt x="2155" y="156"/>
                  </a:cubicBezTo>
                  <a:cubicBezTo>
                    <a:pt x="2154" y="159"/>
                    <a:pt x="2151" y="156"/>
                    <a:pt x="2150" y="153"/>
                  </a:cubicBezTo>
                  <a:cubicBezTo>
                    <a:pt x="2147" y="153"/>
                    <a:pt x="2147" y="154"/>
                    <a:pt x="2147" y="156"/>
                  </a:cubicBezTo>
                  <a:close/>
                  <a:moveTo>
                    <a:pt x="2157" y="250"/>
                  </a:moveTo>
                  <a:cubicBezTo>
                    <a:pt x="2153" y="249"/>
                    <a:pt x="2156" y="243"/>
                    <a:pt x="2151" y="243"/>
                  </a:cubicBezTo>
                  <a:cubicBezTo>
                    <a:pt x="2153" y="240"/>
                    <a:pt x="2158" y="240"/>
                    <a:pt x="2157" y="236"/>
                  </a:cubicBezTo>
                  <a:cubicBezTo>
                    <a:pt x="2164" y="238"/>
                    <a:pt x="2156" y="246"/>
                    <a:pt x="2157" y="250"/>
                  </a:cubicBezTo>
                  <a:close/>
                  <a:moveTo>
                    <a:pt x="2159" y="221"/>
                  </a:moveTo>
                  <a:cubicBezTo>
                    <a:pt x="2160" y="224"/>
                    <a:pt x="2159" y="236"/>
                    <a:pt x="2157" y="228"/>
                  </a:cubicBezTo>
                  <a:cubicBezTo>
                    <a:pt x="2157" y="224"/>
                    <a:pt x="2156" y="219"/>
                    <a:pt x="2156" y="214"/>
                  </a:cubicBezTo>
                  <a:cubicBezTo>
                    <a:pt x="2160" y="214"/>
                    <a:pt x="2164" y="214"/>
                    <a:pt x="2167" y="214"/>
                  </a:cubicBezTo>
                  <a:cubicBezTo>
                    <a:pt x="2168" y="219"/>
                    <a:pt x="2165" y="222"/>
                    <a:pt x="2159" y="221"/>
                  </a:cubicBezTo>
                  <a:close/>
                  <a:moveTo>
                    <a:pt x="2168" y="273"/>
                  </a:moveTo>
                  <a:cubicBezTo>
                    <a:pt x="2171" y="274"/>
                    <a:pt x="2173" y="275"/>
                    <a:pt x="2177" y="275"/>
                  </a:cubicBezTo>
                  <a:cubicBezTo>
                    <a:pt x="2176" y="284"/>
                    <a:pt x="2173" y="284"/>
                    <a:pt x="2177" y="292"/>
                  </a:cubicBezTo>
                  <a:cubicBezTo>
                    <a:pt x="2165" y="293"/>
                    <a:pt x="2169" y="281"/>
                    <a:pt x="2168" y="273"/>
                  </a:cubicBezTo>
                  <a:close/>
                  <a:moveTo>
                    <a:pt x="2174" y="273"/>
                  </a:moveTo>
                  <a:cubicBezTo>
                    <a:pt x="2174" y="271"/>
                    <a:pt x="2174" y="270"/>
                    <a:pt x="2174" y="268"/>
                  </a:cubicBezTo>
                  <a:cubicBezTo>
                    <a:pt x="2176" y="268"/>
                    <a:pt x="2177" y="268"/>
                    <a:pt x="2179" y="268"/>
                  </a:cubicBezTo>
                  <a:cubicBezTo>
                    <a:pt x="2179" y="270"/>
                    <a:pt x="2179" y="271"/>
                    <a:pt x="2179" y="273"/>
                  </a:cubicBezTo>
                  <a:cubicBezTo>
                    <a:pt x="2177" y="273"/>
                    <a:pt x="2176" y="273"/>
                    <a:pt x="2174" y="273"/>
                  </a:cubicBezTo>
                  <a:close/>
                  <a:moveTo>
                    <a:pt x="2170" y="217"/>
                  </a:moveTo>
                  <a:cubicBezTo>
                    <a:pt x="2171" y="213"/>
                    <a:pt x="2177" y="214"/>
                    <a:pt x="2181" y="214"/>
                  </a:cubicBezTo>
                  <a:cubicBezTo>
                    <a:pt x="2180" y="219"/>
                    <a:pt x="2174" y="220"/>
                    <a:pt x="2170" y="217"/>
                  </a:cubicBezTo>
                  <a:close/>
                  <a:moveTo>
                    <a:pt x="2181" y="197"/>
                  </a:moveTo>
                  <a:cubicBezTo>
                    <a:pt x="2173" y="193"/>
                    <a:pt x="2182" y="183"/>
                    <a:pt x="2183" y="179"/>
                  </a:cubicBezTo>
                  <a:cubicBezTo>
                    <a:pt x="2189" y="182"/>
                    <a:pt x="2180" y="191"/>
                    <a:pt x="2181" y="197"/>
                  </a:cubicBezTo>
                  <a:close/>
                  <a:moveTo>
                    <a:pt x="2188" y="136"/>
                  </a:moveTo>
                  <a:cubicBezTo>
                    <a:pt x="2190" y="136"/>
                    <a:pt x="2192" y="136"/>
                    <a:pt x="2193" y="136"/>
                  </a:cubicBezTo>
                  <a:cubicBezTo>
                    <a:pt x="2195" y="141"/>
                    <a:pt x="2190" y="141"/>
                    <a:pt x="2185" y="141"/>
                  </a:cubicBezTo>
                  <a:cubicBezTo>
                    <a:pt x="2186" y="139"/>
                    <a:pt x="2188" y="139"/>
                    <a:pt x="2188" y="136"/>
                  </a:cubicBezTo>
                  <a:close/>
                  <a:moveTo>
                    <a:pt x="2189" y="204"/>
                  </a:moveTo>
                  <a:cubicBezTo>
                    <a:pt x="2188" y="209"/>
                    <a:pt x="2186" y="203"/>
                    <a:pt x="2186" y="200"/>
                  </a:cubicBezTo>
                  <a:cubicBezTo>
                    <a:pt x="2187" y="195"/>
                    <a:pt x="2190" y="201"/>
                    <a:pt x="2189" y="204"/>
                  </a:cubicBezTo>
                  <a:close/>
                  <a:moveTo>
                    <a:pt x="2189" y="214"/>
                  </a:moveTo>
                  <a:cubicBezTo>
                    <a:pt x="2194" y="213"/>
                    <a:pt x="2194" y="216"/>
                    <a:pt x="2198" y="216"/>
                  </a:cubicBezTo>
                  <a:cubicBezTo>
                    <a:pt x="2195" y="223"/>
                    <a:pt x="2195" y="223"/>
                    <a:pt x="2198" y="230"/>
                  </a:cubicBezTo>
                  <a:cubicBezTo>
                    <a:pt x="2190" y="229"/>
                    <a:pt x="2193" y="219"/>
                    <a:pt x="2189" y="214"/>
                  </a:cubicBezTo>
                  <a:close/>
                  <a:moveTo>
                    <a:pt x="2191" y="148"/>
                  </a:moveTo>
                  <a:cubicBezTo>
                    <a:pt x="2192" y="145"/>
                    <a:pt x="2198" y="146"/>
                    <a:pt x="2202" y="145"/>
                  </a:cubicBezTo>
                  <a:cubicBezTo>
                    <a:pt x="2201" y="137"/>
                    <a:pt x="2204" y="132"/>
                    <a:pt x="2213" y="131"/>
                  </a:cubicBezTo>
                  <a:cubicBezTo>
                    <a:pt x="2207" y="140"/>
                    <a:pt x="2204" y="142"/>
                    <a:pt x="2207" y="155"/>
                  </a:cubicBezTo>
                  <a:cubicBezTo>
                    <a:pt x="2200" y="155"/>
                    <a:pt x="2204" y="153"/>
                    <a:pt x="2205" y="150"/>
                  </a:cubicBezTo>
                  <a:cubicBezTo>
                    <a:pt x="2200" y="145"/>
                    <a:pt x="2198" y="152"/>
                    <a:pt x="2191" y="148"/>
                  </a:cubicBezTo>
                  <a:close/>
                  <a:moveTo>
                    <a:pt x="2214" y="220"/>
                  </a:moveTo>
                  <a:cubicBezTo>
                    <a:pt x="2205" y="222"/>
                    <a:pt x="2213" y="209"/>
                    <a:pt x="2203" y="211"/>
                  </a:cubicBezTo>
                  <a:cubicBezTo>
                    <a:pt x="2203" y="208"/>
                    <a:pt x="2208" y="209"/>
                    <a:pt x="2211" y="209"/>
                  </a:cubicBezTo>
                  <a:cubicBezTo>
                    <a:pt x="2209" y="215"/>
                    <a:pt x="2215" y="215"/>
                    <a:pt x="2214" y="220"/>
                  </a:cubicBezTo>
                  <a:close/>
                  <a:moveTo>
                    <a:pt x="2211" y="202"/>
                  </a:moveTo>
                  <a:cubicBezTo>
                    <a:pt x="2208" y="201"/>
                    <a:pt x="2206" y="202"/>
                    <a:pt x="2206" y="204"/>
                  </a:cubicBezTo>
                  <a:cubicBezTo>
                    <a:pt x="2201" y="203"/>
                    <a:pt x="2207" y="201"/>
                    <a:pt x="2206" y="197"/>
                  </a:cubicBezTo>
                  <a:cubicBezTo>
                    <a:pt x="2209" y="201"/>
                    <a:pt x="2217" y="200"/>
                    <a:pt x="2217" y="206"/>
                  </a:cubicBezTo>
                  <a:cubicBezTo>
                    <a:pt x="2214" y="205"/>
                    <a:pt x="2212" y="204"/>
                    <a:pt x="2211" y="202"/>
                  </a:cubicBezTo>
                  <a:close/>
                  <a:moveTo>
                    <a:pt x="2222" y="223"/>
                  </a:moveTo>
                  <a:cubicBezTo>
                    <a:pt x="2219" y="222"/>
                    <a:pt x="2220" y="217"/>
                    <a:pt x="2219" y="213"/>
                  </a:cubicBezTo>
                  <a:cubicBezTo>
                    <a:pt x="2222" y="213"/>
                    <a:pt x="2225" y="213"/>
                    <a:pt x="2228" y="213"/>
                  </a:cubicBezTo>
                  <a:cubicBezTo>
                    <a:pt x="2231" y="221"/>
                    <a:pt x="2219" y="215"/>
                    <a:pt x="2222" y="223"/>
                  </a:cubicBezTo>
                  <a:close/>
                  <a:moveTo>
                    <a:pt x="2233" y="187"/>
                  </a:moveTo>
                  <a:cubicBezTo>
                    <a:pt x="2235" y="187"/>
                    <a:pt x="2236" y="187"/>
                    <a:pt x="2238" y="187"/>
                  </a:cubicBezTo>
                  <a:cubicBezTo>
                    <a:pt x="2240" y="192"/>
                    <a:pt x="2234" y="192"/>
                    <a:pt x="2230" y="192"/>
                  </a:cubicBezTo>
                  <a:cubicBezTo>
                    <a:pt x="2231" y="190"/>
                    <a:pt x="2233" y="190"/>
                    <a:pt x="2233" y="187"/>
                  </a:cubicBezTo>
                  <a:close/>
                  <a:moveTo>
                    <a:pt x="2236" y="225"/>
                  </a:moveTo>
                  <a:cubicBezTo>
                    <a:pt x="2234" y="223"/>
                    <a:pt x="2230" y="215"/>
                    <a:pt x="2230" y="208"/>
                  </a:cubicBezTo>
                  <a:cubicBezTo>
                    <a:pt x="2230" y="207"/>
                    <a:pt x="2235" y="207"/>
                    <a:pt x="2236" y="206"/>
                  </a:cubicBezTo>
                  <a:cubicBezTo>
                    <a:pt x="2237" y="205"/>
                    <a:pt x="2232" y="201"/>
                    <a:pt x="2236" y="199"/>
                  </a:cubicBezTo>
                  <a:cubicBezTo>
                    <a:pt x="2244" y="199"/>
                    <a:pt x="2230" y="217"/>
                    <a:pt x="2239" y="211"/>
                  </a:cubicBezTo>
                  <a:cubicBezTo>
                    <a:pt x="2247" y="214"/>
                    <a:pt x="2234" y="219"/>
                    <a:pt x="2236" y="225"/>
                  </a:cubicBezTo>
                  <a:close/>
                  <a:moveTo>
                    <a:pt x="2264" y="104"/>
                  </a:moveTo>
                  <a:cubicBezTo>
                    <a:pt x="2271" y="105"/>
                    <a:pt x="2267" y="115"/>
                    <a:pt x="2259" y="112"/>
                  </a:cubicBezTo>
                  <a:cubicBezTo>
                    <a:pt x="2261" y="109"/>
                    <a:pt x="2265" y="109"/>
                    <a:pt x="2264" y="104"/>
                  </a:cubicBezTo>
                  <a:close/>
                  <a:moveTo>
                    <a:pt x="2267" y="128"/>
                  </a:moveTo>
                  <a:cubicBezTo>
                    <a:pt x="2277" y="126"/>
                    <a:pt x="2268" y="138"/>
                    <a:pt x="2265" y="135"/>
                  </a:cubicBezTo>
                  <a:cubicBezTo>
                    <a:pt x="2265" y="135"/>
                    <a:pt x="2267" y="130"/>
                    <a:pt x="2267" y="130"/>
                  </a:cubicBezTo>
                  <a:cubicBezTo>
                    <a:pt x="2268" y="130"/>
                    <a:pt x="2267" y="128"/>
                    <a:pt x="2267" y="128"/>
                  </a:cubicBezTo>
                  <a:close/>
                  <a:moveTo>
                    <a:pt x="2265" y="121"/>
                  </a:moveTo>
                  <a:cubicBezTo>
                    <a:pt x="2266" y="120"/>
                    <a:pt x="2256" y="119"/>
                    <a:pt x="2256" y="119"/>
                  </a:cubicBezTo>
                  <a:cubicBezTo>
                    <a:pt x="2255" y="115"/>
                    <a:pt x="2271" y="115"/>
                    <a:pt x="2265" y="121"/>
                  </a:cubicBezTo>
                  <a:close/>
                  <a:moveTo>
                    <a:pt x="2243" y="135"/>
                  </a:moveTo>
                  <a:cubicBezTo>
                    <a:pt x="2245" y="134"/>
                    <a:pt x="2245" y="138"/>
                    <a:pt x="2246" y="138"/>
                  </a:cubicBezTo>
                  <a:cubicBezTo>
                    <a:pt x="2248" y="138"/>
                    <a:pt x="2248" y="135"/>
                    <a:pt x="2248" y="135"/>
                  </a:cubicBezTo>
                  <a:cubicBezTo>
                    <a:pt x="2252" y="135"/>
                    <a:pt x="2258" y="140"/>
                    <a:pt x="2259" y="135"/>
                  </a:cubicBezTo>
                  <a:cubicBezTo>
                    <a:pt x="2255" y="132"/>
                    <a:pt x="2259" y="134"/>
                    <a:pt x="2262" y="135"/>
                  </a:cubicBezTo>
                  <a:cubicBezTo>
                    <a:pt x="2261" y="135"/>
                    <a:pt x="2260" y="139"/>
                    <a:pt x="2259" y="140"/>
                  </a:cubicBezTo>
                  <a:cubicBezTo>
                    <a:pt x="2256" y="141"/>
                    <a:pt x="2255" y="137"/>
                    <a:pt x="2254" y="137"/>
                  </a:cubicBezTo>
                  <a:cubicBezTo>
                    <a:pt x="2249" y="138"/>
                    <a:pt x="2241" y="144"/>
                    <a:pt x="2243" y="135"/>
                  </a:cubicBezTo>
                  <a:close/>
                  <a:moveTo>
                    <a:pt x="2247" y="220"/>
                  </a:moveTo>
                  <a:cubicBezTo>
                    <a:pt x="2252" y="215"/>
                    <a:pt x="2247" y="217"/>
                    <a:pt x="2247" y="210"/>
                  </a:cubicBezTo>
                  <a:cubicBezTo>
                    <a:pt x="2256" y="210"/>
                    <a:pt x="2258" y="221"/>
                    <a:pt x="2247" y="220"/>
                  </a:cubicBezTo>
                  <a:close/>
                  <a:moveTo>
                    <a:pt x="2244" y="192"/>
                  </a:moveTo>
                  <a:cubicBezTo>
                    <a:pt x="2237" y="190"/>
                    <a:pt x="2252" y="187"/>
                    <a:pt x="2257" y="187"/>
                  </a:cubicBezTo>
                  <a:cubicBezTo>
                    <a:pt x="2255" y="190"/>
                    <a:pt x="2249" y="190"/>
                    <a:pt x="2244" y="192"/>
                  </a:cubicBezTo>
                  <a:close/>
                  <a:moveTo>
                    <a:pt x="2249" y="182"/>
                  </a:moveTo>
                  <a:cubicBezTo>
                    <a:pt x="2251" y="180"/>
                    <a:pt x="2252" y="178"/>
                    <a:pt x="2252" y="175"/>
                  </a:cubicBezTo>
                  <a:cubicBezTo>
                    <a:pt x="2255" y="175"/>
                    <a:pt x="2257" y="175"/>
                    <a:pt x="2260" y="175"/>
                  </a:cubicBezTo>
                  <a:cubicBezTo>
                    <a:pt x="2258" y="178"/>
                    <a:pt x="2256" y="183"/>
                    <a:pt x="2249" y="182"/>
                  </a:cubicBezTo>
                  <a:close/>
                  <a:moveTo>
                    <a:pt x="2261" y="227"/>
                  </a:moveTo>
                  <a:cubicBezTo>
                    <a:pt x="2261" y="221"/>
                    <a:pt x="2266" y="230"/>
                    <a:pt x="2272" y="226"/>
                  </a:cubicBezTo>
                  <a:cubicBezTo>
                    <a:pt x="2272" y="232"/>
                    <a:pt x="2263" y="227"/>
                    <a:pt x="2261" y="227"/>
                  </a:cubicBezTo>
                  <a:close/>
                  <a:moveTo>
                    <a:pt x="2269" y="234"/>
                  </a:moveTo>
                  <a:cubicBezTo>
                    <a:pt x="2281" y="234"/>
                    <a:pt x="2267" y="247"/>
                    <a:pt x="2269" y="234"/>
                  </a:cubicBezTo>
                  <a:close/>
                  <a:moveTo>
                    <a:pt x="2273" y="109"/>
                  </a:moveTo>
                  <a:cubicBezTo>
                    <a:pt x="2269" y="106"/>
                    <a:pt x="2266" y="97"/>
                    <a:pt x="2269" y="95"/>
                  </a:cubicBezTo>
                  <a:cubicBezTo>
                    <a:pt x="2273" y="98"/>
                    <a:pt x="2276" y="106"/>
                    <a:pt x="2273" y="109"/>
                  </a:cubicBezTo>
                  <a:close/>
                  <a:moveTo>
                    <a:pt x="2886" y="232"/>
                  </a:moveTo>
                  <a:cubicBezTo>
                    <a:pt x="2880" y="240"/>
                    <a:pt x="2873" y="226"/>
                    <a:pt x="2886" y="232"/>
                  </a:cubicBezTo>
                  <a:close/>
                  <a:moveTo>
                    <a:pt x="2865" y="263"/>
                  </a:moveTo>
                  <a:cubicBezTo>
                    <a:pt x="2870" y="263"/>
                    <a:pt x="2871" y="266"/>
                    <a:pt x="2876" y="265"/>
                  </a:cubicBezTo>
                  <a:cubicBezTo>
                    <a:pt x="2877" y="269"/>
                    <a:pt x="2861" y="270"/>
                    <a:pt x="2865" y="263"/>
                  </a:cubicBezTo>
                  <a:close/>
                  <a:moveTo>
                    <a:pt x="2865" y="230"/>
                  </a:moveTo>
                  <a:cubicBezTo>
                    <a:pt x="2876" y="227"/>
                    <a:pt x="2872" y="238"/>
                    <a:pt x="2878" y="239"/>
                  </a:cubicBezTo>
                  <a:cubicBezTo>
                    <a:pt x="2877" y="243"/>
                    <a:pt x="2872" y="241"/>
                    <a:pt x="2873" y="237"/>
                  </a:cubicBezTo>
                  <a:cubicBezTo>
                    <a:pt x="2865" y="239"/>
                    <a:pt x="2875" y="246"/>
                    <a:pt x="2879" y="246"/>
                  </a:cubicBezTo>
                  <a:cubicBezTo>
                    <a:pt x="2876" y="250"/>
                    <a:pt x="2877" y="256"/>
                    <a:pt x="2868" y="254"/>
                  </a:cubicBezTo>
                  <a:cubicBezTo>
                    <a:pt x="2866" y="252"/>
                    <a:pt x="2873" y="249"/>
                    <a:pt x="2873" y="249"/>
                  </a:cubicBezTo>
                  <a:cubicBezTo>
                    <a:pt x="2873" y="246"/>
                    <a:pt x="2869" y="248"/>
                    <a:pt x="2867" y="247"/>
                  </a:cubicBezTo>
                  <a:cubicBezTo>
                    <a:pt x="2867" y="246"/>
                    <a:pt x="2868" y="243"/>
                    <a:pt x="2867" y="242"/>
                  </a:cubicBezTo>
                  <a:cubicBezTo>
                    <a:pt x="2866" y="241"/>
                    <a:pt x="2863" y="237"/>
                    <a:pt x="2865" y="230"/>
                  </a:cubicBezTo>
                  <a:close/>
                  <a:moveTo>
                    <a:pt x="2862" y="247"/>
                  </a:moveTo>
                  <a:cubicBezTo>
                    <a:pt x="2860" y="251"/>
                    <a:pt x="2859" y="245"/>
                    <a:pt x="2859" y="242"/>
                  </a:cubicBezTo>
                  <a:cubicBezTo>
                    <a:pt x="2851" y="239"/>
                    <a:pt x="2866" y="240"/>
                    <a:pt x="2862" y="247"/>
                  </a:cubicBezTo>
                  <a:close/>
                  <a:moveTo>
                    <a:pt x="2869" y="193"/>
                  </a:moveTo>
                  <a:cubicBezTo>
                    <a:pt x="2871" y="190"/>
                    <a:pt x="2873" y="188"/>
                    <a:pt x="2869" y="188"/>
                  </a:cubicBezTo>
                  <a:cubicBezTo>
                    <a:pt x="2872" y="178"/>
                    <a:pt x="2881" y="196"/>
                    <a:pt x="2869" y="193"/>
                  </a:cubicBezTo>
                  <a:close/>
                  <a:moveTo>
                    <a:pt x="2872" y="160"/>
                  </a:moveTo>
                  <a:cubicBezTo>
                    <a:pt x="2866" y="156"/>
                    <a:pt x="2868" y="160"/>
                    <a:pt x="2861" y="160"/>
                  </a:cubicBezTo>
                  <a:cubicBezTo>
                    <a:pt x="2860" y="158"/>
                    <a:pt x="2862" y="158"/>
                    <a:pt x="2863" y="157"/>
                  </a:cubicBezTo>
                  <a:cubicBezTo>
                    <a:pt x="2863" y="155"/>
                    <a:pt x="2860" y="156"/>
                    <a:pt x="2858" y="155"/>
                  </a:cubicBezTo>
                  <a:cubicBezTo>
                    <a:pt x="2859" y="147"/>
                    <a:pt x="2872" y="152"/>
                    <a:pt x="2872" y="160"/>
                  </a:cubicBezTo>
                  <a:close/>
                  <a:moveTo>
                    <a:pt x="2705" y="221"/>
                  </a:moveTo>
                  <a:cubicBezTo>
                    <a:pt x="2707" y="221"/>
                    <a:pt x="2709" y="221"/>
                    <a:pt x="2711" y="221"/>
                  </a:cubicBezTo>
                  <a:cubicBezTo>
                    <a:pt x="2711" y="223"/>
                    <a:pt x="2711" y="224"/>
                    <a:pt x="2711" y="226"/>
                  </a:cubicBezTo>
                  <a:cubicBezTo>
                    <a:pt x="2709" y="226"/>
                    <a:pt x="2707" y="226"/>
                    <a:pt x="2705" y="226"/>
                  </a:cubicBezTo>
                  <a:cubicBezTo>
                    <a:pt x="2705" y="224"/>
                    <a:pt x="2705" y="223"/>
                    <a:pt x="2705" y="221"/>
                  </a:cubicBezTo>
                  <a:close/>
                  <a:moveTo>
                    <a:pt x="2714" y="245"/>
                  </a:moveTo>
                  <a:cubicBezTo>
                    <a:pt x="2718" y="236"/>
                    <a:pt x="2706" y="240"/>
                    <a:pt x="2708" y="233"/>
                  </a:cubicBezTo>
                  <a:cubicBezTo>
                    <a:pt x="2713" y="233"/>
                    <a:pt x="2714" y="230"/>
                    <a:pt x="2719" y="230"/>
                  </a:cubicBezTo>
                  <a:cubicBezTo>
                    <a:pt x="2725" y="236"/>
                    <a:pt x="2714" y="241"/>
                    <a:pt x="2725" y="242"/>
                  </a:cubicBezTo>
                  <a:cubicBezTo>
                    <a:pt x="2724" y="245"/>
                    <a:pt x="2718" y="244"/>
                    <a:pt x="2714" y="245"/>
                  </a:cubicBezTo>
                  <a:close/>
                  <a:moveTo>
                    <a:pt x="2727" y="237"/>
                  </a:moveTo>
                  <a:cubicBezTo>
                    <a:pt x="2730" y="232"/>
                    <a:pt x="2734" y="229"/>
                    <a:pt x="2733" y="221"/>
                  </a:cubicBezTo>
                  <a:cubicBezTo>
                    <a:pt x="2743" y="224"/>
                    <a:pt x="2734" y="228"/>
                    <a:pt x="2738" y="235"/>
                  </a:cubicBezTo>
                  <a:cubicBezTo>
                    <a:pt x="2733" y="235"/>
                    <a:pt x="2733" y="238"/>
                    <a:pt x="2727" y="237"/>
                  </a:cubicBezTo>
                  <a:close/>
                  <a:moveTo>
                    <a:pt x="2733" y="242"/>
                  </a:moveTo>
                  <a:cubicBezTo>
                    <a:pt x="2735" y="244"/>
                    <a:pt x="2739" y="244"/>
                    <a:pt x="2739" y="249"/>
                  </a:cubicBezTo>
                  <a:cubicBezTo>
                    <a:pt x="2731" y="250"/>
                    <a:pt x="2731" y="244"/>
                    <a:pt x="2730" y="240"/>
                  </a:cubicBezTo>
                  <a:cubicBezTo>
                    <a:pt x="2735" y="240"/>
                    <a:pt x="2736" y="237"/>
                    <a:pt x="2741" y="237"/>
                  </a:cubicBezTo>
                  <a:cubicBezTo>
                    <a:pt x="2743" y="242"/>
                    <a:pt x="2737" y="242"/>
                    <a:pt x="2733" y="242"/>
                  </a:cubicBezTo>
                  <a:close/>
                  <a:moveTo>
                    <a:pt x="2730" y="218"/>
                  </a:moveTo>
                  <a:cubicBezTo>
                    <a:pt x="2727" y="211"/>
                    <a:pt x="2747" y="206"/>
                    <a:pt x="2730" y="207"/>
                  </a:cubicBezTo>
                  <a:cubicBezTo>
                    <a:pt x="2729" y="198"/>
                    <a:pt x="2749" y="206"/>
                    <a:pt x="2751" y="199"/>
                  </a:cubicBezTo>
                  <a:cubicBezTo>
                    <a:pt x="2758" y="201"/>
                    <a:pt x="2748" y="208"/>
                    <a:pt x="2752" y="216"/>
                  </a:cubicBezTo>
                  <a:cubicBezTo>
                    <a:pt x="2746" y="217"/>
                    <a:pt x="2748" y="211"/>
                    <a:pt x="2743" y="211"/>
                  </a:cubicBezTo>
                  <a:cubicBezTo>
                    <a:pt x="2735" y="213"/>
                    <a:pt x="2750" y="215"/>
                    <a:pt x="2746" y="221"/>
                  </a:cubicBezTo>
                  <a:cubicBezTo>
                    <a:pt x="2741" y="218"/>
                    <a:pt x="2738" y="222"/>
                    <a:pt x="2730" y="218"/>
                  </a:cubicBezTo>
                  <a:close/>
                  <a:moveTo>
                    <a:pt x="2740" y="185"/>
                  </a:moveTo>
                  <a:cubicBezTo>
                    <a:pt x="2742" y="185"/>
                    <a:pt x="2744" y="185"/>
                    <a:pt x="2746" y="185"/>
                  </a:cubicBezTo>
                  <a:cubicBezTo>
                    <a:pt x="2746" y="187"/>
                    <a:pt x="2746" y="188"/>
                    <a:pt x="2746" y="190"/>
                  </a:cubicBezTo>
                  <a:cubicBezTo>
                    <a:pt x="2744" y="190"/>
                    <a:pt x="2742" y="190"/>
                    <a:pt x="2740" y="190"/>
                  </a:cubicBezTo>
                  <a:cubicBezTo>
                    <a:pt x="2740" y="189"/>
                    <a:pt x="2740" y="187"/>
                    <a:pt x="2740" y="185"/>
                  </a:cubicBezTo>
                  <a:close/>
                  <a:moveTo>
                    <a:pt x="2755" y="242"/>
                  </a:moveTo>
                  <a:cubicBezTo>
                    <a:pt x="2751" y="242"/>
                    <a:pt x="2748" y="242"/>
                    <a:pt x="2744" y="242"/>
                  </a:cubicBezTo>
                  <a:cubicBezTo>
                    <a:pt x="2743" y="237"/>
                    <a:pt x="2751" y="238"/>
                    <a:pt x="2749" y="239"/>
                  </a:cubicBezTo>
                  <a:cubicBezTo>
                    <a:pt x="2755" y="235"/>
                    <a:pt x="2752" y="229"/>
                    <a:pt x="2763" y="230"/>
                  </a:cubicBezTo>
                  <a:cubicBezTo>
                    <a:pt x="2766" y="238"/>
                    <a:pt x="2750" y="231"/>
                    <a:pt x="2755" y="242"/>
                  </a:cubicBezTo>
                  <a:close/>
                  <a:moveTo>
                    <a:pt x="2763" y="248"/>
                  </a:moveTo>
                  <a:cubicBezTo>
                    <a:pt x="2760" y="248"/>
                    <a:pt x="2761" y="244"/>
                    <a:pt x="2760" y="241"/>
                  </a:cubicBezTo>
                  <a:cubicBezTo>
                    <a:pt x="2763" y="241"/>
                    <a:pt x="2766" y="241"/>
                    <a:pt x="2769" y="241"/>
                  </a:cubicBezTo>
                  <a:cubicBezTo>
                    <a:pt x="2768" y="244"/>
                    <a:pt x="2764" y="245"/>
                    <a:pt x="2763" y="248"/>
                  </a:cubicBezTo>
                  <a:close/>
                  <a:moveTo>
                    <a:pt x="2771" y="222"/>
                  </a:moveTo>
                  <a:cubicBezTo>
                    <a:pt x="2784" y="224"/>
                    <a:pt x="2769" y="237"/>
                    <a:pt x="2771" y="222"/>
                  </a:cubicBezTo>
                  <a:close/>
                  <a:moveTo>
                    <a:pt x="2777" y="262"/>
                  </a:moveTo>
                  <a:cubicBezTo>
                    <a:pt x="2771" y="261"/>
                    <a:pt x="2775" y="250"/>
                    <a:pt x="2777" y="248"/>
                  </a:cubicBezTo>
                  <a:cubicBezTo>
                    <a:pt x="2783" y="249"/>
                    <a:pt x="2779" y="261"/>
                    <a:pt x="2777" y="262"/>
                  </a:cubicBezTo>
                  <a:close/>
                  <a:moveTo>
                    <a:pt x="2782" y="236"/>
                  </a:moveTo>
                  <a:cubicBezTo>
                    <a:pt x="2781" y="236"/>
                    <a:pt x="2779" y="236"/>
                    <a:pt x="2777" y="237"/>
                  </a:cubicBezTo>
                  <a:cubicBezTo>
                    <a:pt x="2777" y="234"/>
                    <a:pt x="2776" y="234"/>
                    <a:pt x="2774" y="234"/>
                  </a:cubicBezTo>
                  <a:cubicBezTo>
                    <a:pt x="2773" y="230"/>
                    <a:pt x="2786" y="231"/>
                    <a:pt x="2782" y="236"/>
                  </a:cubicBezTo>
                  <a:close/>
                  <a:moveTo>
                    <a:pt x="2794" y="269"/>
                  </a:moveTo>
                  <a:cubicBezTo>
                    <a:pt x="2794" y="268"/>
                    <a:pt x="2794" y="266"/>
                    <a:pt x="2794" y="264"/>
                  </a:cubicBezTo>
                  <a:cubicBezTo>
                    <a:pt x="2796" y="264"/>
                    <a:pt x="2797" y="264"/>
                    <a:pt x="2799" y="264"/>
                  </a:cubicBezTo>
                  <a:cubicBezTo>
                    <a:pt x="2799" y="266"/>
                    <a:pt x="2799" y="267"/>
                    <a:pt x="2799" y="269"/>
                  </a:cubicBezTo>
                  <a:cubicBezTo>
                    <a:pt x="2798" y="269"/>
                    <a:pt x="2796" y="269"/>
                    <a:pt x="2794" y="269"/>
                  </a:cubicBezTo>
                  <a:close/>
                  <a:moveTo>
                    <a:pt x="2807" y="259"/>
                  </a:moveTo>
                  <a:cubicBezTo>
                    <a:pt x="2804" y="256"/>
                    <a:pt x="2796" y="257"/>
                    <a:pt x="2796" y="250"/>
                  </a:cubicBezTo>
                  <a:cubicBezTo>
                    <a:pt x="2804" y="253"/>
                    <a:pt x="2809" y="244"/>
                    <a:pt x="2799" y="245"/>
                  </a:cubicBezTo>
                  <a:cubicBezTo>
                    <a:pt x="2799" y="242"/>
                    <a:pt x="2806" y="238"/>
                    <a:pt x="2804" y="245"/>
                  </a:cubicBezTo>
                  <a:cubicBezTo>
                    <a:pt x="2808" y="245"/>
                    <a:pt x="2809" y="246"/>
                    <a:pt x="2810" y="248"/>
                  </a:cubicBezTo>
                  <a:cubicBezTo>
                    <a:pt x="2819" y="247"/>
                    <a:pt x="2802" y="239"/>
                    <a:pt x="2815" y="241"/>
                  </a:cubicBezTo>
                  <a:cubicBezTo>
                    <a:pt x="2815" y="245"/>
                    <a:pt x="2815" y="250"/>
                    <a:pt x="2816" y="255"/>
                  </a:cubicBezTo>
                  <a:cubicBezTo>
                    <a:pt x="2810" y="254"/>
                    <a:pt x="2807" y="255"/>
                    <a:pt x="2807" y="259"/>
                  </a:cubicBezTo>
                  <a:close/>
                  <a:moveTo>
                    <a:pt x="2810" y="231"/>
                  </a:moveTo>
                  <a:cubicBezTo>
                    <a:pt x="2809" y="234"/>
                    <a:pt x="2806" y="236"/>
                    <a:pt x="2801" y="236"/>
                  </a:cubicBezTo>
                  <a:cubicBezTo>
                    <a:pt x="2800" y="231"/>
                    <a:pt x="2805" y="232"/>
                    <a:pt x="2810" y="231"/>
                  </a:cubicBezTo>
                  <a:close/>
                  <a:moveTo>
                    <a:pt x="2824" y="259"/>
                  </a:moveTo>
                  <a:cubicBezTo>
                    <a:pt x="2834" y="255"/>
                    <a:pt x="2826" y="267"/>
                    <a:pt x="2832" y="266"/>
                  </a:cubicBezTo>
                  <a:cubicBezTo>
                    <a:pt x="2830" y="272"/>
                    <a:pt x="2821" y="265"/>
                    <a:pt x="2824" y="259"/>
                  </a:cubicBezTo>
                  <a:close/>
                  <a:moveTo>
                    <a:pt x="2838" y="268"/>
                  </a:moveTo>
                  <a:cubicBezTo>
                    <a:pt x="2838" y="267"/>
                    <a:pt x="2838" y="265"/>
                    <a:pt x="2838" y="264"/>
                  </a:cubicBezTo>
                  <a:cubicBezTo>
                    <a:pt x="2840" y="264"/>
                    <a:pt x="2841" y="264"/>
                    <a:pt x="2843" y="264"/>
                  </a:cubicBezTo>
                  <a:cubicBezTo>
                    <a:pt x="2843" y="265"/>
                    <a:pt x="2843" y="267"/>
                    <a:pt x="2843" y="268"/>
                  </a:cubicBezTo>
                  <a:cubicBezTo>
                    <a:pt x="2841" y="268"/>
                    <a:pt x="2840" y="268"/>
                    <a:pt x="2838" y="268"/>
                  </a:cubicBezTo>
                  <a:close/>
                  <a:moveTo>
                    <a:pt x="2833" y="163"/>
                  </a:moveTo>
                  <a:cubicBezTo>
                    <a:pt x="2839" y="163"/>
                    <a:pt x="2835" y="173"/>
                    <a:pt x="2836" y="177"/>
                  </a:cubicBezTo>
                  <a:cubicBezTo>
                    <a:pt x="2840" y="176"/>
                    <a:pt x="2838" y="171"/>
                    <a:pt x="2839" y="167"/>
                  </a:cubicBezTo>
                  <a:cubicBezTo>
                    <a:pt x="2849" y="167"/>
                    <a:pt x="2846" y="180"/>
                    <a:pt x="2850" y="186"/>
                  </a:cubicBezTo>
                  <a:cubicBezTo>
                    <a:pt x="2845" y="186"/>
                    <a:pt x="2847" y="192"/>
                    <a:pt x="2839" y="191"/>
                  </a:cubicBezTo>
                  <a:cubicBezTo>
                    <a:pt x="2838" y="181"/>
                    <a:pt x="2852" y="178"/>
                    <a:pt x="2833" y="179"/>
                  </a:cubicBezTo>
                  <a:cubicBezTo>
                    <a:pt x="2836" y="171"/>
                    <a:pt x="2827" y="168"/>
                    <a:pt x="2833" y="163"/>
                  </a:cubicBezTo>
                  <a:close/>
                  <a:moveTo>
                    <a:pt x="2850" y="198"/>
                  </a:moveTo>
                  <a:cubicBezTo>
                    <a:pt x="2847" y="202"/>
                    <a:pt x="2834" y="210"/>
                    <a:pt x="2834" y="198"/>
                  </a:cubicBezTo>
                  <a:cubicBezTo>
                    <a:pt x="2843" y="200"/>
                    <a:pt x="2845" y="193"/>
                    <a:pt x="2850" y="198"/>
                  </a:cubicBezTo>
                  <a:close/>
                  <a:moveTo>
                    <a:pt x="2836" y="191"/>
                  </a:moveTo>
                  <a:cubicBezTo>
                    <a:pt x="2834" y="190"/>
                    <a:pt x="2834" y="192"/>
                    <a:pt x="2834" y="193"/>
                  </a:cubicBezTo>
                  <a:cubicBezTo>
                    <a:pt x="2830" y="193"/>
                    <a:pt x="2831" y="189"/>
                    <a:pt x="2831" y="186"/>
                  </a:cubicBezTo>
                  <a:cubicBezTo>
                    <a:pt x="2835" y="185"/>
                    <a:pt x="2836" y="188"/>
                    <a:pt x="2836" y="191"/>
                  </a:cubicBezTo>
                  <a:close/>
                  <a:moveTo>
                    <a:pt x="2825" y="175"/>
                  </a:moveTo>
                  <a:cubicBezTo>
                    <a:pt x="2831" y="176"/>
                    <a:pt x="2831" y="178"/>
                    <a:pt x="2828" y="182"/>
                  </a:cubicBezTo>
                  <a:cubicBezTo>
                    <a:pt x="2826" y="182"/>
                    <a:pt x="2824" y="182"/>
                    <a:pt x="2822" y="182"/>
                  </a:cubicBezTo>
                  <a:cubicBezTo>
                    <a:pt x="2822" y="178"/>
                    <a:pt x="2825" y="178"/>
                    <a:pt x="2825" y="175"/>
                  </a:cubicBezTo>
                  <a:close/>
                  <a:moveTo>
                    <a:pt x="2812" y="184"/>
                  </a:moveTo>
                  <a:cubicBezTo>
                    <a:pt x="2823" y="185"/>
                    <a:pt x="2812" y="190"/>
                    <a:pt x="2817" y="196"/>
                  </a:cubicBezTo>
                  <a:cubicBezTo>
                    <a:pt x="2808" y="198"/>
                    <a:pt x="2813" y="189"/>
                    <a:pt x="2812" y="184"/>
                  </a:cubicBezTo>
                  <a:close/>
                  <a:moveTo>
                    <a:pt x="2801" y="182"/>
                  </a:moveTo>
                  <a:cubicBezTo>
                    <a:pt x="2802" y="182"/>
                    <a:pt x="2804" y="182"/>
                    <a:pt x="2806" y="182"/>
                  </a:cubicBezTo>
                  <a:cubicBezTo>
                    <a:pt x="2806" y="184"/>
                    <a:pt x="2807" y="184"/>
                    <a:pt x="2809" y="184"/>
                  </a:cubicBezTo>
                  <a:cubicBezTo>
                    <a:pt x="2809" y="187"/>
                    <a:pt x="2805" y="186"/>
                    <a:pt x="2803" y="187"/>
                  </a:cubicBezTo>
                  <a:cubicBezTo>
                    <a:pt x="2805" y="189"/>
                    <a:pt x="2806" y="190"/>
                    <a:pt x="2806" y="194"/>
                  </a:cubicBezTo>
                  <a:cubicBezTo>
                    <a:pt x="2795" y="194"/>
                    <a:pt x="2799" y="188"/>
                    <a:pt x="2801" y="182"/>
                  </a:cubicBezTo>
                  <a:close/>
                  <a:moveTo>
                    <a:pt x="2801" y="215"/>
                  </a:moveTo>
                  <a:cubicBezTo>
                    <a:pt x="2811" y="212"/>
                    <a:pt x="2811" y="209"/>
                    <a:pt x="2820" y="215"/>
                  </a:cubicBezTo>
                  <a:cubicBezTo>
                    <a:pt x="2823" y="214"/>
                    <a:pt x="2822" y="212"/>
                    <a:pt x="2823" y="210"/>
                  </a:cubicBezTo>
                  <a:cubicBezTo>
                    <a:pt x="2822" y="208"/>
                    <a:pt x="2811" y="204"/>
                    <a:pt x="2812" y="208"/>
                  </a:cubicBezTo>
                  <a:cubicBezTo>
                    <a:pt x="2803" y="206"/>
                    <a:pt x="2815" y="203"/>
                    <a:pt x="2815" y="201"/>
                  </a:cubicBezTo>
                  <a:cubicBezTo>
                    <a:pt x="2815" y="197"/>
                    <a:pt x="2827" y="197"/>
                    <a:pt x="2831" y="198"/>
                  </a:cubicBezTo>
                  <a:cubicBezTo>
                    <a:pt x="2830" y="200"/>
                    <a:pt x="2826" y="200"/>
                    <a:pt x="2826" y="203"/>
                  </a:cubicBezTo>
                  <a:cubicBezTo>
                    <a:pt x="2825" y="206"/>
                    <a:pt x="2831" y="204"/>
                    <a:pt x="2831" y="205"/>
                  </a:cubicBezTo>
                  <a:cubicBezTo>
                    <a:pt x="2832" y="206"/>
                    <a:pt x="2825" y="218"/>
                    <a:pt x="2840" y="214"/>
                  </a:cubicBezTo>
                  <a:cubicBezTo>
                    <a:pt x="2843" y="212"/>
                    <a:pt x="2844" y="207"/>
                    <a:pt x="2853" y="209"/>
                  </a:cubicBezTo>
                  <a:cubicBezTo>
                    <a:pt x="2846" y="218"/>
                    <a:pt x="2842" y="225"/>
                    <a:pt x="2845" y="238"/>
                  </a:cubicBezTo>
                  <a:cubicBezTo>
                    <a:pt x="2842" y="238"/>
                    <a:pt x="2838" y="238"/>
                    <a:pt x="2834" y="238"/>
                  </a:cubicBezTo>
                  <a:cubicBezTo>
                    <a:pt x="2835" y="235"/>
                    <a:pt x="2839" y="236"/>
                    <a:pt x="2843" y="235"/>
                  </a:cubicBezTo>
                  <a:cubicBezTo>
                    <a:pt x="2844" y="230"/>
                    <a:pt x="2837" y="232"/>
                    <a:pt x="2837" y="228"/>
                  </a:cubicBezTo>
                  <a:cubicBezTo>
                    <a:pt x="2835" y="223"/>
                    <a:pt x="2841" y="225"/>
                    <a:pt x="2842" y="224"/>
                  </a:cubicBezTo>
                  <a:cubicBezTo>
                    <a:pt x="2844" y="222"/>
                    <a:pt x="2842" y="218"/>
                    <a:pt x="2845" y="219"/>
                  </a:cubicBezTo>
                  <a:cubicBezTo>
                    <a:pt x="2844" y="215"/>
                    <a:pt x="2842" y="220"/>
                    <a:pt x="2837" y="219"/>
                  </a:cubicBezTo>
                  <a:cubicBezTo>
                    <a:pt x="2838" y="215"/>
                    <a:pt x="2821" y="215"/>
                    <a:pt x="2826" y="222"/>
                  </a:cubicBezTo>
                  <a:cubicBezTo>
                    <a:pt x="2820" y="218"/>
                    <a:pt x="2816" y="223"/>
                    <a:pt x="2812" y="222"/>
                  </a:cubicBezTo>
                  <a:cubicBezTo>
                    <a:pt x="2811" y="221"/>
                    <a:pt x="2813" y="216"/>
                    <a:pt x="2809" y="217"/>
                  </a:cubicBezTo>
                  <a:cubicBezTo>
                    <a:pt x="2806" y="218"/>
                    <a:pt x="2807" y="221"/>
                    <a:pt x="2807" y="224"/>
                  </a:cubicBezTo>
                  <a:cubicBezTo>
                    <a:pt x="2800" y="225"/>
                    <a:pt x="2804" y="217"/>
                    <a:pt x="2798" y="217"/>
                  </a:cubicBezTo>
                  <a:cubicBezTo>
                    <a:pt x="2788" y="223"/>
                    <a:pt x="2807" y="240"/>
                    <a:pt x="2791" y="239"/>
                  </a:cubicBezTo>
                  <a:cubicBezTo>
                    <a:pt x="2791" y="237"/>
                    <a:pt x="2787" y="236"/>
                    <a:pt x="2788" y="234"/>
                  </a:cubicBezTo>
                  <a:cubicBezTo>
                    <a:pt x="2788" y="233"/>
                    <a:pt x="2793" y="232"/>
                    <a:pt x="2793" y="231"/>
                  </a:cubicBezTo>
                  <a:cubicBezTo>
                    <a:pt x="2793" y="227"/>
                    <a:pt x="2787" y="225"/>
                    <a:pt x="2790" y="217"/>
                  </a:cubicBezTo>
                  <a:cubicBezTo>
                    <a:pt x="2788" y="219"/>
                    <a:pt x="2783" y="219"/>
                    <a:pt x="2782" y="222"/>
                  </a:cubicBezTo>
                  <a:cubicBezTo>
                    <a:pt x="2777" y="220"/>
                    <a:pt x="2776" y="213"/>
                    <a:pt x="2771" y="211"/>
                  </a:cubicBezTo>
                  <a:cubicBezTo>
                    <a:pt x="2773" y="206"/>
                    <a:pt x="2776" y="210"/>
                    <a:pt x="2779" y="211"/>
                  </a:cubicBezTo>
                  <a:cubicBezTo>
                    <a:pt x="2776" y="203"/>
                    <a:pt x="2777" y="201"/>
                    <a:pt x="2782" y="196"/>
                  </a:cubicBezTo>
                  <a:cubicBezTo>
                    <a:pt x="2789" y="200"/>
                    <a:pt x="2782" y="211"/>
                    <a:pt x="2779" y="213"/>
                  </a:cubicBezTo>
                  <a:cubicBezTo>
                    <a:pt x="2780" y="219"/>
                    <a:pt x="2801" y="204"/>
                    <a:pt x="2793" y="215"/>
                  </a:cubicBezTo>
                  <a:cubicBezTo>
                    <a:pt x="2795" y="214"/>
                    <a:pt x="2798" y="213"/>
                    <a:pt x="2798" y="210"/>
                  </a:cubicBezTo>
                  <a:cubicBezTo>
                    <a:pt x="2798" y="208"/>
                    <a:pt x="2793" y="208"/>
                    <a:pt x="2790" y="208"/>
                  </a:cubicBezTo>
                  <a:cubicBezTo>
                    <a:pt x="2790" y="204"/>
                    <a:pt x="2790" y="200"/>
                    <a:pt x="2790" y="196"/>
                  </a:cubicBezTo>
                  <a:cubicBezTo>
                    <a:pt x="2807" y="195"/>
                    <a:pt x="2808" y="206"/>
                    <a:pt x="2801" y="215"/>
                  </a:cubicBezTo>
                  <a:close/>
                  <a:moveTo>
                    <a:pt x="2781" y="180"/>
                  </a:moveTo>
                  <a:cubicBezTo>
                    <a:pt x="2794" y="180"/>
                    <a:pt x="2782" y="188"/>
                    <a:pt x="2784" y="194"/>
                  </a:cubicBezTo>
                  <a:cubicBezTo>
                    <a:pt x="2778" y="194"/>
                    <a:pt x="2783" y="184"/>
                    <a:pt x="2781" y="180"/>
                  </a:cubicBezTo>
                  <a:close/>
                  <a:moveTo>
                    <a:pt x="2797" y="159"/>
                  </a:moveTo>
                  <a:cubicBezTo>
                    <a:pt x="2802" y="154"/>
                    <a:pt x="2797" y="156"/>
                    <a:pt x="2797" y="149"/>
                  </a:cubicBezTo>
                  <a:cubicBezTo>
                    <a:pt x="2803" y="148"/>
                    <a:pt x="2807" y="161"/>
                    <a:pt x="2797" y="159"/>
                  </a:cubicBezTo>
                  <a:close/>
                  <a:moveTo>
                    <a:pt x="2792" y="177"/>
                  </a:moveTo>
                  <a:cubicBezTo>
                    <a:pt x="2805" y="179"/>
                    <a:pt x="2790" y="192"/>
                    <a:pt x="2792" y="177"/>
                  </a:cubicBezTo>
                  <a:close/>
                  <a:moveTo>
                    <a:pt x="2784" y="149"/>
                  </a:moveTo>
                  <a:cubicBezTo>
                    <a:pt x="2786" y="149"/>
                    <a:pt x="2786" y="152"/>
                    <a:pt x="2786" y="154"/>
                  </a:cubicBezTo>
                  <a:cubicBezTo>
                    <a:pt x="2790" y="154"/>
                    <a:pt x="2791" y="153"/>
                    <a:pt x="2792" y="152"/>
                  </a:cubicBezTo>
                  <a:cubicBezTo>
                    <a:pt x="2802" y="156"/>
                    <a:pt x="2784" y="157"/>
                    <a:pt x="2778" y="157"/>
                  </a:cubicBezTo>
                  <a:cubicBezTo>
                    <a:pt x="2779" y="153"/>
                    <a:pt x="2783" y="153"/>
                    <a:pt x="2784" y="149"/>
                  </a:cubicBezTo>
                  <a:close/>
                  <a:moveTo>
                    <a:pt x="2776" y="166"/>
                  </a:moveTo>
                  <a:cubicBezTo>
                    <a:pt x="2779" y="167"/>
                    <a:pt x="2778" y="171"/>
                    <a:pt x="2781" y="171"/>
                  </a:cubicBezTo>
                  <a:cubicBezTo>
                    <a:pt x="2780" y="177"/>
                    <a:pt x="2772" y="171"/>
                    <a:pt x="2776" y="166"/>
                  </a:cubicBezTo>
                  <a:close/>
                  <a:moveTo>
                    <a:pt x="2770" y="175"/>
                  </a:moveTo>
                  <a:cubicBezTo>
                    <a:pt x="2770" y="178"/>
                    <a:pt x="2774" y="177"/>
                    <a:pt x="2776" y="178"/>
                  </a:cubicBezTo>
                  <a:cubicBezTo>
                    <a:pt x="2774" y="181"/>
                    <a:pt x="2779" y="190"/>
                    <a:pt x="2773" y="190"/>
                  </a:cubicBezTo>
                  <a:cubicBezTo>
                    <a:pt x="2773" y="203"/>
                    <a:pt x="2772" y="201"/>
                    <a:pt x="2768" y="211"/>
                  </a:cubicBezTo>
                  <a:cubicBezTo>
                    <a:pt x="2769" y="213"/>
                    <a:pt x="2771" y="215"/>
                    <a:pt x="2774" y="215"/>
                  </a:cubicBezTo>
                  <a:cubicBezTo>
                    <a:pt x="2773" y="218"/>
                    <a:pt x="2768" y="217"/>
                    <a:pt x="2768" y="220"/>
                  </a:cubicBezTo>
                  <a:cubicBezTo>
                    <a:pt x="2764" y="220"/>
                    <a:pt x="2767" y="213"/>
                    <a:pt x="2763" y="213"/>
                  </a:cubicBezTo>
                  <a:cubicBezTo>
                    <a:pt x="2753" y="215"/>
                    <a:pt x="2764" y="220"/>
                    <a:pt x="2757" y="225"/>
                  </a:cubicBezTo>
                  <a:cubicBezTo>
                    <a:pt x="2755" y="224"/>
                    <a:pt x="2752" y="223"/>
                    <a:pt x="2752" y="220"/>
                  </a:cubicBezTo>
                  <a:cubicBezTo>
                    <a:pt x="2752" y="218"/>
                    <a:pt x="2757" y="217"/>
                    <a:pt x="2757" y="216"/>
                  </a:cubicBezTo>
                  <a:cubicBezTo>
                    <a:pt x="2759" y="209"/>
                    <a:pt x="2756" y="199"/>
                    <a:pt x="2768" y="201"/>
                  </a:cubicBezTo>
                  <a:cubicBezTo>
                    <a:pt x="2762" y="195"/>
                    <a:pt x="2768" y="193"/>
                    <a:pt x="2768" y="183"/>
                  </a:cubicBezTo>
                  <a:cubicBezTo>
                    <a:pt x="2768" y="182"/>
                    <a:pt x="2768" y="178"/>
                    <a:pt x="2768" y="178"/>
                  </a:cubicBezTo>
                  <a:cubicBezTo>
                    <a:pt x="2767" y="178"/>
                    <a:pt x="2765" y="178"/>
                    <a:pt x="2765" y="178"/>
                  </a:cubicBezTo>
                  <a:cubicBezTo>
                    <a:pt x="2765" y="177"/>
                    <a:pt x="2767" y="175"/>
                    <a:pt x="2768" y="176"/>
                  </a:cubicBezTo>
                  <a:cubicBezTo>
                    <a:pt x="2767" y="174"/>
                    <a:pt x="2762" y="171"/>
                    <a:pt x="2762" y="171"/>
                  </a:cubicBezTo>
                  <a:cubicBezTo>
                    <a:pt x="2761" y="167"/>
                    <a:pt x="2764" y="167"/>
                    <a:pt x="2765" y="164"/>
                  </a:cubicBezTo>
                  <a:cubicBezTo>
                    <a:pt x="2765" y="159"/>
                    <a:pt x="2762" y="157"/>
                    <a:pt x="2762" y="152"/>
                  </a:cubicBezTo>
                  <a:cubicBezTo>
                    <a:pt x="2775" y="151"/>
                    <a:pt x="2768" y="167"/>
                    <a:pt x="2770" y="175"/>
                  </a:cubicBezTo>
                  <a:close/>
                  <a:moveTo>
                    <a:pt x="2757" y="185"/>
                  </a:moveTo>
                  <a:cubicBezTo>
                    <a:pt x="2768" y="184"/>
                    <a:pt x="2759" y="193"/>
                    <a:pt x="2760" y="197"/>
                  </a:cubicBezTo>
                  <a:cubicBezTo>
                    <a:pt x="2754" y="197"/>
                    <a:pt x="2758" y="189"/>
                    <a:pt x="2757" y="185"/>
                  </a:cubicBezTo>
                  <a:close/>
                  <a:moveTo>
                    <a:pt x="2734" y="153"/>
                  </a:moveTo>
                  <a:cubicBezTo>
                    <a:pt x="2748" y="151"/>
                    <a:pt x="2748" y="152"/>
                    <a:pt x="2759" y="150"/>
                  </a:cubicBezTo>
                  <a:cubicBezTo>
                    <a:pt x="2757" y="157"/>
                    <a:pt x="2761" y="159"/>
                    <a:pt x="2759" y="164"/>
                  </a:cubicBezTo>
                  <a:cubicBezTo>
                    <a:pt x="2759" y="164"/>
                    <a:pt x="2755" y="161"/>
                    <a:pt x="2754" y="162"/>
                  </a:cubicBezTo>
                  <a:cubicBezTo>
                    <a:pt x="2752" y="162"/>
                    <a:pt x="2749" y="168"/>
                    <a:pt x="2756" y="169"/>
                  </a:cubicBezTo>
                  <a:cubicBezTo>
                    <a:pt x="2754" y="171"/>
                    <a:pt x="2739" y="181"/>
                    <a:pt x="2751" y="181"/>
                  </a:cubicBezTo>
                  <a:cubicBezTo>
                    <a:pt x="2761" y="181"/>
                    <a:pt x="2743" y="187"/>
                    <a:pt x="2746" y="181"/>
                  </a:cubicBezTo>
                  <a:cubicBezTo>
                    <a:pt x="2739" y="181"/>
                    <a:pt x="2737" y="185"/>
                    <a:pt x="2732" y="181"/>
                  </a:cubicBezTo>
                  <a:cubicBezTo>
                    <a:pt x="2734" y="177"/>
                    <a:pt x="2741" y="177"/>
                    <a:pt x="2746" y="176"/>
                  </a:cubicBezTo>
                  <a:cubicBezTo>
                    <a:pt x="2743" y="172"/>
                    <a:pt x="2754" y="168"/>
                    <a:pt x="2745" y="166"/>
                  </a:cubicBezTo>
                  <a:cubicBezTo>
                    <a:pt x="2748" y="164"/>
                    <a:pt x="2751" y="162"/>
                    <a:pt x="2754" y="159"/>
                  </a:cubicBezTo>
                  <a:cubicBezTo>
                    <a:pt x="2751" y="151"/>
                    <a:pt x="2737" y="166"/>
                    <a:pt x="2740" y="155"/>
                  </a:cubicBezTo>
                  <a:cubicBezTo>
                    <a:pt x="2736" y="156"/>
                    <a:pt x="2733" y="159"/>
                    <a:pt x="2732" y="162"/>
                  </a:cubicBezTo>
                  <a:cubicBezTo>
                    <a:pt x="2723" y="160"/>
                    <a:pt x="2735" y="156"/>
                    <a:pt x="2734" y="153"/>
                  </a:cubicBezTo>
                  <a:close/>
                  <a:moveTo>
                    <a:pt x="2724" y="169"/>
                  </a:moveTo>
                  <a:cubicBezTo>
                    <a:pt x="2728" y="170"/>
                    <a:pt x="2729" y="167"/>
                    <a:pt x="2729" y="164"/>
                  </a:cubicBezTo>
                  <a:cubicBezTo>
                    <a:pt x="2734" y="165"/>
                    <a:pt x="2735" y="161"/>
                    <a:pt x="2740" y="162"/>
                  </a:cubicBezTo>
                  <a:cubicBezTo>
                    <a:pt x="2739" y="165"/>
                    <a:pt x="2741" y="166"/>
                    <a:pt x="2743" y="167"/>
                  </a:cubicBezTo>
                  <a:cubicBezTo>
                    <a:pt x="2740" y="170"/>
                    <a:pt x="2735" y="173"/>
                    <a:pt x="2732" y="176"/>
                  </a:cubicBezTo>
                  <a:cubicBezTo>
                    <a:pt x="2729" y="177"/>
                    <a:pt x="2730" y="172"/>
                    <a:pt x="2729" y="171"/>
                  </a:cubicBezTo>
                  <a:cubicBezTo>
                    <a:pt x="2725" y="170"/>
                    <a:pt x="2721" y="176"/>
                    <a:pt x="2715" y="172"/>
                  </a:cubicBezTo>
                  <a:cubicBezTo>
                    <a:pt x="2708" y="172"/>
                    <a:pt x="2719" y="176"/>
                    <a:pt x="2716" y="181"/>
                  </a:cubicBezTo>
                  <a:cubicBezTo>
                    <a:pt x="2705" y="180"/>
                    <a:pt x="2718" y="171"/>
                    <a:pt x="2704" y="172"/>
                  </a:cubicBezTo>
                  <a:cubicBezTo>
                    <a:pt x="2711" y="167"/>
                    <a:pt x="2699" y="160"/>
                    <a:pt x="2712" y="160"/>
                  </a:cubicBezTo>
                  <a:cubicBezTo>
                    <a:pt x="2711" y="166"/>
                    <a:pt x="2708" y="169"/>
                    <a:pt x="2718" y="169"/>
                  </a:cubicBezTo>
                  <a:cubicBezTo>
                    <a:pt x="2722" y="169"/>
                    <a:pt x="2722" y="149"/>
                    <a:pt x="2724" y="169"/>
                  </a:cubicBezTo>
                  <a:close/>
                  <a:moveTo>
                    <a:pt x="2701" y="151"/>
                  </a:moveTo>
                  <a:cubicBezTo>
                    <a:pt x="2704" y="148"/>
                    <a:pt x="2711" y="148"/>
                    <a:pt x="2718" y="148"/>
                  </a:cubicBezTo>
                  <a:cubicBezTo>
                    <a:pt x="2722" y="156"/>
                    <a:pt x="2700" y="160"/>
                    <a:pt x="2701" y="151"/>
                  </a:cubicBezTo>
                  <a:close/>
                  <a:moveTo>
                    <a:pt x="2699" y="203"/>
                  </a:moveTo>
                  <a:cubicBezTo>
                    <a:pt x="2699" y="198"/>
                    <a:pt x="2704" y="198"/>
                    <a:pt x="2705" y="193"/>
                  </a:cubicBezTo>
                  <a:cubicBezTo>
                    <a:pt x="2706" y="187"/>
                    <a:pt x="2702" y="187"/>
                    <a:pt x="2702" y="181"/>
                  </a:cubicBezTo>
                  <a:cubicBezTo>
                    <a:pt x="2717" y="180"/>
                    <a:pt x="2702" y="192"/>
                    <a:pt x="2710" y="195"/>
                  </a:cubicBezTo>
                  <a:cubicBezTo>
                    <a:pt x="2713" y="195"/>
                    <a:pt x="2712" y="193"/>
                    <a:pt x="2710" y="193"/>
                  </a:cubicBezTo>
                  <a:cubicBezTo>
                    <a:pt x="2712" y="190"/>
                    <a:pt x="2716" y="189"/>
                    <a:pt x="2721" y="188"/>
                  </a:cubicBezTo>
                  <a:cubicBezTo>
                    <a:pt x="2722" y="184"/>
                    <a:pt x="2718" y="176"/>
                    <a:pt x="2726" y="179"/>
                  </a:cubicBezTo>
                  <a:cubicBezTo>
                    <a:pt x="2723" y="186"/>
                    <a:pt x="2728" y="187"/>
                    <a:pt x="2727" y="197"/>
                  </a:cubicBezTo>
                  <a:cubicBezTo>
                    <a:pt x="2724" y="196"/>
                    <a:pt x="2723" y="193"/>
                    <a:pt x="2721" y="190"/>
                  </a:cubicBezTo>
                  <a:cubicBezTo>
                    <a:pt x="2713" y="192"/>
                    <a:pt x="2724" y="208"/>
                    <a:pt x="2727" y="200"/>
                  </a:cubicBezTo>
                  <a:cubicBezTo>
                    <a:pt x="2733" y="201"/>
                    <a:pt x="2724" y="203"/>
                    <a:pt x="2724" y="205"/>
                  </a:cubicBezTo>
                  <a:cubicBezTo>
                    <a:pt x="2723" y="210"/>
                    <a:pt x="2726" y="213"/>
                    <a:pt x="2727" y="219"/>
                  </a:cubicBezTo>
                  <a:cubicBezTo>
                    <a:pt x="2714" y="218"/>
                    <a:pt x="2724" y="222"/>
                    <a:pt x="2719" y="226"/>
                  </a:cubicBezTo>
                  <a:cubicBezTo>
                    <a:pt x="2711" y="223"/>
                    <a:pt x="2722" y="218"/>
                    <a:pt x="2719" y="212"/>
                  </a:cubicBezTo>
                  <a:cubicBezTo>
                    <a:pt x="2716" y="212"/>
                    <a:pt x="2717" y="215"/>
                    <a:pt x="2716" y="216"/>
                  </a:cubicBezTo>
                  <a:cubicBezTo>
                    <a:pt x="2714" y="215"/>
                    <a:pt x="2709" y="213"/>
                    <a:pt x="2708" y="217"/>
                  </a:cubicBezTo>
                  <a:cubicBezTo>
                    <a:pt x="2701" y="216"/>
                    <a:pt x="2703" y="210"/>
                    <a:pt x="2702" y="207"/>
                  </a:cubicBezTo>
                  <a:cubicBezTo>
                    <a:pt x="2702" y="205"/>
                    <a:pt x="2700" y="205"/>
                    <a:pt x="2699" y="203"/>
                  </a:cubicBezTo>
                  <a:close/>
                  <a:moveTo>
                    <a:pt x="2698" y="280"/>
                  </a:moveTo>
                  <a:cubicBezTo>
                    <a:pt x="2698" y="282"/>
                    <a:pt x="2698" y="283"/>
                    <a:pt x="2698" y="285"/>
                  </a:cubicBezTo>
                  <a:cubicBezTo>
                    <a:pt x="2696" y="285"/>
                    <a:pt x="2694" y="285"/>
                    <a:pt x="2693" y="285"/>
                  </a:cubicBezTo>
                  <a:cubicBezTo>
                    <a:pt x="2693" y="283"/>
                    <a:pt x="2693" y="282"/>
                    <a:pt x="2693" y="280"/>
                  </a:cubicBezTo>
                  <a:cubicBezTo>
                    <a:pt x="2694" y="280"/>
                    <a:pt x="2696" y="280"/>
                    <a:pt x="2698" y="280"/>
                  </a:cubicBezTo>
                  <a:close/>
                  <a:moveTo>
                    <a:pt x="2694" y="226"/>
                  </a:moveTo>
                  <a:cubicBezTo>
                    <a:pt x="2689" y="233"/>
                    <a:pt x="2695" y="245"/>
                    <a:pt x="2698" y="252"/>
                  </a:cubicBezTo>
                  <a:cubicBezTo>
                    <a:pt x="2695" y="259"/>
                    <a:pt x="2695" y="245"/>
                    <a:pt x="2689" y="247"/>
                  </a:cubicBezTo>
                  <a:cubicBezTo>
                    <a:pt x="2692" y="241"/>
                    <a:pt x="2683" y="225"/>
                    <a:pt x="2694" y="226"/>
                  </a:cubicBezTo>
                  <a:close/>
                  <a:moveTo>
                    <a:pt x="2695" y="259"/>
                  </a:moveTo>
                  <a:cubicBezTo>
                    <a:pt x="2695" y="264"/>
                    <a:pt x="2695" y="268"/>
                    <a:pt x="2695" y="273"/>
                  </a:cubicBezTo>
                  <a:cubicBezTo>
                    <a:pt x="2691" y="271"/>
                    <a:pt x="2689" y="267"/>
                    <a:pt x="2692" y="264"/>
                  </a:cubicBezTo>
                  <a:cubicBezTo>
                    <a:pt x="2682" y="261"/>
                    <a:pt x="2692" y="274"/>
                    <a:pt x="2681" y="271"/>
                  </a:cubicBezTo>
                  <a:cubicBezTo>
                    <a:pt x="2680" y="265"/>
                    <a:pt x="2686" y="266"/>
                    <a:pt x="2684" y="259"/>
                  </a:cubicBezTo>
                  <a:cubicBezTo>
                    <a:pt x="2688" y="259"/>
                    <a:pt x="2691" y="259"/>
                    <a:pt x="2695" y="259"/>
                  </a:cubicBezTo>
                  <a:close/>
                  <a:moveTo>
                    <a:pt x="2687" y="252"/>
                  </a:moveTo>
                  <a:cubicBezTo>
                    <a:pt x="2687" y="254"/>
                    <a:pt x="2687" y="255"/>
                    <a:pt x="2687" y="257"/>
                  </a:cubicBezTo>
                  <a:cubicBezTo>
                    <a:pt x="2685" y="257"/>
                    <a:pt x="2683" y="257"/>
                    <a:pt x="2681" y="257"/>
                  </a:cubicBezTo>
                  <a:cubicBezTo>
                    <a:pt x="2681" y="255"/>
                    <a:pt x="2681" y="254"/>
                    <a:pt x="2681" y="252"/>
                  </a:cubicBezTo>
                  <a:cubicBezTo>
                    <a:pt x="2683" y="252"/>
                    <a:pt x="2685" y="252"/>
                    <a:pt x="2687" y="252"/>
                  </a:cubicBezTo>
                  <a:close/>
                  <a:moveTo>
                    <a:pt x="2679" y="271"/>
                  </a:moveTo>
                  <a:cubicBezTo>
                    <a:pt x="2676" y="275"/>
                    <a:pt x="2674" y="279"/>
                    <a:pt x="2665" y="278"/>
                  </a:cubicBezTo>
                  <a:cubicBezTo>
                    <a:pt x="2667" y="276"/>
                    <a:pt x="2668" y="274"/>
                    <a:pt x="2665" y="274"/>
                  </a:cubicBezTo>
                  <a:cubicBezTo>
                    <a:pt x="2664" y="269"/>
                    <a:pt x="2675" y="272"/>
                    <a:pt x="2679" y="271"/>
                  </a:cubicBezTo>
                  <a:close/>
                  <a:moveTo>
                    <a:pt x="2673" y="259"/>
                  </a:moveTo>
                  <a:cubicBezTo>
                    <a:pt x="2671" y="262"/>
                    <a:pt x="2667" y="268"/>
                    <a:pt x="2676" y="266"/>
                  </a:cubicBezTo>
                  <a:cubicBezTo>
                    <a:pt x="2669" y="276"/>
                    <a:pt x="2657" y="258"/>
                    <a:pt x="2673" y="259"/>
                  </a:cubicBezTo>
                  <a:close/>
                  <a:moveTo>
                    <a:pt x="2676" y="255"/>
                  </a:moveTo>
                  <a:cubicBezTo>
                    <a:pt x="2673" y="253"/>
                    <a:pt x="2669" y="252"/>
                    <a:pt x="2665" y="253"/>
                  </a:cubicBezTo>
                  <a:cubicBezTo>
                    <a:pt x="2669" y="245"/>
                    <a:pt x="2664" y="243"/>
                    <a:pt x="2667" y="238"/>
                  </a:cubicBezTo>
                  <a:cubicBezTo>
                    <a:pt x="2673" y="239"/>
                    <a:pt x="2674" y="245"/>
                    <a:pt x="2670" y="248"/>
                  </a:cubicBezTo>
                  <a:cubicBezTo>
                    <a:pt x="2672" y="250"/>
                    <a:pt x="2676" y="250"/>
                    <a:pt x="2676" y="255"/>
                  </a:cubicBezTo>
                  <a:close/>
                  <a:moveTo>
                    <a:pt x="2672" y="234"/>
                  </a:moveTo>
                  <a:cubicBezTo>
                    <a:pt x="2665" y="242"/>
                    <a:pt x="2655" y="229"/>
                    <a:pt x="2672" y="234"/>
                  </a:cubicBezTo>
                  <a:close/>
                  <a:moveTo>
                    <a:pt x="2653" y="234"/>
                  </a:moveTo>
                  <a:cubicBezTo>
                    <a:pt x="2647" y="242"/>
                    <a:pt x="2642" y="226"/>
                    <a:pt x="2653" y="234"/>
                  </a:cubicBezTo>
                  <a:close/>
                  <a:moveTo>
                    <a:pt x="2674" y="8"/>
                  </a:moveTo>
                  <a:cubicBezTo>
                    <a:pt x="2674" y="13"/>
                    <a:pt x="2662" y="10"/>
                    <a:pt x="2660" y="8"/>
                  </a:cubicBezTo>
                  <a:cubicBezTo>
                    <a:pt x="2663" y="1"/>
                    <a:pt x="2669" y="9"/>
                    <a:pt x="2674" y="8"/>
                  </a:cubicBezTo>
                  <a:close/>
                  <a:moveTo>
                    <a:pt x="2646" y="124"/>
                  </a:moveTo>
                  <a:cubicBezTo>
                    <a:pt x="2655" y="127"/>
                    <a:pt x="2636" y="126"/>
                    <a:pt x="2632" y="126"/>
                  </a:cubicBezTo>
                  <a:cubicBezTo>
                    <a:pt x="2632" y="124"/>
                    <a:pt x="2636" y="124"/>
                    <a:pt x="2638" y="124"/>
                  </a:cubicBezTo>
                  <a:cubicBezTo>
                    <a:pt x="2636" y="122"/>
                    <a:pt x="2635" y="120"/>
                    <a:pt x="2632" y="119"/>
                  </a:cubicBezTo>
                  <a:cubicBezTo>
                    <a:pt x="2633" y="116"/>
                    <a:pt x="2639" y="117"/>
                    <a:pt x="2643" y="117"/>
                  </a:cubicBezTo>
                  <a:cubicBezTo>
                    <a:pt x="2643" y="119"/>
                    <a:pt x="2640" y="119"/>
                    <a:pt x="2640" y="121"/>
                  </a:cubicBezTo>
                  <a:cubicBezTo>
                    <a:pt x="2641" y="124"/>
                    <a:pt x="2644" y="123"/>
                    <a:pt x="2646" y="124"/>
                  </a:cubicBezTo>
                  <a:close/>
                  <a:moveTo>
                    <a:pt x="2640" y="100"/>
                  </a:moveTo>
                  <a:cubicBezTo>
                    <a:pt x="2639" y="103"/>
                    <a:pt x="2635" y="104"/>
                    <a:pt x="2635" y="107"/>
                  </a:cubicBezTo>
                  <a:cubicBezTo>
                    <a:pt x="2628" y="107"/>
                    <a:pt x="2634" y="98"/>
                    <a:pt x="2640" y="100"/>
                  </a:cubicBezTo>
                  <a:close/>
                  <a:moveTo>
                    <a:pt x="2626" y="103"/>
                  </a:moveTo>
                  <a:cubicBezTo>
                    <a:pt x="2622" y="104"/>
                    <a:pt x="2623" y="105"/>
                    <a:pt x="2618" y="103"/>
                  </a:cubicBezTo>
                  <a:cubicBezTo>
                    <a:pt x="2615" y="101"/>
                    <a:pt x="2634" y="100"/>
                    <a:pt x="2626" y="103"/>
                  </a:cubicBezTo>
                  <a:close/>
                  <a:moveTo>
                    <a:pt x="2618" y="82"/>
                  </a:moveTo>
                  <a:cubicBezTo>
                    <a:pt x="2623" y="83"/>
                    <a:pt x="2618" y="86"/>
                    <a:pt x="2618" y="89"/>
                  </a:cubicBezTo>
                  <a:cubicBezTo>
                    <a:pt x="2613" y="87"/>
                    <a:pt x="2617" y="85"/>
                    <a:pt x="2618" y="82"/>
                  </a:cubicBezTo>
                  <a:close/>
                  <a:moveTo>
                    <a:pt x="2616" y="117"/>
                  </a:moveTo>
                  <a:cubicBezTo>
                    <a:pt x="2621" y="116"/>
                    <a:pt x="2621" y="119"/>
                    <a:pt x="2618" y="119"/>
                  </a:cubicBezTo>
                  <a:cubicBezTo>
                    <a:pt x="2615" y="117"/>
                    <a:pt x="2607" y="122"/>
                    <a:pt x="2608" y="122"/>
                  </a:cubicBezTo>
                  <a:cubicBezTo>
                    <a:pt x="2600" y="121"/>
                    <a:pt x="2606" y="115"/>
                    <a:pt x="2616" y="117"/>
                  </a:cubicBezTo>
                  <a:close/>
                  <a:moveTo>
                    <a:pt x="2588" y="99"/>
                  </a:moveTo>
                  <a:cubicBezTo>
                    <a:pt x="2592" y="99"/>
                    <a:pt x="2590" y="105"/>
                    <a:pt x="2591" y="108"/>
                  </a:cubicBezTo>
                  <a:cubicBezTo>
                    <a:pt x="2588" y="107"/>
                    <a:pt x="2586" y="105"/>
                    <a:pt x="2585" y="108"/>
                  </a:cubicBezTo>
                  <a:cubicBezTo>
                    <a:pt x="2577" y="106"/>
                    <a:pt x="2592" y="105"/>
                    <a:pt x="2588" y="99"/>
                  </a:cubicBezTo>
                  <a:close/>
                  <a:moveTo>
                    <a:pt x="2584" y="38"/>
                  </a:moveTo>
                  <a:cubicBezTo>
                    <a:pt x="2583" y="43"/>
                    <a:pt x="2577" y="43"/>
                    <a:pt x="2573" y="40"/>
                  </a:cubicBezTo>
                  <a:cubicBezTo>
                    <a:pt x="2574" y="37"/>
                    <a:pt x="2580" y="38"/>
                    <a:pt x="2584" y="38"/>
                  </a:cubicBezTo>
                  <a:close/>
                  <a:moveTo>
                    <a:pt x="2563" y="116"/>
                  </a:moveTo>
                  <a:cubicBezTo>
                    <a:pt x="2565" y="112"/>
                    <a:pt x="2561" y="107"/>
                    <a:pt x="2563" y="104"/>
                  </a:cubicBezTo>
                  <a:cubicBezTo>
                    <a:pt x="2564" y="102"/>
                    <a:pt x="2573" y="103"/>
                    <a:pt x="2571" y="99"/>
                  </a:cubicBezTo>
                  <a:cubicBezTo>
                    <a:pt x="2580" y="103"/>
                    <a:pt x="2563" y="104"/>
                    <a:pt x="2569" y="113"/>
                  </a:cubicBezTo>
                  <a:cubicBezTo>
                    <a:pt x="2569" y="118"/>
                    <a:pt x="2579" y="114"/>
                    <a:pt x="2583" y="115"/>
                  </a:cubicBezTo>
                  <a:cubicBezTo>
                    <a:pt x="2590" y="121"/>
                    <a:pt x="2556" y="112"/>
                    <a:pt x="2566" y="127"/>
                  </a:cubicBezTo>
                  <a:cubicBezTo>
                    <a:pt x="2562" y="128"/>
                    <a:pt x="2561" y="126"/>
                    <a:pt x="2561" y="123"/>
                  </a:cubicBezTo>
                  <a:cubicBezTo>
                    <a:pt x="2559" y="121"/>
                    <a:pt x="2556" y="119"/>
                    <a:pt x="2552" y="118"/>
                  </a:cubicBezTo>
                  <a:cubicBezTo>
                    <a:pt x="2553" y="115"/>
                    <a:pt x="2559" y="116"/>
                    <a:pt x="2563" y="116"/>
                  </a:cubicBezTo>
                  <a:close/>
                  <a:moveTo>
                    <a:pt x="2544" y="121"/>
                  </a:moveTo>
                  <a:cubicBezTo>
                    <a:pt x="2542" y="119"/>
                    <a:pt x="2540" y="118"/>
                    <a:pt x="2536" y="118"/>
                  </a:cubicBezTo>
                  <a:cubicBezTo>
                    <a:pt x="2537" y="112"/>
                    <a:pt x="2546" y="113"/>
                    <a:pt x="2544" y="121"/>
                  </a:cubicBezTo>
                  <a:close/>
                  <a:moveTo>
                    <a:pt x="2554" y="179"/>
                  </a:moveTo>
                  <a:cubicBezTo>
                    <a:pt x="2555" y="184"/>
                    <a:pt x="2552" y="186"/>
                    <a:pt x="2551" y="189"/>
                  </a:cubicBezTo>
                  <a:cubicBezTo>
                    <a:pt x="2548" y="186"/>
                    <a:pt x="2546" y="182"/>
                    <a:pt x="2537" y="184"/>
                  </a:cubicBezTo>
                  <a:cubicBezTo>
                    <a:pt x="2536" y="179"/>
                    <a:pt x="2542" y="179"/>
                    <a:pt x="2540" y="172"/>
                  </a:cubicBezTo>
                  <a:cubicBezTo>
                    <a:pt x="2538" y="172"/>
                    <a:pt x="2536" y="173"/>
                    <a:pt x="2534" y="173"/>
                  </a:cubicBezTo>
                  <a:cubicBezTo>
                    <a:pt x="2535" y="170"/>
                    <a:pt x="2539" y="170"/>
                    <a:pt x="2542" y="170"/>
                  </a:cubicBezTo>
                  <a:cubicBezTo>
                    <a:pt x="2540" y="178"/>
                    <a:pt x="2544" y="181"/>
                    <a:pt x="2554" y="179"/>
                  </a:cubicBezTo>
                  <a:close/>
                  <a:moveTo>
                    <a:pt x="2548" y="168"/>
                  </a:moveTo>
                  <a:cubicBezTo>
                    <a:pt x="2552" y="168"/>
                    <a:pt x="2552" y="172"/>
                    <a:pt x="2556" y="172"/>
                  </a:cubicBezTo>
                  <a:cubicBezTo>
                    <a:pt x="2556" y="175"/>
                    <a:pt x="2553" y="173"/>
                    <a:pt x="2553" y="172"/>
                  </a:cubicBezTo>
                  <a:cubicBezTo>
                    <a:pt x="2551" y="172"/>
                    <a:pt x="2551" y="173"/>
                    <a:pt x="2551" y="175"/>
                  </a:cubicBezTo>
                  <a:cubicBezTo>
                    <a:pt x="2548" y="174"/>
                    <a:pt x="2548" y="170"/>
                    <a:pt x="2548" y="168"/>
                  </a:cubicBezTo>
                  <a:close/>
                  <a:moveTo>
                    <a:pt x="2531" y="130"/>
                  </a:moveTo>
                  <a:cubicBezTo>
                    <a:pt x="2543" y="132"/>
                    <a:pt x="2529" y="145"/>
                    <a:pt x="2531" y="130"/>
                  </a:cubicBezTo>
                  <a:close/>
                  <a:moveTo>
                    <a:pt x="2519" y="72"/>
                  </a:moveTo>
                  <a:cubicBezTo>
                    <a:pt x="2522" y="73"/>
                    <a:pt x="2523" y="76"/>
                    <a:pt x="2527" y="76"/>
                  </a:cubicBezTo>
                  <a:cubicBezTo>
                    <a:pt x="2526" y="82"/>
                    <a:pt x="2517" y="77"/>
                    <a:pt x="2519" y="72"/>
                  </a:cubicBezTo>
                  <a:close/>
                  <a:moveTo>
                    <a:pt x="2517" y="131"/>
                  </a:moveTo>
                  <a:cubicBezTo>
                    <a:pt x="2520" y="133"/>
                    <a:pt x="2527" y="131"/>
                    <a:pt x="2525" y="137"/>
                  </a:cubicBezTo>
                  <a:cubicBezTo>
                    <a:pt x="2523" y="135"/>
                    <a:pt x="2515" y="137"/>
                    <a:pt x="2517" y="131"/>
                  </a:cubicBezTo>
                  <a:close/>
                  <a:moveTo>
                    <a:pt x="2520" y="166"/>
                  </a:moveTo>
                  <a:cubicBezTo>
                    <a:pt x="2520" y="169"/>
                    <a:pt x="2514" y="168"/>
                    <a:pt x="2510" y="168"/>
                  </a:cubicBezTo>
                  <a:cubicBezTo>
                    <a:pt x="2511" y="166"/>
                    <a:pt x="2516" y="166"/>
                    <a:pt x="2515" y="161"/>
                  </a:cubicBezTo>
                  <a:cubicBezTo>
                    <a:pt x="2518" y="162"/>
                    <a:pt x="2517" y="166"/>
                    <a:pt x="2520" y="166"/>
                  </a:cubicBezTo>
                  <a:close/>
                  <a:moveTo>
                    <a:pt x="2518" y="196"/>
                  </a:moveTo>
                  <a:cubicBezTo>
                    <a:pt x="2517" y="197"/>
                    <a:pt x="2515" y="191"/>
                    <a:pt x="2513" y="192"/>
                  </a:cubicBezTo>
                  <a:cubicBezTo>
                    <a:pt x="2517" y="184"/>
                    <a:pt x="2520" y="194"/>
                    <a:pt x="2518" y="196"/>
                  </a:cubicBezTo>
                  <a:close/>
                  <a:moveTo>
                    <a:pt x="2513" y="185"/>
                  </a:moveTo>
                  <a:cubicBezTo>
                    <a:pt x="2512" y="187"/>
                    <a:pt x="2507" y="186"/>
                    <a:pt x="2507" y="189"/>
                  </a:cubicBezTo>
                  <a:cubicBezTo>
                    <a:pt x="2507" y="198"/>
                    <a:pt x="2497" y="182"/>
                    <a:pt x="2513" y="185"/>
                  </a:cubicBezTo>
                  <a:close/>
                  <a:moveTo>
                    <a:pt x="2514" y="121"/>
                  </a:moveTo>
                  <a:cubicBezTo>
                    <a:pt x="2514" y="123"/>
                    <a:pt x="2514" y="124"/>
                    <a:pt x="2514" y="126"/>
                  </a:cubicBezTo>
                  <a:cubicBezTo>
                    <a:pt x="2512" y="126"/>
                    <a:pt x="2511" y="126"/>
                    <a:pt x="2509" y="126"/>
                  </a:cubicBezTo>
                  <a:cubicBezTo>
                    <a:pt x="2509" y="124"/>
                    <a:pt x="2509" y="123"/>
                    <a:pt x="2509" y="121"/>
                  </a:cubicBezTo>
                  <a:cubicBezTo>
                    <a:pt x="2510" y="121"/>
                    <a:pt x="2512" y="121"/>
                    <a:pt x="2514" y="121"/>
                  </a:cubicBezTo>
                  <a:close/>
                  <a:moveTo>
                    <a:pt x="2503" y="131"/>
                  </a:moveTo>
                  <a:cubicBezTo>
                    <a:pt x="2503" y="131"/>
                    <a:pt x="2505" y="135"/>
                    <a:pt x="2506" y="133"/>
                  </a:cubicBezTo>
                  <a:cubicBezTo>
                    <a:pt x="2508" y="131"/>
                    <a:pt x="2508" y="131"/>
                    <a:pt x="2509" y="133"/>
                  </a:cubicBezTo>
                  <a:cubicBezTo>
                    <a:pt x="2512" y="133"/>
                    <a:pt x="2511" y="137"/>
                    <a:pt x="2512" y="140"/>
                  </a:cubicBezTo>
                  <a:cubicBezTo>
                    <a:pt x="2506" y="136"/>
                    <a:pt x="2492" y="139"/>
                    <a:pt x="2482" y="138"/>
                  </a:cubicBezTo>
                  <a:cubicBezTo>
                    <a:pt x="2483" y="136"/>
                    <a:pt x="2485" y="134"/>
                    <a:pt x="2481" y="133"/>
                  </a:cubicBezTo>
                  <a:cubicBezTo>
                    <a:pt x="2485" y="130"/>
                    <a:pt x="2497" y="130"/>
                    <a:pt x="2503" y="131"/>
                  </a:cubicBezTo>
                  <a:close/>
                  <a:moveTo>
                    <a:pt x="2488" y="190"/>
                  </a:moveTo>
                  <a:cubicBezTo>
                    <a:pt x="2488" y="188"/>
                    <a:pt x="2488" y="187"/>
                    <a:pt x="2488" y="185"/>
                  </a:cubicBezTo>
                  <a:cubicBezTo>
                    <a:pt x="2492" y="185"/>
                    <a:pt x="2495" y="185"/>
                    <a:pt x="2499" y="185"/>
                  </a:cubicBezTo>
                  <a:cubicBezTo>
                    <a:pt x="2502" y="192"/>
                    <a:pt x="2493" y="189"/>
                    <a:pt x="2488" y="190"/>
                  </a:cubicBezTo>
                  <a:close/>
                  <a:moveTo>
                    <a:pt x="2480" y="185"/>
                  </a:moveTo>
                  <a:cubicBezTo>
                    <a:pt x="2485" y="187"/>
                    <a:pt x="2480" y="190"/>
                    <a:pt x="2480" y="192"/>
                  </a:cubicBezTo>
                  <a:cubicBezTo>
                    <a:pt x="2475" y="191"/>
                    <a:pt x="2479" y="188"/>
                    <a:pt x="2480" y="185"/>
                  </a:cubicBezTo>
                  <a:close/>
                  <a:moveTo>
                    <a:pt x="2465" y="115"/>
                  </a:moveTo>
                  <a:cubicBezTo>
                    <a:pt x="2474" y="111"/>
                    <a:pt x="2467" y="123"/>
                    <a:pt x="2473" y="122"/>
                  </a:cubicBezTo>
                  <a:cubicBezTo>
                    <a:pt x="2470" y="129"/>
                    <a:pt x="2464" y="119"/>
                    <a:pt x="2465" y="115"/>
                  </a:cubicBezTo>
                  <a:close/>
                  <a:moveTo>
                    <a:pt x="2432" y="134"/>
                  </a:moveTo>
                  <a:cubicBezTo>
                    <a:pt x="2436" y="128"/>
                    <a:pt x="2446" y="135"/>
                    <a:pt x="2449" y="136"/>
                  </a:cubicBezTo>
                  <a:cubicBezTo>
                    <a:pt x="2446" y="142"/>
                    <a:pt x="2440" y="131"/>
                    <a:pt x="2432" y="134"/>
                  </a:cubicBezTo>
                  <a:close/>
                  <a:moveTo>
                    <a:pt x="2427" y="170"/>
                  </a:moveTo>
                  <a:cubicBezTo>
                    <a:pt x="2428" y="166"/>
                    <a:pt x="2432" y="164"/>
                    <a:pt x="2438" y="165"/>
                  </a:cubicBezTo>
                  <a:cubicBezTo>
                    <a:pt x="2441" y="172"/>
                    <a:pt x="2432" y="169"/>
                    <a:pt x="2427" y="170"/>
                  </a:cubicBezTo>
                  <a:close/>
                  <a:moveTo>
                    <a:pt x="2454" y="160"/>
                  </a:moveTo>
                  <a:cubicBezTo>
                    <a:pt x="2454" y="160"/>
                    <a:pt x="2455" y="158"/>
                    <a:pt x="2454" y="158"/>
                  </a:cubicBezTo>
                  <a:cubicBezTo>
                    <a:pt x="2464" y="158"/>
                    <a:pt x="2450" y="165"/>
                    <a:pt x="2446" y="162"/>
                  </a:cubicBezTo>
                  <a:cubicBezTo>
                    <a:pt x="2444" y="161"/>
                    <a:pt x="2453" y="160"/>
                    <a:pt x="2454" y="160"/>
                  </a:cubicBezTo>
                  <a:close/>
                  <a:moveTo>
                    <a:pt x="2457" y="132"/>
                  </a:moveTo>
                  <a:cubicBezTo>
                    <a:pt x="2461" y="123"/>
                    <a:pt x="2462" y="136"/>
                    <a:pt x="2460" y="136"/>
                  </a:cubicBezTo>
                  <a:cubicBezTo>
                    <a:pt x="2458" y="137"/>
                    <a:pt x="2456" y="133"/>
                    <a:pt x="2457" y="132"/>
                  </a:cubicBezTo>
                  <a:close/>
                  <a:moveTo>
                    <a:pt x="2463" y="169"/>
                  </a:moveTo>
                  <a:cubicBezTo>
                    <a:pt x="2462" y="172"/>
                    <a:pt x="2456" y="171"/>
                    <a:pt x="2452" y="172"/>
                  </a:cubicBezTo>
                  <a:cubicBezTo>
                    <a:pt x="2453" y="166"/>
                    <a:pt x="2459" y="166"/>
                    <a:pt x="2463" y="169"/>
                  </a:cubicBezTo>
                  <a:close/>
                  <a:moveTo>
                    <a:pt x="2456" y="110"/>
                  </a:moveTo>
                  <a:cubicBezTo>
                    <a:pt x="2466" y="108"/>
                    <a:pt x="2464" y="125"/>
                    <a:pt x="2454" y="120"/>
                  </a:cubicBezTo>
                  <a:cubicBezTo>
                    <a:pt x="2456" y="118"/>
                    <a:pt x="2457" y="115"/>
                    <a:pt x="2456" y="110"/>
                  </a:cubicBezTo>
                  <a:close/>
                  <a:moveTo>
                    <a:pt x="2448" y="96"/>
                  </a:moveTo>
                  <a:cubicBezTo>
                    <a:pt x="2451" y="97"/>
                    <a:pt x="2450" y="101"/>
                    <a:pt x="2453" y="101"/>
                  </a:cubicBezTo>
                  <a:cubicBezTo>
                    <a:pt x="2452" y="108"/>
                    <a:pt x="2445" y="101"/>
                    <a:pt x="2448" y="96"/>
                  </a:cubicBezTo>
                  <a:close/>
                  <a:moveTo>
                    <a:pt x="2451" y="108"/>
                  </a:moveTo>
                  <a:cubicBezTo>
                    <a:pt x="2443" y="117"/>
                    <a:pt x="2441" y="101"/>
                    <a:pt x="2451" y="108"/>
                  </a:cubicBezTo>
                  <a:close/>
                  <a:moveTo>
                    <a:pt x="2440" y="101"/>
                  </a:moveTo>
                  <a:cubicBezTo>
                    <a:pt x="2435" y="103"/>
                    <a:pt x="2441" y="113"/>
                    <a:pt x="2432" y="111"/>
                  </a:cubicBezTo>
                  <a:cubicBezTo>
                    <a:pt x="2431" y="105"/>
                    <a:pt x="2433" y="101"/>
                    <a:pt x="2440" y="101"/>
                  </a:cubicBezTo>
                  <a:close/>
                  <a:moveTo>
                    <a:pt x="2419" y="149"/>
                  </a:moveTo>
                  <a:cubicBezTo>
                    <a:pt x="2419" y="143"/>
                    <a:pt x="2428" y="148"/>
                    <a:pt x="2430" y="149"/>
                  </a:cubicBezTo>
                  <a:cubicBezTo>
                    <a:pt x="2428" y="156"/>
                    <a:pt x="2424" y="146"/>
                    <a:pt x="2419" y="149"/>
                  </a:cubicBezTo>
                  <a:close/>
                  <a:moveTo>
                    <a:pt x="2427" y="139"/>
                  </a:moveTo>
                  <a:cubicBezTo>
                    <a:pt x="2423" y="139"/>
                    <a:pt x="2419" y="139"/>
                    <a:pt x="2416" y="139"/>
                  </a:cubicBezTo>
                  <a:cubicBezTo>
                    <a:pt x="2417" y="137"/>
                    <a:pt x="2419" y="135"/>
                    <a:pt x="2416" y="135"/>
                  </a:cubicBezTo>
                  <a:cubicBezTo>
                    <a:pt x="2416" y="131"/>
                    <a:pt x="2424" y="134"/>
                    <a:pt x="2424" y="130"/>
                  </a:cubicBezTo>
                  <a:cubicBezTo>
                    <a:pt x="2427" y="131"/>
                    <a:pt x="2426" y="136"/>
                    <a:pt x="2427" y="139"/>
                  </a:cubicBezTo>
                  <a:close/>
                  <a:moveTo>
                    <a:pt x="2410" y="114"/>
                  </a:moveTo>
                  <a:cubicBezTo>
                    <a:pt x="2413" y="116"/>
                    <a:pt x="2417" y="117"/>
                    <a:pt x="2424" y="116"/>
                  </a:cubicBezTo>
                  <a:cubicBezTo>
                    <a:pt x="2421" y="121"/>
                    <a:pt x="2408" y="123"/>
                    <a:pt x="2410" y="114"/>
                  </a:cubicBezTo>
                  <a:close/>
                  <a:moveTo>
                    <a:pt x="2413" y="130"/>
                  </a:moveTo>
                  <a:cubicBezTo>
                    <a:pt x="2414" y="140"/>
                    <a:pt x="2398" y="133"/>
                    <a:pt x="2394" y="133"/>
                  </a:cubicBezTo>
                  <a:cubicBezTo>
                    <a:pt x="2399" y="122"/>
                    <a:pt x="2404" y="136"/>
                    <a:pt x="2413" y="130"/>
                  </a:cubicBezTo>
                  <a:close/>
                  <a:moveTo>
                    <a:pt x="2405" y="151"/>
                  </a:moveTo>
                  <a:cubicBezTo>
                    <a:pt x="2402" y="159"/>
                    <a:pt x="2398" y="149"/>
                    <a:pt x="2394" y="149"/>
                  </a:cubicBezTo>
                  <a:cubicBezTo>
                    <a:pt x="2397" y="146"/>
                    <a:pt x="2404" y="144"/>
                    <a:pt x="2408" y="147"/>
                  </a:cubicBezTo>
                  <a:cubicBezTo>
                    <a:pt x="2408" y="149"/>
                    <a:pt x="2404" y="148"/>
                    <a:pt x="2402" y="149"/>
                  </a:cubicBezTo>
                  <a:cubicBezTo>
                    <a:pt x="2402" y="151"/>
                    <a:pt x="2403" y="151"/>
                    <a:pt x="2405" y="151"/>
                  </a:cubicBezTo>
                  <a:close/>
                  <a:moveTo>
                    <a:pt x="2393" y="116"/>
                  </a:moveTo>
                  <a:cubicBezTo>
                    <a:pt x="2392" y="119"/>
                    <a:pt x="2390" y="121"/>
                    <a:pt x="2385" y="121"/>
                  </a:cubicBezTo>
                  <a:cubicBezTo>
                    <a:pt x="2384" y="116"/>
                    <a:pt x="2389" y="117"/>
                    <a:pt x="2393" y="116"/>
                  </a:cubicBezTo>
                  <a:close/>
                  <a:moveTo>
                    <a:pt x="2374" y="100"/>
                  </a:moveTo>
                  <a:cubicBezTo>
                    <a:pt x="2374" y="100"/>
                    <a:pt x="2380" y="96"/>
                    <a:pt x="2382" y="98"/>
                  </a:cubicBezTo>
                  <a:cubicBezTo>
                    <a:pt x="2384" y="99"/>
                    <a:pt x="2371" y="105"/>
                    <a:pt x="2374" y="100"/>
                  </a:cubicBezTo>
                  <a:close/>
                  <a:moveTo>
                    <a:pt x="2360" y="100"/>
                  </a:moveTo>
                  <a:cubicBezTo>
                    <a:pt x="2366" y="100"/>
                    <a:pt x="2369" y="102"/>
                    <a:pt x="2368" y="107"/>
                  </a:cubicBezTo>
                  <a:cubicBezTo>
                    <a:pt x="2365" y="107"/>
                    <a:pt x="2361" y="107"/>
                    <a:pt x="2360" y="110"/>
                  </a:cubicBezTo>
                  <a:cubicBezTo>
                    <a:pt x="2352" y="108"/>
                    <a:pt x="2363" y="105"/>
                    <a:pt x="2360" y="100"/>
                  </a:cubicBezTo>
                  <a:close/>
                  <a:moveTo>
                    <a:pt x="2349" y="115"/>
                  </a:moveTo>
                  <a:cubicBezTo>
                    <a:pt x="2346" y="113"/>
                    <a:pt x="2344" y="110"/>
                    <a:pt x="2344" y="105"/>
                  </a:cubicBezTo>
                  <a:cubicBezTo>
                    <a:pt x="2347" y="106"/>
                    <a:pt x="2349" y="105"/>
                    <a:pt x="2349" y="103"/>
                  </a:cubicBezTo>
                  <a:cubicBezTo>
                    <a:pt x="2352" y="103"/>
                    <a:pt x="2351" y="105"/>
                    <a:pt x="2349" y="105"/>
                  </a:cubicBezTo>
                  <a:cubicBezTo>
                    <a:pt x="2349" y="112"/>
                    <a:pt x="2354" y="110"/>
                    <a:pt x="2349" y="115"/>
                  </a:cubicBezTo>
                  <a:close/>
                  <a:moveTo>
                    <a:pt x="2347" y="124"/>
                  </a:moveTo>
                  <a:cubicBezTo>
                    <a:pt x="2350" y="121"/>
                    <a:pt x="2352" y="122"/>
                    <a:pt x="2352" y="126"/>
                  </a:cubicBezTo>
                  <a:cubicBezTo>
                    <a:pt x="2346" y="127"/>
                    <a:pt x="2344" y="125"/>
                    <a:pt x="2344" y="119"/>
                  </a:cubicBezTo>
                  <a:cubicBezTo>
                    <a:pt x="2347" y="119"/>
                    <a:pt x="2346" y="122"/>
                    <a:pt x="2347" y="124"/>
                  </a:cubicBezTo>
                  <a:close/>
                  <a:moveTo>
                    <a:pt x="2349" y="86"/>
                  </a:moveTo>
                  <a:cubicBezTo>
                    <a:pt x="2357" y="88"/>
                    <a:pt x="2345" y="90"/>
                    <a:pt x="2346" y="94"/>
                  </a:cubicBezTo>
                  <a:cubicBezTo>
                    <a:pt x="2337" y="91"/>
                    <a:pt x="2349" y="89"/>
                    <a:pt x="2349" y="86"/>
                  </a:cubicBezTo>
                  <a:close/>
                  <a:moveTo>
                    <a:pt x="2327" y="94"/>
                  </a:moveTo>
                  <a:cubicBezTo>
                    <a:pt x="2330" y="94"/>
                    <a:pt x="2329" y="98"/>
                    <a:pt x="2330" y="101"/>
                  </a:cubicBezTo>
                  <a:cubicBezTo>
                    <a:pt x="2330" y="104"/>
                    <a:pt x="2335" y="103"/>
                    <a:pt x="2338" y="103"/>
                  </a:cubicBezTo>
                  <a:cubicBezTo>
                    <a:pt x="2336" y="105"/>
                    <a:pt x="2335" y="109"/>
                    <a:pt x="2336" y="113"/>
                  </a:cubicBezTo>
                  <a:cubicBezTo>
                    <a:pt x="2334" y="111"/>
                    <a:pt x="2331" y="110"/>
                    <a:pt x="2327" y="110"/>
                  </a:cubicBezTo>
                  <a:cubicBezTo>
                    <a:pt x="2328" y="106"/>
                    <a:pt x="2327" y="103"/>
                    <a:pt x="2322" y="103"/>
                  </a:cubicBezTo>
                  <a:cubicBezTo>
                    <a:pt x="2322" y="99"/>
                    <a:pt x="2329" y="100"/>
                    <a:pt x="2327" y="94"/>
                  </a:cubicBezTo>
                  <a:close/>
                  <a:moveTo>
                    <a:pt x="2322" y="125"/>
                  </a:moveTo>
                  <a:cubicBezTo>
                    <a:pt x="2327" y="125"/>
                    <a:pt x="2324" y="132"/>
                    <a:pt x="2328" y="134"/>
                  </a:cubicBezTo>
                  <a:cubicBezTo>
                    <a:pt x="2332" y="134"/>
                    <a:pt x="2338" y="135"/>
                    <a:pt x="2339" y="131"/>
                  </a:cubicBezTo>
                  <a:cubicBezTo>
                    <a:pt x="2343" y="132"/>
                    <a:pt x="2338" y="134"/>
                    <a:pt x="2339" y="138"/>
                  </a:cubicBezTo>
                  <a:cubicBezTo>
                    <a:pt x="2334" y="139"/>
                    <a:pt x="2334" y="136"/>
                    <a:pt x="2331" y="136"/>
                  </a:cubicBezTo>
                  <a:cubicBezTo>
                    <a:pt x="2327" y="139"/>
                    <a:pt x="2326" y="143"/>
                    <a:pt x="2317" y="141"/>
                  </a:cubicBezTo>
                  <a:cubicBezTo>
                    <a:pt x="2320" y="134"/>
                    <a:pt x="2320" y="134"/>
                    <a:pt x="2309" y="134"/>
                  </a:cubicBezTo>
                  <a:cubicBezTo>
                    <a:pt x="2299" y="129"/>
                    <a:pt x="2330" y="137"/>
                    <a:pt x="2322" y="125"/>
                  </a:cubicBezTo>
                  <a:close/>
                  <a:moveTo>
                    <a:pt x="2339" y="162"/>
                  </a:moveTo>
                  <a:cubicBezTo>
                    <a:pt x="2344" y="162"/>
                    <a:pt x="2341" y="170"/>
                    <a:pt x="2348" y="169"/>
                  </a:cubicBezTo>
                  <a:cubicBezTo>
                    <a:pt x="2345" y="175"/>
                    <a:pt x="2332" y="165"/>
                    <a:pt x="2339" y="162"/>
                  </a:cubicBezTo>
                  <a:close/>
                  <a:moveTo>
                    <a:pt x="2351" y="211"/>
                  </a:moveTo>
                  <a:cubicBezTo>
                    <a:pt x="2350" y="214"/>
                    <a:pt x="2348" y="216"/>
                    <a:pt x="2343" y="216"/>
                  </a:cubicBezTo>
                  <a:cubicBezTo>
                    <a:pt x="2342" y="211"/>
                    <a:pt x="2347" y="211"/>
                    <a:pt x="2351" y="211"/>
                  </a:cubicBezTo>
                  <a:close/>
                  <a:moveTo>
                    <a:pt x="2321" y="202"/>
                  </a:moveTo>
                  <a:cubicBezTo>
                    <a:pt x="2322" y="203"/>
                    <a:pt x="2331" y="208"/>
                    <a:pt x="2332" y="202"/>
                  </a:cubicBezTo>
                  <a:cubicBezTo>
                    <a:pt x="2337" y="205"/>
                    <a:pt x="2329" y="210"/>
                    <a:pt x="2335" y="216"/>
                  </a:cubicBezTo>
                  <a:cubicBezTo>
                    <a:pt x="2332" y="216"/>
                    <a:pt x="2330" y="217"/>
                    <a:pt x="2329" y="218"/>
                  </a:cubicBezTo>
                  <a:cubicBezTo>
                    <a:pt x="2326" y="218"/>
                    <a:pt x="2326" y="211"/>
                    <a:pt x="2329" y="211"/>
                  </a:cubicBezTo>
                  <a:cubicBezTo>
                    <a:pt x="2328" y="207"/>
                    <a:pt x="2319" y="210"/>
                    <a:pt x="2321" y="202"/>
                  </a:cubicBezTo>
                  <a:close/>
                  <a:moveTo>
                    <a:pt x="2309" y="141"/>
                  </a:moveTo>
                  <a:cubicBezTo>
                    <a:pt x="2304" y="142"/>
                    <a:pt x="2303" y="138"/>
                    <a:pt x="2298" y="139"/>
                  </a:cubicBezTo>
                  <a:cubicBezTo>
                    <a:pt x="2297" y="135"/>
                    <a:pt x="2313" y="135"/>
                    <a:pt x="2309" y="141"/>
                  </a:cubicBezTo>
                  <a:close/>
                  <a:moveTo>
                    <a:pt x="2287" y="132"/>
                  </a:moveTo>
                  <a:cubicBezTo>
                    <a:pt x="2289" y="132"/>
                    <a:pt x="2292" y="132"/>
                    <a:pt x="2295" y="132"/>
                  </a:cubicBezTo>
                  <a:cubicBezTo>
                    <a:pt x="2293" y="134"/>
                    <a:pt x="2294" y="140"/>
                    <a:pt x="2292" y="142"/>
                  </a:cubicBezTo>
                  <a:cubicBezTo>
                    <a:pt x="2292" y="142"/>
                    <a:pt x="2290" y="141"/>
                    <a:pt x="2290" y="142"/>
                  </a:cubicBezTo>
                  <a:cubicBezTo>
                    <a:pt x="2288" y="146"/>
                    <a:pt x="2294" y="155"/>
                    <a:pt x="2284" y="153"/>
                  </a:cubicBezTo>
                  <a:cubicBezTo>
                    <a:pt x="2289" y="149"/>
                    <a:pt x="2286" y="140"/>
                    <a:pt x="2287" y="132"/>
                  </a:cubicBezTo>
                  <a:close/>
                  <a:moveTo>
                    <a:pt x="2291" y="252"/>
                  </a:moveTo>
                  <a:cubicBezTo>
                    <a:pt x="2291" y="254"/>
                    <a:pt x="2291" y="255"/>
                    <a:pt x="2292" y="257"/>
                  </a:cubicBezTo>
                  <a:cubicBezTo>
                    <a:pt x="2290" y="257"/>
                    <a:pt x="2288" y="257"/>
                    <a:pt x="2286" y="257"/>
                  </a:cubicBezTo>
                  <a:cubicBezTo>
                    <a:pt x="2286" y="255"/>
                    <a:pt x="2286" y="254"/>
                    <a:pt x="2286" y="252"/>
                  </a:cubicBezTo>
                  <a:cubicBezTo>
                    <a:pt x="2288" y="252"/>
                    <a:pt x="2290" y="252"/>
                    <a:pt x="2291" y="252"/>
                  </a:cubicBezTo>
                  <a:close/>
                  <a:moveTo>
                    <a:pt x="2285" y="210"/>
                  </a:moveTo>
                  <a:cubicBezTo>
                    <a:pt x="2297" y="211"/>
                    <a:pt x="2283" y="223"/>
                    <a:pt x="2285" y="210"/>
                  </a:cubicBezTo>
                  <a:close/>
                  <a:moveTo>
                    <a:pt x="2278" y="283"/>
                  </a:moveTo>
                  <a:cubicBezTo>
                    <a:pt x="2279" y="280"/>
                    <a:pt x="2284" y="280"/>
                    <a:pt x="2284" y="283"/>
                  </a:cubicBezTo>
                  <a:cubicBezTo>
                    <a:pt x="2287" y="282"/>
                    <a:pt x="2286" y="278"/>
                    <a:pt x="2286" y="276"/>
                  </a:cubicBezTo>
                  <a:cubicBezTo>
                    <a:pt x="2289" y="277"/>
                    <a:pt x="2291" y="278"/>
                    <a:pt x="2292" y="275"/>
                  </a:cubicBezTo>
                  <a:cubicBezTo>
                    <a:pt x="2299" y="281"/>
                    <a:pt x="2284" y="287"/>
                    <a:pt x="2278" y="283"/>
                  </a:cubicBezTo>
                  <a:close/>
                  <a:moveTo>
                    <a:pt x="2303" y="282"/>
                  </a:moveTo>
                  <a:cubicBezTo>
                    <a:pt x="2303" y="281"/>
                    <a:pt x="2303" y="279"/>
                    <a:pt x="2303" y="278"/>
                  </a:cubicBezTo>
                  <a:cubicBezTo>
                    <a:pt x="2305" y="278"/>
                    <a:pt x="2307" y="278"/>
                    <a:pt x="2308" y="278"/>
                  </a:cubicBezTo>
                  <a:cubicBezTo>
                    <a:pt x="2308" y="279"/>
                    <a:pt x="2308" y="281"/>
                    <a:pt x="2308" y="282"/>
                  </a:cubicBezTo>
                  <a:cubicBezTo>
                    <a:pt x="2307" y="282"/>
                    <a:pt x="2305" y="282"/>
                    <a:pt x="2303" y="282"/>
                  </a:cubicBezTo>
                  <a:close/>
                  <a:moveTo>
                    <a:pt x="2311" y="278"/>
                  </a:moveTo>
                  <a:cubicBezTo>
                    <a:pt x="2316" y="277"/>
                    <a:pt x="2316" y="280"/>
                    <a:pt x="2319" y="280"/>
                  </a:cubicBezTo>
                  <a:cubicBezTo>
                    <a:pt x="2321" y="284"/>
                    <a:pt x="2307" y="283"/>
                    <a:pt x="2311" y="278"/>
                  </a:cubicBezTo>
                  <a:close/>
                  <a:moveTo>
                    <a:pt x="2311" y="254"/>
                  </a:moveTo>
                  <a:cubicBezTo>
                    <a:pt x="2313" y="254"/>
                    <a:pt x="2313" y="253"/>
                    <a:pt x="2313" y="252"/>
                  </a:cubicBezTo>
                  <a:cubicBezTo>
                    <a:pt x="2319" y="251"/>
                    <a:pt x="2318" y="262"/>
                    <a:pt x="2311" y="259"/>
                  </a:cubicBezTo>
                  <a:cubicBezTo>
                    <a:pt x="2311" y="257"/>
                    <a:pt x="2311" y="256"/>
                    <a:pt x="2311" y="254"/>
                  </a:cubicBezTo>
                  <a:close/>
                  <a:moveTo>
                    <a:pt x="2318" y="221"/>
                  </a:moveTo>
                  <a:cubicBezTo>
                    <a:pt x="2313" y="224"/>
                    <a:pt x="2314" y="217"/>
                    <a:pt x="2313" y="216"/>
                  </a:cubicBezTo>
                  <a:cubicBezTo>
                    <a:pt x="2307" y="216"/>
                    <a:pt x="2307" y="222"/>
                    <a:pt x="2308" y="231"/>
                  </a:cubicBezTo>
                  <a:cubicBezTo>
                    <a:pt x="2310" y="231"/>
                    <a:pt x="2310" y="230"/>
                    <a:pt x="2310" y="228"/>
                  </a:cubicBezTo>
                  <a:cubicBezTo>
                    <a:pt x="2319" y="229"/>
                    <a:pt x="2300" y="236"/>
                    <a:pt x="2310" y="238"/>
                  </a:cubicBezTo>
                  <a:cubicBezTo>
                    <a:pt x="2310" y="241"/>
                    <a:pt x="2303" y="239"/>
                    <a:pt x="2302" y="238"/>
                  </a:cubicBezTo>
                  <a:cubicBezTo>
                    <a:pt x="2301" y="234"/>
                    <a:pt x="2305" y="233"/>
                    <a:pt x="2305" y="231"/>
                  </a:cubicBezTo>
                  <a:cubicBezTo>
                    <a:pt x="2304" y="225"/>
                    <a:pt x="2302" y="221"/>
                    <a:pt x="2305" y="219"/>
                  </a:cubicBezTo>
                  <a:cubicBezTo>
                    <a:pt x="2306" y="211"/>
                    <a:pt x="2291" y="218"/>
                    <a:pt x="2293" y="210"/>
                  </a:cubicBezTo>
                  <a:cubicBezTo>
                    <a:pt x="2300" y="204"/>
                    <a:pt x="2307" y="219"/>
                    <a:pt x="2302" y="205"/>
                  </a:cubicBezTo>
                  <a:cubicBezTo>
                    <a:pt x="2307" y="205"/>
                    <a:pt x="2313" y="205"/>
                    <a:pt x="2318" y="205"/>
                  </a:cubicBezTo>
                  <a:cubicBezTo>
                    <a:pt x="2317" y="212"/>
                    <a:pt x="2325" y="216"/>
                    <a:pt x="2318" y="221"/>
                  </a:cubicBezTo>
                  <a:close/>
                  <a:moveTo>
                    <a:pt x="2321" y="228"/>
                  </a:moveTo>
                  <a:cubicBezTo>
                    <a:pt x="2321" y="226"/>
                    <a:pt x="2321" y="225"/>
                    <a:pt x="2321" y="223"/>
                  </a:cubicBezTo>
                  <a:cubicBezTo>
                    <a:pt x="2323" y="223"/>
                    <a:pt x="2325" y="223"/>
                    <a:pt x="2327" y="223"/>
                  </a:cubicBezTo>
                  <a:cubicBezTo>
                    <a:pt x="2327" y="225"/>
                    <a:pt x="2327" y="226"/>
                    <a:pt x="2327" y="228"/>
                  </a:cubicBezTo>
                  <a:cubicBezTo>
                    <a:pt x="2325" y="228"/>
                    <a:pt x="2323" y="228"/>
                    <a:pt x="2321" y="228"/>
                  </a:cubicBezTo>
                  <a:close/>
                  <a:moveTo>
                    <a:pt x="2327" y="258"/>
                  </a:moveTo>
                  <a:cubicBezTo>
                    <a:pt x="2339" y="259"/>
                    <a:pt x="2325" y="272"/>
                    <a:pt x="2327" y="258"/>
                  </a:cubicBezTo>
                  <a:close/>
                  <a:moveTo>
                    <a:pt x="2338" y="249"/>
                  </a:moveTo>
                  <a:cubicBezTo>
                    <a:pt x="2336" y="248"/>
                    <a:pt x="2335" y="247"/>
                    <a:pt x="2333" y="247"/>
                  </a:cubicBezTo>
                  <a:cubicBezTo>
                    <a:pt x="2333" y="245"/>
                    <a:pt x="2335" y="244"/>
                    <a:pt x="2335" y="242"/>
                  </a:cubicBezTo>
                  <a:cubicBezTo>
                    <a:pt x="2337" y="242"/>
                    <a:pt x="2338" y="244"/>
                    <a:pt x="2341" y="244"/>
                  </a:cubicBezTo>
                  <a:cubicBezTo>
                    <a:pt x="2340" y="246"/>
                    <a:pt x="2338" y="246"/>
                    <a:pt x="2338" y="249"/>
                  </a:cubicBezTo>
                  <a:close/>
                  <a:moveTo>
                    <a:pt x="2341" y="239"/>
                  </a:moveTo>
                  <a:cubicBezTo>
                    <a:pt x="2342" y="236"/>
                    <a:pt x="2349" y="237"/>
                    <a:pt x="2346" y="230"/>
                  </a:cubicBezTo>
                  <a:cubicBezTo>
                    <a:pt x="2351" y="234"/>
                    <a:pt x="2351" y="238"/>
                    <a:pt x="2349" y="244"/>
                  </a:cubicBezTo>
                  <a:cubicBezTo>
                    <a:pt x="2346" y="242"/>
                    <a:pt x="2346" y="239"/>
                    <a:pt x="2341" y="239"/>
                  </a:cubicBezTo>
                  <a:close/>
                  <a:moveTo>
                    <a:pt x="2352" y="282"/>
                  </a:moveTo>
                  <a:cubicBezTo>
                    <a:pt x="2351" y="286"/>
                    <a:pt x="2347" y="283"/>
                    <a:pt x="2349" y="274"/>
                  </a:cubicBezTo>
                  <a:cubicBezTo>
                    <a:pt x="2351" y="268"/>
                    <a:pt x="2353" y="280"/>
                    <a:pt x="2352" y="282"/>
                  </a:cubicBezTo>
                  <a:close/>
                  <a:moveTo>
                    <a:pt x="2347" y="138"/>
                  </a:moveTo>
                  <a:cubicBezTo>
                    <a:pt x="2345" y="138"/>
                    <a:pt x="2344" y="139"/>
                    <a:pt x="2344" y="141"/>
                  </a:cubicBezTo>
                  <a:cubicBezTo>
                    <a:pt x="2334" y="139"/>
                    <a:pt x="2360" y="133"/>
                    <a:pt x="2344" y="134"/>
                  </a:cubicBezTo>
                  <a:cubicBezTo>
                    <a:pt x="2344" y="126"/>
                    <a:pt x="2351" y="134"/>
                    <a:pt x="2355" y="133"/>
                  </a:cubicBezTo>
                  <a:cubicBezTo>
                    <a:pt x="2358" y="133"/>
                    <a:pt x="2389" y="124"/>
                    <a:pt x="2377" y="140"/>
                  </a:cubicBezTo>
                  <a:cubicBezTo>
                    <a:pt x="2371" y="141"/>
                    <a:pt x="2374" y="133"/>
                    <a:pt x="2369" y="133"/>
                  </a:cubicBezTo>
                  <a:cubicBezTo>
                    <a:pt x="2365" y="138"/>
                    <a:pt x="2354" y="143"/>
                    <a:pt x="2347" y="138"/>
                  </a:cubicBezTo>
                  <a:close/>
                  <a:moveTo>
                    <a:pt x="2354" y="213"/>
                  </a:moveTo>
                  <a:cubicBezTo>
                    <a:pt x="2356" y="211"/>
                    <a:pt x="2358" y="207"/>
                    <a:pt x="2354" y="206"/>
                  </a:cubicBezTo>
                  <a:cubicBezTo>
                    <a:pt x="2355" y="201"/>
                    <a:pt x="2367" y="205"/>
                    <a:pt x="2373" y="204"/>
                  </a:cubicBezTo>
                  <a:cubicBezTo>
                    <a:pt x="2382" y="205"/>
                    <a:pt x="2368" y="207"/>
                    <a:pt x="2365" y="206"/>
                  </a:cubicBezTo>
                  <a:cubicBezTo>
                    <a:pt x="2358" y="205"/>
                    <a:pt x="2363" y="215"/>
                    <a:pt x="2354" y="213"/>
                  </a:cubicBezTo>
                  <a:close/>
                  <a:moveTo>
                    <a:pt x="2373" y="218"/>
                  </a:moveTo>
                  <a:cubicBezTo>
                    <a:pt x="2371" y="215"/>
                    <a:pt x="2363" y="217"/>
                    <a:pt x="2365" y="211"/>
                  </a:cubicBezTo>
                  <a:cubicBezTo>
                    <a:pt x="2371" y="210"/>
                    <a:pt x="2374" y="213"/>
                    <a:pt x="2373" y="218"/>
                  </a:cubicBezTo>
                  <a:close/>
                  <a:moveTo>
                    <a:pt x="2363" y="263"/>
                  </a:moveTo>
                  <a:cubicBezTo>
                    <a:pt x="2362" y="262"/>
                    <a:pt x="2357" y="267"/>
                    <a:pt x="2358" y="267"/>
                  </a:cubicBezTo>
                  <a:cubicBezTo>
                    <a:pt x="2351" y="265"/>
                    <a:pt x="2366" y="255"/>
                    <a:pt x="2366" y="265"/>
                  </a:cubicBezTo>
                  <a:cubicBezTo>
                    <a:pt x="2363" y="266"/>
                    <a:pt x="2364" y="263"/>
                    <a:pt x="2363" y="263"/>
                  </a:cubicBezTo>
                  <a:close/>
                  <a:moveTo>
                    <a:pt x="2374" y="255"/>
                  </a:moveTo>
                  <a:cubicBezTo>
                    <a:pt x="2366" y="252"/>
                    <a:pt x="2360" y="247"/>
                    <a:pt x="2368" y="241"/>
                  </a:cubicBezTo>
                  <a:cubicBezTo>
                    <a:pt x="2367" y="238"/>
                    <a:pt x="2363" y="239"/>
                    <a:pt x="2363" y="241"/>
                  </a:cubicBezTo>
                  <a:cubicBezTo>
                    <a:pt x="2356" y="240"/>
                    <a:pt x="2361" y="230"/>
                    <a:pt x="2368" y="232"/>
                  </a:cubicBezTo>
                  <a:cubicBezTo>
                    <a:pt x="2367" y="229"/>
                    <a:pt x="2363" y="230"/>
                    <a:pt x="2360" y="230"/>
                  </a:cubicBezTo>
                  <a:cubicBezTo>
                    <a:pt x="2360" y="225"/>
                    <a:pt x="2367" y="227"/>
                    <a:pt x="2365" y="220"/>
                  </a:cubicBezTo>
                  <a:cubicBezTo>
                    <a:pt x="2369" y="223"/>
                    <a:pt x="2371" y="232"/>
                    <a:pt x="2368" y="234"/>
                  </a:cubicBezTo>
                  <a:cubicBezTo>
                    <a:pt x="2366" y="238"/>
                    <a:pt x="2381" y="238"/>
                    <a:pt x="2379" y="234"/>
                  </a:cubicBezTo>
                  <a:cubicBezTo>
                    <a:pt x="2385" y="235"/>
                    <a:pt x="2374" y="244"/>
                    <a:pt x="2371" y="239"/>
                  </a:cubicBezTo>
                  <a:cubicBezTo>
                    <a:pt x="2370" y="243"/>
                    <a:pt x="2373" y="243"/>
                    <a:pt x="2376" y="244"/>
                  </a:cubicBezTo>
                  <a:cubicBezTo>
                    <a:pt x="2378" y="249"/>
                    <a:pt x="2371" y="249"/>
                    <a:pt x="2374" y="255"/>
                  </a:cubicBezTo>
                  <a:close/>
                  <a:moveTo>
                    <a:pt x="2377" y="283"/>
                  </a:moveTo>
                  <a:cubicBezTo>
                    <a:pt x="2375" y="283"/>
                    <a:pt x="2375" y="284"/>
                    <a:pt x="2374" y="286"/>
                  </a:cubicBezTo>
                  <a:cubicBezTo>
                    <a:pt x="2367" y="283"/>
                    <a:pt x="2381" y="279"/>
                    <a:pt x="2388" y="281"/>
                  </a:cubicBezTo>
                  <a:cubicBezTo>
                    <a:pt x="2388" y="283"/>
                    <a:pt x="2388" y="286"/>
                    <a:pt x="2388" y="288"/>
                  </a:cubicBezTo>
                  <a:cubicBezTo>
                    <a:pt x="2380" y="291"/>
                    <a:pt x="2381" y="284"/>
                    <a:pt x="2377" y="283"/>
                  </a:cubicBezTo>
                  <a:close/>
                  <a:moveTo>
                    <a:pt x="2381" y="218"/>
                  </a:moveTo>
                  <a:cubicBezTo>
                    <a:pt x="2378" y="217"/>
                    <a:pt x="2379" y="213"/>
                    <a:pt x="2376" y="213"/>
                  </a:cubicBezTo>
                  <a:cubicBezTo>
                    <a:pt x="2377" y="205"/>
                    <a:pt x="2383" y="215"/>
                    <a:pt x="2387" y="215"/>
                  </a:cubicBezTo>
                  <a:cubicBezTo>
                    <a:pt x="2387" y="215"/>
                    <a:pt x="2390" y="215"/>
                    <a:pt x="2390" y="215"/>
                  </a:cubicBezTo>
                  <a:cubicBezTo>
                    <a:pt x="2392" y="221"/>
                    <a:pt x="2379" y="212"/>
                    <a:pt x="2381" y="218"/>
                  </a:cubicBezTo>
                  <a:close/>
                  <a:moveTo>
                    <a:pt x="2409" y="224"/>
                  </a:moveTo>
                  <a:cubicBezTo>
                    <a:pt x="2413" y="225"/>
                    <a:pt x="2416" y="227"/>
                    <a:pt x="2420" y="229"/>
                  </a:cubicBezTo>
                  <a:cubicBezTo>
                    <a:pt x="2419" y="234"/>
                    <a:pt x="2407" y="229"/>
                    <a:pt x="2409" y="224"/>
                  </a:cubicBezTo>
                  <a:close/>
                  <a:moveTo>
                    <a:pt x="2425" y="217"/>
                  </a:moveTo>
                  <a:cubicBezTo>
                    <a:pt x="2426" y="211"/>
                    <a:pt x="2435" y="216"/>
                    <a:pt x="2436" y="217"/>
                  </a:cubicBezTo>
                  <a:cubicBezTo>
                    <a:pt x="2435" y="224"/>
                    <a:pt x="2430" y="214"/>
                    <a:pt x="2425" y="217"/>
                  </a:cubicBezTo>
                  <a:close/>
                  <a:moveTo>
                    <a:pt x="2436" y="212"/>
                  </a:moveTo>
                  <a:cubicBezTo>
                    <a:pt x="2437" y="211"/>
                    <a:pt x="2442" y="208"/>
                    <a:pt x="2444" y="209"/>
                  </a:cubicBezTo>
                  <a:cubicBezTo>
                    <a:pt x="2451" y="214"/>
                    <a:pt x="2433" y="220"/>
                    <a:pt x="2436" y="212"/>
                  </a:cubicBezTo>
                  <a:close/>
                  <a:moveTo>
                    <a:pt x="2453" y="259"/>
                  </a:moveTo>
                  <a:cubicBezTo>
                    <a:pt x="2451" y="259"/>
                    <a:pt x="2448" y="259"/>
                    <a:pt x="2445" y="259"/>
                  </a:cubicBezTo>
                  <a:cubicBezTo>
                    <a:pt x="2447" y="252"/>
                    <a:pt x="2449" y="256"/>
                    <a:pt x="2456" y="256"/>
                  </a:cubicBezTo>
                  <a:cubicBezTo>
                    <a:pt x="2456" y="260"/>
                    <a:pt x="2456" y="263"/>
                    <a:pt x="2459" y="263"/>
                  </a:cubicBezTo>
                  <a:cubicBezTo>
                    <a:pt x="2458" y="270"/>
                    <a:pt x="2450" y="263"/>
                    <a:pt x="2453" y="259"/>
                  </a:cubicBezTo>
                  <a:close/>
                  <a:moveTo>
                    <a:pt x="2464" y="237"/>
                  </a:moveTo>
                  <a:cubicBezTo>
                    <a:pt x="2460" y="238"/>
                    <a:pt x="2463" y="244"/>
                    <a:pt x="2459" y="244"/>
                  </a:cubicBezTo>
                  <a:cubicBezTo>
                    <a:pt x="2457" y="240"/>
                    <a:pt x="2460" y="238"/>
                    <a:pt x="2461" y="235"/>
                  </a:cubicBezTo>
                  <a:cubicBezTo>
                    <a:pt x="2466" y="234"/>
                    <a:pt x="2467" y="237"/>
                    <a:pt x="2464" y="237"/>
                  </a:cubicBezTo>
                  <a:close/>
                  <a:moveTo>
                    <a:pt x="2478" y="246"/>
                  </a:moveTo>
                  <a:cubicBezTo>
                    <a:pt x="2484" y="241"/>
                    <a:pt x="2475" y="239"/>
                    <a:pt x="2481" y="235"/>
                  </a:cubicBezTo>
                  <a:cubicBezTo>
                    <a:pt x="2485" y="234"/>
                    <a:pt x="2486" y="250"/>
                    <a:pt x="2478" y="246"/>
                  </a:cubicBezTo>
                  <a:close/>
                  <a:moveTo>
                    <a:pt x="2497" y="253"/>
                  </a:moveTo>
                  <a:cubicBezTo>
                    <a:pt x="2497" y="251"/>
                    <a:pt x="2501" y="251"/>
                    <a:pt x="2503" y="251"/>
                  </a:cubicBezTo>
                  <a:cubicBezTo>
                    <a:pt x="2505" y="251"/>
                    <a:pt x="2508" y="251"/>
                    <a:pt x="2511" y="251"/>
                  </a:cubicBezTo>
                  <a:cubicBezTo>
                    <a:pt x="2512" y="256"/>
                    <a:pt x="2501" y="252"/>
                    <a:pt x="2497" y="253"/>
                  </a:cubicBezTo>
                  <a:close/>
                  <a:moveTo>
                    <a:pt x="2503" y="248"/>
                  </a:moveTo>
                  <a:cubicBezTo>
                    <a:pt x="2503" y="245"/>
                    <a:pt x="2503" y="242"/>
                    <a:pt x="2503" y="239"/>
                  </a:cubicBezTo>
                  <a:cubicBezTo>
                    <a:pt x="2505" y="239"/>
                    <a:pt x="2505" y="242"/>
                    <a:pt x="2505" y="244"/>
                  </a:cubicBezTo>
                  <a:cubicBezTo>
                    <a:pt x="2509" y="244"/>
                    <a:pt x="2510" y="243"/>
                    <a:pt x="2511" y="241"/>
                  </a:cubicBezTo>
                  <a:cubicBezTo>
                    <a:pt x="2519" y="244"/>
                    <a:pt x="2507" y="249"/>
                    <a:pt x="2503" y="248"/>
                  </a:cubicBezTo>
                  <a:close/>
                  <a:moveTo>
                    <a:pt x="2517" y="269"/>
                  </a:moveTo>
                  <a:cubicBezTo>
                    <a:pt x="2512" y="275"/>
                    <a:pt x="2517" y="268"/>
                    <a:pt x="2517" y="265"/>
                  </a:cubicBezTo>
                  <a:cubicBezTo>
                    <a:pt x="2517" y="256"/>
                    <a:pt x="2524" y="271"/>
                    <a:pt x="2517" y="269"/>
                  </a:cubicBezTo>
                  <a:close/>
                  <a:moveTo>
                    <a:pt x="2535" y="241"/>
                  </a:moveTo>
                  <a:cubicBezTo>
                    <a:pt x="2533" y="237"/>
                    <a:pt x="2522" y="241"/>
                    <a:pt x="2524" y="234"/>
                  </a:cubicBezTo>
                  <a:cubicBezTo>
                    <a:pt x="2527" y="232"/>
                    <a:pt x="2532" y="231"/>
                    <a:pt x="2538" y="231"/>
                  </a:cubicBezTo>
                  <a:cubicBezTo>
                    <a:pt x="2538" y="235"/>
                    <a:pt x="2535" y="236"/>
                    <a:pt x="2535" y="241"/>
                  </a:cubicBezTo>
                  <a:close/>
                  <a:moveTo>
                    <a:pt x="2543" y="219"/>
                  </a:moveTo>
                  <a:cubicBezTo>
                    <a:pt x="2538" y="215"/>
                    <a:pt x="2538" y="221"/>
                    <a:pt x="2530" y="220"/>
                  </a:cubicBezTo>
                  <a:cubicBezTo>
                    <a:pt x="2526" y="217"/>
                    <a:pt x="2529" y="216"/>
                    <a:pt x="2530" y="213"/>
                  </a:cubicBezTo>
                  <a:cubicBezTo>
                    <a:pt x="2524" y="212"/>
                    <a:pt x="2521" y="215"/>
                    <a:pt x="2521" y="220"/>
                  </a:cubicBezTo>
                  <a:cubicBezTo>
                    <a:pt x="2511" y="215"/>
                    <a:pt x="2520" y="208"/>
                    <a:pt x="2529" y="208"/>
                  </a:cubicBezTo>
                  <a:cubicBezTo>
                    <a:pt x="2529" y="203"/>
                    <a:pt x="2521" y="208"/>
                    <a:pt x="2521" y="208"/>
                  </a:cubicBezTo>
                  <a:cubicBezTo>
                    <a:pt x="2518" y="208"/>
                    <a:pt x="2517" y="204"/>
                    <a:pt x="2513" y="203"/>
                  </a:cubicBezTo>
                  <a:cubicBezTo>
                    <a:pt x="2513" y="209"/>
                    <a:pt x="2518" y="209"/>
                    <a:pt x="2513" y="213"/>
                  </a:cubicBezTo>
                  <a:cubicBezTo>
                    <a:pt x="2511" y="215"/>
                    <a:pt x="2519" y="239"/>
                    <a:pt x="2508" y="236"/>
                  </a:cubicBezTo>
                  <a:cubicBezTo>
                    <a:pt x="2507" y="233"/>
                    <a:pt x="2510" y="232"/>
                    <a:pt x="2511" y="229"/>
                  </a:cubicBezTo>
                  <a:cubicBezTo>
                    <a:pt x="2508" y="225"/>
                    <a:pt x="2504" y="222"/>
                    <a:pt x="2499" y="220"/>
                  </a:cubicBezTo>
                  <a:cubicBezTo>
                    <a:pt x="2499" y="216"/>
                    <a:pt x="2501" y="211"/>
                    <a:pt x="2497" y="211"/>
                  </a:cubicBezTo>
                  <a:cubicBezTo>
                    <a:pt x="2493" y="211"/>
                    <a:pt x="2496" y="214"/>
                    <a:pt x="2497" y="213"/>
                  </a:cubicBezTo>
                  <a:cubicBezTo>
                    <a:pt x="2492" y="219"/>
                    <a:pt x="2486" y="214"/>
                    <a:pt x="2483" y="220"/>
                  </a:cubicBezTo>
                  <a:cubicBezTo>
                    <a:pt x="2481" y="219"/>
                    <a:pt x="2479" y="218"/>
                    <a:pt x="2475" y="218"/>
                  </a:cubicBezTo>
                  <a:cubicBezTo>
                    <a:pt x="2474" y="226"/>
                    <a:pt x="2487" y="222"/>
                    <a:pt x="2483" y="232"/>
                  </a:cubicBezTo>
                  <a:cubicBezTo>
                    <a:pt x="2479" y="233"/>
                    <a:pt x="2478" y="230"/>
                    <a:pt x="2478" y="228"/>
                  </a:cubicBezTo>
                  <a:cubicBezTo>
                    <a:pt x="2478" y="225"/>
                    <a:pt x="2473" y="227"/>
                    <a:pt x="2472" y="225"/>
                  </a:cubicBezTo>
                  <a:cubicBezTo>
                    <a:pt x="2472" y="225"/>
                    <a:pt x="2472" y="216"/>
                    <a:pt x="2469" y="218"/>
                  </a:cubicBezTo>
                  <a:cubicBezTo>
                    <a:pt x="2467" y="220"/>
                    <a:pt x="2464" y="221"/>
                    <a:pt x="2464" y="211"/>
                  </a:cubicBezTo>
                  <a:cubicBezTo>
                    <a:pt x="2459" y="214"/>
                    <a:pt x="2460" y="221"/>
                    <a:pt x="2450" y="219"/>
                  </a:cubicBezTo>
                  <a:cubicBezTo>
                    <a:pt x="2450" y="216"/>
                    <a:pt x="2449" y="214"/>
                    <a:pt x="2447" y="214"/>
                  </a:cubicBezTo>
                  <a:cubicBezTo>
                    <a:pt x="2446" y="210"/>
                    <a:pt x="2449" y="210"/>
                    <a:pt x="2453" y="209"/>
                  </a:cubicBezTo>
                  <a:cubicBezTo>
                    <a:pt x="2452" y="207"/>
                    <a:pt x="2447" y="208"/>
                    <a:pt x="2447" y="205"/>
                  </a:cubicBezTo>
                  <a:cubicBezTo>
                    <a:pt x="2436" y="206"/>
                    <a:pt x="2426" y="206"/>
                    <a:pt x="2414" y="205"/>
                  </a:cubicBezTo>
                  <a:cubicBezTo>
                    <a:pt x="2406" y="208"/>
                    <a:pt x="2418" y="211"/>
                    <a:pt x="2412" y="215"/>
                  </a:cubicBezTo>
                  <a:cubicBezTo>
                    <a:pt x="2408" y="215"/>
                    <a:pt x="2404" y="215"/>
                    <a:pt x="2401" y="215"/>
                  </a:cubicBezTo>
                  <a:cubicBezTo>
                    <a:pt x="2400" y="211"/>
                    <a:pt x="2403" y="211"/>
                    <a:pt x="2403" y="208"/>
                  </a:cubicBezTo>
                  <a:cubicBezTo>
                    <a:pt x="2400" y="201"/>
                    <a:pt x="2389" y="208"/>
                    <a:pt x="2384" y="208"/>
                  </a:cubicBezTo>
                  <a:cubicBezTo>
                    <a:pt x="2378" y="197"/>
                    <a:pt x="2422" y="207"/>
                    <a:pt x="2411" y="201"/>
                  </a:cubicBezTo>
                  <a:cubicBezTo>
                    <a:pt x="2412" y="198"/>
                    <a:pt x="2414" y="199"/>
                    <a:pt x="2414" y="200"/>
                  </a:cubicBezTo>
                  <a:cubicBezTo>
                    <a:pt x="2421" y="203"/>
                    <a:pt x="2431" y="203"/>
                    <a:pt x="2442" y="202"/>
                  </a:cubicBezTo>
                  <a:cubicBezTo>
                    <a:pt x="2444" y="201"/>
                    <a:pt x="2446" y="200"/>
                    <a:pt x="2450" y="200"/>
                  </a:cubicBezTo>
                  <a:cubicBezTo>
                    <a:pt x="2450" y="198"/>
                    <a:pt x="2450" y="195"/>
                    <a:pt x="2450" y="193"/>
                  </a:cubicBezTo>
                  <a:cubicBezTo>
                    <a:pt x="2456" y="187"/>
                    <a:pt x="2447" y="202"/>
                    <a:pt x="2458" y="202"/>
                  </a:cubicBezTo>
                  <a:cubicBezTo>
                    <a:pt x="2463" y="202"/>
                    <a:pt x="2468" y="203"/>
                    <a:pt x="2463" y="204"/>
                  </a:cubicBezTo>
                  <a:cubicBezTo>
                    <a:pt x="2460" y="206"/>
                    <a:pt x="2455" y="203"/>
                    <a:pt x="2455" y="207"/>
                  </a:cubicBezTo>
                  <a:cubicBezTo>
                    <a:pt x="2453" y="211"/>
                    <a:pt x="2468" y="210"/>
                    <a:pt x="2466" y="207"/>
                  </a:cubicBezTo>
                  <a:cubicBezTo>
                    <a:pt x="2469" y="205"/>
                    <a:pt x="2469" y="201"/>
                    <a:pt x="2474" y="202"/>
                  </a:cubicBezTo>
                  <a:cubicBezTo>
                    <a:pt x="2474" y="198"/>
                    <a:pt x="2477" y="198"/>
                    <a:pt x="2477" y="195"/>
                  </a:cubicBezTo>
                  <a:cubicBezTo>
                    <a:pt x="2481" y="195"/>
                    <a:pt x="2478" y="202"/>
                    <a:pt x="2483" y="202"/>
                  </a:cubicBezTo>
                  <a:cubicBezTo>
                    <a:pt x="2490" y="202"/>
                    <a:pt x="2492" y="198"/>
                    <a:pt x="2491" y="192"/>
                  </a:cubicBezTo>
                  <a:cubicBezTo>
                    <a:pt x="2499" y="194"/>
                    <a:pt x="2494" y="196"/>
                    <a:pt x="2494" y="201"/>
                  </a:cubicBezTo>
                  <a:cubicBezTo>
                    <a:pt x="2500" y="202"/>
                    <a:pt x="2504" y="201"/>
                    <a:pt x="2505" y="197"/>
                  </a:cubicBezTo>
                  <a:cubicBezTo>
                    <a:pt x="2508" y="196"/>
                    <a:pt x="2506" y="200"/>
                    <a:pt x="2507" y="201"/>
                  </a:cubicBezTo>
                  <a:cubicBezTo>
                    <a:pt x="2511" y="203"/>
                    <a:pt x="2519" y="200"/>
                    <a:pt x="2524" y="201"/>
                  </a:cubicBezTo>
                  <a:cubicBezTo>
                    <a:pt x="2527" y="200"/>
                    <a:pt x="2529" y="198"/>
                    <a:pt x="2529" y="194"/>
                  </a:cubicBezTo>
                  <a:cubicBezTo>
                    <a:pt x="2540" y="192"/>
                    <a:pt x="2540" y="192"/>
                    <a:pt x="2551" y="193"/>
                  </a:cubicBezTo>
                  <a:cubicBezTo>
                    <a:pt x="2553" y="201"/>
                    <a:pt x="2548" y="202"/>
                    <a:pt x="2549" y="208"/>
                  </a:cubicBezTo>
                  <a:cubicBezTo>
                    <a:pt x="2546" y="206"/>
                    <a:pt x="2542" y="205"/>
                    <a:pt x="2538" y="205"/>
                  </a:cubicBezTo>
                  <a:cubicBezTo>
                    <a:pt x="2537" y="212"/>
                    <a:pt x="2544" y="213"/>
                    <a:pt x="2543" y="219"/>
                  </a:cubicBezTo>
                  <a:close/>
                  <a:moveTo>
                    <a:pt x="2549" y="212"/>
                  </a:moveTo>
                  <a:cubicBezTo>
                    <a:pt x="2550" y="209"/>
                    <a:pt x="2552" y="213"/>
                    <a:pt x="2557" y="212"/>
                  </a:cubicBezTo>
                  <a:cubicBezTo>
                    <a:pt x="2559" y="219"/>
                    <a:pt x="2547" y="215"/>
                    <a:pt x="2552" y="224"/>
                  </a:cubicBezTo>
                  <a:cubicBezTo>
                    <a:pt x="2539" y="223"/>
                    <a:pt x="2556" y="214"/>
                    <a:pt x="2549" y="212"/>
                  </a:cubicBezTo>
                  <a:close/>
                  <a:moveTo>
                    <a:pt x="2549" y="238"/>
                  </a:moveTo>
                  <a:cubicBezTo>
                    <a:pt x="2548" y="233"/>
                    <a:pt x="2554" y="235"/>
                    <a:pt x="2554" y="231"/>
                  </a:cubicBezTo>
                  <a:cubicBezTo>
                    <a:pt x="2558" y="231"/>
                    <a:pt x="2557" y="235"/>
                    <a:pt x="2557" y="238"/>
                  </a:cubicBezTo>
                  <a:cubicBezTo>
                    <a:pt x="2555" y="238"/>
                    <a:pt x="2552" y="238"/>
                    <a:pt x="2549" y="238"/>
                  </a:cubicBezTo>
                  <a:close/>
                  <a:moveTo>
                    <a:pt x="2553" y="146"/>
                  </a:moveTo>
                  <a:cubicBezTo>
                    <a:pt x="2555" y="146"/>
                    <a:pt x="2557" y="146"/>
                    <a:pt x="2559" y="146"/>
                  </a:cubicBezTo>
                  <a:cubicBezTo>
                    <a:pt x="2559" y="153"/>
                    <a:pt x="2538" y="146"/>
                    <a:pt x="2553" y="146"/>
                  </a:cubicBezTo>
                  <a:close/>
                  <a:moveTo>
                    <a:pt x="2570" y="167"/>
                  </a:moveTo>
                  <a:cubicBezTo>
                    <a:pt x="2567" y="175"/>
                    <a:pt x="2562" y="165"/>
                    <a:pt x="2564" y="160"/>
                  </a:cubicBezTo>
                  <a:cubicBezTo>
                    <a:pt x="2568" y="161"/>
                    <a:pt x="2565" y="167"/>
                    <a:pt x="2570" y="167"/>
                  </a:cubicBezTo>
                  <a:close/>
                  <a:moveTo>
                    <a:pt x="2567" y="137"/>
                  </a:moveTo>
                  <a:cubicBezTo>
                    <a:pt x="2570" y="138"/>
                    <a:pt x="2572" y="140"/>
                    <a:pt x="2572" y="144"/>
                  </a:cubicBezTo>
                  <a:cubicBezTo>
                    <a:pt x="2569" y="143"/>
                    <a:pt x="2566" y="141"/>
                    <a:pt x="2567" y="137"/>
                  </a:cubicBezTo>
                  <a:close/>
                  <a:moveTo>
                    <a:pt x="2568" y="191"/>
                  </a:moveTo>
                  <a:cubicBezTo>
                    <a:pt x="2570" y="191"/>
                    <a:pt x="2573" y="191"/>
                    <a:pt x="2576" y="191"/>
                  </a:cubicBezTo>
                  <a:cubicBezTo>
                    <a:pt x="2575" y="196"/>
                    <a:pt x="2564" y="192"/>
                    <a:pt x="2559" y="193"/>
                  </a:cubicBezTo>
                  <a:cubicBezTo>
                    <a:pt x="2560" y="190"/>
                    <a:pt x="2564" y="191"/>
                    <a:pt x="2568" y="191"/>
                  </a:cubicBezTo>
                  <a:close/>
                  <a:moveTo>
                    <a:pt x="2559" y="200"/>
                  </a:moveTo>
                  <a:cubicBezTo>
                    <a:pt x="2562" y="205"/>
                    <a:pt x="2573" y="201"/>
                    <a:pt x="2565" y="198"/>
                  </a:cubicBezTo>
                  <a:cubicBezTo>
                    <a:pt x="2567" y="194"/>
                    <a:pt x="2569" y="198"/>
                    <a:pt x="2576" y="195"/>
                  </a:cubicBezTo>
                  <a:cubicBezTo>
                    <a:pt x="2576" y="199"/>
                    <a:pt x="2564" y="203"/>
                    <a:pt x="2576" y="202"/>
                  </a:cubicBezTo>
                  <a:cubicBezTo>
                    <a:pt x="2586" y="207"/>
                    <a:pt x="2561" y="202"/>
                    <a:pt x="2562" y="207"/>
                  </a:cubicBezTo>
                  <a:cubicBezTo>
                    <a:pt x="2560" y="208"/>
                    <a:pt x="2560" y="206"/>
                    <a:pt x="2560" y="205"/>
                  </a:cubicBezTo>
                  <a:cubicBezTo>
                    <a:pt x="2560" y="203"/>
                    <a:pt x="2560" y="202"/>
                    <a:pt x="2559" y="200"/>
                  </a:cubicBezTo>
                  <a:close/>
                  <a:moveTo>
                    <a:pt x="2595" y="219"/>
                  </a:moveTo>
                  <a:cubicBezTo>
                    <a:pt x="2593" y="223"/>
                    <a:pt x="2594" y="216"/>
                    <a:pt x="2590" y="216"/>
                  </a:cubicBezTo>
                  <a:cubicBezTo>
                    <a:pt x="2587" y="216"/>
                    <a:pt x="2585" y="212"/>
                    <a:pt x="2584" y="207"/>
                  </a:cubicBezTo>
                  <a:cubicBezTo>
                    <a:pt x="2588" y="207"/>
                    <a:pt x="2592" y="207"/>
                    <a:pt x="2595" y="207"/>
                  </a:cubicBezTo>
                  <a:cubicBezTo>
                    <a:pt x="2597" y="214"/>
                    <a:pt x="2590" y="214"/>
                    <a:pt x="2595" y="219"/>
                  </a:cubicBezTo>
                  <a:close/>
                  <a:moveTo>
                    <a:pt x="2591" y="263"/>
                  </a:moveTo>
                  <a:cubicBezTo>
                    <a:pt x="2589" y="268"/>
                    <a:pt x="2586" y="265"/>
                    <a:pt x="2588" y="256"/>
                  </a:cubicBezTo>
                  <a:cubicBezTo>
                    <a:pt x="2590" y="250"/>
                    <a:pt x="2591" y="262"/>
                    <a:pt x="2591" y="263"/>
                  </a:cubicBezTo>
                  <a:close/>
                  <a:moveTo>
                    <a:pt x="2582" y="230"/>
                  </a:moveTo>
                  <a:cubicBezTo>
                    <a:pt x="2594" y="232"/>
                    <a:pt x="2580" y="245"/>
                    <a:pt x="2582" y="230"/>
                  </a:cubicBezTo>
                  <a:close/>
                  <a:moveTo>
                    <a:pt x="2571" y="228"/>
                  </a:moveTo>
                  <a:cubicBezTo>
                    <a:pt x="2572" y="226"/>
                    <a:pt x="2573" y="224"/>
                    <a:pt x="2576" y="224"/>
                  </a:cubicBezTo>
                  <a:cubicBezTo>
                    <a:pt x="2575" y="220"/>
                    <a:pt x="2568" y="222"/>
                    <a:pt x="2571" y="214"/>
                  </a:cubicBezTo>
                  <a:cubicBezTo>
                    <a:pt x="2579" y="214"/>
                    <a:pt x="2580" y="220"/>
                    <a:pt x="2582" y="226"/>
                  </a:cubicBezTo>
                  <a:cubicBezTo>
                    <a:pt x="2579" y="228"/>
                    <a:pt x="2576" y="228"/>
                    <a:pt x="2571" y="228"/>
                  </a:cubicBezTo>
                  <a:close/>
                  <a:moveTo>
                    <a:pt x="2560" y="221"/>
                  </a:moveTo>
                  <a:cubicBezTo>
                    <a:pt x="2560" y="219"/>
                    <a:pt x="2560" y="217"/>
                    <a:pt x="2560" y="214"/>
                  </a:cubicBezTo>
                  <a:cubicBezTo>
                    <a:pt x="2562" y="214"/>
                    <a:pt x="2565" y="214"/>
                    <a:pt x="2568" y="214"/>
                  </a:cubicBezTo>
                  <a:cubicBezTo>
                    <a:pt x="2565" y="217"/>
                    <a:pt x="2567" y="223"/>
                    <a:pt x="2560" y="221"/>
                  </a:cubicBezTo>
                  <a:close/>
                  <a:moveTo>
                    <a:pt x="2568" y="231"/>
                  </a:moveTo>
                  <a:cubicBezTo>
                    <a:pt x="2578" y="230"/>
                    <a:pt x="2572" y="243"/>
                    <a:pt x="2577" y="247"/>
                  </a:cubicBezTo>
                  <a:cubicBezTo>
                    <a:pt x="2566" y="249"/>
                    <a:pt x="2569" y="238"/>
                    <a:pt x="2568" y="231"/>
                  </a:cubicBezTo>
                  <a:close/>
                  <a:moveTo>
                    <a:pt x="2569" y="254"/>
                  </a:moveTo>
                  <a:cubicBezTo>
                    <a:pt x="2568" y="251"/>
                    <a:pt x="2576" y="246"/>
                    <a:pt x="2577" y="252"/>
                  </a:cubicBezTo>
                  <a:cubicBezTo>
                    <a:pt x="2576" y="254"/>
                    <a:pt x="2578" y="254"/>
                    <a:pt x="2580" y="254"/>
                  </a:cubicBezTo>
                  <a:cubicBezTo>
                    <a:pt x="2578" y="261"/>
                    <a:pt x="2574" y="252"/>
                    <a:pt x="2569" y="254"/>
                  </a:cubicBezTo>
                  <a:close/>
                  <a:moveTo>
                    <a:pt x="2579" y="242"/>
                  </a:moveTo>
                  <a:cubicBezTo>
                    <a:pt x="2578" y="238"/>
                    <a:pt x="2592" y="239"/>
                    <a:pt x="2588" y="244"/>
                  </a:cubicBezTo>
                  <a:cubicBezTo>
                    <a:pt x="2586" y="245"/>
                    <a:pt x="2584" y="245"/>
                    <a:pt x="2582" y="245"/>
                  </a:cubicBezTo>
                  <a:cubicBezTo>
                    <a:pt x="2583" y="243"/>
                    <a:pt x="2581" y="242"/>
                    <a:pt x="2579" y="242"/>
                  </a:cubicBezTo>
                  <a:close/>
                  <a:moveTo>
                    <a:pt x="2585" y="275"/>
                  </a:moveTo>
                  <a:cubicBezTo>
                    <a:pt x="2586" y="269"/>
                    <a:pt x="2596" y="271"/>
                    <a:pt x="2596" y="266"/>
                  </a:cubicBezTo>
                  <a:cubicBezTo>
                    <a:pt x="2603" y="268"/>
                    <a:pt x="2595" y="278"/>
                    <a:pt x="2585" y="275"/>
                  </a:cubicBezTo>
                  <a:close/>
                  <a:moveTo>
                    <a:pt x="2631" y="232"/>
                  </a:moveTo>
                  <a:cubicBezTo>
                    <a:pt x="2638" y="234"/>
                    <a:pt x="2643" y="237"/>
                    <a:pt x="2643" y="246"/>
                  </a:cubicBezTo>
                  <a:cubicBezTo>
                    <a:pt x="2637" y="247"/>
                    <a:pt x="2639" y="243"/>
                    <a:pt x="2637" y="241"/>
                  </a:cubicBezTo>
                  <a:cubicBezTo>
                    <a:pt x="2635" y="239"/>
                    <a:pt x="2630" y="235"/>
                    <a:pt x="2631" y="232"/>
                  </a:cubicBezTo>
                  <a:close/>
                  <a:moveTo>
                    <a:pt x="2613" y="263"/>
                  </a:moveTo>
                  <a:cubicBezTo>
                    <a:pt x="2615" y="262"/>
                    <a:pt x="2622" y="254"/>
                    <a:pt x="2615" y="253"/>
                  </a:cubicBezTo>
                  <a:cubicBezTo>
                    <a:pt x="2616" y="247"/>
                    <a:pt x="2624" y="253"/>
                    <a:pt x="2621" y="258"/>
                  </a:cubicBezTo>
                  <a:cubicBezTo>
                    <a:pt x="2630" y="261"/>
                    <a:pt x="2623" y="250"/>
                    <a:pt x="2632" y="253"/>
                  </a:cubicBezTo>
                  <a:cubicBezTo>
                    <a:pt x="2632" y="255"/>
                    <a:pt x="2631" y="255"/>
                    <a:pt x="2629" y="255"/>
                  </a:cubicBezTo>
                  <a:cubicBezTo>
                    <a:pt x="2629" y="262"/>
                    <a:pt x="2633" y="260"/>
                    <a:pt x="2629" y="267"/>
                  </a:cubicBezTo>
                  <a:cubicBezTo>
                    <a:pt x="2628" y="270"/>
                    <a:pt x="2629" y="272"/>
                    <a:pt x="2624" y="272"/>
                  </a:cubicBezTo>
                  <a:cubicBezTo>
                    <a:pt x="2621" y="265"/>
                    <a:pt x="2628" y="266"/>
                    <a:pt x="2626" y="260"/>
                  </a:cubicBezTo>
                  <a:cubicBezTo>
                    <a:pt x="2620" y="259"/>
                    <a:pt x="2621" y="264"/>
                    <a:pt x="2621" y="267"/>
                  </a:cubicBezTo>
                  <a:cubicBezTo>
                    <a:pt x="2611" y="266"/>
                    <a:pt x="2598" y="263"/>
                    <a:pt x="2604" y="254"/>
                  </a:cubicBezTo>
                  <a:cubicBezTo>
                    <a:pt x="2600" y="253"/>
                    <a:pt x="2599" y="255"/>
                    <a:pt x="2599" y="258"/>
                  </a:cubicBezTo>
                  <a:cubicBezTo>
                    <a:pt x="2591" y="257"/>
                    <a:pt x="2601" y="253"/>
                    <a:pt x="2599" y="249"/>
                  </a:cubicBezTo>
                  <a:cubicBezTo>
                    <a:pt x="2604" y="251"/>
                    <a:pt x="2608" y="253"/>
                    <a:pt x="2607" y="261"/>
                  </a:cubicBezTo>
                  <a:cubicBezTo>
                    <a:pt x="2610" y="260"/>
                    <a:pt x="2612" y="261"/>
                    <a:pt x="2613" y="263"/>
                  </a:cubicBezTo>
                  <a:close/>
                  <a:moveTo>
                    <a:pt x="2607" y="232"/>
                  </a:moveTo>
                  <a:cubicBezTo>
                    <a:pt x="2605" y="239"/>
                    <a:pt x="2611" y="238"/>
                    <a:pt x="2610" y="244"/>
                  </a:cubicBezTo>
                  <a:cubicBezTo>
                    <a:pt x="2607" y="244"/>
                    <a:pt x="2604" y="244"/>
                    <a:pt x="2601" y="244"/>
                  </a:cubicBezTo>
                  <a:cubicBezTo>
                    <a:pt x="2601" y="240"/>
                    <a:pt x="2605" y="239"/>
                    <a:pt x="2604" y="235"/>
                  </a:cubicBezTo>
                  <a:cubicBezTo>
                    <a:pt x="2601" y="236"/>
                    <a:pt x="2598" y="238"/>
                    <a:pt x="2599" y="242"/>
                  </a:cubicBezTo>
                  <a:cubicBezTo>
                    <a:pt x="2594" y="240"/>
                    <a:pt x="2594" y="234"/>
                    <a:pt x="2593" y="230"/>
                  </a:cubicBezTo>
                  <a:cubicBezTo>
                    <a:pt x="2596" y="232"/>
                    <a:pt x="2600" y="233"/>
                    <a:pt x="2607" y="232"/>
                  </a:cubicBezTo>
                  <a:close/>
                  <a:moveTo>
                    <a:pt x="2584" y="198"/>
                  </a:moveTo>
                  <a:cubicBezTo>
                    <a:pt x="2586" y="194"/>
                    <a:pt x="2591" y="196"/>
                    <a:pt x="2592" y="197"/>
                  </a:cubicBezTo>
                  <a:cubicBezTo>
                    <a:pt x="2593" y="198"/>
                    <a:pt x="2597" y="197"/>
                    <a:pt x="2598" y="197"/>
                  </a:cubicBezTo>
                  <a:cubicBezTo>
                    <a:pt x="2599" y="198"/>
                    <a:pt x="2598" y="204"/>
                    <a:pt x="2603" y="202"/>
                  </a:cubicBezTo>
                  <a:cubicBezTo>
                    <a:pt x="2596" y="210"/>
                    <a:pt x="2590" y="198"/>
                    <a:pt x="2584" y="198"/>
                  </a:cubicBezTo>
                  <a:close/>
                  <a:moveTo>
                    <a:pt x="2586" y="146"/>
                  </a:moveTo>
                  <a:cubicBezTo>
                    <a:pt x="2591" y="147"/>
                    <a:pt x="2598" y="146"/>
                    <a:pt x="2597" y="153"/>
                  </a:cubicBezTo>
                  <a:cubicBezTo>
                    <a:pt x="2591" y="149"/>
                    <a:pt x="2594" y="153"/>
                    <a:pt x="2586" y="153"/>
                  </a:cubicBezTo>
                  <a:cubicBezTo>
                    <a:pt x="2586" y="151"/>
                    <a:pt x="2586" y="148"/>
                    <a:pt x="2586" y="146"/>
                  </a:cubicBezTo>
                  <a:close/>
                  <a:moveTo>
                    <a:pt x="2625" y="171"/>
                  </a:moveTo>
                  <a:cubicBezTo>
                    <a:pt x="2625" y="167"/>
                    <a:pt x="2625" y="163"/>
                    <a:pt x="2625" y="159"/>
                  </a:cubicBezTo>
                  <a:cubicBezTo>
                    <a:pt x="2633" y="155"/>
                    <a:pt x="2633" y="174"/>
                    <a:pt x="2625" y="171"/>
                  </a:cubicBezTo>
                  <a:close/>
                  <a:moveTo>
                    <a:pt x="2639" y="182"/>
                  </a:moveTo>
                  <a:cubicBezTo>
                    <a:pt x="2631" y="179"/>
                    <a:pt x="2636" y="177"/>
                    <a:pt x="2633" y="168"/>
                  </a:cubicBezTo>
                  <a:cubicBezTo>
                    <a:pt x="2636" y="168"/>
                    <a:pt x="2638" y="168"/>
                    <a:pt x="2641" y="168"/>
                  </a:cubicBezTo>
                  <a:cubicBezTo>
                    <a:pt x="2638" y="171"/>
                    <a:pt x="2638" y="177"/>
                    <a:pt x="2639" y="182"/>
                  </a:cubicBezTo>
                  <a:close/>
                  <a:moveTo>
                    <a:pt x="2655" y="173"/>
                  </a:moveTo>
                  <a:cubicBezTo>
                    <a:pt x="2662" y="173"/>
                    <a:pt x="2656" y="181"/>
                    <a:pt x="2655" y="182"/>
                  </a:cubicBezTo>
                  <a:cubicBezTo>
                    <a:pt x="2647" y="181"/>
                    <a:pt x="2658" y="177"/>
                    <a:pt x="2655" y="173"/>
                  </a:cubicBezTo>
                  <a:close/>
                  <a:moveTo>
                    <a:pt x="2663" y="189"/>
                  </a:moveTo>
                  <a:cubicBezTo>
                    <a:pt x="2661" y="187"/>
                    <a:pt x="2657" y="187"/>
                    <a:pt x="2652" y="187"/>
                  </a:cubicBezTo>
                  <a:cubicBezTo>
                    <a:pt x="2652" y="183"/>
                    <a:pt x="2668" y="182"/>
                    <a:pt x="2663" y="189"/>
                  </a:cubicBezTo>
                  <a:close/>
                  <a:moveTo>
                    <a:pt x="2660" y="154"/>
                  </a:moveTo>
                  <a:cubicBezTo>
                    <a:pt x="2656" y="157"/>
                    <a:pt x="2653" y="157"/>
                    <a:pt x="2649" y="154"/>
                  </a:cubicBezTo>
                  <a:cubicBezTo>
                    <a:pt x="2651" y="146"/>
                    <a:pt x="2656" y="154"/>
                    <a:pt x="2666" y="151"/>
                  </a:cubicBezTo>
                  <a:cubicBezTo>
                    <a:pt x="2668" y="150"/>
                    <a:pt x="2668" y="146"/>
                    <a:pt x="2674" y="147"/>
                  </a:cubicBezTo>
                  <a:cubicBezTo>
                    <a:pt x="2675" y="151"/>
                    <a:pt x="2672" y="151"/>
                    <a:pt x="2668" y="151"/>
                  </a:cubicBezTo>
                  <a:cubicBezTo>
                    <a:pt x="2668" y="154"/>
                    <a:pt x="2669" y="156"/>
                    <a:pt x="2671" y="156"/>
                  </a:cubicBezTo>
                  <a:cubicBezTo>
                    <a:pt x="2671" y="162"/>
                    <a:pt x="2661" y="156"/>
                    <a:pt x="2660" y="154"/>
                  </a:cubicBezTo>
                  <a:close/>
                  <a:moveTo>
                    <a:pt x="2669" y="168"/>
                  </a:moveTo>
                  <a:cubicBezTo>
                    <a:pt x="2669" y="166"/>
                    <a:pt x="2669" y="165"/>
                    <a:pt x="2669" y="163"/>
                  </a:cubicBezTo>
                  <a:cubicBezTo>
                    <a:pt x="2670" y="163"/>
                    <a:pt x="2672" y="163"/>
                    <a:pt x="2674" y="163"/>
                  </a:cubicBezTo>
                  <a:cubicBezTo>
                    <a:pt x="2674" y="165"/>
                    <a:pt x="2674" y="166"/>
                    <a:pt x="2674" y="168"/>
                  </a:cubicBezTo>
                  <a:cubicBezTo>
                    <a:pt x="2672" y="168"/>
                    <a:pt x="2670" y="168"/>
                    <a:pt x="2669" y="168"/>
                  </a:cubicBezTo>
                  <a:close/>
                  <a:moveTo>
                    <a:pt x="2685" y="184"/>
                  </a:moveTo>
                  <a:cubicBezTo>
                    <a:pt x="2679" y="185"/>
                    <a:pt x="2681" y="180"/>
                    <a:pt x="2677" y="179"/>
                  </a:cubicBezTo>
                  <a:cubicBezTo>
                    <a:pt x="2678" y="174"/>
                    <a:pt x="2688" y="179"/>
                    <a:pt x="2685" y="184"/>
                  </a:cubicBezTo>
                  <a:close/>
                  <a:moveTo>
                    <a:pt x="2682" y="135"/>
                  </a:moveTo>
                  <a:cubicBezTo>
                    <a:pt x="2682" y="141"/>
                    <a:pt x="2671" y="138"/>
                    <a:pt x="2671" y="144"/>
                  </a:cubicBezTo>
                  <a:cubicBezTo>
                    <a:pt x="2669" y="142"/>
                    <a:pt x="2661" y="135"/>
                    <a:pt x="2663" y="147"/>
                  </a:cubicBezTo>
                  <a:cubicBezTo>
                    <a:pt x="2659" y="148"/>
                    <a:pt x="2661" y="140"/>
                    <a:pt x="2660" y="140"/>
                  </a:cubicBezTo>
                  <a:cubicBezTo>
                    <a:pt x="2657" y="139"/>
                    <a:pt x="2654" y="144"/>
                    <a:pt x="2649" y="140"/>
                  </a:cubicBezTo>
                  <a:cubicBezTo>
                    <a:pt x="2647" y="139"/>
                    <a:pt x="2630" y="144"/>
                    <a:pt x="2632" y="136"/>
                  </a:cubicBezTo>
                  <a:cubicBezTo>
                    <a:pt x="2628" y="135"/>
                    <a:pt x="2627" y="137"/>
                    <a:pt x="2627" y="140"/>
                  </a:cubicBezTo>
                  <a:cubicBezTo>
                    <a:pt x="2620" y="142"/>
                    <a:pt x="2621" y="136"/>
                    <a:pt x="2616" y="136"/>
                  </a:cubicBezTo>
                  <a:cubicBezTo>
                    <a:pt x="2613" y="137"/>
                    <a:pt x="2614" y="141"/>
                    <a:pt x="2610" y="141"/>
                  </a:cubicBezTo>
                  <a:cubicBezTo>
                    <a:pt x="2606" y="142"/>
                    <a:pt x="2605" y="139"/>
                    <a:pt x="2605" y="136"/>
                  </a:cubicBezTo>
                  <a:cubicBezTo>
                    <a:pt x="2593" y="134"/>
                    <a:pt x="2592" y="141"/>
                    <a:pt x="2583" y="141"/>
                  </a:cubicBezTo>
                  <a:cubicBezTo>
                    <a:pt x="2583" y="139"/>
                    <a:pt x="2583" y="136"/>
                    <a:pt x="2583" y="134"/>
                  </a:cubicBezTo>
                  <a:cubicBezTo>
                    <a:pt x="2573" y="133"/>
                    <a:pt x="2581" y="141"/>
                    <a:pt x="2572" y="137"/>
                  </a:cubicBezTo>
                  <a:cubicBezTo>
                    <a:pt x="2572" y="137"/>
                    <a:pt x="2568" y="134"/>
                    <a:pt x="2569" y="134"/>
                  </a:cubicBezTo>
                  <a:cubicBezTo>
                    <a:pt x="2568" y="134"/>
                    <a:pt x="2561" y="140"/>
                    <a:pt x="2561" y="134"/>
                  </a:cubicBezTo>
                  <a:cubicBezTo>
                    <a:pt x="2558" y="135"/>
                    <a:pt x="2560" y="137"/>
                    <a:pt x="2561" y="137"/>
                  </a:cubicBezTo>
                  <a:cubicBezTo>
                    <a:pt x="2562" y="142"/>
                    <a:pt x="2551" y="138"/>
                    <a:pt x="2547" y="139"/>
                  </a:cubicBezTo>
                  <a:cubicBezTo>
                    <a:pt x="2547" y="137"/>
                    <a:pt x="2551" y="138"/>
                    <a:pt x="2553" y="137"/>
                  </a:cubicBezTo>
                  <a:cubicBezTo>
                    <a:pt x="2561" y="132"/>
                    <a:pt x="2569" y="128"/>
                    <a:pt x="2577" y="127"/>
                  </a:cubicBezTo>
                  <a:cubicBezTo>
                    <a:pt x="2578" y="127"/>
                    <a:pt x="2577" y="132"/>
                    <a:pt x="2578" y="132"/>
                  </a:cubicBezTo>
                  <a:cubicBezTo>
                    <a:pt x="2580" y="134"/>
                    <a:pt x="2586" y="128"/>
                    <a:pt x="2586" y="127"/>
                  </a:cubicBezTo>
                  <a:cubicBezTo>
                    <a:pt x="2587" y="128"/>
                    <a:pt x="2589" y="128"/>
                    <a:pt x="2591" y="129"/>
                  </a:cubicBezTo>
                  <a:cubicBezTo>
                    <a:pt x="2594" y="131"/>
                    <a:pt x="2595" y="131"/>
                    <a:pt x="2599" y="131"/>
                  </a:cubicBezTo>
                  <a:cubicBezTo>
                    <a:pt x="2601" y="132"/>
                    <a:pt x="2603" y="134"/>
                    <a:pt x="2602" y="134"/>
                  </a:cubicBezTo>
                  <a:cubicBezTo>
                    <a:pt x="2606" y="134"/>
                    <a:pt x="2608" y="130"/>
                    <a:pt x="2616" y="131"/>
                  </a:cubicBezTo>
                  <a:cubicBezTo>
                    <a:pt x="2617" y="131"/>
                    <a:pt x="2619" y="133"/>
                    <a:pt x="2619" y="133"/>
                  </a:cubicBezTo>
                  <a:cubicBezTo>
                    <a:pt x="2621" y="134"/>
                    <a:pt x="2623" y="131"/>
                    <a:pt x="2627" y="131"/>
                  </a:cubicBezTo>
                  <a:cubicBezTo>
                    <a:pt x="2626" y="131"/>
                    <a:pt x="2631" y="135"/>
                    <a:pt x="2632" y="133"/>
                  </a:cubicBezTo>
                  <a:cubicBezTo>
                    <a:pt x="2635" y="130"/>
                    <a:pt x="2634" y="133"/>
                    <a:pt x="2638" y="133"/>
                  </a:cubicBezTo>
                  <a:cubicBezTo>
                    <a:pt x="2642" y="133"/>
                    <a:pt x="2643" y="131"/>
                    <a:pt x="2646" y="131"/>
                  </a:cubicBezTo>
                  <a:cubicBezTo>
                    <a:pt x="2657" y="131"/>
                    <a:pt x="2670" y="132"/>
                    <a:pt x="2682" y="135"/>
                  </a:cubicBezTo>
                  <a:close/>
                  <a:moveTo>
                    <a:pt x="2665" y="116"/>
                  </a:moveTo>
                  <a:cubicBezTo>
                    <a:pt x="2665" y="119"/>
                    <a:pt x="2662" y="118"/>
                    <a:pt x="2660" y="119"/>
                  </a:cubicBezTo>
                  <a:cubicBezTo>
                    <a:pt x="2657" y="120"/>
                    <a:pt x="2657" y="124"/>
                    <a:pt x="2651" y="124"/>
                  </a:cubicBezTo>
                  <a:cubicBezTo>
                    <a:pt x="2653" y="122"/>
                    <a:pt x="2654" y="120"/>
                    <a:pt x="2654" y="116"/>
                  </a:cubicBezTo>
                  <a:cubicBezTo>
                    <a:pt x="2650" y="116"/>
                    <a:pt x="2645" y="126"/>
                    <a:pt x="2646" y="117"/>
                  </a:cubicBezTo>
                  <a:cubicBezTo>
                    <a:pt x="2650" y="117"/>
                    <a:pt x="2651" y="115"/>
                    <a:pt x="2651" y="112"/>
                  </a:cubicBezTo>
                  <a:cubicBezTo>
                    <a:pt x="2660" y="110"/>
                    <a:pt x="2657" y="118"/>
                    <a:pt x="2665" y="116"/>
                  </a:cubicBezTo>
                  <a:close/>
                  <a:moveTo>
                    <a:pt x="2673" y="107"/>
                  </a:moveTo>
                  <a:cubicBezTo>
                    <a:pt x="2664" y="110"/>
                    <a:pt x="2671" y="99"/>
                    <a:pt x="2662" y="102"/>
                  </a:cubicBezTo>
                  <a:cubicBezTo>
                    <a:pt x="2664" y="92"/>
                    <a:pt x="2681" y="102"/>
                    <a:pt x="2673" y="107"/>
                  </a:cubicBezTo>
                  <a:close/>
                  <a:moveTo>
                    <a:pt x="2724" y="24"/>
                  </a:moveTo>
                  <a:cubicBezTo>
                    <a:pt x="2718" y="17"/>
                    <a:pt x="2716" y="33"/>
                    <a:pt x="2715" y="19"/>
                  </a:cubicBezTo>
                  <a:cubicBezTo>
                    <a:pt x="2721" y="18"/>
                    <a:pt x="2724" y="19"/>
                    <a:pt x="2724" y="24"/>
                  </a:cubicBezTo>
                  <a:close/>
                  <a:moveTo>
                    <a:pt x="2694" y="71"/>
                  </a:moveTo>
                  <a:cubicBezTo>
                    <a:pt x="2697" y="71"/>
                    <a:pt x="2697" y="74"/>
                    <a:pt x="2697" y="76"/>
                  </a:cubicBezTo>
                  <a:cubicBezTo>
                    <a:pt x="2700" y="76"/>
                    <a:pt x="2702" y="75"/>
                    <a:pt x="2703" y="73"/>
                  </a:cubicBezTo>
                  <a:cubicBezTo>
                    <a:pt x="2706" y="75"/>
                    <a:pt x="2708" y="78"/>
                    <a:pt x="2708" y="83"/>
                  </a:cubicBezTo>
                  <a:cubicBezTo>
                    <a:pt x="2703" y="77"/>
                    <a:pt x="2689" y="81"/>
                    <a:pt x="2694" y="71"/>
                  </a:cubicBezTo>
                  <a:close/>
                  <a:moveTo>
                    <a:pt x="2700" y="106"/>
                  </a:moveTo>
                  <a:cubicBezTo>
                    <a:pt x="2698" y="104"/>
                    <a:pt x="2690" y="106"/>
                    <a:pt x="2692" y="99"/>
                  </a:cubicBezTo>
                  <a:cubicBezTo>
                    <a:pt x="2698" y="99"/>
                    <a:pt x="2701" y="101"/>
                    <a:pt x="2700" y="106"/>
                  </a:cubicBezTo>
                  <a:close/>
                  <a:moveTo>
                    <a:pt x="2698" y="97"/>
                  </a:moveTo>
                  <a:cubicBezTo>
                    <a:pt x="2698" y="95"/>
                    <a:pt x="2701" y="95"/>
                    <a:pt x="2703" y="94"/>
                  </a:cubicBezTo>
                  <a:cubicBezTo>
                    <a:pt x="2705" y="94"/>
                    <a:pt x="2707" y="94"/>
                    <a:pt x="2708" y="94"/>
                  </a:cubicBezTo>
                  <a:cubicBezTo>
                    <a:pt x="2708" y="98"/>
                    <a:pt x="2702" y="96"/>
                    <a:pt x="2698" y="97"/>
                  </a:cubicBezTo>
                  <a:close/>
                  <a:moveTo>
                    <a:pt x="2722" y="99"/>
                  </a:moveTo>
                  <a:cubicBezTo>
                    <a:pt x="2722" y="101"/>
                    <a:pt x="2725" y="101"/>
                    <a:pt x="2725" y="101"/>
                  </a:cubicBezTo>
                  <a:cubicBezTo>
                    <a:pt x="2725" y="105"/>
                    <a:pt x="2721" y="107"/>
                    <a:pt x="2725" y="108"/>
                  </a:cubicBezTo>
                  <a:cubicBezTo>
                    <a:pt x="2726" y="109"/>
                    <a:pt x="2720" y="111"/>
                    <a:pt x="2720" y="111"/>
                  </a:cubicBezTo>
                  <a:cubicBezTo>
                    <a:pt x="2717" y="108"/>
                    <a:pt x="2722" y="104"/>
                    <a:pt x="2717" y="104"/>
                  </a:cubicBezTo>
                  <a:cubicBezTo>
                    <a:pt x="2713" y="103"/>
                    <a:pt x="2717" y="101"/>
                    <a:pt x="2717" y="99"/>
                  </a:cubicBezTo>
                  <a:cubicBezTo>
                    <a:pt x="2717" y="97"/>
                    <a:pt x="2716" y="97"/>
                    <a:pt x="2714" y="97"/>
                  </a:cubicBezTo>
                  <a:cubicBezTo>
                    <a:pt x="2707" y="92"/>
                    <a:pt x="2720" y="98"/>
                    <a:pt x="2725" y="96"/>
                  </a:cubicBezTo>
                  <a:cubicBezTo>
                    <a:pt x="2727" y="99"/>
                    <a:pt x="2722" y="98"/>
                    <a:pt x="2722" y="99"/>
                  </a:cubicBezTo>
                  <a:close/>
                  <a:moveTo>
                    <a:pt x="2733" y="99"/>
                  </a:moveTo>
                  <a:cubicBezTo>
                    <a:pt x="2732" y="91"/>
                    <a:pt x="2741" y="92"/>
                    <a:pt x="2741" y="87"/>
                  </a:cubicBezTo>
                  <a:cubicBezTo>
                    <a:pt x="2744" y="79"/>
                    <a:pt x="2745" y="104"/>
                    <a:pt x="2733" y="99"/>
                  </a:cubicBezTo>
                  <a:close/>
                  <a:moveTo>
                    <a:pt x="2736" y="106"/>
                  </a:moveTo>
                  <a:cubicBezTo>
                    <a:pt x="2736" y="102"/>
                    <a:pt x="2748" y="108"/>
                    <a:pt x="2747" y="112"/>
                  </a:cubicBezTo>
                  <a:cubicBezTo>
                    <a:pt x="2738" y="115"/>
                    <a:pt x="2741" y="106"/>
                    <a:pt x="2736" y="106"/>
                  </a:cubicBezTo>
                  <a:close/>
                  <a:moveTo>
                    <a:pt x="2766" y="79"/>
                  </a:moveTo>
                  <a:cubicBezTo>
                    <a:pt x="2767" y="75"/>
                    <a:pt x="2769" y="81"/>
                    <a:pt x="2769" y="84"/>
                  </a:cubicBezTo>
                  <a:cubicBezTo>
                    <a:pt x="2768" y="88"/>
                    <a:pt x="2765" y="82"/>
                    <a:pt x="2766" y="79"/>
                  </a:cubicBezTo>
                  <a:close/>
                  <a:moveTo>
                    <a:pt x="2762" y="23"/>
                  </a:moveTo>
                  <a:cubicBezTo>
                    <a:pt x="2767" y="22"/>
                    <a:pt x="2766" y="33"/>
                    <a:pt x="2759" y="30"/>
                  </a:cubicBezTo>
                  <a:cubicBezTo>
                    <a:pt x="2759" y="28"/>
                    <a:pt x="2759" y="27"/>
                    <a:pt x="2759" y="25"/>
                  </a:cubicBezTo>
                  <a:cubicBezTo>
                    <a:pt x="2762" y="26"/>
                    <a:pt x="2762" y="24"/>
                    <a:pt x="2762" y="23"/>
                  </a:cubicBezTo>
                  <a:close/>
                  <a:moveTo>
                    <a:pt x="2757" y="35"/>
                  </a:moveTo>
                  <a:cubicBezTo>
                    <a:pt x="2761" y="35"/>
                    <a:pt x="2758" y="42"/>
                    <a:pt x="2762" y="42"/>
                  </a:cubicBezTo>
                  <a:cubicBezTo>
                    <a:pt x="2759" y="49"/>
                    <a:pt x="2751" y="37"/>
                    <a:pt x="2757" y="35"/>
                  </a:cubicBezTo>
                  <a:close/>
                  <a:moveTo>
                    <a:pt x="2761" y="100"/>
                  </a:moveTo>
                  <a:cubicBezTo>
                    <a:pt x="2757" y="99"/>
                    <a:pt x="2756" y="96"/>
                    <a:pt x="2755" y="91"/>
                  </a:cubicBezTo>
                  <a:cubicBezTo>
                    <a:pt x="2763" y="89"/>
                    <a:pt x="2760" y="96"/>
                    <a:pt x="2761" y="100"/>
                  </a:cubicBezTo>
                  <a:close/>
                  <a:moveTo>
                    <a:pt x="2769" y="112"/>
                  </a:moveTo>
                  <a:cubicBezTo>
                    <a:pt x="2767" y="112"/>
                    <a:pt x="2765" y="112"/>
                    <a:pt x="2764" y="112"/>
                  </a:cubicBezTo>
                  <a:cubicBezTo>
                    <a:pt x="2764" y="110"/>
                    <a:pt x="2763" y="110"/>
                    <a:pt x="2761" y="110"/>
                  </a:cubicBezTo>
                  <a:cubicBezTo>
                    <a:pt x="2760" y="105"/>
                    <a:pt x="2773" y="106"/>
                    <a:pt x="2769" y="112"/>
                  </a:cubicBezTo>
                  <a:close/>
                  <a:moveTo>
                    <a:pt x="2780" y="86"/>
                  </a:moveTo>
                  <a:cubicBezTo>
                    <a:pt x="2775" y="84"/>
                    <a:pt x="2779" y="82"/>
                    <a:pt x="2780" y="79"/>
                  </a:cubicBezTo>
                  <a:cubicBezTo>
                    <a:pt x="2785" y="81"/>
                    <a:pt x="2780" y="83"/>
                    <a:pt x="2780" y="86"/>
                  </a:cubicBezTo>
                  <a:close/>
                  <a:moveTo>
                    <a:pt x="2787" y="11"/>
                  </a:moveTo>
                  <a:cubicBezTo>
                    <a:pt x="2783" y="10"/>
                    <a:pt x="2784" y="5"/>
                    <a:pt x="2784" y="1"/>
                  </a:cubicBezTo>
                  <a:cubicBezTo>
                    <a:pt x="2795" y="0"/>
                    <a:pt x="2785" y="6"/>
                    <a:pt x="2787" y="11"/>
                  </a:cubicBezTo>
                  <a:close/>
                  <a:moveTo>
                    <a:pt x="2795" y="43"/>
                  </a:moveTo>
                  <a:cubicBezTo>
                    <a:pt x="2792" y="43"/>
                    <a:pt x="2793" y="39"/>
                    <a:pt x="2793" y="36"/>
                  </a:cubicBezTo>
                  <a:cubicBezTo>
                    <a:pt x="2797" y="35"/>
                    <a:pt x="2798" y="38"/>
                    <a:pt x="2798" y="41"/>
                  </a:cubicBezTo>
                  <a:cubicBezTo>
                    <a:pt x="2796" y="41"/>
                    <a:pt x="2795" y="42"/>
                    <a:pt x="2795" y="43"/>
                  </a:cubicBezTo>
                  <a:close/>
                  <a:moveTo>
                    <a:pt x="2791" y="123"/>
                  </a:moveTo>
                  <a:cubicBezTo>
                    <a:pt x="2792" y="121"/>
                    <a:pt x="2794" y="121"/>
                    <a:pt x="2794" y="119"/>
                  </a:cubicBezTo>
                  <a:cubicBezTo>
                    <a:pt x="2796" y="119"/>
                    <a:pt x="2798" y="119"/>
                    <a:pt x="2799" y="119"/>
                  </a:cubicBezTo>
                  <a:cubicBezTo>
                    <a:pt x="2801" y="124"/>
                    <a:pt x="2796" y="123"/>
                    <a:pt x="2791" y="123"/>
                  </a:cubicBezTo>
                  <a:close/>
                  <a:moveTo>
                    <a:pt x="2808" y="126"/>
                  </a:moveTo>
                  <a:cubicBezTo>
                    <a:pt x="2802" y="125"/>
                    <a:pt x="2802" y="120"/>
                    <a:pt x="2802" y="114"/>
                  </a:cubicBezTo>
                  <a:cubicBezTo>
                    <a:pt x="2805" y="118"/>
                    <a:pt x="2813" y="121"/>
                    <a:pt x="2808" y="126"/>
                  </a:cubicBezTo>
                  <a:close/>
                  <a:moveTo>
                    <a:pt x="2819" y="114"/>
                  </a:moveTo>
                  <a:cubicBezTo>
                    <a:pt x="2815" y="114"/>
                    <a:pt x="2817" y="116"/>
                    <a:pt x="2819" y="116"/>
                  </a:cubicBezTo>
                  <a:cubicBezTo>
                    <a:pt x="2812" y="124"/>
                    <a:pt x="2808" y="109"/>
                    <a:pt x="2810" y="102"/>
                  </a:cubicBezTo>
                  <a:cubicBezTo>
                    <a:pt x="2814" y="103"/>
                    <a:pt x="2816" y="105"/>
                    <a:pt x="2816" y="109"/>
                  </a:cubicBezTo>
                  <a:cubicBezTo>
                    <a:pt x="2823" y="106"/>
                    <a:pt x="2821" y="98"/>
                    <a:pt x="2827" y="109"/>
                  </a:cubicBezTo>
                  <a:cubicBezTo>
                    <a:pt x="2827" y="110"/>
                    <a:pt x="2829" y="108"/>
                    <a:pt x="2830" y="111"/>
                  </a:cubicBezTo>
                  <a:cubicBezTo>
                    <a:pt x="2830" y="113"/>
                    <a:pt x="2829" y="116"/>
                    <a:pt x="2830" y="118"/>
                  </a:cubicBezTo>
                  <a:cubicBezTo>
                    <a:pt x="2822" y="120"/>
                    <a:pt x="2824" y="113"/>
                    <a:pt x="2819" y="114"/>
                  </a:cubicBezTo>
                  <a:close/>
                  <a:moveTo>
                    <a:pt x="2846" y="111"/>
                  </a:moveTo>
                  <a:cubicBezTo>
                    <a:pt x="2845" y="114"/>
                    <a:pt x="2843" y="116"/>
                    <a:pt x="2838" y="116"/>
                  </a:cubicBezTo>
                  <a:cubicBezTo>
                    <a:pt x="2839" y="113"/>
                    <a:pt x="2841" y="111"/>
                    <a:pt x="2846" y="111"/>
                  </a:cubicBezTo>
                  <a:close/>
                  <a:moveTo>
                    <a:pt x="2851" y="64"/>
                  </a:moveTo>
                  <a:cubicBezTo>
                    <a:pt x="2860" y="64"/>
                    <a:pt x="2850" y="70"/>
                    <a:pt x="2856" y="71"/>
                  </a:cubicBezTo>
                  <a:cubicBezTo>
                    <a:pt x="2853" y="78"/>
                    <a:pt x="2848" y="68"/>
                    <a:pt x="2851" y="64"/>
                  </a:cubicBezTo>
                  <a:close/>
                  <a:moveTo>
                    <a:pt x="2862" y="87"/>
                  </a:moveTo>
                  <a:cubicBezTo>
                    <a:pt x="2860" y="80"/>
                    <a:pt x="2866" y="81"/>
                    <a:pt x="2865" y="75"/>
                  </a:cubicBezTo>
                  <a:cubicBezTo>
                    <a:pt x="2868" y="75"/>
                    <a:pt x="2866" y="78"/>
                    <a:pt x="2867" y="80"/>
                  </a:cubicBezTo>
                  <a:cubicBezTo>
                    <a:pt x="2867" y="80"/>
                    <a:pt x="2873" y="84"/>
                    <a:pt x="2873" y="82"/>
                  </a:cubicBezTo>
                  <a:cubicBezTo>
                    <a:pt x="2872" y="86"/>
                    <a:pt x="2868" y="85"/>
                    <a:pt x="2862" y="87"/>
                  </a:cubicBezTo>
                  <a:close/>
                  <a:moveTo>
                    <a:pt x="2867" y="54"/>
                  </a:moveTo>
                  <a:cubicBezTo>
                    <a:pt x="2868" y="53"/>
                    <a:pt x="2871" y="54"/>
                    <a:pt x="2870" y="52"/>
                  </a:cubicBezTo>
                  <a:cubicBezTo>
                    <a:pt x="2883" y="60"/>
                    <a:pt x="2857" y="64"/>
                    <a:pt x="2867" y="54"/>
                  </a:cubicBezTo>
                  <a:close/>
                  <a:moveTo>
                    <a:pt x="2875" y="40"/>
                  </a:moveTo>
                  <a:cubicBezTo>
                    <a:pt x="2876" y="34"/>
                    <a:pt x="2879" y="29"/>
                    <a:pt x="2869" y="28"/>
                  </a:cubicBezTo>
                  <a:cubicBezTo>
                    <a:pt x="2875" y="17"/>
                    <a:pt x="2888" y="40"/>
                    <a:pt x="2875" y="40"/>
                  </a:cubicBezTo>
                  <a:close/>
                  <a:moveTo>
                    <a:pt x="2881" y="91"/>
                  </a:moveTo>
                  <a:cubicBezTo>
                    <a:pt x="2881" y="90"/>
                    <a:pt x="2881" y="88"/>
                    <a:pt x="2881" y="87"/>
                  </a:cubicBezTo>
                  <a:cubicBezTo>
                    <a:pt x="2883" y="87"/>
                    <a:pt x="2885" y="87"/>
                    <a:pt x="2887" y="87"/>
                  </a:cubicBezTo>
                  <a:cubicBezTo>
                    <a:pt x="2887" y="88"/>
                    <a:pt x="2887" y="90"/>
                    <a:pt x="2887" y="91"/>
                  </a:cubicBezTo>
                  <a:cubicBezTo>
                    <a:pt x="2885" y="91"/>
                    <a:pt x="2883" y="91"/>
                    <a:pt x="288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9" name="Freeform 20"/>
            <p:cNvSpPr>
              <a:spLocks/>
            </p:cNvSpPr>
            <p:nvPr userDrawn="1"/>
          </p:nvSpPr>
          <p:spPr bwMode="auto">
            <a:xfrm>
              <a:off x="5827" y="2112"/>
              <a:ext cx="11" cy="12"/>
            </a:xfrm>
            <a:custGeom>
              <a:avLst/>
              <a:gdLst>
                <a:gd name="T0" fmla="*/ 0 w 5"/>
                <a:gd name="T1" fmla="*/ 5 h 5"/>
                <a:gd name="T2" fmla="*/ 5 w 5"/>
                <a:gd name="T3" fmla="*/ 5 h 5"/>
                <a:gd name="T4" fmla="*/ 5 w 5"/>
                <a:gd name="T5" fmla="*/ 0 h 5"/>
                <a:gd name="T6" fmla="*/ 0 w 5"/>
                <a:gd name="T7" fmla="*/ 0 h 5"/>
                <a:gd name="T8" fmla="*/ 0 w 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cubicBezTo>
                    <a:pt x="1" y="5"/>
                    <a:pt x="3" y="5"/>
                    <a:pt x="5" y="5"/>
                  </a:cubicBezTo>
                  <a:cubicBezTo>
                    <a:pt x="5" y="3"/>
                    <a:pt x="5" y="2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2"/>
                    <a:pt x="0" y="3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0" name="Freeform 21"/>
            <p:cNvSpPr>
              <a:spLocks/>
            </p:cNvSpPr>
            <p:nvPr userDrawn="1"/>
          </p:nvSpPr>
          <p:spPr bwMode="auto">
            <a:xfrm>
              <a:off x="5373" y="2207"/>
              <a:ext cx="33" cy="47"/>
            </a:xfrm>
            <a:custGeom>
              <a:avLst/>
              <a:gdLst>
                <a:gd name="T0" fmla="*/ 11 w 14"/>
                <a:gd name="T1" fmla="*/ 1 h 20"/>
                <a:gd name="T2" fmla="*/ 12 w 14"/>
                <a:gd name="T3" fmla="*/ 20 h 20"/>
                <a:gd name="T4" fmla="*/ 11 w 14"/>
                <a:gd name="T5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0">
                  <a:moveTo>
                    <a:pt x="11" y="1"/>
                  </a:moveTo>
                  <a:cubicBezTo>
                    <a:pt x="0" y="0"/>
                    <a:pt x="6" y="19"/>
                    <a:pt x="12" y="20"/>
                  </a:cubicBezTo>
                  <a:cubicBezTo>
                    <a:pt x="14" y="10"/>
                    <a:pt x="5" y="6"/>
                    <a:pt x="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1" name="Freeform 22"/>
            <p:cNvSpPr>
              <a:spLocks/>
            </p:cNvSpPr>
            <p:nvPr userDrawn="1"/>
          </p:nvSpPr>
          <p:spPr bwMode="auto">
            <a:xfrm>
              <a:off x="6280" y="2349"/>
              <a:ext cx="12" cy="12"/>
            </a:xfrm>
            <a:custGeom>
              <a:avLst/>
              <a:gdLst>
                <a:gd name="T0" fmla="*/ 1 w 5"/>
                <a:gd name="T1" fmla="*/ 5 h 5"/>
                <a:gd name="T2" fmla="*/ 5 w 5"/>
                <a:gd name="T3" fmla="*/ 4 h 5"/>
                <a:gd name="T4" fmla="*/ 5 w 5"/>
                <a:gd name="T5" fmla="*/ 0 h 5"/>
                <a:gd name="T6" fmla="*/ 1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1" y="5"/>
                  </a:moveTo>
                  <a:cubicBezTo>
                    <a:pt x="3" y="4"/>
                    <a:pt x="4" y="4"/>
                    <a:pt x="5" y="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2" name="Freeform 23"/>
            <p:cNvSpPr>
              <a:spLocks/>
            </p:cNvSpPr>
            <p:nvPr userDrawn="1"/>
          </p:nvSpPr>
          <p:spPr bwMode="auto">
            <a:xfrm>
              <a:off x="4920" y="2209"/>
              <a:ext cx="21" cy="14"/>
            </a:xfrm>
            <a:custGeom>
              <a:avLst/>
              <a:gdLst>
                <a:gd name="T0" fmla="*/ 0 w 9"/>
                <a:gd name="T1" fmla="*/ 1 h 6"/>
                <a:gd name="T2" fmla="*/ 0 w 9"/>
                <a:gd name="T3" fmla="*/ 6 h 6"/>
                <a:gd name="T4" fmla="*/ 8 w 9"/>
                <a:gd name="T5" fmla="*/ 6 h 6"/>
                <a:gd name="T6" fmla="*/ 0 w 9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6">
                  <a:moveTo>
                    <a:pt x="0" y="1"/>
                  </a:moveTo>
                  <a:cubicBezTo>
                    <a:pt x="0" y="3"/>
                    <a:pt x="0" y="4"/>
                    <a:pt x="0" y="6"/>
                  </a:cubicBezTo>
                  <a:cubicBezTo>
                    <a:pt x="3" y="6"/>
                    <a:pt x="6" y="6"/>
                    <a:pt x="8" y="6"/>
                  </a:cubicBezTo>
                  <a:cubicBezTo>
                    <a:pt x="9" y="1"/>
                    <a:pt x="6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3" name="Freeform 24"/>
            <p:cNvSpPr>
              <a:spLocks/>
            </p:cNvSpPr>
            <p:nvPr userDrawn="1"/>
          </p:nvSpPr>
          <p:spPr bwMode="auto">
            <a:xfrm>
              <a:off x="5647" y="2205"/>
              <a:ext cx="31" cy="16"/>
            </a:xfrm>
            <a:custGeom>
              <a:avLst/>
              <a:gdLst>
                <a:gd name="T0" fmla="*/ 13 w 13"/>
                <a:gd name="T1" fmla="*/ 2 h 7"/>
                <a:gd name="T2" fmla="*/ 8 w 13"/>
                <a:gd name="T3" fmla="*/ 0 h 7"/>
                <a:gd name="T4" fmla="*/ 13 w 13"/>
                <a:gd name="T5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7">
                  <a:moveTo>
                    <a:pt x="13" y="2"/>
                  </a:moveTo>
                  <a:cubicBezTo>
                    <a:pt x="10" y="2"/>
                    <a:pt x="10" y="0"/>
                    <a:pt x="8" y="0"/>
                  </a:cubicBezTo>
                  <a:cubicBezTo>
                    <a:pt x="0" y="5"/>
                    <a:pt x="13" y="7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4" name="Freeform 25"/>
            <p:cNvSpPr>
              <a:spLocks/>
            </p:cNvSpPr>
            <p:nvPr userDrawn="1"/>
          </p:nvSpPr>
          <p:spPr bwMode="auto">
            <a:xfrm>
              <a:off x="5928" y="2372"/>
              <a:ext cx="31" cy="36"/>
            </a:xfrm>
            <a:custGeom>
              <a:avLst/>
              <a:gdLst>
                <a:gd name="T0" fmla="*/ 0 w 13"/>
                <a:gd name="T1" fmla="*/ 7 h 15"/>
                <a:gd name="T2" fmla="*/ 8 w 13"/>
                <a:gd name="T3" fmla="*/ 4 h 15"/>
                <a:gd name="T4" fmla="*/ 13 w 13"/>
                <a:gd name="T5" fmla="*/ 9 h 15"/>
                <a:gd name="T6" fmla="*/ 11 w 13"/>
                <a:gd name="T7" fmla="*/ 7 h 15"/>
                <a:gd name="T8" fmla="*/ 13 w 13"/>
                <a:gd name="T9" fmla="*/ 0 h 15"/>
                <a:gd name="T10" fmla="*/ 0 w 13"/>
                <a:gd name="T1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cubicBezTo>
                    <a:pt x="3" y="7"/>
                    <a:pt x="6" y="6"/>
                    <a:pt x="8" y="4"/>
                  </a:cubicBezTo>
                  <a:cubicBezTo>
                    <a:pt x="5" y="9"/>
                    <a:pt x="12" y="15"/>
                    <a:pt x="13" y="9"/>
                  </a:cubicBezTo>
                  <a:cubicBezTo>
                    <a:pt x="12" y="9"/>
                    <a:pt x="10" y="8"/>
                    <a:pt x="11" y="7"/>
                  </a:cubicBezTo>
                  <a:cubicBezTo>
                    <a:pt x="11" y="6"/>
                    <a:pt x="12" y="0"/>
                    <a:pt x="13" y="0"/>
                  </a:cubicBezTo>
                  <a:cubicBezTo>
                    <a:pt x="10" y="3"/>
                    <a:pt x="0" y="1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5" name="Freeform 26"/>
            <p:cNvSpPr>
              <a:spLocks/>
            </p:cNvSpPr>
            <p:nvPr userDrawn="1"/>
          </p:nvSpPr>
          <p:spPr bwMode="auto">
            <a:xfrm>
              <a:off x="5361" y="2202"/>
              <a:ext cx="19" cy="14"/>
            </a:xfrm>
            <a:custGeom>
              <a:avLst/>
              <a:gdLst>
                <a:gd name="T0" fmla="*/ 0 w 8"/>
                <a:gd name="T1" fmla="*/ 1 h 6"/>
                <a:gd name="T2" fmla="*/ 0 w 8"/>
                <a:gd name="T3" fmla="*/ 6 h 6"/>
                <a:gd name="T4" fmla="*/ 8 w 8"/>
                <a:gd name="T5" fmla="*/ 5 h 6"/>
                <a:gd name="T6" fmla="*/ 0 w 8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6">
                  <a:moveTo>
                    <a:pt x="0" y="1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2" y="5"/>
                    <a:pt x="5" y="5"/>
                    <a:pt x="8" y="5"/>
                  </a:cubicBezTo>
                  <a:cubicBezTo>
                    <a:pt x="8" y="1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6" name="Freeform 27"/>
            <p:cNvSpPr>
              <a:spLocks/>
            </p:cNvSpPr>
            <p:nvPr userDrawn="1"/>
          </p:nvSpPr>
          <p:spPr bwMode="auto">
            <a:xfrm>
              <a:off x="5990" y="2375"/>
              <a:ext cx="21" cy="33"/>
            </a:xfrm>
            <a:custGeom>
              <a:avLst/>
              <a:gdLst>
                <a:gd name="T0" fmla="*/ 4 w 9"/>
                <a:gd name="T1" fmla="*/ 1 h 14"/>
                <a:gd name="T2" fmla="*/ 1 w 9"/>
                <a:gd name="T3" fmla="*/ 10 h 14"/>
                <a:gd name="T4" fmla="*/ 4 w 9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4" y="1"/>
                  </a:moveTo>
                  <a:cubicBezTo>
                    <a:pt x="3" y="4"/>
                    <a:pt x="0" y="5"/>
                    <a:pt x="1" y="10"/>
                  </a:cubicBezTo>
                  <a:cubicBezTo>
                    <a:pt x="9" y="14"/>
                    <a:pt x="9" y="0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</p:grp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46618" y="1930400"/>
            <a:ext cx="11169649" cy="38703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buClr>
                <a:srgbClr val="49853E"/>
              </a:buClr>
              <a:buNone/>
              <a:defRPr sz="2000"/>
            </a:lvl1pPr>
            <a:lvl2pPr marL="179388" indent="-179388">
              <a:lnSpc>
                <a:spcPct val="95000"/>
              </a:lnSpc>
              <a:spcBef>
                <a:spcPts val="1000"/>
              </a:spcBef>
              <a:buClr>
                <a:srgbClr val="442E54"/>
              </a:buClr>
              <a:buFont typeface="Arial" panose="020B0604020202020204" pitchFamily="34" charset="0"/>
              <a:buChar char="•"/>
              <a:defRPr sz="2000"/>
            </a:lvl2pPr>
            <a:lvl3pPr marL="358775" indent="-179388">
              <a:lnSpc>
                <a:spcPct val="95000"/>
              </a:lnSpc>
              <a:spcBef>
                <a:spcPts val="400"/>
              </a:spcBef>
              <a:buClr>
                <a:srgbClr val="442E54"/>
              </a:buClr>
              <a:buFont typeface="Arial" panose="020B0604020202020204" pitchFamily="34" charset="0"/>
              <a:buChar char="–"/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46618" y="1440000"/>
            <a:ext cx="11169649" cy="381000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2400" b="0">
                <a:solidFill>
                  <a:srgbClr val="442E54"/>
                </a:solidFill>
                <a:latin typeface="Fungo" pitchFamily="50" charset="0"/>
              </a:defRPr>
            </a:lvl1pPr>
          </a:lstStyle>
          <a:p>
            <a:pPr lvl="0"/>
            <a:r>
              <a:rPr lang="en-US"/>
              <a:t>Sub heading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205883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Group 5"/>
          <p:cNvGrpSpPr>
            <a:grpSpLocks noChangeAspect="1"/>
          </p:cNvGrpSpPr>
          <p:nvPr userDrawn="1"/>
        </p:nvGrpSpPr>
        <p:grpSpPr bwMode="auto">
          <a:xfrm>
            <a:off x="-12000" y="0"/>
            <a:ext cx="12216000" cy="1178432"/>
            <a:chOff x="-530" y="1723"/>
            <a:chExt cx="6834" cy="879"/>
          </a:xfrm>
          <a:solidFill>
            <a:schemeClr val="accent1"/>
          </a:solidFill>
        </p:grpSpPr>
        <p:sp>
          <p:nvSpPr>
            <p:cNvPr id="58" name="Freeform 6"/>
            <p:cNvSpPr>
              <a:spLocks/>
            </p:cNvSpPr>
            <p:nvPr userDrawn="1"/>
          </p:nvSpPr>
          <p:spPr bwMode="auto">
            <a:xfrm>
              <a:off x="4076" y="2427"/>
              <a:ext cx="45" cy="49"/>
            </a:xfrm>
            <a:custGeom>
              <a:avLst/>
              <a:gdLst>
                <a:gd name="T0" fmla="*/ 8 w 19"/>
                <a:gd name="T1" fmla="*/ 14 h 21"/>
                <a:gd name="T2" fmla="*/ 11 w 19"/>
                <a:gd name="T3" fmla="*/ 21 h 21"/>
                <a:gd name="T4" fmla="*/ 16 w 19"/>
                <a:gd name="T5" fmla="*/ 2 h 21"/>
                <a:gd name="T6" fmla="*/ 8 w 19"/>
                <a:gd name="T7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8" y="14"/>
                  </a:moveTo>
                  <a:cubicBezTo>
                    <a:pt x="9" y="17"/>
                    <a:pt x="7" y="21"/>
                    <a:pt x="11" y="21"/>
                  </a:cubicBezTo>
                  <a:cubicBezTo>
                    <a:pt x="16" y="14"/>
                    <a:pt x="19" y="12"/>
                    <a:pt x="16" y="2"/>
                  </a:cubicBezTo>
                  <a:cubicBezTo>
                    <a:pt x="0" y="0"/>
                    <a:pt x="7" y="11"/>
                    <a:pt x="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9" name="Freeform 7"/>
            <p:cNvSpPr>
              <a:spLocks/>
            </p:cNvSpPr>
            <p:nvPr userDrawn="1"/>
          </p:nvSpPr>
          <p:spPr bwMode="auto">
            <a:xfrm>
              <a:off x="5264" y="2389"/>
              <a:ext cx="22" cy="12"/>
            </a:xfrm>
            <a:custGeom>
              <a:avLst/>
              <a:gdLst>
                <a:gd name="T0" fmla="*/ 1 w 9"/>
                <a:gd name="T1" fmla="*/ 5 h 5"/>
                <a:gd name="T2" fmla="*/ 9 w 9"/>
                <a:gd name="T3" fmla="*/ 0 h 5"/>
                <a:gd name="T4" fmla="*/ 1 w 9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5">
                  <a:moveTo>
                    <a:pt x="1" y="5"/>
                  </a:moveTo>
                  <a:cubicBezTo>
                    <a:pt x="6" y="5"/>
                    <a:pt x="8" y="3"/>
                    <a:pt x="9" y="0"/>
                  </a:cubicBezTo>
                  <a:cubicBezTo>
                    <a:pt x="5" y="0"/>
                    <a:pt x="0" y="0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0" name="Freeform 8"/>
            <p:cNvSpPr>
              <a:spLocks/>
            </p:cNvSpPr>
            <p:nvPr userDrawn="1"/>
          </p:nvSpPr>
          <p:spPr bwMode="auto">
            <a:xfrm>
              <a:off x="5659" y="2375"/>
              <a:ext cx="28" cy="35"/>
            </a:xfrm>
            <a:custGeom>
              <a:avLst/>
              <a:gdLst>
                <a:gd name="T0" fmla="*/ 7 w 12"/>
                <a:gd name="T1" fmla="*/ 5 h 15"/>
                <a:gd name="T2" fmla="*/ 4 w 12"/>
                <a:gd name="T3" fmla="*/ 8 h 15"/>
                <a:gd name="T4" fmla="*/ 1 w 12"/>
                <a:gd name="T5" fmla="*/ 6 h 15"/>
                <a:gd name="T6" fmla="*/ 4 w 12"/>
                <a:gd name="T7" fmla="*/ 15 h 15"/>
                <a:gd name="T8" fmla="*/ 7 w 12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7" y="5"/>
                  </a:moveTo>
                  <a:cubicBezTo>
                    <a:pt x="7" y="7"/>
                    <a:pt x="6" y="8"/>
                    <a:pt x="4" y="8"/>
                  </a:cubicBezTo>
                  <a:cubicBezTo>
                    <a:pt x="4" y="6"/>
                    <a:pt x="4" y="5"/>
                    <a:pt x="1" y="6"/>
                  </a:cubicBezTo>
                  <a:cubicBezTo>
                    <a:pt x="2" y="9"/>
                    <a:pt x="0" y="14"/>
                    <a:pt x="4" y="15"/>
                  </a:cubicBezTo>
                  <a:cubicBezTo>
                    <a:pt x="6" y="13"/>
                    <a:pt x="12" y="0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1" name="Freeform 9"/>
            <p:cNvSpPr>
              <a:spLocks/>
            </p:cNvSpPr>
            <p:nvPr userDrawn="1"/>
          </p:nvSpPr>
          <p:spPr bwMode="auto">
            <a:xfrm>
              <a:off x="6155" y="2018"/>
              <a:ext cx="68" cy="35"/>
            </a:xfrm>
            <a:custGeom>
              <a:avLst/>
              <a:gdLst>
                <a:gd name="T0" fmla="*/ 16 w 29"/>
                <a:gd name="T1" fmla="*/ 12 h 15"/>
                <a:gd name="T2" fmla="*/ 27 w 29"/>
                <a:gd name="T3" fmla="*/ 7 h 15"/>
                <a:gd name="T4" fmla="*/ 5 w 29"/>
                <a:gd name="T5" fmla="*/ 0 h 15"/>
                <a:gd name="T6" fmla="*/ 3 w 29"/>
                <a:gd name="T7" fmla="*/ 12 h 15"/>
                <a:gd name="T8" fmla="*/ 16 w 29"/>
                <a:gd name="T9" fmla="*/ 7 h 15"/>
                <a:gd name="T10" fmla="*/ 16 w 29"/>
                <a:gd name="T11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5">
                  <a:moveTo>
                    <a:pt x="16" y="12"/>
                  </a:moveTo>
                  <a:cubicBezTo>
                    <a:pt x="21" y="15"/>
                    <a:pt x="29" y="8"/>
                    <a:pt x="27" y="7"/>
                  </a:cubicBezTo>
                  <a:cubicBezTo>
                    <a:pt x="24" y="1"/>
                    <a:pt x="11" y="3"/>
                    <a:pt x="5" y="0"/>
                  </a:cubicBezTo>
                  <a:cubicBezTo>
                    <a:pt x="6" y="6"/>
                    <a:pt x="0" y="5"/>
                    <a:pt x="3" y="12"/>
                  </a:cubicBezTo>
                  <a:cubicBezTo>
                    <a:pt x="11" y="15"/>
                    <a:pt x="10" y="8"/>
                    <a:pt x="16" y="7"/>
                  </a:cubicBezTo>
                  <a:cubicBezTo>
                    <a:pt x="16" y="7"/>
                    <a:pt x="16" y="11"/>
                    <a:pt x="1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2" name="Freeform 10"/>
            <p:cNvSpPr>
              <a:spLocks/>
            </p:cNvSpPr>
            <p:nvPr userDrawn="1"/>
          </p:nvSpPr>
          <p:spPr bwMode="auto">
            <a:xfrm>
              <a:off x="5633" y="2365"/>
              <a:ext cx="24" cy="29"/>
            </a:xfrm>
            <a:custGeom>
              <a:avLst/>
              <a:gdLst>
                <a:gd name="T0" fmla="*/ 4 w 10"/>
                <a:gd name="T1" fmla="*/ 0 h 12"/>
                <a:gd name="T2" fmla="*/ 7 w 10"/>
                <a:gd name="T3" fmla="*/ 12 h 12"/>
                <a:gd name="T4" fmla="*/ 4 w 10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4" y="0"/>
                  </a:moveTo>
                  <a:cubicBezTo>
                    <a:pt x="0" y="3"/>
                    <a:pt x="3" y="9"/>
                    <a:pt x="7" y="12"/>
                  </a:cubicBezTo>
                  <a:cubicBezTo>
                    <a:pt x="10" y="9"/>
                    <a:pt x="8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3" name="Freeform 11"/>
            <p:cNvSpPr>
              <a:spLocks/>
            </p:cNvSpPr>
            <p:nvPr userDrawn="1"/>
          </p:nvSpPr>
          <p:spPr bwMode="auto">
            <a:xfrm>
              <a:off x="4187" y="2453"/>
              <a:ext cx="33" cy="21"/>
            </a:xfrm>
            <a:custGeom>
              <a:avLst/>
              <a:gdLst>
                <a:gd name="T0" fmla="*/ 7 w 14"/>
                <a:gd name="T1" fmla="*/ 0 h 9"/>
                <a:gd name="T2" fmla="*/ 2 w 14"/>
                <a:gd name="T3" fmla="*/ 7 h 9"/>
                <a:gd name="T4" fmla="*/ 7 w 14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9">
                  <a:moveTo>
                    <a:pt x="7" y="0"/>
                  </a:moveTo>
                  <a:cubicBezTo>
                    <a:pt x="7" y="3"/>
                    <a:pt x="0" y="2"/>
                    <a:pt x="2" y="7"/>
                  </a:cubicBezTo>
                  <a:cubicBezTo>
                    <a:pt x="8" y="9"/>
                    <a:pt x="14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4" name="Freeform 12"/>
            <p:cNvSpPr>
              <a:spLocks/>
            </p:cNvSpPr>
            <p:nvPr userDrawn="1"/>
          </p:nvSpPr>
          <p:spPr bwMode="auto">
            <a:xfrm>
              <a:off x="5678" y="2379"/>
              <a:ext cx="40" cy="31"/>
            </a:xfrm>
            <a:custGeom>
              <a:avLst/>
              <a:gdLst>
                <a:gd name="T0" fmla="*/ 7 w 17"/>
                <a:gd name="T1" fmla="*/ 6 h 13"/>
                <a:gd name="T2" fmla="*/ 4 w 17"/>
                <a:gd name="T3" fmla="*/ 6 h 13"/>
                <a:gd name="T4" fmla="*/ 7 w 17"/>
                <a:gd name="T5" fmla="*/ 8 h 13"/>
                <a:gd name="T6" fmla="*/ 15 w 17"/>
                <a:gd name="T7" fmla="*/ 1 h 13"/>
                <a:gd name="T8" fmla="*/ 7 w 17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3">
                  <a:moveTo>
                    <a:pt x="7" y="6"/>
                  </a:moveTo>
                  <a:cubicBezTo>
                    <a:pt x="7" y="4"/>
                    <a:pt x="5" y="3"/>
                    <a:pt x="4" y="6"/>
                  </a:cubicBezTo>
                  <a:cubicBezTo>
                    <a:pt x="6" y="6"/>
                    <a:pt x="8" y="6"/>
                    <a:pt x="7" y="8"/>
                  </a:cubicBezTo>
                  <a:cubicBezTo>
                    <a:pt x="0" y="13"/>
                    <a:pt x="17" y="6"/>
                    <a:pt x="15" y="1"/>
                  </a:cubicBezTo>
                  <a:cubicBezTo>
                    <a:pt x="10" y="0"/>
                    <a:pt x="10" y="4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5" name="Freeform 13"/>
            <p:cNvSpPr>
              <a:spLocks/>
            </p:cNvSpPr>
            <p:nvPr userDrawn="1"/>
          </p:nvSpPr>
          <p:spPr bwMode="auto">
            <a:xfrm>
              <a:off x="6219" y="2016"/>
              <a:ext cx="73" cy="35"/>
            </a:xfrm>
            <a:custGeom>
              <a:avLst/>
              <a:gdLst>
                <a:gd name="T0" fmla="*/ 20 w 31"/>
                <a:gd name="T1" fmla="*/ 10 h 15"/>
                <a:gd name="T2" fmla="*/ 19 w 31"/>
                <a:gd name="T3" fmla="*/ 0 h 15"/>
                <a:gd name="T4" fmla="*/ 11 w 31"/>
                <a:gd name="T5" fmla="*/ 5 h 15"/>
                <a:gd name="T6" fmla="*/ 0 w 31"/>
                <a:gd name="T7" fmla="*/ 1 h 15"/>
                <a:gd name="T8" fmla="*/ 9 w 31"/>
                <a:gd name="T9" fmla="*/ 15 h 15"/>
                <a:gd name="T10" fmla="*/ 11 w 31"/>
                <a:gd name="T11" fmla="*/ 7 h 15"/>
                <a:gd name="T12" fmla="*/ 11 w 31"/>
                <a:gd name="T13" fmla="*/ 12 h 15"/>
                <a:gd name="T14" fmla="*/ 31 w 31"/>
                <a:gd name="T15" fmla="*/ 11 h 15"/>
                <a:gd name="T16" fmla="*/ 31 w 31"/>
                <a:gd name="T17" fmla="*/ 2 h 15"/>
                <a:gd name="T18" fmla="*/ 20 w 31"/>
                <a:gd name="T1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15">
                  <a:moveTo>
                    <a:pt x="20" y="10"/>
                  </a:moveTo>
                  <a:cubicBezTo>
                    <a:pt x="15" y="5"/>
                    <a:pt x="20" y="7"/>
                    <a:pt x="19" y="0"/>
                  </a:cubicBezTo>
                  <a:cubicBezTo>
                    <a:pt x="14" y="0"/>
                    <a:pt x="14" y="4"/>
                    <a:pt x="11" y="5"/>
                  </a:cubicBezTo>
                  <a:cubicBezTo>
                    <a:pt x="9" y="2"/>
                    <a:pt x="5" y="1"/>
                    <a:pt x="0" y="1"/>
                  </a:cubicBezTo>
                  <a:cubicBezTo>
                    <a:pt x="2" y="6"/>
                    <a:pt x="2" y="13"/>
                    <a:pt x="9" y="15"/>
                  </a:cubicBezTo>
                  <a:cubicBezTo>
                    <a:pt x="9" y="12"/>
                    <a:pt x="8" y="8"/>
                    <a:pt x="11" y="7"/>
                  </a:cubicBezTo>
                  <a:cubicBezTo>
                    <a:pt x="11" y="9"/>
                    <a:pt x="11" y="11"/>
                    <a:pt x="11" y="12"/>
                  </a:cubicBezTo>
                  <a:cubicBezTo>
                    <a:pt x="19" y="12"/>
                    <a:pt x="26" y="12"/>
                    <a:pt x="31" y="1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6" y="3"/>
                    <a:pt x="28" y="11"/>
                    <a:pt x="2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6" name="Freeform 14"/>
            <p:cNvSpPr>
              <a:spLocks/>
            </p:cNvSpPr>
            <p:nvPr userDrawn="1"/>
          </p:nvSpPr>
          <p:spPr bwMode="auto">
            <a:xfrm>
              <a:off x="4256" y="2441"/>
              <a:ext cx="24" cy="21"/>
            </a:xfrm>
            <a:custGeom>
              <a:avLst/>
              <a:gdLst>
                <a:gd name="T0" fmla="*/ 0 w 10"/>
                <a:gd name="T1" fmla="*/ 7 h 9"/>
                <a:gd name="T2" fmla="*/ 9 w 10"/>
                <a:gd name="T3" fmla="*/ 9 h 9"/>
                <a:gd name="T4" fmla="*/ 0 w 10"/>
                <a:gd name="T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7"/>
                  </a:moveTo>
                  <a:cubicBezTo>
                    <a:pt x="4" y="6"/>
                    <a:pt x="6" y="8"/>
                    <a:pt x="9" y="9"/>
                  </a:cubicBezTo>
                  <a:cubicBezTo>
                    <a:pt x="10" y="2"/>
                    <a:pt x="1" y="0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7" name="Freeform 15"/>
            <p:cNvSpPr>
              <a:spLocks/>
            </p:cNvSpPr>
            <p:nvPr userDrawn="1"/>
          </p:nvSpPr>
          <p:spPr bwMode="auto">
            <a:xfrm>
              <a:off x="3859" y="2455"/>
              <a:ext cx="14" cy="31"/>
            </a:xfrm>
            <a:custGeom>
              <a:avLst/>
              <a:gdLst>
                <a:gd name="T0" fmla="*/ 1 w 6"/>
                <a:gd name="T1" fmla="*/ 8 h 13"/>
                <a:gd name="T2" fmla="*/ 4 w 6"/>
                <a:gd name="T3" fmla="*/ 13 h 13"/>
                <a:gd name="T4" fmla="*/ 1 w 6"/>
                <a:gd name="T5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3">
                  <a:moveTo>
                    <a:pt x="1" y="8"/>
                  </a:moveTo>
                  <a:cubicBezTo>
                    <a:pt x="0" y="10"/>
                    <a:pt x="2" y="13"/>
                    <a:pt x="4" y="13"/>
                  </a:cubicBezTo>
                  <a:cubicBezTo>
                    <a:pt x="6" y="13"/>
                    <a:pt x="5" y="0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8" name="Freeform 16"/>
            <p:cNvSpPr>
              <a:spLocks/>
            </p:cNvSpPr>
            <p:nvPr userDrawn="1"/>
          </p:nvSpPr>
          <p:spPr bwMode="auto">
            <a:xfrm>
              <a:off x="3982" y="2455"/>
              <a:ext cx="38" cy="31"/>
            </a:xfrm>
            <a:custGeom>
              <a:avLst/>
              <a:gdLst>
                <a:gd name="T0" fmla="*/ 10 w 16"/>
                <a:gd name="T1" fmla="*/ 12 h 13"/>
                <a:gd name="T2" fmla="*/ 15 w 16"/>
                <a:gd name="T3" fmla="*/ 2 h 13"/>
                <a:gd name="T4" fmla="*/ 10 w 16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10" y="12"/>
                  </a:moveTo>
                  <a:cubicBezTo>
                    <a:pt x="11" y="12"/>
                    <a:pt x="16" y="5"/>
                    <a:pt x="15" y="2"/>
                  </a:cubicBezTo>
                  <a:cubicBezTo>
                    <a:pt x="0" y="0"/>
                    <a:pt x="4" y="13"/>
                    <a:pt x="1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9" name="Freeform 17"/>
            <p:cNvSpPr>
              <a:spLocks/>
            </p:cNvSpPr>
            <p:nvPr userDrawn="1"/>
          </p:nvSpPr>
          <p:spPr bwMode="auto">
            <a:xfrm>
              <a:off x="5872" y="2004"/>
              <a:ext cx="56" cy="54"/>
            </a:xfrm>
            <a:custGeom>
              <a:avLst/>
              <a:gdLst>
                <a:gd name="T0" fmla="*/ 18 w 24"/>
                <a:gd name="T1" fmla="*/ 13 h 23"/>
                <a:gd name="T2" fmla="*/ 24 w 24"/>
                <a:gd name="T3" fmla="*/ 15 h 23"/>
                <a:gd name="T4" fmla="*/ 18 w 24"/>
                <a:gd name="T5" fmla="*/ 8 h 23"/>
                <a:gd name="T6" fmla="*/ 16 w 24"/>
                <a:gd name="T7" fmla="*/ 10 h 23"/>
                <a:gd name="T8" fmla="*/ 2 w 24"/>
                <a:gd name="T9" fmla="*/ 1 h 23"/>
                <a:gd name="T10" fmla="*/ 5 w 24"/>
                <a:gd name="T11" fmla="*/ 8 h 23"/>
                <a:gd name="T12" fmla="*/ 5 w 24"/>
                <a:gd name="T13" fmla="*/ 15 h 23"/>
                <a:gd name="T14" fmla="*/ 10 w 24"/>
                <a:gd name="T15" fmla="*/ 20 h 23"/>
                <a:gd name="T16" fmla="*/ 18 w 24"/>
                <a:gd name="T17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3">
                  <a:moveTo>
                    <a:pt x="18" y="13"/>
                  </a:moveTo>
                  <a:cubicBezTo>
                    <a:pt x="19" y="14"/>
                    <a:pt x="21" y="15"/>
                    <a:pt x="24" y="15"/>
                  </a:cubicBezTo>
                  <a:cubicBezTo>
                    <a:pt x="24" y="12"/>
                    <a:pt x="21" y="7"/>
                    <a:pt x="18" y="8"/>
                  </a:cubicBezTo>
                  <a:cubicBezTo>
                    <a:pt x="18" y="8"/>
                    <a:pt x="18" y="12"/>
                    <a:pt x="16" y="10"/>
                  </a:cubicBezTo>
                  <a:cubicBezTo>
                    <a:pt x="13" y="9"/>
                    <a:pt x="12" y="0"/>
                    <a:pt x="2" y="1"/>
                  </a:cubicBezTo>
                  <a:cubicBezTo>
                    <a:pt x="2" y="4"/>
                    <a:pt x="3" y="6"/>
                    <a:pt x="5" y="8"/>
                  </a:cubicBezTo>
                  <a:cubicBezTo>
                    <a:pt x="4" y="11"/>
                    <a:pt x="0" y="14"/>
                    <a:pt x="5" y="15"/>
                  </a:cubicBezTo>
                  <a:cubicBezTo>
                    <a:pt x="7" y="5"/>
                    <a:pt x="16" y="16"/>
                    <a:pt x="10" y="20"/>
                  </a:cubicBezTo>
                  <a:cubicBezTo>
                    <a:pt x="20" y="23"/>
                    <a:pt x="12" y="12"/>
                    <a:pt x="1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0" name="Freeform 18"/>
            <p:cNvSpPr>
              <a:spLocks/>
            </p:cNvSpPr>
            <p:nvPr userDrawn="1"/>
          </p:nvSpPr>
          <p:spPr bwMode="auto">
            <a:xfrm>
              <a:off x="6129" y="2051"/>
              <a:ext cx="26" cy="31"/>
            </a:xfrm>
            <a:custGeom>
              <a:avLst/>
              <a:gdLst>
                <a:gd name="T0" fmla="*/ 3 w 11"/>
                <a:gd name="T1" fmla="*/ 5 h 13"/>
                <a:gd name="T2" fmla="*/ 0 w 11"/>
                <a:gd name="T3" fmla="*/ 0 h 13"/>
                <a:gd name="T4" fmla="*/ 0 w 11"/>
                <a:gd name="T5" fmla="*/ 12 h 13"/>
                <a:gd name="T6" fmla="*/ 11 w 11"/>
                <a:gd name="T7" fmla="*/ 7 h 13"/>
                <a:gd name="T8" fmla="*/ 3 w 11"/>
                <a:gd name="T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3" y="5"/>
                  </a:moveTo>
                  <a:cubicBezTo>
                    <a:pt x="2" y="3"/>
                    <a:pt x="3" y="0"/>
                    <a:pt x="0" y="0"/>
                  </a:cubicBezTo>
                  <a:cubicBezTo>
                    <a:pt x="0" y="4"/>
                    <a:pt x="0" y="8"/>
                    <a:pt x="0" y="12"/>
                  </a:cubicBezTo>
                  <a:cubicBezTo>
                    <a:pt x="6" y="13"/>
                    <a:pt x="11" y="11"/>
                    <a:pt x="11" y="7"/>
                  </a:cubicBezTo>
                  <a:cubicBezTo>
                    <a:pt x="8" y="7"/>
                    <a:pt x="3" y="8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1" name="Freeform 19"/>
            <p:cNvSpPr>
              <a:spLocks noEditPoints="1"/>
            </p:cNvSpPr>
            <p:nvPr userDrawn="1"/>
          </p:nvSpPr>
          <p:spPr bwMode="auto">
            <a:xfrm>
              <a:off x="-530" y="1723"/>
              <a:ext cx="6834" cy="879"/>
            </a:xfrm>
            <a:custGeom>
              <a:avLst/>
              <a:gdLst>
                <a:gd name="T0" fmla="*/ 389 w 2893"/>
                <a:gd name="T1" fmla="*/ 342 h 372"/>
                <a:gd name="T2" fmla="*/ 740 w 2893"/>
                <a:gd name="T3" fmla="*/ 359 h 372"/>
                <a:gd name="T4" fmla="*/ 1103 w 2893"/>
                <a:gd name="T5" fmla="*/ 367 h 372"/>
                <a:gd name="T6" fmla="*/ 1426 w 2893"/>
                <a:gd name="T7" fmla="*/ 356 h 372"/>
                <a:gd name="T8" fmla="*/ 1695 w 2893"/>
                <a:gd name="T9" fmla="*/ 331 h 372"/>
                <a:gd name="T10" fmla="*/ 1895 w 2893"/>
                <a:gd name="T11" fmla="*/ 320 h 372"/>
                <a:gd name="T12" fmla="*/ 2114 w 2893"/>
                <a:gd name="T13" fmla="*/ 302 h 372"/>
                <a:gd name="T14" fmla="*/ 2309 w 2893"/>
                <a:gd name="T15" fmla="*/ 287 h 372"/>
                <a:gd name="T16" fmla="*/ 2459 w 2893"/>
                <a:gd name="T17" fmla="*/ 275 h 372"/>
                <a:gd name="T18" fmla="*/ 2597 w 2893"/>
                <a:gd name="T19" fmla="*/ 289 h 372"/>
                <a:gd name="T20" fmla="*/ 2723 w 2893"/>
                <a:gd name="T21" fmla="*/ 280 h 372"/>
                <a:gd name="T22" fmla="*/ 2838 w 2893"/>
                <a:gd name="T23" fmla="*/ 287 h 372"/>
                <a:gd name="T24" fmla="*/ 2866 w 2893"/>
                <a:gd name="T25" fmla="*/ 183 h 372"/>
                <a:gd name="T26" fmla="*/ 2808 w 2893"/>
                <a:gd name="T27" fmla="*/ 147 h 372"/>
                <a:gd name="T28" fmla="*/ 2631 w 2893"/>
                <a:gd name="T29" fmla="*/ 218 h 372"/>
                <a:gd name="T30" fmla="*/ 2665 w 2893"/>
                <a:gd name="T31" fmla="*/ 112 h 372"/>
                <a:gd name="T32" fmla="*/ 2857 w 2893"/>
                <a:gd name="T33" fmla="*/ 113 h 372"/>
                <a:gd name="T34" fmla="*/ 485 w 2893"/>
                <a:gd name="T35" fmla="*/ 201 h 372"/>
                <a:gd name="T36" fmla="*/ 777 w 2893"/>
                <a:gd name="T37" fmla="*/ 267 h 372"/>
                <a:gd name="T38" fmla="*/ 1016 w 2893"/>
                <a:gd name="T39" fmla="*/ 272 h 372"/>
                <a:gd name="T40" fmla="*/ 1266 w 2893"/>
                <a:gd name="T41" fmla="*/ 265 h 372"/>
                <a:gd name="T42" fmla="*/ 1356 w 2893"/>
                <a:gd name="T43" fmla="*/ 252 h 372"/>
                <a:gd name="T44" fmla="*/ 1456 w 2893"/>
                <a:gd name="T45" fmla="*/ 330 h 372"/>
                <a:gd name="T46" fmla="*/ 1548 w 2893"/>
                <a:gd name="T47" fmla="*/ 241 h 372"/>
                <a:gd name="T48" fmla="*/ 1656 w 2893"/>
                <a:gd name="T49" fmla="*/ 331 h 372"/>
                <a:gd name="T50" fmla="*/ 1709 w 2893"/>
                <a:gd name="T51" fmla="*/ 232 h 372"/>
                <a:gd name="T52" fmla="*/ 1779 w 2893"/>
                <a:gd name="T53" fmla="*/ 259 h 372"/>
                <a:gd name="T54" fmla="*/ 1829 w 2893"/>
                <a:gd name="T55" fmla="*/ 147 h 372"/>
                <a:gd name="T56" fmla="*/ 1920 w 2893"/>
                <a:gd name="T57" fmla="*/ 193 h 372"/>
                <a:gd name="T58" fmla="*/ 1900 w 2893"/>
                <a:gd name="T59" fmla="*/ 151 h 372"/>
                <a:gd name="T60" fmla="*/ 1948 w 2893"/>
                <a:gd name="T61" fmla="*/ 220 h 372"/>
                <a:gd name="T62" fmla="*/ 2044 w 2893"/>
                <a:gd name="T63" fmla="*/ 214 h 372"/>
                <a:gd name="T64" fmla="*/ 2069 w 2893"/>
                <a:gd name="T65" fmla="*/ 218 h 372"/>
                <a:gd name="T66" fmla="*/ 2172 w 2893"/>
                <a:gd name="T67" fmla="*/ 167 h 372"/>
                <a:gd name="T68" fmla="*/ 2111 w 2893"/>
                <a:gd name="T69" fmla="*/ 107 h 372"/>
                <a:gd name="T70" fmla="*/ 2115 w 2893"/>
                <a:gd name="T71" fmla="*/ 217 h 372"/>
                <a:gd name="T72" fmla="*/ 2157 w 2893"/>
                <a:gd name="T73" fmla="*/ 236 h 372"/>
                <a:gd name="T74" fmla="*/ 2191 w 2893"/>
                <a:gd name="T75" fmla="*/ 148 h 372"/>
                <a:gd name="T76" fmla="*/ 2262 w 2893"/>
                <a:gd name="T77" fmla="*/ 135 h 372"/>
                <a:gd name="T78" fmla="*/ 2862 w 2893"/>
                <a:gd name="T79" fmla="*/ 247 h 372"/>
                <a:gd name="T80" fmla="*/ 2740 w 2893"/>
                <a:gd name="T81" fmla="*/ 190 h 372"/>
                <a:gd name="T82" fmla="*/ 2824 w 2893"/>
                <a:gd name="T83" fmla="*/ 259 h 372"/>
                <a:gd name="T84" fmla="*/ 2831 w 2893"/>
                <a:gd name="T85" fmla="*/ 198 h 372"/>
                <a:gd name="T86" fmla="*/ 2792 w 2893"/>
                <a:gd name="T87" fmla="*/ 177 h 372"/>
                <a:gd name="T88" fmla="*/ 2732 w 2893"/>
                <a:gd name="T89" fmla="*/ 181 h 372"/>
                <a:gd name="T90" fmla="*/ 2702 w 2893"/>
                <a:gd name="T91" fmla="*/ 207 h 372"/>
                <a:gd name="T92" fmla="*/ 2674 w 2893"/>
                <a:gd name="T93" fmla="*/ 8 h 372"/>
                <a:gd name="T94" fmla="*/ 2563 w 2893"/>
                <a:gd name="T95" fmla="*/ 116 h 372"/>
                <a:gd name="T96" fmla="*/ 2514 w 2893"/>
                <a:gd name="T97" fmla="*/ 121 h 372"/>
                <a:gd name="T98" fmla="*/ 2453 w 2893"/>
                <a:gd name="T99" fmla="*/ 101 h 372"/>
                <a:gd name="T100" fmla="*/ 2349 w 2893"/>
                <a:gd name="T101" fmla="*/ 103 h 372"/>
                <a:gd name="T102" fmla="*/ 2298 w 2893"/>
                <a:gd name="T103" fmla="*/ 139 h 372"/>
                <a:gd name="T104" fmla="*/ 2305 w 2893"/>
                <a:gd name="T105" fmla="*/ 231 h 372"/>
                <a:gd name="T106" fmla="*/ 2365 w 2893"/>
                <a:gd name="T107" fmla="*/ 211 h 372"/>
                <a:gd name="T108" fmla="*/ 2456 w 2893"/>
                <a:gd name="T109" fmla="*/ 256 h 372"/>
                <a:gd name="T110" fmla="*/ 2497 w 2893"/>
                <a:gd name="T111" fmla="*/ 213 h 372"/>
                <a:gd name="T112" fmla="*/ 2543 w 2893"/>
                <a:gd name="T113" fmla="*/ 219 h 372"/>
                <a:gd name="T114" fmla="*/ 2582 w 2893"/>
                <a:gd name="T115" fmla="*/ 230 h 372"/>
                <a:gd name="T116" fmla="*/ 2599 w 2893"/>
                <a:gd name="T117" fmla="*/ 258 h 372"/>
                <a:gd name="T118" fmla="*/ 2671 w 2893"/>
                <a:gd name="T119" fmla="*/ 156 h 372"/>
                <a:gd name="T120" fmla="*/ 2638 w 2893"/>
                <a:gd name="T121" fmla="*/ 133 h 372"/>
                <a:gd name="T122" fmla="*/ 2741 w 2893"/>
                <a:gd name="T123" fmla="*/ 87 h 372"/>
                <a:gd name="T124" fmla="*/ 2808 w 2893"/>
                <a:gd name="T125" fmla="*/ 12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93" h="372">
                  <a:moveTo>
                    <a:pt x="288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1"/>
                    <a:pt x="1" y="320"/>
                    <a:pt x="2" y="320"/>
                  </a:cubicBezTo>
                  <a:cubicBezTo>
                    <a:pt x="1" y="331"/>
                    <a:pt x="12" y="320"/>
                    <a:pt x="15" y="320"/>
                  </a:cubicBezTo>
                  <a:cubicBezTo>
                    <a:pt x="16" y="328"/>
                    <a:pt x="25" y="329"/>
                    <a:pt x="35" y="329"/>
                  </a:cubicBezTo>
                  <a:cubicBezTo>
                    <a:pt x="35" y="327"/>
                    <a:pt x="35" y="324"/>
                    <a:pt x="37" y="324"/>
                  </a:cubicBezTo>
                  <a:cubicBezTo>
                    <a:pt x="39" y="331"/>
                    <a:pt x="43" y="322"/>
                    <a:pt x="48" y="324"/>
                  </a:cubicBezTo>
                  <a:cubicBezTo>
                    <a:pt x="50" y="329"/>
                    <a:pt x="56" y="325"/>
                    <a:pt x="62" y="326"/>
                  </a:cubicBezTo>
                  <a:cubicBezTo>
                    <a:pt x="70" y="328"/>
                    <a:pt x="66" y="332"/>
                    <a:pt x="70" y="328"/>
                  </a:cubicBezTo>
                  <a:cubicBezTo>
                    <a:pt x="77" y="323"/>
                    <a:pt x="90" y="333"/>
                    <a:pt x="87" y="333"/>
                  </a:cubicBezTo>
                  <a:cubicBezTo>
                    <a:pt x="102" y="336"/>
                    <a:pt x="117" y="327"/>
                    <a:pt x="136" y="330"/>
                  </a:cubicBezTo>
                  <a:cubicBezTo>
                    <a:pt x="139" y="338"/>
                    <a:pt x="156" y="332"/>
                    <a:pt x="167" y="334"/>
                  </a:cubicBezTo>
                  <a:cubicBezTo>
                    <a:pt x="170" y="334"/>
                    <a:pt x="170" y="336"/>
                    <a:pt x="175" y="336"/>
                  </a:cubicBezTo>
                  <a:cubicBezTo>
                    <a:pt x="178" y="336"/>
                    <a:pt x="179" y="334"/>
                    <a:pt x="183" y="333"/>
                  </a:cubicBezTo>
                  <a:cubicBezTo>
                    <a:pt x="190" y="333"/>
                    <a:pt x="194" y="335"/>
                    <a:pt x="200" y="336"/>
                  </a:cubicBezTo>
                  <a:cubicBezTo>
                    <a:pt x="202" y="332"/>
                    <a:pt x="204" y="328"/>
                    <a:pt x="210" y="328"/>
                  </a:cubicBezTo>
                  <a:cubicBezTo>
                    <a:pt x="211" y="331"/>
                    <a:pt x="210" y="335"/>
                    <a:pt x="213" y="335"/>
                  </a:cubicBezTo>
                  <a:cubicBezTo>
                    <a:pt x="216" y="328"/>
                    <a:pt x="221" y="337"/>
                    <a:pt x="222" y="337"/>
                  </a:cubicBezTo>
                  <a:cubicBezTo>
                    <a:pt x="225" y="339"/>
                    <a:pt x="233" y="339"/>
                    <a:pt x="238" y="340"/>
                  </a:cubicBezTo>
                  <a:cubicBezTo>
                    <a:pt x="246" y="340"/>
                    <a:pt x="240" y="332"/>
                    <a:pt x="246" y="337"/>
                  </a:cubicBezTo>
                  <a:cubicBezTo>
                    <a:pt x="248" y="338"/>
                    <a:pt x="255" y="336"/>
                    <a:pt x="257" y="337"/>
                  </a:cubicBezTo>
                  <a:cubicBezTo>
                    <a:pt x="259" y="338"/>
                    <a:pt x="260" y="343"/>
                    <a:pt x="266" y="341"/>
                  </a:cubicBezTo>
                  <a:cubicBezTo>
                    <a:pt x="275" y="336"/>
                    <a:pt x="294" y="346"/>
                    <a:pt x="307" y="341"/>
                  </a:cubicBezTo>
                  <a:cubicBezTo>
                    <a:pt x="309" y="340"/>
                    <a:pt x="309" y="334"/>
                    <a:pt x="312" y="334"/>
                  </a:cubicBezTo>
                  <a:cubicBezTo>
                    <a:pt x="312" y="335"/>
                    <a:pt x="312" y="337"/>
                    <a:pt x="312" y="338"/>
                  </a:cubicBezTo>
                  <a:cubicBezTo>
                    <a:pt x="315" y="339"/>
                    <a:pt x="321" y="337"/>
                    <a:pt x="323" y="338"/>
                  </a:cubicBezTo>
                  <a:cubicBezTo>
                    <a:pt x="323" y="338"/>
                    <a:pt x="323" y="340"/>
                    <a:pt x="323" y="340"/>
                  </a:cubicBezTo>
                  <a:cubicBezTo>
                    <a:pt x="327" y="341"/>
                    <a:pt x="334" y="339"/>
                    <a:pt x="340" y="340"/>
                  </a:cubicBezTo>
                  <a:cubicBezTo>
                    <a:pt x="342" y="341"/>
                    <a:pt x="343" y="342"/>
                    <a:pt x="345" y="342"/>
                  </a:cubicBezTo>
                  <a:cubicBezTo>
                    <a:pt x="345" y="342"/>
                    <a:pt x="345" y="340"/>
                    <a:pt x="348" y="340"/>
                  </a:cubicBezTo>
                  <a:cubicBezTo>
                    <a:pt x="349" y="340"/>
                    <a:pt x="347" y="343"/>
                    <a:pt x="351" y="342"/>
                  </a:cubicBezTo>
                  <a:cubicBezTo>
                    <a:pt x="352" y="342"/>
                    <a:pt x="354" y="338"/>
                    <a:pt x="356" y="338"/>
                  </a:cubicBezTo>
                  <a:cubicBezTo>
                    <a:pt x="355" y="338"/>
                    <a:pt x="360" y="341"/>
                    <a:pt x="361" y="337"/>
                  </a:cubicBezTo>
                  <a:cubicBezTo>
                    <a:pt x="361" y="339"/>
                    <a:pt x="361" y="341"/>
                    <a:pt x="362" y="342"/>
                  </a:cubicBezTo>
                  <a:cubicBezTo>
                    <a:pt x="370" y="341"/>
                    <a:pt x="374" y="337"/>
                    <a:pt x="381" y="335"/>
                  </a:cubicBezTo>
                  <a:cubicBezTo>
                    <a:pt x="381" y="341"/>
                    <a:pt x="376" y="340"/>
                    <a:pt x="381" y="344"/>
                  </a:cubicBezTo>
                  <a:cubicBezTo>
                    <a:pt x="387" y="347"/>
                    <a:pt x="389" y="333"/>
                    <a:pt x="389" y="342"/>
                  </a:cubicBezTo>
                  <a:cubicBezTo>
                    <a:pt x="389" y="345"/>
                    <a:pt x="400" y="345"/>
                    <a:pt x="403" y="346"/>
                  </a:cubicBezTo>
                  <a:cubicBezTo>
                    <a:pt x="403" y="344"/>
                    <a:pt x="403" y="341"/>
                    <a:pt x="405" y="341"/>
                  </a:cubicBezTo>
                  <a:cubicBezTo>
                    <a:pt x="405" y="345"/>
                    <a:pt x="407" y="346"/>
                    <a:pt x="408" y="348"/>
                  </a:cubicBezTo>
                  <a:cubicBezTo>
                    <a:pt x="423" y="348"/>
                    <a:pt x="437" y="348"/>
                    <a:pt x="452" y="348"/>
                  </a:cubicBezTo>
                  <a:cubicBezTo>
                    <a:pt x="453" y="346"/>
                    <a:pt x="452" y="343"/>
                    <a:pt x="455" y="343"/>
                  </a:cubicBezTo>
                  <a:cubicBezTo>
                    <a:pt x="453" y="352"/>
                    <a:pt x="461" y="345"/>
                    <a:pt x="463" y="345"/>
                  </a:cubicBezTo>
                  <a:cubicBezTo>
                    <a:pt x="465" y="345"/>
                    <a:pt x="466" y="349"/>
                    <a:pt x="469" y="350"/>
                  </a:cubicBezTo>
                  <a:cubicBezTo>
                    <a:pt x="469" y="350"/>
                    <a:pt x="471" y="345"/>
                    <a:pt x="474" y="347"/>
                  </a:cubicBezTo>
                  <a:cubicBezTo>
                    <a:pt x="475" y="351"/>
                    <a:pt x="481" y="349"/>
                    <a:pt x="485" y="349"/>
                  </a:cubicBezTo>
                  <a:cubicBezTo>
                    <a:pt x="485" y="345"/>
                    <a:pt x="487" y="341"/>
                    <a:pt x="490" y="340"/>
                  </a:cubicBezTo>
                  <a:cubicBezTo>
                    <a:pt x="491" y="343"/>
                    <a:pt x="490" y="349"/>
                    <a:pt x="493" y="349"/>
                  </a:cubicBezTo>
                  <a:cubicBezTo>
                    <a:pt x="494" y="345"/>
                    <a:pt x="503" y="348"/>
                    <a:pt x="504" y="344"/>
                  </a:cubicBezTo>
                  <a:cubicBezTo>
                    <a:pt x="506" y="341"/>
                    <a:pt x="501" y="332"/>
                    <a:pt x="507" y="332"/>
                  </a:cubicBezTo>
                  <a:cubicBezTo>
                    <a:pt x="506" y="340"/>
                    <a:pt x="512" y="341"/>
                    <a:pt x="510" y="349"/>
                  </a:cubicBezTo>
                  <a:cubicBezTo>
                    <a:pt x="515" y="350"/>
                    <a:pt x="515" y="346"/>
                    <a:pt x="518" y="344"/>
                  </a:cubicBezTo>
                  <a:cubicBezTo>
                    <a:pt x="518" y="356"/>
                    <a:pt x="541" y="354"/>
                    <a:pt x="551" y="351"/>
                  </a:cubicBezTo>
                  <a:cubicBezTo>
                    <a:pt x="552" y="346"/>
                    <a:pt x="547" y="345"/>
                    <a:pt x="551" y="343"/>
                  </a:cubicBezTo>
                  <a:cubicBezTo>
                    <a:pt x="555" y="344"/>
                    <a:pt x="553" y="349"/>
                    <a:pt x="554" y="353"/>
                  </a:cubicBezTo>
                  <a:cubicBezTo>
                    <a:pt x="563" y="352"/>
                    <a:pt x="578" y="356"/>
                    <a:pt x="578" y="348"/>
                  </a:cubicBezTo>
                  <a:cubicBezTo>
                    <a:pt x="576" y="347"/>
                    <a:pt x="573" y="348"/>
                    <a:pt x="573" y="345"/>
                  </a:cubicBezTo>
                  <a:cubicBezTo>
                    <a:pt x="575" y="346"/>
                    <a:pt x="577" y="345"/>
                    <a:pt x="578" y="345"/>
                  </a:cubicBezTo>
                  <a:cubicBezTo>
                    <a:pt x="582" y="346"/>
                    <a:pt x="579" y="348"/>
                    <a:pt x="581" y="350"/>
                  </a:cubicBezTo>
                  <a:cubicBezTo>
                    <a:pt x="583" y="351"/>
                    <a:pt x="587" y="349"/>
                    <a:pt x="587" y="352"/>
                  </a:cubicBezTo>
                  <a:cubicBezTo>
                    <a:pt x="601" y="349"/>
                    <a:pt x="614" y="358"/>
                    <a:pt x="622" y="352"/>
                  </a:cubicBezTo>
                  <a:cubicBezTo>
                    <a:pt x="619" y="351"/>
                    <a:pt x="616" y="348"/>
                    <a:pt x="620" y="347"/>
                  </a:cubicBezTo>
                  <a:cubicBezTo>
                    <a:pt x="623" y="348"/>
                    <a:pt x="625" y="350"/>
                    <a:pt x="625" y="354"/>
                  </a:cubicBezTo>
                  <a:cubicBezTo>
                    <a:pt x="630" y="356"/>
                    <a:pt x="634" y="351"/>
                    <a:pt x="636" y="351"/>
                  </a:cubicBezTo>
                  <a:cubicBezTo>
                    <a:pt x="636" y="351"/>
                    <a:pt x="638" y="356"/>
                    <a:pt x="639" y="356"/>
                  </a:cubicBezTo>
                  <a:cubicBezTo>
                    <a:pt x="641" y="357"/>
                    <a:pt x="645" y="356"/>
                    <a:pt x="647" y="356"/>
                  </a:cubicBezTo>
                  <a:cubicBezTo>
                    <a:pt x="649" y="356"/>
                    <a:pt x="649" y="358"/>
                    <a:pt x="650" y="358"/>
                  </a:cubicBezTo>
                  <a:cubicBezTo>
                    <a:pt x="656" y="359"/>
                    <a:pt x="655" y="355"/>
                    <a:pt x="658" y="358"/>
                  </a:cubicBezTo>
                  <a:cubicBezTo>
                    <a:pt x="659" y="359"/>
                    <a:pt x="663" y="358"/>
                    <a:pt x="664" y="358"/>
                  </a:cubicBezTo>
                  <a:cubicBezTo>
                    <a:pt x="673" y="359"/>
                    <a:pt x="674" y="359"/>
                    <a:pt x="680" y="360"/>
                  </a:cubicBezTo>
                  <a:cubicBezTo>
                    <a:pt x="690" y="350"/>
                    <a:pt x="712" y="364"/>
                    <a:pt x="721" y="355"/>
                  </a:cubicBezTo>
                  <a:cubicBezTo>
                    <a:pt x="720" y="356"/>
                    <a:pt x="716" y="350"/>
                    <a:pt x="721" y="350"/>
                  </a:cubicBezTo>
                  <a:cubicBezTo>
                    <a:pt x="724" y="355"/>
                    <a:pt x="726" y="361"/>
                    <a:pt x="738" y="359"/>
                  </a:cubicBezTo>
                  <a:cubicBezTo>
                    <a:pt x="741" y="353"/>
                    <a:pt x="727" y="352"/>
                    <a:pt x="735" y="350"/>
                  </a:cubicBezTo>
                  <a:cubicBezTo>
                    <a:pt x="740" y="350"/>
                    <a:pt x="741" y="354"/>
                    <a:pt x="740" y="359"/>
                  </a:cubicBezTo>
                  <a:cubicBezTo>
                    <a:pt x="750" y="362"/>
                    <a:pt x="742" y="351"/>
                    <a:pt x="749" y="352"/>
                  </a:cubicBezTo>
                  <a:cubicBezTo>
                    <a:pt x="749" y="356"/>
                    <a:pt x="756" y="355"/>
                    <a:pt x="754" y="361"/>
                  </a:cubicBezTo>
                  <a:cubicBezTo>
                    <a:pt x="785" y="357"/>
                    <a:pt x="804" y="370"/>
                    <a:pt x="820" y="360"/>
                  </a:cubicBezTo>
                  <a:cubicBezTo>
                    <a:pt x="821" y="363"/>
                    <a:pt x="826" y="363"/>
                    <a:pt x="828" y="364"/>
                  </a:cubicBezTo>
                  <a:cubicBezTo>
                    <a:pt x="833" y="360"/>
                    <a:pt x="828" y="362"/>
                    <a:pt x="828" y="355"/>
                  </a:cubicBezTo>
                  <a:cubicBezTo>
                    <a:pt x="837" y="363"/>
                    <a:pt x="829" y="348"/>
                    <a:pt x="839" y="350"/>
                  </a:cubicBezTo>
                  <a:cubicBezTo>
                    <a:pt x="838" y="356"/>
                    <a:pt x="834" y="360"/>
                    <a:pt x="839" y="364"/>
                  </a:cubicBezTo>
                  <a:cubicBezTo>
                    <a:pt x="851" y="363"/>
                    <a:pt x="864" y="362"/>
                    <a:pt x="875" y="364"/>
                  </a:cubicBezTo>
                  <a:cubicBezTo>
                    <a:pt x="873" y="357"/>
                    <a:pt x="881" y="359"/>
                    <a:pt x="883" y="356"/>
                  </a:cubicBezTo>
                  <a:cubicBezTo>
                    <a:pt x="884" y="362"/>
                    <a:pt x="887" y="366"/>
                    <a:pt x="894" y="366"/>
                  </a:cubicBezTo>
                  <a:cubicBezTo>
                    <a:pt x="894" y="365"/>
                    <a:pt x="895" y="360"/>
                    <a:pt x="897" y="361"/>
                  </a:cubicBezTo>
                  <a:cubicBezTo>
                    <a:pt x="898" y="361"/>
                    <a:pt x="896" y="365"/>
                    <a:pt x="897" y="366"/>
                  </a:cubicBezTo>
                  <a:cubicBezTo>
                    <a:pt x="900" y="367"/>
                    <a:pt x="905" y="364"/>
                    <a:pt x="908" y="365"/>
                  </a:cubicBezTo>
                  <a:cubicBezTo>
                    <a:pt x="908" y="366"/>
                    <a:pt x="908" y="368"/>
                    <a:pt x="908" y="368"/>
                  </a:cubicBezTo>
                  <a:cubicBezTo>
                    <a:pt x="915" y="368"/>
                    <a:pt x="927" y="366"/>
                    <a:pt x="935" y="367"/>
                  </a:cubicBezTo>
                  <a:cubicBezTo>
                    <a:pt x="939" y="368"/>
                    <a:pt x="939" y="370"/>
                    <a:pt x="941" y="367"/>
                  </a:cubicBezTo>
                  <a:cubicBezTo>
                    <a:pt x="943" y="365"/>
                    <a:pt x="958" y="367"/>
                    <a:pt x="960" y="367"/>
                  </a:cubicBezTo>
                  <a:cubicBezTo>
                    <a:pt x="964" y="366"/>
                    <a:pt x="963" y="364"/>
                    <a:pt x="966" y="367"/>
                  </a:cubicBezTo>
                  <a:cubicBezTo>
                    <a:pt x="968" y="370"/>
                    <a:pt x="980" y="364"/>
                    <a:pt x="982" y="367"/>
                  </a:cubicBezTo>
                  <a:cubicBezTo>
                    <a:pt x="986" y="361"/>
                    <a:pt x="975" y="358"/>
                    <a:pt x="982" y="357"/>
                  </a:cubicBezTo>
                  <a:cubicBezTo>
                    <a:pt x="988" y="362"/>
                    <a:pt x="987" y="365"/>
                    <a:pt x="990" y="366"/>
                  </a:cubicBezTo>
                  <a:cubicBezTo>
                    <a:pt x="988" y="365"/>
                    <a:pt x="995" y="358"/>
                    <a:pt x="993" y="366"/>
                  </a:cubicBezTo>
                  <a:cubicBezTo>
                    <a:pt x="1002" y="368"/>
                    <a:pt x="1002" y="363"/>
                    <a:pt x="1007" y="361"/>
                  </a:cubicBezTo>
                  <a:cubicBezTo>
                    <a:pt x="1006" y="361"/>
                    <a:pt x="1009" y="364"/>
                    <a:pt x="1011" y="362"/>
                  </a:cubicBezTo>
                  <a:cubicBezTo>
                    <a:pt x="1008" y="367"/>
                    <a:pt x="1012" y="366"/>
                    <a:pt x="1018" y="366"/>
                  </a:cubicBezTo>
                  <a:cubicBezTo>
                    <a:pt x="1020" y="366"/>
                    <a:pt x="1020" y="368"/>
                    <a:pt x="1020" y="368"/>
                  </a:cubicBezTo>
                  <a:cubicBezTo>
                    <a:pt x="1028" y="369"/>
                    <a:pt x="1040" y="368"/>
                    <a:pt x="1042" y="365"/>
                  </a:cubicBezTo>
                  <a:cubicBezTo>
                    <a:pt x="1042" y="368"/>
                    <a:pt x="1044" y="367"/>
                    <a:pt x="1045" y="368"/>
                  </a:cubicBezTo>
                  <a:cubicBezTo>
                    <a:pt x="1045" y="368"/>
                    <a:pt x="1049" y="370"/>
                    <a:pt x="1048" y="370"/>
                  </a:cubicBezTo>
                  <a:cubicBezTo>
                    <a:pt x="1058" y="372"/>
                    <a:pt x="1076" y="367"/>
                    <a:pt x="1078" y="367"/>
                  </a:cubicBezTo>
                  <a:cubicBezTo>
                    <a:pt x="1081" y="367"/>
                    <a:pt x="1082" y="369"/>
                    <a:pt x="1086" y="369"/>
                  </a:cubicBezTo>
                  <a:cubicBezTo>
                    <a:pt x="1087" y="369"/>
                    <a:pt x="1086" y="367"/>
                    <a:pt x="1089" y="367"/>
                  </a:cubicBezTo>
                  <a:cubicBezTo>
                    <a:pt x="1090" y="367"/>
                    <a:pt x="1089" y="370"/>
                    <a:pt x="1092" y="369"/>
                  </a:cubicBezTo>
                  <a:cubicBezTo>
                    <a:pt x="1091" y="369"/>
                    <a:pt x="1094" y="367"/>
                    <a:pt x="1095" y="367"/>
                  </a:cubicBezTo>
                  <a:cubicBezTo>
                    <a:pt x="1097" y="366"/>
                    <a:pt x="1099" y="365"/>
                    <a:pt x="1100" y="362"/>
                  </a:cubicBezTo>
                  <a:cubicBezTo>
                    <a:pt x="1097" y="362"/>
                    <a:pt x="1096" y="360"/>
                    <a:pt x="1094" y="357"/>
                  </a:cubicBezTo>
                  <a:cubicBezTo>
                    <a:pt x="1098" y="357"/>
                    <a:pt x="1100" y="356"/>
                    <a:pt x="1103" y="355"/>
                  </a:cubicBezTo>
                  <a:cubicBezTo>
                    <a:pt x="1105" y="362"/>
                    <a:pt x="1105" y="359"/>
                    <a:pt x="1103" y="367"/>
                  </a:cubicBezTo>
                  <a:cubicBezTo>
                    <a:pt x="1112" y="371"/>
                    <a:pt x="1115" y="365"/>
                    <a:pt x="1127" y="366"/>
                  </a:cubicBezTo>
                  <a:cubicBezTo>
                    <a:pt x="1131" y="365"/>
                    <a:pt x="1128" y="357"/>
                    <a:pt x="1133" y="357"/>
                  </a:cubicBezTo>
                  <a:cubicBezTo>
                    <a:pt x="1132" y="364"/>
                    <a:pt x="1133" y="370"/>
                    <a:pt x="1141" y="368"/>
                  </a:cubicBezTo>
                  <a:cubicBezTo>
                    <a:pt x="1143" y="364"/>
                    <a:pt x="1133" y="359"/>
                    <a:pt x="1141" y="357"/>
                  </a:cubicBezTo>
                  <a:cubicBezTo>
                    <a:pt x="1145" y="359"/>
                    <a:pt x="1144" y="366"/>
                    <a:pt x="1152" y="366"/>
                  </a:cubicBezTo>
                  <a:cubicBezTo>
                    <a:pt x="1152" y="363"/>
                    <a:pt x="1153" y="360"/>
                    <a:pt x="1158" y="361"/>
                  </a:cubicBezTo>
                  <a:cubicBezTo>
                    <a:pt x="1158" y="357"/>
                    <a:pt x="1157" y="353"/>
                    <a:pt x="1163" y="354"/>
                  </a:cubicBezTo>
                  <a:cubicBezTo>
                    <a:pt x="1167" y="363"/>
                    <a:pt x="1155" y="359"/>
                    <a:pt x="1158" y="366"/>
                  </a:cubicBezTo>
                  <a:cubicBezTo>
                    <a:pt x="1172" y="369"/>
                    <a:pt x="1165" y="355"/>
                    <a:pt x="1174" y="354"/>
                  </a:cubicBezTo>
                  <a:cubicBezTo>
                    <a:pt x="1182" y="360"/>
                    <a:pt x="1176" y="360"/>
                    <a:pt x="1174" y="368"/>
                  </a:cubicBezTo>
                  <a:cubicBezTo>
                    <a:pt x="1185" y="370"/>
                    <a:pt x="1191" y="370"/>
                    <a:pt x="1199" y="365"/>
                  </a:cubicBezTo>
                  <a:cubicBezTo>
                    <a:pt x="1202" y="369"/>
                    <a:pt x="1216" y="362"/>
                    <a:pt x="1221" y="367"/>
                  </a:cubicBezTo>
                  <a:cubicBezTo>
                    <a:pt x="1221" y="365"/>
                    <a:pt x="1221" y="362"/>
                    <a:pt x="1223" y="362"/>
                  </a:cubicBezTo>
                  <a:cubicBezTo>
                    <a:pt x="1223" y="364"/>
                    <a:pt x="1223" y="365"/>
                    <a:pt x="1223" y="367"/>
                  </a:cubicBezTo>
                  <a:cubicBezTo>
                    <a:pt x="1233" y="362"/>
                    <a:pt x="1233" y="372"/>
                    <a:pt x="1240" y="367"/>
                  </a:cubicBezTo>
                  <a:cubicBezTo>
                    <a:pt x="1240" y="363"/>
                    <a:pt x="1239" y="359"/>
                    <a:pt x="1237" y="357"/>
                  </a:cubicBezTo>
                  <a:cubicBezTo>
                    <a:pt x="1242" y="358"/>
                    <a:pt x="1243" y="355"/>
                    <a:pt x="1248" y="355"/>
                  </a:cubicBezTo>
                  <a:cubicBezTo>
                    <a:pt x="1247" y="358"/>
                    <a:pt x="1244" y="359"/>
                    <a:pt x="1243" y="362"/>
                  </a:cubicBezTo>
                  <a:cubicBezTo>
                    <a:pt x="1252" y="364"/>
                    <a:pt x="1246" y="352"/>
                    <a:pt x="1256" y="355"/>
                  </a:cubicBezTo>
                  <a:cubicBezTo>
                    <a:pt x="1255" y="359"/>
                    <a:pt x="1250" y="361"/>
                    <a:pt x="1251" y="367"/>
                  </a:cubicBezTo>
                  <a:cubicBezTo>
                    <a:pt x="1261" y="366"/>
                    <a:pt x="1261" y="363"/>
                    <a:pt x="1270" y="366"/>
                  </a:cubicBezTo>
                  <a:cubicBezTo>
                    <a:pt x="1284" y="364"/>
                    <a:pt x="1292" y="371"/>
                    <a:pt x="1298" y="363"/>
                  </a:cubicBezTo>
                  <a:cubicBezTo>
                    <a:pt x="1302" y="371"/>
                    <a:pt x="1312" y="359"/>
                    <a:pt x="1317" y="365"/>
                  </a:cubicBezTo>
                  <a:cubicBezTo>
                    <a:pt x="1315" y="360"/>
                    <a:pt x="1314" y="356"/>
                    <a:pt x="1319" y="351"/>
                  </a:cubicBezTo>
                  <a:cubicBezTo>
                    <a:pt x="1324" y="356"/>
                    <a:pt x="1318" y="356"/>
                    <a:pt x="1319" y="363"/>
                  </a:cubicBezTo>
                  <a:cubicBezTo>
                    <a:pt x="1328" y="365"/>
                    <a:pt x="1324" y="358"/>
                    <a:pt x="1325" y="353"/>
                  </a:cubicBezTo>
                  <a:cubicBezTo>
                    <a:pt x="1329" y="353"/>
                    <a:pt x="1336" y="345"/>
                    <a:pt x="1338" y="351"/>
                  </a:cubicBezTo>
                  <a:cubicBezTo>
                    <a:pt x="1334" y="351"/>
                    <a:pt x="1331" y="353"/>
                    <a:pt x="1330" y="356"/>
                  </a:cubicBezTo>
                  <a:cubicBezTo>
                    <a:pt x="1340" y="356"/>
                    <a:pt x="1325" y="364"/>
                    <a:pt x="1333" y="363"/>
                  </a:cubicBezTo>
                  <a:cubicBezTo>
                    <a:pt x="1337" y="358"/>
                    <a:pt x="1343" y="365"/>
                    <a:pt x="1350" y="360"/>
                  </a:cubicBezTo>
                  <a:cubicBezTo>
                    <a:pt x="1353" y="365"/>
                    <a:pt x="1369" y="361"/>
                    <a:pt x="1377" y="362"/>
                  </a:cubicBezTo>
                  <a:cubicBezTo>
                    <a:pt x="1378" y="358"/>
                    <a:pt x="1374" y="348"/>
                    <a:pt x="1379" y="348"/>
                  </a:cubicBezTo>
                  <a:cubicBezTo>
                    <a:pt x="1389" y="350"/>
                    <a:pt x="1381" y="352"/>
                    <a:pt x="1382" y="360"/>
                  </a:cubicBezTo>
                  <a:cubicBezTo>
                    <a:pt x="1388" y="358"/>
                    <a:pt x="1401" y="362"/>
                    <a:pt x="1402" y="357"/>
                  </a:cubicBezTo>
                  <a:cubicBezTo>
                    <a:pt x="1399" y="356"/>
                    <a:pt x="1395" y="353"/>
                    <a:pt x="1399" y="352"/>
                  </a:cubicBezTo>
                  <a:cubicBezTo>
                    <a:pt x="1401" y="355"/>
                    <a:pt x="1409" y="353"/>
                    <a:pt x="1407" y="359"/>
                  </a:cubicBezTo>
                  <a:cubicBezTo>
                    <a:pt x="1418" y="359"/>
                    <a:pt x="1409" y="352"/>
                    <a:pt x="1415" y="357"/>
                  </a:cubicBezTo>
                  <a:cubicBezTo>
                    <a:pt x="1421" y="361"/>
                    <a:pt x="1422" y="357"/>
                    <a:pt x="1426" y="356"/>
                  </a:cubicBezTo>
                  <a:cubicBezTo>
                    <a:pt x="1438" y="354"/>
                    <a:pt x="1439" y="354"/>
                    <a:pt x="1446" y="358"/>
                  </a:cubicBezTo>
                  <a:cubicBezTo>
                    <a:pt x="1446" y="355"/>
                    <a:pt x="1445" y="350"/>
                    <a:pt x="1451" y="351"/>
                  </a:cubicBezTo>
                  <a:cubicBezTo>
                    <a:pt x="1451" y="347"/>
                    <a:pt x="1448" y="346"/>
                    <a:pt x="1448" y="342"/>
                  </a:cubicBezTo>
                  <a:cubicBezTo>
                    <a:pt x="1451" y="342"/>
                    <a:pt x="1454" y="342"/>
                    <a:pt x="1456" y="342"/>
                  </a:cubicBezTo>
                  <a:cubicBezTo>
                    <a:pt x="1457" y="346"/>
                    <a:pt x="1453" y="347"/>
                    <a:pt x="1454" y="351"/>
                  </a:cubicBezTo>
                  <a:cubicBezTo>
                    <a:pt x="1460" y="350"/>
                    <a:pt x="1464" y="352"/>
                    <a:pt x="1465" y="356"/>
                  </a:cubicBezTo>
                  <a:cubicBezTo>
                    <a:pt x="1473" y="356"/>
                    <a:pt x="1481" y="355"/>
                    <a:pt x="1489" y="355"/>
                  </a:cubicBezTo>
                  <a:cubicBezTo>
                    <a:pt x="1492" y="353"/>
                    <a:pt x="1494" y="347"/>
                    <a:pt x="1497" y="346"/>
                  </a:cubicBezTo>
                  <a:cubicBezTo>
                    <a:pt x="1502" y="345"/>
                    <a:pt x="1504" y="349"/>
                    <a:pt x="1508" y="348"/>
                  </a:cubicBezTo>
                  <a:cubicBezTo>
                    <a:pt x="1508" y="343"/>
                    <a:pt x="1509" y="339"/>
                    <a:pt x="1514" y="338"/>
                  </a:cubicBezTo>
                  <a:cubicBezTo>
                    <a:pt x="1515" y="346"/>
                    <a:pt x="1508" y="348"/>
                    <a:pt x="1514" y="352"/>
                  </a:cubicBezTo>
                  <a:cubicBezTo>
                    <a:pt x="1526" y="355"/>
                    <a:pt x="1523" y="344"/>
                    <a:pt x="1533" y="345"/>
                  </a:cubicBezTo>
                  <a:cubicBezTo>
                    <a:pt x="1534" y="347"/>
                    <a:pt x="1533" y="350"/>
                    <a:pt x="1536" y="350"/>
                  </a:cubicBezTo>
                  <a:cubicBezTo>
                    <a:pt x="1539" y="350"/>
                    <a:pt x="1540" y="353"/>
                    <a:pt x="1541" y="350"/>
                  </a:cubicBezTo>
                  <a:cubicBezTo>
                    <a:pt x="1537" y="349"/>
                    <a:pt x="1543" y="344"/>
                    <a:pt x="1541" y="340"/>
                  </a:cubicBezTo>
                  <a:cubicBezTo>
                    <a:pt x="1541" y="339"/>
                    <a:pt x="1533" y="341"/>
                    <a:pt x="1536" y="336"/>
                  </a:cubicBezTo>
                  <a:cubicBezTo>
                    <a:pt x="1540" y="336"/>
                    <a:pt x="1545" y="336"/>
                    <a:pt x="1549" y="335"/>
                  </a:cubicBezTo>
                  <a:cubicBezTo>
                    <a:pt x="1553" y="343"/>
                    <a:pt x="1552" y="345"/>
                    <a:pt x="1547" y="350"/>
                  </a:cubicBezTo>
                  <a:cubicBezTo>
                    <a:pt x="1555" y="349"/>
                    <a:pt x="1563" y="349"/>
                    <a:pt x="1572" y="349"/>
                  </a:cubicBezTo>
                  <a:cubicBezTo>
                    <a:pt x="1573" y="346"/>
                    <a:pt x="1574" y="344"/>
                    <a:pt x="1577" y="342"/>
                  </a:cubicBezTo>
                  <a:cubicBezTo>
                    <a:pt x="1579" y="353"/>
                    <a:pt x="1592" y="340"/>
                    <a:pt x="1599" y="346"/>
                  </a:cubicBezTo>
                  <a:cubicBezTo>
                    <a:pt x="1600" y="345"/>
                    <a:pt x="1599" y="342"/>
                    <a:pt x="1602" y="342"/>
                  </a:cubicBezTo>
                  <a:cubicBezTo>
                    <a:pt x="1604" y="345"/>
                    <a:pt x="1609" y="340"/>
                    <a:pt x="1615" y="344"/>
                  </a:cubicBezTo>
                  <a:cubicBezTo>
                    <a:pt x="1619" y="338"/>
                    <a:pt x="1617" y="328"/>
                    <a:pt x="1626" y="327"/>
                  </a:cubicBezTo>
                  <a:cubicBezTo>
                    <a:pt x="1629" y="330"/>
                    <a:pt x="1629" y="336"/>
                    <a:pt x="1632" y="339"/>
                  </a:cubicBezTo>
                  <a:cubicBezTo>
                    <a:pt x="1628" y="339"/>
                    <a:pt x="1623" y="329"/>
                    <a:pt x="1624" y="339"/>
                  </a:cubicBezTo>
                  <a:cubicBezTo>
                    <a:pt x="1627" y="342"/>
                    <a:pt x="1633" y="343"/>
                    <a:pt x="1640" y="343"/>
                  </a:cubicBezTo>
                  <a:cubicBezTo>
                    <a:pt x="1640" y="340"/>
                    <a:pt x="1639" y="335"/>
                    <a:pt x="1643" y="334"/>
                  </a:cubicBezTo>
                  <a:cubicBezTo>
                    <a:pt x="1642" y="340"/>
                    <a:pt x="1647" y="341"/>
                    <a:pt x="1651" y="343"/>
                  </a:cubicBezTo>
                  <a:cubicBezTo>
                    <a:pt x="1651" y="340"/>
                    <a:pt x="1656" y="341"/>
                    <a:pt x="1656" y="338"/>
                  </a:cubicBezTo>
                  <a:cubicBezTo>
                    <a:pt x="1655" y="338"/>
                    <a:pt x="1653" y="336"/>
                    <a:pt x="1656" y="336"/>
                  </a:cubicBezTo>
                  <a:cubicBezTo>
                    <a:pt x="1662" y="335"/>
                    <a:pt x="1663" y="338"/>
                    <a:pt x="1667" y="338"/>
                  </a:cubicBezTo>
                  <a:cubicBezTo>
                    <a:pt x="1667" y="338"/>
                    <a:pt x="1669" y="334"/>
                    <a:pt x="1670" y="333"/>
                  </a:cubicBezTo>
                  <a:cubicBezTo>
                    <a:pt x="1670" y="333"/>
                    <a:pt x="1678" y="338"/>
                    <a:pt x="1681" y="336"/>
                  </a:cubicBezTo>
                  <a:cubicBezTo>
                    <a:pt x="1682" y="330"/>
                    <a:pt x="1676" y="330"/>
                    <a:pt x="1678" y="324"/>
                  </a:cubicBezTo>
                  <a:cubicBezTo>
                    <a:pt x="1682" y="323"/>
                    <a:pt x="1683" y="320"/>
                    <a:pt x="1686" y="319"/>
                  </a:cubicBezTo>
                  <a:cubicBezTo>
                    <a:pt x="1686" y="322"/>
                    <a:pt x="1691" y="321"/>
                    <a:pt x="1692" y="324"/>
                  </a:cubicBezTo>
                  <a:cubicBezTo>
                    <a:pt x="1681" y="324"/>
                    <a:pt x="1694" y="328"/>
                    <a:pt x="1695" y="331"/>
                  </a:cubicBezTo>
                  <a:cubicBezTo>
                    <a:pt x="1695" y="330"/>
                    <a:pt x="1687" y="343"/>
                    <a:pt x="1695" y="340"/>
                  </a:cubicBezTo>
                  <a:cubicBezTo>
                    <a:pt x="1694" y="335"/>
                    <a:pt x="1705" y="339"/>
                    <a:pt x="1709" y="337"/>
                  </a:cubicBezTo>
                  <a:cubicBezTo>
                    <a:pt x="1709" y="335"/>
                    <a:pt x="1712" y="334"/>
                    <a:pt x="1714" y="333"/>
                  </a:cubicBezTo>
                  <a:cubicBezTo>
                    <a:pt x="1714" y="335"/>
                    <a:pt x="1715" y="338"/>
                    <a:pt x="1720" y="337"/>
                  </a:cubicBezTo>
                  <a:cubicBezTo>
                    <a:pt x="1716" y="330"/>
                    <a:pt x="1728" y="335"/>
                    <a:pt x="1725" y="328"/>
                  </a:cubicBezTo>
                  <a:cubicBezTo>
                    <a:pt x="1721" y="327"/>
                    <a:pt x="1715" y="329"/>
                    <a:pt x="1714" y="326"/>
                  </a:cubicBezTo>
                  <a:cubicBezTo>
                    <a:pt x="1717" y="322"/>
                    <a:pt x="1718" y="318"/>
                    <a:pt x="1722" y="316"/>
                  </a:cubicBezTo>
                  <a:cubicBezTo>
                    <a:pt x="1718" y="324"/>
                    <a:pt x="1731" y="317"/>
                    <a:pt x="1730" y="323"/>
                  </a:cubicBezTo>
                  <a:cubicBezTo>
                    <a:pt x="1727" y="323"/>
                    <a:pt x="1727" y="329"/>
                    <a:pt x="1730" y="330"/>
                  </a:cubicBezTo>
                  <a:cubicBezTo>
                    <a:pt x="1734" y="325"/>
                    <a:pt x="1735" y="318"/>
                    <a:pt x="1744" y="318"/>
                  </a:cubicBezTo>
                  <a:cubicBezTo>
                    <a:pt x="1741" y="323"/>
                    <a:pt x="1735" y="326"/>
                    <a:pt x="1733" y="332"/>
                  </a:cubicBezTo>
                  <a:cubicBezTo>
                    <a:pt x="1748" y="334"/>
                    <a:pt x="1742" y="318"/>
                    <a:pt x="1760" y="322"/>
                  </a:cubicBezTo>
                  <a:cubicBezTo>
                    <a:pt x="1767" y="320"/>
                    <a:pt x="1754" y="312"/>
                    <a:pt x="1763" y="308"/>
                  </a:cubicBezTo>
                  <a:cubicBezTo>
                    <a:pt x="1759" y="319"/>
                    <a:pt x="1769" y="319"/>
                    <a:pt x="1774" y="322"/>
                  </a:cubicBezTo>
                  <a:cubicBezTo>
                    <a:pt x="1773" y="327"/>
                    <a:pt x="1760" y="323"/>
                    <a:pt x="1763" y="332"/>
                  </a:cubicBezTo>
                  <a:cubicBezTo>
                    <a:pt x="1770" y="333"/>
                    <a:pt x="1769" y="327"/>
                    <a:pt x="1777" y="329"/>
                  </a:cubicBezTo>
                  <a:cubicBezTo>
                    <a:pt x="1776" y="324"/>
                    <a:pt x="1779" y="322"/>
                    <a:pt x="1785" y="322"/>
                  </a:cubicBezTo>
                  <a:cubicBezTo>
                    <a:pt x="1783" y="330"/>
                    <a:pt x="1790" y="330"/>
                    <a:pt x="1796" y="331"/>
                  </a:cubicBezTo>
                  <a:cubicBezTo>
                    <a:pt x="1793" y="321"/>
                    <a:pt x="1802" y="324"/>
                    <a:pt x="1807" y="322"/>
                  </a:cubicBezTo>
                  <a:cubicBezTo>
                    <a:pt x="1809" y="320"/>
                    <a:pt x="1810" y="315"/>
                    <a:pt x="1815" y="317"/>
                  </a:cubicBezTo>
                  <a:cubicBezTo>
                    <a:pt x="1818" y="323"/>
                    <a:pt x="1811" y="323"/>
                    <a:pt x="1813" y="329"/>
                  </a:cubicBezTo>
                  <a:cubicBezTo>
                    <a:pt x="1818" y="329"/>
                    <a:pt x="1817" y="327"/>
                    <a:pt x="1818" y="324"/>
                  </a:cubicBezTo>
                  <a:cubicBezTo>
                    <a:pt x="1818" y="323"/>
                    <a:pt x="1821" y="324"/>
                    <a:pt x="1821" y="324"/>
                  </a:cubicBezTo>
                  <a:cubicBezTo>
                    <a:pt x="1822" y="321"/>
                    <a:pt x="1820" y="317"/>
                    <a:pt x="1821" y="314"/>
                  </a:cubicBezTo>
                  <a:cubicBezTo>
                    <a:pt x="1822" y="303"/>
                    <a:pt x="1828" y="308"/>
                    <a:pt x="1823" y="314"/>
                  </a:cubicBezTo>
                  <a:cubicBezTo>
                    <a:pt x="1834" y="316"/>
                    <a:pt x="1825" y="302"/>
                    <a:pt x="1837" y="305"/>
                  </a:cubicBezTo>
                  <a:cubicBezTo>
                    <a:pt x="1834" y="311"/>
                    <a:pt x="1833" y="322"/>
                    <a:pt x="1843" y="323"/>
                  </a:cubicBezTo>
                  <a:cubicBezTo>
                    <a:pt x="1849" y="318"/>
                    <a:pt x="1839" y="319"/>
                    <a:pt x="1840" y="312"/>
                  </a:cubicBezTo>
                  <a:cubicBezTo>
                    <a:pt x="1843" y="312"/>
                    <a:pt x="1844" y="315"/>
                    <a:pt x="1848" y="314"/>
                  </a:cubicBezTo>
                  <a:cubicBezTo>
                    <a:pt x="1853" y="308"/>
                    <a:pt x="1844" y="304"/>
                    <a:pt x="1851" y="300"/>
                  </a:cubicBezTo>
                  <a:cubicBezTo>
                    <a:pt x="1858" y="309"/>
                    <a:pt x="1841" y="322"/>
                    <a:pt x="1854" y="328"/>
                  </a:cubicBezTo>
                  <a:cubicBezTo>
                    <a:pt x="1853" y="321"/>
                    <a:pt x="1854" y="316"/>
                    <a:pt x="1859" y="314"/>
                  </a:cubicBezTo>
                  <a:cubicBezTo>
                    <a:pt x="1868" y="315"/>
                    <a:pt x="1866" y="307"/>
                    <a:pt x="1873" y="306"/>
                  </a:cubicBezTo>
                  <a:cubicBezTo>
                    <a:pt x="1875" y="314"/>
                    <a:pt x="1870" y="316"/>
                    <a:pt x="1867" y="320"/>
                  </a:cubicBezTo>
                  <a:cubicBezTo>
                    <a:pt x="1878" y="323"/>
                    <a:pt x="1872" y="312"/>
                    <a:pt x="1881" y="313"/>
                  </a:cubicBezTo>
                  <a:cubicBezTo>
                    <a:pt x="1881" y="316"/>
                    <a:pt x="1878" y="317"/>
                    <a:pt x="1878" y="320"/>
                  </a:cubicBezTo>
                  <a:cubicBezTo>
                    <a:pt x="1884" y="321"/>
                    <a:pt x="1884" y="317"/>
                    <a:pt x="1886" y="315"/>
                  </a:cubicBezTo>
                  <a:cubicBezTo>
                    <a:pt x="1891" y="316"/>
                    <a:pt x="1889" y="321"/>
                    <a:pt x="1895" y="320"/>
                  </a:cubicBezTo>
                  <a:cubicBezTo>
                    <a:pt x="1897" y="315"/>
                    <a:pt x="1895" y="308"/>
                    <a:pt x="1903" y="303"/>
                  </a:cubicBezTo>
                  <a:cubicBezTo>
                    <a:pt x="1903" y="307"/>
                    <a:pt x="1904" y="309"/>
                    <a:pt x="1906" y="310"/>
                  </a:cubicBezTo>
                  <a:cubicBezTo>
                    <a:pt x="1895" y="307"/>
                    <a:pt x="1905" y="325"/>
                    <a:pt x="1906" y="325"/>
                  </a:cubicBezTo>
                  <a:cubicBezTo>
                    <a:pt x="1909" y="319"/>
                    <a:pt x="1905" y="320"/>
                    <a:pt x="1908" y="313"/>
                  </a:cubicBezTo>
                  <a:cubicBezTo>
                    <a:pt x="1919" y="315"/>
                    <a:pt x="1916" y="307"/>
                    <a:pt x="1925" y="308"/>
                  </a:cubicBezTo>
                  <a:cubicBezTo>
                    <a:pt x="1929" y="309"/>
                    <a:pt x="1925" y="317"/>
                    <a:pt x="1930" y="317"/>
                  </a:cubicBezTo>
                  <a:cubicBezTo>
                    <a:pt x="1936" y="311"/>
                    <a:pt x="1927" y="306"/>
                    <a:pt x="1933" y="303"/>
                  </a:cubicBezTo>
                  <a:cubicBezTo>
                    <a:pt x="1937" y="303"/>
                    <a:pt x="1935" y="309"/>
                    <a:pt x="1939" y="310"/>
                  </a:cubicBezTo>
                  <a:cubicBezTo>
                    <a:pt x="1939" y="308"/>
                    <a:pt x="1941" y="307"/>
                    <a:pt x="1944" y="307"/>
                  </a:cubicBezTo>
                  <a:cubicBezTo>
                    <a:pt x="1948" y="307"/>
                    <a:pt x="1955" y="298"/>
                    <a:pt x="1949" y="298"/>
                  </a:cubicBezTo>
                  <a:cubicBezTo>
                    <a:pt x="1950" y="303"/>
                    <a:pt x="1941" y="298"/>
                    <a:pt x="1941" y="296"/>
                  </a:cubicBezTo>
                  <a:cubicBezTo>
                    <a:pt x="1952" y="300"/>
                    <a:pt x="1950" y="292"/>
                    <a:pt x="1955" y="295"/>
                  </a:cubicBezTo>
                  <a:cubicBezTo>
                    <a:pt x="1957" y="297"/>
                    <a:pt x="1963" y="294"/>
                    <a:pt x="1966" y="295"/>
                  </a:cubicBezTo>
                  <a:cubicBezTo>
                    <a:pt x="1966" y="293"/>
                    <a:pt x="1966" y="291"/>
                    <a:pt x="1968" y="291"/>
                  </a:cubicBezTo>
                  <a:cubicBezTo>
                    <a:pt x="1968" y="295"/>
                    <a:pt x="1972" y="295"/>
                    <a:pt x="1974" y="297"/>
                  </a:cubicBezTo>
                  <a:cubicBezTo>
                    <a:pt x="1975" y="302"/>
                    <a:pt x="1971" y="303"/>
                    <a:pt x="1971" y="307"/>
                  </a:cubicBezTo>
                  <a:cubicBezTo>
                    <a:pt x="1978" y="311"/>
                    <a:pt x="1992" y="309"/>
                    <a:pt x="1999" y="306"/>
                  </a:cubicBezTo>
                  <a:cubicBezTo>
                    <a:pt x="1999" y="304"/>
                    <a:pt x="1998" y="300"/>
                    <a:pt x="2001" y="299"/>
                  </a:cubicBezTo>
                  <a:cubicBezTo>
                    <a:pt x="2004" y="301"/>
                    <a:pt x="2011" y="310"/>
                    <a:pt x="2013" y="304"/>
                  </a:cubicBezTo>
                  <a:cubicBezTo>
                    <a:pt x="2011" y="304"/>
                    <a:pt x="2009" y="302"/>
                    <a:pt x="2012" y="301"/>
                  </a:cubicBezTo>
                  <a:cubicBezTo>
                    <a:pt x="2013" y="298"/>
                    <a:pt x="2011" y="296"/>
                    <a:pt x="2010" y="295"/>
                  </a:cubicBezTo>
                  <a:cubicBezTo>
                    <a:pt x="2017" y="296"/>
                    <a:pt x="2017" y="291"/>
                    <a:pt x="2023" y="292"/>
                  </a:cubicBezTo>
                  <a:cubicBezTo>
                    <a:pt x="2024" y="298"/>
                    <a:pt x="2019" y="297"/>
                    <a:pt x="2023" y="301"/>
                  </a:cubicBezTo>
                  <a:cubicBezTo>
                    <a:pt x="2021" y="301"/>
                    <a:pt x="2020" y="305"/>
                    <a:pt x="2024" y="306"/>
                  </a:cubicBezTo>
                  <a:cubicBezTo>
                    <a:pt x="2025" y="297"/>
                    <a:pt x="2032" y="305"/>
                    <a:pt x="2034" y="303"/>
                  </a:cubicBezTo>
                  <a:cubicBezTo>
                    <a:pt x="2036" y="303"/>
                    <a:pt x="2034" y="298"/>
                    <a:pt x="2037" y="299"/>
                  </a:cubicBezTo>
                  <a:cubicBezTo>
                    <a:pt x="2037" y="303"/>
                    <a:pt x="2045" y="300"/>
                    <a:pt x="2045" y="303"/>
                  </a:cubicBezTo>
                  <a:cubicBezTo>
                    <a:pt x="2038" y="300"/>
                    <a:pt x="2033" y="310"/>
                    <a:pt x="2040" y="310"/>
                  </a:cubicBezTo>
                  <a:cubicBezTo>
                    <a:pt x="2040" y="304"/>
                    <a:pt x="2048" y="306"/>
                    <a:pt x="2051" y="303"/>
                  </a:cubicBezTo>
                  <a:cubicBezTo>
                    <a:pt x="2053" y="301"/>
                    <a:pt x="2050" y="291"/>
                    <a:pt x="2059" y="294"/>
                  </a:cubicBezTo>
                  <a:cubicBezTo>
                    <a:pt x="2057" y="299"/>
                    <a:pt x="2051" y="301"/>
                    <a:pt x="2051" y="308"/>
                  </a:cubicBezTo>
                  <a:cubicBezTo>
                    <a:pt x="2061" y="307"/>
                    <a:pt x="2062" y="299"/>
                    <a:pt x="2073" y="298"/>
                  </a:cubicBezTo>
                  <a:cubicBezTo>
                    <a:pt x="2072" y="294"/>
                    <a:pt x="2064" y="279"/>
                    <a:pt x="2075" y="279"/>
                  </a:cubicBezTo>
                  <a:cubicBezTo>
                    <a:pt x="2072" y="288"/>
                    <a:pt x="2072" y="298"/>
                    <a:pt x="2084" y="303"/>
                  </a:cubicBezTo>
                  <a:cubicBezTo>
                    <a:pt x="2085" y="299"/>
                    <a:pt x="2080" y="297"/>
                    <a:pt x="2084" y="296"/>
                  </a:cubicBezTo>
                  <a:cubicBezTo>
                    <a:pt x="2090" y="299"/>
                    <a:pt x="2088" y="301"/>
                    <a:pt x="2087" y="307"/>
                  </a:cubicBezTo>
                  <a:cubicBezTo>
                    <a:pt x="2095" y="308"/>
                    <a:pt x="2096" y="298"/>
                    <a:pt x="2103" y="305"/>
                  </a:cubicBezTo>
                  <a:cubicBezTo>
                    <a:pt x="2102" y="295"/>
                    <a:pt x="2109" y="303"/>
                    <a:pt x="2114" y="302"/>
                  </a:cubicBezTo>
                  <a:cubicBezTo>
                    <a:pt x="2115" y="299"/>
                    <a:pt x="2118" y="298"/>
                    <a:pt x="2117" y="293"/>
                  </a:cubicBezTo>
                  <a:cubicBezTo>
                    <a:pt x="2122" y="293"/>
                    <a:pt x="2122" y="289"/>
                    <a:pt x="2125" y="288"/>
                  </a:cubicBezTo>
                  <a:cubicBezTo>
                    <a:pt x="2124" y="293"/>
                    <a:pt x="2119" y="301"/>
                    <a:pt x="2128" y="302"/>
                  </a:cubicBezTo>
                  <a:cubicBezTo>
                    <a:pt x="2128" y="300"/>
                    <a:pt x="2128" y="297"/>
                    <a:pt x="2130" y="297"/>
                  </a:cubicBezTo>
                  <a:cubicBezTo>
                    <a:pt x="2127" y="305"/>
                    <a:pt x="2139" y="299"/>
                    <a:pt x="2136" y="306"/>
                  </a:cubicBezTo>
                  <a:cubicBezTo>
                    <a:pt x="2135" y="306"/>
                    <a:pt x="2133" y="308"/>
                    <a:pt x="2136" y="309"/>
                  </a:cubicBezTo>
                  <a:cubicBezTo>
                    <a:pt x="2137" y="306"/>
                    <a:pt x="2140" y="304"/>
                    <a:pt x="2139" y="299"/>
                  </a:cubicBezTo>
                  <a:cubicBezTo>
                    <a:pt x="2146" y="298"/>
                    <a:pt x="2149" y="288"/>
                    <a:pt x="2152" y="285"/>
                  </a:cubicBezTo>
                  <a:cubicBezTo>
                    <a:pt x="2154" y="292"/>
                    <a:pt x="2154" y="289"/>
                    <a:pt x="2152" y="297"/>
                  </a:cubicBezTo>
                  <a:cubicBezTo>
                    <a:pt x="2166" y="292"/>
                    <a:pt x="2160" y="304"/>
                    <a:pt x="2169" y="303"/>
                  </a:cubicBezTo>
                  <a:cubicBezTo>
                    <a:pt x="2175" y="311"/>
                    <a:pt x="2170" y="295"/>
                    <a:pt x="2174" y="294"/>
                  </a:cubicBezTo>
                  <a:cubicBezTo>
                    <a:pt x="2176" y="294"/>
                    <a:pt x="2179" y="297"/>
                    <a:pt x="2180" y="296"/>
                  </a:cubicBezTo>
                  <a:cubicBezTo>
                    <a:pt x="2182" y="294"/>
                    <a:pt x="2177" y="287"/>
                    <a:pt x="2182" y="287"/>
                  </a:cubicBezTo>
                  <a:cubicBezTo>
                    <a:pt x="2187" y="286"/>
                    <a:pt x="2184" y="294"/>
                    <a:pt x="2188" y="294"/>
                  </a:cubicBezTo>
                  <a:cubicBezTo>
                    <a:pt x="2189" y="285"/>
                    <a:pt x="2188" y="282"/>
                    <a:pt x="2190" y="280"/>
                  </a:cubicBezTo>
                  <a:cubicBezTo>
                    <a:pt x="2201" y="287"/>
                    <a:pt x="2186" y="293"/>
                    <a:pt x="2193" y="294"/>
                  </a:cubicBezTo>
                  <a:cubicBezTo>
                    <a:pt x="2200" y="294"/>
                    <a:pt x="2195" y="303"/>
                    <a:pt x="2196" y="305"/>
                  </a:cubicBezTo>
                  <a:cubicBezTo>
                    <a:pt x="2208" y="306"/>
                    <a:pt x="2196" y="302"/>
                    <a:pt x="2199" y="296"/>
                  </a:cubicBezTo>
                  <a:cubicBezTo>
                    <a:pt x="2205" y="293"/>
                    <a:pt x="2206" y="296"/>
                    <a:pt x="2213" y="291"/>
                  </a:cubicBezTo>
                  <a:cubicBezTo>
                    <a:pt x="2218" y="293"/>
                    <a:pt x="2212" y="304"/>
                    <a:pt x="2218" y="305"/>
                  </a:cubicBezTo>
                  <a:cubicBezTo>
                    <a:pt x="2219" y="299"/>
                    <a:pt x="2223" y="297"/>
                    <a:pt x="2226" y="293"/>
                  </a:cubicBezTo>
                  <a:cubicBezTo>
                    <a:pt x="2227" y="299"/>
                    <a:pt x="2231" y="290"/>
                    <a:pt x="2237" y="293"/>
                  </a:cubicBezTo>
                  <a:cubicBezTo>
                    <a:pt x="2244" y="290"/>
                    <a:pt x="2232" y="284"/>
                    <a:pt x="2240" y="281"/>
                  </a:cubicBezTo>
                  <a:cubicBezTo>
                    <a:pt x="2243" y="281"/>
                    <a:pt x="2242" y="285"/>
                    <a:pt x="2245" y="286"/>
                  </a:cubicBezTo>
                  <a:cubicBezTo>
                    <a:pt x="2253" y="281"/>
                    <a:pt x="2242" y="274"/>
                    <a:pt x="2248" y="274"/>
                  </a:cubicBezTo>
                  <a:cubicBezTo>
                    <a:pt x="2250" y="274"/>
                    <a:pt x="2252" y="274"/>
                    <a:pt x="2253" y="274"/>
                  </a:cubicBezTo>
                  <a:cubicBezTo>
                    <a:pt x="2250" y="277"/>
                    <a:pt x="2250" y="280"/>
                    <a:pt x="2254" y="283"/>
                  </a:cubicBezTo>
                  <a:cubicBezTo>
                    <a:pt x="2250" y="286"/>
                    <a:pt x="2245" y="287"/>
                    <a:pt x="2243" y="290"/>
                  </a:cubicBezTo>
                  <a:cubicBezTo>
                    <a:pt x="2247" y="290"/>
                    <a:pt x="2252" y="290"/>
                    <a:pt x="2257" y="290"/>
                  </a:cubicBezTo>
                  <a:cubicBezTo>
                    <a:pt x="2256" y="296"/>
                    <a:pt x="2257" y="299"/>
                    <a:pt x="2262" y="300"/>
                  </a:cubicBezTo>
                  <a:cubicBezTo>
                    <a:pt x="2263" y="295"/>
                    <a:pt x="2259" y="288"/>
                    <a:pt x="2267" y="290"/>
                  </a:cubicBezTo>
                  <a:cubicBezTo>
                    <a:pt x="2268" y="293"/>
                    <a:pt x="2264" y="294"/>
                    <a:pt x="2268" y="295"/>
                  </a:cubicBezTo>
                  <a:cubicBezTo>
                    <a:pt x="2272" y="288"/>
                    <a:pt x="2276" y="301"/>
                    <a:pt x="2281" y="302"/>
                  </a:cubicBezTo>
                  <a:cubicBezTo>
                    <a:pt x="2281" y="295"/>
                    <a:pt x="2280" y="288"/>
                    <a:pt x="2287" y="287"/>
                  </a:cubicBezTo>
                  <a:cubicBezTo>
                    <a:pt x="2287" y="292"/>
                    <a:pt x="2289" y="295"/>
                    <a:pt x="2292" y="297"/>
                  </a:cubicBezTo>
                  <a:cubicBezTo>
                    <a:pt x="2293" y="294"/>
                    <a:pt x="2295" y="295"/>
                    <a:pt x="2298" y="297"/>
                  </a:cubicBezTo>
                  <a:cubicBezTo>
                    <a:pt x="2298" y="294"/>
                    <a:pt x="2297" y="290"/>
                    <a:pt x="2300" y="289"/>
                  </a:cubicBezTo>
                  <a:cubicBezTo>
                    <a:pt x="2303" y="298"/>
                    <a:pt x="2306" y="286"/>
                    <a:pt x="2309" y="287"/>
                  </a:cubicBezTo>
                  <a:cubicBezTo>
                    <a:pt x="2311" y="288"/>
                    <a:pt x="2311" y="294"/>
                    <a:pt x="2314" y="294"/>
                  </a:cubicBezTo>
                  <a:cubicBezTo>
                    <a:pt x="2318" y="288"/>
                    <a:pt x="2307" y="285"/>
                    <a:pt x="2314" y="284"/>
                  </a:cubicBezTo>
                  <a:cubicBezTo>
                    <a:pt x="2321" y="283"/>
                    <a:pt x="2319" y="289"/>
                    <a:pt x="2322" y="291"/>
                  </a:cubicBezTo>
                  <a:cubicBezTo>
                    <a:pt x="2319" y="291"/>
                    <a:pt x="2313" y="298"/>
                    <a:pt x="2320" y="299"/>
                  </a:cubicBezTo>
                  <a:cubicBezTo>
                    <a:pt x="2320" y="296"/>
                    <a:pt x="2323" y="295"/>
                    <a:pt x="2325" y="294"/>
                  </a:cubicBezTo>
                  <a:cubicBezTo>
                    <a:pt x="2326" y="290"/>
                    <a:pt x="2317" y="282"/>
                    <a:pt x="2325" y="280"/>
                  </a:cubicBezTo>
                  <a:cubicBezTo>
                    <a:pt x="2330" y="280"/>
                    <a:pt x="2326" y="301"/>
                    <a:pt x="2331" y="294"/>
                  </a:cubicBezTo>
                  <a:cubicBezTo>
                    <a:pt x="2331" y="284"/>
                    <a:pt x="2328" y="271"/>
                    <a:pt x="2338" y="270"/>
                  </a:cubicBezTo>
                  <a:cubicBezTo>
                    <a:pt x="2332" y="275"/>
                    <a:pt x="2338" y="281"/>
                    <a:pt x="2339" y="286"/>
                  </a:cubicBezTo>
                  <a:cubicBezTo>
                    <a:pt x="2339" y="289"/>
                    <a:pt x="2336" y="289"/>
                    <a:pt x="2336" y="291"/>
                  </a:cubicBezTo>
                  <a:cubicBezTo>
                    <a:pt x="2336" y="294"/>
                    <a:pt x="2340" y="295"/>
                    <a:pt x="2342" y="296"/>
                  </a:cubicBezTo>
                  <a:cubicBezTo>
                    <a:pt x="2342" y="292"/>
                    <a:pt x="2340" y="287"/>
                    <a:pt x="2344" y="286"/>
                  </a:cubicBezTo>
                  <a:cubicBezTo>
                    <a:pt x="2348" y="286"/>
                    <a:pt x="2347" y="290"/>
                    <a:pt x="2350" y="291"/>
                  </a:cubicBezTo>
                  <a:cubicBezTo>
                    <a:pt x="2352" y="278"/>
                    <a:pt x="2350" y="297"/>
                    <a:pt x="2358" y="293"/>
                  </a:cubicBezTo>
                  <a:cubicBezTo>
                    <a:pt x="2362" y="286"/>
                    <a:pt x="2357" y="286"/>
                    <a:pt x="2358" y="277"/>
                  </a:cubicBezTo>
                  <a:cubicBezTo>
                    <a:pt x="2363" y="278"/>
                    <a:pt x="2361" y="271"/>
                    <a:pt x="2366" y="270"/>
                  </a:cubicBezTo>
                  <a:cubicBezTo>
                    <a:pt x="2369" y="269"/>
                    <a:pt x="2374" y="270"/>
                    <a:pt x="2374" y="272"/>
                  </a:cubicBezTo>
                  <a:cubicBezTo>
                    <a:pt x="2371" y="273"/>
                    <a:pt x="2367" y="274"/>
                    <a:pt x="2366" y="277"/>
                  </a:cubicBezTo>
                  <a:cubicBezTo>
                    <a:pt x="2366" y="276"/>
                    <a:pt x="2371" y="279"/>
                    <a:pt x="2369" y="281"/>
                  </a:cubicBezTo>
                  <a:cubicBezTo>
                    <a:pt x="2365" y="285"/>
                    <a:pt x="2368" y="284"/>
                    <a:pt x="2369" y="288"/>
                  </a:cubicBezTo>
                  <a:cubicBezTo>
                    <a:pt x="2369" y="288"/>
                    <a:pt x="2363" y="293"/>
                    <a:pt x="2369" y="293"/>
                  </a:cubicBezTo>
                  <a:cubicBezTo>
                    <a:pt x="2374" y="285"/>
                    <a:pt x="2379" y="296"/>
                    <a:pt x="2386" y="295"/>
                  </a:cubicBezTo>
                  <a:cubicBezTo>
                    <a:pt x="2387" y="295"/>
                    <a:pt x="2385" y="289"/>
                    <a:pt x="2388" y="290"/>
                  </a:cubicBezTo>
                  <a:cubicBezTo>
                    <a:pt x="2389" y="296"/>
                    <a:pt x="2397" y="291"/>
                    <a:pt x="2399" y="290"/>
                  </a:cubicBezTo>
                  <a:cubicBezTo>
                    <a:pt x="2399" y="282"/>
                    <a:pt x="2392" y="273"/>
                    <a:pt x="2401" y="267"/>
                  </a:cubicBezTo>
                  <a:cubicBezTo>
                    <a:pt x="2397" y="274"/>
                    <a:pt x="2403" y="277"/>
                    <a:pt x="2402" y="288"/>
                  </a:cubicBezTo>
                  <a:cubicBezTo>
                    <a:pt x="2407" y="288"/>
                    <a:pt x="2409" y="292"/>
                    <a:pt x="2413" y="294"/>
                  </a:cubicBezTo>
                  <a:cubicBezTo>
                    <a:pt x="2411" y="288"/>
                    <a:pt x="2417" y="288"/>
                    <a:pt x="2415" y="283"/>
                  </a:cubicBezTo>
                  <a:cubicBezTo>
                    <a:pt x="2412" y="282"/>
                    <a:pt x="2408" y="283"/>
                    <a:pt x="2407" y="281"/>
                  </a:cubicBezTo>
                  <a:cubicBezTo>
                    <a:pt x="2420" y="283"/>
                    <a:pt x="2414" y="269"/>
                    <a:pt x="2423" y="269"/>
                  </a:cubicBezTo>
                  <a:cubicBezTo>
                    <a:pt x="2419" y="274"/>
                    <a:pt x="2426" y="278"/>
                    <a:pt x="2426" y="283"/>
                  </a:cubicBezTo>
                  <a:cubicBezTo>
                    <a:pt x="2427" y="285"/>
                    <a:pt x="2421" y="288"/>
                    <a:pt x="2427" y="290"/>
                  </a:cubicBezTo>
                  <a:cubicBezTo>
                    <a:pt x="2428" y="286"/>
                    <a:pt x="2430" y="290"/>
                    <a:pt x="2435" y="289"/>
                  </a:cubicBezTo>
                  <a:cubicBezTo>
                    <a:pt x="2438" y="284"/>
                    <a:pt x="2424" y="282"/>
                    <a:pt x="2432" y="280"/>
                  </a:cubicBezTo>
                  <a:cubicBezTo>
                    <a:pt x="2441" y="278"/>
                    <a:pt x="2436" y="288"/>
                    <a:pt x="2443" y="287"/>
                  </a:cubicBezTo>
                  <a:cubicBezTo>
                    <a:pt x="2441" y="278"/>
                    <a:pt x="2434" y="268"/>
                    <a:pt x="2443" y="261"/>
                  </a:cubicBezTo>
                  <a:cubicBezTo>
                    <a:pt x="2448" y="268"/>
                    <a:pt x="2439" y="284"/>
                    <a:pt x="2451" y="289"/>
                  </a:cubicBezTo>
                  <a:cubicBezTo>
                    <a:pt x="2449" y="280"/>
                    <a:pt x="2456" y="279"/>
                    <a:pt x="2459" y="275"/>
                  </a:cubicBezTo>
                  <a:cubicBezTo>
                    <a:pt x="2458" y="280"/>
                    <a:pt x="2467" y="277"/>
                    <a:pt x="2468" y="282"/>
                  </a:cubicBezTo>
                  <a:cubicBezTo>
                    <a:pt x="2459" y="285"/>
                    <a:pt x="2472" y="291"/>
                    <a:pt x="2465" y="294"/>
                  </a:cubicBezTo>
                  <a:cubicBezTo>
                    <a:pt x="2473" y="295"/>
                    <a:pt x="2470" y="289"/>
                    <a:pt x="2476" y="289"/>
                  </a:cubicBezTo>
                  <a:cubicBezTo>
                    <a:pt x="2476" y="292"/>
                    <a:pt x="2477" y="294"/>
                    <a:pt x="2482" y="293"/>
                  </a:cubicBezTo>
                  <a:cubicBezTo>
                    <a:pt x="2479" y="288"/>
                    <a:pt x="2479" y="284"/>
                    <a:pt x="2484" y="279"/>
                  </a:cubicBezTo>
                  <a:cubicBezTo>
                    <a:pt x="2489" y="278"/>
                    <a:pt x="2500" y="282"/>
                    <a:pt x="2500" y="277"/>
                  </a:cubicBezTo>
                  <a:cubicBezTo>
                    <a:pt x="2499" y="277"/>
                    <a:pt x="2497" y="275"/>
                    <a:pt x="2500" y="274"/>
                  </a:cubicBezTo>
                  <a:cubicBezTo>
                    <a:pt x="2501" y="277"/>
                    <a:pt x="2504" y="279"/>
                    <a:pt x="2503" y="284"/>
                  </a:cubicBezTo>
                  <a:cubicBezTo>
                    <a:pt x="2500" y="281"/>
                    <a:pt x="2479" y="277"/>
                    <a:pt x="2484" y="289"/>
                  </a:cubicBezTo>
                  <a:cubicBezTo>
                    <a:pt x="2493" y="290"/>
                    <a:pt x="2493" y="285"/>
                    <a:pt x="2498" y="284"/>
                  </a:cubicBezTo>
                  <a:cubicBezTo>
                    <a:pt x="2496" y="288"/>
                    <a:pt x="2502" y="287"/>
                    <a:pt x="2503" y="288"/>
                  </a:cubicBezTo>
                  <a:cubicBezTo>
                    <a:pt x="2505" y="290"/>
                    <a:pt x="2503" y="295"/>
                    <a:pt x="2509" y="293"/>
                  </a:cubicBezTo>
                  <a:cubicBezTo>
                    <a:pt x="2507" y="284"/>
                    <a:pt x="2508" y="287"/>
                    <a:pt x="2506" y="276"/>
                  </a:cubicBezTo>
                  <a:cubicBezTo>
                    <a:pt x="2512" y="282"/>
                    <a:pt x="2523" y="270"/>
                    <a:pt x="2525" y="281"/>
                  </a:cubicBezTo>
                  <a:cubicBezTo>
                    <a:pt x="2522" y="278"/>
                    <a:pt x="2515" y="278"/>
                    <a:pt x="2511" y="281"/>
                  </a:cubicBezTo>
                  <a:cubicBezTo>
                    <a:pt x="2512" y="287"/>
                    <a:pt x="2514" y="291"/>
                    <a:pt x="2520" y="293"/>
                  </a:cubicBezTo>
                  <a:cubicBezTo>
                    <a:pt x="2522" y="289"/>
                    <a:pt x="2526" y="288"/>
                    <a:pt x="2531" y="288"/>
                  </a:cubicBezTo>
                  <a:cubicBezTo>
                    <a:pt x="2531" y="290"/>
                    <a:pt x="2531" y="292"/>
                    <a:pt x="2534" y="292"/>
                  </a:cubicBezTo>
                  <a:cubicBezTo>
                    <a:pt x="2531" y="284"/>
                    <a:pt x="2533" y="284"/>
                    <a:pt x="2528" y="276"/>
                  </a:cubicBezTo>
                  <a:cubicBezTo>
                    <a:pt x="2531" y="274"/>
                    <a:pt x="2535" y="273"/>
                    <a:pt x="2542" y="273"/>
                  </a:cubicBezTo>
                  <a:cubicBezTo>
                    <a:pt x="2540" y="277"/>
                    <a:pt x="2538" y="278"/>
                    <a:pt x="2542" y="281"/>
                  </a:cubicBezTo>
                  <a:cubicBezTo>
                    <a:pt x="2544" y="282"/>
                    <a:pt x="2539" y="291"/>
                    <a:pt x="2545" y="290"/>
                  </a:cubicBezTo>
                  <a:cubicBezTo>
                    <a:pt x="2549" y="285"/>
                    <a:pt x="2551" y="283"/>
                    <a:pt x="2547" y="276"/>
                  </a:cubicBezTo>
                  <a:cubicBezTo>
                    <a:pt x="2558" y="280"/>
                    <a:pt x="2550" y="270"/>
                    <a:pt x="2555" y="269"/>
                  </a:cubicBezTo>
                  <a:cubicBezTo>
                    <a:pt x="2554" y="269"/>
                    <a:pt x="2564" y="276"/>
                    <a:pt x="2572" y="273"/>
                  </a:cubicBezTo>
                  <a:cubicBezTo>
                    <a:pt x="2573" y="272"/>
                    <a:pt x="2571" y="266"/>
                    <a:pt x="2577" y="268"/>
                  </a:cubicBezTo>
                  <a:cubicBezTo>
                    <a:pt x="2578" y="274"/>
                    <a:pt x="2576" y="278"/>
                    <a:pt x="2572" y="280"/>
                  </a:cubicBezTo>
                  <a:cubicBezTo>
                    <a:pt x="2571" y="277"/>
                    <a:pt x="2569" y="276"/>
                    <a:pt x="2566" y="275"/>
                  </a:cubicBezTo>
                  <a:cubicBezTo>
                    <a:pt x="2567" y="286"/>
                    <a:pt x="2558" y="276"/>
                    <a:pt x="2555" y="276"/>
                  </a:cubicBezTo>
                  <a:cubicBezTo>
                    <a:pt x="2552" y="281"/>
                    <a:pt x="2562" y="284"/>
                    <a:pt x="2555" y="285"/>
                  </a:cubicBezTo>
                  <a:cubicBezTo>
                    <a:pt x="2554" y="285"/>
                    <a:pt x="2552" y="285"/>
                    <a:pt x="2553" y="287"/>
                  </a:cubicBezTo>
                  <a:cubicBezTo>
                    <a:pt x="2560" y="288"/>
                    <a:pt x="2561" y="284"/>
                    <a:pt x="2566" y="282"/>
                  </a:cubicBezTo>
                  <a:cubicBezTo>
                    <a:pt x="2571" y="290"/>
                    <a:pt x="2578" y="281"/>
                    <a:pt x="2580" y="289"/>
                  </a:cubicBezTo>
                  <a:cubicBezTo>
                    <a:pt x="2580" y="291"/>
                    <a:pt x="2581" y="292"/>
                    <a:pt x="2583" y="292"/>
                  </a:cubicBezTo>
                  <a:cubicBezTo>
                    <a:pt x="2583" y="287"/>
                    <a:pt x="2580" y="286"/>
                    <a:pt x="2580" y="282"/>
                  </a:cubicBezTo>
                  <a:cubicBezTo>
                    <a:pt x="2583" y="282"/>
                    <a:pt x="2583" y="280"/>
                    <a:pt x="2585" y="280"/>
                  </a:cubicBezTo>
                  <a:cubicBezTo>
                    <a:pt x="2586" y="290"/>
                    <a:pt x="2587" y="280"/>
                    <a:pt x="2591" y="280"/>
                  </a:cubicBezTo>
                  <a:cubicBezTo>
                    <a:pt x="2589" y="285"/>
                    <a:pt x="2594" y="295"/>
                    <a:pt x="2597" y="289"/>
                  </a:cubicBezTo>
                  <a:cubicBezTo>
                    <a:pt x="2594" y="289"/>
                    <a:pt x="2593" y="285"/>
                    <a:pt x="2597" y="284"/>
                  </a:cubicBezTo>
                  <a:cubicBezTo>
                    <a:pt x="2600" y="284"/>
                    <a:pt x="2599" y="288"/>
                    <a:pt x="2602" y="289"/>
                  </a:cubicBezTo>
                  <a:cubicBezTo>
                    <a:pt x="2606" y="287"/>
                    <a:pt x="2602" y="283"/>
                    <a:pt x="2602" y="279"/>
                  </a:cubicBezTo>
                  <a:cubicBezTo>
                    <a:pt x="2602" y="277"/>
                    <a:pt x="2605" y="278"/>
                    <a:pt x="2605" y="277"/>
                  </a:cubicBezTo>
                  <a:cubicBezTo>
                    <a:pt x="2606" y="274"/>
                    <a:pt x="2601" y="266"/>
                    <a:pt x="2607" y="265"/>
                  </a:cubicBezTo>
                  <a:cubicBezTo>
                    <a:pt x="2614" y="270"/>
                    <a:pt x="2618" y="277"/>
                    <a:pt x="2629" y="277"/>
                  </a:cubicBezTo>
                  <a:cubicBezTo>
                    <a:pt x="2633" y="277"/>
                    <a:pt x="2632" y="272"/>
                    <a:pt x="2635" y="272"/>
                  </a:cubicBezTo>
                  <a:cubicBezTo>
                    <a:pt x="2638" y="271"/>
                    <a:pt x="2643" y="272"/>
                    <a:pt x="2643" y="269"/>
                  </a:cubicBezTo>
                  <a:cubicBezTo>
                    <a:pt x="2628" y="273"/>
                    <a:pt x="2637" y="256"/>
                    <a:pt x="2637" y="255"/>
                  </a:cubicBezTo>
                  <a:cubicBezTo>
                    <a:pt x="2642" y="248"/>
                    <a:pt x="2636" y="253"/>
                    <a:pt x="2634" y="248"/>
                  </a:cubicBezTo>
                  <a:cubicBezTo>
                    <a:pt x="2639" y="249"/>
                    <a:pt x="2644" y="250"/>
                    <a:pt x="2645" y="253"/>
                  </a:cubicBezTo>
                  <a:cubicBezTo>
                    <a:pt x="2641" y="253"/>
                    <a:pt x="2639" y="255"/>
                    <a:pt x="2640" y="260"/>
                  </a:cubicBezTo>
                  <a:cubicBezTo>
                    <a:pt x="2650" y="264"/>
                    <a:pt x="2655" y="257"/>
                    <a:pt x="2662" y="262"/>
                  </a:cubicBezTo>
                  <a:cubicBezTo>
                    <a:pt x="2658" y="265"/>
                    <a:pt x="2661" y="274"/>
                    <a:pt x="2654" y="274"/>
                  </a:cubicBezTo>
                  <a:cubicBezTo>
                    <a:pt x="2649" y="268"/>
                    <a:pt x="2658" y="265"/>
                    <a:pt x="2648" y="265"/>
                  </a:cubicBezTo>
                  <a:cubicBezTo>
                    <a:pt x="2646" y="276"/>
                    <a:pt x="2650" y="280"/>
                    <a:pt x="2646" y="290"/>
                  </a:cubicBezTo>
                  <a:cubicBezTo>
                    <a:pt x="2654" y="292"/>
                    <a:pt x="2649" y="286"/>
                    <a:pt x="2651" y="283"/>
                  </a:cubicBezTo>
                  <a:cubicBezTo>
                    <a:pt x="2653" y="282"/>
                    <a:pt x="2658" y="284"/>
                    <a:pt x="2657" y="281"/>
                  </a:cubicBezTo>
                  <a:cubicBezTo>
                    <a:pt x="2654" y="280"/>
                    <a:pt x="2650" y="277"/>
                    <a:pt x="2654" y="276"/>
                  </a:cubicBezTo>
                  <a:cubicBezTo>
                    <a:pt x="2661" y="278"/>
                    <a:pt x="2660" y="287"/>
                    <a:pt x="2668" y="288"/>
                  </a:cubicBezTo>
                  <a:cubicBezTo>
                    <a:pt x="2669" y="285"/>
                    <a:pt x="2672" y="282"/>
                    <a:pt x="2673" y="285"/>
                  </a:cubicBezTo>
                  <a:cubicBezTo>
                    <a:pt x="2674" y="287"/>
                    <a:pt x="2674" y="290"/>
                    <a:pt x="2676" y="290"/>
                  </a:cubicBezTo>
                  <a:cubicBezTo>
                    <a:pt x="2676" y="283"/>
                    <a:pt x="2677" y="278"/>
                    <a:pt x="2681" y="276"/>
                  </a:cubicBezTo>
                  <a:cubicBezTo>
                    <a:pt x="2684" y="283"/>
                    <a:pt x="2687" y="273"/>
                    <a:pt x="2690" y="273"/>
                  </a:cubicBezTo>
                  <a:cubicBezTo>
                    <a:pt x="2690" y="276"/>
                    <a:pt x="2692" y="276"/>
                    <a:pt x="2692" y="278"/>
                  </a:cubicBezTo>
                  <a:cubicBezTo>
                    <a:pt x="2690" y="281"/>
                    <a:pt x="2690" y="287"/>
                    <a:pt x="2684" y="287"/>
                  </a:cubicBezTo>
                  <a:cubicBezTo>
                    <a:pt x="2684" y="286"/>
                    <a:pt x="2682" y="285"/>
                    <a:pt x="2682" y="287"/>
                  </a:cubicBezTo>
                  <a:cubicBezTo>
                    <a:pt x="2689" y="293"/>
                    <a:pt x="2699" y="287"/>
                    <a:pt x="2701" y="287"/>
                  </a:cubicBezTo>
                  <a:cubicBezTo>
                    <a:pt x="2704" y="287"/>
                    <a:pt x="2703" y="283"/>
                    <a:pt x="2706" y="282"/>
                  </a:cubicBezTo>
                  <a:cubicBezTo>
                    <a:pt x="2709" y="282"/>
                    <a:pt x="2710" y="284"/>
                    <a:pt x="2712" y="285"/>
                  </a:cubicBezTo>
                  <a:cubicBezTo>
                    <a:pt x="2715" y="275"/>
                    <a:pt x="2700" y="281"/>
                    <a:pt x="2698" y="275"/>
                  </a:cubicBezTo>
                  <a:cubicBezTo>
                    <a:pt x="2702" y="275"/>
                    <a:pt x="2708" y="276"/>
                    <a:pt x="2709" y="273"/>
                  </a:cubicBezTo>
                  <a:cubicBezTo>
                    <a:pt x="2696" y="273"/>
                    <a:pt x="2699" y="251"/>
                    <a:pt x="2711" y="252"/>
                  </a:cubicBezTo>
                  <a:cubicBezTo>
                    <a:pt x="2712" y="255"/>
                    <a:pt x="2710" y="260"/>
                    <a:pt x="2714" y="261"/>
                  </a:cubicBezTo>
                  <a:cubicBezTo>
                    <a:pt x="2720" y="259"/>
                    <a:pt x="2713" y="248"/>
                    <a:pt x="2719" y="247"/>
                  </a:cubicBezTo>
                  <a:cubicBezTo>
                    <a:pt x="2715" y="256"/>
                    <a:pt x="2725" y="258"/>
                    <a:pt x="2725" y="263"/>
                  </a:cubicBezTo>
                  <a:cubicBezTo>
                    <a:pt x="2725" y="263"/>
                    <a:pt x="2720" y="263"/>
                    <a:pt x="2720" y="263"/>
                  </a:cubicBezTo>
                  <a:cubicBezTo>
                    <a:pt x="2719" y="264"/>
                    <a:pt x="2719" y="272"/>
                    <a:pt x="2723" y="280"/>
                  </a:cubicBezTo>
                  <a:cubicBezTo>
                    <a:pt x="2719" y="280"/>
                    <a:pt x="2717" y="279"/>
                    <a:pt x="2714" y="277"/>
                  </a:cubicBezTo>
                  <a:cubicBezTo>
                    <a:pt x="2714" y="281"/>
                    <a:pt x="2716" y="283"/>
                    <a:pt x="2717" y="285"/>
                  </a:cubicBezTo>
                  <a:cubicBezTo>
                    <a:pt x="2723" y="284"/>
                    <a:pt x="2723" y="288"/>
                    <a:pt x="2726" y="289"/>
                  </a:cubicBezTo>
                  <a:cubicBezTo>
                    <a:pt x="2726" y="284"/>
                    <a:pt x="2731" y="273"/>
                    <a:pt x="2731" y="275"/>
                  </a:cubicBezTo>
                  <a:cubicBezTo>
                    <a:pt x="2731" y="273"/>
                    <a:pt x="2728" y="268"/>
                    <a:pt x="2728" y="268"/>
                  </a:cubicBezTo>
                  <a:cubicBezTo>
                    <a:pt x="2729" y="266"/>
                    <a:pt x="2735" y="265"/>
                    <a:pt x="2736" y="263"/>
                  </a:cubicBezTo>
                  <a:cubicBezTo>
                    <a:pt x="2739" y="259"/>
                    <a:pt x="2735" y="255"/>
                    <a:pt x="2741" y="254"/>
                  </a:cubicBezTo>
                  <a:cubicBezTo>
                    <a:pt x="2745" y="254"/>
                    <a:pt x="2747" y="256"/>
                    <a:pt x="2747" y="260"/>
                  </a:cubicBezTo>
                  <a:cubicBezTo>
                    <a:pt x="2742" y="260"/>
                    <a:pt x="2741" y="263"/>
                    <a:pt x="2736" y="263"/>
                  </a:cubicBezTo>
                  <a:cubicBezTo>
                    <a:pt x="2738" y="266"/>
                    <a:pt x="2733" y="275"/>
                    <a:pt x="2739" y="275"/>
                  </a:cubicBezTo>
                  <a:cubicBezTo>
                    <a:pt x="2742" y="270"/>
                    <a:pt x="2738" y="264"/>
                    <a:pt x="2750" y="263"/>
                  </a:cubicBezTo>
                  <a:cubicBezTo>
                    <a:pt x="2751" y="268"/>
                    <a:pt x="2745" y="268"/>
                    <a:pt x="2747" y="275"/>
                  </a:cubicBezTo>
                  <a:cubicBezTo>
                    <a:pt x="2748" y="274"/>
                    <a:pt x="2752" y="275"/>
                    <a:pt x="2753" y="275"/>
                  </a:cubicBezTo>
                  <a:cubicBezTo>
                    <a:pt x="2753" y="273"/>
                    <a:pt x="2752" y="271"/>
                    <a:pt x="2753" y="270"/>
                  </a:cubicBezTo>
                  <a:cubicBezTo>
                    <a:pt x="2754" y="265"/>
                    <a:pt x="2759" y="256"/>
                    <a:pt x="2755" y="251"/>
                  </a:cubicBezTo>
                  <a:cubicBezTo>
                    <a:pt x="2764" y="252"/>
                    <a:pt x="2766" y="250"/>
                    <a:pt x="2769" y="253"/>
                  </a:cubicBezTo>
                  <a:cubicBezTo>
                    <a:pt x="2768" y="255"/>
                    <a:pt x="2767" y="256"/>
                    <a:pt x="2763" y="256"/>
                  </a:cubicBezTo>
                  <a:cubicBezTo>
                    <a:pt x="2763" y="257"/>
                    <a:pt x="2763" y="260"/>
                    <a:pt x="2761" y="260"/>
                  </a:cubicBezTo>
                  <a:cubicBezTo>
                    <a:pt x="2763" y="264"/>
                    <a:pt x="2762" y="272"/>
                    <a:pt x="2767" y="274"/>
                  </a:cubicBezTo>
                  <a:cubicBezTo>
                    <a:pt x="2769" y="266"/>
                    <a:pt x="2780" y="274"/>
                    <a:pt x="2783" y="269"/>
                  </a:cubicBezTo>
                  <a:cubicBezTo>
                    <a:pt x="2779" y="269"/>
                    <a:pt x="2783" y="260"/>
                    <a:pt x="2783" y="260"/>
                  </a:cubicBezTo>
                  <a:cubicBezTo>
                    <a:pt x="2784" y="259"/>
                    <a:pt x="2788" y="262"/>
                    <a:pt x="2788" y="262"/>
                  </a:cubicBezTo>
                  <a:cubicBezTo>
                    <a:pt x="2789" y="257"/>
                    <a:pt x="2783" y="255"/>
                    <a:pt x="2785" y="246"/>
                  </a:cubicBezTo>
                  <a:cubicBezTo>
                    <a:pt x="2789" y="246"/>
                    <a:pt x="2789" y="243"/>
                    <a:pt x="2793" y="243"/>
                  </a:cubicBezTo>
                  <a:cubicBezTo>
                    <a:pt x="2796" y="252"/>
                    <a:pt x="2787" y="256"/>
                    <a:pt x="2794" y="262"/>
                  </a:cubicBezTo>
                  <a:cubicBezTo>
                    <a:pt x="2789" y="262"/>
                    <a:pt x="2787" y="264"/>
                    <a:pt x="2786" y="267"/>
                  </a:cubicBezTo>
                  <a:cubicBezTo>
                    <a:pt x="2792" y="267"/>
                    <a:pt x="2789" y="268"/>
                    <a:pt x="2788" y="272"/>
                  </a:cubicBezTo>
                  <a:cubicBezTo>
                    <a:pt x="2787" y="278"/>
                    <a:pt x="2792" y="281"/>
                    <a:pt x="2791" y="283"/>
                  </a:cubicBezTo>
                  <a:cubicBezTo>
                    <a:pt x="2791" y="283"/>
                    <a:pt x="2781" y="286"/>
                    <a:pt x="2789" y="288"/>
                  </a:cubicBezTo>
                  <a:cubicBezTo>
                    <a:pt x="2792" y="284"/>
                    <a:pt x="2797" y="279"/>
                    <a:pt x="2791" y="274"/>
                  </a:cubicBezTo>
                  <a:cubicBezTo>
                    <a:pt x="2795" y="274"/>
                    <a:pt x="2797" y="273"/>
                    <a:pt x="2799" y="271"/>
                  </a:cubicBezTo>
                  <a:cubicBezTo>
                    <a:pt x="2799" y="274"/>
                    <a:pt x="2800" y="286"/>
                    <a:pt x="2802" y="278"/>
                  </a:cubicBezTo>
                  <a:cubicBezTo>
                    <a:pt x="2799" y="266"/>
                    <a:pt x="2808" y="278"/>
                    <a:pt x="2810" y="271"/>
                  </a:cubicBezTo>
                  <a:cubicBezTo>
                    <a:pt x="2805" y="272"/>
                    <a:pt x="2806" y="260"/>
                    <a:pt x="2813" y="264"/>
                  </a:cubicBezTo>
                  <a:cubicBezTo>
                    <a:pt x="2811" y="266"/>
                    <a:pt x="2807" y="273"/>
                    <a:pt x="2816" y="271"/>
                  </a:cubicBezTo>
                  <a:cubicBezTo>
                    <a:pt x="2817" y="268"/>
                    <a:pt x="2812" y="259"/>
                    <a:pt x="2818" y="259"/>
                  </a:cubicBezTo>
                  <a:cubicBezTo>
                    <a:pt x="2817" y="267"/>
                    <a:pt x="2826" y="270"/>
                    <a:pt x="2830" y="275"/>
                  </a:cubicBezTo>
                  <a:cubicBezTo>
                    <a:pt x="2832" y="279"/>
                    <a:pt x="2829" y="288"/>
                    <a:pt x="2838" y="287"/>
                  </a:cubicBezTo>
                  <a:cubicBezTo>
                    <a:pt x="2838" y="283"/>
                    <a:pt x="2830" y="274"/>
                    <a:pt x="2838" y="271"/>
                  </a:cubicBezTo>
                  <a:cubicBezTo>
                    <a:pt x="2842" y="271"/>
                    <a:pt x="2841" y="276"/>
                    <a:pt x="2843" y="278"/>
                  </a:cubicBezTo>
                  <a:cubicBezTo>
                    <a:pt x="2836" y="272"/>
                    <a:pt x="2837" y="282"/>
                    <a:pt x="2841" y="285"/>
                  </a:cubicBezTo>
                  <a:cubicBezTo>
                    <a:pt x="2861" y="284"/>
                    <a:pt x="2841" y="259"/>
                    <a:pt x="2859" y="254"/>
                  </a:cubicBezTo>
                  <a:cubicBezTo>
                    <a:pt x="2859" y="257"/>
                    <a:pt x="2861" y="259"/>
                    <a:pt x="2862" y="261"/>
                  </a:cubicBezTo>
                  <a:cubicBezTo>
                    <a:pt x="2856" y="261"/>
                    <a:pt x="2861" y="269"/>
                    <a:pt x="2860" y="273"/>
                  </a:cubicBezTo>
                  <a:cubicBezTo>
                    <a:pt x="2855" y="271"/>
                    <a:pt x="2855" y="284"/>
                    <a:pt x="2860" y="282"/>
                  </a:cubicBezTo>
                  <a:cubicBezTo>
                    <a:pt x="2860" y="279"/>
                    <a:pt x="2863" y="278"/>
                    <a:pt x="2865" y="277"/>
                  </a:cubicBezTo>
                  <a:cubicBezTo>
                    <a:pt x="2870" y="283"/>
                    <a:pt x="2861" y="286"/>
                    <a:pt x="2871" y="287"/>
                  </a:cubicBezTo>
                  <a:cubicBezTo>
                    <a:pt x="2873" y="278"/>
                    <a:pt x="2862" y="271"/>
                    <a:pt x="2876" y="270"/>
                  </a:cubicBezTo>
                  <a:cubicBezTo>
                    <a:pt x="2879" y="277"/>
                    <a:pt x="2872" y="276"/>
                    <a:pt x="2874" y="282"/>
                  </a:cubicBezTo>
                  <a:cubicBezTo>
                    <a:pt x="2885" y="280"/>
                    <a:pt x="2879" y="273"/>
                    <a:pt x="2879" y="265"/>
                  </a:cubicBezTo>
                  <a:cubicBezTo>
                    <a:pt x="2881" y="265"/>
                    <a:pt x="2884" y="265"/>
                    <a:pt x="2884" y="263"/>
                  </a:cubicBezTo>
                  <a:cubicBezTo>
                    <a:pt x="2886" y="263"/>
                    <a:pt x="2887" y="261"/>
                    <a:pt x="2884" y="260"/>
                  </a:cubicBezTo>
                  <a:cubicBezTo>
                    <a:pt x="2884" y="264"/>
                    <a:pt x="2880" y="261"/>
                    <a:pt x="2879" y="258"/>
                  </a:cubicBezTo>
                  <a:cubicBezTo>
                    <a:pt x="2884" y="259"/>
                    <a:pt x="2884" y="255"/>
                    <a:pt x="2887" y="253"/>
                  </a:cubicBezTo>
                  <a:cubicBezTo>
                    <a:pt x="2887" y="255"/>
                    <a:pt x="2887" y="256"/>
                    <a:pt x="2888" y="257"/>
                  </a:cubicBezTo>
                  <a:cubicBezTo>
                    <a:pt x="2888" y="244"/>
                    <a:pt x="2888" y="244"/>
                    <a:pt x="2888" y="244"/>
                  </a:cubicBezTo>
                  <a:cubicBezTo>
                    <a:pt x="2887" y="244"/>
                    <a:pt x="2885" y="244"/>
                    <a:pt x="2884" y="244"/>
                  </a:cubicBezTo>
                  <a:cubicBezTo>
                    <a:pt x="2884" y="242"/>
                    <a:pt x="2884" y="239"/>
                    <a:pt x="2884" y="237"/>
                  </a:cubicBezTo>
                  <a:cubicBezTo>
                    <a:pt x="2886" y="237"/>
                    <a:pt x="2887" y="238"/>
                    <a:pt x="2888" y="239"/>
                  </a:cubicBezTo>
                  <a:cubicBezTo>
                    <a:pt x="2888" y="205"/>
                    <a:pt x="2888" y="205"/>
                    <a:pt x="2888" y="205"/>
                  </a:cubicBezTo>
                  <a:cubicBezTo>
                    <a:pt x="2885" y="205"/>
                    <a:pt x="2883" y="205"/>
                    <a:pt x="2881" y="209"/>
                  </a:cubicBezTo>
                  <a:cubicBezTo>
                    <a:pt x="2884" y="211"/>
                    <a:pt x="2893" y="228"/>
                    <a:pt x="2881" y="228"/>
                  </a:cubicBezTo>
                  <a:cubicBezTo>
                    <a:pt x="2886" y="223"/>
                    <a:pt x="2880" y="220"/>
                    <a:pt x="2875" y="218"/>
                  </a:cubicBezTo>
                  <a:cubicBezTo>
                    <a:pt x="2875" y="222"/>
                    <a:pt x="2876" y="227"/>
                    <a:pt x="2873" y="228"/>
                  </a:cubicBezTo>
                  <a:cubicBezTo>
                    <a:pt x="2872" y="222"/>
                    <a:pt x="2871" y="217"/>
                    <a:pt x="2862" y="219"/>
                  </a:cubicBezTo>
                  <a:cubicBezTo>
                    <a:pt x="2860" y="224"/>
                    <a:pt x="2865" y="236"/>
                    <a:pt x="2859" y="237"/>
                  </a:cubicBezTo>
                  <a:cubicBezTo>
                    <a:pt x="2855" y="232"/>
                    <a:pt x="2852" y="240"/>
                    <a:pt x="2851" y="235"/>
                  </a:cubicBezTo>
                  <a:cubicBezTo>
                    <a:pt x="2851" y="231"/>
                    <a:pt x="2851" y="228"/>
                    <a:pt x="2853" y="226"/>
                  </a:cubicBezTo>
                  <a:cubicBezTo>
                    <a:pt x="2851" y="225"/>
                    <a:pt x="2848" y="226"/>
                    <a:pt x="2848" y="223"/>
                  </a:cubicBezTo>
                  <a:cubicBezTo>
                    <a:pt x="2857" y="221"/>
                    <a:pt x="2854" y="229"/>
                    <a:pt x="2859" y="230"/>
                  </a:cubicBezTo>
                  <a:cubicBezTo>
                    <a:pt x="2857" y="227"/>
                    <a:pt x="2862" y="218"/>
                    <a:pt x="2856" y="219"/>
                  </a:cubicBezTo>
                  <a:cubicBezTo>
                    <a:pt x="2856" y="221"/>
                    <a:pt x="2851" y="222"/>
                    <a:pt x="2851" y="219"/>
                  </a:cubicBezTo>
                  <a:cubicBezTo>
                    <a:pt x="2851" y="209"/>
                    <a:pt x="2859" y="220"/>
                    <a:pt x="2861" y="214"/>
                  </a:cubicBezTo>
                  <a:cubicBezTo>
                    <a:pt x="2857" y="213"/>
                    <a:pt x="2859" y="209"/>
                    <a:pt x="2861" y="207"/>
                  </a:cubicBezTo>
                  <a:cubicBezTo>
                    <a:pt x="2855" y="204"/>
                    <a:pt x="2860" y="192"/>
                    <a:pt x="2858" y="186"/>
                  </a:cubicBezTo>
                  <a:cubicBezTo>
                    <a:pt x="2862" y="185"/>
                    <a:pt x="2862" y="183"/>
                    <a:pt x="2866" y="183"/>
                  </a:cubicBezTo>
                  <a:cubicBezTo>
                    <a:pt x="2860" y="196"/>
                    <a:pt x="2870" y="207"/>
                    <a:pt x="2864" y="216"/>
                  </a:cubicBezTo>
                  <a:cubicBezTo>
                    <a:pt x="2867" y="216"/>
                    <a:pt x="2870" y="216"/>
                    <a:pt x="2873" y="216"/>
                  </a:cubicBezTo>
                  <a:cubicBezTo>
                    <a:pt x="2869" y="209"/>
                    <a:pt x="2873" y="210"/>
                    <a:pt x="2870" y="204"/>
                  </a:cubicBezTo>
                  <a:cubicBezTo>
                    <a:pt x="2874" y="204"/>
                    <a:pt x="2871" y="198"/>
                    <a:pt x="2875" y="197"/>
                  </a:cubicBezTo>
                  <a:cubicBezTo>
                    <a:pt x="2876" y="200"/>
                    <a:pt x="2878" y="202"/>
                    <a:pt x="2881" y="204"/>
                  </a:cubicBezTo>
                  <a:cubicBezTo>
                    <a:pt x="2877" y="196"/>
                    <a:pt x="2884" y="198"/>
                    <a:pt x="2888" y="197"/>
                  </a:cubicBezTo>
                  <a:cubicBezTo>
                    <a:pt x="2888" y="191"/>
                    <a:pt x="2888" y="191"/>
                    <a:pt x="2888" y="191"/>
                  </a:cubicBezTo>
                  <a:cubicBezTo>
                    <a:pt x="2888" y="190"/>
                    <a:pt x="2888" y="189"/>
                    <a:pt x="2888" y="188"/>
                  </a:cubicBezTo>
                  <a:cubicBezTo>
                    <a:pt x="2888" y="159"/>
                    <a:pt x="2888" y="159"/>
                    <a:pt x="2888" y="159"/>
                  </a:cubicBezTo>
                  <a:cubicBezTo>
                    <a:pt x="2885" y="158"/>
                    <a:pt x="2882" y="158"/>
                    <a:pt x="2877" y="160"/>
                  </a:cubicBezTo>
                  <a:cubicBezTo>
                    <a:pt x="2877" y="157"/>
                    <a:pt x="2880" y="158"/>
                    <a:pt x="2882" y="157"/>
                  </a:cubicBezTo>
                  <a:cubicBezTo>
                    <a:pt x="2883" y="155"/>
                    <a:pt x="2881" y="155"/>
                    <a:pt x="2880" y="155"/>
                  </a:cubicBezTo>
                  <a:cubicBezTo>
                    <a:pt x="2879" y="151"/>
                    <a:pt x="2884" y="152"/>
                    <a:pt x="2888" y="152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2" y="148"/>
                    <a:pt x="2884" y="141"/>
                    <a:pt x="2877" y="143"/>
                  </a:cubicBezTo>
                  <a:cubicBezTo>
                    <a:pt x="2876" y="145"/>
                    <a:pt x="2877" y="148"/>
                    <a:pt x="2874" y="148"/>
                  </a:cubicBezTo>
                  <a:cubicBezTo>
                    <a:pt x="2874" y="140"/>
                    <a:pt x="2871" y="146"/>
                    <a:pt x="2866" y="146"/>
                  </a:cubicBezTo>
                  <a:cubicBezTo>
                    <a:pt x="2866" y="146"/>
                    <a:pt x="2866" y="143"/>
                    <a:pt x="2866" y="143"/>
                  </a:cubicBezTo>
                  <a:cubicBezTo>
                    <a:pt x="2863" y="142"/>
                    <a:pt x="2859" y="146"/>
                    <a:pt x="2858" y="146"/>
                  </a:cubicBezTo>
                  <a:cubicBezTo>
                    <a:pt x="2855" y="145"/>
                    <a:pt x="2855" y="141"/>
                    <a:pt x="2849" y="141"/>
                  </a:cubicBezTo>
                  <a:cubicBezTo>
                    <a:pt x="2848" y="141"/>
                    <a:pt x="2849" y="147"/>
                    <a:pt x="2847" y="146"/>
                  </a:cubicBezTo>
                  <a:cubicBezTo>
                    <a:pt x="2849" y="138"/>
                    <a:pt x="2838" y="143"/>
                    <a:pt x="2835" y="139"/>
                  </a:cubicBezTo>
                  <a:cubicBezTo>
                    <a:pt x="2829" y="145"/>
                    <a:pt x="2836" y="151"/>
                    <a:pt x="2836" y="158"/>
                  </a:cubicBezTo>
                  <a:cubicBezTo>
                    <a:pt x="2832" y="157"/>
                    <a:pt x="2826" y="160"/>
                    <a:pt x="2822" y="158"/>
                  </a:cubicBezTo>
                  <a:cubicBezTo>
                    <a:pt x="2821" y="158"/>
                    <a:pt x="2822" y="151"/>
                    <a:pt x="2816" y="153"/>
                  </a:cubicBezTo>
                  <a:cubicBezTo>
                    <a:pt x="2818" y="161"/>
                    <a:pt x="2815" y="164"/>
                    <a:pt x="2814" y="170"/>
                  </a:cubicBezTo>
                  <a:cubicBezTo>
                    <a:pt x="2823" y="172"/>
                    <a:pt x="2818" y="162"/>
                    <a:pt x="2825" y="163"/>
                  </a:cubicBezTo>
                  <a:cubicBezTo>
                    <a:pt x="2825" y="166"/>
                    <a:pt x="2826" y="168"/>
                    <a:pt x="2828" y="170"/>
                  </a:cubicBezTo>
                  <a:cubicBezTo>
                    <a:pt x="2821" y="171"/>
                    <a:pt x="2822" y="177"/>
                    <a:pt x="2817" y="179"/>
                  </a:cubicBezTo>
                  <a:cubicBezTo>
                    <a:pt x="2818" y="174"/>
                    <a:pt x="2816" y="171"/>
                    <a:pt x="2811" y="170"/>
                  </a:cubicBezTo>
                  <a:cubicBezTo>
                    <a:pt x="2811" y="173"/>
                    <a:pt x="2812" y="177"/>
                    <a:pt x="2809" y="177"/>
                  </a:cubicBezTo>
                  <a:cubicBezTo>
                    <a:pt x="2810" y="171"/>
                    <a:pt x="2798" y="175"/>
                    <a:pt x="2798" y="170"/>
                  </a:cubicBezTo>
                  <a:cubicBezTo>
                    <a:pt x="2805" y="172"/>
                    <a:pt x="2795" y="159"/>
                    <a:pt x="2803" y="161"/>
                  </a:cubicBezTo>
                  <a:cubicBezTo>
                    <a:pt x="2803" y="164"/>
                    <a:pt x="2802" y="169"/>
                    <a:pt x="2806" y="170"/>
                  </a:cubicBezTo>
                  <a:cubicBezTo>
                    <a:pt x="2808" y="158"/>
                    <a:pt x="2819" y="154"/>
                    <a:pt x="2814" y="142"/>
                  </a:cubicBezTo>
                  <a:cubicBezTo>
                    <a:pt x="2815" y="142"/>
                    <a:pt x="2817" y="140"/>
                    <a:pt x="2814" y="139"/>
                  </a:cubicBezTo>
                  <a:cubicBezTo>
                    <a:pt x="2812" y="142"/>
                    <a:pt x="2811" y="145"/>
                    <a:pt x="2808" y="147"/>
                  </a:cubicBezTo>
                  <a:cubicBezTo>
                    <a:pt x="2803" y="140"/>
                    <a:pt x="2792" y="144"/>
                    <a:pt x="2784" y="147"/>
                  </a:cubicBezTo>
                  <a:cubicBezTo>
                    <a:pt x="2787" y="139"/>
                    <a:pt x="2775" y="145"/>
                    <a:pt x="2778" y="138"/>
                  </a:cubicBezTo>
                  <a:cubicBezTo>
                    <a:pt x="2768" y="138"/>
                    <a:pt x="2772" y="150"/>
                    <a:pt x="2759" y="147"/>
                  </a:cubicBezTo>
                  <a:cubicBezTo>
                    <a:pt x="2759" y="144"/>
                    <a:pt x="2759" y="141"/>
                    <a:pt x="2759" y="138"/>
                  </a:cubicBezTo>
                  <a:cubicBezTo>
                    <a:pt x="2749" y="139"/>
                    <a:pt x="2748" y="142"/>
                    <a:pt x="2739" y="138"/>
                  </a:cubicBezTo>
                  <a:cubicBezTo>
                    <a:pt x="2739" y="143"/>
                    <a:pt x="2738" y="146"/>
                    <a:pt x="2734" y="148"/>
                  </a:cubicBezTo>
                  <a:cubicBezTo>
                    <a:pt x="2736" y="143"/>
                    <a:pt x="2733" y="130"/>
                    <a:pt x="2728" y="139"/>
                  </a:cubicBezTo>
                  <a:cubicBezTo>
                    <a:pt x="2733" y="139"/>
                    <a:pt x="2729" y="142"/>
                    <a:pt x="2729" y="146"/>
                  </a:cubicBezTo>
                  <a:cubicBezTo>
                    <a:pt x="2729" y="148"/>
                    <a:pt x="2731" y="148"/>
                    <a:pt x="2731" y="150"/>
                  </a:cubicBezTo>
                  <a:cubicBezTo>
                    <a:pt x="2731" y="150"/>
                    <a:pt x="2728" y="151"/>
                    <a:pt x="2729" y="153"/>
                  </a:cubicBezTo>
                  <a:cubicBezTo>
                    <a:pt x="2729" y="153"/>
                    <a:pt x="2733" y="153"/>
                    <a:pt x="2731" y="155"/>
                  </a:cubicBezTo>
                  <a:cubicBezTo>
                    <a:pt x="2727" y="155"/>
                    <a:pt x="2721" y="156"/>
                    <a:pt x="2720" y="153"/>
                  </a:cubicBezTo>
                  <a:cubicBezTo>
                    <a:pt x="2722" y="148"/>
                    <a:pt x="2728" y="148"/>
                    <a:pt x="2726" y="141"/>
                  </a:cubicBezTo>
                  <a:cubicBezTo>
                    <a:pt x="2717" y="144"/>
                    <a:pt x="2716" y="140"/>
                    <a:pt x="2707" y="144"/>
                  </a:cubicBezTo>
                  <a:cubicBezTo>
                    <a:pt x="2710" y="139"/>
                    <a:pt x="2702" y="133"/>
                    <a:pt x="2701" y="139"/>
                  </a:cubicBezTo>
                  <a:cubicBezTo>
                    <a:pt x="2710" y="142"/>
                    <a:pt x="2694" y="142"/>
                    <a:pt x="2690" y="142"/>
                  </a:cubicBezTo>
                  <a:cubicBezTo>
                    <a:pt x="2688" y="149"/>
                    <a:pt x="2697" y="146"/>
                    <a:pt x="2698" y="151"/>
                  </a:cubicBezTo>
                  <a:cubicBezTo>
                    <a:pt x="2693" y="152"/>
                    <a:pt x="2698" y="161"/>
                    <a:pt x="2693" y="163"/>
                  </a:cubicBezTo>
                  <a:cubicBezTo>
                    <a:pt x="2696" y="164"/>
                    <a:pt x="2699" y="165"/>
                    <a:pt x="2702" y="167"/>
                  </a:cubicBezTo>
                  <a:cubicBezTo>
                    <a:pt x="2701" y="172"/>
                    <a:pt x="2696" y="174"/>
                    <a:pt x="2693" y="177"/>
                  </a:cubicBezTo>
                  <a:cubicBezTo>
                    <a:pt x="2699" y="182"/>
                    <a:pt x="2691" y="188"/>
                    <a:pt x="2699" y="193"/>
                  </a:cubicBezTo>
                  <a:cubicBezTo>
                    <a:pt x="2696" y="194"/>
                    <a:pt x="2694" y="196"/>
                    <a:pt x="2694" y="200"/>
                  </a:cubicBezTo>
                  <a:cubicBezTo>
                    <a:pt x="2697" y="207"/>
                    <a:pt x="2694" y="206"/>
                    <a:pt x="2700" y="210"/>
                  </a:cubicBezTo>
                  <a:cubicBezTo>
                    <a:pt x="2698" y="213"/>
                    <a:pt x="2695" y="215"/>
                    <a:pt x="2691" y="217"/>
                  </a:cubicBezTo>
                  <a:cubicBezTo>
                    <a:pt x="2689" y="215"/>
                    <a:pt x="2688" y="202"/>
                    <a:pt x="2683" y="210"/>
                  </a:cubicBezTo>
                  <a:cubicBezTo>
                    <a:pt x="2690" y="213"/>
                    <a:pt x="2683" y="220"/>
                    <a:pt x="2683" y="224"/>
                  </a:cubicBezTo>
                  <a:cubicBezTo>
                    <a:pt x="2683" y="226"/>
                    <a:pt x="2681" y="227"/>
                    <a:pt x="2681" y="226"/>
                  </a:cubicBezTo>
                  <a:cubicBezTo>
                    <a:pt x="2680" y="231"/>
                    <a:pt x="2684" y="232"/>
                    <a:pt x="2683" y="236"/>
                  </a:cubicBezTo>
                  <a:cubicBezTo>
                    <a:pt x="2680" y="233"/>
                    <a:pt x="2673" y="234"/>
                    <a:pt x="2672" y="229"/>
                  </a:cubicBezTo>
                  <a:cubicBezTo>
                    <a:pt x="2677" y="224"/>
                    <a:pt x="2676" y="212"/>
                    <a:pt x="2669" y="210"/>
                  </a:cubicBezTo>
                  <a:cubicBezTo>
                    <a:pt x="2668" y="216"/>
                    <a:pt x="2673" y="227"/>
                    <a:pt x="2667" y="229"/>
                  </a:cubicBezTo>
                  <a:cubicBezTo>
                    <a:pt x="2662" y="229"/>
                    <a:pt x="2665" y="222"/>
                    <a:pt x="2661" y="222"/>
                  </a:cubicBezTo>
                  <a:cubicBezTo>
                    <a:pt x="2662" y="222"/>
                    <a:pt x="2658" y="231"/>
                    <a:pt x="2653" y="227"/>
                  </a:cubicBezTo>
                  <a:cubicBezTo>
                    <a:pt x="2653" y="222"/>
                    <a:pt x="2661" y="224"/>
                    <a:pt x="2658" y="217"/>
                  </a:cubicBezTo>
                  <a:cubicBezTo>
                    <a:pt x="2650" y="215"/>
                    <a:pt x="2652" y="221"/>
                    <a:pt x="2648" y="222"/>
                  </a:cubicBezTo>
                  <a:cubicBezTo>
                    <a:pt x="2647" y="213"/>
                    <a:pt x="2640" y="222"/>
                    <a:pt x="2634" y="218"/>
                  </a:cubicBezTo>
                  <a:cubicBezTo>
                    <a:pt x="2634" y="224"/>
                    <a:pt x="2635" y="229"/>
                    <a:pt x="2629" y="230"/>
                  </a:cubicBezTo>
                  <a:cubicBezTo>
                    <a:pt x="2627" y="224"/>
                    <a:pt x="2633" y="224"/>
                    <a:pt x="2631" y="218"/>
                  </a:cubicBezTo>
                  <a:cubicBezTo>
                    <a:pt x="2627" y="216"/>
                    <a:pt x="2622" y="221"/>
                    <a:pt x="2620" y="220"/>
                  </a:cubicBezTo>
                  <a:cubicBezTo>
                    <a:pt x="2616" y="219"/>
                    <a:pt x="2619" y="205"/>
                    <a:pt x="2612" y="214"/>
                  </a:cubicBezTo>
                  <a:cubicBezTo>
                    <a:pt x="2616" y="212"/>
                    <a:pt x="2616" y="225"/>
                    <a:pt x="2612" y="223"/>
                  </a:cubicBezTo>
                  <a:cubicBezTo>
                    <a:pt x="2614" y="212"/>
                    <a:pt x="2603" y="213"/>
                    <a:pt x="2598" y="209"/>
                  </a:cubicBezTo>
                  <a:cubicBezTo>
                    <a:pt x="2609" y="212"/>
                    <a:pt x="2608" y="205"/>
                    <a:pt x="2612" y="202"/>
                  </a:cubicBezTo>
                  <a:cubicBezTo>
                    <a:pt x="2621" y="200"/>
                    <a:pt x="2637" y="204"/>
                    <a:pt x="2642" y="199"/>
                  </a:cubicBezTo>
                  <a:cubicBezTo>
                    <a:pt x="2638" y="193"/>
                    <a:pt x="2634" y="203"/>
                    <a:pt x="2631" y="197"/>
                  </a:cubicBezTo>
                  <a:cubicBezTo>
                    <a:pt x="2635" y="196"/>
                    <a:pt x="2635" y="193"/>
                    <a:pt x="2639" y="192"/>
                  </a:cubicBezTo>
                  <a:cubicBezTo>
                    <a:pt x="2643" y="195"/>
                    <a:pt x="2642" y="202"/>
                    <a:pt x="2650" y="201"/>
                  </a:cubicBezTo>
                  <a:cubicBezTo>
                    <a:pt x="2647" y="194"/>
                    <a:pt x="2659" y="198"/>
                    <a:pt x="2661" y="194"/>
                  </a:cubicBezTo>
                  <a:cubicBezTo>
                    <a:pt x="2662" y="199"/>
                    <a:pt x="2666" y="200"/>
                    <a:pt x="2669" y="203"/>
                  </a:cubicBezTo>
                  <a:cubicBezTo>
                    <a:pt x="2665" y="203"/>
                    <a:pt x="2662" y="205"/>
                    <a:pt x="2661" y="208"/>
                  </a:cubicBezTo>
                  <a:cubicBezTo>
                    <a:pt x="2669" y="206"/>
                    <a:pt x="2671" y="210"/>
                    <a:pt x="2678" y="210"/>
                  </a:cubicBezTo>
                  <a:cubicBezTo>
                    <a:pt x="2678" y="205"/>
                    <a:pt x="2674" y="205"/>
                    <a:pt x="2672" y="203"/>
                  </a:cubicBezTo>
                  <a:cubicBezTo>
                    <a:pt x="2679" y="199"/>
                    <a:pt x="2680" y="204"/>
                    <a:pt x="2683" y="203"/>
                  </a:cubicBezTo>
                  <a:cubicBezTo>
                    <a:pt x="2684" y="202"/>
                    <a:pt x="2682" y="197"/>
                    <a:pt x="2683" y="196"/>
                  </a:cubicBezTo>
                  <a:cubicBezTo>
                    <a:pt x="2685" y="194"/>
                    <a:pt x="2686" y="198"/>
                    <a:pt x="2686" y="198"/>
                  </a:cubicBezTo>
                  <a:cubicBezTo>
                    <a:pt x="2690" y="199"/>
                    <a:pt x="2695" y="192"/>
                    <a:pt x="2694" y="189"/>
                  </a:cubicBezTo>
                  <a:cubicBezTo>
                    <a:pt x="2687" y="186"/>
                    <a:pt x="2684" y="199"/>
                    <a:pt x="2680" y="191"/>
                  </a:cubicBezTo>
                  <a:cubicBezTo>
                    <a:pt x="2682" y="188"/>
                    <a:pt x="2686" y="187"/>
                    <a:pt x="2691" y="186"/>
                  </a:cubicBezTo>
                  <a:cubicBezTo>
                    <a:pt x="2691" y="182"/>
                    <a:pt x="2691" y="179"/>
                    <a:pt x="2693" y="177"/>
                  </a:cubicBezTo>
                  <a:cubicBezTo>
                    <a:pt x="2690" y="175"/>
                    <a:pt x="2688" y="172"/>
                    <a:pt x="2688" y="167"/>
                  </a:cubicBezTo>
                  <a:cubicBezTo>
                    <a:pt x="2684" y="167"/>
                    <a:pt x="2681" y="167"/>
                    <a:pt x="2682" y="163"/>
                  </a:cubicBezTo>
                  <a:cubicBezTo>
                    <a:pt x="2688" y="168"/>
                    <a:pt x="2689" y="159"/>
                    <a:pt x="2693" y="156"/>
                  </a:cubicBezTo>
                  <a:cubicBezTo>
                    <a:pt x="2690" y="155"/>
                    <a:pt x="2685" y="156"/>
                    <a:pt x="2685" y="154"/>
                  </a:cubicBezTo>
                  <a:cubicBezTo>
                    <a:pt x="2688" y="147"/>
                    <a:pt x="2688" y="141"/>
                    <a:pt x="2685" y="135"/>
                  </a:cubicBezTo>
                  <a:cubicBezTo>
                    <a:pt x="2694" y="138"/>
                    <a:pt x="2686" y="127"/>
                    <a:pt x="2693" y="128"/>
                  </a:cubicBezTo>
                  <a:cubicBezTo>
                    <a:pt x="2696" y="128"/>
                    <a:pt x="2696" y="131"/>
                    <a:pt x="2695" y="134"/>
                  </a:cubicBezTo>
                  <a:cubicBezTo>
                    <a:pt x="2702" y="130"/>
                    <a:pt x="2705" y="137"/>
                    <a:pt x="2709" y="132"/>
                  </a:cubicBezTo>
                  <a:cubicBezTo>
                    <a:pt x="2706" y="130"/>
                    <a:pt x="2704" y="127"/>
                    <a:pt x="2701" y="125"/>
                  </a:cubicBezTo>
                  <a:cubicBezTo>
                    <a:pt x="2705" y="125"/>
                    <a:pt x="2710" y="125"/>
                    <a:pt x="2709" y="120"/>
                  </a:cubicBezTo>
                  <a:cubicBezTo>
                    <a:pt x="2701" y="123"/>
                    <a:pt x="2701" y="120"/>
                    <a:pt x="2690" y="121"/>
                  </a:cubicBezTo>
                  <a:cubicBezTo>
                    <a:pt x="2690" y="126"/>
                    <a:pt x="2688" y="128"/>
                    <a:pt x="2682" y="128"/>
                  </a:cubicBezTo>
                  <a:cubicBezTo>
                    <a:pt x="2682" y="125"/>
                    <a:pt x="2685" y="124"/>
                    <a:pt x="2684" y="121"/>
                  </a:cubicBezTo>
                  <a:cubicBezTo>
                    <a:pt x="2672" y="118"/>
                    <a:pt x="2679" y="130"/>
                    <a:pt x="2668" y="128"/>
                  </a:cubicBezTo>
                  <a:cubicBezTo>
                    <a:pt x="2674" y="124"/>
                    <a:pt x="2667" y="121"/>
                    <a:pt x="2668" y="119"/>
                  </a:cubicBezTo>
                  <a:cubicBezTo>
                    <a:pt x="2668" y="118"/>
                    <a:pt x="2673" y="117"/>
                    <a:pt x="2670" y="114"/>
                  </a:cubicBezTo>
                  <a:cubicBezTo>
                    <a:pt x="2670" y="113"/>
                    <a:pt x="2664" y="114"/>
                    <a:pt x="2665" y="112"/>
                  </a:cubicBezTo>
                  <a:cubicBezTo>
                    <a:pt x="2678" y="107"/>
                    <a:pt x="2672" y="119"/>
                    <a:pt x="2681" y="118"/>
                  </a:cubicBezTo>
                  <a:cubicBezTo>
                    <a:pt x="2691" y="118"/>
                    <a:pt x="2676" y="111"/>
                    <a:pt x="2684" y="111"/>
                  </a:cubicBezTo>
                  <a:cubicBezTo>
                    <a:pt x="2687" y="112"/>
                    <a:pt x="2687" y="115"/>
                    <a:pt x="2687" y="118"/>
                  </a:cubicBezTo>
                  <a:cubicBezTo>
                    <a:pt x="2699" y="117"/>
                    <a:pt x="2715" y="120"/>
                    <a:pt x="2723" y="115"/>
                  </a:cubicBezTo>
                  <a:cubicBezTo>
                    <a:pt x="2727" y="117"/>
                    <a:pt x="2722" y="127"/>
                    <a:pt x="2731" y="124"/>
                  </a:cubicBezTo>
                  <a:cubicBezTo>
                    <a:pt x="2731" y="122"/>
                    <a:pt x="2730" y="118"/>
                    <a:pt x="2734" y="117"/>
                  </a:cubicBezTo>
                  <a:cubicBezTo>
                    <a:pt x="2737" y="117"/>
                    <a:pt x="2741" y="117"/>
                    <a:pt x="2745" y="117"/>
                  </a:cubicBezTo>
                  <a:cubicBezTo>
                    <a:pt x="2744" y="123"/>
                    <a:pt x="2745" y="126"/>
                    <a:pt x="2747" y="129"/>
                  </a:cubicBezTo>
                  <a:cubicBezTo>
                    <a:pt x="2739" y="126"/>
                    <a:pt x="2740" y="128"/>
                    <a:pt x="2737" y="134"/>
                  </a:cubicBezTo>
                  <a:cubicBezTo>
                    <a:pt x="2748" y="138"/>
                    <a:pt x="2756" y="128"/>
                    <a:pt x="2758" y="129"/>
                  </a:cubicBezTo>
                  <a:cubicBezTo>
                    <a:pt x="2762" y="129"/>
                    <a:pt x="2763" y="138"/>
                    <a:pt x="2767" y="136"/>
                  </a:cubicBezTo>
                  <a:cubicBezTo>
                    <a:pt x="2764" y="127"/>
                    <a:pt x="2779" y="132"/>
                    <a:pt x="2775" y="121"/>
                  </a:cubicBezTo>
                  <a:cubicBezTo>
                    <a:pt x="2765" y="119"/>
                    <a:pt x="2771" y="130"/>
                    <a:pt x="2761" y="129"/>
                  </a:cubicBezTo>
                  <a:cubicBezTo>
                    <a:pt x="2770" y="121"/>
                    <a:pt x="2751" y="126"/>
                    <a:pt x="2753" y="117"/>
                  </a:cubicBezTo>
                  <a:cubicBezTo>
                    <a:pt x="2759" y="122"/>
                    <a:pt x="2765" y="117"/>
                    <a:pt x="2769" y="114"/>
                  </a:cubicBezTo>
                  <a:cubicBezTo>
                    <a:pt x="2770" y="117"/>
                    <a:pt x="2772" y="118"/>
                    <a:pt x="2775" y="119"/>
                  </a:cubicBezTo>
                  <a:cubicBezTo>
                    <a:pt x="2778" y="115"/>
                    <a:pt x="2772" y="107"/>
                    <a:pt x="2780" y="102"/>
                  </a:cubicBezTo>
                  <a:cubicBezTo>
                    <a:pt x="2779" y="108"/>
                    <a:pt x="2781" y="112"/>
                    <a:pt x="2783" y="114"/>
                  </a:cubicBezTo>
                  <a:cubicBezTo>
                    <a:pt x="2780" y="114"/>
                    <a:pt x="2780" y="118"/>
                    <a:pt x="2783" y="119"/>
                  </a:cubicBezTo>
                  <a:cubicBezTo>
                    <a:pt x="2784" y="117"/>
                    <a:pt x="2785" y="116"/>
                    <a:pt x="2788" y="116"/>
                  </a:cubicBezTo>
                  <a:cubicBezTo>
                    <a:pt x="2789" y="112"/>
                    <a:pt x="2785" y="111"/>
                    <a:pt x="2786" y="107"/>
                  </a:cubicBezTo>
                  <a:cubicBezTo>
                    <a:pt x="2790" y="107"/>
                    <a:pt x="2796" y="106"/>
                    <a:pt x="2797" y="109"/>
                  </a:cubicBezTo>
                  <a:cubicBezTo>
                    <a:pt x="2797" y="114"/>
                    <a:pt x="2794" y="117"/>
                    <a:pt x="2788" y="116"/>
                  </a:cubicBezTo>
                  <a:cubicBezTo>
                    <a:pt x="2791" y="124"/>
                    <a:pt x="2785" y="124"/>
                    <a:pt x="2778" y="124"/>
                  </a:cubicBezTo>
                  <a:cubicBezTo>
                    <a:pt x="2775" y="129"/>
                    <a:pt x="2782" y="137"/>
                    <a:pt x="2783" y="131"/>
                  </a:cubicBezTo>
                  <a:cubicBezTo>
                    <a:pt x="2780" y="131"/>
                    <a:pt x="2780" y="127"/>
                    <a:pt x="2783" y="126"/>
                  </a:cubicBezTo>
                  <a:cubicBezTo>
                    <a:pt x="2790" y="133"/>
                    <a:pt x="2785" y="127"/>
                    <a:pt x="2794" y="126"/>
                  </a:cubicBezTo>
                  <a:cubicBezTo>
                    <a:pt x="2794" y="130"/>
                    <a:pt x="2797" y="131"/>
                    <a:pt x="2797" y="135"/>
                  </a:cubicBezTo>
                  <a:cubicBezTo>
                    <a:pt x="2806" y="138"/>
                    <a:pt x="2799" y="127"/>
                    <a:pt x="2808" y="130"/>
                  </a:cubicBezTo>
                  <a:cubicBezTo>
                    <a:pt x="2808" y="133"/>
                    <a:pt x="2804" y="133"/>
                    <a:pt x="2805" y="137"/>
                  </a:cubicBezTo>
                  <a:cubicBezTo>
                    <a:pt x="2816" y="140"/>
                    <a:pt x="2809" y="128"/>
                    <a:pt x="2819" y="130"/>
                  </a:cubicBezTo>
                  <a:cubicBezTo>
                    <a:pt x="2817" y="132"/>
                    <a:pt x="2813" y="139"/>
                    <a:pt x="2822" y="137"/>
                  </a:cubicBezTo>
                  <a:cubicBezTo>
                    <a:pt x="2822" y="128"/>
                    <a:pt x="2825" y="128"/>
                    <a:pt x="2821" y="121"/>
                  </a:cubicBezTo>
                  <a:cubicBezTo>
                    <a:pt x="2830" y="123"/>
                    <a:pt x="2842" y="119"/>
                    <a:pt x="2854" y="122"/>
                  </a:cubicBezTo>
                  <a:cubicBezTo>
                    <a:pt x="2855" y="118"/>
                    <a:pt x="2851" y="118"/>
                    <a:pt x="2849" y="115"/>
                  </a:cubicBezTo>
                  <a:cubicBezTo>
                    <a:pt x="2852" y="109"/>
                    <a:pt x="2840" y="104"/>
                    <a:pt x="2849" y="101"/>
                  </a:cubicBezTo>
                  <a:cubicBezTo>
                    <a:pt x="2850" y="101"/>
                    <a:pt x="2852" y="101"/>
                    <a:pt x="2854" y="101"/>
                  </a:cubicBezTo>
                  <a:cubicBezTo>
                    <a:pt x="2856" y="105"/>
                    <a:pt x="2851" y="113"/>
                    <a:pt x="2857" y="113"/>
                  </a:cubicBezTo>
                  <a:cubicBezTo>
                    <a:pt x="2856" y="103"/>
                    <a:pt x="2863" y="111"/>
                    <a:pt x="2868" y="110"/>
                  </a:cubicBezTo>
                  <a:cubicBezTo>
                    <a:pt x="2868" y="107"/>
                    <a:pt x="2867" y="102"/>
                    <a:pt x="2871" y="101"/>
                  </a:cubicBezTo>
                  <a:cubicBezTo>
                    <a:pt x="2869" y="104"/>
                    <a:pt x="2874" y="113"/>
                    <a:pt x="2868" y="113"/>
                  </a:cubicBezTo>
                  <a:cubicBezTo>
                    <a:pt x="2858" y="108"/>
                    <a:pt x="2860" y="115"/>
                    <a:pt x="2857" y="122"/>
                  </a:cubicBezTo>
                  <a:cubicBezTo>
                    <a:pt x="2862" y="124"/>
                    <a:pt x="2866" y="120"/>
                    <a:pt x="2868" y="120"/>
                  </a:cubicBezTo>
                  <a:cubicBezTo>
                    <a:pt x="2871" y="120"/>
                    <a:pt x="2873" y="123"/>
                    <a:pt x="2876" y="122"/>
                  </a:cubicBezTo>
                  <a:cubicBezTo>
                    <a:pt x="2878" y="121"/>
                    <a:pt x="2876" y="116"/>
                    <a:pt x="2879" y="117"/>
                  </a:cubicBezTo>
                  <a:cubicBezTo>
                    <a:pt x="2877" y="123"/>
                    <a:pt x="2883" y="122"/>
                    <a:pt x="2888" y="122"/>
                  </a:cubicBezTo>
                  <a:cubicBezTo>
                    <a:pt x="2888" y="114"/>
                    <a:pt x="2888" y="114"/>
                    <a:pt x="2888" y="114"/>
                  </a:cubicBezTo>
                  <a:cubicBezTo>
                    <a:pt x="2885" y="113"/>
                    <a:pt x="2882" y="111"/>
                    <a:pt x="2876" y="113"/>
                  </a:cubicBezTo>
                  <a:cubicBezTo>
                    <a:pt x="2877" y="110"/>
                    <a:pt x="2881" y="110"/>
                    <a:pt x="2884" y="110"/>
                  </a:cubicBezTo>
                  <a:cubicBezTo>
                    <a:pt x="2887" y="110"/>
                    <a:pt x="2886" y="107"/>
                    <a:pt x="2887" y="105"/>
                  </a:cubicBezTo>
                  <a:cubicBezTo>
                    <a:pt x="2887" y="105"/>
                    <a:pt x="2888" y="105"/>
                    <a:pt x="2888" y="105"/>
                  </a:cubicBezTo>
                  <a:cubicBezTo>
                    <a:pt x="2888" y="74"/>
                    <a:pt x="2888" y="74"/>
                    <a:pt x="2888" y="74"/>
                  </a:cubicBezTo>
                  <a:cubicBezTo>
                    <a:pt x="2887" y="73"/>
                    <a:pt x="2887" y="72"/>
                    <a:pt x="2888" y="70"/>
                  </a:cubicBezTo>
                  <a:lnTo>
                    <a:pt x="2888" y="0"/>
                  </a:lnTo>
                  <a:close/>
                  <a:moveTo>
                    <a:pt x="220" y="274"/>
                  </a:moveTo>
                  <a:cubicBezTo>
                    <a:pt x="213" y="274"/>
                    <a:pt x="214" y="263"/>
                    <a:pt x="217" y="260"/>
                  </a:cubicBezTo>
                  <a:cubicBezTo>
                    <a:pt x="224" y="260"/>
                    <a:pt x="219" y="270"/>
                    <a:pt x="220" y="274"/>
                  </a:cubicBezTo>
                  <a:close/>
                  <a:moveTo>
                    <a:pt x="227" y="203"/>
                  </a:moveTo>
                  <a:cubicBezTo>
                    <a:pt x="224" y="203"/>
                    <a:pt x="225" y="199"/>
                    <a:pt x="225" y="196"/>
                  </a:cubicBezTo>
                  <a:cubicBezTo>
                    <a:pt x="229" y="195"/>
                    <a:pt x="230" y="198"/>
                    <a:pt x="230" y="201"/>
                  </a:cubicBezTo>
                  <a:cubicBezTo>
                    <a:pt x="228" y="201"/>
                    <a:pt x="228" y="202"/>
                    <a:pt x="227" y="203"/>
                  </a:cubicBezTo>
                  <a:close/>
                  <a:moveTo>
                    <a:pt x="305" y="256"/>
                  </a:moveTo>
                  <a:cubicBezTo>
                    <a:pt x="297" y="258"/>
                    <a:pt x="298" y="253"/>
                    <a:pt x="291" y="254"/>
                  </a:cubicBezTo>
                  <a:cubicBezTo>
                    <a:pt x="292" y="247"/>
                    <a:pt x="306" y="249"/>
                    <a:pt x="305" y="256"/>
                  </a:cubicBezTo>
                  <a:close/>
                  <a:moveTo>
                    <a:pt x="340" y="197"/>
                  </a:moveTo>
                  <a:cubicBezTo>
                    <a:pt x="342" y="197"/>
                    <a:pt x="343" y="197"/>
                    <a:pt x="345" y="197"/>
                  </a:cubicBezTo>
                  <a:cubicBezTo>
                    <a:pt x="346" y="203"/>
                    <a:pt x="325" y="196"/>
                    <a:pt x="340" y="197"/>
                  </a:cubicBezTo>
                  <a:close/>
                  <a:moveTo>
                    <a:pt x="357" y="258"/>
                  </a:moveTo>
                  <a:cubicBezTo>
                    <a:pt x="359" y="255"/>
                    <a:pt x="361" y="253"/>
                    <a:pt x="357" y="253"/>
                  </a:cubicBezTo>
                  <a:cubicBezTo>
                    <a:pt x="361" y="245"/>
                    <a:pt x="364" y="258"/>
                    <a:pt x="371" y="255"/>
                  </a:cubicBezTo>
                  <a:cubicBezTo>
                    <a:pt x="372" y="260"/>
                    <a:pt x="361" y="256"/>
                    <a:pt x="357" y="258"/>
                  </a:cubicBezTo>
                  <a:close/>
                  <a:moveTo>
                    <a:pt x="415" y="259"/>
                  </a:moveTo>
                  <a:cubicBezTo>
                    <a:pt x="409" y="260"/>
                    <a:pt x="405" y="259"/>
                    <a:pt x="401" y="257"/>
                  </a:cubicBezTo>
                  <a:cubicBezTo>
                    <a:pt x="401" y="253"/>
                    <a:pt x="419" y="252"/>
                    <a:pt x="415" y="259"/>
                  </a:cubicBezTo>
                  <a:close/>
                  <a:moveTo>
                    <a:pt x="480" y="201"/>
                  </a:moveTo>
                  <a:cubicBezTo>
                    <a:pt x="482" y="201"/>
                    <a:pt x="484" y="201"/>
                    <a:pt x="485" y="201"/>
                  </a:cubicBezTo>
                  <a:cubicBezTo>
                    <a:pt x="486" y="208"/>
                    <a:pt x="465" y="201"/>
                    <a:pt x="480" y="201"/>
                  </a:cubicBezTo>
                  <a:close/>
                  <a:moveTo>
                    <a:pt x="502" y="201"/>
                  </a:moveTo>
                  <a:cubicBezTo>
                    <a:pt x="514" y="202"/>
                    <a:pt x="499" y="215"/>
                    <a:pt x="502" y="201"/>
                  </a:cubicBezTo>
                  <a:close/>
                  <a:moveTo>
                    <a:pt x="538" y="205"/>
                  </a:moveTo>
                  <a:cubicBezTo>
                    <a:pt x="538" y="200"/>
                    <a:pt x="545" y="200"/>
                    <a:pt x="548" y="203"/>
                  </a:cubicBezTo>
                  <a:cubicBezTo>
                    <a:pt x="548" y="206"/>
                    <a:pt x="542" y="205"/>
                    <a:pt x="538" y="205"/>
                  </a:cubicBezTo>
                  <a:close/>
                  <a:moveTo>
                    <a:pt x="552" y="264"/>
                  </a:moveTo>
                  <a:cubicBezTo>
                    <a:pt x="551" y="259"/>
                    <a:pt x="554" y="257"/>
                    <a:pt x="555" y="254"/>
                  </a:cubicBezTo>
                  <a:cubicBezTo>
                    <a:pt x="561" y="256"/>
                    <a:pt x="563" y="264"/>
                    <a:pt x="552" y="264"/>
                  </a:cubicBezTo>
                  <a:close/>
                  <a:moveTo>
                    <a:pt x="573" y="204"/>
                  </a:moveTo>
                  <a:cubicBezTo>
                    <a:pt x="574" y="199"/>
                    <a:pt x="587" y="203"/>
                    <a:pt x="592" y="202"/>
                  </a:cubicBezTo>
                  <a:cubicBezTo>
                    <a:pt x="591" y="207"/>
                    <a:pt x="579" y="203"/>
                    <a:pt x="573" y="204"/>
                  </a:cubicBezTo>
                  <a:close/>
                  <a:moveTo>
                    <a:pt x="592" y="199"/>
                  </a:moveTo>
                  <a:cubicBezTo>
                    <a:pt x="587" y="198"/>
                    <a:pt x="592" y="195"/>
                    <a:pt x="592" y="192"/>
                  </a:cubicBezTo>
                  <a:cubicBezTo>
                    <a:pt x="597" y="194"/>
                    <a:pt x="593" y="197"/>
                    <a:pt x="592" y="199"/>
                  </a:cubicBezTo>
                  <a:close/>
                  <a:moveTo>
                    <a:pt x="624" y="265"/>
                  </a:moveTo>
                  <a:cubicBezTo>
                    <a:pt x="625" y="262"/>
                    <a:pt x="627" y="260"/>
                    <a:pt x="632" y="260"/>
                  </a:cubicBezTo>
                  <a:cubicBezTo>
                    <a:pt x="631" y="263"/>
                    <a:pt x="628" y="265"/>
                    <a:pt x="624" y="265"/>
                  </a:cubicBezTo>
                  <a:close/>
                  <a:moveTo>
                    <a:pt x="653" y="203"/>
                  </a:moveTo>
                  <a:cubicBezTo>
                    <a:pt x="655" y="203"/>
                    <a:pt x="658" y="203"/>
                    <a:pt x="661" y="203"/>
                  </a:cubicBezTo>
                  <a:cubicBezTo>
                    <a:pt x="661" y="208"/>
                    <a:pt x="651" y="204"/>
                    <a:pt x="647" y="205"/>
                  </a:cubicBezTo>
                  <a:cubicBezTo>
                    <a:pt x="647" y="203"/>
                    <a:pt x="651" y="204"/>
                    <a:pt x="653" y="203"/>
                  </a:cubicBezTo>
                  <a:close/>
                  <a:moveTo>
                    <a:pt x="656" y="264"/>
                  </a:moveTo>
                  <a:cubicBezTo>
                    <a:pt x="650" y="263"/>
                    <a:pt x="639" y="267"/>
                    <a:pt x="643" y="260"/>
                  </a:cubicBezTo>
                  <a:cubicBezTo>
                    <a:pt x="652" y="263"/>
                    <a:pt x="661" y="258"/>
                    <a:pt x="667" y="264"/>
                  </a:cubicBezTo>
                  <a:cubicBezTo>
                    <a:pt x="676" y="266"/>
                    <a:pt x="663" y="265"/>
                    <a:pt x="656" y="264"/>
                  </a:cubicBezTo>
                  <a:close/>
                  <a:moveTo>
                    <a:pt x="690" y="266"/>
                  </a:moveTo>
                  <a:cubicBezTo>
                    <a:pt x="697" y="257"/>
                    <a:pt x="707" y="271"/>
                    <a:pt x="690" y="266"/>
                  </a:cubicBezTo>
                  <a:close/>
                  <a:moveTo>
                    <a:pt x="714" y="263"/>
                  </a:moveTo>
                  <a:cubicBezTo>
                    <a:pt x="716" y="263"/>
                    <a:pt x="718" y="263"/>
                    <a:pt x="720" y="263"/>
                  </a:cubicBezTo>
                  <a:cubicBezTo>
                    <a:pt x="720" y="270"/>
                    <a:pt x="699" y="263"/>
                    <a:pt x="714" y="263"/>
                  </a:cubicBezTo>
                  <a:close/>
                  <a:moveTo>
                    <a:pt x="738" y="209"/>
                  </a:moveTo>
                  <a:cubicBezTo>
                    <a:pt x="737" y="208"/>
                    <a:pt x="745" y="206"/>
                    <a:pt x="743" y="204"/>
                  </a:cubicBezTo>
                  <a:cubicBezTo>
                    <a:pt x="753" y="208"/>
                    <a:pt x="740" y="210"/>
                    <a:pt x="738" y="209"/>
                  </a:cubicBezTo>
                  <a:close/>
                  <a:moveTo>
                    <a:pt x="777" y="267"/>
                  </a:moveTo>
                  <a:cubicBezTo>
                    <a:pt x="773" y="266"/>
                    <a:pt x="763" y="269"/>
                    <a:pt x="766" y="262"/>
                  </a:cubicBezTo>
                  <a:cubicBezTo>
                    <a:pt x="773" y="263"/>
                    <a:pt x="779" y="265"/>
                    <a:pt x="788" y="264"/>
                  </a:cubicBezTo>
                  <a:cubicBezTo>
                    <a:pt x="788" y="270"/>
                    <a:pt x="782" y="267"/>
                    <a:pt x="777" y="267"/>
                  </a:cubicBezTo>
                  <a:close/>
                  <a:moveTo>
                    <a:pt x="791" y="269"/>
                  </a:moveTo>
                  <a:cubicBezTo>
                    <a:pt x="793" y="266"/>
                    <a:pt x="797" y="264"/>
                    <a:pt x="802" y="264"/>
                  </a:cubicBezTo>
                  <a:cubicBezTo>
                    <a:pt x="801" y="268"/>
                    <a:pt x="797" y="269"/>
                    <a:pt x="791" y="269"/>
                  </a:cubicBezTo>
                  <a:close/>
                  <a:moveTo>
                    <a:pt x="810" y="261"/>
                  </a:moveTo>
                  <a:cubicBezTo>
                    <a:pt x="814" y="263"/>
                    <a:pt x="815" y="266"/>
                    <a:pt x="816" y="271"/>
                  </a:cubicBezTo>
                  <a:cubicBezTo>
                    <a:pt x="807" y="272"/>
                    <a:pt x="806" y="265"/>
                    <a:pt x="810" y="261"/>
                  </a:cubicBezTo>
                  <a:close/>
                  <a:moveTo>
                    <a:pt x="824" y="264"/>
                  </a:moveTo>
                  <a:cubicBezTo>
                    <a:pt x="830" y="269"/>
                    <a:pt x="836" y="261"/>
                    <a:pt x="840" y="266"/>
                  </a:cubicBezTo>
                  <a:cubicBezTo>
                    <a:pt x="836" y="270"/>
                    <a:pt x="824" y="273"/>
                    <a:pt x="824" y="264"/>
                  </a:cubicBezTo>
                  <a:close/>
                  <a:moveTo>
                    <a:pt x="865" y="268"/>
                  </a:moveTo>
                  <a:cubicBezTo>
                    <a:pt x="867" y="267"/>
                    <a:pt x="869" y="267"/>
                    <a:pt x="871" y="267"/>
                  </a:cubicBezTo>
                  <a:cubicBezTo>
                    <a:pt x="871" y="274"/>
                    <a:pt x="850" y="267"/>
                    <a:pt x="865" y="268"/>
                  </a:cubicBezTo>
                  <a:close/>
                  <a:moveTo>
                    <a:pt x="866" y="326"/>
                  </a:moveTo>
                  <a:cubicBezTo>
                    <a:pt x="866" y="325"/>
                    <a:pt x="866" y="323"/>
                    <a:pt x="866" y="321"/>
                  </a:cubicBezTo>
                  <a:cubicBezTo>
                    <a:pt x="868" y="321"/>
                    <a:pt x="870" y="321"/>
                    <a:pt x="871" y="321"/>
                  </a:cubicBezTo>
                  <a:cubicBezTo>
                    <a:pt x="872" y="323"/>
                    <a:pt x="872" y="325"/>
                    <a:pt x="872" y="326"/>
                  </a:cubicBezTo>
                  <a:cubicBezTo>
                    <a:pt x="870" y="326"/>
                    <a:pt x="868" y="326"/>
                    <a:pt x="866" y="326"/>
                  </a:cubicBezTo>
                  <a:close/>
                  <a:moveTo>
                    <a:pt x="903" y="269"/>
                  </a:moveTo>
                  <a:cubicBezTo>
                    <a:pt x="912" y="260"/>
                    <a:pt x="913" y="276"/>
                    <a:pt x="903" y="269"/>
                  </a:cubicBezTo>
                  <a:close/>
                  <a:moveTo>
                    <a:pt x="925" y="266"/>
                  </a:moveTo>
                  <a:cubicBezTo>
                    <a:pt x="930" y="266"/>
                    <a:pt x="931" y="269"/>
                    <a:pt x="936" y="269"/>
                  </a:cubicBezTo>
                  <a:cubicBezTo>
                    <a:pt x="937" y="273"/>
                    <a:pt x="921" y="273"/>
                    <a:pt x="925" y="266"/>
                  </a:cubicBezTo>
                  <a:close/>
                  <a:moveTo>
                    <a:pt x="947" y="271"/>
                  </a:moveTo>
                  <a:cubicBezTo>
                    <a:pt x="945" y="264"/>
                    <a:pt x="953" y="266"/>
                    <a:pt x="958" y="266"/>
                  </a:cubicBezTo>
                  <a:cubicBezTo>
                    <a:pt x="958" y="270"/>
                    <a:pt x="954" y="271"/>
                    <a:pt x="947" y="271"/>
                  </a:cubicBezTo>
                  <a:close/>
                  <a:moveTo>
                    <a:pt x="961" y="271"/>
                  </a:moveTo>
                  <a:cubicBezTo>
                    <a:pt x="963" y="269"/>
                    <a:pt x="964" y="267"/>
                    <a:pt x="964" y="263"/>
                  </a:cubicBezTo>
                  <a:cubicBezTo>
                    <a:pt x="971" y="263"/>
                    <a:pt x="972" y="267"/>
                    <a:pt x="978" y="268"/>
                  </a:cubicBezTo>
                  <a:cubicBezTo>
                    <a:pt x="977" y="273"/>
                    <a:pt x="966" y="269"/>
                    <a:pt x="961" y="271"/>
                  </a:cubicBezTo>
                  <a:close/>
                  <a:moveTo>
                    <a:pt x="986" y="275"/>
                  </a:moveTo>
                  <a:cubicBezTo>
                    <a:pt x="985" y="273"/>
                    <a:pt x="987" y="273"/>
                    <a:pt x="989" y="272"/>
                  </a:cubicBezTo>
                  <a:cubicBezTo>
                    <a:pt x="985" y="269"/>
                    <a:pt x="980" y="268"/>
                    <a:pt x="986" y="263"/>
                  </a:cubicBezTo>
                  <a:cubicBezTo>
                    <a:pt x="994" y="261"/>
                    <a:pt x="989" y="271"/>
                    <a:pt x="1000" y="268"/>
                  </a:cubicBezTo>
                  <a:cubicBezTo>
                    <a:pt x="995" y="270"/>
                    <a:pt x="993" y="274"/>
                    <a:pt x="986" y="275"/>
                  </a:cubicBezTo>
                  <a:close/>
                  <a:moveTo>
                    <a:pt x="1011" y="272"/>
                  </a:moveTo>
                  <a:cubicBezTo>
                    <a:pt x="1011" y="270"/>
                    <a:pt x="1011" y="269"/>
                    <a:pt x="1010" y="267"/>
                  </a:cubicBezTo>
                  <a:cubicBezTo>
                    <a:pt x="1012" y="267"/>
                    <a:pt x="1014" y="267"/>
                    <a:pt x="1016" y="267"/>
                  </a:cubicBezTo>
                  <a:cubicBezTo>
                    <a:pt x="1016" y="269"/>
                    <a:pt x="1016" y="270"/>
                    <a:pt x="1016" y="272"/>
                  </a:cubicBezTo>
                  <a:cubicBezTo>
                    <a:pt x="1014" y="272"/>
                    <a:pt x="1012" y="272"/>
                    <a:pt x="1011" y="272"/>
                  </a:cubicBezTo>
                  <a:close/>
                  <a:moveTo>
                    <a:pt x="1150" y="270"/>
                  </a:moveTo>
                  <a:cubicBezTo>
                    <a:pt x="1150" y="268"/>
                    <a:pt x="1150" y="266"/>
                    <a:pt x="1150" y="265"/>
                  </a:cubicBezTo>
                  <a:cubicBezTo>
                    <a:pt x="1152" y="265"/>
                    <a:pt x="1154" y="265"/>
                    <a:pt x="1156" y="265"/>
                  </a:cubicBezTo>
                  <a:cubicBezTo>
                    <a:pt x="1156" y="266"/>
                    <a:pt x="1156" y="268"/>
                    <a:pt x="1156" y="269"/>
                  </a:cubicBezTo>
                  <a:cubicBezTo>
                    <a:pt x="1154" y="270"/>
                    <a:pt x="1152" y="270"/>
                    <a:pt x="1150" y="270"/>
                  </a:cubicBezTo>
                  <a:close/>
                  <a:moveTo>
                    <a:pt x="1170" y="269"/>
                  </a:moveTo>
                  <a:cubicBezTo>
                    <a:pt x="1170" y="268"/>
                    <a:pt x="1170" y="266"/>
                    <a:pt x="1170" y="265"/>
                  </a:cubicBezTo>
                  <a:cubicBezTo>
                    <a:pt x="1171" y="265"/>
                    <a:pt x="1173" y="265"/>
                    <a:pt x="1175" y="264"/>
                  </a:cubicBezTo>
                  <a:cubicBezTo>
                    <a:pt x="1175" y="266"/>
                    <a:pt x="1175" y="268"/>
                    <a:pt x="1175" y="269"/>
                  </a:cubicBezTo>
                  <a:cubicBezTo>
                    <a:pt x="1173" y="269"/>
                    <a:pt x="1171" y="269"/>
                    <a:pt x="1170" y="269"/>
                  </a:cubicBezTo>
                  <a:close/>
                  <a:moveTo>
                    <a:pt x="1194" y="271"/>
                  </a:moveTo>
                  <a:cubicBezTo>
                    <a:pt x="1195" y="263"/>
                    <a:pt x="1187" y="272"/>
                    <a:pt x="1181" y="267"/>
                  </a:cubicBezTo>
                  <a:cubicBezTo>
                    <a:pt x="1179" y="261"/>
                    <a:pt x="1191" y="267"/>
                    <a:pt x="1194" y="264"/>
                  </a:cubicBezTo>
                  <a:cubicBezTo>
                    <a:pt x="1194" y="264"/>
                    <a:pt x="1194" y="262"/>
                    <a:pt x="1194" y="262"/>
                  </a:cubicBezTo>
                  <a:cubicBezTo>
                    <a:pt x="1200" y="261"/>
                    <a:pt x="1208" y="268"/>
                    <a:pt x="1211" y="261"/>
                  </a:cubicBezTo>
                  <a:cubicBezTo>
                    <a:pt x="1221" y="266"/>
                    <a:pt x="1208" y="265"/>
                    <a:pt x="1205" y="266"/>
                  </a:cubicBezTo>
                  <a:cubicBezTo>
                    <a:pt x="1201" y="268"/>
                    <a:pt x="1198" y="272"/>
                    <a:pt x="1194" y="271"/>
                  </a:cubicBezTo>
                  <a:close/>
                  <a:moveTo>
                    <a:pt x="1199" y="353"/>
                  </a:moveTo>
                  <a:cubicBezTo>
                    <a:pt x="1207" y="350"/>
                    <a:pt x="1205" y="357"/>
                    <a:pt x="1210" y="358"/>
                  </a:cubicBezTo>
                  <a:cubicBezTo>
                    <a:pt x="1209" y="363"/>
                    <a:pt x="1194" y="361"/>
                    <a:pt x="1199" y="353"/>
                  </a:cubicBezTo>
                  <a:close/>
                  <a:moveTo>
                    <a:pt x="1212" y="355"/>
                  </a:moveTo>
                  <a:cubicBezTo>
                    <a:pt x="1215" y="349"/>
                    <a:pt x="1216" y="353"/>
                    <a:pt x="1223" y="353"/>
                  </a:cubicBezTo>
                  <a:cubicBezTo>
                    <a:pt x="1223" y="358"/>
                    <a:pt x="1216" y="358"/>
                    <a:pt x="1212" y="355"/>
                  </a:cubicBezTo>
                  <a:close/>
                  <a:moveTo>
                    <a:pt x="1227" y="261"/>
                  </a:moveTo>
                  <a:cubicBezTo>
                    <a:pt x="1232" y="261"/>
                    <a:pt x="1234" y="265"/>
                    <a:pt x="1235" y="261"/>
                  </a:cubicBezTo>
                  <a:cubicBezTo>
                    <a:pt x="1247" y="264"/>
                    <a:pt x="1223" y="271"/>
                    <a:pt x="1227" y="261"/>
                  </a:cubicBezTo>
                  <a:close/>
                  <a:moveTo>
                    <a:pt x="1237" y="195"/>
                  </a:moveTo>
                  <a:cubicBezTo>
                    <a:pt x="1237" y="194"/>
                    <a:pt x="1237" y="192"/>
                    <a:pt x="1237" y="191"/>
                  </a:cubicBezTo>
                  <a:cubicBezTo>
                    <a:pt x="1239" y="190"/>
                    <a:pt x="1240" y="190"/>
                    <a:pt x="1242" y="190"/>
                  </a:cubicBezTo>
                  <a:cubicBezTo>
                    <a:pt x="1242" y="192"/>
                    <a:pt x="1242" y="194"/>
                    <a:pt x="1242" y="195"/>
                  </a:cubicBezTo>
                  <a:cubicBezTo>
                    <a:pt x="1241" y="195"/>
                    <a:pt x="1239" y="195"/>
                    <a:pt x="1237" y="195"/>
                  </a:cubicBezTo>
                  <a:close/>
                  <a:moveTo>
                    <a:pt x="1259" y="195"/>
                  </a:moveTo>
                  <a:cubicBezTo>
                    <a:pt x="1252" y="196"/>
                    <a:pt x="1252" y="190"/>
                    <a:pt x="1250" y="186"/>
                  </a:cubicBezTo>
                  <a:cubicBezTo>
                    <a:pt x="1258" y="185"/>
                    <a:pt x="1258" y="190"/>
                    <a:pt x="1259" y="195"/>
                  </a:cubicBezTo>
                  <a:close/>
                  <a:moveTo>
                    <a:pt x="1252" y="261"/>
                  </a:moveTo>
                  <a:cubicBezTo>
                    <a:pt x="1256" y="260"/>
                    <a:pt x="1262" y="262"/>
                    <a:pt x="1263" y="258"/>
                  </a:cubicBezTo>
                  <a:cubicBezTo>
                    <a:pt x="1266" y="259"/>
                    <a:pt x="1265" y="262"/>
                    <a:pt x="1266" y="265"/>
                  </a:cubicBezTo>
                  <a:cubicBezTo>
                    <a:pt x="1263" y="268"/>
                    <a:pt x="1252" y="268"/>
                    <a:pt x="1252" y="261"/>
                  </a:cubicBezTo>
                  <a:close/>
                  <a:moveTo>
                    <a:pt x="1279" y="267"/>
                  </a:moveTo>
                  <a:cubicBezTo>
                    <a:pt x="1271" y="269"/>
                    <a:pt x="1269" y="262"/>
                    <a:pt x="1274" y="258"/>
                  </a:cubicBezTo>
                  <a:cubicBezTo>
                    <a:pt x="1279" y="259"/>
                    <a:pt x="1280" y="262"/>
                    <a:pt x="1279" y="267"/>
                  </a:cubicBezTo>
                  <a:close/>
                  <a:moveTo>
                    <a:pt x="1282" y="260"/>
                  </a:moveTo>
                  <a:cubicBezTo>
                    <a:pt x="1283" y="254"/>
                    <a:pt x="1287" y="263"/>
                    <a:pt x="1293" y="260"/>
                  </a:cubicBezTo>
                  <a:cubicBezTo>
                    <a:pt x="1291" y="268"/>
                    <a:pt x="1287" y="262"/>
                    <a:pt x="1282" y="260"/>
                  </a:cubicBezTo>
                  <a:close/>
                  <a:moveTo>
                    <a:pt x="1312" y="257"/>
                  </a:moveTo>
                  <a:cubicBezTo>
                    <a:pt x="1308" y="258"/>
                    <a:pt x="1310" y="265"/>
                    <a:pt x="1301" y="262"/>
                  </a:cubicBezTo>
                  <a:cubicBezTo>
                    <a:pt x="1300" y="255"/>
                    <a:pt x="1310" y="257"/>
                    <a:pt x="1315" y="255"/>
                  </a:cubicBezTo>
                  <a:cubicBezTo>
                    <a:pt x="1316" y="259"/>
                    <a:pt x="1312" y="260"/>
                    <a:pt x="1312" y="257"/>
                  </a:cubicBezTo>
                  <a:close/>
                  <a:moveTo>
                    <a:pt x="1479" y="238"/>
                  </a:moveTo>
                  <a:cubicBezTo>
                    <a:pt x="1478" y="239"/>
                    <a:pt x="1476" y="232"/>
                    <a:pt x="1474" y="233"/>
                  </a:cubicBezTo>
                  <a:cubicBezTo>
                    <a:pt x="1478" y="225"/>
                    <a:pt x="1481" y="236"/>
                    <a:pt x="1479" y="238"/>
                  </a:cubicBezTo>
                  <a:close/>
                  <a:moveTo>
                    <a:pt x="1448" y="177"/>
                  </a:moveTo>
                  <a:cubicBezTo>
                    <a:pt x="1447" y="180"/>
                    <a:pt x="1445" y="182"/>
                    <a:pt x="1440" y="182"/>
                  </a:cubicBezTo>
                  <a:cubicBezTo>
                    <a:pt x="1438" y="177"/>
                    <a:pt x="1444" y="178"/>
                    <a:pt x="1448" y="177"/>
                  </a:cubicBezTo>
                  <a:close/>
                  <a:moveTo>
                    <a:pt x="1424" y="248"/>
                  </a:moveTo>
                  <a:cubicBezTo>
                    <a:pt x="1429" y="248"/>
                    <a:pt x="1429" y="250"/>
                    <a:pt x="1433" y="251"/>
                  </a:cubicBezTo>
                  <a:cubicBezTo>
                    <a:pt x="1434" y="255"/>
                    <a:pt x="1420" y="254"/>
                    <a:pt x="1424" y="248"/>
                  </a:cubicBezTo>
                  <a:close/>
                  <a:moveTo>
                    <a:pt x="1334" y="259"/>
                  </a:moveTo>
                  <a:cubicBezTo>
                    <a:pt x="1334" y="257"/>
                    <a:pt x="1331" y="258"/>
                    <a:pt x="1329" y="257"/>
                  </a:cubicBezTo>
                  <a:cubicBezTo>
                    <a:pt x="1331" y="252"/>
                    <a:pt x="1344" y="256"/>
                    <a:pt x="1350" y="254"/>
                  </a:cubicBezTo>
                  <a:cubicBezTo>
                    <a:pt x="1347" y="261"/>
                    <a:pt x="1344" y="256"/>
                    <a:pt x="1334" y="259"/>
                  </a:cubicBezTo>
                  <a:close/>
                  <a:moveTo>
                    <a:pt x="1392" y="279"/>
                  </a:moveTo>
                  <a:cubicBezTo>
                    <a:pt x="1392" y="278"/>
                    <a:pt x="1392" y="276"/>
                    <a:pt x="1392" y="275"/>
                  </a:cubicBezTo>
                  <a:cubicBezTo>
                    <a:pt x="1394" y="275"/>
                    <a:pt x="1396" y="275"/>
                    <a:pt x="1397" y="275"/>
                  </a:cubicBezTo>
                  <a:cubicBezTo>
                    <a:pt x="1398" y="276"/>
                    <a:pt x="1398" y="278"/>
                    <a:pt x="1398" y="279"/>
                  </a:cubicBezTo>
                  <a:cubicBezTo>
                    <a:pt x="1396" y="279"/>
                    <a:pt x="1394" y="279"/>
                    <a:pt x="1392" y="279"/>
                  </a:cubicBezTo>
                  <a:close/>
                  <a:moveTo>
                    <a:pt x="1394" y="258"/>
                  </a:moveTo>
                  <a:cubicBezTo>
                    <a:pt x="1394" y="261"/>
                    <a:pt x="1392" y="260"/>
                    <a:pt x="1392" y="258"/>
                  </a:cubicBezTo>
                  <a:cubicBezTo>
                    <a:pt x="1388" y="259"/>
                    <a:pt x="1384" y="259"/>
                    <a:pt x="1383" y="256"/>
                  </a:cubicBezTo>
                  <a:cubicBezTo>
                    <a:pt x="1381" y="258"/>
                    <a:pt x="1376" y="260"/>
                    <a:pt x="1375" y="256"/>
                  </a:cubicBezTo>
                  <a:cubicBezTo>
                    <a:pt x="1373" y="257"/>
                    <a:pt x="1372" y="259"/>
                    <a:pt x="1370" y="259"/>
                  </a:cubicBezTo>
                  <a:cubicBezTo>
                    <a:pt x="1369" y="261"/>
                    <a:pt x="1371" y="261"/>
                    <a:pt x="1373" y="261"/>
                  </a:cubicBezTo>
                  <a:cubicBezTo>
                    <a:pt x="1373" y="267"/>
                    <a:pt x="1365" y="260"/>
                    <a:pt x="1367" y="256"/>
                  </a:cubicBezTo>
                  <a:cubicBezTo>
                    <a:pt x="1362" y="257"/>
                    <a:pt x="1365" y="266"/>
                    <a:pt x="1356" y="264"/>
                  </a:cubicBezTo>
                  <a:cubicBezTo>
                    <a:pt x="1358" y="256"/>
                    <a:pt x="1351" y="256"/>
                    <a:pt x="1356" y="252"/>
                  </a:cubicBezTo>
                  <a:cubicBezTo>
                    <a:pt x="1360" y="249"/>
                    <a:pt x="1366" y="255"/>
                    <a:pt x="1367" y="254"/>
                  </a:cubicBezTo>
                  <a:cubicBezTo>
                    <a:pt x="1367" y="254"/>
                    <a:pt x="1367" y="252"/>
                    <a:pt x="1367" y="252"/>
                  </a:cubicBezTo>
                  <a:cubicBezTo>
                    <a:pt x="1370" y="251"/>
                    <a:pt x="1372" y="254"/>
                    <a:pt x="1372" y="254"/>
                  </a:cubicBezTo>
                  <a:cubicBezTo>
                    <a:pt x="1379" y="253"/>
                    <a:pt x="1377" y="249"/>
                    <a:pt x="1383" y="249"/>
                  </a:cubicBezTo>
                  <a:cubicBezTo>
                    <a:pt x="1383" y="249"/>
                    <a:pt x="1384" y="255"/>
                    <a:pt x="1386" y="254"/>
                  </a:cubicBezTo>
                  <a:cubicBezTo>
                    <a:pt x="1392" y="254"/>
                    <a:pt x="1387" y="245"/>
                    <a:pt x="1389" y="242"/>
                  </a:cubicBezTo>
                  <a:cubicBezTo>
                    <a:pt x="1391" y="243"/>
                    <a:pt x="1393" y="244"/>
                    <a:pt x="1397" y="244"/>
                  </a:cubicBezTo>
                  <a:cubicBezTo>
                    <a:pt x="1396" y="246"/>
                    <a:pt x="1395" y="248"/>
                    <a:pt x="1392" y="249"/>
                  </a:cubicBezTo>
                  <a:cubicBezTo>
                    <a:pt x="1391" y="255"/>
                    <a:pt x="1404" y="247"/>
                    <a:pt x="1400" y="256"/>
                  </a:cubicBezTo>
                  <a:cubicBezTo>
                    <a:pt x="1395" y="255"/>
                    <a:pt x="1390" y="258"/>
                    <a:pt x="1394" y="258"/>
                  </a:cubicBezTo>
                  <a:close/>
                  <a:moveTo>
                    <a:pt x="1405" y="258"/>
                  </a:moveTo>
                  <a:cubicBezTo>
                    <a:pt x="1407" y="258"/>
                    <a:pt x="1409" y="258"/>
                    <a:pt x="1411" y="258"/>
                  </a:cubicBezTo>
                  <a:cubicBezTo>
                    <a:pt x="1412" y="265"/>
                    <a:pt x="1390" y="258"/>
                    <a:pt x="1405" y="258"/>
                  </a:cubicBezTo>
                  <a:close/>
                  <a:moveTo>
                    <a:pt x="1403" y="279"/>
                  </a:moveTo>
                  <a:cubicBezTo>
                    <a:pt x="1403" y="277"/>
                    <a:pt x="1406" y="277"/>
                    <a:pt x="1408" y="277"/>
                  </a:cubicBezTo>
                  <a:cubicBezTo>
                    <a:pt x="1410" y="277"/>
                    <a:pt x="1412" y="277"/>
                    <a:pt x="1414" y="277"/>
                  </a:cubicBezTo>
                  <a:cubicBezTo>
                    <a:pt x="1413" y="280"/>
                    <a:pt x="1407" y="279"/>
                    <a:pt x="1403" y="279"/>
                  </a:cubicBezTo>
                  <a:close/>
                  <a:moveTo>
                    <a:pt x="1416" y="256"/>
                  </a:moveTo>
                  <a:cubicBezTo>
                    <a:pt x="1412" y="256"/>
                    <a:pt x="1407" y="256"/>
                    <a:pt x="1403" y="256"/>
                  </a:cubicBezTo>
                  <a:cubicBezTo>
                    <a:pt x="1401" y="247"/>
                    <a:pt x="1411" y="248"/>
                    <a:pt x="1419" y="248"/>
                  </a:cubicBezTo>
                  <a:cubicBezTo>
                    <a:pt x="1419" y="254"/>
                    <a:pt x="1424" y="256"/>
                    <a:pt x="1419" y="260"/>
                  </a:cubicBezTo>
                  <a:cubicBezTo>
                    <a:pt x="1416" y="260"/>
                    <a:pt x="1417" y="257"/>
                    <a:pt x="1416" y="256"/>
                  </a:cubicBezTo>
                  <a:close/>
                  <a:moveTo>
                    <a:pt x="1418" y="352"/>
                  </a:moveTo>
                  <a:cubicBezTo>
                    <a:pt x="1417" y="348"/>
                    <a:pt x="1423" y="346"/>
                    <a:pt x="1418" y="345"/>
                  </a:cubicBezTo>
                  <a:cubicBezTo>
                    <a:pt x="1420" y="342"/>
                    <a:pt x="1424" y="342"/>
                    <a:pt x="1423" y="338"/>
                  </a:cubicBezTo>
                  <a:cubicBezTo>
                    <a:pt x="1428" y="340"/>
                    <a:pt x="1430" y="344"/>
                    <a:pt x="1426" y="347"/>
                  </a:cubicBezTo>
                  <a:cubicBezTo>
                    <a:pt x="1427" y="352"/>
                    <a:pt x="1433" y="344"/>
                    <a:pt x="1440" y="347"/>
                  </a:cubicBezTo>
                  <a:cubicBezTo>
                    <a:pt x="1439" y="354"/>
                    <a:pt x="1426" y="351"/>
                    <a:pt x="1418" y="352"/>
                  </a:cubicBezTo>
                  <a:close/>
                  <a:moveTo>
                    <a:pt x="1433" y="281"/>
                  </a:moveTo>
                  <a:cubicBezTo>
                    <a:pt x="1435" y="277"/>
                    <a:pt x="1438" y="281"/>
                    <a:pt x="1441" y="281"/>
                  </a:cubicBezTo>
                  <a:cubicBezTo>
                    <a:pt x="1440" y="285"/>
                    <a:pt x="1437" y="281"/>
                    <a:pt x="1433" y="281"/>
                  </a:cubicBezTo>
                  <a:close/>
                  <a:moveTo>
                    <a:pt x="1438" y="250"/>
                  </a:moveTo>
                  <a:cubicBezTo>
                    <a:pt x="1435" y="241"/>
                    <a:pt x="1455" y="254"/>
                    <a:pt x="1452" y="241"/>
                  </a:cubicBezTo>
                  <a:cubicBezTo>
                    <a:pt x="1457" y="241"/>
                    <a:pt x="1454" y="249"/>
                    <a:pt x="1460" y="248"/>
                  </a:cubicBezTo>
                  <a:cubicBezTo>
                    <a:pt x="1459" y="250"/>
                    <a:pt x="1439" y="253"/>
                    <a:pt x="1438" y="250"/>
                  </a:cubicBezTo>
                  <a:close/>
                  <a:moveTo>
                    <a:pt x="1456" y="330"/>
                  </a:moveTo>
                  <a:cubicBezTo>
                    <a:pt x="1459" y="331"/>
                    <a:pt x="1462" y="333"/>
                    <a:pt x="1462" y="337"/>
                  </a:cubicBezTo>
                  <a:cubicBezTo>
                    <a:pt x="1458" y="336"/>
                    <a:pt x="1456" y="334"/>
                    <a:pt x="1456" y="330"/>
                  </a:cubicBezTo>
                  <a:close/>
                  <a:moveTo>
                    <a:pt x="1485" y="250"/>
                  </a:moveTo>
                  <a:cubicBezTo>
                    <a:pt x="1485" y="251"/>
                    <a:pt x="1485" y="253"/>
                    <a:pt x="1485" y="254"/>
                  </a:cubicBezTo>
                  <a:cubicBezTo>
                    <a:pt x="1482" y="254"/>
                    <a:pt x="1483" y="251"/>
                    <a:pt x="1482" y="250"/>
                  </a:cubicBezTo>
                  <a:cubicBezTo>
                    <a:pt x="1477" y="251"/>
                    <a:pt x="1466" y="247"/>
                    <a:pt x="1466" y="252"/>
                  </a:cubicBezTo>
                  <a:cubicBezTo>
                    <a:pt x="1462" y="252"/>
                    <a:pt x="1463" y="246"/>
                    <a:pt x="1463" y="243"/>
                  </a:cubicBezTo>
                  <a:cubicBezTo>
                    <a:pt x="1468" y="244"/>
                    <a:pt x="1471" y="242"/>
                    <a:pt x="1471" y="238"/>
                  </a:cubicBezTo>
                  <a:cubicBezTo>
                    <a:pt x="1476" y="242"/>
                    <a:pt x="1478" y="248"/>
                    <a:pt x="1487" y="247"/>
                  </a:cubicBezTo>
                  <a:cubicBezTo>
                    <a:pt x="1488" y="249"/>
                    <a:pt x="1486" y="249"/>
                    <a:pt x="1485" y="250"/>
                  </a:cubicBezTo>
                  <a:close/>
                  <a:moveTo>
                    <a:pt x="1493" y="233"/>
                  </a:moveTo>
                  <a:cubicBezTo>
                    <a:pt x="1505" y="234"/>
                    <a:pt x="1490" y="247"/>
                    <a:pt x="1493" y="233"/>
                  </a:cubicBezTo>
                  <a:close/>
                  <a:moveTo>
                    <a:pt x="1529" y="251"/>
                  </a:moveTo>
                  <a:cubicBezTo>
                    <a:pt x="1523" y="254"/>
                    <a:pt x="1525" y="247"/>
                    <a:pt x="1523" y="247"/>
                  </a:cubicBezTo>
                  <a:cubicBezTo>
                    <a:pt x="1516" y="244"/>
                    <a:pt x="1502" y="249"/>
                    <a:pt x="1493" y="247"/>
                  </a:cubicBezTo>
                  <a:cubicBezTo>
                    <a:pt x="1492" y="243"/>
                    <a:pt x="1499" y="246"/>
                    <a:pt x="1501" y="245"/>
                  </a:cubicBezTo>
                  <a:cubicBezTo>
                    <a:pt x="1504" y="242"/>
                    <a:pt x="1505" y="245"/>
                    <a:pt x="1512" y="242"/>
                  </a:cubicBezTo>
                  <a:cubicBezTo>
                    <a:pt x="1513" y="242"/>
                    <a:pt x="1517" y="243"/>
                    <a:pt x="1518" y="242"/>
                  </a:cubicBezTo>
                  <a:cubicBezTo>
                    <a:pt x="1519" y="240"/>
                    <a:pt x="1519" y="240"/>
                    <a:pt x="1520" y="242"/>
                  </a:cubicBezTo>
                  <a:cubicBezTo>
                    <a:pt x="1525" y="242"/>
                    <a:pt x="1526" y="239"/>
                    <a:pt x="1531" y="239"/>
                  </a:cubicBezTo>
                  <a:cubicBezTo>
                    <a:pt x="1532" y="245"/>
                    <a:pt x="1526" y="245"/>
                    <a:pt x="1529" y="251"/>
                  </a:cubicBezTo>
                  <a:close/>
                  <a:moveTo>
                    <a:pt x="1606" y="125"/>
                  </a:moveTo>
                  <a:cubicBezTo>
                    <a:pt x="1608" y="119"/>
                    <a:pt x="1609" y="131"/>
                    <a:pt x="1609" y="132"/>
                  </a:cubicBezTo>
                  <a:cubicBezTo>
                    <a:pt x="1608" y="137"/>
                    <a:pt x="1604" y="134"/>
                    <a:pt x="1606" y="125"/>
                  </a:cubicBezTo>
                  <a:close/>
                  <a:moveTo>
                    <a:pt x="1536" y="181"/>
                  </a:moveTo>
                  <a:cubicBezTo>
                    <a:pt x="1539" y="181"/>
                    <a:pt x="1541" y="180"/>
                    <a:pt x="1544" y="180"/>
                  </a:cubicBezTo>
                  <a:cubicBezTo>
                    <a:pt x="1546" y="182"/>
                    <a:pt x="1547" y="178"/>
                    <a:pt x="1547" y="178"/>
                  </a:cubicBezTo>
                  <a:cubicBezTo>
                    <a:pt x="1560" y="181"/>
                    <a:pt x="1525" y="188"/>
                    <a:pt x="1536" y="181"/>
                  </a:cubicBezTo>
                  <a:close/>
                  <a:moveTo>
                    <a:pt x="1566" y="340"/>
                  </a:moveTo>
                  <a:cubicBezTo>
                    <a:pt x="1566" y="338"/>
                    <a:pt x="1566" y="337"/>
                    <a:pt x="1566" y="335"/>
                  </a:cubicBezTo>
                  <a:cubicBezTo>
                    <a:pt x="1571" y="334"/>
                    <a:pt x="1574" y="335"/>
                    <a:pt x="1574" y="340"/>
                  </a:cubicBezTo>
                  <a:cubicBezTo>
                    <a:pt x="1571" y="340"/>
                    <a:pt x="1569" y="340"/>
                    <a:pt x="1566" y="340"/>
                  </a:cubicBezTo>
                  <a:close/>
                  <a:moveTo>
                    <a:pt x="1582" y="342"/>
                  </a:moveTo>
                  <a:cubicBezTo>
                    <a:pt x="1581" y="343"/>
                    <a:pt x="1574" y="336"/>
                    <a:pt x="1580" y="333"/>
                  </a:cubicBezTo>
                  <a:cubicBezTo>
                    <a:pt x="1582" y="332"/>
                    <a:pt x="1584" y="340"/>
                    <a:pt x="1582" y="342"/>
                  </a:cubicBezTo>
                  <a:close/>
                  <a:moveTo>
                    <a:pt x="1573" y="248"/>
                  </a:moveTo>
                  <a:cubicBezTo>
                    <a:pt x="1569" y="250"/>
                    <a:pt x="1569" y="237"/>
                    <a:pt x="1564" y="241"/>
                  </a:cubicBezTo>
                  <a:cubicBezTo>
                    <a:pt x="1564" y="241"/>
                    <a:pt x="1565" y="243"/>
                    <a:pt x="1564" y="244"/>
                  </a:cubicBezTo>
                  <a:cubicBezTo>
                    <a:pt x="1559" y="245"/>
                    <a:pt x="1545" y="243"/>
                    <a:pt x="1537" y="244"/>
                  </a:cubicBezTo>
                  <a:cubicBezTo>
                    <a:pt x="1537" y="236"/>
                    <a:pt x="1545" y="242"/>
                    <a:pt x="1548" y="241"/>
                  </a:cubicBezTo>
                  <a:cubicBezTo>
                    <a:pt x="1550" y="241"/>
                    <a:pt x="1550" y="239"/>
                    <a:pt x="1551" y="239"/>
                  </a:cubicBezTo>
                  <a:cubicBezTo>
                    <a:pt x="1553" y="239"/>
                    <a:pt x="1557" y="243"/>
                    <a:pt x="1556" y="237"/>
                  </a:cubicBezTo>
                  <a:cubicBezTo>
                    <a:pt x="1558" y="238"/>
                    <a:pt x="1559" y="238"/>
                    <a:pt x="1561" y="239"/>
                  </a:cubicBezTo>
                  <a:cubicBezTo>
                    <a:pt x="1562" y="239"/>
                    <a:pt x="1566" y="238"/>
                    <a:pt x="1567" y="239"/>
                  </a:cubicBezTo>
                  <a:cubicBezTo>
                    <a:pt x="1569" y="241"/>
                    <a:pt x="1568" y="240"/>
                    <a:pt x="1578" y="239"/>
                  </a:cubicBezTo>
                  <a:cubicBezTo>
                    <a:pt x="1580" y="238"/>
                    <a:pt x="1588" y="240"/>
                    <a:pt x="1589" y="238"/>
                  </a:cubicBezTo>
                  <a:cubicBezTo>
                    <a:pt x="1592" y="235"/>
                    <a:pt x="1589" y="239"/>
                    <a:pt x="1600" y="238"/>
                  </a:cubicBezTo>
                  <a:cubicBezTo>
                    <a:pt x="1605" y="238"/>
                    <a:pt x="1606" y="236"/>
                    <a:pt x="1611" y="236"/>
                  </a:cubicBezTo>
                  <a:cubicBezTo>
                    <a:pt x="1613" y="249"/>
                    <a:pt x="1568" y="231"/>
                    <a:pt x="1573" y="248"/>
                  </a:cubicBezTo>
                  <a:close/>
                  <a:moveTo>
                    <a:pt x="1593" y="337"/>
                  </a:moveTo>
                  <a:cubicBezTo>
                    <a:pt x="1596" y="328"/>
                    <a:pt x="1599" y="337"/>
                    <a:pt x="1604" y="337"/>
                  </a:cubicBezTo>
                  <a:cubicBezTo>
                    <a:pt x="1606" y="337"/>
                    <a:pt x="1609" y="333"/>
                    <a:pt x="1612" y="334"/>
                  </a:cubicBezTo>
                  <a:cubicBezTo>
                    <a:pt x="1610" y="343"/>
                    <a:pt x="1601" y="336"/>
                    <a:pt x="1593" y="337"/>
                  </a:cubicBezTo>
                  <a:close/>
                  <a:moveTo>
                    <a:pt x="1619" y="238"/>
                  </a:moveTo>
                  <a:cubicBezTo>
                    <a:pt x="1618" y="242"/>
                    <a:pt x="1626" y="239"/>
                    <a:pt x="1627" y="240"/>
                  </a:cubicBezTo>
                  <a:cubicBezTo>
                    <a:pt x="1630" y="244"/>
                    <a:pt x="1618" y="241"/>
                    <a:pt x="1619" y="247"/>
                  </a:cubicBezTo>
                  <a:cubicBezTo>
                    <a:pt x="1615" y="245"/>
                    <a:pt x="1616" y="237"/>
                    <a:pt x="1613" y="233"/>
                  </a:cubicBezTo>
                  <a:cubicBezTo>
                    <a:pt x="1618" y="237"/>
                    <a:pt x="1623" y="231"/>
                    <a:pt x="1633" y="233"/>
                  </a:cubicBezTo>
                  <a:cubicBezTo>
                    <a:pt x="1636" y="241"/>
                    <a:pt x="1624" y="237"/>
                    <a:pt x="1619" y="238"/>
                  </a:cubicBezTo>
                  <a:close/>
                  <a:moveTo>
                    <a:pt x="1642" y="320"/>
                  </a:moveTo>
                  <a:cubicBezTo>
                    <a:pt x="1644" y="319"/>
                    <a:pt x="1647" y="313"/>
                    <a:pt x="1648" y="313"/>
                  </a:cubicBezTo>
                  <a:cubicBezTo>
                    <a:pt x="1651" y="312"/>
                    <a:pt x="1651" y="320"/>
                    <a:pt x="1642" y="320"/>
                  </a:cubicBezTo>
                  <a:close/>
                  <a:moveTo>
                    <a:pt x="1644" y="249"/>
                  </a:moveTo>
                  <a:cubicBezTo>
                    <a:pt x="1652" y="240"/>
                    <a:pt x="1653" y="256"/>
                    <a:pt x="1644" y="249"/>
                  </a:cubicBezTo>
                  <a:close/>
                  <a:moveTo>
                    <a:pt x="1638" y="245"/>
                  </a:moveTo>
                  <a:cubicBezTo>
                    <a:pt x="1634" y="243"/>
                    <a:pt x="1638" y="242"/>
                    <a:pt x="1641" y="242"/>
                  </a:cubicBezTo>
                  <a:cubicBezTo>
                    <a:pt x="1642" y="238"/>
                    <a:pt x="1638" y="237"/>
                    <a:pt x="1638" y="240"/>
                  </a:cubicBezTo>
                  <a:cubicBezTo>
                    <a:pt x="1637" y="241"/>
                    <a:pt x="1635" y="236"/>
                    <a:pt x="1635" y="235"/>
                  </a:cubicBezTo>
                  <a:cubicBezTo>
                    <a:pt x="1636" y="234"/>
                    <a:pt x="1640" y="236"/>
                    <a:pt x="1641" y="235"/>
                  </a:cubicBezTo>
                  <a:cubicBezTo>
                    <a:pt x="1642" y="235"/>
                    <a:pt x="1640" y="231"/>
                    <a:pt x="1641" y="230"/>
                  </a:cubicBezTo>
                  <a:cubicBezTo>
                    <a:pt x="1644" y="229"/>
                    <a:pt x="1643" y="235"/>
                    <a:pt x="1644" y="235"/>
                  </a:cubicBezTo>
                  <a:cubicBezTo>
                    <a:pt x="1644" y="236"/>
                    <a:pt x="1650" y="232"/>
                    <a:pt x="1652" y="235"/>
                  </a:cubicBezTo>
                  <a:cubicBezTo>
                    <a:pt x="1649" y="238"/>
                    <a:pt x="1637" y="240"/>
                    <a:pt x="1652" y="240"/>
                  </a:cubicBezTo>
                  <a:cubicBezTo>
                    <a:pt x="1648" y="247"/>
                    <a:pt x="1643" y="241"/>
                    <a:pt x="1638" y="245"/>
                  </a:cubicBezTo>
                  <a:close/>
                  <a:moveTo>
                    <a:pt x="1739" y="203"/>
                  </a:moveTo>
                  <a:cubicBezTo>
                    <a:pt x="1739" y="206"/>
                    <a:pt x="1731" y="204"/>
                    <a:pt x="1731" y="208"/>
                  </a:cubicBezTo>
                  <a:cubicBezTo>
                    <a:pt x="1722" y="205"/>
                    <a:pt x="1734" y="201"/>
                    <a:pt x="1739" y="203"/>
                  </a:cubicBezTo>
                  <a:close/>
                  <a:moveTo>
                    <a:pt x="1656" y="331"/>
                  </a:moveTo>
                  <a:cubicBezTo>
                    <a:pt x="1656" y="330"/>
                    <a:pt x="1656" y="328"/>
                    <a:pt x="1656" y="327"/>
                  </a:cubicBezTo>
                  <a:cubicBezTo>
                    <a:pt x="1660" y="326"/>
                    <a:pt x="1664" y="326"/>
                    <a:pt x="1667" y="326"/>
                  </a:cubicBezTo>
                  <a:cubicBezTo>
                    <a:pt x="1670" y="333"/>
                    <a:pt x="1661" y="331"/>
                    <a:pt x="1656" y="331"/>
                  </a:cubicBezTo>
                  <a:close/>
                  <a:moveTo>
                    <a:pt x="1662" y="315"/>
                  </a:moveTo>
                  <a:cubicBezTo>
                    <a:pt x="1663" y="315"/>
                    <a:pt x="1665" y="315"/>
                    <a:pt x="1667" y="315"/>
                  </a:cubicBezTo>
                  <a:cubicBezTo>
                    <a:pt x="1668" y="321"/>
                    <a:pt x="1647" y="314"/>
                    <a:pt x="1662" y="315"/>
                  </a:cubicBezTo>
                  <a:close/>
                  <a:moveTo>
                    <a:pt x="1669" y="289"/>
                  </a:moveTo>
                  <a:cubicBezTo>
                    <a:pt x="1662" y="297"/>
                    <a:pt x="1652" y="284"/>
                    <a:pt x="1669" y="289"/>
                  </a:cubicBezTo>
                  <a:close/>
                  <a:moveTo>
                    <a:pt x="1663" y="268"/>
                  </a:moveTo>
                  <a:cubicBezTo>
                    <a:pt x="1664" y="268"/>
                    <a:pt x="1666" y="263"/>
                    <a:pt x="1666" y="263"/>
                  </a:cubicBezTo>
                  <a:cubicBezTo>
                    <a:pt x="1666" y="263"/>
                    <a:pt x="1666" y="261"/>
                    <a:pt x="1666" y="261"/>
                  </a:cubicBezTo>
                  <a:cubicBezTo>
                    <a:pt x="1676" y="259"/>
                    <a:pt x="1667" y="271"/>
                    <a:pt x="1663" y="268"/>
                  </a:cubicBezTo>
                  <a:close/>
                  <a:moveTo>
                    <a:pt x="1697" y="293"/>
                  </a:moveTo>
                  <a:cubicBezTo>
                    <a:pt x="1695" y="297"/>
                    <a:pt x="1694" y="292"/>
                    <a:pt x="1694" y="288"/>
                  </a:cubicBezTo>
                  <a:cubicBezTo>
                    <a:pt x="1686" y="285"/>
                    <a:pt x="1700" y="286"/>
                    <a:pt x="1697" y="293"/>
                  </a:cubicBezTo>
                  <a:close/>
                  <a:moveTo>
                    <a:pt x="1705" y="269"/>
                  </a:moveTo>
                  <a:cubicBezTo>
                    <a:pt x="1700" y="269"/>
                    <a:pt x="1698" y="265"/>
                    <a:pt x="1699" y="260"/>
                  </a:cubicBezTo>
                  <a:cubicBezTo>
                    <a:pt x="1704" y="260"/>
                    <a:pt x="1705" y="264"/>
                    <a:pt x="1705" y="269"/>
                  </a:cubicBezTo>
                  <a:close/>
                  <a:moveTo>
                    <a:pt x="1718" y="269"/>
                  </a:moveTo>
                  <a:cubicBezTo>
                    <a:pt x="1713" y="268"/>
                    <a:pt x="1716" y="260"/>
                    <a:pt x="1710" y="260"/>
                  </a:cubicBezTo>
                  <a:cubicBezTo>
                    <a:pt x="1710" y="257"/>
                    <a:pt x="1715" y="258"/>
                    <a:pt x="1718" y="257"/>
                  </a:cubicBezTo>
                  <a:cubicBezTo>
                    <a:pt x="1717" y="265"/>
                    <a:pt x="1723" y="264"/>
                    <a:pt x="1718" y="269"/>
                  </a:cubicBezTo>
                  <a:close/>
                  <a:moveTo>
                    <a:pt x="1718" y="238"/>
                  </a:moveTo>
                  <a:cubicBezTo>
                    <a:pt x="1720" y="234"/>
                    <a:pt x="1726" y="233"/>
                    <a:pt x="1734" y="234"/>
                  </a:cubicBezTo>
                  <a:cubicBezTo>
                    <a:pt x="1731" y="237"/>
                    <a:pt x="1725" y="238"/>
                    <a:pt x="1718" y="238"/>
                  </a:cubicBezTo>
                  <a:close/>
                  <a:moveTo>
                    <a:pt x="1738" y="309"/>
                  </a:moveTo>
                  <a:cubicBezTo>
                    <a:pt x="1739" y="306"/>
                    <a:pt x="1742" y="304"/>
                    <a:pt x="1746" y="304"/>
                  </a:cubicBezTo>
                  <a:cubicBezTo>
                    <a:pt x="1745" y="307"/>
                    <a:pt x="1743" y="309"/>
                    <a:pt x="1738" y="309"/>
                  </a:cubicBezTo>
                  <a:close/>
                  <a:moveTo>
                    <a:pt x="1747" y="318"/>
                  </a:moveTo>
                  <a:cubicBezTo>
                    <a:pt x="1747" y="316"/>
                    <a:pt x="1747" y="315"/>
                    <a:pt x="1747" y="313"/>
                  </a:cubicBezTo>
                  <a:cubicBezTo>
                    <a:pt x="1748" y="313"/>
                    <a:pt x="1750" y="313"/>
                    <a:pt x="1752" y="313"/>
                  </a:cubicBezTo>
                  <a:cubicBezTo>
                    <a:pt x="1752" y="315"/>
                    <a:pt x="1752" y="316"/>
                    <a:pt x="1752" y="318"/>
                  </a:cubicBezTo>
                  <a:cubicBezTo>
                    <a:pt x="1750" y="318"/>
                    <a:pt x="1748" y="318"/>
                    <a:pt x="1747" y="318"/>
                  </a:cubicBezTo>
                  <a:close/>
                  <a:moveTo>
                    <a:pt x="1745" y="236"/>
                  </a:moveTo>
                  <a:cubicBezTo>
                    <a:pt x="1752" y="231"/>
                    <a:pt x="1741" y="225"/>
                    <a:pt x="1740" y="233"/>
                  </a:cubicBezTo>
                  <a:cubicBezTo>
                    <a:pt x="1733" y="231"/>
                    <a:pt x="1714" y="229"/>
                    <a:pt x="1712" y="234"/>
                  </a:cubicBezTo>
                  <a:cubicBezTo>
                    <a:pt x="1712" y="234"/>
                    <a:pt x="1713" y="239"/>
                    <a:pt x="1712" y="239"/>
                  </a:cubicBezTo>
                  <a:cubicBezTo>
                    <a:pt x="1708" y="239"/>
                    <a:pt x="1712" y="233"/>
                    <a:pt x="1709" y="232"/>
                  </a:cubicBezTo>
                  <a:cubicBezTo>
                    <a:pt x="1705" y="230"/>
                    <a:pt x="1701" y="234"/>
                    <a:pt x="1699" y="234"/>
                  </a:cubicBezTo>
                  <a:cubicBezTo>
                    <a:pt x="1694" y="235"/>
                    <a:pt x="1683" y="231"/>
                    <a:pt x="1685" y="239"/>
                  </a:cubicBezTo>
                  <a:cubicBezTo>
                    <a:pt x="1683" y="237"/>
                    <a:pt x="1677" y="236"/>
                    <a:pt x="1677" y="239"/>
                  </a:cubicBezTo>
                  <a:cubicBezTo>
                    <a:pt x="1674" y="239"/>
                    <a:pt x="1675" y="237"/>
                    <a:pt x="1677" y="237"/>
                  </a:cubicBezTo>
                  <a:cubicBezTo>
                    <a:pt x="1678" y="235"/>
                    <a:pt x="1670" y="233"/>
                    <a:pt x="1668" y="235"/>
                  </a:cubicBezTo>
                  <a:cubicBezTo>
                    <a:pt x="1665" y="237"/>
                    <a:pt x="1667" y="234"/>
                    <a:pt x="1663" y="235"/>
                  </a:cubicBezTo>
                  <a:cubicBezTo>
                    <a:pt x="1660" y="235"/>
                    <a:pt x="1658" y="235"/>
                    <a:pt x="1657" y="237"/>
                  </a:cubicBezTo>
                  <a:cubicBezTo>
                    <a:pt x="1653" y="236"/>
                    <a:pt x="1659" y="234"/>
                    <a:pt x="1657" y="230"/>
                  </a:cubicBezTo>
                  <a:cubicBezTo>
                    <a:pt x="1660" y="229"/>
                    <a:pt x="1660" y="232"/>
                    <a:pt x="1660" y="232"/>
                  </a:cubicBezTo>
                  <a:cubicBezTo>
                    <a:pt x="1663" y="233"/>
                    <a:pt x="1663" y="230"/>
                    <a:pt x="1663" y="230"/>
                  </a:cubicBezTo>
                  <a:cubicBezTo>
                    <a:pt x="1666" y="230"/>
                    <a:pt x="1669" y="233"/>
                    <a:pt x="1671" y="232"/>
                  </a:cubicBezTo>
                  <a:cubicBezTo>
                    <a:pt x="1675" y="231"/>
                    <a:pt x="1680" y="223"/>
                    <a:pt x="1687" y="230"/>
                  </a:cubicBezTo>
                  <a:cubicBezTo>
                    <a:pt x="1691" y="229"/>
                    <a:pt x="1690" y="225"/>
                    <a:pt x="1690" y="223"/>
                  </a:cubicBezTo>
                  <a:cubicBezTo>
                    <a:pt x="1696" y="223"/>
                    <a:pt x="1699" y="222"/>
                    <a:pt x="1698" y="218"/>
                  </a:cubicBezTo>
                  <a:cubicBezTo>
                    <a:pt x="1707" y="219"/>
                    <a:pt x="1704" y="228"/>
                    <a:pt x="1693" y="225"/>
                  </a:cubicBezTo>
                  <a:cubicBezTo>
                    <a:pt x="1692" y="229"/>
                    <a:pt x="1696" y="229"/>
                    <a:pt x="1696" y="232"/>
                  </a:cubicBezTo>
                  <a:cubicBezTo>
                    <a:pt x="1699" y="233"/>
                    <a:pt x="1697" y="228"/>
                    <a:pt x="1698" y="227"/>
                  </a:cubicBezTo>
                  <a:cubicBezTo>
                    <a:pt x="1701" y="226"/>
                    <a:pt x="1701" y="229"/>
                    <a:pt x="1701" y="229"/>
                  </a:cubicBezTo>
                  <a:cubicBezTo>
                    <a:pt x="1701" y="229"/>
                    <a:pt x="1710" y="227"/>
                    <a:pt x="1712" y="227"/>
                  </a:cubicBezTo>
                  <a:cubicBezTo>
                    <a:pt x="1714" y="226"/>
                    <a:pt x="1719" y="222"/>
                    <a:pt x="1720" y="229"/>
                  </a:cubicBezTo>
                  <a:cubicBezTo>
                    <a:pt x="1723" y="230"/>
                    <a:pt x="1722" y="225"/>
                    <a:pt x="1723" y="224"/>
                  </a:cubicBezTo>
                  <a:cubicBezTo>
                    <a:pt x="1734" y="222"/>
                    <a:pt x="1746" y="228"/>
                    <a:pt x="1756" y="224"/>
                  </a:cubicBezTo>
                  <a:cubicBezTo>
                    <a:pt x="1754" y="229"/>
                    <a:pt x="1753" y="235"/>
                    <a:pt x="1745" y="236"/>
                  </a:cubicBezTo>
                  <a:close/>
                  <a:moveTo>
                    <a:pt x="1753" y="186"/>
                  </a:moveTo>
                  <a:cubicBezTo>
                    <a:pt x="1755" y="187"/>
                    <a:pt x="1755" y="189"/>
                    <a:pt x="1758" y="188"/>
                  </a:cubicBezTo>
                  <a:cubicBezTo>
                    <a:pt x="1758" y="194"/>
                    <a:pt x="1745" y="191"/>
                    <a:pt x="1753" y="186"/>
                  </a:cubicBezTo>
                  <a:close/>
                  <a:moveTo>
                    <a:pt x="1831" y="110"/>
                  </a:moveTo>
                  <a:cubicBezTo>
                    <a:pt x="1831" y="108"/>
                    <a:pt x="1831" y="107"/>
                    <a:pt x="1831" y="105"/>
                  </a:cubicBezTo>
                  <a:cubicBezTo>
                    <a:pt x="1837" y="104"/>
                    <a:pt x="1832" y="113"/>
                    <a:pt x="1834" y="117"/>
                  </a:cubicBezTo>
                  <a:cubicBezTo>
                    <a:pt x="1831" y="115"/>
                    <a:pt x="1829" y="114"/>
                    <a:pt x="1828" y="117"/>
                  </a:cubicBezTo>
                  <a:cubicBezTo>
                    <a:pt x="1819" y="115"/>
                    <a:pt x="1831" y="112"/>
                    <a:pt x="1831" y="110"/>
                  </a:cubicBezTo>
                  <a:close/>
                  <a:moveTo>
                    <a:pt x="1792" y="230"/>
                  </a:moveTo>
                  <a:cubicBezTo>
                    <a:pt x="1789" y="237"/>
                    <a:pt x="1781" y="233"/>
                    <a:pt x="1775" y="233"/>
                  </a:cubicBezTo>
                  <a:cubicBezTo>
                    <a:pt x="1776" y="228"/>
                    <a:pt x="1787" y="232"/>
                    <a:pt x="1792" y="230"/>
                  </a:cubicBezTo>
                  <a:close/>
                  <a:moveTo>
                    <a:pt x="1779" y="259"/>
                  </a:moveTo>
                  <a:cubicBezTo>
                    <a:pt x="1776" y="258"/>
                    <a:pt x="1776" y="256"/>
                    <a:pt x="1773" y="256"/>
                  </a:cubicBezTo>
                  <a:cubicBezTo>
                    <a:pt x="1773" y="255"/>
                    <a:pt x="1773" y="253"/>
                    <a:pt x="1773" y="252"/>
                  </a:cubicBezTo>
                  <a:cubicBezTo>
                    <a:pt x="1779" y="250"/>
                    <a:pt x="1778" y="255"/>
                    <a:pt x="1779" y="259"/>
                  </a:cubicBezTo>
                  <a:close/>
                  <a:moveTo>
                    <a:pt x="1771" y="310"/>
                  </a:moveTo>
                  <a:cubicBezTo>
                    <a:pt x="1777" y="309"/>
                    <a:pt x="1775" y="315"/>
                    <a:pt x="1780" y="315"/>
                  </a:cubicBezTo>
                  <a:cubicBezTo>
                    <a:pt x="1780" y="319"/>
                    <a:pt x="1769" y="315"/>
                    <a:pt x="1771" y="310"/>
                  </a:cubicBezTo>
                  <a:close/>
                  <a:moveTo>
                    <a:pt x="1790" y="280"/>
                  </a:moveTo>
                  <a:cubicBezTo>
                    <a:pt x="1788" y="283"/>
                    <a:pt x="1792" y="288"/>
                    <a:pt x="1785" y="287"/>
                  </a:cubicBezTo>
                  <a:cubicBezTo>
                    <a:pt x="1789" y="283"/>
                    <a:pt x="1786" y="274"/>
                    <a:pt x="1795" y="275"/>
                  </a:cubicBezTo>
                  <a:cubicBezTo>
                    <a:pt x="1796" y="278"/>
                    <a:pt x="1791" y="278"/>
                    <a:pt x="1790" y="280"/>
                  </a:cubicBezTo>
                  <a:close/>
                  <a:moveTo>
                    <a:pt x="1789" y="226"/>
                  </a:moveTo>
                  <a:cubicBezTo>
                    <a:pt x="1787" y="225"/>
                    <a:pt x="1786" y="226"/>
                    <a:pt x="1786" y="228"/>
                  </a:cubicBezTo>
                  <a:cubicBezTo>
                    <a:pt x="1784" y="228"/>
                    <a:pt x="1784" y="225"/>
                    <a:pt x="1783" y="223"/>
                  </a:cubicBezTo>
                  <a:cubicBezTo>
                    <a:pt x="1785" y="223"/>
                    <a:pt x="1787" y="223"/>
                    <a:pt x="1789" y="223"/>
                  </a:cubicBezTo>
                  <a:cubicBezTo>
                    <a:pt x="1787" y="218"/>
                    <a:pt x="1781" y="219"/>
                    <a:pt x="1786" y="214"/>
                  </a:cubicBezTo>
                  <a:cubicBezTo>
                    <a:pt x="1791" y="214"/>
                    <a:pt x="1792" y="218"/>
                    <a:pt x="1792" y="223"/>
                  </a:cubicBezTo>
                  <a:cubicBezTo>
                    <a:pt x="1798" y="219"/>
                    <a:pt x="1803" y="224"/>
                    <a:pt x="1805" y="221"/>
                  </a:cubicBezTo>
                  <a:cubicBezTo>
                    <a:pt x="1809" y="222"/>
                    <a:pt x="1807" y="224"/>
                    <a:pt x="1805" y="225"/>
                  </a:cubicBezTo>
                  <a:cubicBezTo>
                    <a:pt x="1799" y="229"/>
                    <a:pt x="1799" y="225"/>
                    <a:pt x="1789" y="226"/>
                  </a:cubicBezTo>
                  <a:close/>
                  <a:moveTo>
                    <a:pt x="1800" y="235"/>
                  </a:moveTo>
                  <a:cubicBezTo>
                    <a:pt x="1792" y="232"/>
                    <a:pt x="1806" y="225"/>
                    <a:pt x="1808" y="230"/>
                  </a:cubicBezTo>
                  <a:cubicBezTo>
                    <a:pt x="1808" y="233"/>
                    <a:pt x="1800" y="231"/>
                    <a:pt x="1800" y="235"/>
                  </a:cubicBezTo>
                  <a:close/>
                  <a:moveTo>
                    <a:pt x="1812" y="314"/>
                  </a:moveTo>
                  <a:cubicBezTo>
                    <a:pt x="1808" y="312"/>
                    <a:pt x="1806" y="308"/>
                    <a:pt x="1810" y="305"/>
                  </a:cubicBezTo>
                  <a:cubicBezTo>
                    <a:pt x="1814" y="307"/>
                    <a:pt x="1816" y="311"/>
                    <a:pt x="1812" y="314"/>
                  </a:cubicBezTo>
                  <a:close/>
                  <a:moveTo>
                    <a:pt x="1811" y="258"/>
                  </a:moveTo>
                  <a:cubicBezTo>
                    <a:pt x="1811" y="256"/>
                    <a:pt x="1811" y="255"/>
                    <a:pt x="1811" y="253"/>
                  </a:cubicBezTo>
                  <a:cubicBezTo>
                    <a:pt x="1817" y="252"/>
                    <a:pt x="1817" y="257"/>
                    <a:pt x="1817" y="260"/>
                  </a:cubicBezTo>
                  <a:cubicBezTo>
                    <a:pt x="1815" y="260"/>
                    <a:pt x="1814" y="258"/>
                    <a:pt x="1811" y="258"/>
                  </a:cubicBezTo>
                  <a:close/>
                  <a:moveTo>
                    <a:pt x="1822" y="225"/>
                  </a:moveTo>
                  <a:cubicBezTo>
                    <a:pt x="1819" y="225"/>
                    <a:pt x="1816" y="225"/>
                    <a:pt x="1814" y="225"/>
                  </a:cubicBezTo>
                  <a:cubicBezTo>
                    <a:pt x="1816" y="218"/>
                    <a:pt x="1810" y="219"/>
                    <a:pt x="1811" y="213"/>
                  </a:cubicBezTo>
                  <a:cubicBezTo>
                    <a:pt x="1815" y="212"/>
                    <a:pt x="1823" y="218"/>
                    <a:pt x="1816" y="218"/>
                  </a:cubicBezTo>
                  <a:cubicBezTo>
                    <a:pt x="1818" y="220"/>
                    <a:pt x="1823" y="220"/>
                    <a:pt x="1822" y="225"/>
                  </a:cubicBezTo>
                  <a:close/>
                  <a:moveTo>
                    <a:pt x="1815" y="155"/>
                  </a:moveTo>
                  <a:cubicBezTo>
                    <a:pt x="1817" y="153"/>
                    <a:pt x="1818" y="151"/>
                    <a:pt x="1818" y="147"/>
                  </a:cubicBezTo>
                  <a:cubicBezTo>
                    <a:pt x="1821" y="148"/>
                    <a:pt x="1822" y="152"/>
                    <a:pt x="1826" y="152"/>
                  </a:cubicBezTo>
                  <a:cubicBezTo>
                    <a:pt x="1825" y="155"/>
                    <a:pt x="1819" y="154"/>
                    <a:pt x="1815" y="155"/>
                  </a:cubicBezTo>
                  <a:close/>
                  <a:moveTo>
                    <a:pt x="1829" y="147"/>
                  </a:moveTo>
                  <a:cubicBezTo>
                    <a:pt x="1832" y="148"/>
                    <a:pt x="1831" y="152"/>
                    <a:pt x="1834" y="152"/>
                  </a:cubicBezTo>
                  <a:cubicBezTo>
                    <a:pt x="1833" y="158"/>
                    <a:pt x="1826" y="152"/>
                    <a:pt x="1829" y="147"/>
                  </a:cubicBezTo>
                  <a:close/>
                  <a:moveTo>
                    <a:pt x="1830" y="229"/>
                  </a:moveTo>
                  <a:cubicBezTo>
                    <a:pt x="1826" y="225"/>
                    <a:pt x="1830" y="226"/>
                    <a:pt x="1830" y="220"/>
                  </a:cubicBezTo>
                  <a:cubicBezTo>
                    <a:pt x="1835" y="220"/>
                    <a:pt x="1837" y="224"/>
                    <a:pt x="1838" y="220"/>
                  </a:cubicBezTo>
                  <a:cubicBezTo>
                    <a:pt x="1843" y="220"/>
                    <a:pt x="1836" y="230"/>
                    <a:pt x="1830" y="229"/>
                  </a:cubicBezTo>
                  <a:close/>
                  <a:moveTo>
                    <a:pt x="1850" y="137"/>
                  </a:moveTo>
                  <a:cubicBezTo>
                    <a:pt x="1850" y="140"/>
                    <a:pt x="1845" y="139"/>
                    <a:pt x="1845" y="142"/>
                  </a:cubicBezTo>
                  <a:cubicBezTo>
                    <a:pt x="1842" y="142"/>
                    <a:pt x="1843" y="139"/>
                    <a:pt x="1842" y="138"/>
                  </a:cubicBezTo>
                  <a:cubicBezTo>
                    <a:pt x="1846" y="135"/>
                    <a:pt x="1847" y="137"/>
                    <a:pt x="1850" y="137"/>
                  </a:cubicBezTo>
                  <a:close/>
                  <a:moveTo>
                    <a:pt x="1845" y="154"/>
                  </a:moveTo>
                  <a:cubicBezTo>
                    <a:pt x="1844" y="154"/>
                    <a:pt x="1842" y="151"/>
                    <a:pt x="1843" y="149"/>
                  </a:cubicBezTo>
                  <a:cubicBezTo>
                    <a:pt x="1846" y="141"/>
                    <a:pt x="1848" y="154"/>
                    <a:pt x="1845" y="154"/>
                  </a:cubicBezTo>
                  <a:close/>
                  <a:moveTo>
                    <a:pt x="1841" y="227"/>
                  </a:moveTo>
                  <a:cubicBezTo>
                    <a:pt x="1840" y="223"/>
                    <a:pt x="1847" y="224"/>
                    <a:pt x="1849" y="222"/>
                  </a:cubicBezTo>
                  <a:cubicBezTo>
                    <a:pt x="1855" y="217"/>
                    <a:pt x="1850" y="226"/>
                    <a:pt x="1841" y="227"/>
                  </a:cubicBezTo>
                  <a:close/>
                  <a:moveTo>
                    <a:pt x="1855" y="220"/>
                  </a:moveTo>
                  <a:cubicBezTo>
                    <a:pt x="1864" y="221"/>
                    <a:pt x="1851" y="235"/>
                    <a:pt x="1858" y="234"/>
                  </a:cubicBezTo>
                  <a:cubicBezTo>
                    <a:pt x="1848" y="244"/>
                    <a:pt x="1856" y="220"/>
                    <a:pt x="1852" y="229"/>
                  </a:cubicBezTo>
                  <a:cubicBezTo>
                    <a:pt x="1844" y="227"/>
                    <a:pt x="1858" y="225"/>
                    <a:pt x="1855" y="220"/>
                  </a:cubicBezTo>
                  <a:close/>
                  <a:moveTo>
                    <a:pt x="1853" y="255"/>
                  </a:moveTo>
                  <a:cubicBezTo>
                    <a:pt x="1849" y="254"/>
                    <a:pt x="1850" y="249"/>
                    <a:pt x="1850" y="246"/>
                  </a:cubicBezTo>
                  <a:cubicBezTo>
                    <a:pt x="1856" y="246"/>
                    <a:pt x="1856" y="252"/>
                    <a:pt x="1853" y="255"/>
                  </a:cubicBezTo>
                  <a:close/>
                  <a:moveTo>
                    <a:pt x="1859" y="309"/>
                  </a:moveTo>
                  <a:cubicBezTo>
                    <a:pt x="1856" y="308"/>
                    <a:pt x="1857" y="304"/>
                    <a:pt x="1853" y="304"/>
                  </a:cubicBezTo>
                  <a:cubicBezTo>
                    <a:pt x="1854" y="302"/>
                    <a:pt x="1858" y="302"/>
                    <a:pt x="1862" y="302"/>
                  </a:cubicBezTo>
                  <a:cubicBezTo>
                    <a:pt x="1862" y="306"/>
                    <a:pt x="1859" y="306"/>
                    <a:pt x="1859" y="309"/>
                  </a:cubicBezTo>
                  <a:close/>
                  <a:moveTo>
                    <a:pt x="1848" y="154"/>
                  </a:moveTo>
                  <a:cubicBezTo>
                    <a:pt x="1849" y="150"/>
                    <a:pt x="1852" y="148"/>
                    <a:pt x="1853" y="144"/>
                  </a:cubicBezTo>
                  <a:cubicBezTo>
                    <a:pt x="1857" y="145"/>
                    <a:pt x="1860" y="149"/>
                    <a:pt x="1856" y="149"/>
                  </a:cubicBezTo>
                  <a:cubicBezTo>
                    <a:pt x="1856" y="151"/>
                    <a:pt x="1860" y="151"/>
                    <a:pt x="1862" y="151"/>
                  </a:cubicBezTo>
                  <a:cubicBezTo>
                    <a:pt x="1871" y="154"/>
                    <a:pt x="1852" y="154"/>
                    <a:pt x="1848" y="154"/>
                  </a:cubicBezTo>
                  <a:close/>
                  <a:moveTo>
                    <a:pt x="1928" y="178"/>
                  </a:moveTo>
                  <a:cubicBezTo>
                    <a:pt x="1929" y="177"/>
                    <a:pt x="1931" y="176"/>
                    <a:pt x="1931" y="174"/>
                  </a:cubicBezTo>
                  <a:cubicBezTo>
                    <a:pt x="1933" y="174"/>
                    <a:pt x="1934" y="174"/>
                    <a:pt x="1936" y="174"/>
                  </a:cubicBezTo>
                  <a:cubicBezTo>
                    <a:pt x="1938" y="179"/>
                    <a:pt x="1932" y="178"/>
                    <a:pt x="1928" y="178"/>
                  </a:cubicBezTo>
                  <a:close/>
                  <a:moveTo>
                    <a:pt x="1930" y="138"/>
                  </a:moveTo>
                  <a:cubicBezTo>
                    <a:pt x="1937" y="141"/>
                    <a:pt x="1932" y="154"/>
                    <a:pt x="1922" y="150"/>
                  </a:cubicBezTo>
                  <a:cubicBezTo>
                    <a:pt x="1919" y="142"/>
                    <a:pt x="1928" y="143"/>
                    <a:pt x="1930" y="138"/>
                  </a:cubicBezTo>
                  <a:close/>
                  <a:moveTo>
                    <a:pt x="1920" y="193"/>
                  </a:moveTo>
                  <a:cubicBezTo>
                    <a:pt x="1929" y="190"/>
                    <a:pt x="1922" y="200"/>
                    <a:pt x="1931" y="197"/>
                  </a:cubicBezTo>
                  <a:cubicBezTo>
                    <a:pt x="1930" y="202"/>
                    <a:pt x="1918" y="198"/>
                    <a:pt x="1920" y="193"/>
                  </a:cubicBezTo>
                  <a:close/>
                  <a:moveTo>
                    <a:pt x="1892" y="144"/>
                  </a:moveTo>
                  <a:cubicBezTo>
                    <a:pt x="1896" y="145"/>
                    <a:pt x="1894" y="147"/>
                    <a:pt x="1892" y="149"/>
                  </a:cubicBezTo>
                  <a:cubicBezTo>
                    <a:pt x="1887" y="152"/>
                    <a:pt x="1885" y="151"/>
                    <a:pt x="1892" y="144"/>
                  </a:cubicBezTo>
                  <a:close/>
                  <a:moveTo>
                    <a:pt x="1875" y="123"/>
                  </a:moveTo>
                  <a:cubicBezTo>
                    <a:pt x="1878" y="124"/>
                    <a:pt x="1877" y="128"/>
                    <a:pt x="1881" y="128"/>
                  </a:cubicBezTo>
                  <a:cubicBezTo>
                    <a:pt x="1880" y="130"/>
                    <a:pt x="1877" y="129"/>
                    <a:pt x="1875" y="130"/>
                  </a:cubicBezTo>
                  <a:cubicBezTo>
                    <a:pt x="1872" y="127"/>
                    <a:pt x="1874" y="126"/>
                    <a:pt x="1875" y="123"/>
                  </a:cubicBezTo>
                  <a:close/>
                  <a:moveTo>
                    <a:pt x="1867" y="147"/>
                  </a:moveTo>
                  <a:cubicBezTo>
                    <a:pt x="1869" y="138"/>
                    <a:pt x="1883" y="151"/>
                    <a:pt x="1883" y="144"/>
                  </a:cubicBezTo>
                  <a:cubicBezTo>
                    <a:pt x="1880" y="141"/>
                    <a:pt x="1883" y="143"/>
                    <a:pt x="1886" y="144"/>
                  </a:cubicBezTo>
                  <a:cubicBezTo>
                    <a:pt x="1882" y="147"/>
                    <a:pt x="1883" y="155"/>
                    <a:pt x="1873" y="154"/>
                  </a:cubicBezTo>
                  <a:cubicBezTo>
                    <a:pt x="1874" y="149"/>
                    <a:pt x="1872" y="146"/>
                    <a:pt x="1867" y="147"/>
                  </a:cubicBezTo>
                  <a:close/>
                  <a:moveTo>
                    <a:pt x="1877" y="229"/>
                  </a:moveTo>
                  <a:cubicBezTo>
                    <a:pt x="1878" y="231"/>
                    <a:pt x="1880" y="232"/>
                    <a:pt x="1880" y="236"/>
                  </a:cubicBezTo>
                  <a:cubicBezTo>
                    <a:pt x="1877" y="236"/>
                    <a:pt x="1874" y="236"/>
                    <a:pt x="1871" y="236"/>
                  </a:cubicBezTo>
                  <a:cubicBezTo>
                    <a:pt x="1874" y="234"/>
                    <a:pt x="1874" y="230"/>
                    <a:pt x="1874" y="226"/>
                  </a:cubicBezTo>
                  <a:cubicBezTo>
                    <a:pt x="1877" y="226"/>
                    <a:pt x="1879" y="226"/>
                    <a:pt x="1882" y="226"/>
                  </a:cubicBezTo>
                  <a:cubicBezTo>
                    <a:pt x="1887" y="228"/>
                    <a:pt x="1881" y="229"/>
                    <a:pt x="1877" y="229"/>
                  </a:cubicBezTo>
                  <a:close/>
                  <a:moveTo>
                    <a:pt x="1884" y="182"/>
                  </a:moveTo>
                  <a:cubicBezTo>
                    <a:pt x="1881" y="170"/>
                    <a:pt x="1883" y="167"/>
                    <a:pt x="1881" y="156"/>
                  </a:cubicBezTo>
                  <a:cubicBezTo>
                    <a:pt x="1884" y="155"/>
                    <a:pt x="1886" y="156"/>
                    <a:pt x="1886" y="158"/>
                  </a:cubicBezTo>
                  <a:cubicBezTo>
                    <a:pt x="1887" y="161"/>
                    <a:pt x="1892" y="160"/>
                    <a:pt x="1892" y="163"/>
                  </a:cubicBezTo>
                  <a:cubicBezTo>
                    <a:pt x="1894" y="168"/>
                    <a:pt x="1887" y="166"/>
                    <a:pt x="1887" y="170"/>
                  </a:cubicBezTo>
                  <a:cubicBezTo>
                    <a:pt x="1886" y="174"/>
                    <a:pt x="1889" y="174"/>
                    <a:pt x="1892" y="174"/>
                  </a:cubicBezTo>
                  <a:cubicBezTo>
                    <a:pt x="1892" y="178"/>
                    <a:pt x="1881" y="179"/>
                    <a:pt x="1892" y="179"/>
                  </a:cubicBezTo>
                  <a:cubicBezTo>
                    <a:pt x="1893" y="181"/>
                    <a:pt x="1891" y="181"/>
                    <a:pt x="1890" y="181"/>
                  </a:cubicBezTo>
                  <a:cubicBezTo>
                    <a:pt x="1888" y="181"/>
                    <a:pt x="1886" y="181"/>
                    <a:pt x="1884" y="182"/>
                  </a:cubicBezTo>
                  <a:close/>
                  <a:moveTo>
                    <a:pt x="1888" y="238"/>
                  </a:moveTo>
                  <a:cubicBezTo>
                    <a:pt x="1888" y="236"/>
                    <a:pt x="1888" y="235"/>
                    <a:pt x="1888" y="233"/>
                  </a:cubicBezTo>
                  <a:cubicBezTo>
                    <a:pt x="1890" y="233"/>
                    <a:pt x="1892" y="233"/>
                    <a:pt x="1893" y="233"/>
                  </a:cubicBezTo>
                  <a:cubicBezTo>
                    <a:pt x="1893" y="235"/>
                    <a:pt x="1893" y="236"/>
                    <a:pt x="1893" y="238"/>
                  </a:cubicBezTo>
                  <a:cubicBezTo>
                    <a:pt x="1892" y="238"/>
                    <a:pt x="1890" y="238"/>
                    <a:pt x="1888" y="238"/>
                  </a:cubicBezTo>
                  <a:close/>
                  <a:moveTo>
                    <a:pt x="1888" y="228"/>
                  </a:moveTo>
                  <a:cubicBezTo>
                    <a:pt x="1889" y="225"/>
                    <a:pt x="1894" y="224"/>
                    <a:pt x="1899" y="224"/>
                  </a:cubicBezTo>
                  <a:cubicBezTo>
                    <a:pt x="1901" y="231"/>
                    <a:pt x="1893" y="228"/>
                    <a:pt x="1888" y="228"/>
                  </a:cubicBezTo>
                  <a:close/>
                  <a:moveTo>
                    <a:pt x="1900" y="151"/>
                  </a:moveTo>
                  <a:cubicBezTo>
                    <a:pt x="1896" y="152"/>
                    <a:pt x="1898" y="157"/>
                    <a:pt x="1897" y="160"/>
                  </a:cubicBezTo>
                  <a:cubicBezTo>
                    <a:pt x="1890" y="154"/>
                    <a:pt x="1894" y="148"/>
                    <a:pt x="1900" y="144"/>
                  </a:cubicBezTo>
                  <a:cubicBezTo>
                    <a:pt x="1905" y="143"/>
                    <a:pt x="1905" y="145"/>
                    <a:pt x="1906" y="148"/>
                  </a:cubicBezTo>
                  <a:cubicBezTo>
                    <a:pt x="1910" y="146"/>
                    <a:pt x="1911" y="141"/>
                    <a:pt x="1919" y="141"/>
                  </a:cubicBezTo>
                  <a:cubicBezTo>
                    <a:pt x="1921" y="148"/>
                    <a:pt x="1912" y="147"/>
                    <a:pt x="1911" y="153"/>
                  </a:cubicBezTo>
                  <a:cubicBezTo>
                    <a:pt x="1914" y="155"/>
                    <a:pt x="1912" y="162"/>
                    <a:pt x="1919" y="160"/>
                  </a:cubicBezTo>
                  <a:cubicBezTo>
                    <a:pt x="1919" y="168"/>
                    <a:pt x="1910" y="155"/>
                    <a:pt x="1911" y="162"/>
                  </a:cubicBezTo>
                  <a:cubicBezTo>
                    <a:pt x="1900" y="162"/>
                    <a:pt x="1915" y="150"/>
                    <a:pt x="1900" y="151"/>
                  </a:cubicBezTo>
                  <a:close/>
                  <a:moveTo>
                    <a:pt x="1908" y="310"/>
                  </a:moveTo>
                  <a:cubicBezTo>
                    <a:pt x="1909" y="307"/>
                    <a:pt x="1913" y="307"/>
                    <a:pt x="1914" y="303"/>
                  </a:cubicBezTo>
                  <a:cubicBezTo>
                    <a:pt x="1921" y="304"/>
                    <a:pt x="1914" y="312"/>
                    <a:pt x="1908" y="310"/>
                  </a:cubicBezTo>
                  <a:close/>
                  <a:moveTo>
                    <a:pt x="1915" y="235"/>
                  </a:moveTo>
                  <a:cubicBezTo>
                    <a:pt x="1917" y="233"/>
                    <a:pt x="1920" y="231"/>
                    <a:pt x="1923" y="230"/>
                  </a:cubicBezTo>
                  <a:cubicBezTo>
                    <a:pt x="1923" y="227"/>
                    <a:pt x="1917" y="228"/>
                    <a:pt x="1912" y="228"/>
                  </a:cubicBezTo>
                  <a:cubicBezTo>
                    <a:pt x="1919" y="222"/>
                    <a:pt x="1906" y="222"/>
                    <a:pt x="1909" y="212"/>
                  </a:cubicBezTo>
                  <a:cubicBezTo>
                    <a:pt x="1918" y="212"/>
                    <a:pt x="1913" y="223"/>
                    <a:pt x="1918" y="226"/>
                  </a:cubicBezTo>
                  <a:cubicBezTo>
                    <a:pt x="1923" y="224"/>
                    <a:pt x="1923" y="218"/>
                    <a:pt x="1929" y="223"/>
                  </a:cubicBezTo>
                  <a:cubicBezTo>
                    <a:pt x="1928" y="232"/>
                    <a:pt x="1922" y="232"/>
                    <a:pt x="1926" y="240"/>
                  </a:cubicBezTo>
                  <a:cubicBezTo>
                    <a:pt x="1922" y="239"/>
                    <a:pt x="1924" y="232"/>
                    <a:pt x="1915" y="235"/>
                  </a:cubicBezTo>
                  <a:close/>
                  <a:moveTo>
                    <a:pt x="1930" y="287"/>
                  </a:moveTo>
                  <a:cubicBezTo>
                    <a:pt x="1923" y="294"/>
                    <a:pt x="1917" y="280"/>
                    <a:pt x="1930" y="287"/>
                  </a:cubicBezTo>
                  <a:close/>
                  <a:moveTo>
                    <a:pt x="1918" y="219"/>
                  </a:moveTo>
                  <a:cubicBezTo>
                    <a:pt x="1915" y="212"/>
                    <a:pt x="1924" y="214"/>
                    <a:pt x="1929" y="214"/>
                  </a:cubicBezTo>
                  <a:cubicBezTo>
                    <a:pt x="1929" y="210"/>
                    <a:pt x="1926" y="208"/>
                    <a:pt x="1923" y="207"/>
                  </a:cubicBezTo>
                  <a:cubicBezTo>
                    <a:pt x="1923" y="204"/>
                    <a:pt x="1928" y="205"/>
                    <a:pt x="1931" y="204"/>
                  </a:cubicBezTo>
                  <a:cubicBezTo>
                    <a:pt x="1930" y="209"/>
                    <a:pt x="1933" y="210"/>
                    <a:pt x="1934" y="214"/>
                  </a:cubicBezTo>
                  <a:cubicBezTo>
                    <a:pt x="1936" y="216"/>
                    <a:pt x="1940" y="216"/>
                    <a:pt x="1940" y="221"/>
                  </a:cubicBezTo>
                  <a:cubicBezTo>
                    <a:pt x="1936" y="217"/>
                    <a:pt x="1926" y="219"/>
                    <a:pt x="1918" y="219"/>
                  </a:cubicBezTo>
                  <a:close/>
                  <a:moveTo>
                    <a:pt x="1943" y="258"/>
                  </a:moveTo>
                  <a:cubicBezTo>
                    <a:pt x="1938" y="258"/>
                    <a:pt x="1937" y="254"/>
                    <a:pt x="1937" y="249"/>
                  </a:cubicBezTo>
                  <a:cubicBezTo>
                    <a:pt x="1946" y="246"/>
                    <a:pt x="1942" y="254"/>
                    <a:pt x="1943" y="258"/>
                  </a:cubicBezTo>
                  <a:close/>
                  <a:moveTo>
                    <a:pt x="1945" y="216"/>
                  </a:moveTo>
                  <a:cubicBezTo>
                    <a:pt x="1947" y="214"/>
                    <a:pt x="1948" y="212"/>
                    <a:pt x="1948" y="209"/>
                  </a:cubicBezTo>
                  <a:cubicBezTo>
                    <a:pt x="1951" y="209"/>
                    <a:pt x="1950" y="213"/>
                    <a:pt x="1953" y="213"/>
                  </a:cubicBezTo>
                  <a:cubicBezTo>
                    <a:pt x="1954" y="215"/>
                    <a:pt x="1952" y="215"/>
                    <a:pt x="1951" y="216"/>
                  </a:cubicBezTo>
                  <a:cubicBezTo>
                    <a:pt x="1949" y="216"/>
                    <a:pt x="1947" y="216"/>
                    <a:pt x="1945" y="216"/>
                  </a:cubicBezTo>
                  <a:close/>
                  <a:moveTo>
                    <a:pt x="1948" y="225"/>
                  </a:moveTo>
                  <a:cubicBezTo>
                    <a:pt x="1948" y="224"/>
                    <a:pt x="1948" y="222"/>
                    <a:pt x="1948" y="220"/>
                  </a:cubicBezTo>
                  <a:cubicBezTo>
                    <a:pt x="1953" y="220"/>
                    <a:pt x="1957" y="221"/>
                    <a:pt x="1956" y="225"/>
                  </a:cubicBezTo>
                  <a:cubicBezTo>
                    <a:pt x="1954" y="225"/>
                    <a:pt x="1951" y="225"/>
                    <a:pt x="1948" y="225"/>
                  </a:cubicBezTo>
                  <a:close/>
                  <a:moveTo>
                    <a:pt x="2054" y="169"/>
                  </a:moveTo>
                  <a:cubicBezTo>
                    <a:pt x="2050" y="171"/>
                    <a:pt x="2055" y="181"/>
                    <a:pt x="2046" y="179"/>
                  </a:cubicBezTo>
                  <a:cubicBezTo>
                    <a:pt x="2045" y="173"/>
                    <a:pt x="2047" y="169"/>
                    <a:pt x="2054" y="169"/>
                  </a:cubicBezTo>
                  <a:close/>
                  <a:moveTo>
                    <a:pt x="1985" y="145"/>
                  </a:moveTo>
                  <a:cubicBezTo>
                    <a:pt x="1984" y="151"/>
                    <a:pt x="1981" y="141"/>
                    <a:pt x="1977" y="142"/>
                  </a:cubicBezTo>
                  <a:cubicBezTo>
                    <a:pt x="1979" y="135"/>
                    <a:pt x="1982" y="145"/>
                    <a:pt x="1985" y="145"/>
                  </a:cubicBezTo>
                  <a:close/>
                  <a:moveTo>
                    <a:pt x="1985" y="274"/>
                  </a:moveTo>
                  <a:cubicBezTo>
                    <a:pt x="1984" y="278"/>
                    <a:pt x="1981" y="272"/>
                    <a:pt x="1982" y="269"/>
                  </a:cubicBezTo>
                  <a:cubicBezTo>
                    <a:pt x="1983" y="265"/>
                    <a:pt x="1985" y="271"/>
                    <a:pt x="1985" y="274"/>
                  </a:cubicBezTo>
                  <a:close/>
                  <a:moveTo>
                    <a:pt x="1979" y="255"/>
                  </a:moveTo>
                  <a:cubicBezTo>
                    <a:pt x="1978" y="250"/>
                    <a:pt x="1981" y="248"/>
                    <a:pt x="1987" y="248"/>
                  </a:cubicBezTo>
                  <a:cubicBezTo>
                    <a:pt x="1984" y="250"/>
                    <a:pt x="1986" y="257"/>
                    <a:pt x="1979" y="255"/>
                  </a:cubicBezTo>
                  <a:close/>
                  <a:moveTo>
                    <a:pt x="1998" y="252"/>
                  </a:moveTo>
                  <a:cubicBezTo>
                    <a:pt x="1993" y="260"/>
                    <a:pt x="1990" y="247"/>
                    <a:pt x="1990" y="243"/>
                  </a:cubicBezTo>
                  <a:cubicBezTo>
                    <a:pt x="1993" y="243"/>
                    <a:pt x="1991" y="241"/>
                    <a:pt x="1989" y="241"/>
                  </a:cubicBezTo>
                  <a:cubicBezTo>
                    <a:pt x="1989" y="239"/>
                    <a:pt x="1991" y="239"/>
                    <a:pt x="1992" y="238"/>
                  </a:cubicBezTo>
                  <a:cubicBezTo>
                    <a:pt x="1994" y="238"/>
                    <a:pt x="1996" y="238"/>
                    <a:pt x="1998" y="238"/>
                  </a:cubicBezTo>
                  <a:cubicBezTo>
                    <a:pt x="2001" y="245"/>
                    <a:pt x="1993" y="252"/>
                    <a:pt x="1998" y="252"/>
                  </a:cubicBezTo>
                  <a:close/>
                  <a:moveTo>
                    <a:pt x="1999" y="285"/>
                  </a:moveTo>
                  <a:cubicBezTo>
                    <a:pt x="2002" y="279"/>
                    <a:pt x="2005" y="276"/>
                    <a:pt x="2001" y="269"/>
                  </a:cubicBezTo>
                  <a:cubicBezTo>
                    <a:pt x="2009" y="268"/>
                    <a:pt x="2004" y="278"/>
                    <a:pt x="2009" y="278"/>
                  </a:cubicBezTo>
                  <a:cubicBezTo>
                    <a:pt x="2009" y="281"/>
                    <a:pt x="2007" y="279"/>
                    <a:pt x="2007" y="278"/>
                  </a:cubicBezTo>
                  <a:cubicBezTo>
                    <a:pt x="2000" y="277"/>
                    <a:pt x="2008" y="289"/>
                    <a:pt x="1999" y="285"/>
                  </a:cubicBezTo>
                  <a:close/>
                  <a:moveTo>
                    <a:pt x="2001" y="297"/>
                  </a:moveTo>
                  <a:cubicBezTo>
                    <a:pt x="2005" y="293"/>
                    <a:pt x="2007" y="288"/>
                    <a:pt x="2015" y="287"/>
                  </a:cubicBezTo>
                  <a:cubicBezTo>
                    <a:pt x="2012" y="291"/>
                    <a:pt x="2009" y="297"/>
                    <a:pt x="2001" y="297"/>
                  </a:cubicBezTo>
                  <a:close/>
                  <a:moveTo>
                    <a:pt x="2017" y="266"/>
                  </a:moveTo>
                  <a:cubicBezTo>
                    <a:pt x="2018" y="261"/>
                    <a:pt x="2025" y="261"/>
                    <a:pt x="2028" y="264"/>
                  </a:cubicBezTo>
                  <a:cubicBezTo>
                    <a:pt x="2028" y="267"/>
                    <a:pt x="2021" y="266"/>
                    <a:pt x="2017" y="266"/>
                  </a:cubicBezTo>
                  <a:close/>
                  <a:moveTo>
                    <a:pt x="2042" y="254"/>
                  </a:moveTo>
                  <a:cubicBezTo>
                    <a:pt x="2042" y="252"/>
                    <a:pt x="2042" y="251"/>
                    <a:pt x="2042" y="249"/>
                  </a:cubicBezTo>
                  <a:cubicBezTo>
                    <a:pt x="2044" y="249"/>
                    <a:pt x="2045" y="249"/>
                    <a:pt x="2047" y="249"/>
                  </a:cubicBezTo>
                  <a:cubicBezTo>
                    <a:pt x="2047" y="251"/>
                    <a:pt x="2047" y="252"/>
                    <a:pt x="2047" y="254"/>
                  </a:cubicBezTo>
                  <a:cubicBezTo>
                    <a:pt x="2046" y="254"/>
                    <a:pt x="2044" y="254"/>
                    <a:pt x="2042" y="254"/>
                  </a:cubicBezTo>
                  <a:close/>
                  <a:moveTo>
                    <a:pt x="2044" y="221"/>
                  </a:moveTo>
                  <a:cubicBezTo>
                    <a:pt x="2044" y="219"/>
                    <a:pt x="2044" y="216"/>
                    <a:pt x="2044" y="214"/>
                  </a:cubicBezTo>
                  <a:cubicBezTo>
                    <a:pt x="2038" y="213"/>
                    <a:pt x="2039" y="217"/>
                    <a:pt x="2039" y="221"/>
                  </a:cubicBezTo>
                  <a:cubicBezTo>
                    <a:pt x="2034" y="222"/>
                    <a:pt x="2025" y="219"/>
                    <a:pt x="2028" y="226"/>
                  </a:cubicBezTo>
                  <a:cubicBezTo>
                    <a:pt x="2018" y="222"/>
                    <a:pt x="2031" y="219"/>
                    <a:pt x="2033" y="217"/>
                  </a:cubicBezTo>
                  <a:cubicBezTo>
                    <a:pt x="2032" y="211"/>
                    <a:pt x="2021" y="216"/>
                    <a:pt x="2016" y="214"/>
                  </a:cubicBezTo>
                  <a:cubicBezTo>
                    <a:pt x="2013" y="222"/>
                    <a:pt x="2025" y="216"/>
                    <a:pt x="2022" y="224"/>
                  </a:cubicBezTo>
                  <a:cubicBezTo>
                    <a:pt x="2018" y="224"/>
                    <a:pt x="2014" y="224"/>
                    <a:pt x="2014" y="226"/>
                  </a:cubicBezTo>
                  <a:cubicBezTo>
                    <a:pt x="2011" y="226"/>
                    <a:pt x="2012" y="222"/>
                    <a:pt x="2008" y="222"/>
                  </a:cubicBezTo>
                  <a:cubicBezTo>
                    <a:pt x="2001" y="221"/>
                    <a:pt x="2016" y="231"/>
                    <a:pt x="2003" y="229"/>
                  </a:cubicBezTo>
                  <a:cubicBezTo>
                    <a:pt x="2001" y="236"/>
                    <a:pt x="2007" y="235"/>
                    <a:pt x="2006" y="241"/>
                  </a:cubicBezTo>
                  <a:cubicBezTo>
                    <a:pt x="1999" y="239"/>
                    <a:pt x="1997" y="231"/>
                    <a:pt x="2000" y="227"/>
                  </a:cubicBezTo>
                  <a:cubicBezTo>
                    <a:pt x="2001" y="226"/>
                    <a:pt x="2006" y="227"/>
                    <a:pt x="2006" y="226"/>
                  </a:cubicBezTo>
                  <a:cubicBezTo>
                    <a:pt x="2006" y="224"/>
                    <a:pt x="1999" y="222"/>
                    <a:pt x="2006" y="217"/>
                  </a:cubicBezTo>
                  <a:cubicBezTo>
                    <a:pt x="2005" y="214"/>
                    <a:pt x="1999" y="215"/>
                    <a:pt x="1994" y="215"/>
                  </a:cubicBezTo>
                  <a:cubicBezTo>
                    <a:pt x="1987" y="217"/>
                    <a:pt x="1992" y="218"/>
                    <a:pt x="1992" y="224"/>
                  </a:cubicBezTo>
                  <a:cubicBezTo>
                    <a:pt x="1983" y="227"/>
                    <a:pt x="1988" y="217"/>
                    <a:pt x="1984" y="215"/>
                  </a:cubicBezTo>
                  <a:cubicBezTo>
                    <a:pt x="1976" y="215"/>
                    <a:pt x="1980" y="222"/>
                    <a:pt x="1978" y="225"/>
                  </a:cubicBezTo>
                  <a:cubicBezTo>
                    <a:pt x="1978" y="225"/>
                    <a:pt x="1973" y="224"/>
                    <a:pt x="1973" y="225"/>
                  </a:cubicBezTo>
                  <a:cubicBezTo>
                    <a:pt x="1971" y="226"/>
                    <a:pt x="1974" y="230"/>
                    <a:pt x="1973" y="232"/>
                  </a:cubicBezTo>
                  <a:cubicBezTo>
                    <a:pt x="1967" y="230"/>
                    <a:pt x="1967" y="228"/>
                    <a:pt x="1970" y="225"/>
                  </a:cubicBezTo>
                  <a:cubicBezTo>
                    <a:pt x="1965" y="224"/>
                    <a:pt x="1965" y="227"/>
                    <a:pt x="1965" y="230"/>
                  </a:cubicBezTo>
                  <a:cubicBezTo>
                    <a:pt x="1961" y="229"/>
                    <a:pt x="1962" y="224"/>
                    <a:pt x="1962" y="220"/>
                  </a:cubicBezTo>
                  <a:cubicBezTo>
                    <a:pt x="1966" y="220"/>
                    <a:pt x="1971" y="220"/>
                    <a:pt x="1975" y="220"/>
                  </a:cubicBezTo>
                  <a:cubicBezTo>
                    <a:pt x="1976" y="214"/>
                    <a:pt x="1960" y="222"/>
                    <a:pt x="1964" y="213"/>
                  </a:cubicBezTo>
                  <a:cubicBezTo>
                    <a:pt x="1974" y="212"/>
                    <a:pt x="1988" y="216"/>
                    <a:pt x="1986" y="206"/>
                  </a:cubicBezTo>
                  <a:cubicBezTo>
                    <a:pt x="1992" y="205"/>
                    <a:pt x="1995" y="207"/>
                    <a:pt x="1994" y="213"/>
                  </a:cubicBezTo>
                  <a:cubicBezTo>
                    <a:pt x="2004" y="211"/>
                    <a:pt x="2003" y="210"/>
                    <a:pt x="2011" y="212"/>
                  </a:cubicBezTo>
                  <a:cubicBezTo>
                    <a:pt x="2015" y="211"/>
                    <a:pt x="2010" y="209"/>
                    <a:pt x="2011" y="205"/>
                  </a:cubicBezTo>
                  <a:cubicBezTo>
                    <a:pt x="2018" y="204"/>
                    <a:pt x="2021" y="206"/>
                    <a:pt x="2019" y="212"/>
                  </a:cubicBezTo>
                  <a:cubicBezTo>
                    <a:pt x="2024" y="212"/>
                    <a:pt x="2026" y="210"/>
                    <a:pt x="2027" y="207"/>
                  </a:cubicBezTo>
                  <a:cubicBezTo>
                    <a:pt x="2031" y="208"/>
                    <a:pt x="2032" y="211"/>
                    <a:pt x="2036" y="212"/>
                  </a:cubicBezTo>
                  <a:cubicBezTo>
                    <a:pt x="2039" y="212"/>
                    <a:pt x="2037" y="210"/>
                    <a:pt x="2038" y="209"/>
                  </a:cubicBezTo>
                  <a:cubicBezTo>
                    <a:pt x="2041" y="209"/>
                    <a:pt x="2045" y="214"/>
                    <a:pt x="2047" y="207"/>
                  </a:cubicBezTo>
                  <a:cubicBezTo>
                    <a:pt x="2051" y="208"/>
                    <a:pt x="2049" y="214"/>
                    <a:pt x="2058" y="211"/>
                  </a:cubicBezTo>
                  <a:cubicBezTo>
                    <a:pt x="2066" y="214"/>
                    <a:pt x="2050" y="214"/>
                    <a:pt x="2047" y="214"/>
                  </a:cubicBezTo>
                  <a:cubicBezTo>
                    <a:pt x="2047" y="220"/>
                    <a:pt x="2057" y="218"/>
                    <a:pt x="2060" y="221"/>
                  </a:cubicBezTo>
                  <a:cubicBezTo>
                    <a:pt x="2057" y="225"/>
                    <a:pt x="2054" y="221"/>
                    <a:pt x="2044" y="221"/>
                  </a:cubicBezTo>
                  <a:close/>
                  <a:moveTo>
                    <a:pt x="2063" y="221"/>
                  </a:moveTo>
                  <a:cubicBezTo>
                    <a:pt x="2063" y="218"/>
                    <a:pt x="2067" y="219"/>
                    <a:pt x="2069" y="218"/>
                  </a:cubicBezTo>
                  <a:cubicBezTo>
                    <a:pt x="2069" y="214"/>
                    <a:pt x="2069" y="210"/>
                    <a:pt x="2068" y="207"/>
                  </a:cubicBezTo>
                  <a:cubicBezTo>
                    <a:pt x="2080" y="203"/>
                    <a:pt x="2069" y="219"/>
                    <a:pt x="2077" y="218"/>
                  </a:cubicBezTo>
                  <a:cubicBezTo>
                    <a:pt x="2077" y="223"/>
                    <a:pt x="2067" y="219"/>
                    <a:pt x="2063" y="221"/>
                  </a:cubicBezTo>
                  <a:close/>
                  <a:moveTo>
                    <a:pt x="2074" y="239"/>
                  </a:moveTo>
                  <a:cubicBezTo>
                    <a:pt x="2073" y="239"/>
                    <a:pt x="2071" y="239"/>
                    <a:pt x="2069" y="239"/>
                  </a:cubicBezTo>
                  <a:cubicBezTo>
                    <a:pt x="2069" y="237"/>
                    <a:pt x="2069" y="235"/>
                    <a:pt x="2069" y="232"/>
                  </a:cubicBezTo>
                  <a:cubicBezTo>
                    <a:pt x="2073" y="232"/>
                    <a:pt x="2074" y="235"/>
                    <a:pt x="2077" y="235"/>
                  </a:cubicBezTo>
                  <a:cubicBezTo>
                    <a:pt x="2077" y="237"/>
                    <a:pt x="2074" y="237"/>
                    <a:pt x="2074" y="239"/>
                  </a:cubicBezTo>
                  <a:close/>
                  <a:moveTo>
                    <a:pt x="2200" y="66"/>
                  </a:moveTo>
                  <a:cubicBezTo>
                    <a:pt x="2203" y="68"/>
                    <a:pt x="2211" y="66"/>
                    <a:pt x="2209" y="72"/>
                  </a:cubicBezTo>
                  <a:cubicBezTo>
                    <a:pt x="2206" y="70"/>
                    <a:pt x="2199" y="72"/>
                    <a:pt x="2200" y="66"/>
                  </a:cubicBezTo>
                  <a:close/>
                  <a:moveTo>
                    <a:pt x="2184" y="71"/>
                  </a:moveTo>
                  <a:cubicBezTo>
                    <a:pt x="2184" y="72"/>
                    <a:pt x="2184" y="74"/>
                    <a:pt x="2184" y="75"/>
                  </a:cubicBezTo>
                  <a:cubicBezTo>
                    <a:pt x="2182" y="75"/>
                    <a:pt x="2180" y="75"/>
                    <a:pt x="2179" y="75"/>
                  </a:cubicBezTo>
                  <a:cubicBezTo>
                    <a:pt x="2179" y="74"/>
                    <a:pt x="2179" y="72"/>
                    <a:pt x="2179" y="71"/>
                  </a:cubicBezTo>
                  <a:cubicBezTo>
                    <a:pt x="2180" y="71"/>
                    <a:pt x="2182" y="71"/>
                    <a:pt x="2184" y="71"/>
                  </a:cubicBezTo>
                  <a:close/>
                  <a:moveTo>
                    <a:pt x="2180" y="132"/>
                  </a:moveTo>
                  <a:cubicBezTo>
                    <a:pt x="2179" y="136"/>
                    <a:pt x="2175" y="141"/>
                    <a:pt x="2174" y="144"/>
                  </a:cubicBezTo>
                  <a:cubicBezTo>
                    <a:pt x="2172" y="142"/>
                    <a:pt x="2170" y="141"/>
                    <a:pt x="2166" y="141"/>
                  </a:cubicBezTo>
                  <a:cubicBezTo>
                    <a:pt x="2162" y="135"/>
                    <a:pt x="2171" y="136"/>
                    <a:pt x="2171" y="132"/>
                  </a:cubicBezTo>
                  <a:cubicBezTo>
                    <a:pt x="2172" y="129"/>
                    <a:pt x="2177" y="130"/>
                    <a:pt x="2180" y="129"/>
                  </a:cubicBezTo>
                  <a:cubicBezTo>
                    <a:pt x="2180" y="127"/>
                    <a:pt x="2178" y="127"/>
                    <a:pt x="2177" y="127"/>
                  </a:cubicBezTo>
                  <a:cubicBezTo>
                    <a:pt x="2185" y="120"/>
                    <a:pt x="2181" y="128"/>
                    <a:pt x="2180" y="132"/>
                  </a:cubicBezTo>
                  <a:close/>
                  <a:moveTo>
                    <a:pt x="2183" y="174"/>
                  </a:moveTo>
                  <a:cubicBezTo>
                    <a:pt x="2180" y="173"/>
                    <a:pt x="2179" y="170"/>
                    <a:pt x="2175" y="169"/>
                  </a:cubicBezTo>
                  <a:cubicBezTo>
                    <a:pt x="2175" y="167"/>
                    <a:pt x="2178" y="168"/>
                    <a:pt x="2178" y="169"/>
                  </a:cubicBezTo>
                  <a:cubicBezTo>
                    <a:pt x="2180" y="169"/>
                    <a:pt x="2180" y="166"/>
                    <a:pt x="2180" y="165"/>
                  </a:cubicBezTo>
                  <a:cubicBezTo>
                    <a:pt x="2184" y="165"/>
                    <a:pt x="2183" y="170"/>
                    <a:pt x="2183" y="174"/>
                  </a:cubicBezTo>
                  <a:close/>
                  <a:moveTo>
                    <a:pt x="2177" y="120"/>
                  </a:moveTo>
                  <a:cubicBezTo>
                    <a:pt x="2176" y="125"/>
                    <a:pt x="2164" y="121"/>
                    <a:pt x="2166" y="116"/>
                  </a:cubicBezTo>
                  <a:cubicBezTo>
                    <a:pt x="2173" y="114"/>
                    <a:pt x="2171" y="120"/>
                    <a:pt x="2177" y="120"/>
                  </a:cubicBezTo>
                  <a:close/>
                  <a:moveTo>
                    <a:pt x="2166" y="108"/>
                  </a:moveTo>
                  <a:cubicBezTo>
                    <a:pt x="2166" y="108"/>
                    <a:pt x="2168" y="109"/>
                    <a:pt x="2168" y="108"/>
                  </a:cubicBezTo>
                  <a:cubicBezTo>
                    <a:pt x="2169" y="108"/>
                    <a:pt x="2169" y="102"/>
                    <a:pt x="2171" y="104"/>
                  </a:cubicBezTo>
                  <a:cubicBezTo>
                    <a:pt x="2179" y="111"/>
                    <a:pt x="2155" y="110"/>
                    <a:pt x="2166" y="108"/>
                  </a:cubicBezTo>
                  <a:close/>
                  <a:moveTo>
                    <a:pt x="2177" y="146"/>
                  </a:moveTo>
                  <a:cubicBezTo>
                    <a:pt x="2172" y="149"/>
                    <a:pt x="2177" y="160"/>
                    <a:pt x="2169" y="160"/>
                  </a:cubicBezTo>
                  <a:cubicBezTo>
                    <a:pt x="2171" y="162"/>
                    <a:pt x="2172" y="164"/>
                    <a:pt x="2172" y="167"/>
                  </a:cubicBezTo>
                  <a:cubicBezTo>
                    <a:pt x="2164" y="171"/>
                    <a:pt x="2163" y="152"/>
                    <a:pt x="2172" y="155"/>
                  </a:cubicBezTo>
                  <a:cubicBezTo>
                    <a:pt x="2171" y="151"/>
                    <a:pt x="2167" y="150"/>
                    <a:pt x="2161" y="151"/>
                  </a:cubicBezTo>
                  <a:cubicBezTo>
                    <a:pt x="2164" y="147"/>
                    <a:pt x="2170" y="146"/>
                    <a:pt x="2177" y="146"/>
                  </a:cubicBezTo>
                  <a:close/>
                  <a:moveTo>
                    <a:pt x="2164" y="205"/>
                  </a:moveTo>
                  <a:cubicBezTo>
                    <a:pt x="2165" y="200"/>
                    <a:pt x="2174" y="207"/>
                    <a:pt x="2173" y="212"/>
                  </a:cubicBezTo>
                  <a:cubicBezTo>
                    <a:pt x="2170" y="212"/>
                    <a:pt x="2167" y="212"/>
                    <a:pt x="2165" y="212"/>
                  </a:cubicBezTo>
                  <a:cubicBezTo>
                    <a:pt x="2166" y="210"/>
                    <a:pt x="2169" y="205"/>
                    <a:pt x="2164" y="205"/>
                  </a:cubicBezTo>
                  <a:close/>
                  <a:moveTo>
                    <a:pt x="2164" y="186"/>
                  </a:moveTo>
                  <a:cubicBezTo>
                    <a:pt x="2166" y="173"/>
                    <a:pt x="2181" y="193"/>
                    <a:pt x="2167" y="193"/>
                  </a:cubicBezTo>
                  <a:cubicBezTo>
                    <a:pt x="2167" y="191"/>
                    <a:pt x="2170" y="191"/>
                    <a:pt x="2170" y="188"/>
                  </a:cubicBezTo>
                  <a:cubicBezTo>
                    <a:pt x="2170" y="186"/>
                    <a:pt x="2166" y="187"/>
                    <a:pt x="2164" y="186"/>
                  </a:cubicBezTo>
                  <a:close/>
                  <a:moveTo>
                    <a:pt x="2154" y="99"/>
                  </a:moveTo>
                  <a:cubicBezTo>
                    <a:pt x="2166" y="98"/>
                    <a:pt x="2156" y="104"/>
                    <a:pt x="2157" y="109"/>
                  </a:cubicBezTo>
                  <a:cubicBezTo>
                    <a:pt x="2149" y="108"/>
                    <a:pt x="2150" y="117"/>
                    <a:pt x="2144" y="111"/>
                  </a:cubicBezTo>
                  <a:cubicBezTo>
                    <a:pt x="2145" y="106"/>
                    <a:pt x="2158" y="109"/>
                    <a:pt x="2154" y="99"/>
                  </a:cubicBezTo>
                  <a:close/>
                  <a:moveTo>
                    <a:pt x="2159" y="207"/>
                  </a:moveTo>
                  <a:cubicBezTo>
                    <a:pt x="2146" y="210"/>
                    <a:pt x="2154" y="195"/>
                    <a:pt x="2159" y="203"/>
                  </a:cubicBezTo>
                  <a:cubicBezTo>
                    <a:pt x="2159" y="204"/>
                    <a:pt x="2159" y="206"/>
                    <a:pt x="2159" y="207"/>
                  </a:cubicBezTo>
                  <a:close/>
                  <a:moveTo>
                    <a:pt x="2141" y="130"/>
                  </a:moveTo>
                  <a:cubicBezTo>
                    <a:pt x="2150" y="127"/>
                    <a:pt x="2143" y="138"/>
                    <a:pt x="2152" y="135"/>
                  </a:cubicBezTo>
                  <a:cubicBezTo>
                    <a:pt x="2150" y="139"/>
                    <a:pt x="2147" y="143"/>
                    <a:pt x="2139" y="142"/>
                  </a:cubicBezTo>
                  <a:cubicBezTo>
                    <a:pt x="2137" y="136"/>
                    <a:pt x="2144" y="137"/>
                    <a:pt x="2141" y="130"/>
                  </a:cubicBezTo>
                  <a:close/>
                  <a:moveTo>
                    <a:pt x="2115" y="189"/>
                  </a:moveTo>
                  <a:cubicBezTo>
                    <a:pt x="2120" y="183"/>
                    <a:pt x="2127" y="192"/>
                    <a:pt x="2134" y="187"/>
                  </a:cubicBezTo>
                  <a:cubicBezTo>
                    <a:pt x="2135" y="195"/>
                    <a:pt x="2119" y="190"/>
                    <a:pt x="2115" y="194"/>
                  </a:cubicBezTo>
                  <a:cubicBezTo>
                    <a:pt x="2117" y="192"/>
                    <a:pt x="2118" y="190"/>
                    <a:pt x="2115" y="189"/>
                  </a:cubicBezTo>
                  <a:close/>
                  <a:moveTo>
                    <a:pt x="2128" y="140"/>
                  </a:moveTo>
                  <a:cubicBezTo>
                    <a:pt x="2125" y="148"/>
                    <a:pt x="2122" y="137"/>
                    <a:pt x="2119" y="138"/>
                  </a:cubicBezTo>
                  <a:cubicBezTo>
                    <a:pt x="2114" y="135"/>
                    <a:pt x="2116" y="142"/>
                    <a:pt x="2114" y="142"/>
                  </a:cubicBezTo>
                  <a:cubicBezTo>
                    <a:pt x="2112" y="143"/>
                    <a:pt x="2108" y="139"/>
                    <a:pt x="2103" y="142"/>
                  </a:cubicBezTo>
                  <a:cubicBezTo>
                    <a:pt x="2103" y="140"/>
                    <a:pt x="2103" y="138"/>
                    <a:pt x="2103" y="135"/>
                  </a:cubicBezTo>
                  <a:cubicBezTo>
                    <a:pt x="2114" y="137"/>
                    <a:pt x="2112" y="136"/>
                    <a:pt x="2125" y="135"/>
                  </a:cubicBezTo>
                  <a:cubicBezTo>
                    <a:pt x="2124" y="138"/>
                    <a:pt x="2126" y="139"/>
                    <a:pt x="2128" y="140"/>
                  </a:cubicBezTo>
                  <a:close/>
                  <a:moveTo>
                    <a:pt x="2130" y="107"/>
                  </a:moveTo>
                  <a:cubicBezTo>
                    <a:pt x="2124" y="116"/>
                    <a:pt x="2136" y="115"/>
                    <a:pt x="2133" y="128"/>
                  </a:cubicBezTo>
                  <a:cubicBezTo>
                    <a:pt x="2130" y="128"/>
                    <a:pt x="2131" y="124"/>
                    <a:pt x="2130" y="121"/>
                  </a:cubicBezTo>
                  <a:cubicBezTo>
                    <a:pt x="2129" y="118"/>
                    <a:pt x="2117" y="107"/>
                    <a:pt x="2130" y="107"/>
                  </a:cubicBezTo>
                  <a:close/>
                  <a:moveTo>
                    <a:pt x="2111" y="107"/>
                  </a:moveTo>
                  <a:cubicBezTo>
                    <a:pt x="2110" y="110"/>
                    <a:pt x="2099" y="112"/>
                    <a:pt x="2111" y="112"/>
                  </a:cubicBezTo>
                  <a:cubicBezTo>
                    <a:pt x="2110" y="115"/>
                    <a:pt x="2106" y="114"/>
                    <a:pt x="2102" y="114"/>
                  </a:cubicBezTo>
                  <a:cubicBezTo>
                    <a:pt x="2098" y="107"/>
                    <a:pt x="2103" y="102"/>
                    <a:pt x="2111" y="107"/>
                  </a:cubicBezTo>
                  <a:close/>
                  <a:moveTo>
                    <a:pt x="2088" y="251"/>
                  </a:moveTo>
                  <a:cubicBezTo>
                    <a:pt x="2084" y="249"/>
                    <a:pt x="2081" y="243"/>
                    <a:pt x="2085" y="239"/>
                  </a:cubicBezTo>
                  <a:cubicBezTo>
                    <a:pt x="2091" y="239"/>
                    <a:pt x="2087" y="247"/>
                    <a:pt x="2088" y="251"/>
                  </a:cubicBezTo>
                  <a:close/>
                  <a:moveTo>
                    <a:pt x="2085" y="227"/>
                  </a:moveTo>
                  <a:cubicBezTo>
                    <a:pt x="2075" y="221"/>
                    <a:pt x="2088" y="214"/>
                    <a:pt x="2082" y="204"/>
                  </a:cubicBezTo>
                  <a:cubicBezTo>
                    <a:pt x="2085" y="205"/>
                    <a:pt x="2085" y="209"/>
                    <a:pt x="2090" y="209"/>
                  </a:cubicBezTo>
                  <a:cubicBezTo>
                    <a:pt x="2090" y="216"/>
                    <a:pt x="2083" y="218"/>
                    <a:pt x="2085" y="227"/>
                  </a:cubicBezTo>
                  <a:close/>
                  <a:moveTo>
                    <a:pt x="2103" y="168"/>
                  </a:moveTo>
                  <a:cubicBezTo>
                    <a:pt x="2105" y="169"/>
                    <a:pt x="2096" y="175"/>
                    <a:pt x="2093" y="171"/>
                  </a:cubicBezTo>
                  <a:cubicBezTo>
                    <a:pt x="2092" y="169"/>
                    <a:pt x="2102" y="167"/>
                    <a:pt x="2103" y="168"/>
                  </a:cubicBezTo>
                  <a:close/>
                  <a:moveTo>
                    <a:pt x="2095" y="293"/>
                  </a:moveTo>
                  <a:cubicBezTo>
                    <a:pt x="2095" y="289"/>
                    <a:pt x="2104" y="291"/>
                    <a:pt x="2103" y="286"/>
                  </a:cubicBezTo>
                  <a:cubicBezTo>
                    <a:pt x="2107" y="287"/>
                    <a:pt x="2105" y="293"/>
                    <a:pt x="2114" y="290"/>
                  </a:cubicBezTo>
                  <a:cubicBezTo>
                    <a:pt x="2108" y="295"/>
                    <a:pt x="2101" y="295"/>
                    <a:pt x="2095" y="293"/>
                  </a:cubicBezTo>
                  <a:close/>
                  <a:moveTo>
                    <a:pt x="2094" y="270"/>
                  </a:moveTo>
                  <a:cubicBezTo>
                    <a:pt x="2095" y="265"/>
                    <a:pt x="2098" y="271"/>
                    <a:pt x="2097" y="274"/>
                  </a:cubicBezTo>
                  <a:cubicBezTo>
                    <a:pt x="2096" y="279"/>
                    <a:pt x="2094" y="273"/>
                    <a:pt x="2094" y="270"/>
                  </a:cubicBezTo>
                  <a:close/>
                  <a:moveTo>
                    <a:pt x="2102" y="225"/>
                  </a:moveTo>
                  <a:cubicBezTo>
                    <a:pt x="2094" y="222"/>
                    <a:pt x="2109" y="208"/>
                    <a:pt x="2102" y="225"/>
                  </a:cubicBezTo>
                  <a:close/>
                  <a:moveTo>
                    <a:pt x="2110" y="218"/>
                  </a:moveTo>
                  <a:cubicBezTo>
                    <a:pt x="2117" y="218"/>
                    <a:pt x="2111" y="226"/>
                    <a:pt x="2110" y="227"/>
                  </a:cubicBezTo>
                  <a:cubicBezTo>
                    <a:pt x="2102" y="226"/>
                    <a:pt x="2112" y="222"/>
                    <a:pt x="2110" y="218"/>
                  </a:cubicBezTo>
                  <a:close/>
                  <a:moveTo>
                    <a:pt x="2119" y="281"/>
                  </a:moveTo>
                  <a:cubicBezTo>
                    <a:pt x="2117" y="288"/>
                    <a:pt x="2115" y="277"/>
                    <a:pt x="2116" y="274"/>
                  </a:cubicBezTo>
                  <a:cubicBezTo>
                    <a:pt x="2113" y="277"/>
                    <a:pt x="2112" y="275"/>
                    <a:pt x="2108" y="274"/>
                  </a:cubicBezTo>
                  <a:cubicBezTo>
                    <a:pt x="2110" y="272"/>
                    <a:pt x="2114" y="271"/>
                    <a:pt x="2113" y="267"/>
                  </a:cubicBezTo>
                  <a:cubicBezTo>
                    <a:pt x="2118" y="269"/>
                    <a:pt x="2120" y="274"/>
                    <a:pt x="2119" y="281"/>
                  </a:cubicBezTo>
                  <a:close/>
                  <a:moveTo>
                    <a:pt x="2121" y="246"/>
                  </a:moveTo>
                  <a:cubicBezTo>
                    <a:pt x="2121" y="246"/>
                    <a:pt x="2116" y="243"/>
                    <a:pt x="2116" y="243"/>
                  </a:cubicBezTo>
                  <a:cubicBezTo>
                    <a:pt x="2116" y="240"/>
                    <a:pt x="2120" y="243"/>
                    <a:pt x="2121" y="241"/>
                  </a:cubicBezTo>
                  <a:cubicBezTo>
                    <a:pt x="2121" y="240"/>
                    <a:pt x="2122" y="234"/>
                    <a:pt x="2124" y="236"/>
                  </a:cubicBezTo>
                  <a:cubicBezTo>
                    <a:pt x="2124" y="237"/>
                    <a:pt x="2121" y="245"/>
                    <a:pt x="2121" y="246"/>
                  </a:cubicBezTo>
                  <a:close/>
                  <a:moveTo>
                    <a:pt x="2115" y="217"/>
                  </a:moveTo>
                  <a:cubicBezTo>
                    <a:pt x="2117" y="212"/>
                    <a:pt x="2129" y="216"/>
                    <a:pt x="2126" y="222"/>
                  </a:cubicBezTo>
                  <a:cubicBezTo>
                    <a:pt x="2122" y="221"/>
                    <a:pt x="2119" y="219"/>
                    <a:pt x="2115" y="217"/>
                  </a:cubicBezTo>
                  <a:close/>
                  <a:moveTo>
                    <a:pt x="2122" y="276"/>
                  </a:moveTo>
                  <a:cubicBezTo>
                    <a:pt x="2122" y="272"/>
                    <a:pt x="2126" y="271"/>
                    <a:pt x="2133" y="271"/>
                  </a:cubicBezTo>
                  <a:cubicBezTo>
                    <a:pt x="2132" y="275"/>
                    <a:pt x="2128" y="277"/>
                    <a:pt x="2122" y="276"/>
                  </a:cubicBezTo>
                  <a:close/>
                  <a:moveTo>
                    <a:pt x="2129" y="243"/>
                  </a:moveTo>
                  <a:cubicBezTo>
                    <a:pt x="2129" y="241"/>
                    <a:pt x="2129" y="240"/>
                    <a:pt x="2129" y="238"/>
                  </a:cubicBezTo>
                  <a:cubicBezTo>
                    <a:pt x="2131" y="238"/>
                    <a:pt x="2133" y="238"/>
                    <a:pt x="2135" y="238"/>
                  </a:cubicBezTo>
                  <a:cubicBezTo>
                    <a:pt x="2135" y="240"/>
                    <a:pt x="2135" y="241"/>
                    <a:pt x="2135" y="243"/>
                  </a:cubicBezTo>
                  <a:cubicBezTo>
                    <a:pt x="2133" y="243"/>
                    <a:pt x="2131" y="243"/>
                    <a:pt x="2129" y="243"/>
                  </a:cubicBezTo>
                  <a:close/>
                  <a:moveTo>
                    <a:pt x="2134" y="210"/>
                  </a:moveTo>
                  <a:cubicBezTo>
                    <a:pt x="2132" y="212"/>
                    <a:pt x="2130" y="212"/>
                    <a:pt x="2126" y="213"/>
                  </a:cubicBezTo>
                  <a:cubicBezTo>
                    <a:pt x="2126" y="213"/>
                    <a:pt x="2126" y="210"/>
                    <a:pt x="2126" y="210"/>
                  </a:cubicBezTo>
                  <a:cubicBezTo>
                    <a:pt x="2124" y="211"/>
                    <a:pt x="2124" y="213"/>
                    <a:pt x="2123" y="213"/>
                  </a:cubicBezTo>
                  <a:cubicBezTo>
                    <a:pt x="2121" y="213"/>
                    <a:pt x="2120" y="210"/>
                    <a:pt x="2121" y="210"/>
                  </a:cubicBezTo>
                  <a:cubicBezTo>
                    <a:pt x="2121" y="210"/>
                    <a:pt x="2113" y="212"/>
                    <a:pt x="2112" y="213"/>
                  </a:cubicBezTo>
                  <a:cubicBezTo>
                    <a:pt x="2110" y="215"/>
                    <a:pt x="2112" y="213"/>
                    <a:pt x="2101" y="213"/>
                  </a:cubicBezTo>
                  <a:cubicBezTo>
                    <a:pt x="2103" y="207"/>
                    <a:pt x="2100" y="205"/>
                    <a:pt x="2093" y="206"/>
                  </a:cubicBezTo>
                  <a:cubicBezTo>
                    <a:pt x="2092" y="203"/>
                    <a:pt x="2097" y="205"/>
                    <a:pt x="2099" y="204"/>
                  </a:cubicBezTo>
                  <a:cubicBezTo>
                    <a:pt x="2103" y="199"/>
                    <a:pt x="2097" y="191"/>
                    <a:pt x="2107" y="192"/>
                  </a:cubicBezTo>
                  <a:cubicBezTo>
                    <a:pt x="2101" y="197"/>
                    <a:pt x="2105" y="205"/>
                    <a:pt x="2107" y="211"/>
                  </a:cubicBezTo>
                  <a:cubicBezTo>
                    <a:pt x="2112" y="208"/>
                    <a:pt x="2122" y="210"/>
                    <a:pt x="2121" y="203"/>
                  </a:cubicBezTo>
                  <a:cubicBezTo>
                    <a:pt x="2123" y="205"/>
                    <a:pt x="2125" y="207"/>
                    <a:pt x="2126" y="210"/>
                  </a:cubicBezTo>
                  <a:cubicBezTo>
                    <a:pt x="2130" y="206"/>
                    <a:pt x="2135" y="204"/>
                    <a:pt x="2134" y="196"/>
                  </a:cubicBezTo>
                  <a:cubicBezTo>
                    <a:pt x="2138" y="196"/>
                    <a:pt x="2135" y="203"/>
                    <a:pt x="2140" y="203"/>
                  </a:cubicBezTo>
                  <a:cubicBezTo>
                    <a:pt x="2138" y="205"/>
                    <a:pt x="2133" y="206"/>
                    <a:pt x="2134" y="210"/>
                  </a:cubicBezTo>
                  <a:close/>
                  <a:moveTo>
                    <a:pt x="2144" y="285"/>
                  </a:moveTo>
                  <a:cubicBezTo>
                    <a:pt x="2139" y="283"/>
                    <a:pt x="2136" y="275"/>
                    <a:pt x="2141" y="271"/>
                  </a:cubicBezTo>
                  <a:cubicBezTo>
                    <a:pt x="2147" y="271"/>
                    <a:pt x="2142" y="281"/>
                    <a:pt x="2144" y="285"/>
                  </a:cubicBezTo>
                  <a:close/>
                  <a:moveTo>
                    <a:pt x="2143" y="215"/>
                  </a:moveTo>
                  <a:cubicBezTo>
                    <a:pt x="2146" y="216"/>
                    <a:pt x="2148" y="218"/>
                    <a:pt x="2148" y="222"/>
                  </a:cubicBezTo>
                  <a:cubicBezTo>
                    <a:pt x="2145" y="221"/>
                    <a:pt x="2143" y="219"/>
                    <a:pt x="2143" y="215"/>
                  </a:cubicBezTo>
                  <a:close/>
                  <a:moveTo>
                    <a:pt x="2147" y="156"/>
                  </a:moveTo>
                  <a:cubicBezTo>
                    <a:pt x="2143" y="154"/>
                    <a:pt x="2148" y="152"/>
                    <a:pt x="2144" y="146"/>
                  </a:cubicBezTo>
                  <a:cubicBezTo>
                    <a:pt x="2154" y="144"/>
                    <a:pt x="2150" y="154"/>
                    <a:pt x="2155" y="156"/>
                  </a:cubicBezTo>
                  <a:cubicBezTo>
                    <a:pt x="2154" y="159"/>
                    <a:pt x="2151" y="156"/>
                    <a:pt x="2150" y="153"/>
                  </a:cubicBezTo>
                  <a:cubicBezTo>
                    <a:pt x="2147" y="153"/>
                    <a:pt x="2147" y="154"/>
                    <a:pt x="2147" y="156"/>
                  </a:cubicBezTo>
                  <a:close/>
                  <a:moveTo>
                    <a:pt x="2157" y="250"/>
                  </a:moveTo>
                  <a:cubicBezTo>
                    <a:pt x="2153" y="249"/>
                    <a:pt x="2156" y="243"/>
                    <a:pt x="2151" y="243"/>
                  </a:cubicBezTo>
                  <a:cubicBezTo>
                    <a:pt x="2153" y="240"/>
                    <a:pt x="2158" y="240"/>
                    <a:pt x="2157" y="236"/>
                  </a:cubicBezTo>
                  <a:cubicBezTo>
                    <a:pt x="2164" y="238"/>
                    <a:pt x="2156" y="246"/>
                    <a:pt x="2157" y="250"/>
                  </a:cubicBezTo>
                  <a:close/>
                  <a:moveTo>
                    <a:pt x="2159" y="221"/>
                  </a:moveTo>
                  <a:cubicBezTo>
                    <a:pt x="2160" y="224"/>
                    <a:pt x="2159" y="236"/>
                    <a:pt x="2157" y="228"/>
                  </a:cubicBezTo>
                  <a:cubicBezTo>
                    <a:pt x="2157" y="224"/>
                    <a:pt x="2156" y="219"/>
                    <a:pt x="2156" y="214"/>
                  </a:cubicBezTo>
                  <a:cubicBezTo>
                    <a:pt x="2160" y="214"/>
                    <a:pt x="2164" y="214"/>
                    <a:pt x="2167" y="214"/>
                  </a:cubicBezTo>
                  <a:cubicBezTo>
                    <a:pt x="2168" y="219"/>
                    <a:pt x="2165" y="222"/>
                    <a:pt x="2159" y="221"/>
                  </a:cubicBezTo>
                  <a:close/>
                  <a:moveTo>
                    <a:pt x="2168" y="273"/>
                  </a:moveTo>
                  <a:cubicBezTo>
                    <a:pt x="2171" y="274"/>
                    <a:pt x="2173" y="275"/>
                    <a:pt x="2177" y="275"/>
                  </a:cubicBezTo>
                  <a:cubicBezTo>
                    <a:pt x="2176" y="284"/>
                    <a:pt x="2173" y="284"/>
                    <a:pt x="2177" y="292"/>
                  </a:cubicBezTo>
                  <a:cubicBezTo>
                    <a:pt x="2165" y="293"/>
                    <a:pt x="2169" y="281"/>
                    <a:pt x="2168" y="273"/>
                  </a:cubicBezTo>
                  <a:close/>
                  <a:moveTo>
                    <a:pt x="2174" y="273"/>
                  </a:moveTo>
                  <a:cubicBezTo>
                    <a:pt x="2174" y="271"/>
                    <a:pt x="2174" y="270"/>
                    <a:pt x="2174" y="268"/>
                  </a:cubicBezTo>
                  <a:cubicBezTo>
                    <a:pt x="2176" y="268"/>
                    <a:pt x="2177" y="268"/>
                    <a:pt x="2179" y="268"/>
                  </a:cubicBezTo>
                  <a:cubicBezTo>
                    <a:pt x="2179" y="270"/>
                    <a:pt x="2179" y="271"/>
                    <a:pt x="2179" y="273"/>
                  </a:cubicBezTo>
                  <a:cubicBezTo>
                    <a:pt x="2177" y="273"/>
                    <a:pt x="2176" y="273"/>
                    <a:pt x="2174" y="273"/>
                  </a:cubicBezTo>
                  <a:close/>
                  <a:moveTo>
                    <a:pt x="2170" y="217"/>
                  </a:moveTo>
                  <a:cubicBezTo>
                    <a:pt x="2171" y="213"/>
                    <a:pt x="2177" y="214"/>
                    <a:pt x="2181" y="214"/>
                  </a:cubicBezTo>
                  <a:cubicBezTo>
                    <a:pt x="2180" y="219"/>
                    <a:pt x="2174" y="220"/>
                    <a:pt x="2170" y="217"/>
                  </a:cubicBezTo>
                  <a:close/>
                  <a:moveTo>
                    <a:pt x="2181" y="197"/>
                  </a:moveTo>
                  <a:cubicBezTo>
                    <a:pt x="2173" y="193"/>
                    <a:pt x="2182" y="183"/>
                    <a:pt x="2183" y="179"/>
                  </a:cubicBezTo>
                  <a:cubicBezTo>
                    <a:pt x="2189" y="182"/>
                    <a:pt x="2180" y="191"/>
                    <a:pt x="2181" y="197"/>
                  </a:cubicBezTo>
                  <a:close/>
                  <a:moveTo>
                    <a:pt x="2188" y="136"/>
                  </a:moveTo>
                  <a:cubicBezTo>
                    <a:pt x="2190" y="136"/>
                    <a:pt x="2192" y="136"/>
                    <a:pt x="2193" y="136"/>
                  </a:cubicBezTo>
                  <a:cubicBezTo>
                    <a:pt x="2195" y="141"/>
                    <a:pt x="2190" y="141"/>
                    <a:pt x="2185" y="141"/>
                  </a:cubicBezTo>
                  <a:cubicBezTo>
                    <a:pt x="2186" y="139"/>
                    <a:pt x="2188" y="139"/>
                    <a:pt x="2188" y="136"/>
                  </a:cubicBezTo>
                  <a:close/>
                  <a:moveTo>
                    <a:pt x="2189" y="204"/>
                  </a:moveTo>
                  <a:cubicBezTo>
                    <a:pt x="2188" y="209"/>
                    <a:pt x="2186" y="203"/>
                    <a:pt x="2186" y="200"/>
                  </a:cubicBezTo>
                  <a:cubicBezTo>
                    <a:pt x="2187" y="195"/>
                    <a:pt x="2190" y="201"/>
                    <a:pt x="2189" y="204"/>
                  </a:cubicBezTo>
                  <a:close/>
                  <a:moveTo>
                    <a:pt x="2189" y="214"/>
                  </a:moveTo>
                  <a:cubicBezTo>
                    <a:pt x="2194" y="213"/>
                    <a:pt x="2194" y="216"/>
                    <a:pt x="2198" y="216"/>
                  </a:cubicBezTo>
                  <a:cubicBezTo>
                    <a:pt x="2195" y="223"/>
                    <a:pt x="2195" y="223"/>
                    <a:pt x="2198" y="230"/>
                  </a:cubicBezTo>
                  <a:cubicBezTo>
                    <a:pt x="2190" y="229"/>
                    <a:pt x="2193" y="219"/>
                    <a:pt x="2189" y="214"/>
                  </a:cubicBezTo>
                  <a:close/>
                  <a:moveTo>
                    <a:pt x="2191" y="148"/>
                  </a:moveTo>
                  <a:cubicBezTo>
                    <a:pt x="2192" y="145"/>
                    <a:pt x="2198" y="146"/>
                    <a:pt x="2202" y="145"/>
                  </a:cubicBezTo>
                  <a:cubicBezTo>
                    <a:pt x="2201" y="137"/>
                    <a:pt x="2204" y="132"/>
                    <a:pt x="2213" y="131"/>
                  </a:cubicBezTo>
                  <a:cubicBezTo>
                    <a:pt x="2207" y="140"/>
                    <a:pt x="2204" y="142"/>
                    <a:pt x="2207" y="155"/>
                  </a:cubicBezTo>
                  <a:cubicBezTo>
                    <a:pt x="2200" y="155"/>
                    <a:pt x="2204" y="153"/>
                    <a:pt x="2205" y="150"/>
                  </a:cubicBezTo>
                  <a:cubicBezTo>
                    <a:pt x="2200" y="145"/>
                    <a:pt x="2198" y="152"/>
                    <a:pt x="2191" y="148"/>
                  </a:cubicBezTo>
                  <a:close/>
                  <a:moveTo>
                    <a:pt x="2214" y="220"/>
                  </a:moveTo>
                  <a:cubicBezTo>
                    <a:pt x="2205" y="222"/>
                    <a:pt x="2213" y="209"/>
                    <a:pt x="2203" y="211"/>
                  </a:cubicBezTo>
                  <a:cubicBezTo>
                    <a:pt x="2203" y="208"/>
                    <a:pt x="2208" y="209"/>
                    <a:pt x="2211" y="209"/>
                  </a:cubicBezTo>
                  <a:cubicBezTo>
                    <a:pt x="2209" y="215"/>
                    <a:pt x="2215" y="215"/>
                    <a:pt x="2214" y="220"/>
                  </a:cubicBezTo>
                  <a:close/>
                  <a:moveTo>
                    <a:pt x="2211" y="202"/>
                  </a:moveTo>
                  <a:cubicBezTo>
                    <a:pt x="2208" y="201"/>
                    <a:pt x="2206" y="202"/>
                    <a:pt x="2206" y="204"/>
                  </a:cubicBezTo>
                  <a:cubicBezTo>
                    <a:pt x="2201" y="203"/>
                    <a:pt x="2207" y="201"/>
                    <a:pt x="2206" y="197"/>
                  </a:cubicBezTo>
                  <a:cubicBezTo>
                    <a:pt x="2209" y="201"/>
                    <a:pt x="2217" y="200"/>
                    <a:pt x="2217" y="206"/>
                  </a:cubicBezTo>
                  <a:cubicBezTo>
                    <a:pt x="2214" y="205"/>
                    <a:pt x="2212" y="204"/>
                    <a:pt x="2211" y="202"/>
                  </a:cubicBezTo>
                  <a:close/>
                  <a:moveTo>
                    <a:pt x="2222" y="223"/>
                  </a:moveTo>
                  <a:cubicBezTo>
                    <a:pt x="2219" y="222"/>
                    <a:pt x="2220" y="217"/>
                    <a:pt x="2219" y="213"/>
                  </a:cubicBezTo>
                  <a:cubicBezTo>
                    <a:pt x="2222" y="213"/>
                    <a:pt x="2225" y="213"/>
                    <a:pt x="2228" y="213"/>
                  </a:cubicBezTo>
                  <a:cubicBezTo>
                    <a:pt x="2231" y="221"/>
                    <a:pt x="2219" y="215"/>
                    <a:pt x="2222" y="223"/>
                  </a:cubicBezTo>
                  <a:close/>
                  <a:moveTo>
                    <a:pt x="2233" y="187"/>
                  </a:moveTo>
                  <a:cubicBezTo>
                    <a:pt x="2235" y="187"/>
                    <a:pt x="2236" y="187"/>
                    <a:pt x="2238" y="187"/>
                  </a:cubicBezTo>
                  <a:cubicBezTo>
                    <a:pt x="2240" y="192"/>
                    <a:pt x="2234" y="192"/>
                    <a:pt x="2230" y="192"/>
                  </a:cubicBezTo>
                  <a:cubicBezTo>
                    <a:pt x="2231" y="190"/>
                    <a:pt x="2233" y="190"/>
                    <a:pt x="2233" y="187"/>
                  </a:cubicBezTo>
                  <a:close/>
                  <a:moveTo>
                    <a:pt x="2236" y="225"/>
                  </a:moveTo>
                  <a:cubicBezTo>
                    <a:pt x="2234" y="223"/>
                    <a:pt x="2230" y="215"/>
                    <a:pt x="2230" y="208"/>
                  </a:cubicBezTo>
                  <a:cubicBezTo>
                    <a:pt x="2230" y="207"/>
                    <a:pt x="2235" y="207"/>
                    <a:pt x="2236" y="206"/>
                  </a:cubicBezTo>
                  <a:cubicBezTo>
                    <a:pt x="2237" y="205"/>
                    <a:pt x="2232" y="201"/>
                    <a:pt x="2236" y="199"/>
                  </a:cubicBezTo>
                  <a:cubicBezTo>
                    <a:pt x="2244" y="199"/>
                    <a:pt x="2230" y="217"/>
                    <a:pt x="2239" y="211"/>
                  </a:cubicBezTo>
                  <a:cubicBezTo>
                    <a:pt x="2247" y="214"/>
                    <a:pt x="2234" y="219"/>
                    <a:pt x="2236" y="225"/>
                  </a:cubicBezTo>
                  <a:close/>
                  <a:moveTo>
                    <a:pt x="2264" y="104"/>
                  </a:moveTo>
                  <a:cubicBezTo>
                    <a:pt x="2271" y="105"/>
                    <a:pt x="2267" y="115"/>
                    <a:pt x="2259" y="112"/>
                  </a:cubicBezTo>
                  <a:cubicBezTo>
                    <a:pt x="2261" y="109"/>
                    <a:pt x="2265" y="109"/>
                    <a:pt x="2264" y="104"/>
                  </a:cubicBezTo>
                  <a:close/>
                  <a:moveTo>
                    <a:pt x="2267" y="128"/>
                  </a:moveTo>
                  <a:cubicBezTo>
                    <a:pt x="2277" y="126"/>
                    <a:pt x="2268" y="138"/>
                    <a:pt x="2265" y="135"/>
                  </a:cubicBezTo>
                  <a:cubicBezTo>
                    <a:pt x="2265" y="135"/>
                    <a:pt x="2267" y="130"/>
                    <a:pt x="2267" y="130"/>
                  </a:cubicBezTo>
                  <a:cubicBezTo>
                    <a:pt x="2268" y="130"/>
                    <a:pt x="2267" y="128"/>
                    <a:pt x="2267" y="128"/>
                  </a:cubicBezTo>
                  <a:close/>
                  <a:moveTo>
                    <a:pt x="2265" y="121"/>
                  </a:moveTo>
                  <a:cubicBezTo>
                    <a:pt x="2266" y="120"/>
                    <a:pt x="2256" y="119"/>
                    <a:pt x="2256" y="119"/>
                  </a:cubicBezTo>
                  <a:cubicBezTo>
                    <a:pt x="2255" y="115"/>
                    <a:pt x="2271" y="115"/>
                    <a:pt x="2265" y="121"/>
                  </a:cubicBezTo>
                  <a:close/>
                  <a:moveTo>
                    <a:pt x="2243" y="135"/>
                  </a:moveTo>
                  <a:cubicBezTo>
                    <a:pt x="2245" y="134"/>
                    <a:pt x="2245" y="138"/>
                    <a:pt x="2246" y="138"/>
                  </a:cubicBezTo>
                  <a:cubicBezTo>
                    <a:pt x="2248" y="138"/>
                    <a:pt x="2248" y="135"/>
                    <a:pt x="2248" y="135"/>
                  </a:cubicBezTo>
                  <a:cubicBezTo>
                    <a:pt x="2252" y="135"/>
                    <a:pt x="2258" y="140"/>
                    <a:pt x="2259" y="135"/>
                  </a:cubicBezTo>
                  <a:cubicBezTo>
                    <a:pt x="2255" y="132"/>
                    <a:pt x="2259" y="134"/>
                    <a:pt x="2262" y="135"/>
                  </a:cubicBezTo>
                  <a:cubicBezTo>
                    <a:pt x="2261" y="135"/>
                    <a:pt x="2260" y="139"/>
                    <a:pt x="2259" y="140"/>
                  </a:cubicBezTo>
                  <a:cubicBezTo>
                    <a:pt x="2256" y="141"/>
                    <a:pt x="2255" y="137"/>
                    <a:pt x="2254" y="137"/>
                  </a:cubicBezTo>
                  <a:cubicBezTo>
                    <a:pt x="2249" y="138"/>
                    <a:pt x="2241" y="144"/>
                    <a:pt x="2243" y="135"/>
                  </a:cubicBezTo>
                  <a:close/>
                  <a:moveTo>
                    <a:pt x="2247" y="220"/>
                  </a:moveTo>
                  <a:cubicBezTo>
                    <a:pt x="2252" y="215"/>
                    <a:pt x="2247" y="217"/>
                    <a:pt x="2247" y="210"/>
                  </a:cubicBezTo>
                  <a:cubicBezTo>
                    <a:pt x="2256" y="210"/>
                    <a:pt x="2258" y="221"/>
                    <a:pt x="2247" y="220"/>
                  </a:cubicBezTo>
                  <a:close/>
                  <a:moveTo>
                    <a:pt x="2244" y="192"/>
                  </a:moveTo>
                  <a:cubicBezTo>
                    <a:pt x="2237" y="190"/>
                    <a:pt x="2252" y="187"/>
                    <a:pt x="2257" y="187"/>
                  </a:cubicBezTo>
                  <a:cubicBezTo>
                    <a:pt x="2255" y="190"/>
                    <a:pt x="2249" y="190"/>
                    <a:pt x="2244" y="192"/>
                  </a:cubicBezTo>
                  <a:close/>
                  <a:moveTo>
                    <a:pt x="2249" y="182"/>
                  </a:moveTo>
                  <a:cubicBezTo>
                    <a:pt x="2251" y="180"/>
                    <a:pt x="2252" y="178"/>
                    <a:pt x="2252" y="175"/>
                  </a:cubicBezTo>
                  <a:cubicBezTo>
                    <a:pt x="2255" y="175"/>
                    <a:pt x="2257" y="175"/>
                    <a:pt x="2260" y="175"/>
                  </a:cubicBezTo>
                  <a:cubicBezTo>
                    <a:pt x="2258" y="178"/>
                    <a:pt x="2256" y="183"/>
                    <a:pt x="2249" y="182"/>
                  </a:cubicBezTo>
                  <a:close/>
                  <a:moveTo>
                    <a:pt x="2261" y="227"/>
                  </a:moveTo>
                  <a:cubicBezTo>
                    <a:pt x="2261" y="221"/>
                    <a:pt x="2266" y="230"/>
                    <a:pt x="2272" y="226"/>
                  </a:cubicBezTo>
                  <a:cubicBezTo>
                    <a:pt x="2272" y="232"/>
                    <a:pt x="2263" y="227"/>
                    <a:pt x="2261" y="227"/>
                  </a:cubicBezTo>
                  <a:close/>
                  <a:moveTo>
                    <a:pt x="2269" y="234"/>
                  </a:moveTo>
                  <a:cubicBezTo>
                    <a:pt x="2281" y="234"/>
                    <a:pt x="2267" y="247"/>
                    <a:pt x="2269" y="234"/>
                  </a:cubicBezTo>
                  <a:close/>
                  <a:moveTo>
                    <a:pt x="2273" y="109"/>
                  </a:moveTo>
                  <a:cubicBezTo>
                    <a:pt x="2269" y="106"/>
                    <a:pt x="2266" y="97"/>
                    <a:pt x="2269" y="95"/>
                  </a:cubicBezTo>
                  <a:cubicBezTo>
                    <a:pt x="2273" y="98"/>
                    <a:pt x="2276" y="106"/>
                    <a:pt x="2273" y="109"/>
                  </a:cubicBezTo>
                  <a:close/>
                  <a:moveTo>
                    <a:pt x="2886" y="232"/>
                  </a:moveTo>
                  <a:cubicBezTo>
                    <a:pt x="2880" y="240"/>
                    <a:pt x="2873" y="226"/>
                    <a:pt x="2886" y="232"/>
                  </a:cubicBezTo>
                  <a:close/>
                  <a:moveTo>
                    <a:pt x="2865" y="263"/>
                  </a:moveTo>
                  <a:cubicBezTo>
                    <a:pt x="2870" y="263"/>
                    <a:pt x="2871" y="266"/>
                    <a:pt x="2876" y="265"/>
                  </a:cubicBezTo>
                  <a:cubicBezTo>
                    <a:pt x="2877" y="269"/>
                    <a:pt x="2861" y="270"/>
                    <a:pt x="2865" y="263"/>
                  </a:cubicBezTo>
                  <a:close/>
                  <a:moveTo>
                    <a:pt x="2865" y="230"/>
                  </a:moveTo>
                  <a:cubicBezTo>
                    <a:pt x="2876" y="227"/>
                    <a:pt x="2872" y="238"/>
                    <a:pt x="2878" y="239"/>
                  </a:cubicBezTo>
                  <a:cubicBezTo>
                    <a:pt x="2877" y="243"/>
                    <a:pt x="2872" y="241"/>
                    <a:pt x="2873" y="237"/>
                  </a:cubicBezTo>
                  <a:cubicBezTo>
                    <a:pt x="2865" y="239"/>
                    <a:pt x="2875" y="246"/>
                    <a:pt x="2879" y="246"/>
                  </a:cubicBezTo>
                  <a:cubicBezTo>
                    <a:pt x="2876" y="250"/>
                    <a:pt x="2877" y="256"/>
                    <a:pt x="2868" y="254"/>
                  </a:cubicBezTo>
                  <a:cubicBezTo>
                    <a:pt x="2866" y="252"/>
                    <a:pt x="2873" y="249"/>
                    <a:pt x="2873" y="249"/>
                  </a:cubicBezTo>
                  <a:cubicBezTo>
                    <a:pt x="2873" y="246"/>
                    <a:pt x="2869" y="248"/>
                    <a:pt x="2867" y="247"/>
                  </a:cubicBezTo>
                  <a:cubicBezTo>
                    <a:pt x="2867" y="246"/>
                    <a:pt x="2868" y="243"/>
                    <a:pt x="2867" y="242"/>
                  </a:cubicBezTo>
                  <a:cubicBezTo>
                    <a:pt x="2866" y="241"/>
                    <a:pt x="2863" y="237"/>
                    <a:pt x="2865" y="230"/>
                  </a:cubicBezTo>
                  <a:close/>
                  <a:moveTo>
                    <a:pt x="2862" y="247"/>
                  </a:moveTo>
                  <a:cubicBezTo>
                    <a:pt x="2860" y="251"/>
                    <a:pt x="2859" y="245"/>
                    <a:pt x="2859" y="242"/>
                  </a:cubicBezTo>
                  <a:cubicBezTo>
                    <a:pt x="2851" y="239"/>
                    <a:pt x="2866" y="240"/>
                    <a:pt x="2862" y="247"/>
                  </a:cubicBezTo>
                  <a:close/>
                  <a:moveTo>
                    <a:pt x="2869" y="193"/>
                  </a:moveTo>
                  <a:cubicBezTo>
                    <a:pt x="2871" y="190"/>
                    <a:pt x="2873" y="188"/>
                    <a:pt x="2869" y="188"/>
                  </a:cubicBezTo>
                  <a:cubicBezTo>
                    <a:pt x="2872" y="178"/>
                    <a:pt x="2881" y="196"/>
                    <a:pt x="2869" y="193"/>
                  </a:cubicBezTo>
                  <a:close/>
                  <a:moveTo>
                    <a:pt x="2872" y="160"/>
                  </a:moveTo>
                  <a:cubicBezTo>
                    <a:pt x="2866" y="156"/>
                    <a:pt x="2868" y="160"/>
                    <a:pt x="2861" y="160"/>
                  </a:cubicBezTo>
                  <a:cubicBezTo>
                    <a:pt x="2860" y="158"/>
                    <a:pt x="2862" y="158"/>
                    <a:pt x="2863" y="157"/>
                  </a:cubicBezTo>
                  <a:cubicBezTo>
                    <a:pt x="2863" y="155"/>
                    <a:pt x="2860" y="156"/>
                    <a:pt x="2858" y="155"/>
                  </a:cubicBezTo>
                  <a:cubicBezTo>
                    <a:pt x="2859" y="147"/>
                    <a:pt x="2872" y="152"/>
                    <a:pt x="2872" y="160"/>
                  </a:cubicBezTo>
                  <a:close/>
                  <a:moveTo>
                    <a:pt x="2705" y="221"/>
                  </a:moveTo>
                  <a:cubicBezTo>
                    <a:pt x="2707" y="221"/>
                    <a:pt x="2709" y="221"/>
                    <a:pt x="2711" y="221"/>
                  </a:cubicBezTo>
                  <a:cubicBezTo>
                    <a:pt x="2711" y="223"/>
                    <a:pt x="2711" y="224"/>
                    <a:pt x="2711" y="226"/>
                  </a:cubicBezTo>
                  <a:cubicBezTo>
                    <a:pt x="2709" y="226"/>
                    <a:pt x="2707" y="226"/>
                    <a:pt x="2705" y="226"/>
                  </a:cubicBezTo>
                  <a:cubicBezTo>
                    <a:pt x="2705" y="224"/>
                    <a:pt x="2705" y="223"/>
                    <a:pt x="2705" y="221"/>
                  </a:cubicBezTo>
                  <a:close/>
                  <a:moveTo>
                    <a:pt x="2714" y="245"/>
                  </a:moveTo>
                  <a:cubicBezTo>
                    <a:pt x="2718" y="236"/>
                    <a:pt x="2706" y="240"/>
                    <a:pt x="2708" y="233"/>
                  </a:cubicBezTo>
                  <a:cubicBezTo>
                    <a:pt x="2713" y="233"/>
                    <a:pt x="2714" y="230"/>
                    <a:pt x="2719" y="230"/>
                  </a:cubicBezTo>
                  <a:cubicBezTo>
                    <a:pt x="2725" y="236"/>
                    <a:pt x="2714" y="241"/>
                    <a:pt x="2725" y="242"/>
                  </a:cubicBezTo>
                  <a:cubicBezTo>
                    <a:pt x="2724" y="245"/>
                    <a:pt x="2718" y="244"/>
                    <a:pt x="2714" y="245"/>
                  </a:cubicBezTo>
                  <a:close/>
                  <a:moveTo>
                    <a:pt x="2727" y="237"/>
                  </a:moveTo>
                  <a:cubicBezTo>
                    <a:pt x="2730" y="232"/>
                    <a:pt x="2734" y="229"/>
                    <a:pt x="2733" y="221"/>
                  </a:cubicBezTo>
                  <a:cubicBezTo>
                    <a:pt x="2743" y="224"/>
                    <a:pt x="2734" y="228"/>
                    <a:pt x="2738" y="235"/>
                  </a:cubicBezTo>
                  <a:cubicBezTo>
                    <a:pt x="2733" y="235"/>
                    <a:pt x="2733" y="238"/>
                    <a:pt x="2727" y="237"/>
                  </a:cubicBezTo>
                  <a:close/>
                  <a:moveTo>
                    <a:pt x="2733" y="242"/>
                  </a:moveTo>
                  <a:cubicBezTo>
                    <a:pt x="2735" y="244"/>
                    <a:pt x="2739" y="244"/>
                    <a:pt x="2739" y="249"/>
                  </a:cubicBezTo>
                  <a:cubicBezTo>
                    <a:pt x="2731" y="250"/>
                    <a:pt x="2731" y="244"/>
                    <a:pt x="2730" y="240"/>
                  </a:cubicBezTo>
                  <a:cubicBezTo>
                    <a:pt x="2735" y="240"/>
                    <a:pt x="2736" y="237"/>
                    <a:pt x="2741" y="237"/>
                  </a:cubicBezTo>
                  <a:cubicBezTo>
                    <a:pt x="2743" y="242"/>
                    <a:pt x="2737" y="242"/>
                    <a:pt x="2733" y="242"/>
                  </a:cubicBezTo>
                  <a:close/>
                  <a:moveTo>
                    <a:pt x="2730" y="218"/>
                  </a:moveTo>
                  <a:cubicBezTo>
                    <a:pt x="2727" y="211"/>
                    <a:pt x="2747" y="206"/>
                    <a:pt x="2730" y="207"/>
                  </a:cubicBezTo>
                  <a:cubicBezTo>
                    <a:pt x="2729" y="198"/>
                    <a:pt x="2749" y="206"/>
                    <a:pt x="2751" y="199"/>
                  </a:cubicBezTo>
                  <a:cubicBezTo>
                    <a:pt x="2758" y="201"/>
                    <a:pt x="2748" y="208"/>
                    <a:pt x="2752" y="216"/>
                  </a:cubicBezTo>
                  <a:cubicBezTo>
                    <a:pt x="2746" y="217"/>
                    <a:pt x="2748" y="211"/>
                    <a:pt x="2743" y="211"/>
                  </a:cubicBezTo>
                  <a:cubicBezTo>
                    <a:pt x="2735" y="213"/>
                    <a:pt x="2750" y="215"/>
                    <a:pt x="2746" y="221"/>
                  </a:cubicBezTo>
                  <a:cubicBezTo>
                    <a:pt x="2741" y="218"/>
                    <a:pt x="2738" y="222"/>
                    <a:pt x="2730" y="218"/>
                  </a:cubicBezTo>
                  <a:close/>
                  <a:moveTo>
                    <a:pt x="2740" y="185"/>
                  </a:moveTo>
                  <a:cubicBezTo>
                    <a:pt x="2742" y="185"/>
                    <a:pt x="2744" y="185"/>
                    <a:pt x="2746" y="185"/>
                  </a:cubicBezTo>
                  <a:cubicBezTo>
                    <a:pt x="2746" y="187"/>
                    <a:pt x="2746" y="188"/>
                    <a:pt x="2746" y="190"/>
                  </a:cubicBezTo>
                  <a:cubicBezTo>
                    <a:pt x="2744" y="190"/>
                    <a:pt x="2742" y="190"/>
                    <a:pt x="2740" y="190"/>
                  </a:cubicBezTo>
                  <a:cubicBezTo>
                    <a:pt x="2740" y="189"/>
                    <a:pt x="2740" y="187"/>
                    <a:pt x="2740" y="185"/>
                  </a:cubicBezTo>
                  <a:close/>
                  <a:moveTo>
                    <a:pt x="2755" y="242"/>
                  </a:moveTo>
                  <a:cubicBezTo>
                    <a:pt x="2751" y="242"/>
                    <a:pt x="2748" y="242"/>
                    <a:pt x="2744" y="242"/>
                  </a:cubicBezTo>
                  <a:cubicBezTo>
                    <a:pt x="2743" y="237"/>
                    <a:pt x="2751" y="238"/>
                    <a:pt x="2749" y="239"/>
                  </a:cubicBezTo>
                  <a:cubicBezTo>
                    <a:pt x="2755" y="235"/>
                    <a:pt x="2752" y="229"/>
                    <a:pt x="2763" y="230"/>
                  </a:cubicBezTo>
                  <a:cubicBezTo>
                    <a:pt x="2766" y="238"/>
                    <a:pt x="2750" y="231"/>
                    <a:pt x="2755" y="242"/>
                  </a:cubicBezTo>
                  <a:close/>
                  <a:moveTo>
                    <a:pt x="2763" y="248"/>
                  </a:moveTo>
                  <a:cubicBezTo>
                    <a:pt x="2760" y="248"/>
                    <a:pt x="2761" y="244"/>
                    <a:pt x="2760" y="241"/>
                  </a:cubicBezTo>
                  <a:cubicBezTo>
                    <a:pt x="2763" y="241"/>
                    <a:pt x="2766" y="241"/>
                    <a:pt x="2769" y="241"/>
                  </a:cubicBezTo>
                  <a:cubicBezTo>
                    <a:pt x="2768" y="244"/>
                    <a:pt x="2764" y="245"/>
                    <a:pt x="2763" y="248"/>
                  </a:cubicBezTo>
                  <a:close/>
                  <a:moveTo>
                    <a:pt x="2771" y="222"/>
                  </a:moveTo>
                  <a:cubicBezTo>
                    <a:pt x="2784" y="224"/>
                    <a:pt x="2769" y="237"/>
                    <a:pt x="2771" y="222"/>
                  </a:cubicBezTo>
                  <a:close/>
                  <a:moveTo>
                    <a:pt x="2777" y="262"/>
                  </a:moveTo>
                  <a:cubicBezTo>
                    <a:pt x="2771" y="261"/>
                    <a:pt x="2775" y="250"/>
                    <a:pt x="2777" y="248"/>
                  </a:cubicBezTo>
                  <a:cubicBezTo>
                    <a:pt x="2783" y="249"/>
                    <a:pt x="2779" y="261"/>
                    <a:pt x="2777" y="262"/>
                  </a:cubicBezTo>
                  <a:close/>
                  <a:moveTo>
                    <a:pt x="2782" y="236"/>
                  </a:moveTo>
                  <a:cubicBezTo>
                    <a:pt x="2781" y="236"/>
                    <a:pt x="2779" y="236"/>
                    <a:pt x="2777" y="237"/>
                  </a:cubicBezTo>
                  <a:cubicBezTo>
                    <a:pt x="2777" y="234"/>
                    <a:pt x="2776" y="234"/>
                    <a:pt x="2774" y="234"/>
                  </a:cubicBezTo>
                  <a:cubicBezTo>
                    <a:pt x="2773" y="230"/>
                    <a:pt x="2786" y="231"/>
                    <a:pt x="2782" y="236"/>
                  </a:cubicBezTo>
                  <a:close/>
                  <a:moveTo>
                    <a:pt x="2794" y="269"/>
                  </a:moveTo>
                  <a:cubicBezTo>
                    <a:pt x="2794" y="268"/>
                    <a:pt x="2794" y="266"/>
                    <a:pt x="2794" y="264"/>
                  </a:cubicBezTo>
                  <a:cubicBezTo>
                    <a:pt x="2796" y="264"/>
                    <a:pt x="2797" y="264"/>
                    <a:pt x="2799" y="264"/>
                  </a:cubicBezTo>
                  <a:cubicBezTo>
                    <a:pt x="2799" y="266"/>
                    <a:pt x="2799" y="267"/>
                    <a:pt x="2799" y="269"/>
                  </a:cubicBezTo>
                  <a:cubicBezTo>
                    <a:pt x="2798" y="269"/>
                    <a:pt x="2796" y="269"/>
                    <a:pt x="2794" y="269"/>
                  </a:cubicBezTo>
                  <a:close/>
                  <a:moveTo>
                    <a:pt x="2807" y="259"/>
                  </a:moveTo>
                  <a:cubicBezTo>
                    <a:pt x="2804" y="256"/>
                    <a:pt x="2796" y="257"/>
                    <a:pt x="2796" y="250"/>
                  </a:cubicBezTo>
                  <a:cubicBezTo>
                    <a:pt x="2804" y="253"/>
                    <a:pt x="2809" y="244"/>
                    <a:pt x="2799" y="245"/>
                  </a:cubicBezTo>
                  <a:cubicBezTo>
                    <a:pt x="2799" y="242"/>
                    <a:pt x="2806" y="238"/>
                    <a:pt x="2804" y="245"/>
                  </a:cubicBezTo>
                  <a:cubicBezTo>
                    <a:pt x="2808" y="245"/>
                    <a:pt x="2809" y="246"/>
                    <a:pt x="2810" y="248"/>
                  </a:cubicBezTo>
                  <a:cubicBezTo>
                    <a:pt x="2819" y="247"/>
                    <a:pt x="2802" y="239"/>
                    <a:pt x="2815" y="241"/>
                  </a:cubicBezTo>
                  <a:cubicBezTo>
                    <a:pt x="2815" y="245"/>
                    <a:pt x="2815" y="250"/>
                    <a:pt x="2816" y="255"/>
                  </a:cubicBezTo>
                  <a:cubicBezTo>
                    <a:pt x="2810" y="254"/>
                    <a:pt x="2807" y="255"/>
                    <a:pt x="2807" y="259"/>
                  </a:cubicBezTo>
                  <a:close/>
                  <a:moveTo>
                    <a:pt x="2810" y="231"/>
                  </a:moveTo>
                  <a:cubicBezTo>
                    <a:pt x="2809" y="234"/>
                    <a:pt x="2806" y="236"/>
                    <a:pt x="2801" y="236"/>
                  </a:cubicBezTo>
                  <a:cubicBezTo>
                    <a:pt x="2800" y="231"/>
                    <a:pt x="2805" y="232"/>
                    <a:pt x="2810" y="231"/>
                  </a:cubicBezTo>
                  <a:close/>
                  <a:moveTo>
                    <a:pt x="2824" y="259"/>
                  </a:moveTo>
                  <a:cubicBezTo>
                    <a:pt x="2834" y="255"/>
                    <a:pt x="2826" y="267"/>
                    <a:pt x="2832" y="266"/>
                  </a:cubicBezTo>
                  <a:cubicBezTo>
                    <a:pt x="2830" y="272"/>
                    <a:pt x="2821" y="265"/>
                    <a:pt x="2824" y="259"/>
                  </a:cubicBezTo>
                  <a:close/>
                  <a:moveTo>
                    <a:pt x="2838" y="268"/>
                  </a:moveTo>
                  <a:cubicBezTo>
                    <a:pt x="2838" y="267"/>
                    <a:pt x="2838" y="265"/>
                    <a:pt x="2838" y="264"/>
                  </a:cubicBezTo>
                  <a:cubicBezTo>
                    <a:pt x="2840" y="264"/>
                    <a:pt x="2841" y="264"/>
                    <a:pt x="2843" y="264"/>
                  </a:cubicBezTo>
                  <a:cubicBezTo>
                    <a:pt x="2843" y="265"/>
                    <a:pt x="2843" y="267"/>
                    <a:pt x="2843" y="268"/>
                  </a:cubicBezTo>
                  <a:cubicBezTo>
                    <a:pt x="2841" y="268"/>
                    <a:pt x="2840" y="268"/>
                    <a:pt x="2838" y="268"/>
                  </a:cubicBezTo>
                  <a:close/>
                  <a:moveTo>
                    <a:pt x="2833" y="163"/>
                  </a:moveTo>
                  <a:cubicBezTo>
                    <a:pt x="2839" y="163"/>
                    <a:pt x="2835" y="173"/>
                    <a:pt x="2836" y="177"/>
                  </a:cubicBezTo>
                  <a:cubicBezTo>
                    <a:pt x="2840" y="176"/>
                    <a:pt x="2838" y="171"/>
                    <a:pt x="2839" y="167"/>
                  </a:cubicBezTo>
                  <a:cubicBezTo>
                    <a:pt x="2849" y="167"/>
                    <a:pt x="2846" y="180"/>
                    <a:pt x="2850" y="186"/>
                  </a:cubicBezTo>
                  <a:cubicBezTo>
                    <a:pt x="2845" y="186"/>
                    <a:pt x="2847" y="192"/>
                    <a:pt x="2839" y="191"/>
                  </a:cubicBezTo>
                  <a:cubicBezTo>
                    <a:pt x="2838" y="181"/>
                    <a:pt x="2852" y="178"/>
                    <a:pt x="2833" y="179"/>
                  </a:cubicBezTo>
                  <a:cubicBezTo>
                    <a:pt x="2836" y="171"/>
                    <a:pt x="2827" y="168"/>
                    <a:pt x="2833" y="163"/>
                  </a:cubicBezTo>
                  <a:close/>
                  <a:moveTo>
                    <a:pt x="2850" y="198"/>
                  </a:moveTo>
                  <a:cubicBezTo>
                    <a:pt x="2847" y="202"/>
                    <a:pt x="2834" y="210"/>
                    <a:pt x="2834" y="198"/>
                  </a:cubicBezTo>
                  <a:cubicBezTo>
                    <a:pt x="2843" y="200"/>
                    <a:pt x="2845" y="193"/>
                    <a:pt x="2850" y="198"/>
                  </a:cubicBezTo>
                  <a:close/>
                  <a:moveTo>
                    <a:pt x="2836" y="191"/>
                  </a:moveTo>
                  <a:cubicBezTo>
                    <a:pt x="2834" y="190"/>
                    <a:pt x="2834" y="192"/>
                    <a:pt x="2834" y="193"/>
                  </a:cubicBezTo>
                  <a:cubicBezTo>
                    <a:pt x="2830" y="193"/>
                    <a:pt x="2831" y="189"/>
                    <a:pt x="2831" y="186"/>
                  </a:cubicBezTo>
                  <a:cubicBezTo>
                    <a:pt x="2835" y="185"/>
                    <a:pt x="2836" y="188"/>
                    <a:pt x="2836" y="191"/>
                  </a:cubicBezTo>
                  <a:close/>
                  <a:moveTo>
                    <a:pt x="2825" y="175"/>
                  </a:moveTo>
                  <a:cubicBezTo>
                    <a:pt x="2831" y="176"/>
                    <a:pt x="2831" y="178"/>
                    <a:pt x="2828" y="182"/>
                  </a:cubicBezTo>
                  <a:cubicBezTo>
                    <a:pt x="2826" y="182"/>
                    <a:pt x="2824" y="182"/>
                    <a:pt x="2822" y="182"/>
                  </a:cubicBezTo>
                  <a:cubicBezTo>
                    <a:pt x="2822" y="178"/>
                    <a:pt x="2825" y="178"/>
                    <a:pt x="2825" y="175"/>
                  </a:cubicBezTo>
                  <a:close/>
                  <a:moveTo>
                    <a:pt x="2812" y="184"/>
                  </a:moveTo>
                  <a:cubicBezTo>
                    <a:pt x="2823" y="185"/>
                    <a:pt x="2812" y="190"/>
                    <a:pt x="2817" y="196"/>
                  </a:cubicBezTo>
                  <a:cubicBezTo>
                    <a:pt x="2808" y="198"/>
                    <a:pt x="2813" y="189"/>
                    <a:pt x="2812" y="184"/>
                  </a:cubicBezTo>
                  <a:close/>
                  <a:moveTo>
                    <a:pt x="2801" y="182"/>
                  </a:moveTo>
                  <a:cubicBezTo>
                    <a:pt x="2802" y="182"/>
                    <a:pt x="2804" y="182"/>
                    <a:pt x="2806" y="182"/>
                  </a:cubicBezTo>
                  <a:cubicBezTo>
                    <a:pt x="2806" y="184"/>
                    <a:pt x="2807" y="184"/>
                    <a:pt x="2809" y="184"/>
                  </a:cubicBezTo>
                  <a:cubicBezTo>
                    <a:pt x="2809" y="187"/>
                    <a:pt x="2805" y="186"/>
                    <a:pt x="2803" y="187"/>
                  </a:cubicBezTo>
                  <a:cubicBezTo>
                    <a:pt x="2805" y="189"/>
                    <a:pt x="2806" y="190"/>
                    <a:pt x="2806" y="194"/>
                  </a:cubicBezTo>
                  <a:cubicBezTo>
                    <a:pt x="2795" y="194"/>
                    <a:pt x="2799" y="188"/>
                    <a:pt x="2801" y="182"/>
                  </a:cubicBezTo>
                  <a:close/>
                  <a:moveTo>
                    <a:pt x="2801" y="215"/>
                  </a:moveTo>
                  <a:cubicBezTo>
                    <a:pt x="2811" y="212"/>
                    <a:pt x="2811" y="209"/>
                    <a:pt x="2820" y="215"/>
                  </a:cubicBezTo>
                  <a:cubicBezTo>
                    <a:pt x="2823" y="214"/>
                    <a:pt x="2822" y="212"/>
                    <a:pt x="2823" y="210"/>
                  </a:cubicBezTo>
                  <a:cubicBezTo>
                    <a:pt x="2822" y="208"/>
                    <a:pt x="2811" y="204"/>
                    <a:pt x="2812" y="208"/>
                  </a:cubicBezTo>
                  <a:cubicBezTo>
                    <a:pt x="2803" y="206"/>
                    <a:pt x="2815" y="203"/>
                    <a:pt x="2815" y="201"/>
                  </a:cubicBezTo>
                  <a:cubicBezTo>
                    <a:pt x="2815" y="197"/>
                    <a:pt x="2827" y="197"/>
                    <a:pt x="2831" y="198"/>
                  </a:cubicBezTo>
                  <a:cubicBezTo>
                    <a:pt x="2830" y="200"/>
                    <a:pt x="2826" y="200"/>
                    <a:pt x="2826" y="203"/>
                  </a:cubicBezTo>
                  <a:cubicBezTo>
                    <a:pt x="2825" y="206"/>
                    <a:pt x="2831" y="204"/>
                    <a:pt x="2831" y="205"/>
                  </a:cubicBezTo>
                  <a:cubicBezTo>
                    <a:pt x="2832" y="206"/>
                    <a:pt x="2825" y="218"/>
                    <a:pt x="2840" y="214"/>
                  </a:cubicBezTo>
                  <a:cubicBezTo>
                    <a:pt x="2843" y="212"/>
                    <a:pt x="2844" y="207"/>
                    <a:pt x="2853" y="209"/>
                  </a:cubicBezTo>
                  <a:cubicBezTo>
                    <a:pt x="2846" y="218"/>
                    <a:pt x="2842" y="225"/>
                    <a:pt x="2845" y="238"/>
                  </a:cubicBezTo>
                  <a:cubicBezTo>
                    <a:pt x="2842" y="238"/>
                    <a:pt x="2838" y="238"/>
                    <a:pt x="2834" y="238"/>
                  </a:cubicBezTo>
                  <a:cubicBezTo>
                    <a:pt x="2835" y="235"/>
                    <a:pt x="2839" y="236"/>
                    <a:pt x="2843" y="235"/>
                  </a:cubicBezTo>
                  <a:cubicBezTo>
                    <a:pt x="2844" y="230"/>
                    <a:pt x="2837" y="232"/>
                    <a:pt x="2837" y="228"/>
                  </a:cubicBezTo>
                  <a:cubicBezTo>
                    <a:pt x="2835" y="223"/>
                    <a:pt x="2841" y="225"/>
                    <a:pt x="2842" y="224"/>
                  </a:cubicBezTo>
                  <a:cubicBezTo>
                    <a:pt x="2844" y="222"/>
                    <a:pt x="2842" y="218"/>
                    <a:pt x="2845" y="219"/>
                  </a:cubicBezTo>
                  <a:cubicBezTo>
                    <a:pt x="2844" y="215"/>
                    <a:pt x="2842" y="220"/>
                    <a:pt x="2837" y="219"/>
                  </a:cubicBezTo>
                  <a:cubicBezTo>
                    <a:pt x="2838" y="215"/>
                    <a:pt x="2821" y="215"/>
                    <a:pt x="2826" y="222"/>
                  </a:cubicBezTo>
                  <a:cubicBezTo>
                    <a:pt x="2820" y="218"/>
                    <a:pt x="2816" y="223"/>
                    <a:pt x="2812" y="222"/>
                  </a:cubicBezTo>
                  <a:cubicBezTo>
                    <a:pt x="2811" y="221"/>
                    <a:pt x="2813" y="216"/>
                    <a:pt x="2809" y="217"/>
                  </a:cubicBezTo>
                  <a:cubicBezTo>
                    <a:pt x="2806" y="218"/>
                    <a:pt x="2807" y="221"/>
                    <a:pt x="2807" y="224"/>
                  </a:cubicBezTo>
                  <a:cubicBezTo>
                    <a:pt x="2800" y="225"/>
                    <a:pt x="2804" y="217"/>
                    <a:pt x="2798" y="217"/>
                  </a:cubicBezTo>
                  <a:cubicBezTo>
                    <a:pt x="2788" y="223"/>
                    <a:pt x="2807" y="240"/>
                    <a:pt x="2791" y="239"/>
                  </a:cubicBezTo>
                  <a:cubicBezTo>
                    <a:pt x="2791" y="237"/>
                    <a:pt x="2787" y="236"/>
                    <a:pt x="2788" y="234"/>
                  </a:cubicBezTo>
                  <a:cubicBezTo>
                    <a:pt x="2788" y="233"/>
                    <a:pt x="2793" y="232"/>
                    <a:pt x="2793" y="231"/>
                  </a:cubicBezTo>
                  <a:cubicBezTo>
                    <a:pt x="2793" y="227"/>
                    <a:pt x="2787" y="225"/>
                    <a:pt x="2790" y="217"/>
                  </a:cubicBezTo>
                  <a:cubicBezTo>
                    <a:pt x="2788" y="219"/>
                    <a:pt x="2783" y="219"/>
                    <a:pt x="2782" y="222"/>
                  </a:cubicBezTo>
                  <a:cubicBezTo>
                    <a:pt x="2777" y="220"/>
                    <a:pt x="2776" y="213"/>
                    <a:pt x="2771" y="211"/>
                  </a:cubicBezTo>
                  <a:cubicBezTo>
                    <a:pt x="2773" y="206"/>
                    <a:pt x="2776" y="210"/>
                    <a:pt x="2779" y="211"/>
                  </a:cubicBezTo>
                  <a:cubicBezTo>
                    <a:pt x="2776" y="203"/>
                    <a:pt x="2777" y="201"/>
                    <a:pt x="2782" y="196"/>
                  </a:cubicBezTo>
                  <a:cubicBezTo>
                    <a:pt x="2789" y="200"/>
                    <a:pt x="2782" y="211"/>
                    <a:pt x="2779" y="213"/>
                  </a:cubicBezTo>
                  <a:cubicBezTo>
                    <a:pt x="2780" y="219"/>
                    <a:pt x="2801" y="204"/>
                    <a:pt x="2793" y="215"/>
                  </a:cubicBezTo>
                  <a:cubicBezTo>
                    <a:pt x="2795" y="214"/>
                    <a:pt x="2798" y="213"/>
                    <a:pt x="2798" y="210"/>
                  </a:cubicBezTo>
                  <a:cubicBezTo>
                    <a:pt x="2798" y="208"/>
                    <a:pt x="2793" y="208"/>
                    <a:pt x="2790" y="208"/>
                  </a:cubicBezTo>
                  <a:cubicBezTo>
                    <a:pt x="2790" y="204"/>
                    <a:pt x="2790" y="200"/>
                    <a:pt x="2790" y="196"/>
                  </a:cubicBezTo>
                  <a:cubicBezTo>
                    <a:pt x="2807" y="195"/>
                    <a:pt x="2808" y="206"/>
                    <a:pt x="2801" y="215"/>
                  </a:cubicBezTo>
                  <a:close/>
                  <a:moveTo>
                    <a:pt x="2781" y="180"/>
                  </a:moveTo>
                  <a:cubicBezTo>
                    <a:pt x="2794" y="180"/>
                    <a:pt x="2782" y="188"/>
                    <a:pt x="2784" y="194"/>
                  </a:cubicBezTo>
                  <a:cubicBezTo>
                    <a:pt x="2778" y="194"/>
                    <a:pt x="2783" y="184"/>
                    <a:pt x="2781" y="180"/>
                  </a:cubicBezTo>
                  <a:close/>
                  <a:moveTo>
                    <a:pt x="2797" y="159"/>
                  </a:moveTo>
                  <a:cubicBezTo>
                    <a:pt x="2802" y="154"/>
                    <a:pt x="2797" y="156"/>
                    <a:pt x="2797" y="149"/>
                  </a:cubicBezTo>
                  <a:cubicBezTo>
                    <a:pt x="2803" y="148"/>
                    <a:pt x="2807" y="161"/>
                    <a:pt x="2797" y="159"/>
                  </a:cubicBezTo>
                  <a:close/>
                  <a:moveTo>
                    <a:pt x="2792" y="177"/>
                  </a:moveTo>
                  <a:cubicBezTo>
                    <a:pt x="2805" y="179"/>
                    <a:pt x="2790" y="192"/>
                    <a:pt x="2792" y="177"/>
                  </a:cubicBezTo>
                  <a:close/>
                  <a:moveTo>
                    <a:pt x="2784" y="149"/>
                  </a:moveTo>
                  <a:cubicBezTo>
                    <a:pt x="2786" y="149"/>
                    <a:pt x="2786" y="152"/>
                    <a:pt x="2786" y="154"/>
                  </a:cubicBezTo>
                  <a:cubicBezTo>
                    <a:pt x="2790" y="154"/>
                    <a:pt x="2791" y="153"/>
                    <a:pt x="2792" y="152"/>
                  </a:cubicBezTo>
                  <a:cubicBezTo>
                    <a:pt x="2802" y="156"/>
                    <a:pt x="2784" y="157"/>
                    <a:pt x="2778" y="157"/>
                  </a:cubicBezTo>
                  <a:cubicBezTo>
                    <a:pt x="2779" y="153"/>
                    <a:pt x="2783" y="153"/>
                    <a:pt x="2784" y="149"/>
                  </a:cubicBezTo>
                  <a:close/>
                  <a:moveTo>
                    <a:pt x="2776" y="166"/>
                  </a:moveTo>
                  <a:cubicBezTo>
                    <a:pt x="2779" y="167"/>
                    <a:pt x="2778" y="171"/>
                    <a:pt x="2781" y="171"/>
                  </a:cubicBezTo>
                  <a:cubicBezTo>
                    <a:pt x="2780" y="177"/>
                    <a:pt x="2772" y="171"/>
                    <a:pt x="2776" y="166"/>
                  </a:cubicBezTo>
                  <a:close/>
                  <a:moveTo>
                    <a:pt x="2770" y="175"/>
                  </a:moveTo>
                  <a:cubicBezTo>
                    <a:pt x="2770" y="178"/>
                    <a:pt x="2774" y="177"/>
                    <a:pt x="2776" y="178"/>
                  </a:cubicBezTo>
                  <a:cubicBezTo>
                    <a:pt x="2774" y="181"/>
                    <a:pt x="2779" y="190"/>
                    <a:pt x="2773" y="190"/>
                  </a:cubicBezTo>
                  <a:cubicBezTo>
                    <a:pt x="2773" y="203"/>
                    <a:pt x="2772" y="201"/>
                    <a:pt x="2768" y="211"/>
                  </a:cubicBezTo>
                  <a:cubicBezTo>
                    <a:pt x="2769" y="213"/>
                    <a:pt x="2771" y="215"/>
                    <a:pt x="2774" y="215"/>
                  </a:cubicBezTo>
                  <a:cubicBezTo>
                    <a:pt x="2773" y="218"/>
                    <a:pt x="2768" y="217"/>
                    <a:pt x="2768" y="220"/>
                  </a:cubicBezTo>
                  <a:cubicBezTo>
                    <a:pt x="2764" y="220"/>
                    <a:pt x="2767" y="213"/>
                    <a:pt x="2763" y="213"/>
                  </a:cubicBezTo>
                  <a:cubicBezTo>
                    <a:pt x="2753" y="215"/>
                    <a:pt x="2764" y="220"/>
                    <a:pt x="2757" y="225"/>
                  </a:cubicBezTo>
                  <a:cubicBezTo>
                    <a:pt x="2755" y="224"/>
                    <a:pt x="2752" y="223"/>
                    <a:pt x="2752" y="220"/>
                  </a:cubicBezTo>
                  <a:cubicBezTo>
                    <a:pt x="2752" y="218"/>
                    <a:pt x="2757" y="217"/>
                    <a:pt x="2757" y="216"/>
                  </a:cubicBezTo>
                  <a:cubicBezTo>
                    <a:pt x="2759" y="209"/>
                    <a:pt x="2756" y="199"/>
                    <a:pt x="2768" y="201"/>
                  </a:cubicBezTo>
                  <a:cubicBezTo>
                    <a:pt x="2762" y="195"/>
                    <a:pt x="2768" y="193"/>
                    <a:pt x="2768" y="183"/>
                  </a:cubicBezTo>
                  <a:cubicBezTo>
                    <a:pt x="2768" y="182"/>
                    <a:pt x="2768" y="178"/>
                    <a:pt x="2768" y="178"/>
                  </a:cubicBezTo>
                  <a:cubicBezTo>
                    <a:pt x="2767" y="178"/>
                    <a:pt x="2765" y="178"/>
                    <a:pt x="2765" y="178"/>
                  </a:cubicBezTo>
                  <a:cubicBezTo>
                    <a:pt x="2765" y="177"/>
                    <a:pt x="2767" y="175"/>
                    <a:pt x="2768" y="176"/>
                  </a:cubicBezTo>
                  <a:cubicBezTo>
                    <a:pt x="2767" y="174"/>
                    <a:pt x="2762" y="171"/>
                    <a:pt x="2762" y="171"/>
                  </a:cubicBezTo>
                  <a:cubicBezTo>
                    <a:pt x="2761" y="167"/>
                    <a:pt x="2764" y="167"/>
                    <a:pt x="2765" y="164"/>
                  </a:cubicBezTo>
                  <a:cubicBezTo>
                    <a:pt x="2765" y="159"/>
                    <a:pt x="2762" y="157"/>
                    <a:pt x="2762" y="152"/>
                  </a:cubicBezTo>
                  <a:cubicBezTo>
                    <a:pt x="2775" y="151"/>
                    <a:pt x="2768" y="167"/>
                    <a:pt x="2770" y="175"/>
                  </a:cubicBezTo>
                  <a:close/>
                  <a:moveTo>
                    <a:pt x="2757" y="185"/>
                  </a:moveTo>
                  <a:cubicBezTo>
                    <a:pt x="2768" y="184"/>
                    <a:pt x="2759" y="193"/>
                    <a:pt x="2760" y="197"/>
                  </a:cubicBezTo>
                  <a:cubicBezTo>
                    <a:pt x="2754" y="197"/>
                    <a:pt x="2758" y="189"/>
                    <a:pt x="2757" y="185"/>
                  </a:cubicBezTo>
                  <a:close/>
                  <a:moveTo>
                    <a:pt x="2734" y="153"/>
                  </a:moveTo>
                  <a:cubicBezTo>
                    <a:pt x="2748" y="151"/>
                    <a:pt x="2748" y="152"/>
                    <a:pt x="2759" y="150"/>
                  </a:cubicBezTo>
                  <a:cubicBezTo>
                    <a:pt x="2757" y="157"/>
                    <a:pt x="2761" y="159"/>
                    <a:pt x="2759" y="164"/>
                  </a:cubicBezTo>
                  <a:cubicBezTo>
                    <a:pt x="2759" y="164"/>
                    <a:pt x="2755" y="161"/>
                    <a:pt x="2754" y="162"/>
                  </a:cubicBezTo>
                  <a:cubicBezTo>
                    <a:pt x="2752" y="162"/>
                    <a:pt x="2749" y="168"/>
                    <a:pt x="2756" y="169"/>
                  </a:cubicBezTo>
                  <a:cubicBezTo>
                    <a:pt x="2754" y="171"/>
                    <a:pt x="2739" y="181"/>
                    <a:pt x="2751" y="181"/>
                  </a:cubicBezTo>
                  <a:cubicBezTo>
                    <a:pt x="2761" y="181"/>
                    <a:pt x="2743" y="187"/>
                    <a:pt x="2746" y="181"/>
                  </a:cubicBezTo>
                  <a:cubicBezTo>
                    <a:pt x="2739" y="181"/>
                    <a:pt x="2737" y="185"/>
                    <a:pt x="2732" y="181"/>
                  </a:cubicBezTo>
                  <a:cubicBezTo>
                    <a:pt x="2734" y="177"/>
                    <a:pt x="2741" y="177"/>
                    <a:pt x="2746" y="176"/>
                  </a:cubicBezTo>
                  <a:cubicBezTo>
                    <a:pt x="2743" y="172"/>
                    <a:pt x="2754" y="168"/>
                    <a:pt x="2745" y="166"/>
                  </a:cubicBezTo>
                  <a:cubicBezTo>
                    <a:pt x="2748" y="164"/>
                    <a:pt x="2751" y="162"/>
                    <a:pt x="2754" y="159"/>
                  </a:cubicBezTo>
                  <a:cubicBezTo>
                    <a:pt x="2751" y="151"/>
                    <a:pt x="2737" y="166"/>
                    <a:pt x="2740" y="155"/>
                  </a:cubicBezTo>
                  <a:cubicBezTo>
                    <a:pt x="2736" y="156"/>
                    <a:pt x="2733" y="159"/>
                    <a:pt x="2732" y="162"/>
                  </a:cubicBezTo>
                  <a:cubicBezTo>
                    <a:pt x="2723" y="160"/>
                    <a:pt x="2735" y="156"/>
                    <a:pt x="2734" y="153"/>
                  </a:cubicBezTo>
                  <a:close/>
                  <a:moveTo>
                    <a:pt x="2724" y="169"/>
                  </a:moveTo>
                  <a:cubicBezTo>
                    <a:pt x="2728" y="170"/>
                    <a:pt x="2729" y="167"/>
                    <a:pt x="2729" y="164"/>
                  </a:cubicBezTo>
                  <a:cubicBezTo>
                    <a:pt x="2734" y="165"/>
                    <a:pt x="2735" y="161"/>
                    <a:pt x="2740" y="162"/>
                  </a:cubicBezTo>
                  <a:cubicBezTo>
                    <a:pt x="2739" y="165"/>
                    <a:pt x="2741" y="166"/>
                    <a:pt x="2743" y="167"/>
                  </a:cubicBezTo>
                  <a:cubicBezTo>
                    <a:pt x="2740" y="170"/>
                    <a:pt x="2735" y="173"/>
                    <a:pt x="2732" y="176"/>
                  </a:cubicBezTo>
                  <a:cubicBezTo>
                    <a:pt x="2729" y="177"/>
                    <a:pt x="2730" y="172"/>
                    <a:pt x="2729" y="171"/>
                  </a:cubicBezTo>
                  <a:cubicBezTo>
                    <a:pt x="2725" y="170"/>
                    <a:pt x="2721" y="176"/>
                    <a:pt x="2715" y="172"/>
                  </a:cubicBezTo>
                  <a:cubicBezTo>
                    <a:pt x="2708" y="172"/>
                    <a:pt x="2719" y="176"/>
                    <a:pt x="2716" y="181"/>
                  </a:cubicBezTo>
                  <a:cubicBezTo>
                    <a:pt x="2705" y="180"/>
                    <a:pt x="2718" y="171"/>
                    <a:pt x="2704" y="172"/>
                  </a:cubicBezTo>
                  <a:cubicBezTo>
                    <a:pt x="2711" y="167"/>
                    <a:pt x="2699" y="160"/>
                    <a:pt x="2712" y="160"/>
                  </a:cubicBezTo>
                  <a:cubicBezTo>
                    <a:pt x="2711" y="166"/>
                    <a:pt x="2708" y="169"/>
                    <a:pt x="2718" y="169"/>
                  </a:cubicBezTo>
                  <a:cubicBezTo>
                    <a:pt x="2722" y="169"/>
                    <a:pt x="2722" y="149"/>
                    <a:pt x="2724" y="169"/>
                  </a:cubicBezTo>
                  <a:close/>
                  <a:moveTo>
                    <a:pt x="2701" y="151"/>
                  </a:moveTo>
                  <a:cubicBezTo>
                    <a:pt x="2704" y="148"/>
                    <a:pt x="2711" y="148"/>
                    <a:pt x="2718" y="148"/>
                  </a:cubicBezTo>
                  <a:cubicBezTo>
                    <a:pt x="2722" y="156"/>
                    <a:pt x="2700" y="160"/>
                    <a:pt x="2701" y="151"/>
                  </a:cubicBezTo>
                  <a:close/>
                  <a:moveTo>
                    <a:pt x="2699" y="203"/>
                  </a:moveTo>
                  <a:cubicBezTo>
                    <a:pt x="2699" y="198"/>
                    <a:pt x="2704" y="198"/>
                    <a:pt x="2705" y="193"/>
                  </a:cubicBezTo>
                  <a:cubicBezTo>
                    <a:pt x="2706" y="187"/>
                    <a:pt x="2702" y="187"/>
                    <a:pt x="2702" y="181"/>
                  </a:cubicBezTo>
                  <a:cubicBezTo>
                    <a:pt x="2717" y="180"/>
                    <a:pt x="2702" y="192"/>
                    <a:pt x="2710" y="195"/>
                  </a:cubicBezTo>
                  <a:cubicBezTo>
                    <a:pt x="2713" y="195"/>
                    <a:pt x="2712" y="193"/>
                    <a:pt x="2710" y="193"/>
                  </a:cubicBezTo>
                  <a:cubicBezTo>
                    <a:pt x="2712" y="190"/>
                    <a:pt x="2716" y="189"/>
                    <a:pt x="2721" y="188"/>
                  </a:cubicBezTo>
                  <a:cubicBezTo>
                    <a:pt x="2722" y="184"/>
                    <a:pt x="2718" y="176"/>
                    <a:pt x="2726" y="179"/>
                  </a:cubicBezTo>
                  <a:cubicBezTo>
                    <a:pt x="2723" y="186"/>
                    <a:pt x="2728" y="187"/>
                    <a:pt x="2727" y="197"/>
                  </a:cubicBezTo>
                  <a:cubicBezTo>
                    <a:pt x="2724" y="196"/>
                    <a:pt x="2723" y="193"/>
                    <a:pt x="2721" y="190"/>
                  </a:cubicBezTo>
                  <a:cubicBezTo>
                    <a:pt x="2713" y="192"/>
                    <a:pt x="2724" y="208"/>
                    <a:pt x="2727" y="200"/>
                  </a:cubicBezTo>
                  <a:cubicBezTo>
                    <a:pt x="2733" y="201"/>
                    <a:pt x="2724" y="203"/>
                    <a:pt x="2724" y="205"/>
                  </a:cubicBezTo>
                  <a:cubicBezTo>
                    <a:pt x="2723" y="210"/>
                    <a:pt x="2726" y="213"/>
                    <a:pt x="2727" y="219"/>
                  </a:cubicBezTo>
                  <a:cubicBezTo>
                    <a:pt x="2714" y="218"/>
                    <a:pt x="2724" y="222"/>
                    <a:pt x="2719" y="226"/>
                  </a:cubicBezTo>
                  <a:cubicBezTo>
                    <a:pt x="2711" y="223"/>
                    <a:pt x="2722" y="218"/>
                    <a:pt x="2719" y="212"/>
                  </a:cubicBezTo>
                  <a:cubicBezTo>
                    <a:pt x="2716" y="212"/>
                    <a:pt x="2717" y="215"/>
                    <a:pt x="2716" y="216"/>
                  </a:cubicBezTo>
                  <a:cubicBezTo>
                    <a:pt x="2714" y="215"/>
                    <a:pt x="2709" y="213"/>
                    <a:pt x="2708" y="217"/>
                  </a:cubicBezTo>
                  <a:cubicBezTo>
                    <a:pt x="2701" y="216"/>
                    <a:pt x="2703" y="210"/>
                    <a:pt x="2702" y="207"/>
                  </a:cubicBezTo>
                  <a:cubicBezTo>
                    <a:pt x="2702" y="205"/>
                    <a:pt x="2700" y="205"/>
                    <a:pt x="2699" y="203"/>
                  </a:cubicBezTo>
                  <a:close/>
                  <a:moveTo>
                    <a:pt x="2698" y="280"/>
                  </a:moveTo>
                  <a:cubicBezTo>
                    <a:pt x="2698" y="282"/>
                    <a:pt x="2698" y="283"/>
                    <a:pt x="2698" y="285"/>
                  </a:cubicBezTo>
                  <a:cubicBezTo>
                    <a:pt x="2696" y="285"/>
                    <a:pt x="2694" y="285"/>
                    <a:pt x="2693" y="285"/>
                  </a:cubicBezTo>
                  <a:cubicBezTo>
                    <a:pt x="2693" y="283"/>
                    <a:pt x="2693" y="282"/>
                    <a:pt x="2693" y="280"/>
                  </a:cubicBezTo>
                  <a:cubicBezTo>
                    <a:pt x="2694" y="280"/>
                    <a:pt x="2696" y="280"/>
                    <a:pt x="2698" y="280"/>
                  </a:cubicBezTo>
                  <a:close/>
                  <a:moveTo>
                    <a:pt x="2694" y="226"/>
                  </a:moveTo>
                  <a:cubicBezTo>
                    <a:pt x="2689" y="233"/>
                    <a:pt x="2695" y="245"/>
                    <a:pt x="2698" y="252"/>
                  </a:cubicBezTo>
                  <a:cubicBezTo>
                    <a:pt x="2695" y="259"/>
                    <a:pt x="2695" y="245"/>
                    <a:pt x="2689" y="247"/>
                  </a:cubicBezTo>
                  <a:cubicBezTo>
                    <a:pt x="2692" y="241"/>
                    <a:pt x="2683" y="225"/>
                    <a:pt x="2694" y="226"/>
                  </a:cubicBezTo>
                  <a:close/>
                  <a:moveTo>
                    <a:pt x="2695" y="259"/>
                  </a:moveTo>
                  <a:cubicBezTo>
                    <a:pt x="2695" y="264"/>
                    <a:pt x="2695" y="268"/>
                    <a:pt x="2695" y="273"/>
                  </a:cubicBezTo>
                  <a:cubicBezTo>
                    <a:pt x="2691" y="271"/>
                    <a:pt x="2689" y="267"/>
                    <a:pt x="2692" y="264"/>
                  </a:cubicBezTo>
                  <a:cubicBezTo>
                    <a:pt x="2682" y="261"/>
                    <a:pt x="2692" y="274"/>
                    <a:pt x="2681" y="271"/>
                  </a:cubicBezTo>
                  <a:cubicBezTo>
                    <a:pt x="2680" y="265"/>
                    <a:pt x="2686" y="266"/>
                    <a:pt x="2684" y="259"/>
                  </a:cubicBezTo>
                  <a:cubicBezTo>
                    <a:pt x="2688" y="259"/>
                    <a:pt x="2691" y="259"/>
                    <a:pt x="2695" y="259"/>
                  </a:cubicBezTo>
                  <a:close/>
                  <a:moveTo>
                    <a:pt x="2687" y="252"/>
                  </a:moveTo>
                  <a:cubicBezTo>
                    <a:pt x="2687" y="254"/>
                    <a:pt x="2687" y="255"/>
                    <a:pt x="2687" y="257"/>
                  </a:cubicBezTo>
                  <a:cubicBezTo>
                    <a:pt x="2685" y="257"/>
                    <a:pt x="2683" y="257"/>
                    <a:pt x="2681" y="257"/>
                  </a:cubicBezTo>
                  <a:cubicBezTo>
                    <a:pt x="2681" y="255"/>
                    <a:pt x="2681" y="254"/>
                    <a:pt x="2681" y="252"/>
                  </a:cubicBezTo>
                  <a:cubicBezTo>
                    <a:pt x="2683" y="252"/>
                    <a:pt x="2685" y="252"/>
                    <a:pt x="2687" y="252"/>
                  </a:cubicBezTo>
                  <a:close/>
                  <a:moveTo>
                    <a:pt x="2679" y="271"/>
                  </a:moveTo>
                  <a:cubicBezTo>
                    <a:pt x="2676" y="275"/>
                    <a:pt x="2674" y="279"/>
                    <a:pt x="2665" y="278"/>
                  </a:cubicBezTo>
                  <a:cubicBezTo>
                    <a:pt x="2667" y="276"/>
                    <a:pt x="2668" y="274"/>
                    <a:pt x="2665" y="274"/>
                  </a:cubicBezTo>
                  <a:cubicBezTo>
                    <a:pt x="2664" y="269"/>
                    <a:pt x="2675" y="272"/>
                    <a:pt x="2679" y="271"/>
                  </a:cubicBezTo>
                  <a:close/>
                  <a:moveTo>
                    <a:pt x="2673" y="259"/>
                  </a:moveTo>
                  <a:cubicBezTo>
                    <a:pt x="2671" y="262"/>
                    <a:pt x="2667" y="268"/>
                    <a:pt x="2676" y="266"/>
                  </a:cubicBezTo>
                  <a:cubicBezTo>
                    <a:pt x="2669" y="276"/>
                    <a:pt x="2657" y="258"/>
                    <a:pt x="2673" y="259"/>
                  </a:cubicBezTo>
                  <a:close/>
                  <a:moveTo>
                    <a:pt x="2676" y="255"/>
                  </a:moveTo>
                  <a:cubicBezTo>
                    <a:pt x="2673" y="253"/>
                    <a:pt x="2669" y="252"/>
                    <a:pt x="2665" y="253"/>
                  </a:cubicBezTo>
                  <a:cubicBezTo>
                    <a:pt x="2669" y="245"/>
                    <a:pt x="2664" y="243"/>
                    <a:pt x="2667" y="238"/>
                  </a:cubicBezTo>
                  <a:cubicBezTo>
                    <a:pt x="2673" y="239"/>
                    <a:pt x="2674" y="245"/>
                    <a:pt x="2670" y="248"/>
                  </a:cubicBezTo>
                  <a:cubicBezTo>
                    <a:pt x="2672" y="250"/>
                    <a:pt x="2676" y="250"/>
                    <a:pt x="2676" y="255"/>
                  </a:cubicBezTo>
                  <a:close/>
                  <a:moveTo>
                    <a:pt x="2672" y="234"/>
                  </a:moveTo>
                  <a:cubicBezTo>
                    <a:pt x="2665" y="242"/>
                    <a:pt x="2655" y="229"/>
                    <a:pt x="2672" y="234"/>
                  </a:cubicBezTo>
                  <a:close/>
                  <a:moveTo>
                    <a:pt x="2653" y="234"/>
                  </a:moveTo>
                  <a:cubicBezTo>
                    <a:pt x="2647" y="242"/>
                    <a:pt x="2642" y="226"/>
                    <a:pt x="2653" y="234"/>
                  </a:cubicBezTo>
                  <a:close/>
                  <a:moveTo>
                    <a:pt x="2674" y="8"/>
                  </a:moveTo>
                  <a:cubicBezTo>
                    <a:pt x="2674" y="13"/>
                    <a:pt x="2662" y="10"/>
                    <a:pt x="2660" y="8"/>
                  </a:cubicBezTo>
                  <a:cubicBezTo>
                    <a:pt x="2663" y="1"/>
                    <a:pt x="2669" y="9"/>
                    <a:pt x="2674" y="8"/>
                  </a:cubicBezTo>
                  <a:close/>
                  <a:moveTo>
                    <a:pt x="2646" y="124"/>
                  </a:moveTo>
                  <a:cubicBezTo>
                    <a:pt x="2655" y="127"/>
                    <a:pt x="2636" y="126"/>
                    <a:pt x="2632" y="126"/>
                  </a:cubicBezTo>
                  <a:cubicBezTo>
                    <a:pt x="2632" y="124"/>
                    <a:pt x="2636" y="124"/>
                    <a:pt x="2638" y="124"/>
                  </a:cubicBezTo>
                  <a:cubicBezTo>
                    <a:pt x="2636" y="122"/>
                    <a:pt x="2635" y="120"/>
                    <a:pt x="2632" y="119"/>
                  </a:cubicBezTo>
                  <a:cubicBezTo>
                    <a:pt x="2633" y="116"/>
                    <a:pt x="2639" y="117"/>
                    <a:pt x="2643" y="117"/>
                  </a:cubicBezTo>
                  <a:cubicBezTo>
                    <a:pt x="2643" y="119"/>
                    <a:pt x="2640" y="119"/>
                    <a:pt x="2640" y="121"/>
                  </a:cubicBezTo>
                  <a:cubicBezTo>
                    <a:pt x="2641" y="124"/>
                    <a:pt x="2644" y="123"/>
                    <a:pt x="2646" y="124"/>
                  </a:cubicBezTo>
                  <a:close/>
                  <a:moveTo>
                    <a:pt x="2640" y="100"/>
                  </a:moveTo>
                  <a:cubicBezTo>
                    <a:pt x="2639" y="103"/>
                    <a:pt x="2635" y="104"/>
                    <a:pt x="2635" y="107"/>
                  </a:cubicBezTo>
                  <a:cubicBezTo>
                    <a:pt x="2628" y="107"/>
                    <a:pt x="2634" y="98"/>
                    <a:pt x="2640" y="100"/>
                  </a:cubicBezTo>
                  <a:close/>
                  <a:moveTo>
                    <a:pt x="2626" y="103"/>
                  </a:moveTo>
                  <a:cubicBezTo>
                    <a:pt x="2622" y="104"/>
                    <a:pt x="2623" y="105"/>
                    <a:pt x="2618" y="103"/>
                  </a:cubicBezTo>
                  <a:cubicBezTo>
                    <a:pt x="2615" y="101"/>
                    <a:pt x="2634" y="100"/>
                    <a:pt x="2626" y="103"/>
                  </a:cubicBezTo>
                  <a:close/>
                  <a:moveTo>
                    <a:pt x="2618" y="82"/>
                  </a:moveTo>
                  <a:cubicBezTo>
                    <a:pt x="2623" y="83"/>
                    <a:pt x="2618" y="86"/>
                    <a:pt x="2618" y="89"/>
                  </a:cubicBezTo>
                  <a:cubicBezTo>
                    <a:pt x="2613" y="87"/>
                    <a:pt x="2617" y="85"/>
                    <a:pt x="2618" y="82"/>
                  </a:cubicBezTo>
                  <a:close/>
                  <a:moveTo>
                    <a:pt x="2616" y="117"/>
                  </a:moveTo>
                  <a:cubicBezTo>
                    <a:pt x="2621" y="116"/>
                    <a:pt x="2621" y="119"/>
                    <a:pt x="2618" y="119"/>
                  </a:cubicBezTo>
                  <a:cubicBezTo>
                    <a:pt x="2615" y="117"/>
                    <a:pt x="2607" y="122"/>
                    <a:pt x="2608" y="122"/>
                  </a:cubicBezTo>
                  <a:cubicBezTo>
                    <a:pt x="2600" y="121"/>
                    <a:pt x="2606" y="115"/>
                    <a:pt x="2616" y="117"/>
                  </a:cubicBezTo>
                  <a:close/>
                  <a:moveTo>
                    <a:pt x="2588" y="99"/>
                  </a:moveTo>
                  <a:cubicBezTo>
                    <a:pt x="2592" y="99"/>
                    <a:pt x="2590" y="105"/>
                    <a:pt x="2591" y="108"/>
                  </a:cubicBezTo>
                  <a:cubicBezTo>
                    <a:pt x="2588" y="107"/>
                    <a:pt x="2586" y="105"/>
                    <a:pt x="2585" y="108"/>
                  </a:cubicBezTo>
                  <a:cubicBezTo>
                    <a:pt x="2577" y="106"/>
                    <a:pt x="2592" y="105"/>
                    <a:pt x="2588" y="99"/>
                  </a:cubicBezTo>
                  <a:close/>
                  <a:moveTo>
                    <a:pt x="2584" y="38"/>
                  </a:moveTo>
                  <a:cubicBezTo>
                    <a:pt x="2583" y="43"/>
                    <a:pt x="2577" y="43"/>
                    <a:pt x="2573" y="40"/>
                  </a:cubicBezTo>
                  <a:cubicBezTo>
                    <a:pt x="2574" y="37"/>
                    <a:pt x="2580" y="38"/>
                    <a:pt x="2584" y="38"/>
                  </a:cubicBezTo>
                  <a:close/>
                  <a:moveTo>
                    <a:pt x="2563" y="116"/>
                  </a:moveTo>
                  <a:cubicBezTo>
                    <a:pt x="2565" y="112"/>
                    <a:pt x="2561" y="107"/>
                    <a:pt x="2563" y="104"/>
                  </a:cubicBezTo>
                  <a:cubicBezTo>
                    <a:pt x="2564" y="102"/>
                    <a:pt x="2573" y="103"/>
                    <a:pt x="2571" y="99"/>
                  </a:cubicBezTo>
                  <a:cubicBezTo>
                    <a:pt x="2580" y="103"/>
                    <a:pt x="2563" y="104"/>
                    <a:pt x="2569" y="113"/>
                  </a:cubicBezTo>
                  <a:cubicBezTo>
                    <a:pt x="2569" y="118"/>
                    <a:pt x="2579" y="114"/>
                    <a:pt x="2583" y="115"/>
                  </a:cubicBezTo>
                  <a:cubicBezTo>
                    <a:pt x="2590" y="121"/>
                    <a:pt x="2556" y="112"/>
                    <a:pt x="2566" y="127"/>
                  </a:cubicBezTo>
                  <a:cubicBezTo>
                    <a:pt x="2562" y="128"/>
                    <a:pt x="2561" y="126"/>
                    <a:pt x="2561" y="123"/>
                  </a:cubicBezTo>
                  <a:cubicBezTo>
                    <a:pt x="2559" y="121"/>
                    <a:pt x="2556" y="119"/>
                    <a:pt x="2552" y="118"/>
                  </a:cubicBezTo>
                  <a:cubicBezTo>
                    <a:pt x="2553" y="115"/>
                    <a:pt x="2559" y="116"/>
                    <a:pt x="2563" y="116"/>
                  </a:cubicBezTo>
                  <a:close/>
                  <a:moveTo>
                    <a:pt x="2544" y="121"/>
                  </a:moveTo>
                  <a:cubicBezTo>
                    <a:pt x="2542" y="119"/>
                    <a:pt x="2540" y="118"/>
                    <a:pt x="2536" y="118"/>
                  </a:cubicBezTo>
                  <a:cubicBezTo>
                    <a:pt x="2537" y="112"/>
                    <a:pt x="2546" y="113"/>
                    <a:pt x="2544" y="121"/>
                  </a:cubicBezTo>
                  <a:close/>
                  <a:moveTo>
                    <a:pt x="2554" y="179"/>
                  </a:moveTo>
                  <a:cubicBezTo>
                    <a:pt x="2555" y="184"/>
                    <a:pt x="2552" y="186"/>
                    <a:pt x="2551" y="189"/>
                  </a:cubicBezTo>
                  <a:cubicBezTo>
                    <a:pt x="2548" y="186"/>
                    <a:pt x="2546" y="182"/>
                    <a:pt x="2537" y="184"/>
                  </a:cubicBezTo>
                  <a:cubicBezTo>
                    <a:pt x="2536" y="179"/>
                    <a:pt x="2542" y="179"/>
                    <a:pt x="2540" y="172"/>
                  </a:cubicBezTo>
                  <a:cubicBezTo>
                    <a:pt x="2538" y="172"/>
                    <a:pt x="2536" y="173"/>
                    <a:pt x="2534" y="173"/>
                  </a:cubicBezTo>
                  <a:cubicBezTo>
                    <a:pt x="2535" y="170"/>
                    <a:pt x="2539" y="170"/>
                    <a:pt x="2542" y="170"/>
                  </a:cubicBezTo>
                  <a:cubicBezTo>
                    <a:pt x="2540" y="178"/>
                    <a:pt x="2544" y="181"/>
                    <a:pt x="2554" y="179"/>
                  </a:cubicBezTo>
                  <a:close/>
                  <a:moveTo>
                    <a:pt x="2548" y="168"/>
                  </a:moveTo>
                  <a:cubicBezTo>
                    <a:pt x="2552" y="168"/>
                    <a:pt x="2552" y="172"/>
                    <a:pt x="2556" y="172"/>
                  </a:cubicBezTo>
                  <a:cubicBezTo>
                    <a:pt x="2556" y="175"/>
                    <a:pt x="2553" y="173"/>
                    <a:pt x="2553" y="172"/>
                  </a:cubicBezTo>
                  <a:cubicBezTo>
                    <a:pt x="2551" y="172"/>
                    <a:pt x="2551" y="173"/>
                    <a:pt x="2551" y="175"/>
                  </a:cubicBezTo>
                  <a:cubicBezTo>
                    <a:pt x="2548" y="174"/>
                    <a:pt x="2548" y="170"/>
                    <a:pt x="2548" y="168"/>
                  </a:cubicBezTo>
                  <a:close/>
                  <a:moveTo>
                    <a:pt x="2531" y="130"/>
                  </a:moveTo>
                  <a:cubicBezTo>
                    <a:pt x="2543" y="132"/>
                    <a:pt x="2529" y="145"/>
                    <a:pt x="2531" y="130"/>
                  </a:cubicBezTo>
                  <a:close/>
                  <a:moveTo>
                    <a:pt x="2519" y="72"/>
                  </a:moveTo>
                  <a:cubicBezTo>
                    <a:pt x="2522" y="73"/>
                    <a:pt x="2523" y="76"/>
                    <a:pt x="2527" y="76"/>
                  </a:cubicBezTo>
                  <a:cubicBezTo>
                    <a:pt x="2526" y="82"/>
                    <a:pt x="2517" y="77"/>
                    <a:pt x="2519" y="72"/>
                  </a:cubicBezTo>
                  <a:close/>
                  <a:moveTo>
                    <a:pt x="2517" y="131"/>
                  </a:moveTo>
                  <a:cubicBezTo>
                    <a:pt x="2520" y="133"/>
                    <a:pt x="2527" y="131"/>
                    <a:pt x="2525" y="137"/>
                  </a:cubicBezTo>
                  <a:cubicBezTo>
                    <a:pt x="2523" y="135"/>
                    <a:pt x="2515" y="137"/>
                    <a:pt x="2517" y="131"/>
                  </a:cubicBezTo>
                  <a:close/>
                  <a:moveTo>
                    <a:pt x="2520" y="166"/>
                  </a:moveTo>
                  <a:cubicBezTo>
                    <a:pt x="2520" y="169"/>
                    <a:pt x="2514" y="168"/>
                    <a:pt x="2510" y="168"/>
                  </a:cubicBezTo>
                  <a:cubicBezTo>
                    <a:pt x="2511" y="166"/>
                    <a:pt x="2516" y="166"/>
                    <a:pt x="2515" y="161"/>
                  </a:cubicBezTo>
                  <a:cubicBezTo>
                    <a:pt x="2518" y="162"/>
                    <a:pt x="2517" y="166"/>
                    <a:pt x="2520" y="166"/>
                  </a:cubicBezTo>
                  <a:close/>
                  <a:moveTo>
                    <a:pt x="2518" y="196"/>
                  </a:moveTo>
                  <a:cubicBezTo>
                    <a:pt x="2517" y="197"/>
                    <a:pt x="2515" y="191"/>
                    <a:pt x="2513" y="192"/>
                  </a:cubicBezTo>
                  <a:cubicBezTo>
                    <a:pt x="2517" y="184"/>
                    <a:pt x="2520" y="194"/>
                    <a:pt x="2518" y="196"/>
                  </a:cubicBezTo>
                  <a:close/>
                  <a:moveTo>
                    <a:pt x="2513" y="185"/>
                  </a:moveTo>
                  <a:cubicBezTo>
                    <a:pt x="2512" y="187"/>
                    <a:pt x="2507" y="186"/>
                    <a:pt x="2507" y="189"/>
                  </a:cubicBezTo>
                  <a:cubicBezTo>
                    <a:pt x="2507" y="198"/>
                    <a:pt x="2497" y="182"/>
                    <a:pt x="2513" y="185"/>
                  </a:cubicBezTo>
                  <a:close/>
                  <a:moveTo>
                    <a:pt x="2514" y="121"/>
                  </a:moveTo>
                  <a:cubicBezTo>
                    <a:pt x="2514" y="123"/>
                    <a:pt x="2514" y="124"/>
                    <a:pt x="2514" y="126"/>
                  </a:cubicBezTo>
                  <a:cubicBezTo>
                    <a:pt x="2512" y="126"/>
                    <a:pt x="2511" y="126"/>
                    <a:pt x="2509" y="126"/>
                  </a:cubicBezTo>
                  <a:cubicBezTo>
                    <a:pt x="2509" y="124"/>
                    <a:pt x="2509" y="123"/>
                    <a:pt x="2509" y="121"/>
                  </a:cubicBezTo>
                  <a:cubicBezTo>
                    <a:pt x="2510" y="121"/>
                    <a:pt x="2512" y="121"/>
                    <a:pt x="2514" y="121"/>
                  </a:cubicBezTo>
                  <a:close/>
                  <a:moveTo>
                    <a:pt x="2503" y="131"/>
                  </a:moveTo>
                  <a:cubicBezTo>
                    <a:pt x="2503" y="131"/>
                    <a:pt x="2505" y="135"/>
                    <a:pt x="2506" y="133"/>
                  </a:cubicBezTo>
                  <a:cubicBezTo>
                    <a:pt x="2508" y="131"/>
                    <a:pt x="2508" y="131"/>
                    <a:pt x="2509" y="133"/>
                  </a:cubicBezTo>
                  <a:cubicBezTo>
                    <a:pt x="2512" y="133"/>
                    <a:pt x="2511" y="137"/>
                    <a:pt x="2512" y="140"/>
                  </a:cubicBezTo>
                  <a:cubicBezTo>
                    <a:pt x="2506" y="136"/>
                    <a:pt x="2492" y="139"/>
                    <a:pt x="2482" y="138"/>
                  </a:cubicBezTo>
                  <a:cubicBezTo>
                    <a:pt x="2483" y="136"/>
                    <a:pt x="2485" y="134"/>
                    <a:pt x="2481" y="133"/>
                  </a:cubicBezTo>
                  <a:cubicBezTo>
                    <a:pt x="2485" y="130"/>
                    <a:pt x="2497" y="130"/>
                    <a:pt x="2503" y="131"/>
                  </a:cubicBezTo>
                  <a:close/>
                  <a:moveTo>
                    <a:pt x="2488" y="190"/>
                  </a:moveTo>
                  <a:cubicBezTo>
                    <a:pt x="2488" y="188"/>
                    <a:pt x="2488" y="187"/>
                    <a:pt x="2488" y="185"/>
                  </a:cubicBezTo>
                  <a:cubicBezTo>
                    <a:pt x="2492" y="185"/>
                    <a:pt x="2495" y="185"/>
                    <a:pt x="2499" y="185"/>
                  </a:cubicBezTo>
                  <a:cubicBezTo>
                    <a:pt x="2502" y="192"/>
                    <a:pt x="2493" y="189"/>
                    <a:pt x="2488" y="190"/>
                  </a:cubicBezTo>
                  <a:close/>
                  <a:moveTo>
                    <a:pt x="2480" y="185"/>
                  </a:moveTo>
                  <a:cubicBezTo>
                    <a:pt x="2485" y="187"/>
                    <a:pt x="2480" y="190"/>
                    <a:pt x="2480" y="192"/>
                  </a:cubicBezTo>
                  <a:cubicBezTo>
                    <a:pt x="2475" y="191"/>
                    <a:pt x="2479" y="188"/>
                    <a:pt x="2480" y="185"/>
                  </a:cubicBezTo>
                  <a:close/>
                  <a:moveTo>
                    <a:pt x="2465" y="115"/>
                  </a:moveTo>
                  <a:cubicBezTo>
                    <a:pt x="2474" y="111"/>
                    <a:pt x="2467" y="123"/>
                    <a:pt x="2473" y="122"/>
                  </a:cubicBezTo>
                  <a:cubicBezTo>
                    <a:pt x="2470" y="129"/>
                    <a:pt x="2464" y="119"/>
                    <a:pt x="2465" y="115"/>
                  </a:cubicBezTo>
                  <a:close/>
                  <a:moveTo>
                    <a:pt x="2432" y="134"/>
                  </a:moveTo>
                  <a:cubicBezTo>
                    <a:pt x="2436" y="128"/>
                    <a:pt x="2446" y="135"/>
                    <a:pt x="2449" y="136"/>
                  </a:cubicBezTo>
                  <a:cubicBezTo>
                    <a:pt x="2446" y="142"/>
                    <a:pt x="2440" y="131"/>
                    <a:pt x="2432" y="134"/>
                  </a:cubicBezTo>
                  <a:close/>
                  <a:moveTo>
                    <a:pt x="2427" y="170"/>
                  </a:moveTo>
                  <a:cubicBezTo>
                    <a:pt x="2428" y="166"/>
                    <a:pt x="2432" y="164"/>
                    <a:pt x="2438" y="165"/>
                  </a:cubicBezTo>
                  <a:cubicBezTo>
                    <a:pt x="2441" y="172"/>
                    <a:pt x="2432" y="169"/>
                    <a:pt x="2427" y="170"/>
                  </a:cubicBezTo>
                  <a:close/>
                  <a:moveTo>
                    <a:pt x="2454" y="160"/>
                  </a:moveTo>
                  <a:cubicBezTo>
                    <a:pt x="2454" y="160"/>
                    <a:pt x="2455" y="158"/>
                    <a:pt x="2454" y="158"/>
                  </a:cubicBezTo>
                  <a:cubicBezTo>
                    <a:pt x="2464" y="158"/>
                    <a:pt x="2450" y="165"/>
                    <a:pt x="2446" y="162"/>
                  </a:cubicBezTo>
                  <a:cubicBezTo>
                    <a:pt x="2444" y="161"/>
                    <a:pt x="2453" y="160"/>
                    <a:pt x="2454" y="160"/>
                  </a:cubicBezTo>
                  <a:close/>
                  <a:moveTo>
                    <a:pt x="2457" y="132"/>
                  </a:moveTo>
                  <a:cubicBezTo>
                    <a:pt x="2461" y="123"/>
                    <a:pt x="2462" y="136"/>
                    <a:pt x="2460" y="136"/>
                  </a:cubicBezTo>
                  <a:cubicBezTo>
                    <a:pt x="2458" y="137"/>
                    <a:pt x="2456" y="133"/>
                    <a:pt x="2457" y="132"/>
                  </a:cubicBezTo>
                  <a:close/>
                  <a:moveTo>
                    <a:pt x="2463" y="169"/>
                  </a:moveTo>
                  <a:cubicBezTo>
                    <a:pt x="2462" y="172"/>
                    <a:pt x="2456" y="171"/>
                    <a:pt x="2452" y="172"/>
                  </a:cubicBezTo>
                  <a:cubicBezTo>
                    <a:pt x="2453" y="166"/>
                    <a:pt x="2459" y="166"/>
                    <a:pt x="2463" y="169"/>
                  </a:cubicBezTo>
                  <a:close/>
                  <a:moveTo>
                    <a:pt x="2456" y="110"/>
                  </a:moveTo>
                  <a:cubicBezTo>
                    <a:pt x="2466" y="108"/>
                    <a:pt x="2464" y="125"/>
                    <a:pt x="2454" y="120"/>
                  </a:cubicBezTo>
                  <a:cubicBezTo>
                    <a:pt x="2456" y="118"/>
                    <a:pt x="2457" y="115"/>
                    <a:pt x="2456" y="110"/>
                  </a:cubicBezTo>
                  <a:close/>
                  <a:moveTo>
                    <a:pt x="2448" y="96"/>
                  </a:moveTo>
                  <a:cubicBezTo>
                    <a:pt x="2451" y="97"/>
                    <a:pt x="2450" y="101"/>
                    <a:pt x="2453" y="101"/>
                  </a:cubicBezTo>
                  <a:cubicBezTo>
                    <a:pt x="2452" y="108"/>
                    <a:pt x="2445" y="101"/>
                    <a:pt x="2448" y="96"/>
                  </a:cubicBezTo>
                  <a:close/>
                  <a:moveTo>
                    <a:pt x="2451" y="108"/>
                  </a:moveTo>
                  <a:cubicBezTo>
                    <a:pt x="2443" y="117"/>
                    <a:pt x="2441" y="101"/>
                    <a:pt x="2451" y="108"/>
                  </a:cubicBezTo>
                  <a:close/>
                  <a:moveTo>
                    <a:pt x="2440" y="101"/>
                  </a:moveTo>
                  <a:cubicBezTo>
                    <a:pt x="2435" y="103"/>
                    <a:pt x="2441" y="113"/>
                    <a:pt x="2432" y="111"/>
                  </a:cubicBezTo>
                  <a:cubicBezTo>
                    <a:pt x="2431" y="105"/>
                    <a:pt x="2433" y="101"/>
                    <a:pt x="2440" y="101"/>
                  </a:cubicBezTo>
                  <a:close/>
                  <a:moveTo>
                    <a:pt x="2419" y="149"/>
                  </a:moveTo>
                  <a:cubicBezTo>
                    <a:pt x="2419" y="143"/>
                    <a:pt x="2428" y="148"/>
                    <a:pt x="2430" y="149"/>
                  </a:cubicBezTo>
                  <a:cubicBezTo>
                    <a:pt x="2428" y="156"/>
                    <a:pt x="2424" y="146"/>
                    <a:pt x="2419" y="149"/>
                  </a:cubicBezTo>
                  <a:close/>
                  <a:moveTo>
                    <a:pt x="2427" y="139"/>
                  </a:moveTo>
                  <a:cubicBezTo>
                    <a:pt x="2423" y="139"/>
                    <a:pt x="2419" y="139"/>
                    <a:pt x="2416" y="139"/>
                  </a:cubicBezTo>
                  <a:cubicBezTo>
                    <a:pt x="2417" y="137"/>
                    <a:pt x="2419" y="135"/>
                    <a:pt x="2416" y="135"/>
                  </a:cubicBezTo>
                  <a:cubicBezTo>
                    <a:pt x="2416" y="131"/>
                    <a:pt x="2424" y="134"/>
                    <a:pt x="2424" y="130"/>
                  </a:cubicBezTo>
                  <a:cubicBezTo>
                    <a:pt x="2427" y="131"/>
                    <a:pt x="2426" y="136"/>
                    <a:pt x="2427" y="139"/>
                  </a:cubicBezTo>
                  <a:close/>
                  <a:moveTo>
                    <a:pt x="2410" y="114"/>
                  </a:moveTo>
                  <a:cubicBezTo>
                    <a:pt x="2413" y="116"/>
                    <a:pt x="2417" y="117"/>
                    <a:pt x="2424" y="116"/>
                  </a:cubicBezTo>
                  <a:cubicBezTo>
                    <a:pt x="2421" y="121"/>
                    <a:pt x="2408" y="123"/>
                    <a:pt x="2410" y="114"/>
                  </a:cubicBezTo>
                  <a:close/>
                  <a:moveTo>
                    <a:pt x="2413" y="130"/>
                  </a:moveTo>
                  <a:cubicBezTo>
                    <a:pt x="2414" y="140"/>
                    <a:pt x="2398" y="133"/>
                    <a:pt x="2394" y="133"/>
                  </a:cubicBezTo>
                  <a:cubicBezTo>
                    <a:pt x="2399" y="122"/>
                    <a:pt x="2404" y="136"/>
                    <a:pt x="2413" y="130"/>
                  </a:cubicBezTo>
                  <a:close/>
                  <a:moveTo>
                    <a:pt x="2405" y="151"/>
                  </a:moveTo>
                  <a:cubicBezTo>
                    <a:pt x="2402" y="159"/>
                    <a:pt x="2398" y="149"/>
                    <a:pt x="2394" y="149"/>
                  </a:cubicBezTo>
                  <a:cubicBezTo>
                    <a:pt x="2397" y="146"/>
                    <a:pt x="2404" y="144"/>
                    <a:pt x="2408" y="147"/>
                  </a:cubicBezTo>
                  <a:cubicBezTo>
                    <a:pt x="2408" y="149"/>
                    <a:pt x="2404" y="148"/>
                    <a:pt x="2402" y="149"/>
                  </a:cubicBezTo>
                  <a:cubicBezTo>
                    <a:pt x="2402" y="151"/>
                    <a:pt x="2403" y="151"/>
                    <a:pt x="2405" y="151"/>
                  </a:cubicBezTo>
                  <a:close/>
                  <a:moveTo>
                    <a:pt x="2393" y="116"/>
                  </a:moveTo>
                  <a:cubicBezTo>
                    <a:pt x="2392" y="119"/>
                    <a:pt x="2390" y="121"/>
                    <a:pt x="2385" y="121"/>
                  </a:cubicBezTo>
                  <a:cubicBezTo>
                    <a:pt x="2384" y="116"/>
                    <a:pt x="2389" y="117"/>
                    <a:pt x="2393" y="116"/>
                  </a:cubicBezTo>
                  <a:close/>
                  <a:moveTo>
                    <a:pt x="2374" y="100"/>
                  </a:moveTo>
                  <a:cubicBezTo>
                    <a:pt x="2374" y="100"/>
                    <a:pt x="2380" y="96"/>
                    <a:pt x="2382" y="98"/>
                  </a:cubicBezTo>
                  <a:cubicBezTo>
                    <a:pt x="2384" y="99"/>
                    <a:pt x="2371" y="105"/>
                    <a:pt x="2374" y="100"/>
                  </a:cubicBezTo>
                  <a:close/>
                  <a:moveTo>
                    <a:pt x="2360" y="100"/>
                  </a:moveTo>
                  <a:cubicBezTo>
                    <a:pt x="2366" y="100"/>
                    <a:pt x="2369" y="102"/>
                    <a:pt x="2368" y="107"/>
                  </a:cubicBezTo>
                  <a:cubicBezTo>
                    <a:pt x="2365" y="107"/>
                    <a:pt x="2361" y="107"/>
                    <a:pt x="2360" y="110"/>
                  </a:cubicBezTo>
                  <a:cubicBezTo>
                    <a:pt x="2352" y="108"/>
                    <a:pt x="2363" y="105"/>
                    <a:pt x="2360" y="100"/>
                  </a:cubicBezTo>
                  <a:close/>
                  <a:moveTo>
                    <a:pt x="2349" y="115"/>
                  </a:moveTo>
                  <a:cubicBezTo>
                    <a:pt x="2346" y="113"/>
                    <a:pt x="2344" y="110"/>
                    <a:pt x="2344" y="105"/>
                  </a:cubicBezTo>
                  <a:cubicBezTo>
                    <a:pt x="2347" y="106"/>
                    <a:pt x="2349" y="105"/>
                    <a:pt x="2349" y="103"/>
                  </a:cubicBezTo>
                  <a:cubicBezTo>
                    <a:pt x="2352" y="103"/>
                    <a:pt x="2351" y="105"/>
                    <a:pt x="2349" y="105"/>
                  </a:cubicBezTo>
                  <a:cubicBezTo>
                    <a:pt x="2349" y="112"/>
                    <a:pt x="2354" y="110"/>
                    <a:pt x="2349" y="115"/>
                  </a:cubicBezTo>
                  <a:close/>
                  <a:moveTo>
                    <a:pt x="2347" y="124"/>
                  </a:moveTo>
                  <a:cubicBezTo>
                    <a:pt x="2350" y="121"/>
                    <a:pt x="2352" y="122"/>
                    <a:pt x="2352" y="126"/>
                  </a:cubicBezTo>
                  <a:cubicBezTo>
                    <a:pt x="2346" y="127"/>
                    <a:pt x="2344" y="125"/>
                    <a:pt x="2344" y="119"/>
                  </a:cubicBezTo>
                  <a:cubicBezTo>
                    <a:pt x="2347" y="119"/>
                    <a:pt x="2346" y="122"/>
                    <a:pt x="2347" y="124"/>
                  </a:cubicBezTo>
                  <a:close/>
                  <a:moveTo>
                    <a:pt x="2349" y="86"/>
                  </a:moveTo>
                  <a:cubicBezTo>
                    <a:pt x="2357" y="88"/>
                    <a:pt x="2345" y="90"/>
                    <a:pt x="2346" y="94"/>
                  </a:cubicBezTo>
                  <a:cubicBezTo>
                    <a:pt x="2337" y="91"/>
                    <a:pt x="2349" y="89"/>
                    <a:pt x="2349" y="86"/>
                  </a:cubicBezTo>
                  <a:close/>
                  <a:moveTo>
                    <a:pt x="2327" y="94"/>
                  </a:moveTo>
                  <a:cubicBezTo>
                    <a:pt x="2330" y="94"/>
                    <a:pt x="2329" y="98"/>
                    <a:pt x="2330" y="101"/>
                  </a:cubicBezTo>
                  <a:cubicBezTo>
                    <a:pt x="2330" y="104"/>
                    <a:pt x="2335" y="103"/>
                    <a:pt x="2338" y="103"/>
                  </a:cubicBezTo>
                  <a:cubicBezTo>
                    <a:pt x="2336" y="105"/>
                    <a:pt x="2335" y="109"/>
                    <a:pt x="2336" y="113"/>
                  </a:cubicBezTo>
                  <a:cubicBezTo>
                    <a:pt x="2334" y="111"/>
                    <a:pt x="2331" y="110"/>
                    <a:pt x="2327" y="110"/>
                  </a:cubicBezTo>
                  <a:cubicBezTo>
                    <a:pt x="2328" y="106"/>
                    <a:pt x="2327" y="103"/>
                    <a:pt x="2322" y="103"/>
                  </a:cubicBezTo>
                  <a:cubicBezTo>
                    <a:pt x="2322" y="99"/>
                    <a:pt x="2329" y="100"/>
                    <a:pt x="2327" y="94"/>
                  </a:cubicBezTo>
                  <a:close/>
                  <a:moveTo>
                    <a:pt x="2322" y="125"/>
                  </a:moveTo>
                  <a:cubicBezTo>
                    <a:pt x="2327" y="125"/>
                    <a:pt x="2324" y="132"/>
                    <a:pt x="2328" y="134"/>
                  </a:cubicBezTo>
                  <a:cubicBezTo>
                    <a:pt x="2332" y="134"/>
                    <a:pt x="2338" y="135"/>
                    <a:pt x="2339" y="131"/>
                  </a:cubicBezTo>
                  <a:cubicBezTo>
                    <a:pt x="2343" y="132"/>
                    <a:pt x="2338" y="134"/>
                    <a:pt x="2339" y="138"/>
                  </a:cubicBezTo>
                  <a:cubicBezTo>
                    <a:pt x="2334" y="139"/>
                    <a:pt x="2334" y="136"/>
                    <a:pt x="2331" y="136"/>
                  </a:cubicBezTo>
                  <a:cubicBezTo>
                    <a:pt x="2327" y="139"/>
                    <a:pt x="2326" y="143"/>
                    <a:pt x="2317" y="141"/>
                  </a:cubicBezTo>
                  <a:cubicBezTo>
                    <a:pt x="2320" y="134"/>
                    <a:pt x="2320" y="134"/>
                    <a:pt x="2309" y="134"/>
                  </a:cubicBezTo>
                  <a:cubicBezTo>
                    <a:pt x="2299" y="129"/>
                    <a:pt x="2330" y="137"/>
                    <a:pt x="2322" y="125"/>
                  </a:cubicBezTo>
                  <a:close/>
                  <a:moveTo>
                    <a:pt x="2339" y="162"/>
                  </a:moveTo>
                  <a:cubicBezTo>
                    <a:pt x="2344" y="162"/>
                    <a:pt x="2341" y="170"/>
                    <a:pt x="2348" y="169"/>
                  </a:cubicBezTo>
                  <a:cubicBezTo>
                    <a:pt x="2345" y="175"/>
                    <a:pt x="2332" y="165"/>
                    <a:pt x="2339" y="162"/>
                  </a:cubicBezTo>
                  <a:close/>
                  <a:moveTo>
                    <a:pt x="2351" y="211"/>
                  </a:moveTo>
                  <a:cubicBezTo>
                    <a:pt x="2350" y="214"/>
                    <a:pt x="2348" y="216"/>
                    <a:pt x="2343" y="216"/>
                  </a:cubicBezTo>
                  <a:cubicBezTo>
                    <a:pt x="2342" y="211"/>
                    <a:pt x="2347" y="211"/>
                    <a:pt x="2351" y="211"/>
                  </a:cubicBezTo>
                  <a:close/>
                  <a:moveTo>
                    <a:pt x="2321" y="202"/>
                  </a:moveTo>
                  <a:cubicBezTo>
                    <a:pt x="2322" y="203"/>
                    <a:pt x="2331" y="208"/>
                    <a:pt x="2332" y="202"/>
                  </a:cubicBezTo>
                  <a:cubicBezTo>
                    <a:pt x="2337" y="205"/>
                    <a:pt x="2329" y="210"/>
                    <a:pt x="2335" y="216"/>
                  </a:cubicBezTo>
                  <a:cubicBezTo>
                    <a:pt x="2332" y="216"/>
                    <a:pt x="2330" y="217"/>
                    <a:pt x="2329" y="218"/>
                  </a:cubicBezTo>
                  <a:cubicBezTo>
                    <a:pt x="2326" y="218"/>
                    <a:pt x="2326" y="211"/>
                    <a:pt x="2329" y="211"/>
                  </a:cubicBezTo>
                  <a:cubicBezTo>
                    <a:pt x="2328" y="207"/>
                    <a:pt x="2319" y="210"/>
                    <a:pt x="2321" y="202"/>
                  </a:cubicBezTo>
                  <a:close/>
                  <a:moveTo>
                    <a:pt x="2309" y="141"/>
                  </a:moveTo>
                  <a:cubicBezTo>
                    <a:pt x="2304" y="142"/>
                    <a:pt x="2303" y="138"/>
                    <a:pt x="2298" y="139"/>
                  </a:cubicBezTo>
                  <a:cubicBezTo>
                    <a:pt x="2297" y="135"/>
                    <a:pt x="2313" y="135"/>
                    <a:pt x="2309" y="141"/>
                  </a:cubicBezTo>
                  <a:close/>
                  <a:moveTo>
                    <a:pt x="2287" y="132"/>
                  </a:moveTo>
                  <a:cubicBezTo>
                    <a:pt x="2289" y="132"/>
                    <a:pt x="2292" y="132"/>
                    <a:pt x="2295" y="132"/>
                  </a:cubicBezTo>
                  <a:cubicBezTo>
                    <a:pt x="2293" y="134"/>
                    <a:pt x="2294" y="140"/>
                    <a:pt x="2292" y="142"/>
                  </a:cubicBezTo>
                  <a:cubicBezTo>
                    <a:pt x="2292" y="142"/>
                    <a:pt x="2290" y="141"/>
                    <a:pt x="2290" y="142"/>
                  </a:cubicBezTo>
                  <a:cubicBezTo>
                    <a:pt x="2288" y="146"/>
                    <a:pt x="2294" y="155"/>
                    <a:pt x="2284" y="153"/>
                  </a:cubicBezTo>
                  <a:cubicBezTo>
                    <a:pt x="2289" y="149"/>
                    <a:pt x="2286" y="140"/>
                    <a:pt x="2287" y="132"/>
                  </a:cubicBezTo>
                  <a:close/>
                  <a:moveTo>
                    <a:pt x="2291" y="252"/>
                  </a:moveTo>
                  <a:cubicBezTo>
                    <a:pt x="2291" y="254"/>
                    <a:pt x="2291" y="255"/>
                    <a:pt x="2292" y="257"/>
                  </a:cubicBezTo>
                  <a:cubicBezTo>
                    <a:pt x="2290" y="257"/>
                    <a:pt x="2288" y="257"/>
                    <a:pt x="2286" y="257"/>
                  </a:cubicBezTo>
                  <a:cubicBezTo>
                    <a:pt x="2286" y="255"/>
                    <a:pt x="2286" y="254"/>
                    <a:pt x="2286" y="252"/>
                  </a:cubicBezTo>
                  <a:cubicBezTo>
                    <a:pt x="2288" y="252"/>
                    <a:pt x="2290" y="252"/>
                    <a:pt x="2291" y="252"/>
                  </a:cubicBezTo>
                  <a:close/>
                  <a:moveTo>
                    <a:pt x="2285" y="210"/>
                  </a:moveTo>
                  <a:cubicBezTo>
                    <a:pt x="2297" y="211"/>
                    <a:pt x="2283" y="223"/>
                    <a:pt x="2285" y="210"/>
                  </a:cubicBezTo>
                  <a:close/>
                  <a:moveTo>
                    <a:pt x="2278" y="283"/>
                  </a:moveTo>
                  <a:cubicBezTo>
                    <a:pt x="2279" y="280"/>
                    <a:pt x="2284" y="280"/>
                    <a:pt x="2284" y="283"/>
                  </a:cubicBezTo>
                  <a:cubicBezTo>
                    <a:pt x="2287" y="282"/>
                    <a:pt x="2286" y="278"/>
                    <a:pt x="2286" y="276"/>
                  </a:cubicBezTo>
                  <a:cubicBezTo>
                    <a:pt x="2289" y="277"/>
                    <a:pt x="2291" y="278"/>
                    <a:pt x="2292" y="275"/>
                  </a:cubicBezTo>
                  <a:cubicBezTo>
                    <a:pt x="2299" y="281"/>
                    <a:pt x="2284" y="287"/>
                    <a:pt x="2278" y="283"/>
                  </a:cubicBezTo>
                  <a:close/>
                  <a:moveTo>
                    <a:pt x="2303" y="282"/>
                  </a:moveTo>
                  <a:cubicBezTo>
                    <a:pt x="2303" y="281"/>
                    <a:pt x="2303" y="279"/>
                    <a:pt x="2303" y="278"/>
                  </a:cubicBezTo>
                  <a:cubicBezTo>
                    <a:pt x="2305" y="278"/>
                    <a:pt x="2307" y="278"/>
                    <a:pt x="2308" y="278"/>
                  </a:cubicBezTo>
                  <a:cubicBezTo>
                    <a:pt x="2308" y="279"/>
                    <a:pt x="2308" y="281"/>
                    <a:pt x="2308" y="282"/>
                  </a:cubicBezTo>
                  <a:cubicBezTo>
                    <a:pt x="2307" y="282"/>
                    <a:pt x="2305" y="282"/>
                    <a:pt x="2303" y="282"/>
                  </a:cubicBezTo>
                  <a:close/>
                  <a:moveTo>
                    <a:pt x="2311" y="278"/>
                  </a:moveTo>
                  <a:cubicBezTo>
                    <a:pt x="2316" y="277"/>
                    <a:pt x="2316" y="280"/>
                    <a:pt x="2319" y="280"/>
                  </a:cubicBezTo>
                  <a:cubicBezTo>
                    <a:pt x="2321" y="284"/>
                    <a:pt x="2307" y="283"/>
                    <a:pt x="2311" y="278"/>
                  </a:cubicBezTo>
                  <a:close/>
                  <a:moveTo>
                    <a:pt x="2311" y="254"/>
                  </a:moveTo>
                  <a:cubicBezTo>
                    <a:pt x="2313" y="254"/>
                    <a:pt x="2313" y="253"/>
                    <a:pt x="2313" y="252"/>
                  </a:cubicBezTo>
                  <a:cubicBezTo>
                    <a:pt x="2319" y="251"/>
                    <a:pt x="2318" y="262"/>
                    <a:pt x="2311" y="259"/>
                  </a:cubicBezTo>
                  <a:cubicBezTo>
                    <a:pt x="2311" y="257"/>
                    <a:pt x="2311" y="256"/>
                    <a:pt x="2311" y="254"/>
                  </a:cubicBezTo>
                  <a:close/>
                  <a:moveTo>
                    <a:pt x="2318" y="221"/>
                  </a:moveTo>
                  <a:cubicBezTo>
                    <a:pt x="2313" y="224"/>
                    <a:pt x="2314" y="217"/>
                    <a:pt x="2313" y="216"/>
                  </a:cubicBezTo>
                  <a:cubicBezTo>
                    <a:pt x="2307" y="216"/>
                    <a:pt x="2307" y="222"/>
                    <a:pt x="2308" y="231"/>
                  </a:cubicBezTo>
                  <a:cubicBezTo>
                    <a:pt x="2310" y="231"/>
                    <a:pt x="2310" y="230"/>
                    <a:pt x="2310" y="228"/>
                  </a:cubicBezTo>
                  <a:cubicBezTo>
                    <a:pt x="2319" y="229"/>
                    <a:pt x="2300" y="236"/>
                    <a:pt x="2310" y="238"/>
                  </a:cubicBezTo>
                  <a:cubicBezTo>
                    <a:pt x="2310" y="241"/>
                    <a:pt x="2303" y="239"/>
                    <a:pt x="2302" y="238"/>
                  </a:cubicBezTo>
                  <a:cubicBezTo>
                    <a:pt x="2301" y="234"/>
                    <a:pt x="2305" y="233"/>
                    <a:pt x="2305" y="231"/>
                  </a:cubicBezTo>
                  <a:cubicBezTo>
                    <a:pt x="2304" y="225"/>
                    <a:pt x="2302" y="221"/>
                    <a:pt x="2305" y="219"/>
                  </a:cubicBezTo>
                  <a:cubicBezTo>
                    <a:pt x="2306" y="211"/>
                    <a:pt x="2291" y="218"/>
                    <a:pt x="2293" y="210"/>
                  </a:cubicBezTo>
                  <a:cubicBezTo>
                    <a:pt x="2300" y="204"/>
                    <a:pt x="2307" y="219"/>
                    <a:pt x="2302" y="205"/>
                  </a:cubicBezTo>
                  <a:cubicBezTo>
                    <a:pt x="2307" y="205"/>
                    <a:pt x="2313" y="205"/>
                    <a:pt x="2318" y="205"/>
                  </a:cubicBezTo>
                  <a:cubicBezTo>
                    <a:pt x="2317" y="212"/>
                    <a:pt x="2325" y="216"/>
                    <a:pt x="2318" y="221"/>
                  </a:cubicBezTo>
                  <a:close/>
                  <a:moveTo>
                    <a:pt x="2321" y="228"/>
                  </a:moveTo>
                  <a:cubicBezTo>
                    <a:pt x="2321" y="226"/>
                    <a:pt x="2321" y="225"/>
                    <a:pt x="2321" y="223"/>
                  </a:cubicBezTo>
                  <a:cubicBezTo>
                    <a:pt x="2323" y="223"/>
                    <a:pt x="2325" y="223"/>
                    <a:pt x="2327" y="223"/>
                  </a:cubicBezTo>
                  <a:cubicBezTo>
                    <a:pt x="2327" y="225"/>
                    <a:pt x="2327" y="226"/>
                    <a:pt x="2327" y="228"/>
                  </a:cubicBezTo>
                  <a:cubicBezTo>
                    <a:pt x="2325" y="228"/>
                    <a:pt x="2323" y="228"/>
                    <a:pt x="2321" y="228"/>
                  </a:cubicBezTo>
                  <a:close/>
                  <a:moveTo>
                    <a:pt x="2327" y="258"/>
                  </a:moveTo>
                  <a:cubicBezTo>
                    <a:pt x="2339" y="259"/>
                    <a:pt x="2325" y="272"/>
                    <a:pt x="2327" y="258"/>
                  </a:cubicBezTo>
                  <a:close/>
                  <a:moveTo>
                    <a:pt x="2338" y="249"/>
                  </a:moveTo>
                  <a:cubicBezTo>
                    <a:pt x="2336" y="248"/>
                    <a:pt x="2335" y="247"/>
                    <a:pt x="2333" y="247"/>
                  </a:cubicBezTo>
                  <a:cubicBezTo>
                    <a:pt x="2333" y="245"/>
                    <a:pt x="2335" y="244"/>
                    <a:pt x="2335" y="242"/>
                  </a:cubicBezTo>
                  <a:cubicBezTo>
                    <a:pt x="2337" y="242"/>
                    <a:pt x="2338" y="244"/>
                    <a:pt x="2341" y="244"/>
                  </a:cubicBezTo>
                  <a:cubicBezTo>
                    <a:pt x="2340" y="246"/>
                    <a:pt x="2338" y="246"/>
                    <a:pt x="2338" y="249"/>
                  </a:cubicBezTo>
                  <a:close/>
                  <a:moveTo>
                    <a:pt x="2341" y="239"/>
                  </a:moveTo>
                  <a:cubicBezTo>
                    <a:pt x="2342" y="236"/>
                    <a:pt x="2349" y="237"/>
                    <a:pt x="2346" y="230"/>
                  </a:cubicBezTo>
                  <a:cubicBezTo>
                    <a:pt x="2351" y="234"/>
                    <a:pt x="2351" y="238"/>
                    <a:pt x="2349" y="244"/>
                  </a:cubicBezTo>
                  <a:cubicBezTo>
                    <a:pt x="2346" y="242"/>
                    <a:pt x="2346" y="239"/>
                    <a:pt x="2341" y="239"/>
                  </a:cubicBezTo>
                  <a:close/>
                  <a:moveTo>
                    <a:pt x="2352" y="282"/>
                  </a:moveTo>
                  <a:cubicBezTo>
                    <a:pt x="2351" y="286"/>
                    <a:pt x="2347" y="283"/>
                    <a:pt x="2349" y="274"/>
                  </a:cubicBezTo>
                  <a:cubicBezTo>
                    <a:pt x="2351" y="268"/>
                    <a:pt x="2353" y="280"/>
                    <a:pt x="2352" y="282"/>
                  </a:cubicBezTo>
                  <a:close/>
                  <a:moveTo>
                    <a:pt x="2347" y="138"/>
                  </a:moveTo>
                  <a:cubicBezTo>
                    <a:pt x="2345" y="138"/>
                    <a:pt x="2344" y="139"/>
                    <a:pt x="2344" y="141"/>
                  </a:cubicBezTo>
                  <a:cubicBezTo>
                    <a:pt x="2334" y="139"/>
                    <a:pt x="2360" y="133"/>
                    <a:pt x="2344" y="134"/>
                  </a:cubicBezTo>
                  <a:cubicBezTo>
                    <a:pt x="2344" y="126"/>
                    <a:pt x="2351" y="134"/>
                    <a:pt x="2355" y="133"/>
                  </a:cubicBezTo>
                  <a:cubicBezTo>
                    <a:pt x="2358" y="133"/>
                    <a:pt x="2389" y="124"/>
                    <a:pt x="2377" y="140"/>
                  </a:cubicBezTo>
                  <a:cubicBezTo>
                    <a:pt x="2371" y="141"/>
                    <a:pt x="2374" y="133"/>
                    <a:pt x="2369" y="133"/>
                  </a:cubicBezTo>
                  <a:cubicBezTo>
                    <a:pt x="2365" y="138"/>
                    <a:pt x="2354" y="143"/>
                    <a:pt x="2347" y="138"/>
                  </a:cubicBezTo>
                  <a:close/>
                  <a:moveTo>
                    <a:pt x="2354" y="213"/>
                  </a:moveTo>
                  <a:cubicBezTo>
                    <a:pt x="2356" y="211"/>
                    <a:pt x="2358" y="207"/>
                    <a:pt x="2354" y="206"/>
                  </a:cubicBezTo>
                  <a:cubicBezTo>
                    <a:pt x="2355" y="201"/>
                    <a:pt x="2367" y="205"/>
                    <a:pt x="2373" y="204"/>
                  </a:cubicBezTo>
                  <a:cubicBezTo>
                    <a:pt x="2382" y="205"/>
                    <a:pt x="2368" y="207"/>
                    <a:pt x="2365" y="206"/>
                  </a:cubicBezTo>
                  <a:cubicBezTo>
                    <a:pt x="2358" y="205"/>
                    <a:pt x="2363" y="215"/>
                    <a:pt x="2354" y="213"/>
                  </a:cubicBezTo>
                  <a:close/>
                  <a:moveTo>
                    <a:pt x="2373" y="218"/>
                  </a:moveTo>
                  <a:cubicBezTo>
                    <a:pt x="2371" y="215"/>
                    <a:pt x="2363" y="217"/>
                    <a:pt x="2365" y="211"/>
                  </a:cubicBezTo>
                  <a:cubicBezTo>
                    <a:pt x="2371" y="210"/>
                    <a:pt x="2374" y="213"/>
                    <a:pt x="2373" y="218"/>
                  </a:cubicBezTo>
                  <a:close/>
                  <a:moveTo>
                    <a:pt x="2363" y="263"/>
                  </a:moveTo>
                  <a:cubicBezTo>
                    <a:pt x="2362" y="262"/>
                    <a:pt x="2357" y="267"/>
                    <a:pt x="2358" y="267"/>
                  </a:cubicBezTo>
                  <a:cubicBezTo>
                    <a:pt x="2351" y="265"/>
                    <a:pt x="2366" y="255"/>
                    <a:pt x="2366" y="265"/>
                  </a:cubicBezTo>
                  <a:cubicBezTo>
                    <a:pt x="2363" y="266"/>
                    <a:pt x="2364" y="263"/>
                    <a:pt x="2363" y="263"/>
                  </a:cubicBezTo>
                  <a:close/>
                  <a:moveTo>
                    <a:pt x="2374" y="255"/>
                  </a:moveTo>
                  <a:cubicBezTo>
                    <a:pt x="2366" y="252"/>
                    <a:pt x="2360" y="247"/>
                    <a:pt x="2368" y="241"/>
                  </a:cubicBezTo>
                  <a:cubicBezTo>
                    <a:pt x="2367" y="238"/>
                    <a:pt x="2363" y="239"/>
                    <a:pt x="2363" y="241"/>
                  </a:cubicBezTo>
                  <a:cubicBezTo>
                    <a:pt x="2356" y="240"/>
                    <a:pt x="2361" y="230"/>
                    <a:pt x="2368" y="232"/>
                  </a:cubicBezTo>
                  <a:cubicBezTo>
                    <a:pt x="2367" y="229"/>
                    <a:pt x="2363" y="230"/>
                    <a:pt x="2360" y="230"/>
                  </a:cubicBezTo>
                  <a:cubicBezTo>
                    <a:pt x="2360" y="225"/>
                    <a:pt x="2367" y="227"/>
                    <a:pt x="2365" y="220"/>
                  </a:cubicBezTo>
                  <a:cubicBezTo>
                    <a:pt x="2369" y="223"/>
                    <a:pt x="2371" y="232"/>
                    <a:pt x="2368" y="234"/>
                  </a:cubicBezTo>
                  <a:cubicBezTo>
                    <a:pt x="2366" y="238"/>
                    <a:pt x="2381" y="238"/>
                    <a:pt x="2379" y="234"/>
                  </a:cubicBezTo>
                  <a:cubicBezTo>
                    <a:pt x="2385" y="235"/>
                    <a:pt x="2374" y="244"/>
                    <a:pt x="2371" y="239"/>
                  </a:cubicBezTo>
                  <a:cubicBezTo>
                    <a:pt x="2370" y="243"/>
                    <a:pt x="2373" y="243"/>
                    <a:pt x="2376" y="244"/>
                  </a:cubicBezTo>
                  <a:cubicBezTo>
                    <a:pt x="2378" y="249"/>
                    <a:pt x="2371" y="249"/>
                    <a:pt x="2374" y="255"/>
                  </a:cubicBezTo>
                  <a:close/>
                  <a:moveTo>
                    <a:pt x="2377" y="283"/>
                  </a:moveTo>
                  <a:cubicBezTo>
                    <a:pt x="2375" y="283"/>
                    <a:pt x="2375" y="284"/>
                    <a:pt x="2374" y="286"/>
                  </a:cubicBezTo>
                  <a:cubicBezTo>
                    <a:pt x="2367" y="283"/>
                    <a:pt x="2381" y="279"/>
                    <a:pt x="2388" y="281"/>
                  </a:cubicBezTo>
                  <a:cubicBezTo>
                    <a:pt x="2388" y="283"/>
                    <a:pt x="2388" y="286"/>
                    <a:pt x="2388" y="288"/>
                  </a:cubicBezTo>
                  <a:cubicBezTo>
                    <a:pt x="2380" y="291"/>
                    <a:pt x="2381" y="284"/>
                    <a:pt x="2377" y="283"/>
                  </a:cubicBezTo>
                  <a:close/>
                  <a:moveTo>
                    <a:pt x="2381" y="218"/>
                  </a:moveTo>
                  <a:cubicBezTo>
                    <a:pt x="2378" y="217"/>
                    <a:pt x="2379" y="213"/>
                    <a:pt x="2376" y="213"/>
                  </a:cubicBezTo>
                  <a:cubicBezTo>
                    <a:pt x="2377" y="205"/>
                    <a:pt x="2383" y="215"/>
                    <a:pt x="2387" y="215"/>
                  </a:cubicBezTo>
                  <a:cubicBezTo>
                    <a:pt x="2387" y="215"/>
                    <a:pt x="2390" y="215"/>
                    <a:pt x="2390" y="215"/>
                  </a:cubicBezTo>
                  <a:cubicBezTo>
                    <a:pt x="2392" y="221"/>
                    <a:pt x="2379" y="212"/>
                    <a:pt x="2381" y="218"/>
                  </a:cubicBezTo>
                  <a:close/>
                  <a:moveTo>
                    <a:pt x="2409" y="224"/>
                  </a:moveTo>
                  <a:cubicBezTo>
                    <a:pt x="2413" y="225"/>
                    <a:pt x="2416" y="227"/>
                    <a:pt x="2420" y="229"/>
                  </a:cubicBezTo>
                  <a:cubicBezTo>
                    <a:pt x="2419" y="234"/>
                    <a:pt x="2407" y="229"/>
                    <a:pt x="2409" y="224"/>
                  </a:cubicBezTo>
                  <a:close/>
                  <a:moveTo>
                    <a:pt x="2425" y="217"/>
                  </a:moveTo>
                  <a:cubicBezTo>
                    <a:pt x="2426" y="211"/>
                    <a:pt x="2435" y="216"/>
                    <a:pt x="2436" y="217"/>
                  </a:cubicBezTo>
                  <a:cubicBezTo>
                    <a:pt x="2435" y="224"/>
                    <a:pt x="2430" y="214"/>
                    <a:pt x="2425" y="217"/>
                  </a:cubicBezTo>
                  <a:close/>
                  <a:moveTo>
                    <a:pt x="2436" y="212"/>
                  </a:moveTo>
                  <a:cubicBezTo>
                    <a:pt x="2437" y="211"/>
                    <a:pt x="2442" y="208"/>
                    <a:pt x="2444" y="209"/>
                  </a:cubicBezTo>
                  <a:cubicBezTo>
                    <a:pt x="2451" y="214"/>
                    <a:pt x="2433" y="220"/>
                    <a:pt x="2436" y="212"/>
                  </a:cubicBezTo>
                  <a:close/>
                  <a:moveTo>
                    <a:pt x="2453" y="259"/>
                  </a:moveTo>
                  <a:cubicBezTo>
                    <a:pt x="2451" y="259"/>
                    <a:pt x="2448" y="259"/>
                    <a:pt x="2445" y="259"/>
                  </a:cubicBezTo>
                  <a:cubicBezTo>
                    <a:pt x="2447" y="252"/>
                    <a:pt x="2449" y="256"/>
                    <a:pt x="2456" y="256"/>
                  </a:cubicBezTo>
                  <a:cubicBezTo>
                    <a:pt x="2456" y="260"/>
                    <a:pt x="2456" y="263"/>
                    <a:pt x="2459" y="263"/>
                  </a:cubicBezTo>
                  <a:cubicBezTo>
                    <a:pt x="2458" y="270"/>
                    <a:pt x="2450" y="263"/>
                    <a:pt x="2453" y="259"/>
                  </a:cubicBezTo>
                  <a:close/>
                  <a:moveTo>
                    <a:pt x="2464" y="237"/>
                  </a:moveTo>
                  <a:cubicBezTo>
                    <a:pt x="2460" y="238"/>
                    <a:pt x="2463" y="244"/>
                    <a:pt x="2459" y="244"/>
                  </a:cubicBezTo>
                  <a:cubicBezTo>
                    <a:pt x="2457" y="240"/>
                    <a:pt x="2460" y="238"/>
                    <a:pt x="2461" y="235"/>
                  </a:cubicBezTo>
                  <a:cubicBezTo>
                    <a:pt x="2466" y="234"/>
                    <a:pt x="2467" y="237"/>
                    <a:pt x="2464" y="237"/>
                  </a:cubicBezTo>
                  <a:close/>
                  <a:moveTo>
                    <a:pt x="2478" y="246"/>
                  </a:moveTo>
                  <a:cubicBezTo>
                    <a:pt x="2484" y="241"/>
                    <a:pt x="2475" y="239"/>
                    <a:pt x="2481" y="235"/>
                  </a:cubicBezTo>
                  <a:cubicBezTo>
                    <a:pt x="2485" y="234"/>
                    <a:pt x="2486" y="250"/>
                    <a:pt x="2478" y="246"/>
                  </a:cubicBezTo>
                  <a:close/>
                  <a:moveTo>
                    <a:pt x="2497" y="253"/>
                  </a:moveTo>
                  <a:cubicBezTo>
                    <a:pt x="2497" y="251"/>
                    <a:pt x="2501" y="251"/>
                    <a:pt x="2503" y="251"/>
                  </a:cubicBezTo>
                  <a:cubicBezTo>
                    <a:pt x="2505" y="251"/>
                    <a:pt x="2508" y="251"/>
                    <a:pt x="2511" y="251"/>
                  </a:cubicBezTo>
                  <a:cubicBezTo>
                    <a:pt x="2512" y="256"/>
                    <a:pt x="2501" y="252"/>
                    <a:pt x="2497" y="253"/>
                  </a:cubicBezTo>
                  <a:close/>
                  <a:moveTo>
                    <a:pt x="2503" y="248"/>
                  </a:moveTo>
                  <a:cubicBezTo>
                    <a:pt x="2503" y="245"/>
                    <a:pt x="2503" y="242"/>
                    <a:pt x="2503" y="239"/>
                  </a:cubicBezTo>
                  <a:cubicBezTo>
                    <a:pt x="2505" y="239"/>
                    <a:pt x="2505" y="242"/>
                    <a:pt x="2505" y="244"/>
                  </a:cubicBezTo>
                  <a:cubicBezTo>
                    <a:pt x="2509" y="244"/>
                    <a:pt x="2510" y="243"/>
                    <a:pt x="2511" y="241"/>
                  </a:cubicBezTo>
                  <a:cubicBezTo>
                    <a:pt x="2519" y="244"/>
                    <a:pt x="2507" y="249"/>
                    <a:pt x="2503" y="248"/>
                  </a:cubicBezTo>
                  <a:close/>
                  <a:moveTo>
                    <a:pt x="2517" y="269"/>
                  </a:moveTo>
                  <a:cubicBezTo>
                    <a:pt x="2512" y="275"/>
                    <a:pt x="2517" y="268"/>
                    <a:pt x="2517" y="265"/>
                  </a:cubicBezTo>
                  <a:cubicBezTo>
                    <a:pt x="2517" y="256"/>
                    <a:pt x="2524" y="271"/>
                    <a:pt x="2517" y="269"/>
                  </a:cubicBezTo>
                  <a:close/>
                  <a:moveTo>
                    <a:pt x="2535" y="241"/>
                  </a:moveTo>
                  <a:cubicBezTo>
                    <a:pt x="2533" y="237"/>
                    <a:pt x="2522" y="241"/>
                    <a:pt x="2524" y="234"/>
                  </a:cubicBezTo>
                  <a:cubicBezTo>
                    <a:pt x="2527" y="232"/>
                    <a:pt x="2532" y="231"/>
                    <a:pt x="2538" y="231"/>
                  </a:cubicBezTo>
                  <a:cubicBezTo>
                    <a:pt x="2538" y="235"/>
                    <a:pt x="2535" y="236"/>
                    <a:pt x="2535" y="241"/>
                  </a:cubicBezTo>
                  <a:close/>
                  <a:moveTo>
                    <a:pt x="2543" y="219"/>
                  </a:moveTo>
                  <a:cubicBezTo>
                    <a:pt x="2538" y="215"/>
                    <a:pt x="2538" y="221"/>
                    <a:pt x="2530" y="220"/>
                  </a:cubicBezTo>
                  <a:cubicBezTo>
                    <a:pt x="2526" y="217"/>
                    <a:pt x="2529" y="216"/>
                    <a:pt x="2530" y="213"/>
                  </a:cubicBezTo>
                  <a:cubicBezTo>
                    <a:pt x="2524" y="212"/>
                    <a:pt x="2521" y="215"/>
                    <a:pt x="2521" y="220"/>
                  </a:cubicBezTo>
                  <a:cubicBezTo>
                    <a:pt x="2511" y="215"/>
                    <a:pt x="2520" y="208"/>
                    <a:pt x="2529" y="208"/>
                  </a:cubicBezTo>
                  <a:cubicBezTo>
                    <a:pt x="2529" y="203"/>
                    <a:pt x="2521" y="208"/>
                    <a:pt x="2521" y="208"/>
                  </a:cubicBezTo>
                  <a:cubicBezTo>
                    <a:pt x="2518" y="208"/>
                    <a:pt x="2517" y="204"/>
                    <a:pt x="2513" y="203"/>
                  </a:cubicBezTo>
                  <a:cubicBezTo>
                    <a:pt x="2513" y="209"/>
                    <a:pt x="2518" y="209"/>
                    <a:pt x="2513" y="213"/>
                  </a:cubicBezTo>
                  <a:cubicBezTo>
                    <a:pt x="2511" y="215"/>
                    <a:pt x="2519" y="239"/>
                    <a:pt x="2508" y="236"/>
                  </a:cubicBezTo>
                  <a:cubicBezTo>
                    <a:pt x="2507" y="233"/>
                    <a:pt x="2510" y="232"/>
                    <a:pt x="2511" y="229"/>
                  </a:cubicBezTo>
                  <a:cubicBezTo>
                    <a:pt x="2508" y="225"/>
                    <a:pt x="2504" y="222"/>
                    <a:pt x="2499" y="220"/>
                  </a:cubicBezTo>
                  <a:cubicBezTo>
                    <a:pt x="2499" y="216"/>
                    <a:pt x="2501" y="211"/>
                    <a:pt x="2497" y="211"/>
                  </a:cubicBezTo>
                  <a:cubicBezTo>
                    <a:pt x="2493" y="211"/>
                    <a:pt x="2496" y="214"/>
                    <a:pt x="2497" y="213"/>
                  </a:cubicBezTo>
                  <a:cubicBezTo>
                    <a:pt x="2492" y="219"/>
                    <a:pt x="2486" y="214"/>
                    <a:pt x="2483" y="220"/>
                  </a:cubicBezTo>
                  <a:cubicBezTo>
                    <a:pt x="2481" y="219"/>
                    <a:pt x="2479" y="218"/>
                    <a:pt x="2475" y="218"/>
                  </a:cubicBezTo>
                  <a:cubicBezTo>
                    <a:pt x="2474" y="226"/>
                    <a:pt x="2487" y="222"/>
                    <a:pt x="2483" y="232"/>
                  </a:cubicBezTo>
                  <a:cubicBezTo>
                    <a:pt x="2479" y="233"/>
                    <a:pt x="2478" y="230"/>
                    <a:pt x="2478" y="228"/>
                  </a:cubicBezTo>
                  <a:cubicBezTo>
                    <a:pt x="2478" y="225"/>
                    <a:pt x="2473" y="227"/>
                    <a:pt x="2472" y="225"/>
                  </a:cubicBezTo>
                  <a:cubicBezTo>
                    <a:pt x="2472" y="225"/>
                    <a:pt x="2472" y="216"/>
                    <a:pt x="2469" y="218"/>
                  </a:cubicBezTo>
                  <a:cubicBezTo>
                    <a:pt x="2467" y="220"/>
                    <a:pt x="2464" y="221"/>
                    <a:pt x="2464" y="211"/>
                  </a:cubicBezTo>
                  <a:cubicBezTo>
                    <a:pt x="2459" y="214"/>
                    <a:pt x="2460" y="221"/>
                    <a:pt x="2450" y="219"/>
                  </a:cubicBezTo>
                  <a:cubicBezTo>
                    <a:pt x="2450" y="216"/>
                    <a:pt x="2449" y="214"/>
                    <a:pt x="2447" y="214"/>
                  </a:cubicBezTo>
                  <a:cubicBezTo>
                    <a:pt x="2446" y="210"/>
                    <a:pt x="2449" y="210"/>
                    <a:pt x="2453" y="209"/>
                  </a:cubicBezTo>
                  <a:cubicBezTo>
                    <a:pt x="2452" y="207"/>
                    <a:pt x="2447" y="208"/>
                    <a:pt x="2447" y="205"/>
                  </a:cubicBezTo>
                  <a:cubicBezTo>
                    <a:pt x="2436" y="206"/>
                    <a:pt x="2426" y="206"/>
                    <a:pt x="2414" y="205"/>
                  </a:cubicBezTo>
                  <a:cubicBezTo>
                    <a:pt x="2406" y="208"/>
                    <a:pt x="2418" y="211"/>
                    <a:pt x="2412" y="215"/>
                  </a:cubicBezTo>
                  <a:cubicBezTo>
                    <a:pt x="2408" y="215"/>
                    <a:pt x="2404" y="215"/>
                    <a:pt x="2401" y="215"/>
                  </a:cubicBezTo>
                  <a:cubicBezTo>
                    <a:pt x="2400" y="211"/>
                    <a:pt x="2403" y="211"/>
                    <a:pt x="2403" y="208"/>
                  </a:cubicBezTo>
                  <a:cubicBezTo>
                    <a:pt x="2400" y="201"/>
                    <a:pt x="2389" y="208"/>
                    <a:pt x="2384" y="208"/>
                  </a:cubicBezTo>
                  <a:cubicBezTo>
                    <a:pt x="2378" y="197"/>
                    <a:pt x="2422" y="207"/>
                    <a:pt x="2411" y="201"/>
                  </a:cubicBezTo>
                  <a:cubicBezTo>
                    <a:pt x="2412" y="198"/>
                    <a:pt x="2414" y="199"/>
                    <a:pt x="2414" y="200"/>
                  </a:cubicBezTo>
                  <a:cubicBezTo>
                    <a:pt x="2421" y="203"/>
                    <a:pt x="2431" y="203"/>
                    <a:pt x="2442" y="202"/>
                  </a:cubicBezTo>
                  <a:cubicBezTo>
                    <a:pt x="2444" y="201"/>
                    <a:pt x="2446" y="200"/>
                    <a:pt x="2450" y="200"/>
                  </a:cubicBezTo>
                  <a:cubicBezTo>
                    <a:pt x="2450" y="198"/>
                    <a:pt x="2450" y="195"/>
                    <a:pt x="2450" y="193"/>
                  </a:cubicBezTo>
                  <a:cubicBezTo>
                    <a:pt x="2456" y="187"/>
                    <a:pt x="2447" y="202"/>
                    <a:pt x="2458" y="202"/>
                  </a:cubicBezTo>
                  <a:cubicBezTo>
                    <a:pt x="2463" y="202"/>
                    <a:pt x="2468" y="203"/>
                    <a:pt x="2463" y="204"/>
                  </a:cubicBezTo>
                  <a:cubicBezTo>
                    <a:pt x="2460" y="206"/>
                    <a:pt x="2455" y="203"/>
                    <a:pt x="2455" y="207"/>
                  </a:cubicBezTo>
                  <a:cubicBezTo>
                    <a:pt x="2453" y="211"/>
                    <a:pt x="2468" y="210"/>
                    <a:pt x="2466" y="207"/>
                  </a:cubicBezTo>
                  <a:cubicBezTo>
                    <a:pt x="2469" y="205"/>
                    <a:pt x="2469" y="201"/>
                    <a:pt x="2474" y="202"/>
                  </a:cubicBezTo>
                  <a:cubicBezTo>
                    <a:pt x="2474" y="198"/>
                    <a:pt x="2477" y="198"/>
                    <a:pt x="2477" y="195"/>
                  </a:cubicBezTo>
                  <a:cubicBezTo>
                    <a:pt x="2481" y="195"/>
                    <a:pt x="2478" y="202"/>
                    <a:pt x="2483" y="202"/>
                  </a:cubicBezTo>
                  <a:cubicBezTo>
                    <a:pt x="2490" y="202"/>
                    <a:pt x="2492" y="198"/>
                    <a:pt x="2491" y="192"/>
                  </a:cubicBezTo>
                  <a:cubicBezTo>
                    <a:pt x="2499" y="194"/>
                    <a:pt x="2494" y="196"/>
                    <a:pt x="2494" y="201"/>
                  </a:cubicBezTo>
                  <a:cubicBezTo>
                    <a:pt x="2500" y="202"/>
                    <a:pt x="2504" y="201"/>
                    <a:pt x="2505" y="197"/>
                  </a:cubicBezTo>
                  <a:cubicBezTo>
                    <a:pt x="2508" y="196"/>
                    <a:pt x="2506" y="200"/>
                    <a:pt x="2507" y="201"/>
                  </a:cubicBezTo>
                  <a:cubicBezTo>
                    <a:pt x="2511" y="203"/>
                    <a:pt x="2519" y="200"/>
                    <a:pt x="2524" y="201"/>
                  </a:cubicBezTo>
                  <a:cubicBezTo>
                    <a:pt x="2527" y="200"/>
                    <a:pt x="2529" y="198"/>
                    <a:pt x="2529" y="194"/>
                  </a:cubicBezTo>
                  <a:cubicBezTo>
                    <a:pt x="2540" y="192"/>
                    <a:pt x="2540" y="192"/>
                    <a:pt x="2551" y="193"/>
                  </a:cubicBezTo>
                  <a:cubicBezTo>
                    <a:pt x="2553" y="201"/>
                    <a:pt x="2548" y="202"/>
                    <a:pt x="2549" y="208"/>
                  </a:cubicBezTo>
                  <a:cubicBezTo>
                    <a:pt x="2546" y="206"/>
                    <a:pt x="2542" y="205"/>
                    <a:pt x="2538" y="205"/>
                  </a:cubicBezTo>
                  <a:cubicBezTo>
                    <a:pt x="2537" y="212"/>
                    <a:pt x="2544" y="213"/>
                    <a:pt x="2543" y="219"/>
                  </a:cubicBezTo>
                  <a:close/>
                  <a:moveTo>
                    <a:pt x="2549" y="212"/>
                  </a:moveTo>
                  <a:cubicBezTo>
                    <a:pt x="2550" y="209"/>
                    <a:pt x="2552" y="213"/>
                    <a:pt x="2557" y="212"/>
                  </a:cubicBezTo>
                  <a:cubicBezTo>
                    <a:pt x="2559" y="219"/>
                    <a:pt x="2547" y="215"/>
                    <a:pt x="2552" y="224"/>
                  </a:cubicBezTo>
                  <a:cubicBezTo>
                    <a:pt x="2539" y="223"/>
                    <a:pt x="2556" y="214"/>
                    <a:pt x="2549" y="212"/>
                  </a:cubicBezTo>
                  <a:close/>
                  <a:moveTo>
                    <a:pt x="2549" y="238"/>
                  </a:moveTo>
                  <a:cubicBezTo>
                    <a:pt x="2548" y="233"/>
                    <a:pt x="2554" y="235"/>
                    <a:pt x="2554" y="231"/>
                  </a:cubicBezTo>
                  <a:cubicBezTo>
                    <a:pt x="2558" y="231"/>
                    <a:pt x="2557" y="235"/>
                    <a:pt x="2557" y="238"/>
                  </a:cubicBezTo>
                  <a:cubicBezTo>
                    <a:pt x="2555" y="238"/>
                    <a:pt x="2552" y="238"/>
                    <a:pt x="2549" y="238"/>
                  </a:cubicBezTo>
                  <a:close/>
                  <a:moveTo>
                    <a:pt x="2553" y="146"/>
                  </a:moveTo>
                  <a:cubicBezTo>
                    <a:pt x="2555" y="146"/>
                    <a:pt x="2557" y="146"/>
                    <a:pt x="2559" y="146"/>
                  </a:cubicBezTo>
                  <a:cubicBezTo>
                    <a:pt x="2559" y="153"/>
                    <a:pt x="2538" y="146"/>
                    <a:pt x="2553" y="146"/>
                  </a:cubicBezTo>
                  <a:close/>
                  <a:moveTo>
                    <a:pt x="2570" y="167"/>
                  </a:moveTo>
                  <a:cubicBezTo>
                    <a:pt x="2567" y="175"/>
                    <a:pt x="2562" y="165"/>
                    <a:pt x="2564" y="160"/>
                  </a:cubicBezTo>
                  <a:cubicBezTo>
                    <a:pt x="2568" y="161"/>
                    <a:pt x="2565" y="167"/>
                    <a:pt x="2570" y="167"/>
                  </a:cubicBezTo>
                  <a:close/>
                  <a:moveTo>
                    <a:pt x="2567" y="137"/>
                  </a:moveTo>
                  <a:cubicBezTo>
                    <a:pt x="2570" y="138"/>
                    <a:pt x="2572" y="140"/>
                    <a:pt x="2572" y="144"/>
                  </a:cubicBezTo>
                  <a:cubicBezTo>
                    <a:pt x="2569" y="143"/>
                    <a:pt x="2566" y="141"/>
                    <a:pt x="2567" y="137"/>
                  </a:cubicBezTo>
                  <a:close/>
                  <a:moveTo>
                    <a:pt x="2568" y="191"/>
                  </a:moveTo>
                  <a:cubicBezTo>
                    <a:pt x="2570" y="191"/>
                    <a:pt x="2573" y="191"/>
                    <a:pt x="2576" y="191"/>
                  </a:cubicBezTo>
                  <a:cubicBezTo>
                    <a:pt x="2575" y="196"/>
                    <a:pt x="2564" y="192"/>
                    <a:pt x="2559" y="193"/>
                  </a:cubicBezTo>
                  <a:cubicBezTo>
                    <a:pt x="2560" y="190"/>
                    <a:pt x="2564" y="191"/>
                    <a:pt x="2568" y="191"/>
                  </a:cubicBezTo>
                  <a:close/>
                  <a:moveTo>
                    <a:pt x="2559" y="200"/>
                  </a:moveTo>
                  <a:cubicBezTo>
                    <a:pt x="2562" y="205"/>
                    <a:pt x="2573" y="201"/>
                    <a:pt x="2565" y="198"/>
                  </a:cubicBezTo>
                  <a:cubicBezTo>
                    <a:pt x="2567" y="194"/>
                    <a:pt x="2569" y="198"/>
                    <a:pt x="2576" y="195"/>
                  </a:cubicBezTo>
                  <a:cubicBezTo>
                    <a:pt x="2576" y="199"/>
                    <a:pt x="2564" y="203"/>
                    <a:pt x="2576" y="202"/>
                  </a:cubicBezTo>
                  <a:cubicBezTo>
                    <a:pt x="2586" y="207"/>
                    <a:pt x="2561" y="202"/>
                    <a:pt x="2562" y="207"/>
                  </a:cubicBezTo>
                  <a:cubicBezTo>
                    <a:pt x="2560" y="208"/>
                    <a:pt x="2560" y="206"/>
                    <a:pt x="2560" y="205"/>
                  </a:cubicBezTo>
                  <a:cubicBezTo>
                    <a:pt x="2560" y="203"/>
                    <a:pt x="2560" y="202"/>
                    <a:pt x="2559" y="200"/>
                  </a:cubicBezTo>
                  <a:close/>
                  <a:moveTo>
                    <a:pt x="2595" y="219"/>
                  </a:moveTo>
                  <a:cubicBezTo>
                    <a:pt x="2593" y="223"/>
                    <a:pt x="2594" y="216"/>
                    <a:pt x="2590" y="216"/>
                  </a:cubicBezTo>
                  <a:cubicBezTo>
                    <a:pt x="2587" y="216"/>
                    <a:pt x="2585" y="212"/>
                    <a:pt x="2584" y="207"/>
                  </a:cubicBezTo>
                  <a:cubicBezTo>
                    <a:pt x="2588" y="207"/>
                    <a:pt x="2592" y="207"/>
                    <a:pt x="2595" y="207"/>
                  </a:cubicBezTo>
                  <a:cubicBezTo>
                    <a:pt x="2597" y="214"/>
                    <a:pt x="2590" y="214"/>
                    <a:pt x="2595" y="219"/>
                  </a:cubicBezTo>
                  <a:close/>
                  <a:moveTo>
                    <a:pt x="2591" y="263"/>
                  </a:moveTo>
                  <a:cubicBezTo>
                    <a:pt x="2589" y="268"/>
                    <a:pt x="2586" y="265"/>
                    <a:pt x="2588" y="256"/>
                  </a:cubicBezTo>
                  <a:cubicBezTo>
                    <a:pt x="2590" y="250"/>
                    <a:pt x="2591" y="262"/>
                    <a:pt x="2591" y="263"/>
                  </a:cubicBezTo>
                  <a:close/>
                  <a:moveTo>
                    <a:pt x="2582" y="230"/>
                  </a:moveTo>
                  <a:cubicBezTo>
                    <a:pt x="2594" y="232"/>
                    <a:pt x="2580" y="245"/>
                    <a:pt x="2582" y="230"/>
                  </a:cubicBezTo>
                  <a:close/>
                  <a:moveTo>
                    <a:pt x="2571" y="228"/>
                  </a:moveTo>
                  <a:cubicBezTo>
                    <a:pt x="2572" y="226"/>
                    <a:pt x="2573" y="224"/>
                    <a:pt x="2576" y="224"/>
                  </a:cubicBezTo>
                  <a:cubicBezTo>
                    <a:pt x="2575" y="220"/>
                    <a:pt x="2568" y="222"/>
                    <a:pt x="2571" y="214"/>
                  </a:cubicBezTo>
                  <a:cubicBezTo>
                    <a:pt x="2579" y="214"/>
                    <a:pt x="2580" y="220"/>
                    <a:pt x="2582" y="226"/>
                  </a:cubicBezTo>
                  <a:cubicBezTo>
                    <a:pt x="2579" y="228"/>
                    <a:pt x="2576" y="228"/>
                    <a:pt x="2571" y="228"/>
                  </a:cubicBezTo>
                  <a:close/>
                  <a:moveTo>
                    <a:pt x="2560" y="221"/>
                  </a:moveTo>
                  <a:cubicBezTo>
                    <a:pt x="2560" y="219"/>
                    <a:pt x="2560" y="217"/>
                    <a:pt x="2560" y="214"/>
                  </a:cubicBezTo>
                  <a:cubicBezTo>
                    <a:pt x="2562" y="214"/>
                    <a:pt x="2565" y="214"/>
                    <a:pt x="2568" y="214"/>
                  </a:cubicBezTo>
                  <a:cubicBezTo>
                    <a:pt x="2565" y="217"/>
                    <a:pt x="2567" y="223"/>
                    <a:pt x="2560" y="221"/>
                  </a:cubicBezTo>
                  <a:close/>
                  <a:moveTo>
                    <a:pt x="2568" y="231"/>
                  </a:moveTo>
                  <a:cubicBezTo>
                    <a:pt x="2578" y="230"/>
                    <a:pt x="2572" y="243"/>
                    <a:pt x="2577" y="247"/>
                  </a:cubicBezTo>
                  <a:cubicBezTo>
                    <a:pt x="2566" y="249"/>
                    <a:pt x="2569" y="238"/>
                    <a:pt x="2568" y="231"/>
                  </a:cubicBezTo>
                  <a:close/>
                  <a:moveTo>
                    <a:pt x="2569" y="254"/>
                  </a:moveTo>
                  <a:cubicBezTo>
                    <a:pt x="2568" y="251"/>
                    <a:pt x="2576" y="246"/>
                    <a:pt x="2577" y="252"/>
                  </a:cubicBezTo>
                  <a:cubicBezTo>
                    <a:pt x="2576" y="254"/>
                    <a:pt x="2578" y="254"/>
                    <a:pt x="2580" y="254"/>
                  </a:cubicBezTo>
                  <a:cubicBezTo>
                    <a:pt x="2578" y="261"/>
                    <a:pt x="2574" y="252"/>
                    <a:pt x="2569" y="254"/>
                  </a:cubicBezTo>
                  <a:close/>
                  <a:moveTo>
                    <a:pt x="2579" y="242"/>
                  </a:moveTo>
                  <a:cubicBezTo>
                    <a:pt x="2578" y="238"/>
                    <a:pt x="2592" y="239"/>
                    <a:pt x="2588" y="244"/>
                  </a:cubicBezTo>
                  <a:cubicBezTo>
                    <a:pt x="2586" y="245"/>
                    <a:pt x="2584" y="245"/>
                    <a:pt x="2582" y="245"/>
                  </a:cubicBezTo>
                  <a:cubicBezTo>
                    <a:pt x="2583" y="243"/>
                    <a:pt x="2581" y="242"/>
                    <a:pt x="2579" y="242"/>
                  </a:cubicBezTo>
                  <a:close/>
                  <a:moveTo>
                    <a:pt x="2585" y="275"/>
                  </a:moveTo>
                  <a:cubicBezTo>
                    <a:pt x="2586" y="269"/>
                    <a:pt x="2596" y="271"/>
                    <a:pt x="2596" y="266"/>
                  </a:cubicBezTo>
                  <a:cubicBezTo>
                    <a:pt x="2603" y="268"/>
                    <a:pt x="2595" y="278"/>
                    <a:pt x="2585" y="275"/>
                  </a:cubicBezTo>
                  <a:close/>
                  <a:moveTo>
                    <a:pt x="2631" y="232"/>
                  </a:moveTo>
                  <a:cubicBezTo>
                    <a:pt x="2638" y="234"/>
                    <a:pt x="2643" y="237"/>
                    <a:pt x="2643" y="246"/>
                  </a:cubicBezTo>
                  <a:cubicBezTo>
                    <a:pt x="2637" y="247"/>
                    <a:pt x="2639" y="243"/>
                    <a:pt x="2637" y="241"/>
                  </a:cubicBezTo>
                  <a:cubicBezTo>
                    <a:pt x="2635" y="239"/>
                    <a:pt x="2630" y="235"/>
                    <a:pt x="2631" y="232"/>
                  </a:cubicBezTo>
                  <a:close/>
                  <a:moveTo>
                    <a:pt x="2613" y="263"/>
                  </a:moveTo>
                  <a:cubicBezTo>
                    <a:pt x="2615" y="262"/>
                    <a:pt x="2622" y="254"/>
                    <a:pt x="2615" y="253"/>
                  </a:cubicBezTo>
                  <a:cubicBezTo>
                    <a:pt x="2616" y="247"/>
                    <a:pt x="2624" y="253"/>
                    <a:pt x="2621" y="258"/>
                  </a:cubicBezTo>
                  <a:cubicBezTo>
                    <a:pt x="2630" y="261"/>
                    <a:pt x="2623" y="250"/>
                    <a:pt x="2632" y="253"/>
                  </a:cubicBezTo>
                  <a:cubicBezTo>
                    <a:pt x="2632" y="255"/>
                    <a:pt x="2631" y="255"/>
                    <a:pt x="2629" y="255"/>
                  </a:cubicBezTo>
                  <a:cubicBezTo>
                    <a:pt x="2629" y="262"/>
                    <a:pt x="2633" y="260"/>
                    <a:pt x="2629" y="267"/>
                  </a:cubicBezTo>
                  <a:cubicBezTo>
                    <a:pt x="2628" y="270"/>
                    <a:pt x="2629" y="272"/>
                    <a:pt x="2624" y="272"/>
                  </a:cubicBezTo>
                  <a:cubicBezTo>
                    <a:pt x="2621" y="265"/>
                    <a:pt x="2628" y="266"/>
                    <a:pt x="2626" y="260"/>
                  </a:cubicBezTo>
                  <a:cubicBezTo>
                    <a:pt x="2620" y="259"/>
                    <a:pt x="2621" y="264"/>
                    <a:pt x="2621" y="267"/>
                  </a:cubicBezTo>
                  <a:cubicBezTo>
                    <a:pt x="2611" y="266"/>
                    <a:pt x="2598" y="263"/>
                    <a:pt x="2604" y="254"/>
                  </a:cubicBezTo>
                  <a:cubicBezTo>
                    <a:pt x="2600" y="253"/>
                    <a:pt x="2599" y="255"/>
                    <a:pt x="2599" y="258"/>
                  </a:cubicBezTo>
                  <a:cubicBezTo>
                    <a:pt x="2591" y="257"/>
                    <a:pt x="2601" y="253"/>
                    <a:pt x="2599" y="249"/>
                  </a:cubicBezTo>
                  <a:cubicBezTo>
                    <a:pt x="2604" y="251"/>
                    <a:pt x="2608" y="253"/>
                    <a:pt x="2607" y="261"/>
                  </a:cubicBezTo>
                  <a:cubicBezTo>
                    <a:pt x="2610" y="260"/>
                    <a:pt x="2612" y="261"/>
                    <a:pt x="2613" y="263"/>
                  </a:cubicBezTo>
                  <a:close/>
                  <a:moveTo>
                    <a:pt x="2607" y="232"/>
                  </a:moveTo>
                  <a:cubicBezTo>
                    <a:pt x="2605" y="239"/>
                    <a:pt x="2611" y="238"/>
                    <a:pt x="2610" y="244"/>
                  </a:cubicBezTo>
                  <a:cubicBezTo>
                    <a:pt x="2607" y="244"/>
                    <a:pt x="2604" y="244"/>
                    <a:pt x="2601" y="244"/>
                  </a:cubicBezTo>
                  <a:cubicBezTo>
                    <a:pt x="2601" y="240"/>
                    <a:pt x="2605" y="239"/>
                    <a:pt x="2604" y="235"/>
                  </a:cubicBezTo>
                  <a:cubicBezTo>
                    <a:pt x="2601" y="236"/>
                    <a:pt x="2598" y="238"/>
                    <a:pt x="2599" y="242"/>
                  </a:cubicBezTo>
                  <a:cubicBezTo>
                    <a:pt x="2594" y="240"/>
                    <a:pt x="2594" y="234"/>
                    <a:pt x="2593" y="230"/>
                  </a:cubicBezTo>
                  <a:cubicBezTo>
                    <a:pt x="2596" y="232"/>
                    <a:pt x="2600" y="233"/>
                    <a:pt x="2607" y="232"/>
                  </a:cubicBezTo>
                  <a:close/>
                  <a:moveTo>
                    <a:pt x="2584" y="198"/>
                  </a:moveTo>
                  <a:cubicBezTo>
                    <a:pt x="2586" y="194"/>
                    <a:pt x="2591" y="196"/>
                    <a:pt x="2592" y="197"/>
                  </a:cubicBezTo>
                  <a:cubicBezTo>
                    <a:pt x="2593" y="198"/>
                    <a:pt x="2597" y="197"/>
                    <a:pt x="2598" y="197"/>
                  </a:cubicBezTo>
                  <a:cubicBezTo>
                    <a:pt x="2599" y="198"/>
                    <a:pt x="2598" y="204"/>
                    <a:pt x="2603" y="202"/>
                  </a:cubicBezTo>
                  <a:cubicBezTo>
                    <a:pt x="2596" y="210"/>
                    <a:pt x="2590" y="198"/>
                    <a:pt x="2584" y="198"/>
                  </a:cubicBezTo>
                  <a:close/>
                  <a:moveTo>
                    <a:pt x="2586" y="146"/>
                  </a:moveTo>
                  <a:cubicBezTo>
                    <a:pt x="2591" y="147"/>
                    <a:pt x="2598" y="146"/>
                    <a:pt x="2597" y="153"/>
                  </a:cubicBezTo>
                  <a:cubicBezTo>
                    <a:pt x="2591" y="149"/>
                    <a:pt x="2594" y="153"/>
                    <a:pt x="2586" y="153"/>
                  </a:cubicBezTo>
                  <a:cubicBezTo>
                    <a:pt x="2586" y="151"/>
                    <a:pt x="2586" y="148"/>
                    <a:pt x="2586" y="146"/>
                  </a:cubicBezTo>
                  <a:close/>
                  <a:moveTo>
                    <a:pt x="2625" y="171"/>
                  </a:moveTo>
                  <a:cubicBezTo>
                    <a:pt x="2625" y="167"/>
                    <a:pt x="2625" y="163"/>
                    <a:pt x="2625" y="159"/>
                  </a:cubicBezTo>
                  <a:cubicBezTo>
                    <a:pt x="2633" y="155"/>
                    <a:pt x="2633" y="174"/>
                    <a:pt x="2625" y="171"/>
                  </a:cubicBezTo>
                  <a:close/>
                  <a:moveTo>
                    <a:pt x="2639" y="182"/>
                  </a:moveTo>
                  <a:cubicBezTo>
                    <a:pt x="2631" y="179"/>
                    <a:pt x="2636" y="177"/>
                    <a:pt x="2633" y="168"/>
                  </a:cubicBezTo>
                  <a:cubicBezTo>
                    <a:pt x="2636" y="168"/>
                    <a:pt x="2638" y="168"/>
                    <a:pt x="2641" y="168"/>
                  </a:cubicBezTo>
                  <a:cubicBezTo>
                    <a:pt x="2638" y="171"/>
                    <a:pt x="2638" y="177"/>
                    <a:pt x="2639" y="182"/>
                  </a:cubicBezTo>
                  <a:close/>
                  <a:moveTo>
                    <a:pt x="2655" y="173"/>
                  </a:moveTo>
                  <a:cubicBezTo>
                    <a:pt x="2662" y="173"/>
                    <a:pt x="2656" y="181"/>
                    <a:pt x="2655" y="182"/>
                  </a:cubicBezTo>
                  <a:cubicBezTo>
                    <a:pt x="2647" y="181"/>
                    <a:pt x="2658" y="177"/>
                    <a:pt x="2655" y="173"/>
                  </a:cubicBezTo>
                  <a:close/>
                  <a:moveTo>
                    <a:pt x="2663" y="189"/>
                  </a:moveTo>
                  <a:cubicBezTo>
                    <a:pt x="2661" y="187"/>
                    <a:pt x="2657" y="187"/>
                    <a:pt x="2652" y="187"/>
                  </a:cubicBezTo>
                  <a:cubicBezTo>
                    <a:pt x="2652" y="183"/>
                    <a:pt x="2668" y="182"/>
                    <a:pt x="2663" y="189"/>
                  </a:cubicBezTo>
                  <a:close/>
                  <a:moveTo>
                    <a:pt x="2660" y="154"/>
                  </a:moveTo>
                  <a:cubicBezTo>
                    <a:pt x="2656" y="157"/>
                    <a:pt x="2653" y="157"/>
                    <a:pt x="2649" y="154"/>
                  </a:cubicBezTo>
                  <a:cubicBezTo>
                    <a:pt x="2651" y="146"/>
                    <a:pt x="2656" y="154"/>
                    <a:pt x="2666" y="151"/>
                  </a:cubicBezTo>
                  <a:cubicBezTo>
                    <a:pt x="2668" y="150"/>
                    <a:pt x="2668" y="146"/>
                    <a:pt x="2674" y="147"/>
                  </a:cubicBezTo>
                  <a:cubicBezTo>
                    <a:pt x="2675" y="151"/>
                    <a:pt x="2672" y="151"/>
                    <a:pt x="2668" y="151"/>
                  </a:cubicBezTo>
                  <a:cubicBezTo>
                    <a:pt x="2668" y="154"/>
                    <a:pt x="2669" y="156"/>
                    <a:pt x="2671" y="156"/>
                  </a:cubicBezTo>
                  <a:cubicBezTo>
                    <a:pt x="2671" y="162"/>
                    <a:pt x="2661" y="156"/>
                    <a:pt x="2660" y="154"/>
                  </a:cubicBezTo>
                  <a:close/>
                  <a:moveTo>
                    <a:pt x="2669" y="168"/>
                  </a:moveTo>
                  <a:cubicBezTo>
                    <a:pt x="2669" y="166"/>
                    <a:pt x="2669" y="165"/>
                    <a:pt x="2669" y="163"/>
                  </a:cubicBezTo>
                  <a:cubicBezTo>
                    <a:pt x="2670" y="163"/>
                    <a:pt x="2672" y="163"/>
                    <a:pt x="2674" y="163"/>
                  </a:cubicBezTo>
                  <a:cubicBezTo>
                    <a:pt x="2674" y="165"/>
                    <a:pt x="2674" y="166"/>
                    <a:pt x="2674" y="168"/>
                  </a:cubicBezTo>
                  <a:cubicBezTo>
                    <a:pt x="2672" y="168"/>
                    <a:pt x="2670" y="168"/>
                    <a:pt x="2669" y="168"/>
                  </a:cubicBezTo>
                  <a:close/>
                  <a:moveTo>
                    <a:pt x="2685" y="184"/>
                  </a:moveTo>
                  <a:cubicBezTo>
                    <a:pt x="2679" y="185"/>
                    <a:pt x="2681" y="180"/>
                    <a:pt x="2677" y="179"/>
                  </a:cubicBezTo>
                  <a:cubicBezTo>
                    <a:pt x="2678" y="174"/>
                    <a:pt x="2688" y="179"/>
                    <a:pt x="2685" y="184"/>
                  </a:cubicBezTo>
                  <a:close/>
                  <a:moveTo>
                    <a:pt x="2682" y="135"/>
                  </a:moveTo>
                  <a:cubicBezTo>
                    <a:pt x="2682" y="141"/>
                    <a:pt x="2671" y="138"/>
                    <a:pt x="2671" y="144"/>
                  </a:cubicBezTo>
                  <a:cubicBezTo>
                    <a:pt x="2669" y="142"/>
                    <a:pt x="2661" y="135"/>
                    <a:pt x="2663" y="147"/>
                  </a:cubicBezTo>
                  <a:cubicBezTo>
                    <a:pt x="2659" y="148"/>
                    <a:pt x="2661" y="140"/>
                    <a:pt x="2660" y="140"/>
                  </a:cubicBezTo>
                  <a:cubicBezTo>
                    <a:pt x="2657" y="139"/>
                    <a:pt x="2654" y="144"/>
                    <a:pt x="2649" y="140"/>
                  </a:cubicBezTo>
                  <a:cubicBezTo>
                    <a:pt x="2647" y="139"/>
                    <a:pt x="2630" y="144"/>
                    <a:pt x="2632" y="136"/>
                  </a:cubicBezTo>
                  <a:cubicBezTo>
                    <a:pt x="2628" y="135"/>
                    <a:pt x="2627" y="137"/>
                    <a:pt x="2627" y="140"/>
                  </a:cubicBezTo>
                  <a:cubicBezTo>
                    <a:pt x="2620" y="142"/>
                    <a:pt x="2621" y="136"/>
                    <a:pt x="2616" y="136"/>
                  </a:cubicBezTo>
                  <a:cubicBezTo>
                    <a:pt x="2613" y="137"/>
                    <a:pt x="2614" y="141"/>
                    <a:pt x="2610" y="141"/>
                  </a:cubicBezTo>
                  <a:cubicBezTo>
                    <a:pt x="2606" y="142"/>
                    <a:pt x="2605" y="139"/>
                    <a:pt x="2605" y="136"/>
                  </a:cubicBezTo>
                  <a:cubicBezTo>
                    <a:pt x="2593" y="134"/>
                    <a:pt x="2592" y="141"/>
                    <a:pt x="2583" y="141"/>
                  </a:cubicBezTo>
                  <a:cubicBezTo>
                    <a:pt x="2583" y="139"/>
                    <a:pt x="2583" y="136"/>
                    <a:pt x="2583" y="134"/>
                  </a:cubicBezTo>
                  <a:cubicBezTo>
                    <a:pt x="2573" y="133"/>
                    <a:pt x="2581" y="141"/>
                    <a:pt x="2572" y="137"/>
                  </a:cubicBezTo>
                  <a:cubicBezTo>
                    <a:pt x="2572" y="137"/>
                    <a:pt x="2568" y="134"/>
                    <a:pt x="2569" y="134"/>
                  </a:cubicBezTo>
                  <a:cubicBezTo>
                    <a:pt x="2568" y="134"/>
                    <a:pt x="2561" y="140"/>
                    <a:pt x="2561" y="134"/>
                  </a:cubicBezTo>
                  <a:cubicBezTo>
                    <a:pt x="2558" y="135"/>
                    <a:pt x="2560" y="137"/>
                    <a:pt x="2561" y="137"/>
                  </a:cubicBezTo>
                  <a:cubicBezTo>
                    <a:pt x="2562" y="142"/>
                    <a:pt x="2551" y="138"/>
                    <a:pt x="2547" y="139"/>
                  </a:cubicBezTo>
                  <a:cubicBezTo>
                    <a:pt x="2547" y="137"/>
                    <a:pt x="2551" y="138"/>
                    <a:pt x="2553" y="137"/>
                  </a:cubicBezTo>
                  <a:cubicBezTo>
                    <a:pt x="2561" y="132"/>
                    <a:pt x="2569" y="128"/>
                    <a:pt x="2577" y="127"/>
                  </a:cubicBezTo>
                  <a:cubicBezTo>
                    <a:pt x="2578" y="127"/>
                    <a:pt x="2577" y="132"/>
                    <a:pt x="2578" y="132"/>
                  </a:cubicBezTo>
                  <a:cubicBezTo>
                    <a:pt x="2580" y="134"/>
                    <a:pt x="2586" y="128"/>
                    <a:pt x="2586" y="127"/>
                  </a:cubicBezTo>
                  <a:cubicBezTo>
                    <a:pt x="2587" y="128"/>
                    <a:pt x="2589" y="128"/>
                    <a:pt x="2591" y="129"/>
                  </a:cubicBezTo>
                  <a:cubicBezTo>
                    <a:pt x="2594" y="131"/>
                    <a:pt x="2595" y="131"/>
                    <a:pt x="2599" y="131"/>
                  </a:cubicBezTo>
                  <a:cubicBezTo>
                    <a:pt x="2601" y="132"/>
                    <a:pt x="2603" y="134"/>
                    <a:pt x="2602" y="134"/>
                  </a:cubicBezTo>
                  <a:cubicBezTo>
                    <a:pt x="2606" y="134"/>
                    <a:pt x="2608" y="130"/>
                    <a:pt x="2616" y="131"/>
                  </a:cubicBezTo>
                  <a:cubicBezTo>
                    <a:pt x="2617" y="131"/>
                    <a:pt x="2619" y="133"/>
                    <a:pt x="2619" y="133"/>
                  </a:cubicBezTo>
                  <a:cubicBezTo>
                    <a:pt x="2621" y="134"/>
                    <a:pt x="2623" y="131"/>
                    <a:pt x="2627" y="131"/>
                  </a:cubicBezTo>
                  <a:cubicBezTo>
                    <a:pt x="2626" y="131"/>
                    <a:pt x="2631" y="135"/>
                    <a:pt x="2632" y="133"/>
                  </a:cubicBezTo>
                  <a:cubicBezTo>
                    <a:pt x="2635" y="130"/>
                    <a:pt x="2634" y="133"/>
                    <a:pt x="2638" y="133"/>
                  </a:cubicBezTo>
                  <a:cubicBezTo>
                    <a:pt x="2642" y="133"/>
                    <a:pt x="2643" y="131"/>
                    <a:pt x="2646" y="131"/>
                  </a:cubicBezTo>
                  <a:cubicBezTo>
                    <a:pt x="2657" y="131"/>
                    <a:pt x="2670" y="132"/>
                    <a:pt x="2682" y="135"/>
                  </a:cubicBezTo>
                  <a:close/>
                  <a:moveTo>
                    <a:pt x="2665" y="116"/>
                  </a:moveTo>
                  <a:cubicBezTo>
                    <a:pt x="2665" y="119"/>
                    <a:pt x="2662" y="118"/>
                    <a:pt x="2660" y="119"/>
                  </a:cubicBezTo>
                  <a:cubicBezTo>
                    <a:pt x="2657" y="120"/>
                    <a:pt x="2657" y="124"/>
                    <a:pt x="2651" y="124"/>
                  </a:cubicBezTo>
                  <a:cubicBezTo>
                    <a:pt x="2653" y="122"/>
                    <a:pt x="2654" y="120"/>
                    <a:pt x="2654" y="116"/>
                  </a:cubicBezTo>
                  <a:cubicBezTo>
                    <a:pt x="2650" y="116"/>
                    <a:pt x="2645" y="126"/>
                    <a:pt x="2646" y="117"/>
                  </a:cubicBezTo>
                  <a:cubicBezTo>
                    <a:pt x="2650" y="117"/>
                    <a:pt x="2651" y="115"/>
                    <a:pt x="2651" y="112"/>
                  </a:cubicBezTo>
                  <a:cubicBezTo>
                    <a:pt x="2660" y="110"/>
                    <a:pt x="2657" y="118"/>
                    <a:pt x="2665" y="116"/>
                  </a:cubicBezTo>
                  <a:close/>
                  <a:moveTo>
                    <a:pt x="2673" y="107"/>
                  </a:moveTo>
                  <a:cubicBezTo>
                    <a:pt x="2664" y="110"/>
                    <a:pt x="2671" y="99"/>
                    <a:pt x="2662" y="102"/>
                  </a:cubicBezTo>
                  <a:cubicBezTo>
                    <a:pt x="2664" y="92"/>
                    <a:pt x="2681" y="102"/>
                    <a:pt x="2673" y="107"/>
                  </a:cubicBezTo>
                  <a:close/>
                  <a:moveTo>
                    <a:pt x="2724" y="24"/>
                  </a:moveTo>
                  <a:cubicBezTo>
                    <a:pt x="2718" y="17"/>
                    <a:pt x="2716" y="33"/>
                    <a:pt x="2715" y="19"/>
                  </a:cubicBezTo>
                  <a:cubicBezTo>
                    <a:pt x="2721" y="18"/>
                    <a:pt x="2724" y="19"/>
                    <a:pt x="2724" y="24"/>
                  </a:cubicBezTo>
                  <a:close/>
                  <a:moveTo>
                    <a:pt x="2694" y="71"/>
                  </a:moveTo>
                  <a:cubicBezTo>
                    <a:pt x="2697" y="71"/>
                    <a:pt x="2697" y="74"/>
                    <a:pt x="2697" y="76"/>
                  </a:cubicBezTo>
                  <a:cubicBezTo>
                    <a:pt x="2700" y="76"/>
                    <a:pt x="2702" y="75"/>
                    <a:pt x="2703" y="73"/>
                  </a:cubicBezTo>
                  <a:cubicBezTo>
                    <a:pt x="2706" y="75"/>
                    <a:pt x="2708" y="78"/>
                    <a:pt x="2708" y="83"/>
                  </a:cubicBezTo>
                  <a:cubicBezTo>
                    <a:pt x="2703" y="77"/>
                    <a:pt x="2689" y="81"/>
                    <a:pt x="2694" y="71"/>
                  </a:cubicBezTo>
                  <a:close/>
                  <a:moveTo>
                    <a:pt x="2700" y="106"/>
                  </a:moveTo>
                  <a:cubicBezTo>
                    <a:pt x="2698" y="104"/>
                    <a:pt x="2690" y="106"/>
                    <a:pt x="2692" y="99"/>
                  </a:cubicBezTo>
                  <a:cubicBezTo>
                    <a:pt x="2698" y="99"/>
                    <a:pt x="2701" y="101"/>
                    <a:pt x="2700" y="106"/>
                  </a:cubicBezTo>
                  <a:close/>
                  <a:moveTo>
                    <a:pt x="2698" y="97"/>
                  </a:moveTo>
                  <a:cubicBezTo>
                    <a:pt x="2698" y="95"/>
                    <a:pt x="2701" y="95"/>
                    <a:pt x="2703" y="94"/>
                  </a:cubicBezTo>
                  <a:cubicBezTo>
                    <a:pt x="2705" y="94"/>
                    <a:pt x="2707" y="94"/>
                    <a:pt x="2708" y="94"/>
                  </a:cubicBezTo>
                  <a:cubicBezTo>
                    <a:pt x="2708" y="98"/>
                    <a:pt x="2702" y="96"/>
                    <a:pt x="2698" y="97"/>
                  </a:cubicBezTo>
                  <a:close/>
                  <a:moveTo>
                    <a:pt x="2722" y="99"/>
                  </a:moveTo>
                  <a:cubicBezTo>
                    <a:pt x="2722" y="101"/>
                    <a:pt x="2725" y="101"/>
                    <a:pt x="2725" y="101"/>
                  </a:cubicBezTo>
                  <a:cubicBezTo>
                    <a:pt x="2725" y="105"/>
                    <a:pt x="2721" y="107"/>
                    <a:pt x="2725" y="108"/>
                  </a:cubicBezTo>
                  <a:cubicBezTo>
                    <a:pt x="2726" y="109"/>
                    <a:pt x="2720" y="111"/>
                    <a:pt x="2720" y="111"/>
                  </a:cubicBezTo>
                  <a:cubicBezTo>
                    <a:pt x="2717" y="108"/>
                    <a:pt x="2722" y="104"/>
                    <a:pt x="2717" y="104"/>
                  </a:cubicBezTo>
                  <a:cubicBezTo>
                    <a:pt x="2713" y="103"/>
                    <a:pt x="2717" y="101"/>
                    <a:pt x="2717" y="99"/>
                  </a:cubicBezTo>
                  <a:cubicBezTo>
                    <a:pt x="2717" y="97"/>
                    <a:pt x="2716" y="97"/>
                    <a:pt x="2714" y="97"/>
                  </a:cubicBezTo>
                  <a:cubicBezTo>
                    <a:pt x="2707" y="92"/>
                    <a:pt x="2720" y="98"/>
                    <a:pt x="2725" y="96"/>
                  </a:cubicBezTo>
                  <a:cubicBezTo>
                    <a:pt x="2727" y="99"/>
                    <a:pt x="2722" y="98"/>
                    <a:pt x="2722" y="99"/>
                  </a:cubicBezTo>
                  <a:close/>
                  <a:moveTo>
                    <a:pt x="2733" y="99"/>
                  </a:moveTo>
                  <a:cubicBezTo>
                    <a:pt x="2732" y="91"/>
                    <a:pt x="2741" y="92"/>
                    <a:pt x="2741" y="87"/>
                  </a:cubicBezTo>
                  <a:cubicBezTo>
                    <a:pt x="2744" y="79"/>
                    <a:pt x="2745" y="104"/>
                    <a:pt x="2733" y="99"/>
                  </a:cubicBezTo>
                  <a:close/>
                  <a:moveTo>
                    <a:pt x="2736" y="106"/>
                  </a:moveTo>
                  <a:cubicBezTo>
                    <a:pt x="2736" y="102"/>
                    <a:pt x="2748" y="108"/>
                    <a:pt x="2747" y="112"/>
                  </a:cubicBezTo>
                  <a:cubicBezTo>
                    <a:pt x="2738" y="115"/>
                    <a:pt x="2741" y="106"/>
                    <a:pt x="2736" y="106"/>
                  </a:cubicBezTo>
                  <a:close/>
                  <a:moveTo>
                    <a:pt x="2766" y="79"/>
                  </a:moveTo>
                  <a:cubicBezTo>
                    <a:pt x="2767" y="75"/>
                    <a:pt x="2769" y="81"/>
                    <a:pt x="2769" y="84"/>
                  </a:cubicBezTo>
                  <a:cubicBezTo>
                    <a:pt x="2768" y="88"/>
                    <a:pt x="2765" y="82"/>
                    <a:pt x="2766" y="79"/>
                  </a:cubicBezTo>
                  <a:close/>
                  <a:moveTo>
                    <a:pt x="2762" y="23"/>
                  </a:moveTo>
                  <a:cubicBezTo>
                    <a:pt x="2767" y="22"/>
                    <a:pt x="2766" y="33"/>
                    <a:pt x="2759" y="30"/>
                  </a:cubicBezTo>
                  <a:cubicBezTo>
                    <a:pt x="2759" y="28"/>
                    <a:pt x="2759" y="27"/>
                    <a:pt x="2759" y="25"/>
                  </a:cubicBezTo>
                  <a:cubicBezTo>
                    <a:pt x="2762" y="26"/>
                    <a:pt x="2762" y="24"/>
                    <a:pt x="2762" y="23"/>
                  </a:cubicBezTo>
                  <a:close/>
                  <a:moveTo>
                    <a:pt x="2757" y="35"/>
                  </a:moveTo>
                  <a:cubicBezTo>
                    <a:pt x="2761" y="35"/>
                    <a:pt x="2758" y="42"/>
                    <a:pt x="2762" y="42"/>
                  </a:cubicBezTo>
                  <a:cubicBezTo>
                    <a:pt x="2759" y="49"/>
                    <a:pt x="2751" y="37"/>
                    <a:pt x="2757" y="35"/>
                  </a:cubicBezTo>
                  <a:close/>
                  <a:moveTo>
                    <a:pt x="2761" y="100"/>
                  </a:moveTo>
                  <a:cubicBezTo>
                    <a:pt x="2757" y="99"/>
                    <a:pt x="2756" y="96"/>
                    <a:pt x="2755" y="91"/>
                  </a:cubicBezTo>
                  <a:cubicBezTo>
                    <a:pt x="2763" y="89"/>
                    <a:pt x="2760" y="96"/>
                    <a:pt x="2761" y="100"/>
                  </a:cubicBezTo>
                  <a:close/>
                  <a:moveTo>
                    <a:pt x="2769" y="112"/>
                  </a:moveTo>
                  <a:cubicBezTo>
                    <a:pt x="2767" y="112"/>
                    <a:pt x="2765" y="112"/>
                    <a:pt x="2764" y="112"/>
                  </a:cubicBezTo>
                  <a:cubicBezTo>
                    <a:pt x="2764" y="110"/>
                    <a:pt x="2763" y="110"/>
                    <a:pt x="2761" y="110"/>
                  </a:cubicBezTo>
                  <a:cubicBezTo>
                    <a:pt x="2760" y="105"/>
                    <a:pt x="2773" y="106"/>
                    <a:pt x="2769" y="112"/>
                  </a:cubicBezTo>
                  <a:close/>
                  <a:moveTo>
                    <a:pt x="2780" y="86"/>
                  </a:moveTo>
                  <a:cubicBezTo>
                    <a:pt x="2775" y="84"/>
                    <a:pt x="2779" y="82"/>
                    <a:pt x="2780" y="79"/>
                  </a:cubicBezTo>
                  <a:cubicBezTo>
                    <a:pt x="2785" y="81"/>
                    <a:pt x="2780" y="83"/>
                    <a:pt x="2780" y="86"/>
                  </a:cubicBezTo>
                  <a:close/>
                  <a:moveTo>
                    <a:pt x="2787" y="11"/>
                  </a:moveTo>
                  <a:cubicBezTo>
                    <a:pt x="2783" y="10"/>
                    <a:pt x="2784" y="5"/>
                    <a:pt x="2784" y="1"/>
                  </a:cubicBezTo>
                  <a:cubicBezTo>
                    <a:pt x="2795" y="0"/>
                    <a:pt x="2785" y="6"/>
                    <a:pt x="2787" y="11"/>
                  </a:cubicBezTo>
                  <a:close/>
                  <a:moveTo>
                    <a:pt x="2795" y="43"/>
                  </a:moveTo>
                  <a:cubicBezTo>
                    <a:pt x="2792" y="43"/>
                    <a:pt x="2793" y="39"/>
                    <a:pt x="2793" y="36"/>
                  </a:cubicBezTo>
                  <a:cubicBezTo>
                    <a:pt x="2797" y="35"/>
                    <a:pt x="2798" y="38"/>
                    <a:pt x="2798" y="41"/>
                  </a:cubicBezTo>
                  <a:cubicBezTo>
                    <a:pt x="2796" y="41"/>
                    <a:pt x="2795" y="42"/>
                    <a:pt x="2795" y="43"/>
                  </a:cubicBezTo>
                  <a:close/>
                  <a:moveTo>
                    <a:pt x="2791" y="123"/>
                  </a:moveTo>
                  <a:cubicBezTo>
                    <a:pt x="2792" y="121"/>
                    <a:pt x="2794" y="121"/>
                    <a:pt x="2794" y="119"/>
                  </a:cubicBezTo>
                  <a:cubicBezTo>
                    <a:pt x="2796" y="119"/>
                    <a:pt x="2798" y="119"/>
                    <a:pt x="2799" y="119"/>
                  </a:cubicBezTo>
                  <a:cubicBezTo>
                    <a:pt x="2801" y="124"/>
                    <a:pt x="2796" y="123"/>
                    <a:pt x="2791" y="123"/>
                  </a:cubicBezTo>
                  <a:close/>
                  <a:moveTo>
                    <a:pt x="2808" y="126"/>
                  </a:moveTo>
                  <a:cubicBezTo>
                    <a:pt x="2802" y="125"/>
                    <a:pt x="2802" y="120"/>
                    <a:pt x="2802" y="114"/>
                  </a:cubicBezTo>
                  <a:cubicBezTo>
                    <a:pt x="2805" y="118"/>
                    <a:pt x="2813" y="121"/>
                    <a:pt x="2808" y="126"/>
                  </a:cubicBezTo>
                  <a:close/>
                  <a:moveTo>
                    <a:pt x="2819" y="114"/>
                  </a:moveTo>
                  <a:cubicBezTo>
                    <a:pt x="2815" y="114"/>
                    <a:pt x="2817" y="116"/>
                    <a:pt x="2819" y="116"/>
                  </a:cubicBezTo>
                  <a:cubicBezTo>
                    <a:pt x="2812" y="124"/>
                    <a:pt x="2808" y="109"/>
                    <a:pt x="2810" y="102"/>
                  </a:cubicBezTo>
                  <a:cubicBezTo>
                    <a:pt x="2814" y="103"/>
                    <a:pt x="2816" y="105"/>
                    <a:pt x="2816" y="109"/>
                  </a:cubicBezTo>
                  <a:cubicBezTo>
                    <a:pt x="2823" y="106"/>
                    <a:pt x="2821" y="98"/>
                    <a:pt x="2827" y="109"/>
                  </a:cubicBezTo>
                  <a:cubicBezTo>
                    <a:pt x="2827" y="110"/>
                    <a:pt x="2829" y="108"/>
                    <a:pt x="2830" y="111"/>
                  </a:cubicBezTo>
                  <a:cubicBezTo>
                    <a:pt x="2830" y="113"/>
                    <a:pt x="2829" y="116"/>
                    <a:pt x="2830" y="118"/>
                  </a:cubicBezTo>
                  <a:cubicBezTo>
                    <a:pt x="2822" y="120"/>
                    <a:pt x="2824" y="113"/>
                    <a:pt x="2819" y="114"/>
                  </a:cubicBezTo>
                  <a:close/>
                  <a:moveTo>
                    <a:pt x="2846" y="111"/>
                  </a:moveTo>
                  <a:cubicBezTo>
                    <a:pt x="2845" y="114"/>
                    <a:pt x="2843" y="116"/>
                    <a:pt x="2838" y="116"/>
                  </a:cubicBezTo>
                  <a:cubicBezTo>
                    <a:pt x="2839" y="113"/>
                    <a:pt x="2841" y="111"/>
                    <a:pt x="2846" y="111"/>
                  </a:cubicBezTo>
                  <a:close/>
                  <a:moveTo>
                    <a:pt x="2851" y="64"/>
                  </a:moveTo>
                  <a:cubicBezTo>
                    <a:pt x="2860" y="64"/>
                    <a:pt x="2850" y="70"/>
                    <a:pt x="2856" y="71"/>
                  </a:cubicBezTo>
                  <a:cubicBezTo>
                    <a:pt x="2853" y="78"/>
                    <a:pt x="2848" y="68"/>
                    <a:pt x="2851" y="64"/>
                  </a:cubicBezTo>
                  <a:close/>
                  <a:moveTo>
                    <a:pt x="2862" y="87"/>
                  </a:moveTo>
                  <a:cubicBezTo>
                    <a:pt x="2860" y="80"/>
                    <a:pt x="2866" y="81"/>
                    <a:pt x="2865" y="75"/>
                  </a:cubicBezTo>
                  <a:cubicBezTo>
                    <a:pt x="2868" y="75"/>
                    <a:pt x="2866" y="78"/>
                    <a:pt x="2867" y="80"/>
                  </a:cubicBezTo>
                  <a:cubicBezTo>
                    <a:pt x="2867" y="80"/>
                    <a:pt x="2873" y="84"/>
                    <a:pt x="2873" y="82"/>
                  </a:cubicBezTo>
                  <a:cubicBezTo>
                    <a:pt x="2872" y="86"/>
                    <a:pt x="2868" y="85"/>
                    <a:pt x="2862" y="87"/>
                  </a:cubicBezTo>
                  <a:close/>
                  <a:moveTo>
                    <a:pt x="2867" y="54"/>
                  </a:moveTo>
                  <a:cubicBezTo>
                    <a:pt x="2868" y="53"/>
                    <a:pt x="2871" y="54"/>
                    <a:pt x="2870" y="52"/>
                  </a:cubicBezTo>
                  <a:cubicBezTo>
                    <a:pt x="2883" y="60"/>
                    <a:pt x="2857" y="64"/>
                    <a:pt x="2867" y="54"/>
                  </a:cubicBezTo>
                  <a:close/>
                  <a:moveTo>
                    <a:pt x="2875" y="40"/>
                  </a:moveTo>
                  <a:cubicBezTo>
                    <a:pt x="2876" y="34"/>
                    <a:pt x="2879" y="29"/>
                    <a:pt x="2869" y="28"/>
                  </a:cubicBezTo>
                  <a:cubicBezTo>
                    <a:pt x="2875" y="17"/>
                    <a:pt x="2888" y="40"/>
                    <a:pt x="2875" y="40"/>
                  </a:cubicBezTo>
                  <a:close/>
                  <a:moveTo>
                    <a:pt x="2881" y="91"/>
                  </a:moveTo>
                  <a:cubicBezTo>
                    <a:pt x="2881" y="90"/>
                    <a:pt x="2881" y="88"/>
                    <a:pt x="2881" y="87"/>
                  </a:cubicBezTo>
                  <a:cubicBezTo>
                    <a:pt x="2883" y="87"/>
                    <a:pt x="2885" y="87"/>
                    <a:pt x="2887" y="87"/>
                  </a:cubicBezTo>
                  <a:cubicBezTo>
                    <a:pt x="2887" y="88"/>
                    <a:pt x="2887" y="90"/>
                    <a:pt x="2887" y="91"/>
                  </a:cubicBezTo>
                  <a:cubicBezTo>
                    <a:pt x="2885" y="91"/>
                    <a:pt x="2883" y="91"/>
                    <a:pt x="288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2" name="Freeform 20"/>
            <p:cNvSpPr>
              <a:spLocks/>
            </p:cNvSpPr>
            <p:nvPr userDrawn="1"/>
          </p:nvSpPr>
          <p:spPr bwMode="auto">
            <a:xfrm>
              <a:off x="5827" y="2112"/>
              <a:ext cx="11" cy="12"/>
            </a:xfrm>
            <a:custGeom>
              <a:avLst/>
              <a:gdLst>
                <a:gd name="T0" fmla="*/ 0 w 5"/>
                <a:gd name="T1" fmla="*/ 5 h 5"/>
                <a:gd name="T2" fmla="*/ 5 w 5"/>
                <a:gd name="T3" fmla="*/ 5 h 5"/>
                <a:gd name="T4" fmla="*/ 5 w 5"/>
                <a:gd name="T5" fmla="*/ 0 h 5"/>
                <a:gd name="T6" fmla="*/ 0 w 5"/>
                <a:gd name="T7" fmla="*/ 0 h 5"/>
                <a:gd name="T8" fmla="*/ 0 w 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cubicBezTo>
                    <a:pt x="1" y="5"/>
                    <a:pt x="3" y="5"/>
                    <a:pt x="5" y="5"/>
                  </a:cubicBezTo>
                  <a:cubicBezTo>
                    <a:pt x="5" y="3"/>
                    <a:pt x="5" y="2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2"/>
                    <a:pt x="0" y="3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3" name="Freeform 21"/>
            <p:cNvSpPr>
              <a:spLocks/>
            </p:cNvSpPr>
            <p:nvPr userDrawn="1"/>
          </p:nvSpPr>
          <p:spPr bwMode="auto">
            <a:xfrm>
              <a:off x="5373" y="2207"/>
              <a:ext cx="33" cy="47"/>
            </a:xfrm>
            <a:custGeom>
              <a:avLst/>
              <a:gdLst>
                <a:gd name="T0" fmla="*/ 11 w 14"/>
                <a:gd name="T1" fmla="*/ 1 h 20"/>
                <a:gd name="T2" fmla="*/ 12 w 14"/>
                <a:gd name="T3" fmla="*/ 20 h 20"/>
                <a:gd name="T4" fmla="*/ 11 w 14"/>
                <a:gd name="T5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0">
                  <a:moveTo>
                    <a:pt x="11" y="1"/>
                  </a:moveTo>
                  <a:cubicBezTo>
                    <a:pt x="0" y="0"/>
                    <a:pt x="6" y="19"/>
                    <a:pt x="12" y="20"/>
                  </a:cubicBezTo>
                  <a:cubicBezTo>
                    <a:pt x="14" y="10"/>
                    <a:pt x="5" y="6"/>
                    <a:pt x="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4" name="Freeform 22"/>
            <p:cNvSpPr>
              <a:spLocks/>
            </p:cNvSpPr>
            <p:nvPr userDrawn="1"/>
          </p:nvSpPr>
          <p:spPr bwMode="auto">
            <a:xfrm>
              <a:off x="6280" y="2349"/>
              <a:ext cx="12" cy="12"/>
            </a:xfrm>
            <a:custGeom>
              <a:avLst/>
              <a:gdLst>
                <a:gd name="T0" fmla="*/ 1 w 5"/>
                <a:gd name="T1" fmla="*/ 5 h 5"/>
                <a:gd name="T2" fmla="*/ 5 w 5"/>
                <a:gd name="T3" fmla="*/ 4 h 5"/>
                <a:gd name="T4" fmla="*/ 5 w 5"/>
                <a:gd name="T5" fmla="*/ 0 h 5"/>
                <a:gd name="T6" fmla="*/ 1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1" y="5"/>
                  </a:moveTo>
                  <a:cubicBezTo>
                    <a:pt x="3" y="4"/>
                    <a:pt x="4" y="4"/>
                    <a:pt x="5" y="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5" name="Freeform 23"/>
            <p:cNvSpPr>
              <a:spLocks/>
            </p:cNvSpPr>
            <p:nvPr userDrawn="1"/>
          </p:nvSpPr>
          <p:spPr bwMode="auto">
            <a:xfrm>
              <a:off x="4920" y="2209"/>
              <a:ext cx="21" cy="14"/>
            </a:xfrm>
            <a:custGeom>
              <a:avLst/>
              <a:gdLst>
                <a:gd name="T0" fmla="*/ 0 w 9"/>
                <a:gd name="T1" fmla="*/ 1 h 6"/>
                <a:gd name="T2" fmla="*/ 0 w 9"/>
                <a:gd name="T3" fmla="*/ 6 h 6"/>
                <a:gd name="T4" fmla="*/ 8 w 9"/>
                <a:gd name="T5" fmla="*/ 6 h 6"/>
                <a:gd name="T6" fmla="*/ 0 w 9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6">
                  <a:moveTo>
                    <a:pt x="0" y="1"/>
                  </a:moveTo>
                  <a:cubicBezTo>
                    <a:pt x="0" y="3"/>
                    <a:pt x="0" y="4"/>
                    <a:pt x="0" y="6"/>
                  </a:cubicBezTo>
                  <a:cubicBezTo>
                    <a:pt x="3" y="6"/>
                    <a:pt x="6" y="6"/>
                    <a:pt x="8" y="6"/>
                  </a:cubicBezTo>
                  <a:cubicBezTo>
                    <a:pt x="9" y="1"/>
                    <a:pt x="6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6" name="Freeform 24"/>
            <p:cNvSpPr>
              <a:spLocks/>
            </p:cNvSpPr>
            <p:nvPr userDrawn="1"/>
          </p:nvSpPr>
          <p:spPr bwMode="auto">
            <a:xfrm>
              <a:off x="5647" y="2205"/>
              <a:ext cx="31" cy="16"/>
            </a:xfrm>
            <a:custGeom>
              <a:avLst/>
              <a:gdLst>
                <a:gd name="T0" fmla="*/ 13 w 13"/>
                <a:gd name="T1" fmla="*/ 2 h 7"/>
                <a:gd name="T2" fmla="*/ 8 w 13"/>
                <a:gd name="T3" fmla="*/ 0 h 7"/>
                <a:gd name="T4" fmla="*/ 13 w 13"/>
                <a:gd name="T5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7">
                  <a:moveTo>
                    <a:pt x="13" y="2"/>
                  </a:moveTo>
                  <a:cubicBezTo>
                    <a:pt x="10" y="2"/>
                    <a:pt x="10" y="0"/>
                    <a:pt x="8" y="0"/>
                  </a:cubicBezTo>
                  <a:cubicBezTo>
                    <a:pt x="0" y="5"/>
                    <a:pt x="13" y="7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7" name="Freeform 25"/>
            <p:cNvSpPr>
              <a:spLocks/>
            </p:cNvSpPr>
            <p:nvPr userDrawn="1"/>
          </p:nvSpPr>
          <p:spPr bwMode="auto">
            <a:xfrm>
              <a:off x="5928" y="2372"/>
              <a:ext cx="31" cy="36"/>
            </a:xfrm>
            <a:custGeom>
              <a:avLst/>
              <a:gdLst>
                <a:gd name="T0" fmla="*/ 0 w 13"/>
                <a:gd name="T1" fmla="*/ 7 h 15"/>
                <a:gd name="T2" fmla="*/ 8 w 13"/>
                <a:gd name="T3" fmla="*/ 4 h 15"/>
                <a:gd name="T4" fmla="*/ 13 w 13"/>
                <a:gd name="T5" fmla="*/ 9 h 15"/>
                <a:gd name="T6" fmla="*/ 11 w 13"/>
                <a:gd name="T7" fmla="*/ 7 h 15"/>
                <a:gd name="T8" fmla="*/ 13 w 13"/>
                <a:gd name="T9" fmla="*/ 0 h 15"/>
                <a:gd name="T10" fmla="*/ 0 w 13"/>
                <a:gd name="T1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cubicBezTo>
                    <a:pt x="3" y="7"/>
                    <a:pt x="6" y="6"/>
                    <a:pt x="8" y="4"/>
                  </a:cubicBezTo>
                  <a:cubicBezTo>
                    <a:pt x="5" y="9"/>
                    <a:pt x="12" y="15"/>
                    <a:pt x="13" y="9"/>
                  </a:cubicBezTo>
                  <a:cubicBezTo>
                    <a:pt x="12" y="9"/>
                    <a:pt x="10" y="8"/>
                    <a:pt x="11" y="7"/>
                  </a:cubicBezTo>
                  <a:cubicBezTo>
                    <a:pt x="11" y="6"/>
                    <a:pt x="12" y="0"/>
                    <a:pt x="13" y="0"/>
                  </a:cubicBezTo>
                  <a:cubicBezTo>
                    <a:pt x="10" y="3"/>
                    <a:pt x="0" y="1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8" name="Freeform 26"/>
            <p:cNvSpPr>
              <a:spLocks/>
            </p:cNvSpPr>
            <p:nvPr userDrawn="1"/>
          </p:nvSpPr>
          <p:spPr bwMode="auto">
            <a:xfrm>
              <a:off x="5361" y="2202"/>
              <a:ext cx="19" cy="14"/>
            </a:xfrm>
            <a:custGeom>
              <a:avLst/>
              <a:gdLst>
                <a:gd name="T0" fmla="*/ 0 w 8"/>
                <a:gd name="T1" fmla="*/ 1 h 6"/>
                <a:gd name="T2" fmla="*/ 0 w 8"/>
                <a:gd name="T3" fmla="*/ 6 h 6"/>
                <a:gd name="T4" fmla="*/ 8 w 8"/>
                <a:gd name="T5" fmla="*/ 5 h 6"/>
                <a:gd name="T6" fmla="*/ 0 w 8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6">
                  <a:moveTo>
                    <a:pt x="0" y="1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2" y="5"/>
                    <a:pt x="5" y="5"/>
                    <a:pt x="8" y="5"/>
                  </a:cubicBezTo>
                  <a:cubicBezTo>
                    <a:pt x="8" y="1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9" name="Freeform 27"/>
            <p:cNvSpPr>
              <a:spLocks/>
            </p:cNvSpPr>
            <p:nvPr userDrawn="1"/>
          </p:nvSpPr>
          <p:spPr bwMode="auto">
            <a:xfrm>
              <a:off x="5990" y="2375"/>
              <a:ext cx="21" cy="33"/>
            </a:xfrm>
            <a:custGeom>
              <a:avLst/>
              <a:gdLst>
                <a:gd name="T0" fmla="*/ 4 w 9"/>
                <a:gd name="T1" fmla="*/ 1 h 14"/>
                <a:gd name="T2" fmla="*/ 1 w 9"/>
                <a:gd name="T3" fmla="*/ 10 h 14"/>
                <a:gd name="T4" fmla="*/ 4 w 9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4" y="1"/>
                  </a:moveTo>
                  <a:cubicBezTo>
                    <a:pt x="3" y="4"/>
                    <a:pt x="0" y="5"/>
                    <a:pt x="1" y="10"/>
                  </a:cubicBezTo>
                  <a:cubicBezTo>
                    <a:pt x="9" y="14"/>
                    <a:pt x="9" y="0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</p:grp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46618" y="1930400"/>
            <a:ext cx="11169649" cy="38703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buNone/>
              <a:defRPr sz="2000"/>
            </a:lvl1pPr>
            <a:lvl2pPr marL="179388" indent="-179388">
              <a:lnSpc>
                <a:spcPct val="95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000"/>
            </a:lvl2pPr>
            <a:lvl3pPr marL="358775" indent="-179388">
              <a:lnSpc>
                <a:spcPct val="95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46618" y="1440000"/>
            <a:ext cx="11169649" cy="381000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2400" b="0">
                <a:solidFill>
                  <a:schemeClr val="tx2"/>
                </a:solidFill>
                <a:latin typeface="Fungo" pitchFamily="50" charset="0"/>
              </a:defRPr>
            </a:lvl1pPr>
          </a:lstStyle>
          <a:p>
            <a:pPr lvl="0"/>
            <a:r>
              <a:rPr lang="en-US"/>
              <a:t>Sub heading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1928721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Group 5"/>
          <p:cNvGrpSpPr>
            <a:grpSpLocks noChangeAspect="1"/>
          </p:cNvGrpSpPr>
          <p:nvPr userDrawn="1"/>
        </p:nvGrpSpPr>
        <p:grpSpPr bwMode="auto">
          <a:xfrm>
            <a:off x="-12000" y="0"/>
            <a:ext cx="12216000" cy="1178432"/>
            <a:chOff x="-530" y="1723"/>
            <a:chExt cx="6834" cy="879"/>
          </a:xfrm>
          <a:solidFill>
            <a:schemeClr val="accent3"/>
          </a:solidFill>
        </p:grpSpPr>
        <p:sp>
          <p:nvSpPr>
            <p:cNvPr id="58" name="Freeform 6"/>
            <p:cNvSpPr>
              <a:spLocks/>
            </p:cNvSpPr>
            <p:nvPr userDrawn="1"/>
          </p:nvSpPr>
          <p:spPr bwMode="auto">
            <a:xfrm>
              <a:off x="4076" y="2427"/>
              <a:ext cx="45" cy="49"/>
            </a:xfrm>
            <a:custGeom>
              <a:avLst/>
              <a:gdLst>
                <a:gd name="T0" fmla="*/ 8 w 19"/>
                <a:gd name="T1" fmla="*/ 14 h 21"/>
                <a:gd name="T2" fmla="*/ 11 w 19"/>
                <a:gd name="T3" fmla="*/ 21 h 21"/>
                <a:gd name="T4" fmla="*/ 16 w 19"/>
                <a:gd name="T5" fmla="*/ 2 h 21"/>
                <a:gd name="T6" fmla="*/ 8 w 19"/>
                <a:gd name="T7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8" y="14"/>
                  </a:moveTo>
                  <a:cubicBezTo>
                    <a:pt x="9" y="17"/>
                    <a:pt x="7" y="21"/>
                    <a:pt x="11" y="21"/>
                  </a:cubicBezTo>
                  <a:cubicBezTo>
                    <a:pt x="16" y="14"/>
                    <a:pt x="19" y="12"/>
                    <a:pt x="16" y="2"/>
                  </a:cubicBezTo>
                  <a:cubicBezTo>
                    <a:pt x="0" y="0"/>
                    <a:pt x="7" y="11"/>
                    <a:pt x="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9" name="Freeform 7"/>
            <p:cNvSpPr>
              <a:spLocks/>
            </p:cNvSpPr>
            <p:nvPr userDrawn="1"/>
          </p:nvSpPr>
          <p:spPr bwMode="auto">
            <a:xfrm>
              <a:off x="5264" y="2389"/>
              <a:ext cx="22" cy="12"/>
            </a:xfrm>
            <a:custGeom>
              <a:avLst/>
              <a:gdLst>
                <a:gd name="T0" fmla="*/ 1 w 9"/>
                <a:gd name="T1" fmla="*/ 5 h 5"/>
                <a:gd name="T2" fmla="*/ 9 w 9"/>
                <a:gd name="T3" fmla="*/ 0 h 5"/>
                <a:gd name="T4" fmla="*/ 1 w 9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5">
                  <a:moveTo>
                    <a:pt x="1" y="5"/>
                  </a:moveTo>
                  <a:cubicBezTo>
                    <a:pt x="6" y="5"/>
                    <a:pt x="8" y="3"/>
                    <a:pt x="9" y="0"/>
                  </a:cubicBezTo>
                  <a:cubicBezTo>
                    <a:pt x="5" y="0"/>
                    <a:pt x="0" y="0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0" name="Freeform 8"/>
            <p:cNvSpPr>
              <a:spLocks/>
            </p:cNvSpPr>
            <p:nvPr userDrawn="1"/>
          </p:nvSpPr>
          <p:spPr bwMode="auto">
            <a:xfrm>
              <a:off x="5659" y="2375"/>
              <a:ext cx="28" cy="35"/>
            </a:xfrm>
            <a:custGeom>
              <a:avLst/>
              <a:gdLst>
                <a:gd name="T0" fmla="*/ 7 w 12"/>
                <a:gd name="T1" fmla="*/ 5 h 15"/>
                <a:gd name="T2" fmla="*/ 4 w 12"/>
                <a:gd name="T3" fmla="*/ 8 h 15"/>
                <a:gd name="T4" fmla="*/ 1 w 12"/>
                <a:gd name="T5" fmla="*/ 6 h 15"/>
                <a:gd name="T6" fmla="*/ 4 w 12"/>
                <a:gd name="T7" fmla="*/ 15 h 15"/>
                <a:gd name="T8" fmla="*/ 7 w 12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7" y="5"/>
                  </a:moveTo>
                  <a:cubicBezTo>
                    <a:pt x="7" y="7"/>
                    <a:pt x="6" y="8"/>
                    <a:pt x="4" y="8"/>
                  </a:cubicBezTo>
                  <a:cubicBezTo>
                    <a:pt x="4" y="6"/>
                    <a:pt x="4" y="5"/>
                    <a:pt x="1" y="6"/>
                  </a:cubicBezTo>
                  <a:cubicBezTo>
                    <a:pt x="2" y="9"/>
                    <a:pt x="0" y="14"/>
                    <a:pt x="4" y="15"/>
                  </a:cubicBezTo>
                  <a:cubicBezTo>
                    <a:pt x="6" y="13"/>
                    <a:pt x="12" y="0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1" name="Freeform 9"/>
            <p:cNvSpPr>
              <a:spLocks/>
            </p:cNvSpPr>
            <p:nvPr userDrawn="1"/>
          </p:nvSpPr>
          <p:spPr bwMode="auto">
            <a:xfrm>
              <a:off x="6155" y="2018"/>
              <a:ext cx="68" cy="35"/>
            </a:xfrm>
            <a:custGeom>
              <a:avLst/>
              <a:gdLst>
                <a:gd name="T0" fmla="*/ 16 w 29"/>
                <a:gd name="T1" fmla="*/ 12 h 15"/>
                <a:gd name="T2" fmla="*/ 27 w 29"/>
                <a:gd name="T3" fmla="*/ 7 h 15"/>
                <a:gd name="T4" fmla="*/ 5 w 29"/>
                <a:gd name="T5" fmla="*/ 0 h 15"/>
                <a:gd name="T6" fmla="*/ 3 w 29"/>
                <a:gd name="T7" fmla="*/ 12 h 15"/>
                <a:gd name="T8" fmla="*/ 16 w 29"/>
                <a:gd name="T9" fmla="*/ 7 h 15"/>
                <a:gd name="T10" fmla="*/ 16 w 29"/>
                <a:gd name="T11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5">
                  <a:moveTo>
                    <a:pt x="16" y="12"/>
                  </a:moveTo>
                  <a:cubicBezTo>
                    <a:pt x="21" y="15"/>
                    <a:pt x="29" y="8"/>
                    <a:pt x="27" y="7"/>
                  </a:cubicBezTo>
                  <a:cubicBezTo>
                    <a:pt x="24" y="1"/>
                    <a:pt x="11" y="3"/>
                    <a:pt x="5" y="0"/>
                  </a:cubicBezTo>
                  <a:cubicBezTo>
                    <a:pt x="6" y="6"/>
                    <a:pt x="0" y="5"/>
                    <a:pt x="3" y="12"/>
                  </a:cubicBezTo>
                  <a:cubicBezTo>
                    <a:pt x="11" y="15"/>
                    <a:pt x="10" y="8"/>
                    <a:pt x="16" y="7"/>
                  </a:cubicBezTo>
                  <a:cubicBezTo>
                    <a:pt x="16" y="7"/>
                    <a:pt x="16" y="11"/>
                    <a:pt x="1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2" name="Freeform 10"/>
            <p:cNvSpPr>
              <a:spLocks/>
            </p:cNvSpPr>
            <p:nvPr userDrawn="1"/>
          </p:nvSpPr>
          <p:spPr bwMode="auto">
            <a:xfrm>
              <a:off x="5633" y="2365"/>
              <a:ext cx="24" cy="29"/>
            </a:xfrm>
            <a:custGeom>
              <a:avLst/>
              <a:gdLst>
                <a:gd name="T0" fmla="*/ 4 w 10"/>
                <a:gd name="T1" fmla="*/ 0 h 12"/>
                <a:gd name="T2" fmla="*/ 7 w 10"/>
                <a:gd name="T3" fmla="*/ 12 h 12"/>
                <a:gd name="T4" fmla="*/ 4 w 10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4" y="0"/>
                  </a:moveTo>
                  <a:cubicBezTo>
                    <a:pt x="0" y="3"/>
                    <a:pt x="3" y="9"/>
                    <a:pt x="7" y="12"/>
                  </a:cubicBezTo>
                  <a:cubicBezTo>
                    <a:pt x="10" y="9"/>
                    <a:pt x="8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3" name="Freeform 11"/>
            <p:cNvSpPr>
              <a:spLocks/>
            </p:cNvSpPr>
            <p:nvPr userDrawn="1"/>
          </p:nvSpPr>
          <p:spPr bwMode="auto">
            <a:xfrm>
              <a:off x="4187" y="2453"/>
              <a:ext cx="33" cy="21"/>
            </a:xfrm>
            <a:custGeom>
              <a:avLst/>
              <a:gdLst>
                <a:gd name="T0" fmla="*/ 7 w 14"/>
                <a:gd name="T1" fmla="*/ 0 h 9"/>
                <a:gd name="T2" fmla="*/ 2 w 14"/>
                <a:gd name="T3" fmla="*/ 7 h 9"/>
                <a:gd name="T4" fmla="*/ 7 w 14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9">
                  <a:moveTo>
                    <a:pt x="7" y="0"/>
                  </a:moveTo>
                  <a:cubicBezTo>
                    <a:pt x="7" y="3"/>
                    <a:pt x="0" y="2"/>
                    <a:pt x="2" y="7"/>
                  </a:cubicBezTo>
                  <a:cubicBezTo>
                    <a:pt x="8" y="9"/>
                    <a:pt x="14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4" name="Freeform 12"/>
            <p:cNvSpPr>
              <a:spLocks/>
            </p:cNvSpPr>
            <p:nvPr userDrawn="1"/>
          </p:nvSpPr>
          <p:spPr bwMode="auto">
            <a:xfrm>
              <a:off x="5678" y="2379"/>
              <a:ext cx="40" cy="31"/>
            </a:xfrm>
            <a:custGeom>
              <a:avLst/>
              <a:gdLst>
                <a:gd name="T0" fmla="*/ 7 w 17"/>
                <a:gd name="T1" fmla="*/ 6 h 13"/>
                <a:gd name="T2" fmla="*/ 4 w 17"/>
                <a:gd name="T3" fmla="*/ 6 h 13"/>
                <a:gd name="T4" fmla="*/ 7 w 17"/>
                <a:gd name="T5" fmla="*/ 8 h 13"/>
                <a:gd name="T6" fmla="*/ 15 w 17"/>
                <a:gd name="T7" fmla="*/ 1 h 13"/>
                <a:gd name="T8" fmla="*/ 7 w 17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3">
                  <a:moveTo>
                    <a:pt x="7" y="6"/>
                  </a:moveTo>
                  <a:cubicBezTo>
                    <a:pt x="7" y="4"/>
                    <a:pt x="5" y="3"/>
                    <a:pt x="4" y="6"/>
                  </a:cubicBezTo>
                  <a:cubicBezTo>
                    <a:pt x="6" y="6"/>
                    <a:pt x="8" y="6"/>
                    <a:pt x="7" y="8"/>
                  </a:cubicBezTo>
                  <a:cubicBezTo>
                    <a:pt x="0" y="13"/>
                    <a:pt x="17" y="6"/>
                    <a:pt x="15" y="1"/>
                  </a:cubicBezTo>
                  <a:cubicBezTo>
                    <a:pt x="10" y="0"/>
                    <a:pt x="10" y="4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5" name="Freeform 13"/>
            <p:cNvSpPr>
              <a:spLocks/>
            </p:cNvSpPr>
            <p:nvPr userDrawn="1"/>
          </p:nvSpPr>
          <p:spPr bwMode="auto">
            <a:xfrm>
              <a:off x="6219" y="2016"/>
              <a:ext cx="73" cy="35"/>
            </a:xfrm>
            <a:custGeom>
              <a:avLst/>
              <a:gdLst>
                <a:gd name="T0" fmla="*/ 20 w 31"/>
                <a:gd name="T1" fmla="*/ 10 h 15"/>
                <a:gd name="T2" fmla="*/ 19 w 31"/>
                <a:gd name="T3" fmla="*/ 0 h 15"/>
                <a:gd name="T4" fmla="*/ 11 w 31"/>
                <a:gd name="T5" fmla="*/ 5 h 15"/>
                <a:gd name="T6" fmla="*/ 0 w 31"/>
                <a:gd name="T7" fmla="*/ 1 h 15"/>
                <a:gd name="T8" fmla="*/ 9 w 31"/>
                <a:gd name="T9" fmla="*/ 15 h 15"/>
                <a:gd name="T10" fmla="*/ 11 w 31"/>
                <a:gd name="T11" fmla="*/ 7 h 15"/>
                <a:gd name="T12" fmla="*/ 11 w 31"/>
                <a:gd name="T13" fmla="*/ 12 h 15"/>
                <a:gd name="T14" fmla="*/ 31 w 31"/>
                <a:gd name="T15" fmla="*/ 11 h 15"/>
                <a:gd name="T16" fmla="*/ 31 w 31"/>
                <a:gd name="T17" fmla="*/ 2 h 15"/>
                <a:gd name="T18" fmla="*/ 20 w 31"/>
                <a:gd name="T1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15">
                  <a:moveTo>
                    <a:pt x="20" y="10"/>
                  </a:moveTo>
                  <a:cubicBezTo>
                    <a:pt x="15" y="5"/>
                    <a:pt x="20" y="7"/>
                    <a:pt x="19" y="0"/>
                  </a:cubicBezTo>
                  <a:cubicBezTo>
                    <a:pt x="14" y="0"/>
                    <a:pt x="14" y="4"/>
                    <a:pt x="11" y="5"/>
                  </a:cubicBezTo>
                  <a:cubicBezTo>
                    <a:pt x="9" y="2"/>
                    <a:pt x="5" y="1"/>
                    <a:pt x="0" y="1"/>
                  </a:cubicBezTo>
                  <a:cubicBezTo>
                    <a:pt x="2" y="6"/>
                    <a:pt x="2" y="13"/>
                    <a:pt x="9" y="15"/>
                  </a:cubicBezTo>
                  <a:cubicBezTo>
                    <a:pt x="9" y="12"/>
                    <a:pt x="8" y="8"/>
                    <a:pt x="11" y="7"/>
                  </a:cubicBezTo>
                  <a:cubicBezTo>
                    <a:pt x="11" y="9"/>
                    <a:pt x="11" y="11"/>
                    <a:pt x="11" y="12"/>
                  </a:cubicBezTo>
                  <a:cubicBezTo>
                    <a:pt x="19" y="12"/>
                    <a:pt x="26" y="12"/>
                    <a:pt x="31" y="1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6" y="3"/>
                    <a:pt x="28" y="11"/>
                    <a:pt x="2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6" name="Freeform 14"/>
            <p:cNvSpPr>
              <a:spLocks/>
            </p:cNvSpPr>
            <p:nvPr userDrawn="1"/>
          </p:nvSpPr>
          <p:spPr bwMode="auto">
            <a:xfrm>
              <a:off x="4256" y="2441"/>
              <a:ext cx="24" cy="21"/>
            </a:xfrm>
            <a:custGeom>
              <a:avLst/>
              <a:gdLst>
                <a:gd name="T0" fmla="*/ 0 w 10"/>
                <a:gd name="T1" fmla="*/ 7 h 9"/>
                <a:gd name="T2" fmla="*/ 9 w 10"/>
                <a:gd name="T3" fmla="*/ 9 h 9"/>
                <a:gd name="T4" fmla="*/ 0 w 10"/>
                <a:gd name="T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7"/>
                  </a:moveTo>
                  <a:cubicBezTo>
                    <a:pt x="4" y="6"/>
                    <a:pt x="6" y="8"/>
                    <a:pt x="9" y="9"/>
                  </a:cubicBezTo>
                  <a:cubicBezTo>
                    <a:pt x="10" y="2"/>
                    <a:pt x="1" y="0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7" name="Freeform 15"/>
            <p:cNvSpPr>
              <a:spLocks/>
            </p:cNvSpPr>
            <p:nvPr userDrawn="1"/>
          </p:nvSpPr>
          <p:spPr bwMode="auto">
            <a:xfrm>
              <a:off x="3859" y="2455"/>
              <a:ext cx="14" cy="31"/>
            </a:xfrm>
            <a:custGeom>
              <a:avLst/>
              <a:gdLst>
                <a:gd name="T0" fmla="*/ 1 w 6"/>
                <a:gd name="T1" fmla="*/ 8 h 13"/>
                <a:gd name="T2" fmla="*/ 4 w 6"/>
                <a:gd name="T3" fmla="*/ 13 h 13"/>
                <a:gd name="T4" fmla="*/ 1 w 6"/>
                <a:gd name="T5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3">
                  <a:moveTo>
                    <a:pt x="1" y="8"/>
                  </a:moveTo>
                  <a:cubicBezTo>
                    <a:pt x="0" y="10"/>
                    <a:pt x="2" y="13"/>
                    <a:pt x="4" y="13"/>
                  </a:cubicBezTo>
                  <a:cubicBezTo>
                    <a:pt x="6" y="13"/>
                    <a:pt x="5" y="0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8" name="Freeform 16"/>
            <p:cNvSpPr>
              <a:spLocks/>
            </p:cNvSpPr>
            <p:nvPr userDrawn="1"/>
          </p:nvSpPr>
          <p:spPr bwMode="auto">
            <a:xfrm>
              <a:off x="3982" y="2455"/>
              <a:ext cx="38" cy="31"/>
            </a:xfrm>
            <a:custGeom>
              <a:avLst/>
              <a:gdLst>
                <a:gd name="T0" fmla="*/ 10 w 16"/>
                <a:gd name="T1" fmla="*/ 12 h 13"/>
                <a:gd name="T2" fmla="*/ 15 w 16"/>
                <a:gd name="T3" fmla="*/ 2 h 13"/>
                <a:gd name="T4" fmla="*/ 10 w 16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10" y="12"/>
                  </a:moveTo>
                  <a:cubicBezTo>
                    <a:pt x="11" y="12"/>
                    <a:pt x="16" y="5"/>
                    <a:pt x="15" y="2"/>
                  </a:cubicBezTo>
                  <a:cubicBezTo>
                    <a:pt x="0" y="0"/>
                    <a:pt x="4" y="13"/>
                    <a:pt x="1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9" name="Freeform 17"/>
            <p:cNvSpPr>
              <a:spLocks/>
            </p:cNvSpPr>
            <p:nvPr userDrawn="1"/>
          </p:nvSpPr>
          <p:spPr bwMode="auto">
            <a:xfrm>
              <a:off x="5872" y="2004"/>
              <a:ext cx="56" cy="54"/>
            </a:xfrm>
            <a:custGeom>
              <a:avLst/>
              <a:gdLst>
                <a:gd name="T0" fmla="*/ 18 w 24"/>
                <a:gd name="T1" fmla="*/ 13 h 23"/>
                <a:gd name="T2" fmla="*/ 24 w 24"/>
                <a:gd name="T3" fmla="*/ 15 h 23"/>
                <a:gd name="T4" fmla="*/ 18 w 24"/>
                <a:gd name="T5" fmla="*/ 8 h 23"/>
                <a:gd name="T6" fmla="*/ 16 w 24"/>
                <a:gd name="T7" fmla="*/ 10 h 23"/>
                <a:gd name="T8" fmla="*/ 2 w 24"/>
                <a:gd name="T9" fmla="*/ 1 h 23"/>
                <a:gd name="T10" fmla="*/ 5 w 24"/>
                <a:gd name="T11" fmla="*/ 8 h 23"/>
                <a:gd name="T12" fmla="*/ 5 w 24"/>
                <a:gd name="T13" fmla="*/ 15 h 23"/>
                <a:gd name="T14" fmla="*/ 10 w 24"/>
                <a:gd name="T15" fmla="*/ 20 h 23"/>
                <a:gd name="T16" fmla="*/ 18 w 24"/>
                <a:gd name="T17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3">
                  <a:moveTo>
                    <a:pt x="18" y="13"/>
                  </a:moveTo>
                  <a:cubicBezTo>
                    <a:pt x="19" y="14"/>
                    <a:pt x="21" y="15"/>
                    <a:pt x="24" y="15"/>
                  </a:cubicBezTo>
                  <a:cubicBezTo>
                    <a:pt x="24" y="12"/>
                    <a:pt x="21" y="7"/>
                    <a:pt x="18" y="8"/>
                  </a:cubicBezTo>
                  <a:cubicBezTo>
                    <a:pt x="18" y="8"/>
                    <a:pt x="18" y="12"/>
                    <a:pt x="16" y="10"/>
                  </a:cubicBezTo>
                  <a:cubicBezTo>
                    <a:pt x="13" y="9"/>
                    <a:pt x="12" y="0"/>
                    <a:pt x="2" y="1"/>
                  </a:cubicBezTo>
                  <a:cubicBezTo>
                    <a:pt x="2" y="4"/>
                    <a:pt x="3" y="6"/>
                    <a:pt x="5" y="8"/>
                  </a:cubicBezTo>
                  <a:cubicBezTo>
                    <a:pt x="4" y="11"/>
                    <a:pt x="0" y="14"/>
                    <a:pt x="5" y="15"/>
                  </a:cubicBezTo>
                  <a:cubicBezTo>
                    <a:pt x="7" y="5"/>
                    <a:pt x="16" y="16"/>
                    <a:pt x="10" y="20"/>
                  </a:cubicBezTo>
                  <a:cubicBezTo>
                    <a:pt x="20" y="23"/>
                    <a:pt x="12" y="12"/>
                    <a:pt x="1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0" name="Freeform 18"/>
            <p:cNvSpPr>
              <a:spLocks/>
            </p:cNvSpPr>
            <p:nvPr userDrawn="1"/>
          </p:nvSpPr>
          <p:spPr bwMode="auto">
            <a:xfrm>
              <a:off x="6129" y="2051"/>
              <a:ext cx="26" cy="31"/>
            </a:xfrm>
            <a:custGeom>
              <a:avLst/>
              <a:gdLst>
                <a:gd name="T0" fmla="*/ 3 w 11"/>
                <a:gd name="T1" fmla="*/ 5 h 13"/>
                <a:gd name="T2" fmla="*/ 0 w 11"/>
                <a:gd name="T3" fmla="*/ 0 h 13"/>
                <a:gd name="T4" fmla="*/ 0 w 11"/>
                <a:gd name="T5" fmla="*/ 12 h 13"/>
                <a:gd name="T6" fmla="*/ 11 w 11"/>
                <a:gd name="T7" fmla="*/ 7 h 13"/>
                <a:gd name="T8" fmla="*/ 3 w 11"/>
                <a:gd name="T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3" y="5"/>
                  </a:moveTo>
                  <a:cubicBezTo>
                    <a:pt x="2" y="3"/>
                    <a:pt x="3" y="0"/>
                    <a:pt x="0" y="0"/>
                  </a:cubicBezTo>
                  <a:cubicBezTo>
                    <a:pt x="0" y="4"/>
                    <a:pt x="0" y="8"/>
                    <a:pt x="0" y="12"/>
                  </a:cubicBezTo>
                  <a:cubicBezTo>
                    <a:pt x="6" y="13"/>
                    <a:pt x="11" y="11"/>
                    <a:pt x="11" y="7"/>
                  </a:cubicBezTo>
                  <a:cubicBezTo>
                    <a:pt x="8" y="7"/>
                    <a:pt x="3" y="8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1" name="Freeform 19"/>
            <p:cNvSpPr>
              <a:spLocks noEditPoints="1"/>
            </p:cNvSpPr>
            <p:nvPr userDrawn="1"/>
          </p:nvSpPr>
          <p:spPr bwMode="auto">
            <a:xfrm>
              <a:off x="-530" y="1723"/>
              <a:ext cx="6834" cy="879"/>
            </a:xfrm>
            <a:custGeom>
              <a:avLst/>
              <a:gdLst>
                <a:gd name="T0" fmla="*/ 389 w 2893"/>
                <a:gd name="T1" fmla="*/ 342 h 372"/>
                <a:gd name="T2" fmla="*/ 740 w 2893"/>
                <a:gd name="T3" fmla="*/ 359 h 372"/>
                <a:gd name="T4" fmla="*/ 1103 w 2893"/>
                <a:gd name="T5" fmla="*/ 367 h 372"/>
                <a:gd name="T6" fmla="*/ 1426 w 2893"/>
                <a:gd name="T7" fmla="*/ 356 h 372"/>
                <a:gd name="T8" fmla="*/ 1695 w 2893"/>
                <a:gd name="T9" fmla="*/ 331 h 372"/>
                <a:gd name="T10" fmla="*/ 1895 w 2893"/>
                <a:gd name="T11" fmla="*/ 320 h 372"/>
                <a:gd name="T12" fmla="*/ 2114 w 2893"/>
                <a:gd name="T13" fmla="*/ 302 h 372"/>
                <a:gd name="T14" fmla="*/ 2309 w 2893"/>
                <a:gd name="T15" fmla="*/ 287 h 372"/>
                <a:gd name="T16" fmla="*/ 2459 w 2893"/>
                <a:gd name="T17" fmla="*/ 275 h 372"/>
                <a:gd name="T18" fmla="*/ 2597 w 2893"/>
                <a:gd name="T19" fmla="*/ 289 h 372"/>
                <a:gd name="T20" fmla="*/ 2723 w 2893"/>
                <a:gd name="T21" fmla="*/ 280 h 372"/>
                <a:gd name="T22" fmla="*/ 2838 w 2893"/>
                <a:gd name="T23" fmla="*/ 287 h 372"/>
                <a:gd name="T24" fmla="*/ 2866 w 2893"/>
                <a:gd name="T25" fmla="*/ 183 h 372"/>
                <a:gd name="T26" fmla="*/ 2808 w 2893"/>
                <a:gd name="T27" fmla="*/ 147 h 372"/>
                <a:gd name="T28" fmla="*/ 2631 w 2893"/>
                <a:gd name="T29" fmla="*/ 218 h 372"/>
                <a:gd name="T30" fmla="*/ 2665 w 2893"/>
                <a:gd name="T31" fmla="*/ 112 h 372"/>
                <a:gd name="T32" fmla="*/ 2857 w 2893"/>
                <a:gd name="T33" fmla="*/ 113 h 372"/>
                <a:gd name="T34" fmla="*/ 485 w 2893"/>
                <a:gd name="T35" fmla="*/ 201 h 372"/>
                <a:gd name="T36" fmla="*/ 777 w 2893"/>
                <a:gd name="T37" fmla="*/ 267 h 372"/>
                <a:gd name="T38" fmla="*/ 1016 w 2893"/>
                <a:gd name="T39" fmla="*/ 272 h 372"/>
                <a:gd name="T40" fmla="*/ 1266 w 2893"/>
                <a:gd name="T41" fmla="*/ 265 h 372"/>
                <a:gd name="T42" fmla="*/ 1356 w 2893"/>
                <a:gd name="T43" fmla="*/ 252 h 372"/>
                <a:gd name="T44" fmla="*/ 1456 w 2893"/>
                <a:gd name="T45" fmla="*/ 330 h 372"/>
                <a:gd name="T46" fmla="*/ 1548 w 2893"/>
                <a:gd name="T47" fmla="*/ 241 h 372"/>
                <a:gd name="T48" fmla="*/ 1656 w 2893"/>
                <a:gd name="T49" fmla="*/ 331 h 372"/>
                <a:gd name="T50" fmla="*/ 1709 w 2893"/>
                <a:gd name="T51" fmla="*/ 232 h 372"/>
                <a:gd name="T52" fmla="*/ 1779 w 2893"/>
                <a:gd name="T53" fmla="*/ 259 h 372"/>
                <a:gd name="T54" fmla="*/ 1829 w 2893"/>
                <a:gd name="T55" fmla="*/ 147 h 372"/>
                <a:gd name="T56" fmla="*/ 1920 w 2893"/>
                <a:gd name="T57" fmla="*/ 193 h 372"/>
                <a:gd name="T58" fmla="*/ 1900 w 2893"/>
                <a:gd name="T59" fmla="*/ 151 h 372"/>
                <a:gd name="T60" fmla="*/ 1948 w 2893"/>
                <a:gd name="T61" fmla="*/ 220 h 372"/>
                <a:gd name="T62" fmla="*/ 2044 w 2893"/>
                <a:gd name="T63" fmla="*/ 214 h 372"/>
                <a:gd name="T64" fmla="*/ 2069 w 2893"/>
                <a:gd name="T65" fmla="*/ 218 h 372"/>
                <a:gd name="T66" fmla="*/ 2172 w 2893"/>
                <a:gd name="T67" fmla="*/ 167 h 372"/>
                <a:gd name="T68" fmla="*/ 2111 w 2893"/>
                <a:gd name="T69" fmla="*/ 107 h 372"/>
                <a:gd name="T70" fmla="*/ 2115 w 2893"/>
                <a:gd name="T71" fmla="*/ 217 h 372"/>
                <a:gd name="T72" fmla="*/ 2157 w 2893"/>
                <a:gd name="T73" fmla="*/ 236 h 372"/>
                <a:gd name="T74" fmla="*/ 2191 w 2893"/>
                <a:gd name="T75" fmla="*/ 148 h 372"/>
                <a:gd name="T76" fmla="*/ 2262 w 2893"/>
                <a:gd name="T77" fmla="*/ 135 h 372"/>
                <a:gd name="T78" fmla="*/ 2862 w 2893"/>
                <a:gd name="T79" fmla="*/ 247 h 372"/>
                <a:gd name="T80" fmla="*/ 2740 w 2893"/>
                <a:gd name="T81" fmla="*/ 190 h 372"/>
                <a:gd name="T82" fmla="*/ 2824 w 2893"/>
                <a:gd name="T83" fmla="*/ 259 h 372"/>
                <a:gd name="T84" fmla="*/ 2831 w 2893"/>
                <a:gd name="T85" fmla="*/ 198 h 372"/>
                <a:gd name="T86" fmla="*/ 2792 w 2893"/>
                <a:gd name="T87" fmla="*/ 177 h 372"/>
                <a:gd name="T88" fmla="*/ 2732 w 2893"/>
                <a:gd name="T89" fmla="*/ 181 h 372"/>
                <a:gd name="T90" fmla="*/ 2702 w 2893"/>
                <a:gd name="T91" fmla="*/ 207 h 372"/>
                <a:gd name="T92" fmla="*/ 2674 w 2893"/>
                <a:gd name="T93" fmla="*/ 8 h 372"/>
                <a:gd name="T94" fmla="*/ 2563 w 2893"/>
                <a:gd name="T95" fmla="*/ 116 h 372"/>
                <a:gd name="T96" fmla="*/ 2514 w 2893"/>
                <a:gd name="T97" fmla="*/ 121 h 372"/>
                <a:gd name="T98" fmla="*/ 2453 w 2893"/>
                <a:gd name="T99" fmla="*/ 101 h 372"/>
                <a:gd name="T100" fmla="*/ 2349 w 2893"/>
                <a:gd name="T101" fmla="*/ 103 h 372"/>
                <a:gd name="T102" fmla="*/ 2298 w 2893"/>
                <a:gd name="T103" fmla="*/ 139 h 372"/>
                <a:gd name="T104" fmla="*/ 2305 w 2893"/>
                <a:gd name="T105" fmla="*/ 231 h 372"/>
                <a:gd name="T106" fmla="*/ 2365 w 2893"/>
                <a:gd name="T107" fmla="*/ 211 h 372"/>
                <a:gd name="T108" fmla="*/ 2456 w 2893"/>
                <a:gd name="T109" fmla="*/ 256 h 372"/>
                <a:gd name="T110" fmla="*/ 2497 w 2893"/>
                <a:gd name="T111" fmla="*/ 213 h 372"/>
                <a:gd name="T112" fmla="*/ 2543 w 2893"/>
                <a:gd name="T113" fmla="*/ 219 h 372"/>
                <a:gd name="T114" fmla="*/ 2582 w 2893"/>
                <a:gd name="T115" fmla="*/ 230 h 372"/>
                <a:gd name="T116" fmla="*/ 2599 w 2893"/>
                <a:gd name="T117" fmla="*/ 258 h 372"/>
                <a:gd name="T118" fmla="*/ 2671 w 2893"/>
                <a:gd name="T119" fmla="*/ 156 h 372"/>
                <a:gd name="T120" fmla="*/ 2638 w 2893"/>
                <a:gd name="T121" fmla="*/ 133 h 372"/>
                <a:gd name="T122" fmla="*/ 2741 w 2893"/>
                <a:gd name="T123" fmla="*/ 87 h 372"/>
                <a:gd name="T124" fmla="*/ 2808 w 2893"/>
                <a:gd name="T125" fmla="*/ 12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93" h="372">
                  <a:moveTo>
                    <a:pt x="288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1"/>
                    <a:pt x="1" y="320"/>
                    <a:pt x="2" y="320"/>
                  </a:cubicBezTo>
                  <a:cubicBezTo>
                    <a:pt x="1" y="331"/>
                    <a:pt x="12" y="320"/>
                    <a:pt x="15" y="320"/>
                  </a:cubicBezTo>
                  <a:cubicBezTo>
                    <a:pt x="16" y="328"/>
                    <a:pt x="25" y="329"/>
                    <a:pt x="35" y="329"/>
                  </a:cubicBezTo>
                  <a:cubicBezTo>
                    <a:pt x="35" y="327"/>
                    <a:pt x="35" y="324"/>
                    <a:pt x="37" y="324"/>
                  </a:cubicBezTo>
                  <a:cubicBezTo>
                    <a:pt x="39" y="331"/>
                    <a:pt x="43" y="322"/>
                    <a:pt x="48" y="324"/>
                  </a:cubicBezTo>
                  <a:cubicBezTo>
                    <a:pt x="50" y="329"/>
                    <a:pt x="56" y="325"/>
                    <a:pt x="62" y="326"/>
                  </a:cubicBezTo>
                  <a:cubicBezTo>
                    <a:pt x="70" y="328"/>
                    <a:pt x="66" y="332"/>
                    <a:pt x="70" y="328"/>
                  </a:cubicBezTo>
                  <a:cubicBezTo>
                    <a:pt x="77" y="323"/>
                    <a:pt x="90" y="333"/>
                    <a:pt x="87" y="333"/>
                  </a:cubicBezTo>
                  <a:cubicBezTo>
                    <a:pt x="102" y="336"/>
                    <a:pt x="117" y="327"/>
                    <a:pt x="136" y="330"/>
                  </a:cubicBezTo>
                  <a:cubicBezTo>
                    <a:pt x="139" y="338"/>
                    <a:pt x="156" y="332"/>
                    <a:pt x="167" y="334"/>
                  </a:cubicBezTo>
                  <a:cubicBezTo>
                    <a:pt x="170" y="334"/>
                    <a:pt x="170" y="336"/>
                    <a:pt x="175" y="336"/>
                  </a:cubicBezTo>
                  <a:cubicBezTo>
                    <a:pt x="178" y="336"/>
                    <a:pt x="179" y="334"/>
                    <a:pt x="183" y="333"/>
                  </a:cubicBezTo>
                  <a:cubicBezTo>
                    <a:pt x="190" y="333"/>
                    <a:pt x="194" y="335"/>
                    <a:pt x="200" y="336"/>
                  </a:cubicBezTo>
                  <a:cubicBezTo>
                    <a:pt x="202" y="332"/>
                    <a:pt x="204" y="328"/>
                    <a:pt x="210" y="328"/>
                  </a:cubicBezTo>
                  <a:cubicBezTo>
                    <a:pt x="211" y="331"/>
                    <a:pt x="210" y="335"/>
                    <a:pt x="213" y="335"/>
                  </a:cubicBezTo>
                  <a:cubicBezTo>
                    <a:pt x="216" y="328"/>
                    <a:pt x="221" y="337"/>
                    <a:pt x="222" y="337"/>
                  </a:cubicBezTo>
                  <a:cubicBezTo>
                    <a:pt x="225" y="339"/>
                    <a:pt x="233" y="339"/>
                    <a:pt x="238" y="340"/>
                  </a:cubicBezTo>
                  <a:cubicBezTo>
                    <a:pt x="246" y="340"/>
                    <a:pt x="240" y="332"/>
                    <a:pt x="246" y="337"/>
                  </a:cubicBezTo>
                  <a:cubicBezTo>
                    <a:pt x="248" y="338"/>
                    <a:pt x="255" y="336"/>
                    <a:pt x="257" y="337"/>
                  </a:cubicBezTo>
                  <a:cubicBezTo>
                    <a:pt x="259" y="338"/>
                    <a:pt x="260" y="343"/>
                    <a:pt x="266" y="341"/>
                  </a:cubicBezTo>
                  <a:cubicBezTo>
                    <a:pt x="275" y="336"/>
                    <a:pt x="294" y="346"/>
                    <a:pt x="307" y="341"/>
                  </a:cubicBezTo>
                  <a:cubicBezTo>
                    <a:pt x="309" y="340"/>
                    <a:pt x="309" y="334"/>
                    <a:pt x="312" y="334"/>
                  </a:cubicBezTo>
                  <a:cubicBezTo>
                    <a:pt x="312" y="335"/>
                    <a:pt x="312" y="337"/>
                    <a:pt x="312" y="338"/>
                  </a:cubicBezTo>
                  <a:cubicBezTo>
                    <a:pt x="315" y="339"/>
                    <a:pt x="321" y="337"/>
                    <a:pt x="323" y="338"/>
                  </a:cubicBezTo>
                  <a:cubicBezTo>
                    <a:pt x="323" y="338"/>
                    <a:pt x="323" y="340"/>
                    <a:pt x="323" y="340"/>
                  </a:cubicBezTo>
                  <a:cubicBezTo>
                    <a:pt x="327" y="341"/>
                    <a:pt x="334" y="339"/>
                    <a:pt x="340" y="340"/>
                  </a:cubicBezTo>
                  <a:cubicBezTo>
                    <a:pt x="342" y="341"/>
                    <a:pt x="343" y="342"/>
                    <a:pt x="345" y="342"/>
                  </a:cubicBezTo>
                  <a:cubicBezTo>
                    <a:pt x="345" y="342"/>
                    <a:pt x="345" y="340"/>
                    <a:pt x="348" y="340"/>
                  </a:cubicBezTo>
                  <a:cubicBezTo>
                    <a:pt x="349" y="340"/>
                    <a:pt x="347" y="343"/>
                    <a:pt x="351" y="342"/>
                  </a:cubicBezTo>
                  <a:cubicBezTo>
                    <a:pt x="352" y="342"/>
                    <a:pt x="354" y="338"/>
                    <a:pt x="356" y="338"/>
                  </a:cubicBezTo>
                  <a:cubicBezTo>
                    <a:pt x="355" y="338"/>
                    <a:pt x="360" y="341"/>
                    <a:pt x="361" y="337"/>
                  </a:cubicBezTo>
                  <a:cubicBezTo>
                    <a:pt x="361" y="339"/>
                    <a:pt x="361" y="341"/>
                    <a:pt x="362" y="342"/>
                  </a:cubicBezTo>
                  <a:cubicBezTo>
                    <a:pt x="370" y="341"/>
                    <a:pt x="374" y="337"/>
                    <a:pt x="381" y="335"/>
                  </a:cubicBezTo>
                  <a:cubicBezTo>
                    <a:pt x="381" y="341"/>
                    <a:pt x="376" y="340"/>
                    <a:pt x="381" y="344"/>
                  </a:cubicBezTo>
                  <a:cubicBezTo>
                    <a:pt x="387" y="347"/>
                    <a:pt x="389" y="333"/>
                    <a:pt x="389" y="342"/>
                  </a:cubicBezTo>
                  <a:cubicBezTo>
                    <a:pt x="389" y="345"/>
                    <a:pt x="400" y="345"/>
                    <a:pt x="403" y="346"/>
                  </a:cubicBezTo>
                  <a:cubicBezTo>
                    <a:pt x="403" y="344"/>
                    <a:pt x="403" y="341"/>
                    <a:pt x="405" y="341"/>
                  </a:cubicBezTo>
                  <a:cubicBezTo>
                    <a:pt x="405" y="345"/>
                    <a:pt x="407" y="346"/>
                    <a:pt x="408" y="348"/>
                  </a:cubicBezTo>
                  <a:cubicBezTo>
                    <a:pt x="423" y="348"/>
                    <a:pt x="437" y="348"/>
                    <a:pt x="452" y="348"/>
                  </a:cubicBezTo>
                  <a:cubicBezTo>
                    <a:pt x="453" y="346"/>
                    <a:pt x="452" y="343"/>
                    <a:pt x="455" y="343"/>
                  </a:cubicBezTo>
                  <a:cubicBezTo>
                    <a:pt x="453" y="352"/>
                    <a:pt x="461" y="345"/>
                    <a:pt x="463" y="345"/>
                  </a:cubicBezTo>
                  <a:cubicBezTo>
                    <a:pt x="465" y="345"/>
                    <a:pt x="466" y="349"/>
                    <a:pt x="469" y="350"/>
                  </a:cubicBezTo>
                  <a:cubicBezTo>
                    <a:pt x="469" y="350"/>
                    <a:pt x="471" y="345"/>
                    <a:pt x="474" y="347"/>
                  </a:cubicBezTo>
                  <a:cubicBezTo>
                    <a:pt x="475" y="351"/>
                    <a:pt x="481" y="349"/>
                    <a:pt x="485" y="349"/>
                  </a:cubicBezTo>
                  <a:cubicBezTo>
                    <a:pt x="485" y="345"/>
                    <a:pt x="487" y="341"/>
                    <a:pt x="490" y="340"/>
                  </a:cubicBezTo>
                  <a:cubicBezTo>
                    <a:pt x="491" y="343"/>
                    <a:pt x="490" y="349"/>
                    <a:pt x="493" y="349"/>
                  </a:cubicBezTo>
                  <a:cubicBezTo>
                    <a:pt x="494" y="345"/>
                    <a:pt x="503" y="348"/>
                    <a:pt x="504" y="344"/>
                  </a:cubicBezTo>
                  <a:cubicBezTo>
                    <a:pt x="506" y="341"/>
                    <a:pt x="501" y="332"/>
                    <a:pt x="507" y="332"/>
                  </a:cubicBezTo>
                  <a:cubicBezTo>
                    <a:pt x="506" y="340"/>
                    <a:pt x="512" y="341"/>
                    <a:pt x="510" y="349"/>
                  </a:cubicBezTo>
                  <a:cubicBezTo>
                    <a:pt x="515" y="350"/>
                    <a:pt x="515" y="346"/>
                    <a:pt x="518" y="344"/>
                  </a:cubicBezTo>
                  <a:cubicBezTo>
                    <a:pt x="518" y="356"/>
                    <a:pt x="541" y="354"/>
                    <a:pt x="551" y="351"/>
                  </a:cubicBezTo>
                  <a:cubicBezTo>
                    <a:pt x="552" y="346"/>
                    <a:pt x="547" y="345"/>
                    <a:pt x="551" y="343"/>
                  </a:cubicBezTo>
                  <a:cubicBezTo>
                    <a:pt x="555" y="344"/>
                    <a:pt x="553" y="349"/>
                    <a:pt x="554" y="353"/>
                  </a:cubicBezTo>
                  <a:cubicBezTo>
                    <a:pt x="563" y="352"/>
                    <a:pt x="578" y="356"/>
                    <a:pt x="578" y="348"/>
                  </a:cubicBezTo>
                  <a:cubicBezTo>
                    <a:pt x="576" y="347"/>
                    <a:pt x="573" y="348"/>
                    <a:pt x="573" y="345"/>
                  </a:cubicBezTo>
                  <a:cubicBezTo>
                    <a:pt x="575" y="346"/>
                    <a:pt x="577" y="345"/>
                    <a:pt x="578" y="345"/>
                  </a:cubicBezTo>
                  <a:cubicBezTo>
                    <a:pt x="582" y="346"/>
                    <a:pt x="579" y="348"/>
                    <a:pt x="581" y="350"/>
                  </a:cubicBezTo>
                  <a:cubicBezTo>
                    <a:pt x="583" y="351"/>
                    <a:pt x="587" y="349"/>
                    <a:pt x="587" y="352"/>
                  </a:cubicBezTo>
                  <a:cubicBezTo>
                    <a:pt x="601" y="349"/>
                    <a:pt x="614" y="358"/>
                    <a:pt x="622" y="352"/>
                  </a:cubicBezTo>
                  <a:cubicBezTo>
                    <a:pt x="619" y="351"/>
                    <a:pt x="616" y="348"/>
                    <a:pt x="620" y="347"/>
                  </a:cubicBezTo>
                  <a:cubicBezTo>
                    <a:pt x="623" y="348"/>
                    <a:pt x="625" y="350"/>
                    <a:pt x="625" y="354"/>
                  </a:cubicBezTo>
                  <a:cubicBezTo>
                    <a:pt x="630" y="356"/>
                    <a:pt x="634" y="351"/>
                    <a:pt x="636" y="351"/>
                  </a:cubicBezTo>
                  <a:cubicBezTo>
                    <a:pt x="636" y="351"/>
                    <a:pt x="638" y="356"/>
                    <a:pt x="639" y="356"/>
                  </a:cubicBezTo>
                  <a:cubicBezTo>
                    <a:pt x="641" y="357"/>
                    <a:pt x="645" y="356"/>
                    <a:pt x="647" y="356"/>
                  </a:cubicBezTo>
                  <a:cubicBezTo>
                    <a:pt x="649" y="356"/>
                    <a:pt x="649" y="358"/>
                    <a:pt x="650" y="358"/>
                  </a:cubicBezTo>
                  <a:cubicBezTo>
                    <a:pt x="656" y="359"/>
                    <a:pt x="655" y="355"/>
                    <a:pt x="658" y="358"/>
                  </a:cubicBezTo>
                  <a:cubicBezTo>
                    <a:pt x="659" y="359"/>
                    <a:pt x="663" y="358"/>
                    <a:pt x="664" y="358"/>
                  </a:cubicBezTo>
                  <a:cubicBezTo>
                    <a:pt x="673" y="359"/>
                    <a:pt x="674" y="359"/>
                    <a:pt x="680" y="360"/>
                  </a:cubicBezTo>
                  <a:cubicBezTo>
                    <a:pt x="690" y="350"/>
                    <a:pt x="712" y="364"/>
                    <a:pt x="721" y="355"/>
                  </a:cubicBezTo>
                  <a:cubicBezTo>
                    <a:pt x="720" y="356"/>
                    <a:pt x="716" y="350"/>
                    <a:pt x="721" y="350"/>
                  </a:cubicBezTo>
                  <a:cubicBezTo>
                    <a:pt x="724" y="355"/>
                    <a:pt x="726" y="361"/>
                    <a:pt x="738" y="359"/>
                  </a:cubicBezTo>
                  <a:cubicBezTo>
                    <a:pt x="741" y="353"/>
                    <a:pt x="727" y="352"/>
                    <a:pt x="735" y="350"/>
                  </a:cubicBezTo>
                  <a:cubicBezTo>
                    <a:pt x="740" y="350"/>
                    <a:pt x="741" y="354"/>
                    <a:pt x="740" y="359"/>
                  </a:cubicBezTo>
                  <a:cubicBezTo>
                    <a:pt x="750" y="362"/>
                    <a:pt x="742" y="351"/>
                    <a:pt x="749" y="352"/>
                  </a:cubicBezTo>
                  <a:cubicBezTo>
                    <a:pt x="749" y="356"/>
                    <a:pt x="756" y="355"/>
                    <a:pt x="754" y="361"/>
                  </a:cubicBezTo>
                  <a:cubicBezTo>
                    <a:pt x="785" y="357"/>
                    <a:pt x="804" y="370"/>
                    <a:pt x="820" y="360"/>
                  </a:cubicBezTo>
                  <a:cubicBezTo>
                    <a:pt x="821" y="363"/>
                    <a:pt x="826" y="363"/>
                    <a:pt x="828" y="364"/>
                  </a:cubicBezTo>
                  <a:cubicBezTo>
                    <a:pt x="833" y="360"/>
                    <a:pt x="828" y="362"/>
                    <a:pt x="828" y="355"/>
                  </a:cubicBezTo>
                  <a:cubicBezTo>
                    <a:pt x="837" y="363"/>
                    <a:pt x="829" y="348"/>
                    <a:pt x="839" y="350"/>
                  </a:cubicBezTo>
                  <a:cubicBezTo>
                    <a:pt x="838" y="356"/>
                    <a:pt x="834" y="360"/>
                    <a:pt x="839" y="364"/>
                  </a:cubicBezTo>
                  <a:cubicBezTo>
                    <a:pt x="851" y="363"/>
                    <a:pt x="864" y="362"/>
                    <a:pt x="875" y="364"/>
                  </a:cubicBezTo>
                  <a:cubicBezTo>
                    <a:pt x="873" y="357"/>
                    <a:pt x="881" y="359"/>
                    <a:pt x="883" y="356"/>
                  </a:cubicBezTo>
                  <a:cubicBezTo>
                    <a:pt x="884" y="362"/>
                    <a:pt x="887" y="366"/>
                    <a:pt x="894" y="366"/>
                  </a:cubicBezTo>
                  <a:cubicBezTo>
                    <a:pt x="894" y="365"/>
                    <a:pt x="895" y="360"/>
                    <a:pt x="897" y="361"/>
                  </a:cubicBezTo>
                  <a:cubicBezTo>
                    <a:pt x="898" y="361"/>
                    <a:pt x="896" y="365"/>
                    <a:pt x="897" y="366"/>
                  </a:cubicBezTo>
                  <a:cubicBezTo>
                    <a:pt x="900" y="367"/>
                    <a:pt x="905" y="364"/>
                    <a:pt x="908" y="365"/>
                  </a:cubicBezTo>
                  <a:cubicBezTo>
                    <a:pt x="908" y="366"/>
                    <a:pt x="908" y="368"/>
                    <a:pt x="908" y="368"/>
                  </a:cubicBezTo>
                  <a:cubicBezTo>
                    <a:pt x="915" y="368"/>
                    <a:pt x="927" y="366"/>
                    <a:pt x="935" y="367"/>
                  </a:cubicBezTo>
                  <a:cubicBezTo>
                    <a:pt x="939" y="368"/>
                    <a:pt x="939" y="370"/>
                    <a:pt x="941" y="367"/>
                  </a:cubicBezTo>
                  <a:cubicBezTo>
                    <a:pt x="943" y="365"/>
                    <a:pt x="958" y="367"/>
                    <a:pt x="960" y="367"/>
                  </a:cubicBezTo>
                  <a:cubicBezTo>
                    <a:pt x="964" y="366"/>
                    <a:pt x="963" y="364"/>
                    <a:pt x="966" y="367"/>
                  </a:cubicBezTo>
                  <a:cubicBezTo>
                    <a:pt x="968" y="370"/>
                    <a:pt x="980" y="364"/>
                    <a:pt x="982" y="367"/>
                  </a:cubicBezTo>
                  <a:cubicBezTo>
                    <a:pt x="986" y="361"/>
                    <a:pt x="975" y="358"/>
                    <a:pt x="982" y="357"/>
                  </a:cubicBezTo>
                  <a:cubicBezTo>
                    <a:pt x="988" y="362"/>
                    <a:pt x="987" y="365"/>
                    <a:pt x="990" y="366"/>
                  </a:cubicBezTo>
                  <a:cubicBezTo>
                    <a:pt x="988" y="365"/>
                    <a:pt x="995" y="358"/>
                    <a:pt x="993" y="366"/>
                  </a:cubicBezTo>
                  <a:cubicBezTo>
                    <a:pt x="1002" y="368"/>
                    <a:pt x="1002" y="363"/>
                    <a:pt x="1007" y="361"/>
                  </a:cubicBezTo>
                  <a:cubicBezTo>
                    <a:pt x="1006" y="361"/>
                    <a:pt x="1009" y="364"/>
                    <a:pt x="1011" y="362"/>
                  </a:cubicBezTo>
                  <a:cubicBezTo>
                    <a:pt x="1008" y="367"/>
                    <a:pt x="1012" y="366"/>
                    <a:pt x="1018" y="366"/>
                  </a:cubicBezTo>
                  <a:cubicBezTo>
                    <a:pt x="1020" y="366"/>
                    <a:pt x="1020" y="368"/>
                    <a:pt x="1020" y="368"/>
                  </a:cubicBezTo>
                  <a:cubicBezTo>
                    <a:pt x="1028" y="369"/>
                    <a:pt x="1040" y="368"/>
                    <a:pt x="1042" y="365"/>
                  </a:cubicBezTo>
                  <a:cubicBezTo>
                    <a:pt x="1042" y="368"/>
                    <a:pt x="1044" y="367"/>
                    <a:pt x="1045" y="368"/>
                  </a:cubicBezTo>
                  <a:cubicBezTo>
                    <a:pt x="1045" y="368"/>
                    <a:pt x="1049" y="370"/>
                    <a:pt x="1048" y="370"/>
                  </a:cubicBezTo>
                  <a:cubicBezTo>
                    <a:pt x="1058" y="372"/>
                    <a:pt x="1076" y="367"/>
                    <a:pt x="1078" y="367"/>
                  </a:cubicBezTo>
                  <a:cubicBezTo>
                    <a:pt x="1081" y="367"/>
                    <a:pt x="1082" y="369"/>
                    <a:pt x="1086" y="369"/>
                  </a:cubicBezTo>
                  <a:cubicBezTo>
                    <a:pt x="1087" y="369"/>
                    <a:pt x="1086" y="367"/>
                    <a:pt x="1089" y="367"/>
                  </a:cubicBezTo>
                  <a:cubicBezTo>
                    <a:pt x="1090" y="367"/>
                    <a:pt x="1089" y="370"/>
                    <a:pt x="1092" y="369"/>
                  </a:cubicBezTo>
                  <a:cubicBezTo>
                    <a:pt x="1091" y="369"/>
                    <a:pt x="1094" y="367"/>
                    <a:pt x="1095" y="367"/>
                  </a:cubicBezTo>
                  <a:cubicBezTo>
                    <a:pt x="1097" y="366"/>
                    <a:pt x="1099" y="365"/>
                    <a:pt x="1100" y="362"/>
                  </a:cubicBezTo>
                  <a:cubicBezTo>
                    <a:pt x="1097" y="362"/>
                    <a:pt x="1096" y="360"/>
                    <a:pt x="1094" y="357"/>
                  </a:cubicBezTo>
                  <a:cubicBezTo>
                    <a:pt x="1098" y="357"/>
                    <a:pt x="1100" y="356"/>
                    <a:pt x="1103" y="355"/>
                  </a:cubicBezTo>
                  <a:cubicBezTo>
                    <a:pt x="1105" y="362"/>
                    <a:pt x="1105" y="359"/>
                    <a:pt x="1103" y="367"/>
                  </a:cubicBezTo>
                  <a:cubicBezTo>
                    <a:pt x="1112" y="371"/>
                    <a:pt x="1115" y="365"/>
                    <a:pt x="1127" y="366"/>
                  </a:cubicBezTo>
                  <a:cubicBezTo>
                    <a:pt x="1131" y="365"/>
                    <a:pt x="1128" y="357"/>
                    <a:pt x="1133" y="357"/>
                  </a:cubicBezTo>
                  <a:cubicBezTo>
                    <a:pt x="1132" y="364"/>
                    <a:pt x="1133" y="370"/>
                    <a:pt x="1141" y="368"/>
                  </a:cubicBezTo>
                  <a:cubicBezTo>
                    <a:pt x="1143" y="364"/>
                    <a:pt x="1133" y="359"/>
                    <a:pt x="1141" y="357"/>
                  </a:cubicBezTo>
                  <a:cubicBezTo>
                    <a:pt x="1145" y="359"/>
                    <a:pt x="1144" y="366"/>
                    <a:pt x="1152" y="366"/>
                  </a:cubicBezTo>
                  <a:cubicBezTo>
                    <a:pt x="1152" y="363"/>
                    <a:pt x="1153" y="360"/>
                    <a:pt x="1158" y="361"/>
                  </a:cubicBezTo>
                  <a:cubicBezTo>
                    <a:pt x="1158" y="357"/>
                    <a:pt x="1157" y="353"/>
                    <a:pt x="1163" y="354"/>
                  </a:cubicBezTo>
                  <a:cubicBezTo>
                    <a:pt x="1167" y="363"/>
                    <a:pt x="1155" y="359"/>
                    <a:pt x="1158" y="366"/>
                  </a:cubicBezTo>
                  <a:cubicBezTo>
                    <a:pt x="1172" y="369"/>
                    <a:pt x="1165" y="355"/>
                    <a:pt x="1174" y="354"/>
                  </a:cubicBezTo>
                  <a:cubicBezTo>
                    <a:pt x="1182" y="360"/>
                    <a:pt x="1176" y="360"/>
                    <a:pt x="1174" y="368"/>
                  </a:cubicBezTo>
                  <a:cubicBezTo>
                    <a:pt x="1185" y="370"/>
                    <a:pt x="1191" y="370"/>
                    <a:pt x="1199" y="365"/>
                  </a:cubicBezTo>
                  <a:cubicBezTo>
                    <a:pt x="1202" y="369"/>
                    <a:pt x="1216" y="362"/>
                    <a:pt x="1221" y="367"/>
                  </a:cubicBezTo>
                  <a:cubicBezTo>
                    <a:pt x="1221" y="365"/>
                    <a:pt x="1221" y="362"/>
                    <a:pt x="1223" y="362"/>
                  </a:cubicBezTo>
                  <a:cubicBezTo>
                    <a:pt x="1223" y="364"/>
                    <a:pt x="1223" y="365"/>
                    <a:pt x="1223" y="367"/>
                  </a:cubicBezTo>
                  <a:cubicBezTo>
                    <a:pt x="1233" y="362"/>
                    <a:pt x="1233" y="372"/>
                    <a:pt x="1240" y="367"/>
                  </a:cubicBezTo>
                  <a:cubicBezTo>
                    <a:pt x="1240" y="363"/>
                    <a:pt x="1239" y="359"/>
                    <a:pt x="1237" y="357"/>
                  </a:cubicBezTo>
                  <a:cubicBezTo>
                    <a:pt x="1242" y="358"/>
                    <a:pt x="1243" y="355"/>
                    <a:pt x="1248" y="355"/>
                  </a:cubicBezTo>
                  <a:cubicBezTo>
                    <a:pt x="1247" y="358"/>
                    <a:pt x="1244" y="359"/>
                    <a:pt x="1243" y="362"/>
                  </a:cubicBezTo>
                  <a:cubicBezTo>
                    <a:pt x="1252" y="364"/>
                    <a:pt x="1246" y="352"/>
                    <a:pt x="1256" y="355"/>
                  </a:cubicBezTo>
                  <a:cubicBezTo>
                    <a:pt x="1255" y="359"/>
                    <a:pt x="1250" y="361"/>
                    <a:pt x="1251" y="367"/>
                  </a:cubicBezTo>
                  <a:cubicBezTo>
                    <a:pt x="1261" y="366"/>
                    <a:pt x="1261" y="363"/>
                    <a:pt x="1270" y="366"/>
                  </a:cubicBezTo>
                  <a:cubicBezTo>
                    <a:pt x="1284" y="364"/>
                    <a:pt x="1292" y="371"/>
                    <a:pt x="1298" y="363"/>
                  </a:cubicBezTo>
                  <a:cubicBezTo>
                    <a:pt x="1302" y="371"/>
                    <a:pt x="1312" y="359"/>
                    <a:pt x="1317" y="365"/>
                  </a:cubicBezTo>
                  <a:cubicBezTo>
                    <a:pt x="1315" y="360"/>
                    <a:pt x="1314" y="356"/>
                    <a:pt x="1319" y="351"/>
                  </a:cubicBezTo>
                  <a:cubicBezTo>
                    <a:pt x="1324" y="356"/>
                    <a:pt x="1318" y="356"/>
                    <a:pt x="1319" y="363"/>
                  </a:cubicBezTo>
                  <a:cubicBezTo>
                    <a:pt x="1328" y="365"/>
                    <a:pt x="1324" y="358"/>
                    <a:pt x="1325" y="353"/>
                  </a:cubicBezTo>
                  <a:cubicBezTo>
                    <a:pt x="1329" y="353"/>
                    <a:pt x="1336" y="345"/>
                    <a:pt x="1338" y="351"/>
                  </a:cubicBezTo>
                  <a:cubicBezTo>
                    <a:pt x="1334" y="351"/>
                    <a:pt x="1331" y="353"/>
                    <a:pt x="1330" y="356"/>
                  </a:cubicBezTo>
                  <a:cubicBezTo>
                    <a:pt x="1340" y="356"/>
                    <a:pt x="1325" y="364"/>
                    <a:pt x="1333" y="363"/>
                  </a:cubicBezTo>
                  <a:cubicBezTo>
                    <a:pt x="1337" y="358"/>
                    <a:pt x="1343" y="365"/>
                    <a:pt x="1350" y="360"/>
                  </a:cubicBezTo>
                  <a:cubicBezTo>
                    <a:pt x="1353" y="365"/>
                    <a:pt x="1369" y="361"/>
                    <a:pt x="1377" y="362"/>
                  </a:cubicBezTo>
                  <a:cubicBezTo>
                    <a:pt x="1378" y="358"/>
                    <a:pt x="1374" y="348"/>
                    <a:pt x="1379" y="348"/>
                  </a:cubicBezTo>
                  <a:cubicBezTo>
                    <a:pt x="1389" y="350"/>
                    <a:pt x="1381" y="352"/>
                    <a:pt x="1382" y="360"/>
                  </a:cubicBezTo>
                  <a:cubicBezTo>
                    <a:pt x="1388" y="358"/>
                    <a:pt x="1401" y="362"/>
                    <a:pt x="1402" y="357"/>
                  </a:cubicBezTo>
                  <a:cubicBezTo>
                    <a:pt x="1399" y="356"/>
                    <a:pt x="1395" y="353"/>
                    <a:pt x="1399" y="352"/>
                  </a:cubicBezTo>
                  <a:cubicBezTo>
                    <a:pt x="1401" y="355"/>
                    <a:pt x="1409" y="353"/>
                    <a:pt x="1407" y="359"/>
                  </a:cubicBezTo>
                  <a:cubicBezTo>
                    <a:pt x="1418" y="359"/>
                    <a:pt x="1409" y="352"/>
                    <a:pt x="1415" y="357"/>
                  </a:cubicBezTo>
                  <a:cubicBezTo>
                    <a:pt x="1421" y="361"/>
                    <a:pt x="1422" y="357"/>
                    <a:pt x="1426" y="356"/>
                  </a:cubicBezTo>
                  <a:cubicBezTo>
                    <a:pt x="1438" y="354"/>
                    <a:pt x="1439" y="354"/>
                    <a:pt x="1446" y="358"/>
                  </a:cubicBezTo>
                  <a:cubicBezTo>
                    <a:pt x="1446" y="355"/>
                    <a:pt x="1445" y="350"/>
                    <a:pt x="1451" y="351"/>
                  </a:cubicBezTo>
                  <a:cubicBezTo>
                    <a:pt x="1451" y="347"/>
                    <a:pt x="1448" y="346"/>
                    <a:pt x="1448" y="342"/>
                  </a:cubicBezTo>
                  <a:cubicBezTo>
                    <a:pt x="1451" y="342"/>
                    <a:pt x="1454" y="342"/>
                    <a:pt x="1456" y="342"/>
                  </a:cubicBezTo>
                  <a:cubicBezTo>
                    <a:pt x="1457" y="346"/>
                    <a:pt x="1453" y="347"/>
                    <a:pt x="1454" y="351"/>
                  </a:cubicBezTo>
                  <a:cubicBezTo>
                    <a:pt x="1460" y="350"/>
                    <a:pt x="1464" y="352"/>
                    <a:pt x="1465" y="356"/>
                  </a:cubicBezTo>
                  <a:cubicBezTo>
                    <a:pt x="1473" y="356"/>
                    <a:pt x="1481" y="355"/>
                    <a:pt x="1489" y="355"/>
                  </a:cubicBezTo>
                  <a:cubicBezTo>
                    <a:pt x="1492" y="353"/>
                    <a:pt x="1494" y="347"/>
                    <a:pt x="1497" y="346"/>
                  </a:cubicBezTo>
                  <a:cubicBezTo>
                    <a:pt x="1502" y="345"/>
                    <a:pt x="1504" y="349"/>
                    <a:pt x="1508" y="348"/>
                  </a:cubicBezTo>
                  <a:cubicBezTo>
                    <a:pt x="1508" y="343"/>
                    <a:pt x="1509" y="339"/>
                    <a:pt x="1514" y="338"/>
                  </a:cubicBezTo>
                  <a:cubicBezTo>
                    <a:pt x="1515" y="346"/>
                    <a:pt x="1508" y="348"/>
                    <a:pt x="1514" y="352"/>
                  </a:cubicBezTo>
                  <a:cubicBezTo>
                    <a:pt x="1526" y="355"/>
                    <a:pt x="1523" y="344"/>
                    <a:pt x="1533" y="345"/>
                  </a:cubicBezTo>
                  <a:cubicBezTo>
                    <a:pt x="1534" y="347"/>
                    <a:pt x="1533" y="350"/>
                    <a:pt x="1536" y="350"/>
                  </a:cubicBezTo>
                  <a:cubicBezTo>
                    <a:pt x="1539" y="350"/>
                    <a:pt x="1540" y="353"/>
                    <a:pt x="1541" y="350"/>
                  </a:cubicBezTo>
                  <a:cubicBezTo>
                    <a:pt x="1537" y="349"/>
                    <a:pt x="1543" y="344"/>
                    <a:pt x="1541" y="340"/>
                  </a:cubicBezTo>
                  <a:cubicBezTo>
                    <a:pt x="1541" y="339"/>
                    <a:pt x="1533" y="341"/>
                    <a:pt x="1536" y="336"/>
                  </a:cubicBezTo>
                  <a:cubicBezTo>
                    <a:pt x="1540" y="336"/>
                    <a:pt x="1545" y="336"/>
                    <a:pt x="1549" y="335"/>
                  </a:cubicBezTo>
                  <a:cubicBezTo>
                    <a:pt x="1553" y="343"/>
                    <a:pt x="1552" y="345"/>
                    <a:pt x="1547" y="350"/>
                  </a:cubicBezTo>
                  <a:cubicBezTo>
                    <a:pt x="1555" y="349"/>
                    <a:pt x="1563" y="349"/>
                    <a:pt x="1572" y="349"/>
                  </a:cubicBezTo>
                  <a:cubicBezTo>
                    <a:pt x="1573" y="346"/>
                    <a:pt x="1574" y="344"/>
                    <a:pt x="1577" y="342"/>
                  </a:cubicBezTo>
                  <a:cubicBezTo>
                    <a:pt x="1579" y="353"/>
                    <a:pt x="1592" y="340"/>
                    <a:pt x="1599" y="346"/>
                  </a:cubicBezTo>
                  <a:cubicBezTo>
                    <a:pt x="1600" y="345"/>
                    <a:pt x="1599" y="342"/>
                    <a:pt x="1602" y="342"/>
                  </a:cubicBezTo>
                  <a:cubicBezTo>
                    <a:pt x="1604" y="345"/>
                    <a:pt x="1609" y="340"/>
                    <a:pt x="1615" y="344"/>
                  </a:cubicBezTo>
                  <a:cubicBezTo>
                    <a:pt x="1619" y="338"/>
                    <a:pt x="1617" y="328"/>
                    <a:pt x="1626" y="327"/>
                  </a:cubicBezTo>
                  <a:cubicBezTo>
                    <a:pt x="1629" y="330"/>
                    <a:pt x="1629" y="336"/>
                    <a:pt x="1632" y="339"/>
                  </a:cubicBezTo>
                  <a:cubicBezTo>
                    <a:pt x="1628" y="339"/>
                    <a:pt x="1623" y="329"/>
                    <a:pt x="1624" y="339"/>
                  </a:cubicBezTo>
                  <a:cubicBezTo>
                    <a:pt x="1627" y="342"/>
                    <a:pt x="1633" y="343"/>
                    <a:pt x="1640" y="343"/>
                  </a:cubicBezTo>
                  <a:cubicBezTo>
                    <a:pt x="1640" y="340"/>
                    <a:pt x="1639" y="335"/>
                    <a:pt x="1643" y="334"/>
                  </a:cubicBezTo>
                  <a:cubicBezTo>
                    <a:pt x="1642" y="340"/>
                    <a:pt x="1647" y="341"/>
                    <a:pt x="1651" y="343"/>
                  </a:cubicBezTo>
                  <a:cubicBezTo>
                    <a:pt x="1651" y="340"/>
                    <a:pt x="1656" y="341"/>
                    <a:pt x="1656" y="338"/>
                  </a:cubicBezTo>
                  <a:cubicBezTo>
                    <a:pt x="1655" y="338"/>
                    <a:pt x="1653" y="336"/>
                    <a:pt x="1656" y="336"/>
                  </a:cubicBezTo>
                  <a:cubicBezTo>
                    <a:pt x="1662" y="335"/>
                    <a:pt x="1663" y="338"/>
                    <a:pt x="1667" y="338"/>
                  </a:cubicBezTo>
                  <a:cubicBezTo>
                    <a:pt x="1667" y="338"/>
                    <a:pt x="1669" y="334"/>
                    <a:pt x="1670" y="333"/>
                  </a:cubicBezTo>
                  <a:cubicBezTo>
                    <a:pt x="1670" y="333"/>
                    <a:pt x="1678" y="338"/>
                    <a:pt x="1681" y="336"/>
                  </a:cubicBezTo>
                  <a:cubicBezTo>
                    <a:pt x="1682" y="330"/>
                    <a:pt x="1676" y="330"/>
                    <a:pt x="1678" y="324"/>
                  </a:cubicBezTo>
                  <a:cubicBezTo>
                    <a:pt x="1682" y="323"/>
                    <a:pt x="1683" y="320"/>
                    <a:pt x="1686" y="319"/>
                  </a:cubicBezTo>
                  <a:cubicBezTo>
                    <a:pt x="1686" y="322"/>
                    <a:pt x="1691" y="321"/>
                    <a:pt x="1692" y="324"/>
                  </a:cubicBezTo>
                  <a:cubicBezTo>
                    <a:pt x="1681" y="324"/>
                    <a:pt x="1694" y="328"/>
                    <a:pt x="1695" y="331"/>
                  </a:cubicBezTo>
                  <a:cubicBezTo>
                    <a:pt x="1695" y="330"/>
                    <a:pt x="1687" y="343"/>
                    <a:pt x="1695" y="340"/>
                  </a:cubicBezTo>
                  <a:cubicBezTo>
                    <a:pt x="1694" y="335"/>
                    <a:pt x="1705" y="339"/>
                    <a:pt x="1709" y="337"/>
                  </a:cubicBezTo>
                  <a:cubicBezTo>
                    <a:pt x="1709" y="335"/>
                    <a:pt x="1712" y="334"/>
                    <a:pt x="1714" y="333"/>
                  </a:cubicBezTo>
                  <a:cubicBezTo>
                    <a:pt x="1714" y="335"/>
                    <a:pt x="1715" y="338"/>
                    <a:pt x="1720" y="337"/>
                  </a:cubicBezTo>
                  <a:cubicBezTo>
                    <a:pt x="1716" y="330"/>
                    <a:pt x="1728" y="335"/>
                    <a:pt x="1725" y="328"/>
                  </a:cubicBezTo>
                  <a:cubicBezTo>
                    <a:pt x="1721" y="327"/>
                    <a:pt x="1715" y="329"/>
                    <a:pt x="1714" y="326"/>
                  </a:cubicBezTo>
                  <a:cubicBezTo>
                    <a:pt x="1717" y="322"/>
                    <a:pt x="1718" y="318"/>
                    <a:pt x="1722" y="316"/>
                  </a:cubicBezTo>
                  <a:cubicBezTo>
                    <a:pt x="1718" y="324"/>
                    <a:pt x="1731" y="317"/>
                    <a:pt x="1730" y="323"/>
                  </a:cubicBezTo>
                  <a:cubicBezTo>
                    <a:pt x="1727" y="323"/>
                    <a:pt x="1727" y="329"/>
                    <a:pt x="1730" y="330"/>
                  </a:cubicBezTo>
                  <a:cubicBezTo>
                    <a:pt x="1734" y="325"/>
                    <a:pt x="1735" y="318"/>
                    <a:pt x="1744" y="318"/>
                  </a:cubicBezTo>
                  <a:cubicBezTo>
                    <a:pt x="1741" y="323"/>
                    <a:pt x="1735" y="326"/>
                    <a:pt x="1733" y="332"/>
                  </a:cubicBezTo>
                  <a:cubicBezTo>
                    <a:pt x="1748" y="334"/>
                    <a:pt x="1742" y="318"/>
                    <a:pt x="1760" y="322"/>
                  </a:cubicBezTo>
                  <a:cubicBezTo>
                    <a:pt x="1767" y="320"/>
                    <a:pt x="1754" y="312"/>
                    <a:pt x="1763" y="308"/>
                  </a:cubicBezTo>
                  <a:cubicBezTo>
                    <a:pt x="1759" y="319"/>
                    <a:pt x="1769" y="319"/>
                    <a:pt x="1774" y="322"/>
                  </a:cubicBezTo>
                  <a:cubicBezTo>
                    <a:pt x="1773" y="327"/>
                    <a:pt x="1760" y="323"/>
                    <a:pt x="1763" y="332"/>
                  </a:cubicBezTo>
                  <a:cubicBezTo>
                    <a:pt x="1770" y="333"/>
                    <a:pt x="1769" y="327"/>
                    <a:pt x="1777" y="329"/>
                  </a:cubicBezTo>
                  <a:cubicBezTo>
                    <a:pt x="1776" y="324"/>
                    <a:pt x="1779" y="322"/>
                    <a:pt x="1785" y="322"/>
                  </a:cubicBezTo>
                  <a:cubicBezTo>
                    <a:pt x="1783" y="330"/>
                    <a:pt x="1790" y="330"/>
                    <a:pt x="1796" y="331"/>
                  </a:cubicBezTo>
                  <a:cubicBezTo>
                    <a:pt x="1793" y="321"/>
                    <a:pt x="1802" y="324"/>
                    <a:pt x="1807" y="322"/>
                  </a:cubicBezTo>
                  <a:cubicBezTo>
                    <a:pt x="1809" y="320"/>
                    <a:pt x="1810" y="315"/>
                    <a:pt x="1815" y="317"/>
                  </a:cubicBezTo>
                  <a:cubicBezTo>
                    <a:pt x="1818" y="323"/>
                    <a:pt x="1811" y="323"/>
                    <a:pt x="1813" y="329"/>
                  </a:cubicBezTo>
                  <a:cubicBezTo>
                    <a:pt x="1818" y="329"/>
                    <a:pt x="1817" y="327"/>
                    <a:pt x="1818" y="324"/>
                  </a:cubicBezTo>
                  <a:cubicBezTo>
                    <a:pt x="1818" y="323"/>
                    <a:pt x="1821" y="324"/>
                    <a:pt x="1821" y="324"/>
                  </a:cubicBezTo>
                  <a:cubicBezTo>
                    <a:pt x="1822" y="321"/>
                    <a:pt x="1820" y="317"/>
                    <a:pt x="1821" y="314"/>
                  </a:cubicBezTo>
                  <a:cubicBezTo>
                    <a:pt x="1822" y="303"/>
                    <a:pt x="1828" y="308"/>
                    <a:pt x="1823" y="314"/>
                  </a:cubicBezTo>
                  <a:cubicBezTo>
                    <a:pt x="1834" y="316"/>
                    <a:pt x="1825" y="302"/>
                    <a:pt x="1837" y="305"/>
                  </a:cubicBezTo>
                  <a:cubicBezTo>
                    <a:pt x="1834" y="311"/>
                    <a:pt x="1833" y="322"/>
                    <a:pt x="1843" y="323"/>
                  </a:cubicBezTo>
                  <a:cubicBezTo>
                    <a:pt x="1849" y="318"/>
                    <a:pt x="1839" y="319"/>
                    <a:pt x="1840" y="312"/>
                  </a:cubicBezTo>
                  <a:cubicBezTo>
                    <a:pt x="1843" y="312"/>
                    <a:pt x="1844" y="315"/>
                    <a:pt x="1848" y="314"/>
                  </a:cubicBezTo>
                  <a:cubicBezTo>
                    <a:pt x="1853" y="308"/>
                    <a:pt x="1844" y="304"/>
                    <a:pt x="1851" y="300"/>
                  </a:cubicBezTo>
                  <a:cubicBezTo>
                    <a:pt x="1858" y="309"/>
                    <a:pt x="1841" y="322"/>
                    <a:pt x="1854" y="328"/>
                  </a:cubicBezTo>
                  <a:cubicBezTo>
                    <a:pt x="1853" y="321"/>
                    <a:pt x="1854" y="316"/>
                    <a:pt x="1859" y="314"/>
                  </a:cubicBezTo>
                  <a:cubicBezTo>
                    <a:pt x="1868" y="315"/>
                    <a:pt x="1866" y="307"/>
                    <a:pt x="1873" y="306"/>
                  </a:cubicBezTo>
                  <a:cubicBezTo>
                    <a:pt x="1875" y="314"/>
                    <a:pt x="1870" y="316"/>
                    <a:pt x="1867" y="320"/>
                  </a:cubicBezTo>
                  <a:cubicBezTo>
                    <a:pt x="1878" y="323"/>
                    <a:pt x="1872" y="312"/>
                    <a:pt x="1881" y="313"/>
                  </a:cubicBezTo>
                  <a:cubicBezTo>
                    <a:pt x="1881" y="316"/>
                    <a:pt x="1878" y="317"/>
                    <a:pt x="1878" y="320"/>
                  </a:cubicBezTo>
                  <a:cubicBezTo>
                    <a:pt x="1884" y="321"/>
                    <a:pt x="1884" y="317"/>
                    <a:pt x="1886" y="315"/>
                  </a:cubicBezTo>
                  <a:cubicBezTo>
                    <a:pt x="1891" y="316"/>
                    <a:pt x="1889" y="321"/>
                    <a:pt x="1895" y="320"/>
                  </a:cubicBezTo>
                  <a:cubicBezTo>
                    <a:pt x="1897" y="315"/>
                    <a:pt x="1895" y="308"/>
                    <a:pt x="1903" y="303"/>
                  </a:cubicBezTo>
                  <a:cubicBezTo>
                    <a:pt x="1903" y="307"/>
                    <a:pt x="1904" y="309"/>
                    <a:pt x="1906" y="310"/>
                  </a:cubicBezTo>
                  <a:cubicBezTo>
                    <a:pt x="1895" y="307"/>
                    <a:pt x="1905" y="325"/>
                    <a:pt x="1906" y="325"/>
                  </a:cubicBezTo>
                  <a:cubicBezTo>
                    <a:pt x="1909" y="319"/>
                    <a:pt x="1905" y="320"/>
                    <a:pt x="1908" y="313"/>
                  </a:cubicBezTo>
                  <a:cubicBezTo>
                    <a:pt x="1919" y="315"/>
                    <a:pt x="1916" y="307"/>
                    <a:pt x="1925" y="308"/>
                  </a:cubicBezTo>
                  <a:cubicBezTo>
                    <a:pt x="1929" y="309"/>
                    <a:pt x="1925" y="317"/>
                    <a:pt x="1930" y="317"/>
                  </a:cubicBezTo>
                  <a:cubicBezTo>
                    <a:pt x="1936" y="311"/>
                    <a:pt x="1927" y="306"/>
                    <a:pt x="1933" y="303"/>
                  </a:cubicBezTo>
                  <a:cubicBezTo>
                    <a:pt x="1937" y="303"/>
                    <a:pt x="1935" y="309"/>
                    <a:pt x="1939" y="310"/>
                  </a:cubicBezTo>
                  <a:cubicBezTo>
                    <a:pt x="1939" y="308"/>
                    <a:pt x="1941" y="307"/>
                    <a:pt x="1944" y="307"/>
                  </a:cubicBezTo>
                  <a:cubicBezTo>
                    <a:pt x="1948" y="307"/>
                    <a:pt x="1955" y="298"/>
                    <a:pt x="1949" y="298"/>
                  </a:cubicBezTo>
                  <a:cubicBezTo>
                    <a:pt x="1950" y="303"/>
                    <a:pt x="1941" y="298"/>
                    <a:pt x="1941" y="296"/>
                  </a:cubicBezTo>
                  <a:cubicBezTo>
                    <a:pt x="1952" y="300"/>
                    <a:pt x="1950" y="292"/>
                    <a:pt x="1955" y="295"/>
                  </a:cubicBezTo>
                  <a:cubicBezTo>
                    <a:pt x="1957" y="297"/>
                    <a:pt x="1963" y="294"/>
                    <a:pt x="1966" y="295"/>
                  </a:cubicBezTo>
                  <a:cubicBezTo>
                    <a:pt x="1966" y="293"/>
                    <a:pt x="1966" y="291"/>
                    <a:pt x="1968" y="291"/>
                  </a:cubicBezTo>
                  <a:cubicBezTo>
                    <a:pt x="1968" y="295"/>
                    <a:pt x="1972" y="295"/>
                    <a:pt x="1974" y="297"/>
                  </a:cubicBezTo>
                  <a:cubicBezTo>
                    <a:pt x="1975" y="302"/>
                    <a:pt x="1971" y="303"/>
                    <a:pt x="1971" y="307"/>
                  </a:cubicBezTo>
                  <a:cubicBezTo>
                    <a:pt x="1978" y="311"/>
                    <a:pt x="1992" y="309"/>
                    <a:pt x="1999" y="306"/>
                  </a:cubicBezTo>
                  <a:cubicBezTo>
                    <a:pt x="1999" y="304"/>
                    <a:pt x="1998" y="300"/>
                    <a:pt x="2001" y="299"/>
                  </a:cubicBezTo>
                  <a:cubicBezTo>
                    <a:pt x="2004" y="301"/>
                    <a:pt x="2011" y="310"/>
                    <a:pt x="2013" y="304"/>
                  </a:cubicBezTo>
                  <a:cubicBezTo>
                    <a:pt x="2011" y="304"/>
                    <a:pt x="2009" y="302"/>
                    <a:pt x="2012" y="301"/>
                  </a:cubicBezTo>
                  <a:cubicBezTo>
                    <a:pt x="2013" y="298"/>
                    <a:pt x="2011" y="296"/>
                    <a:pt x="2010" y="295"/>
                  </a:cubicBezTo>
                  <a:cubicBezTo>
                    <a:pt x="2017" y="296"/>
                    <a:pt x="2017" y="291"/>
                    <a:pt x="2023" y="292"/>
                  </a:cubicBezTo>
                  <a:cubicBezTo>
                    <a:pt x="2024" y="298"/>
                    <a:pt x="2019" y="297"/>
                    <a:pt x="2023" y="301"/>
                  </a:cubicBezTo>
                  <a:cubicBezTo>
                    <a:pt x="2021" y="301"/>
                    <a:pt x="2020" y="305"/>
                    <a:pt x="2024" y="306"/>
                  </a:cubicBezTo>
                  <a:cubicBezTo>
                    <a:pt x="2025" y="297"/>
                    <a:pt x="2032" y="305"/>
                    <a:pt x="2034" y="303"/>
                  </a:cubicBezTo>
                  <a:cubicBezTo>
                    <a:pt x="2036" y="303"/>
                    <a:pt x="2034" y="298"/>
                    <a:pt x="2037" y="299"/>
                  </a:cubicBezTo>
                  <a:cubicBezTo>
                    <a:pt x="2037" y="303"/>
                    <a:pt x="2045" y="300"/>
                    <a:pt x="2045" y="303"/>
                  </a:cubicBezTo>
                  <a:cubicBezTo>
                    <a:pt x="2038" y="300"/>
                    <a:pt x="2033" y="310"/>
                    <a:pt x="2040" y="310"/>
                  </a:cubicBezTo>
                  <a:cubicBezTo>
                    <a:pt x="2040" y="304"/>
                    <a:pt x="2048" y="306"/>
                    <a:pt x="2051" y="303"/>
                  </a:cubicBezTo>
                  <a:cubicBezTo>
                    <a:pt x="2053" y="301"/>
                    <a:pt x="2050" y="291"/>
                    <a:pt x="2059" y="294"/>
                  </a:cubicBezTo>
                  <a:cubicBezTo>
                    <a:pt x="2057" y="299"/>
                    <a:pt x="2051" y="301"/>
                    <a:pt x="2051" y="308"/>
                  </a:cubicBezTo>
                  <a:cubicBezTo>
                    <a:pt x="2061" y="307"/>
                    <a:pt x="2062" y="299"/>
                    <a:pt x="2073" y="298"/>
                  </a:cubicBezTo>
                  <a:cubicBezTo>
                    <a:pt x="2072" y="294"/>
                    <a:pt x="2064" y="279"/>
                    <a:pt x="2075" y="279"/>
                  </a:cubicBezTo>
                  <a:cubicBezTo>
                    <a:pt x="2072" y="288"/>
                    <a:pt x="2072" y="298"/>
                    <a:pt x="2084" y="303"/>
                  </a:cubicBezTo>
                  <a:cubicBezTo>
                    <a:pt x="2085" y="299"/>
                    <a:pt x="2080" y="297"/>
                    <a:pt x="2084" y="296"/>
                  </a:cubicBezTo>
                  <a:cubicBezTo>
                    <a:pt x="2090" y="299"/>
                    <a:pt x="2088" y="301"/>
                    <a:pt x="2087" y="307"/>
                  </a:cubicBezTo>
                  <a:cubicBezTo>
                    <a:pt x="2095" y="308"/>
                    <a:pt x="2096" y="298"/>
                    <a:pt x="2103" y="305"/>
                  </a:cubicBezTo>
                  <a:cubicBezTo>
                    <a:pt x="2102" y="295"/>
                    <a:pt x="2109" y="303"/>
                    <a:pt x="2114" y="302"/>
                  </a:cubicBezTo>
                  <a:cubicBezTo>
                    <a:pt x="2115" y="299"/>
                    <a:pt x="2118" y="298"/>
                    <a:pt x="2117" y="293"/>
                  </a:cubicBezTo>
                  <a:cubicBezTo>
                    <a:pt x="2122" y="293"/>
                    <a:pt x="2122" y="289"/>
                    <a:pt x="2125" y="288"/>
                  </a:cubicBezTo>
                  <a:cubicBezTo>
                    <a:pt x="2124" y="293"/>
                    <a:pt x="2119" y="301"/>
                    <a:pt x="2128" y="302"/>
                  </a:cubicBezTo>
                  <a:cubicBezTo>
                    <a:pt x="2128" y="300"/>
                    <a:pt x="2128" y="297"/>
                    <a:pt x="2130" y="297"/>
                  </a:cubicBezTo>
                  <a:cubicBezTo>
                    <a:pt x="2127" y="305"/>
                    <a:pt x="2139" y="299"/>
                    <a:pt x="2136" y="306"/>
                  </a:cubicBezTo>
                  <a:cubicBezTo>
                    <a:pt x="2135" y="306"/>
                    <a:pt x="2133" y="308"/>
                    <a:pt x="2136" y="309"/>
                  </a:cubicBezTo>
                  <a:cubicBezTo>
                    <a:pt x="2137" y="306"/>
                    <a:pt x="2140" y="304"/>
                    <a:pt x="2139" y="299"/>
                  </a:cubicBezTo>
                  <a:cubicBezTo>
                    <a:pt x="2146" y="298"/>
                    <a:pt x="2149" y="288"/>
                    <a:pt x="2152" y="285"/>
                  </a:cubicBezTo>
                  <a:cubicBezTo>
                    <a:pt x="2154" y="292"/>
                    <a:pt x="2154" y="289"/>
                    <a:pt x="2152" y="297"/>
                  </a:cubicBezTo>
                  <a:cubicBezTo>
                    <a:pt x="2166" y="292"/>
                    <a:pt x="2160" y="304"/>
                    <a:pt x="2169" y="303"/>
                  </a:cubicBezTo>
                  <a:cubicBezTo>
                    <a:pt x="2175" y="311"/>
                    <a:pt x="2170" y="295"/>
                    <a:pt x="2174" y="294"/>
                  </a:cubicBezTo>
                  <a:cubicBezTo>
                    <a:pt x="2176" y="294"/>
                    <a:pt x="2179" y="297"/>
                    <a:pt x="2180" y="296"/>
                  </a:cubicBezTo>
                  <a:cubicBezTo>
                    <a:pt x="2182" y="294"/>
                    <a:pt x="2177" y="287"/>
                    <a:pt x="2182" y="287"/>
                  </a:cubicBezTo>
                  <a:cubicBezTo>
                    <a:pt x="2187" y="286"/>
                    <a:pt x="2184" y="294"/>
                    <a:pt x="2188" y="294"/>
                  </a:cubicBezTo>
                  <a:cubicBezTo>
                    <a:pt x="2189" y="285"/>
                    <a:pt x="2188" y="282"/>
                    <a:pt x="2190" y="280"/>
                  </a:cubicBezTo>
                  <a:cubicBezTo>
                    <a:pt x="2201" y="287"/>
                    <a:pt x="2186" y="293"/>
                    <a:pt x="2193" y="294"/>
                  </a:cubicBezTo>
                  <a:cubicBezTo>
                    <a:pt x="2200" y="294"/>
                    <a:pt x="2195" y="303"/>
                    <a:pt x="2196" y="305"/>
                  </a:cubicBezTo>
                  <a:cubicBezTo>
                    <a:pt x="2208" y="306"/>
                    <a:pt x="2196" y="302"/>
                    <a:pt x="2199" y="296"/>
                  </a:cubicBezTo>
                  <a:cubicBezTo>
                    <a:pt x="2205" y="293"/>
                    <a:pt x="2206" y="296"/>
                    <a:pt x="2213" y="291"/>
                  </a:cubicBezTo>
                  <a:cubicBezTo>
                    <a:pt x="2218" y="293"/>
                    <a:pt x="2212" y="304"/>
                    <a:pt x="2218" y="305"/>
                  </a:cubicBezTo>
                  <a:cubicBezTo>
                    <a:pt x="2219" y="299"/>
                    <a:pt x="2223" y="297"/>
                    <a:pt x="2226" y="293"/>
                  </a:cubicBezTo>
                  <a:cubicBezTo>
                    <a:pt x="2227" y="299"/>
                    <a:pt x="2231" y="290"/>
                    <a:pt x="2237" y="293"/>
                  </a:cubicBezTo>
                  <a:cubicBezTo>
                    <a:pt x="2244" y="290"/>
                    <a:pt x="2232" y="284"/>
                    <a:pt x="2240" y="281"/>
                  </a:cubicBezTo>
                  <a:cubicBezTo>
                    <a:pt x="2243" y="281"/>
                    <a:pt x="2242" y="285"/>
                    <a:pt x="2245" y="286"/>
                  </a:cubicBezTo>
                  <a:cubicBezTo>
                    <a:pt x="2253" y="281"/>
                    <a:pt x="2242" y="274"/>
                    <a:pt x="2248" y="274"/>
                  </a:cubicBezTo>
                  <a:cubicBezTo>
                    <a:pt x="2250" y="274"/>
                    <a:pt x="2252" y="274"/>
                    <a:pt x="2253" y="274"/>
                  </a:cubicBezTo>
                  <a:cubicBezTo>
                    <a:pt x="2250" y="277"/>
                    <a:pt x="2250" y="280"/>
                    <a:pt x="2254" y="283"/>
                  </a:cubicBezTo>
                  <a:cubicBezTo>
                    <a:pt x="2250" y="286"/>
                    <a:pt x="2245" y="287"/>
                    <a:pt x="2243" y="290"/>
                  </a:cubicBezTo>
                  <a:cubicBezTo>
                    <a:pt x="2247" y="290"/>
                    <a:pt x="2252" y="290"/>
                    <a:pt x="2257" y="290"/>
                  </a:cubicBezTo>
                  <a:cubicBezTo>
                    <a:pt x="2256" y="296"/>
                    <a:pt x="2257" y="299"/>
                    <a:pt x="2262" y="300"/>
                  </a:cubicBezTo>
                  <a:cubicBezTo>
                    <a:pt x="2263" y="295"/>
                    <a:pt x="2259" y="288"/>
                    <a:pt x="2267" y="290"/>
                  </a:cubicBezTo>
                  <a:cubicBezTo>
                    <a:pt x="2268" y="293"/>
                    <a:pt x="2264" y="294"/>
                    <a:pt x="2268" y="295"/>
                  </a:cubicBezTo>
                  <a:cubicBezTo>
                    <a:pt x="2272" y="288"/>
                    <a:pt x="2276" y="301"/>
                    <a:pt x="2281" y="302"/>
                  </a:cubicBezTo>
                  <a:cubicBezTo>
                    <a:pt x="2281" y="295"/>
                    <a:pt x="2280" y="288"/>
                    <a:pt x="2287" y="287"/>
                  </a:cubicBezTo>
                  <a:cubicBezTo>
                    <a:pt x="2287" y="292"/>
                    <a:pt x="2289" y="295"/>
                    <a:pt x="2292" y="297"/>
                  </a:cubicBezTo>
                  <a:cubicBezTo>
                    <a:pt x="2293" y="294"/>
                    <a:pt x="2295" y="295"/>
                    <a:pt x="2298" y="297"/>
                  </a:cubicBezTo>
                  <a:cubicBezTo>
                    <a:pt x="2298" y="294"/>
                    <a:pt x="2297" y="290"/>
                    <a:pt x="2300" y="289"/>
                  </a:cubicBezTo>
                  <a:cubicBezTo>
                    <a:pt x="2303" y="298"/>
                    <a:pt x="2306" y="286"/>
                    <a:pt x="2309" y="287"/>
                  </a:cubicBezTo>
                  <a:cubicBezTo>
                    <a:pt x="2311" y="288"/>
                    <a:pt x="2311" y="294"/>
                    <a:pt x="2314" y="294"/>
                  </a:cubicBezTo>
                  <a:cubicBezTo>
                    <a:pt x="2318" y="288"/>
                    <a:pt x="2307" y="285"/>
                    <a:pt x="2314" y="284"/>
                  </a:cubicBezTo>
                  <a:cubicBezTo>
                    <a:pt x="2321" y="283"/>
                    <a:pt x="2319" y="289"/>
                    <a:pt x="2322" y="291"/>
                  </a:cubicBezTo>
                  <a:cubicBezTo>
                    <a:pt x="2319" y="291"/>
                    <a:pt x="2313" y="298"/>
                    <a:pt x="2320" y="299"/>
                  </a:cubicBezTo>
                  <a:cubicBezTo>
                    <a:pt x="2320" y="296"/>
                    <a:pt x="2323" y="295"/>
                    <a:pt x="2325" y="294"/>
                  </a:cubicBezTo>
                  <a:cubicBezTo>
                    <a:pt x="2326" y="290"/>
                    <a:pt x="2317" y="282"/>
                    <a:pt x="2325" y="280"/>
                  </a:cubicBezTo>
                  <a:cubicBezTo>
                    <a:pt x="2330" y="280"/>
                    <a:pt x="2326" y="301"/>
                    <a:pt x="2331" y="294"/>
                  </a:cubicBezTo>
                  <a:cubicBezTo>
                    <a:pt x="2331" y="284"/>
                    <a:pt x="2328" y="271"/>
                    <a:pt x="2338" y="270"/>
                  </a:cubicBezTo>
                  <a:cubicBezTo>
                    <a:pt x="2332" y="275"/>
                    <a:pt x="2338" y="281"/>
                    <a:pt x="2339" y="286"/>
                  </a:cubicBezTo>
                  <a:cubicBezTo>
                    <a:pt x="2339" y="289"/>
                    <a:pt x="2336" y="289"/>
                    <a:pt x="2336" y="291"/>
                  </a:cubicBezTo>
                  <a:cubicBezTo>
                    <a:pt x="2336" y="294"/>
                    <a:pt x="2340" y="295"/>
                    <a:pt x="2342" y="296"/>
                  </a:cubicBezTo>
                  <a:cubicBezTo>
                    <a:pt x="2342" y="292"/>
                    <a:pt x="2340" y="287"/>
                    <a:pt x="2344" y="286"/>
                  </a:cubicBezTo>
                  <a:cubicBezTo>
                    <a:pt x="2348" y="286"/>
                    <a:pt x="2347" y="290"/>
                    <a:pt x="2350" y="291"/>
                  </a:cubicBezTo>
                  <a:cubicBezTo>
                    <a:pt x="2352" y="278"/>
                    <a:pt x="2350" y="297"/>
                    <a:pt x="2358" y="293"/>
                  </a:cubicBezTo>
                  <a:cubicBezTo>
                    <a:pt x="2362" y="286"/>
                    <a:pt x="2357" y="286"/>
                    <a:pt x="2358" y="277"/>
                  </a:cubicBezTo>
                  <a:cubicBezTo>
                    <a:pt x="2363" y="278"/>
                    <a:pt x="2361" y="271"/>
                    <a:pt x="2366" y="270"/>
                  </a:cubicBezTo>
                  <a:cubicBezTo>
                    <a:pt x="2369" y="269"/>
                    <a:pt x="2374" y="270"/>
                    <a:pt x="2374" y="272"/>
                  </a:cubicBezTo>
                  <a:cubicBezTo>
                    <a:pt x="2371" y="273"/>
                    <a:pt x="2367" y="274"/>
                    <a:pt x="2366" y="277"/>
                  </a:cubicBezTo>
                  <a:cubicBezTo>
                    <a:pt x="2366" y="276"/>
                    <a:pt x="2371" y="279"/>
                    <a:pt x="2369" y="281"/>
                  </a:cubicBezTo>
                  <a:cubicBezTo>
                    <a:pt x="2365" y="285"/>
                    <a:pt x="2368" y="284"/>
                    <a:pt x="2369" y="288"/>
                  </a:cubicBezTo>
                  <a:cubicBezTo>
                    <a:pt x="2369" y="288"/>
                    <a:pt x="2363" y="293"/>
                    <a:pt x="2369" y="293"/>
                  </a:cubicBezTo>
                  <a:cubicBezTo>
                    <a:pt x="2374" y="285"/>
                    <a:pt x="2379" y="296"/>
                    <a:pt x="2386" y="295"/>
                  </a:cubicBezTo>
                  <a:cubicBezTo>
                    <a:pt x="2387" y="295"/>
                    <a:pt x="2385" y="289"/>
                    <a:pt x="2388" y="290"/>
                  </a:cubicBezTo>
                  <a:cubicBezTo>
                    <a:pt x="2389" y="296"/>
                    <a:pt x="2397" y="291"/>
                    <a:pt x="2399" y="290"/>
                  </a:cubicBezTo>
                  <a:cubicBezTo>
                    <a:pt x="2399" y="282"/>
                    <a:pt x="2392" y="273"/>
                    <a:pt x="2401" y="267"/>
                  </a:cubicBezTo>
                  <a:cubicBezTo>
                    <a:pt x="2397" y="274"/>
                    <a:pt x="2403" y="277"/>
                    <a:pt x="2402" y="288"/>
                  </a:cubicBezTo>
                  <a:cubicBezTo>
                    <a:pt x="2407" y="288"/>
                    <a:pt x="2409" y="292"/>
                    <a:pt x="2413" y="294"/>
                  </a:cubicBezTo>
                  <a:cubicBezTo>
                    <a:pt x="2411" y="288"/>
                    <a:pt x="2417" y="288"/>
                    <a:pt x="2415" y="283"/>
                  </a:cubicBezTo>
                  <a:cubicBezTo>
                    <a:pt x="2412" y="282"/>
                    <a:pt x="2408" y="283"/>
                    <a:pt x="2407" y="281"/>
                  </a:cubicBezTo>
                  <a:cubicBezTo>
                    <a:pt x="2420" y="283"/>
                    <a:pt x="2414" y="269"/>
                    <a:pt x="2423" y="269"/>
                  </a:cubicBezTo>
                  <a:cubicBezTo>
                    <a:pt x="2419" y="274"/>
                    <a:pt x="2426" y="278"/>
                    <a:pt x="2426" y="283"/>
                  </a:cubicBezTo>
                  <a:cubicBezTo>
                    <a:pt x="2427" y="285"/>
                    <a:pt x="2421" y="288"/>
                    <a:pt x="2427" y="290"/>
                  </a:cubicBezTo>
                  <a:cubicBezTo>
                    <a:pt x="2428" y="286"/>
                    <a:pt x="2430" y="290"/>
                    <a:pt x="2435" y="289"/>
                  </a:cubicBezTo>
                  <a:cubicBezTo>
                    <a:pt x="2438" y="284"/>
                    <a:pt x="2424" y="282"/>
                    <a:pt x="2432" y="280"/>
                  </a:cubicBezTo>
                  <a:cubicBezTo>
                    <a:pt x="2441" y="278"/>
                    <a:pt x="2436" y="288"/>
                    <a:pt x="2443" y="287"/>
                  </a:cubicBezTo>
                  <a:cubicBezTo>
                    <a:pt x="2441" y="278"/>
                    <a:pt x="2434" y="268"/>
                    <a:pt x="2443" y="261"/>
                  </a:cubicBezTo>
                  <a:cubicBezTo>
                    <a:pt x="2448" y="268"/>
                    <a:pt x="2439" y="284"/>
                    <a:pt x="2451" y="289"/>
                  </a:cubicBezTo>
                  <a:cubicBezTo>
                    <a:pt x="2449" y="280"/>
                    <a:pt x="2456" y="279"/>
                    <a:pt x="2459" y="275"/>
                  </a:cubicBezTo>
                  <a:cubicBezTo>
                    <a:pt x="2458" y="280"/>
                    <a:pt x="2467" y="277"/>
                    <a:pt x="2468" y="282"/>
                  </a:cubicBezTo>
                  <a:cubicBezTo>
                    <a:pt x="2459" y="285"/>
                    <a:pt x="2472" y="291"/>
                    <a:pt x="2465" y="294"/>
                  </a:cubicBezTo>
                  <a:cubicBezTo>
                    <a:pt x="2473" y="295"/>
                    <a:pt x="2470" y="289"/>
                    <a:pt x="2476" y="289"/>
                  </a:cubicBezTo>
                  <a:cubicBezTo>
                    <a:pt x="2476" y="292"/>
                    <a:pt x="2477" y="294"/>
                    <a:pt x="2482" y="293"/>
                  </a:cubicBezTo>
                  <a:cubicBezTo>
                    <a:pt x="2479" y="288"/>
                    <a:pt x="2479" y="284"/>
                    <a:pt x="2484" y="279"/>
                  </a:cubicBezTo>
                  <a:cubicBezTo>
                    <a:pt x="2489" y="278"/>
                    <a:pt x="2500" y="282"/>
                    <a:pt x="2500" y="277"/>
                  </a:cubicBezTo>
                  <a:cubicBezTo>
                    <a:pt x="2499" y="277"/>
                    <a:pt x="2497" y="275"/>
                    <a:pt x="2500" y="274"/>
                  </a:cubicBezTo>
                  <a:cubicBezTo>
                    <a:pt x="2501" y="277"/>
                    <a:pt x="2504" y="279"/>
                    <a:pt x="2503" y="284"/>
                  </a:cubicBezTo>
                  <a:cubicBezTo>
                    <a:pt x="2500" y="281"/>
                    <a:pt x="2479" y="277"/>
                    <a:pt x="2484" y="289"/>
                  </a:cubicBezTo>
                  <a:cubicBezTo>
                    <a:pt x="2493" y="290"/>
                    <a:pt x="2493" y="285"/>
                    <a:pt x="2498" y="284"/>
                  </a:cubicBezTo>
                  <a:cubicBezTo>
                    <a:pt x="2496" y="288"/>
                    <a:pt x="2502" y="287"/>
                    <a:pt x="2503" y="288"/>
                  </a:cubicBezTo>
                  <a:cubicBezTo>
                    <a:pt x="2505" y="290"/>
                    <a:pt x="2503" y="295"/>
                    <a:pt x="2509" y="293"/>
                  </a:cubicBezTo>
                  <a:cubicBezTo>
                    <a:pt x="2507" y="284"/>
                    <a:pt x="2508" y="287"/>
                    <a:pt x="2506" y="276"/>
                  </a:cubicBezTo>
                  <a:cubicBezTo>
                    <a:pt x="2512" y="282"/>
                    <a:pt x="2523" y="270"/>
                    <a:pt x="2525" y="281"/>
                  </a:cubicBezTo>
                  <a:cubicBezTo>
                    <a:pt x="2522" y="278"/>
                    <a:pt x="2515" y="278"/>
                    <a:pt x="2511" y="281"/>
                  </a:cubicBezTo>
                  <a:cubicBezTo>
                    <a:pt x="2512" y="287"/>
                    <a:pt x="2514" y="291"/>
                    <a:pt x="2520" y="293"/>
                  </a:cubicBezTo>
                  <a:cubicBezTo>
                    <a:pt x="2522" y="289"/>
                    <a:pt x="2526" y="288"/>
                    <a:pt x="2531" y="288"/>
                  </a:cubicBezTo>
                  <a:cubicBezTo>
                    <a:pt x="2531" y="290"/>
                    <a:pt x="2531" y="292"/>
                    <a:pt x="2534" y="292"/>
                  </a:cubicBezTo>
                  <a:cubicBezTo>
                    <a:pt x="2531" y="284"/>
                    <a:pt x="2533" y="284"/>
                    <a:pt x="2528" y="276"/>
                  </a:cubicBezTo>
                  <a:cubicBezTo>
                    <a:pt x="2531" y="274"/>
                    <a:pt x="2535" y="273"/>
                    <a:pt x="2542" y="273"/>
                  </a:cubicBezTo>
                  <a:cubicBezTo>
                    <a:pt x="2540" y="277"/>
                    <a:pt x="2538" y="278"/>
                    <a:pt x="2542" y="281"/>
                  </a:cubicBezTo>
                  <a:cubicBezTo>
                    <a:pt x="2544" y="282"/>
                    <a:pt x="2539" y="291"/>
                    <a:pt x="2545" y="290"/>
                  </a:cubicBezTo>
                  <a:cubicBezTo>
                    <a:pt x="2549" y="285"/>
                    <a:pt x="2551" y="283"/>
                    <a:pt x="2547" y="276"/>
                  </a:cubicBezTo>
                  <a:cubicBezTo>
                    <a:pt x="2558" y="280"/>
                    <a:pt x="2550" y="270"/>
                    <a:pt x="2555" y="269"/>
                  </a:cubicBezTo>
                  <a:cubicBezTo>
                    <a:pt x="2554" y="269"/>
                    <a:pt x="2564" y="276"/>
                    <a:pt x="2572" y="273"/>
                  </a:cubicBezTo>
                  <a:cubicBezTo>
                    <a:pt x="2573" y="272"/>
                    <a:pt x="2571" y="266"/>
                    <a:pt x="2577" y="268"/>
                  </a:cubicBezTo>
                  <a:cubicBezTo>
                    <a:pt x="2578" y="274"/>
                    <a:pt x="2576" y="278"/>
                    <a:pt x="2572" y="280"/>
                  </a:cubicBezTo>
                  <a:cubicBezTo>
                    <a:pt x="2571" y="277"/>
                    <a:pt x="2569" y="276"/>
                    <a:pt x="2566" y="275"/>
                  </a:cubicBezTo>
                  <a:cubicBezTo>
                    <a:pt x="2567" y="286"/>
                    <a:pt x="2558" y="276"/>
                    <a:pt x="2555" y="276"/>
                  </a:cubicBezTo>
                  <a:cubicBezTo>
                    <a:pt x="2552" y="281"/>
                    <a:pt x="2562" y="284"/>
                    <a:pt x="2555" y="285"/>
                  </a:cubicBezTo>
                  <a:cubicBezTo>
                    <a:pt x="2554" y="285"/>
                    <a:pt x="2552" y="285"/>
                    <a:pt x="2553" y="287"/>
                  </a:cubicBezTo>
                  <a:cubicBezTo>
                    <a:pt x="2560" y="288"/>
                    <a:pt x="2561" y="284"/>
                    <a:pt x="2566" y="282"/>
                  </a:cubicBezTo>
                  <a:cubicBezTo>
                    <a:pt x="2571" y="290"/>
                    <a:pt x="2578" y="281"/>
                    <a:pt x="2580" y="289"/>
                  </a:cubicBezTo>
                  <a:cubicBezTo>
                    <a:pt x="2580" y="291"/>
                    <a:pt x="2581" y="292"/>
                    <a:pt x="2583" y="292"/>
                  </a:cubicBezTo>
                  <a:cubicBezTo>
                    <a:pt x="2583" y="287"/>
                    <a:pt x="2580" y="286"/>
                    <a:pt x="2580" y="282"/>
                  </a:cubicBezTo>
                  <a:cubicBezTo>
                    <a:pt x="2583" y="282"/>
                    <a:pt x="2583" y="280"/>
                    <a:pt x="2585" y="280"/>
                  </a:cubicBezTo>
                  <a:cubicBezTo>
                    <a:pt x="2586" y="290"/>
                    <a:pt x="2587" y="280"/>
                    <a:pt x="2591" y="280"/>
                  </a:cubicBezTo>
                  <a:cubicBezTo>
                    <a:pt x="2589" y="285"/>
                    <a:pt x="2594" y="295"/>
                    <a:pt x="2597" y="289"/>
                  </a:cubicBezTo>
                  <a:cubicBezTo>
                    <a:pt x="2594" y="289"/>
                    <a:pt x="2593" y="285"/>
                    <a:pt x="2597" y="284"/>
                  </a:cubicBezTo>
                  <a:cubicBezTo>
                    <a:pt x="2600" y="284"/>
                    <a:pt x="2599" y="288"/>
                    <a:pt x="2602" y="289"/>
                  </a:cubicBezTo>
                  <a:cubicBezTo>
                    <a:pt x="2606" y="287"/>
                    <a:pt x="2602" y="283"/>
                    <a:pt x="2602" y="279"/>
                  </a:cubicBezTo>
                  <a:cubicBezTo>
                    <a:pt x="2602" y="277"/>
                    <a:pt x="2605" y="278"/>
                    <a:pt x="2605" y="277"/>
                  </a:cubicBezTo>
                  <a:cubicBezTo>
                    <a:pt x="2606" y="274"/>
                    <a:pt x="2601" y="266"/>
                    <a:pt x="2607" y="265"/>
                  </a:cubicBezTo>
                  <a:cubicBezTo>
                    <a:pt x="2614" y="270"/>
                    <a:pt x="2618" y="277"/>
                    <a:pt x="2629" y="277"/>
                  </a:cubicBezTo>
                  <a:cubicBezTo>
                    <a:pt x="2633" y="277"/>
                    <a:pt x="2632" y="272"/>
                    <a:pt x="2635" y="272"/>
                  </a:cubicBezTo>
                  <a:cubicBezTo>
                    <a:pt x="2638" y="271"/>
                    <a:pt x="2643" y="272"/>
                    <a:pt x="2643" y="269"/>
                  </a:cubicBezTo>
                  <a:cubicBezTo>
                    <a:pt x="2628" y="273"/>
                    <a:pt x="2637" y="256"/>
                    <a:pt x="2637" y="255"/>
                  </a:cubicBezTo>
                  <a:cubicBezTo>
                    <a:pt x="2642" y="248"/>
                    <a:pt x="2636" y="253"/>
                    <a:pt x="2634" y="248"/>
                  </a:cubicBezTo>
                  <a:cubicBezTo>
                    <a:pt x="2639" y="249"/>
                    <a:pt x="2644" y="250"/>
                    <a:pt x="2645" y="253"/>
                  </a:cubicBezTo>
                  <a:cubicBezTo>
                    <a:pt x="2641" y="253"/>
                    <a:pt x="2639" y="255"/>
                    <a:pt x="2640" y="260"/>
                  </a:cubicBezTo>
                  <a:cubicBezTo>
                    <a:pt x="2650" y="264"/>
                    <a:pt x="2655" y="257"/>
                    <a:pt x="2662" y="262"/>
                  </a:cubicBezTo>
                  <a:cubicBezTo>
                    <a:pt x="2658" y="265"/>
                    <a:pt x="2661" y="274"/>
                    <a:pt x="2654" y="274"/>
                  </a:cubicBezTo>
                  <a:cubicBezTo>
                    <a:pt x="2649" y="268"/>
                    <a:pt x="2658" y="265"/>
                    <a:pt x="2648" y="265"/>
                  </a:cubicBezTo>
                  <a:cubicBezTo>
                    <a:pt x="2646" y="276"/>
                    <a:pt x="2650" y="280"/>
                    <a:pt x="2646" y="290"/>
                  </a:cubicBezTo>
                  <a:cubicBezTo>
                    <a:pt x="2654" y="292"/>
                    <a:pt x="2649" y="286"/>
                    <a:pt x="2651" y="283"/>
                  </a:cubicBezTo>
                  <a:cubicBezTo>
                    <a:pt x="2653" y="282"/>
                    <a:pt x="2658" y="284"/>
                    <a:pt x="2657" y="281"/>
                  </a:cubicBezTo>
                  <a:cubicBezTo>
                    <a:pt x="2654" y="280"/>
                    <a:pt x="2650" y="277"/>
                    <a:pt x="2654" y="276"/>
                  </a:cubicBezTo>
                  <a:cubicBezTo>
                    <a:pt x="2661" y="278"/>
                    <a:pt x="2660" y="287"/>
                    <a:pt x="2668" y="288"/>
                  </a:cubicBezTo>
                  <a:cubicBezTo>
                    <a:pt x="2669" y="285"/>
                    <a:pt x="2672" y="282"/>
                    <a:pt x="2673" y="285"/>
                  </a:cubicBezTo>
                  <a:cubicBezTo>
                    <a:pt x="2674" y="287"/>
                    <a:pt x="2674" y="290"/>
                    <a:pt x="2676" y="290"/>
                  </a:cubicBezTo>
                  <a:cubicBezTo>
                    <a:pt x="2676" y="283"/>
                    <a:pt x="2677" y="278"/>
                    <a:pt x="2681" y="276"/>
                  </a:cubicBezTo>
                  <a:cubicBezTo>
                    <a:pt x="2684" y="283"/>
                    <a:pt x="2687" y="273"/>
                    <a:pt x="2690" y="273"/>
                  </a:cubicBezTo>
                  <a:cubicBezTo>
                    <a:pt x="2690" y="276"/>
                    <a:pt x="2692" y="276"/>
                    <a:pt x="2692" y="278"/>
                  </a:cubicBezTo>
                  <a:cubicBezTo>
                    <a:pt x="2690" y="281"/>
                    <a:pt x="2690" y="287"/>
                    <a:pt x="2684" y="287"/>
                  </a:cubicBezTo>
                  <a:cubicBezTo>
                    <a:pt x="2684" y="286"/>
                    <a:pt x="2682" y="285"/>
                    <a:pt x="2682" y="287"/>
                  </a:cubicBezTo>
                  <a:cubicBezTo>
                    <a:pt x="2689" y="293"/>
                    <a:pt x="2699" y="287"/>
                    <a:pt x="2701" y="287"/>
                  </a:cubicBezTo>
                  <a:cubicBezTo>
                    <a:pt x="2704" y="287"/>
                    <a:pt x="2703" y="283"/>
                    <a:pt x="2706" y="282"/>
                  </a:cubicBezTo>
                  <a:cubicBezTo>
                    <a:pt x="2709" y="282"/>
                    <a:pt x="2710" y="284"/>
                    <a:pt x="2712" y="285"/>
                  </a:cubicBezTo>
                  <a:cubicBezTo>
                    <a:pt x="2715" y="275"/>
                    <a:pt x="2700" y="281"/>
                    <a:pt x="2698" y="275"/>
                  </a:cubicBezTo>
                  <a:cubicBezTo>
                    <a:pt x="2702" y="275"/>
                    <a:pt x="2708" y="276"/>
                    <a:pt x="2709" y="273"/>
                  </a:cubicBezTo>
                  <a:cubicBezTo>
                    <a:pt x="2696" y="273"/>
                    <a:pt x="2699" y="251"/>
                    <a:pt x="2711" y="252"/>
                  </a:cubicBezTo>
                  <a:cubicBezTo>
                    <a:pt x="2712" y="255"/>
                    <a:pt x="2710" y="260"/>
                    <a:pt x="2714" y="261"/>
                  </a:cubicBezTo>
                  <a:cubicBezTo>
                    <a:pt x="2720" y="259"/>
                    <a:pt x="2713" y="248"/>
                    <a:pt x="2719" y="247"/>
                  </a:cubicBezTo>
                  <a:cubicBezTo>
                    <a:pt x="2715" y="256"/>
                    <a:pt x="2725" y="258"/>
                    <a:pt x="2725" y="263"/>
                  </a:cubicBezTo>
                  <a:cubicBezTo>
                    <a:pt x="2725" y="263"/>
                    <a:pt x="2720" y="263"/>
                    <a:pt x="2720" y="263"/>
                  </a:cubicBezTo>
                  <a:cubicBezTo>
                    <a:pt x="2719" y="264"/>
                    <a:pt x="2719" y="272"/>
                    <a:pt x="2723" y="280"/>
                  </a:cubicBezTo>
                  <a:cubicBezTo>
                    <a:pt x="2719" y="280"/>
                    <a:pt x="2717" y="279"/>
                    <a:pt x="2714" y="277"/>
                  </a:cubicBezTo>
                  <a:cubicBezTo>
                    <a:pt x="2714" y="281"/>
                    <a:pt x="2716" y="283"/>
                    <a:pt x="2717" y="285"/>
                  </a:cubicBezTo>
                  <a:cubicBezTo>
                    <a:pt x="2723" y="284"/>
                    <a:pt x="2723" y="288"/>
                    <a:pt x="2726" y="289"/>
                  </a:cubicBezTo>
                  <a:cubicBezTo>
                    <a:pt x="2726" y="284"/>
                    <a:pt x="2731" y="273"/>
                    <a:pt x="2731" y="275"/>
                  </a:cubicBezTo>
                  <a:cubicBezTo>
                    <a:pt x="2731" y="273"/>
                    <a:pt x="2728" y="268"/>
                    <a:pt x="2728" y="268"/>
                  </a:cubicBezTo>
                  <a:cubicBezTo>
                    <a:pt x="2729" y="266"/>
                    <a:pt x="2735" y="265"/>
                    <a:pt x="2736" y="263"/>
                  </a:cubicBezTo>
                  <a:cubicBezTo>
                    <a:pt x="2739" y="259"/>
                    <a:pt x="2735" y="255"/>
                    <a:pt x="2741" y="254"/>
                  </a:cubicBezTo>
                  <a:cubicBezTo>
                    <a:pt x="2745" y="254"/>
                    <a:pt x="2747" y="256"/>
                    <a:pt x="2747" y="260"/>
                  </a:cubicBezTo>
                  <a:cubicBezTo>
                    <a:pt x="2742" y="260"/>
                    <a:pt x="2741" y="263"/>
                    <a:pt x="2736" y="263"/>
                  </a:cubicBezTo>
                  <a:cubicBezTo>
                    <a:pt x="2738" y="266"/>
                    <a:pt x="2733" y="275"/>
                    <a:pt x="2739" y="275"/>
                  </a:cubicBezTo>
                  <a:cubicBezTo>
                    <a:pt x="2742" y="270"/>
                    <a:pt x="2738" y="264"/>
                    <a:pt x="2750" y="263"/>
                  </a:cubicBezTo>
                  <a:cubicBezTo>
                    <a:pt x="2751" y="268"/>
                    <a:pt x="2745" y="268"/>
                    <a:pt x="2747" y="275"/>
                  </a:cubicBezTo>
                  <a:cubicBezTo>
                    <a:pt x="2748" y="274"/>
                    <a:pt x="2752" y="275"/>
                    <a:pt x="2753" y="275"/>
                  </a:cubicBezTo>
                  <a:cubicBezTo>
                    <a:pt x="2753" y="273"/>
                    <a:pt x="2752" y="271"/>
                    <a:pt x="2753" y="270"/>
                  </a:cubicBezTo>
                  <a:cubicBezTo>
                    <a:pt x="2754" y="265"/>
                    <a:pt x="2759" y="256"/>
                    <a:pt x="2755" y="251"/>
                  </a:cubicBezTo>
                  <a:cubicBezTo>
                    <a:pt x="2764" y="252"/>
                    <a:pt x="2766" y="250"/>
                    <a:pt x="2769" y="253"/>
                  </a:cubicBezTo>
                  <a:cubicBezTo>
                    <a:pt x="2768" y="255"/>
                    <a:pt x="2767" y="256"/>
                    <a:pt x="2763" y="256"/>
                  </a:cubicBezTo>
                  <a:cubicBezTo>
                    <a:pt x="2763" y="257"/>
                    <a:pt x="2763" y="260"/>
                    <a:pt x="2761" y="260"/>
                  </a:cubicBezTo>
                  <a:cubicBezTo>
                    <a:pt x="2763" y="264"/>
                    <a:pt x="2762" y="272"/>
                    <a:pt x="2767" y="274"/>
                  </a:cubicBezTo>
                  <a:cubicBezTo>
                    <a:pt x="2769" y="266"/>
                    <a:pt x="2780" y="274"/>
                    <a:pt x="2783" y="269"/>
                  </a:cubicBezTo>
                  <a:cubicBezTo>
                    <a:pt x="2779" y="269"/>
                    <a:pt x="2783" y="260"/>
                    <a:pt x="2783" y="260"/>
                  </a:cubicBezTo>
                  <a:cubicBezTo>
                    <a:pt x="2784" y="259"/>
                    <a:pt x="2788" y="262"/>
                    <a:pt x="2788" y="262"/>
                  </a:cubicBezTo>
                  <a:cubicBezTo>
                    <a:pt x="2789" y="257"/>
                    <a:pt x="2783" y="255"/>
                    <a:pt x="2785" y="246"/>
                  </a:cubicBezTo>
                  <a:cubicBezTo>
                    <a:pt x="2789" y="246"/>
                    <a:pt x="2789" y="243"/>
                    <a:pt x="2793" y="243"/>
                  </a:cubicBezTo>
                  <a:cubicBezTo>
                    <a:pt x="2796" y="252"/>
                    <a:pt x="2787" y="256"/>
                    <a:pt x="2794" y="262"/>
                  </a:cubicBezTo>
                  <a:cubicBezTo>
                    <a:pt x="2789" y="262"/>
                    <a:pt x="2787" y="264"/>
                    <a:pt x="2786" y="267"/>
                  </a:cubicBezTo>
                  <a:cubicBezTo>
                    <a:pt x="2792" y="267"/>
                    <a:pt x="2789" y="268"/>
                    <a:pt x="2788" y="272"/>
                  </a:cubicBezTo>
                  <a:cubicBezTo>
                    <a:pt x="2787" y="278"/>
                    <a:pt x="2792" y="281"/>
                    <a:pt x="2791" y="283"/>
                  </a:cubicBezTo>
                  <a:cubicBezTo>
                    <a:pt x="2791" y="283"/>
                    <a:pt x="2781" y="286"/>
                    <a:pt x="2789" y="288"/>
                  </a:cubicBezTo>
                  <a:cubicBezTo>
                    <a:pt x="2792" y="284"/>
                    <a:pt x="2797" y="279"/>
                    <a:pt x="2791" y="274"/>
                  </a:cubicBezTo>
                  <a:cubicBezTo>
                    <a:pt x="2795" y="274"/>
                    <a:pt x="2797" y="273"/>
                    <a:pt x="2799" y="271"/>
                  </a:cubicBezTo>
                  <a:cubicBezTo>
                    <a:pt x="2799" y="274"/>
                    <a:pt x="2800" y="286"/>
                    <a:pt x="2802" y="278"/>
                  </a:cubicBezTo>
                  <a:cubicBezTo>
                    <a:pt x="2799" y="266"/>
                    <a:pt x="2808" y="278"/>
                    <a:pt x="2810" y="271"/>
                  </a:cubicBezTo>
                  <a:cubicBezTo>
                    <a:pt x="2805" y="272"/>
                    <a:pt x="2806" y="260"/>
                    <a:pt x="2813" y="264"/>
                  </a:cubicBezTo>
                  <a:cubicBezTo>
                    <a:pt x="2811" y="266"/>
                    <a:pt x="2807" y="273"/>
                    <a:pt x="2816" y="271"/>
                  </a:cubicBezTo>
                  <a:cubicBezTo>
                    <a:pt x="2817" y="268"/>
                    <a:pt x="2812" y="259"/>
                    <a:pt x="2818" y="259"/>
                  </a:cubicBezTo>
                  <a:cubicBezTo>
                    <a:pt x="2817" y="267"/>
                    <a:pt x="2826" y="270"/>
                    <a:pt x="2830" y="275"/>
                  </a:cubicBezTo>
                  <a:cubicBezTo>
                    <a:pt x="2832" y="279"/>
                    <a:pt x="2829" y="288"/>
                    <a:pt x="2838" y="287"/>
                  </a:cubicBezTo>
                  <a:cubicBezTo>
                    <a:pt x="2838" y="283"/>
                    <a:pt x="2830" y="274"/>
                    <a:pt x="2838" y="271"/>
                  </a:cubicBezTo>
                  <a:cubicBezTo>
                    <a:pt x="2842" y="271"/>
                    <a:pt x="2841" y="276"/>
                    <a:pt x="2843" y="278"/>
                  </a:cubicBezTo>
                  <a:cubicBezTo>
                    <a:pt x="2836" y="272"/>
                    <a:pt x="2837" y="282"/>
                    <a:pt x="2841" y="285"/>
                  </a:cubicBezTo>
                  <a:cubicBezTo>
                    <a:pt x="2861" y="284"/>
                    <a:pt x="2841" y="259"/>
                    <a:pt x="2859" y="254"/>
                  </a:cubicBezTo>
                  <a:cubicBezTo>
                    <a:pt x="2859" y="257"/>
                    <a:pt x="2861" y="259"/>
                    <a:pt x="2862" y="261"/>
                  </a:cubicBezTo>
                  <a:cubicBezTo>
                    <a:pt x="2856" y="261"/>
                    <a:pt x="2861" y="269"/>
                    <a:pt x="2860" y="273"/>
                  </a:cubicBezTo>
                  <a:cubicBezTo>
                    <a:pt x="2855" y="271"/>
                    <a:pt x="2855" y="284"/>
                    <a:pt x="2860" y="282"/>
                  </a:cubicBezTo>
                  <a:cubicBezTo>
                    <a:pt x="2860" y="279"/>
                    <a:pt x="2863" y="278"/>
                    <a:pt x="2865" y="277"/>
                  </a:cubicBezTo>
                  <a:cubicBezTo>
                    <a:pt x="2870" y="283"/>
                    <a:pt x="2861" y="286"/>
                    <a:pt x="2871" y="287"/>
                  </a:cubicBezTo>
                  <a:cubicBezTo>
                    <a:pt x="2873" y="278"/>
                    <a:pt x="2862" y="271"/>
                    <a:pt x="2876" y="270"/>
                  </a:cubicBezTo>
                  <a:cubicBezTo>
                    <a:pt x="2879" y="277"/>
                    <a:pt x="2872" y="276"/>
                    <a:pt x="2874" y="282"/>
                  </a:cubicBezTo>
                  <a:cubicBezTo>
                    <a:pt x="2885" y="280"/>
                    <a:pt x="2879" y="273"/>
                    <a:pt x="2879" y="265"/>
                  </a:cubicBezTo>
                  <a:cubicBezTo>
                    <a:pt x="2881" y="265"/>
                    <a:pt x="2884" y="265"/>
                    <a:pt x="2884" y="263"/>
                  </a:cubicBezTo>
                  <a:cubicBezTo>
                    <a:pt x="2886" y="263"/>
                    <a:pt x="2887" y="261"/>
                    <a:pt x="2884" y="260"/>
                  </a:cubicBezTo>
                  <a:cubicBezTo>
                    <a:pt x="2884" y="264"/>
                    <a:pt x="2880" y="261"/>
                    <a:pt x="2879" y="258"/>
                  </a:cubicBezTo>
                  <a:cubicBezTo>
                    <a:pt x="2884" y="259"/>
                    <a:pt x="2884" y="255"/>
                    <a:pt x="2887" y="253"/>
                  </a:cubicBezTo>
                  <a:cubicBezTo>
                    <a:pt x="2887" y="255"/>
                    <a:pt x="2887" y="256"/>
                    <a:pt x="2888" y="257"/>
                  </a:cubicBezTo>
                  <a:cubicBezTo>
                    <a:pt x="2888" y="244"/>
                    <a:pt x="2888" y="244"/>
                    <a:pt x="2888" y="244"/>
                  </a:cubicBezTo>
                  <a:cubicBezTo>
                    <a:pt x="2887" y="244"/>
                    <a:pt x="2885" y="244"/>
                    <a:pt x="2884" y="244"/>
                  </a:cubicBezTo>
                  <a:cubicBezTo>
                    <a:pt x="2884" y="242"/>
                    <a:pt x="2884" y="239"/>
                    <a:pt x="2884" y="237"/>
                  </a:cubicBezTo>
                  <a:cubicBezTo>
                    <a:pt x="2886" y="237"/>
                    <a:pt x="2887" y="238"/>
                    <a:pt x="2888" y="239"/>
                  </a:cubicBezTo>
                  <a:cubicBezTo>
                    <a:pt x="2888" y="205"/>
                    <a:pt x="2888" y="205"/>
                    <a:pt x="2888" y="205"/>
                  </a:cubicBezTo>
                  <a:cubicBezTo>
                    <a:pt x="2885" y="205"/>
                    <a:pt x="2883" y="205"/>
                    <a:pt x="2881" y="209"/>
                  </a:cubicBezTo>
                  <a:cubicBezTo>
                    <a:pt x="2884" y="211"/>
                    <a:pt x="2893" y="228"/>
                    <a:pt x="2881" y="228"/>
                  </a:cubicBezTo>
                  <a:cubicBezTo>
                    <a:pt x="2886" y="223"/>
                    <a:pt x="2880" y="220"/>
                    <a:pt x="2875" y="218"/>
                  </a:cubicBezTo>
                  <a:cubicBezTo>
                    <a:pt x="2875" y="222"/>
                    <a:pt x="2876" y="227"/>
                    <a:pt x="2873" y="228"/>
                  </a:cubicBezTo>
                  <a:cubicBezTo>
                    <a:pt x="2872" y="222"/>
                    <a:pt x="2871" y="217"/>
                    <a:pt x="2862" y="219"/>
                  </a:cubicBezTo>
                  <a:cubicBezTo>
                    <a:pt x="2860" y="224"/>
                    <a:pt x="2865" y="236"/>
                    <a:pt x="2859" y="237"/>
                  </a:cubicBezTo>
                  <a:cubicBezTo>
                    <a:pt x="2855" y="232"/>
                    <a:pt x="2852" y="240"/>
                    <a:pt x="2851" y="235"/>
                  </a:cubicBezTo>
                  <a:cubicBezTo>
                    <a:pt x="2851" y="231"/>
                    <a:pt x="2851" y="228"/>
                    <a:pt x="2853" y="226"/>
                  </a:cubicBezTo>
                  <a:cubicBezTo>
                    <a:pt x="2851" y="225"/>
                    <a:pt x="2848" y="226"/>
                    <a:pt x="2848" y="223"/>
                  </a:cubicBezTo>
                  <a:cubicBezTo>
                    <a:pt x="2857" y="221"/>
                    <a:pt x="2854" y="229"/>
                    <a:pt x="2859" y="230"/>
                  </a:cubicBezTo>
                  <a:cubicBezTo>
                    <a:pt x="2857" y="227"/>
                    <a:pt x="2862" y="218"/>
                    <a:pt x="2856" y="219"/>
                  </a:cubicBezTo>
                  <a:cubicBezTo>
                    <a:pt x="2856" y="221"/>
                    <a:pt x="2851" y="222"/>
                    <a:pt x="2851" y="219"/>
                  </a:cubicBezTo>
                  <a:cubicBezTo>
                    <a:pt x="2851" y="209"/>
                    <a:pt x="2859" y="220"/>
                    <a:pt x="2861" y="214"/>
                  </a:cubicBezTo>
                  <a:cubicBezTo>
                    <a:pt x="2857" y="213"/>
                    <a:pt x="2859" y="209"/>
                    <a:pt x="2861" y="207"/>
                  </a:cubicBezTo>
                  <a:cubicBezTo>
                    <a:pt x="2855" y="204"/>
                    <a:pt x="2860" y="192"/>
                    <a:pt x="2858" y="186"/>
                  </a:cubicBezTo>
                  <a:cubicBezTo>
                    <a:pt x="2862" y="185"/>
                    <a:pt x="2862" y="183"/>
                    <a:pt x="2866" y="183"/>
                  </a:cubicBezTo>
                  <a:cubicBezTo>
                    <a:pt x="2860" y="196"/>
                    <a:pt x="2870" y="207"/>
                    <a:pt x="2864" y="216"/>
                  </a:cubicBezTo>
                  <a:cubicBezTo>
                    <a:pt x="2867" y="216"/>
                    <a:pt x="2870" y="216"/>
                    <a:pt x="2873" y="216"/>
                  </a:cubicBezTo>
                  <a:cubicBezTo>
                    <a:pt x="2869" y="209"/>
                    <a:pt x="2873" y="210"/>
                    <a:pt x="2870" y="204"/>
                  </a:cubicBezTo>
                  <a:cubicBezTo>
                    <a:pt x="2874" y="204"/>
                    <a:pt x="2871" y="198"/>
                    <a:pt x="2875" y="197"/>
                  </a:cubicBezTo>
                  <a:cubicBezTo>
                    <a:pt x="2876" y="200"/>
                    <a:pt x="2878" y="202"/>
                    <a:pt x="2881" y="204"/>
                  </a:cubicBezTo>
                  <a:cubicBezTo>
                    <a:pt x="2877" y="196"/>
                    <a:pt x="2884" y="198"/>
                    <a:pt x="2888" y="197"/>
                  </a:cubicBezTo>
                  <a:cubicBezTo>
                    <a:pt x="2888" y="191"/>
                    <a:pt x="2888" y="191"/>
                    <a:pt x="2888" y="191"/>
                  </a:cubicBezTo>
                  <a:cubicBezTo>
                    <a:pt x="2888" y="190"/>
                    <a:pt x="2888" y="189"/>
                    <a:pt x="2888" y="188"/>
                  </a:cubicBezTo>
                  <a:cubicBezTo>
                    <a:pt x="2888" y="159"/>
                    <a:pt x="2888" y="159"/>
                    <a:pt x="2888" y="159"/>
                  </a:cubicBezTo>
                  <a:cubicBezTo>
                    <a:pt x="2885" y="158"/>
                    <a:pt x="2882" y="158"/>
                    <a:pt x="2877" y="160"/>
                  </a:cubicBezTo>
                  <a:cubicBezTo>
                    <a:pt x="2877" y="157"/>
                    <a:pt x="2880" y="158"/>
                    <a:pt x="2882" y="157"/>
                  </a:cubicBezTo>
                  <a:cubicBezTo>
                    <a:pt x="2883" y="155"/>
                    <a:pt x="2881" y="155"/>
                    <a:pt x="2880" y="155"/>
                  </a:cubicBezTo>
                  <a:cubicBezTo>
                    <a:pt x="2879" y="151"/>
                    <a:pt x="2884" y="152"/>
                    <a:pt x="2888" y="152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2" y="148"/>
                    <a:pt x="2884" y="141"/>
                    <a:pt x="2877" y="143"/>
                  </a:cubicBezTo>
                  <a:cubicBezTo>
                    <a:pt x="2876" y="145"/>
                    <a:pt x="2877" y="148"/>
                    <a:pt x="2874" y="148"/>
                  </a:cubicBezTo>
                  <a:cubicBezTo>
                    <a:pt x="2874" y="140"/>
                    <a:pt x="2871" y="146"/>
                    <a:pt x="2866" y="146"/>
                  </a:cubicBezTo>
                  <a:cubicBezTo>
                    <a:pt x="2866" y="146"/>
                    <a:pt x="2866" y="143"/>
                    <a:pt x="2866" y="143"/>
                  </a:cubicBezTo>
                  <a:cubicBezTo>
                    <a:pt x="2863" y="142"/>
                    <a:pt x="2859" y="146"/>
                    <a:pt x="2858" y="146"/>
                  </a:cubicBezTo>
                  <a:cubicBezTo>
                    <a:pt x="2855" y="145"/>
                    <a:pt x="2855" y="141"/>
                    <a:pt x="2849" y="141"/>
                  </a:cubicBezTo>
                  <a:cubicBezTo>
                    <a:pt x="2848" y="141"/>
                    <a:pt x="2849" y="147"/>
                    <a:pt x="2847" y="146"/>
                  </a:cubicBezTo>
                  <a:cubicBezTo>
                    <a:pt x="2849" y="138"/>
                    <a:pt x="2838" y="143"/>
                    <a:pt x="2835" y="139"/>
                  </a:cubicBezTo>
                  <a:cubicBezTo>
                    <a:pt x="2829" y="145"/>
                    <a:pt x="2836" y="151"/>
                    <a:pt x="2836" y="158"/>
                  </a:cubicBezTo>
                  <a:cubicBezTo>
                    <a:pt x="2832" y="157"/>
                    <a:pt x="2826" y="160"/>
                    <a:pt x="2822" y="158"/>
                  </a:cubicBezTo>
                  <a:cubicBezTo>
                    <a:pt x="2821" y="158"/>
                    <a:pt x="2822" y="151"/>
                    <a:pt x="2816" y="153"/>
                  </a:cubicBezTo>
                  <a:cubicBezTo>
                    <a:pt x="2818" y="161"/>
                    <a:pt x="2815" y="164"/>
                    <a:pt x="2814" y="170"/>
                  </a:cubicBezTo>
                  <a:cubicBezTo>
                    <a:pt x="2823" y="172"/>
                    <a:pt x="2818" y="162"/>
                    <a:pt x="2825" y="163"/>
                  </a:cubicBezTo>
                  <a:cubicBezTo>
                    <a:pt x="2825" y="166"/>
                    <a:pt x="2826" y="168"/>
                    <a:pt x="2828" y="170"/>
                  </a:cubicBezTo>
                  <a:cubicBezTo>
                    <a:pt x="2821" y="171"/>
                    <a:pt x="2822" y="177"/>
                    <a:pt x="2817" y="179"/>
                  </a:cubicBezTo>
                  <a:cubicBezTo>
                    <a:pt x="2818" y="174"/>
                    <a:pt x="2816" y="171"/>
                    <a:pt x="2811" y="170"/>
                  </a:cubicBezTo>
                  <a:cubicBezTo>
                    <a:pt x="2811" y="173"/>
                    <a:pt x="2812" y="177"/>
                    <a:pt x="2809" y="177"/>
                  </a:cubicBezTo>
                  <a:cubicBezTo>
                    <a:pt x="2810" y="171"/>
                    <a:pt x="2798" y="175"/>
                    <a:pt x="2798" y="170"/>
                  </a:cubicBezTo>
                  <a:cubicBezTo>
                    <a:pt x="2805" y="172"/>
                    <a:pt x="2795" y="159"/>
                    <a:pt x="2803" y="161"/>
                  </a:cubicBezTo>
                  <a:cubicBezTo>
                    <a:pt x="2803" y="164"/>
                    <a:pt x="2802" y="169"/>
                    <a:pt x="2806" y="170"/>
                  </a:cubicBezTo>
                  <a:cubicBezTo>
                    <a:pt x="2808" y="158"/>
                    <a:pt x="2819" y="154"/>
                    <a:pt x="2814" y="142"/>
                  </a:cubicBezTo>
                  <a:cubicBezTo>
                    <a:pt x="2815" y="142"/>
                    <a:pt x="2817" y="140"/>
                    <a:pt x="2814" y="139"/>
                  </a:cubicBezTo>
                  <a:cubicBezTo>
                    <a:pt x="2812" y="142"/>
                    <a:pt x="2811" y="145"/>
                    <a:pt x="2808" y="147"/>
                  </a:cubicBezTo>
                  <a:cubicBezTo>
                    <a:pt x="2803" y="140"/>
                    <a:pt x="2792" y="144"/>
                    <a:pt x="2784" y="147"/>
                  </a:cubicBezTo>
                  <a:cubicBezTo>
                    <a:pt x="2787" y="139"/>
                    <a:pt x="2775" y="145"/>
                    <a:pt x="2778" y="138"/>
                  </a:cubicBezTo>
                  <a:cubicBezTo>
                    <a:pt x="2768" y="138"/>
                    <a:pt x="2772" y="150"/>
                    <a:pt x="2759" y="147"/>
                  </a:cubicBezTo>
                  <a:cubicBezTo>
                    <a:pt x="2759" y="144"/>
                    <a:pt x="2759" y="141"/>
                    <a:pt x="2759" y="138"/>
                  </a:cubicBezTo>
                  <a:cubicBezTo>
                    <a:pt x="2749" y="139"/>
                    <a:pt x="2748" y="142"/>
                    <a:pt x="2739" y="138"/>
                  </a:cubicBezTo>
                  <a:cubicBezTo>
                    <a:pt x="2739" y="143"/>
                    <a:pt x="2738" y="146"/>
                    <a:pt x="2734" y="148"/>
                  </a:cubicBezTo>
                  <a:cubicBezTo>
                    <a:pt x="2736" y="143"/>
                    <a:pt x="2733" y="130"/>
                    <a:pt x="2728" y="139"/>
                  </a:cubicBezTo>
                  <a:cubicBezTo>
                    <a:pt x="2733" y="139"/>
                    <a:pt x="2729" y="142"/>
                    <a:pt x="2729" y="146"/>
                  </a:cubicBezTo>
                  <a:cubicBezTo>
                    <a:pt x="2729" y="148"/>
                    <a:pt x="2731" y="148"/>
                    <a:pt x="2731" y="150"/>
                  </a:cubicBezTo>
                  <a:cubicBezTo>
                    <a:pt x="2731" y="150"/>
                    <a:pt x="2728" y="151"/>
                    <a:pt x="2729" y="153"/>
                  </a:cubicBezTo>
                  <a:cubicBezTo>
                    <a:pt x="2729" y="153"/>
                    <a:pt x="2733" y="153"/>
                    <a:pt x="2731" y="155"/>
                  </a:cubicBezTo>
                  <a:cubicBezTo>
                    <a:pt x="2727" y="155"/>
                    <a:pt x="2721" y="156"/>
                    <a:pt x="2720" y="153"/>
                  </a:cubicBezTo>
                  <a:cubicBezTo>
                    <a:pt x="2722" y="148"/>
                    <a:pt x="2728" y="148"/>
                    <a:pt x="2726" y="141"/>
                  </a:cubicBezTo>
                  <a:cubicBezTo>
                    <a:pt x="2717" y="144"/>
                    <a:pt x="2716" y="140"/>
                    <a:pt x="2707" y="144"/>
                  </a:cubicBezTo>
                  <a:cubicBezTo>
                    <a:pt x="2710" y="139"/>
                    <a:pt x="2702" y="133"/>
                    <a:pt x="2701" y="139"/>
                  </a:cubicBezTo>
                  <a:cubicBezTo>
                    <a:pt x="2710" y="142"/>
                    <a:pt x="2694" y="142"/>
                    <a:pt x="2690" y="142"/>
                  </a:cubicBezTo>
                  <a:cubicBezTo>
                    <a:pt x="2688" y="149"/>
                    <a:pt x="2697" y="146"/>
                    <a:pt x="2698" y="151"/>
                  </a:cubicBezTo>
                  <a:cubicBezTo>
                    <a:pt x="2693" y="152"/>
                    <a:pt x="2698" y="161"/>
                    <a:pt x="2693" y="163"/>
                  </a:cubicBezTo>
                  <a:cubicBezTo>
                    <a:pt x="2696" y="164"/>
                    <a:pt x="2699" y="165"/>
                    <a:pt x="2702" y="167"/>
                  </a:cubicBezTo>
                  <a:cubicBezTo>
                    <a:pt x="2701" y="172"/>
                    <a:pt x="2696" y="174"/>
                    <a:pt x="2693" y="177"/>
                  </a:cubicBezTo>
                  <a:cubicBezTo>
                    <a:pt x="2699" y="182"/>
                    <a:pt x="2691" y="188"/>
                    <a:pt x="2699" y="193"/>
                  </a:cubicBezTo>
                  <a:cubicBezTo>
                    <a:pt x="2696" y="194"/>
                    <a:pt x="2694" y="196"/>
                    <a:pt x="2694" y="200"/>
                  </a:cubicBezTo>
                  <a:cubicBezTo>
                    <a:pt x="2697" y="207"/>
                    <a:pt x="2694" y="206"/>
                    <a:pt x="2700" y="210"/>
                  </a:cubicBezTo>
                  <a:cubicBezTo>
                    <a:pt x="2698" y="213"/>
                    <a:pt x="2695" y="215"/>
                    <a:pt x="2691" y="217"/>
                  </a:cubicBezTo>
                  <a:cubicBezTo>
                    <a:pt x="2689" y="215"/>
                    <a:pt x="2688" y="202"/>
                    <a:pt x="2683" y="210"/>
                  </a:cubicBezTo>
                  <a:cubicBezTo>
                    <a:pt x="2690" y="213"/>
                    <a:pt x="2683" y="220"/>
                    <a:pt x="2683" y="224"/>
                  </a:cubicBezTo>
                  <a:cubicBezTo>
                    <a:pt x="2683" y="226"/>
                    <a:pt x="2681" y="227"/>
                    <a:pt x="2681" y="226"/>
                  </a:cubicBezTo>
                  <a:cubicBezTo>
                    <a:pt x="2680" y="231"/>
                    <a:pt x="2684" y="232"/>
                    <a:pt x="2683" y="236"/>
                  </a:cubicBezTo>
                  <a:cubicBezTo>
                    <a:pt x="2680" y="233"/>
                    <a:pt x="2673" y="234"/>
                    <a:pt x="2672" y="229"/>
                  </a:cubicBezTo>
                  <a:cubicBezTo>
                    <a:pt x="2677" y="224"/>
                    <a:pt x="2676" y="212"/>
                    <a:pt x="2669" y="210"/>
                  </a:cubicBezTo>
                  <a:cubicBezTo>
                    <a:pt x="2668" y="216"/>
                    <a:pt x="2673" y="227"/>
                    <a:pt x="2667" y="229"/>
                  </a:cubicBezTo>
                  <a:cubicBezTo>
                    <a:pt x="2662" y="229"/>
                    <a:pt x="2665" y="222"/>
                    <a:pt x="2661" y="222"/>
                  </a:cubicBezTo>
                  <a:cubicBezTo>
                    <a:pt x="2662" y="222"/>
                    <a:pt x="2658" y="231"/>
                    <a:pt x="2653" y="227"/>
                  </a:cubicBezTo>
                  <a:cubicBezTo>
                    <a:pt x="2653" y="222"/>
                    <a:pt x="2661" y="224"/>
                    <a:pt x="2658" y="217"/>
                  </a:cubicBezTo>
                  <a:cubicBezTo>
                    <a:pt x="2650" y="215"/>
                    <a:pt x="2652" y="221"/>
                    <a:pt x="2648" y="222"/>
                  </a:cubicBezTo>
                  <a:cubicBezTo>
                    <a:pt x="2647" y="213"/>
                    <a:pt x="2640" y="222"/>
                    <a:pt x="2634" y="218"/>
                  </a:cubicBezTo>
                  <a:cubicBezTo>
                    <a:pt x="2634" y="224"/>
                    <a:pt x="2635" y="229"/>
                    <a:pt x="2629" y="230"/>
                  </a:cubicBezTo>
                  <a:cubicBezTo>
                    <a:pt x="2627" y="224"/>
                    <a:pt x="2633" y="224"/>
                    <a:pt x="2631" y="218"/>
                  </a:cubicBezTo>
                  <a:cubicBezTo>
                    <a:pt x="2627" y="216"/>
                    <a:pt x="2622" y="221"/>
                    <a:pt x="2620" y="220"/>
                  </a:cubicBezTo>
                  <a:cubicBezTo>
                    <a:pt x="2616" y="219"/>
                    <a:pt x="2619" y="205"/>
                    <a:pt x="2612" y="214"/>
                  </a:cubicBezTo>
                  <a:cubicBezTo>
                    <a:pt x="2616" y="212"/>
                    <a:pt x="2616" y="225"/>
                    <a:pt x="2612" y="223"/>
                  </a:cubicBezTo>
                  <a:cubicBezTo>
                    <a:pt x="2614" y="212"/>
                    <a:pt x="2603" y="213"/>
                    <a:pt x="2598" y="209"/>
                  </a:cubicBezTo>
                  <a:cubicBezTo>
                    <a:pt x="2609" y="212"/>
                    <a:pt x="2608" y="205"/>
                    <a:pt x="2612" y="202"/>
                  </a:cubicBezTo>
                  <a:cubicBezTo>
                    <a:pt x="2621" y="200"/>
                    <a:pt x="2637" y="204"/>
                    <a:pt x="2642" y="199"/>
                  </a:cubicBezTo>
                  <a:cubicBezTo>
                    <a:pt x="2638" y="193"/>
                    <a:pt x="2634" y="203"/>
                    <a:pt x="2631" y="197"/>
                  </a:cubicBezTo>
                  <a:cubicBezTo>
                    <a:pt x="2635" y="196"/>
                    <a:pt x="2635" y="193"/>
                    <a:pt x="2639" y="192"/>
                  </a:cubicBezTo>
                  <a:cubicBezTo>
                    <a:pt x="2643" y="195"/>
                    <a:pt x="2642" y="202"/>
                    <a:pt x="2650" y="201"/>
                  </a:cubicBezTo>
                  <a:cubicBezTo>
                    <a:pt x="2647" y="194"/>
                    <a:pt x="2659" y="198"/>
                    <a:pt x="2661" y="194"/>
                  </a:cubicBezTo>
                  <a:cubicBezTo>
                    <a:pt x="2662" y="199"/>
                    <a:pt x="2666" y="200"/>
                    <a:pt x="2669" y="203"/>
                  </a:cubicBezTo>
                  <a:cubicBezTo>
                    <a:pt x="2665" y="203"/>
                    <a:pt x="2662" y="205"/>
                    <a:pt x="2661" y="208"/>
                  </a:cubicBezTo>
                  <a:cubicBezTo>
                    <a:pt x="2669" y="206"/>
                    <a:pt x="2671" y="210"/>
                    <a:pt x="2678" y="210"/>
                  </a:cubicBezTo>
                  <a:cubicBezTo>
                    <a:pt x="2678" y="205"/>
                    <a:pt x="2674" y="205"/>
                    <a:pt x="2672" y="203"/>
                  </a:cubicBezTo>
                  <a:cubicBezTo>
                    <a:pt x="2679" y="199"/>
                    <a:pt x="2680" y="204"/>
                    <a:pt x="2683" y="203"/>
                  </a:cubicBezTo>
                  <a:cubicBezTo>
                    <a:pt x="2684" y="202"/>
                    <a:pt x="2682" y="197"/>
                    <a:pt x="2683" y="196"/>
                  </a:cubicBezTo>
                  <a:cubicBezTo>
                    <a:pt x="2685" y="194"/>
                    <a:pt x="2686" y="198"/>
                    <a:pt x="2686" y="198"/>
                  </a:cubicBezTo>
                  <a:cubicBezTo>
                    <a:pt x="2690" y="199"/>
                    <a:pt x="2695" y="192"/>
                    <a:pt x="2694" y="189"/>
                  </a:cubicBezTo>
                  <a:cubicBezTo>
                    <a:pt x="2687" y="186"/>
                    <a:pt x="2684" y="199"/>
                    <a:pt x="2680" y="191"/>
                  </a:cubicBezTo>
                  <a:cubicBezTo>
                    <a:pt x="2682" y="188"/>
                    <a:pt x="2686" y="187"/>
                    <a:pt x="2691" y="186"/>
                  </a:cubicBezTo>
                  <a:cubicBezTo>
                    <a:pt x="2691" y="182"/>
                    <a:pt x="2691" y="179"/>
                    <a:pt x="2693" y="177"/>
                  </a:cubicBezTo>
                  <a:cubicBezTo>
                    <a:pt x="2690" y="175"/>
                    <a:pt x="2688" y="172"/>
                    <a:pt x="2688" y="167"/>
                  </a:cubicBezTo>
                  <a:cubicBezTo>
                    <a:pt x="2684" y="167"/>
                    <a:pt x="2681" y="167"/>
                    <a:pt x="2682" y="163"/>
                  </a:cubicBezTo>
                  <a:cubicBezTo>
                    <a:pt x="2688" y="168"/>
                    <a:pt x="2689" y="159"/>
                    <a:pt x="2693" y="156"/>
                  </a:cubicBezTo>
                  <a:cubicBezTo>
                    <a:pt x="2690" y="155"/>
                    <a:pt x="2685" y="156"/>
                    <a:pt x="2685" y="154"/>
                  </a:cubicBezTo>
                  <a:cubicBezTo>
                    <a:pt x="2688" y="147"/>
                    <a:pt x="2688" y="141"/>
                    <a:pt x="2685" y="135"/>
                  </a:cubicBezTo>
                  <a:cubicBezTo>
                    <a:pt x="2694" y="138"/>
                    <a:pt x="2686" y="127"/>
                    <a:pt x="2693" y="128"/>
                  </a:cubicBezTo>
                  <a:cubicBezTo>
                    <a:pt x="2696" y="128"/>
                    <a:pt x="2696" y="131"/>
                    <a:pt x="2695" y="134"/>
                  </a:cubicBezTo>
                  <a:cubicBezTo>
                    <a:pt x="2702" y="130"/>
                    <a:pt x="2705" y="137"/>
                    <a:pt x="2709" y="132"/>
                  </a:cubicBezTo>
                  <a:cubicBezTo>
                    <a:pt x="2706" y="130"/>
                    <a:pt x="2704" y="127"/>
                    <a:pt x="2701" y="125"/>
                  </a:cubicBezTo>
                  <a:cubicBezTo>
                    <a:pt x="2705" y="125"/>
                    <a:pt x="2710" y="125"/>
                    <a:pt x="2709" y="120"/>
                  </a:cubicBezTo>
                  <a:cubicBezTo>
                    <a:pt x="2701" y="123"/>
                    <a:pt x="2701" y="120"/>
                    <a:pt x="2690" y="121"/>
                  </a:cubicBezTo>
                  <a:cubicBezTo>
                    <a:pt x="2690" y="126"/>
                    <a:pt x="2688" y="128"/>
                    <a:pt x="2682" y="128"/>
                  </a:cubicBezTo>
                  <a:cubicBezTo>
                    <a:pt x="2682" y="125"/>
                    <a:pt x="2685" y="124"/>
                    <a:pt x="2684" y="121"/>
                  </a:cubicBezTo>
                  <a:cubicBezTo>
                    <a:pt x="2672" y="118"/>
                    <a:pt x="2679" y="130"/>
                    <a:pt x="2668" y="128"/>
                  </a:cubicBezTo>
                  <a:cubicBezTo>
                    <a:pt x="2674" y="124"/>
                    <a:pt x="2667" y="121"/>
                    <a:pt x="2668" y="119"/>
                  </a:cubicBezTo>
                  <a:cubicBezTo>
                    <a:pt x="2668" y="118"/>
                    <a:pt x="2673" y="117"/>
                    <a:pt x="2670" y="114"/>
                  </a:cubicBezTo>
                  <a:cubicBezTo>
                    <a:pt x="2670" y="113"/>
                    <a:pt x="2664" y="114"/>
                    <a:pt x="2665" y="112"/>
                  </a:cubicBezTo>
                  <a:cubicBezTo>
                    <a:pt x="2678" y="107"/>
                    <a:pt x="2672" y="119"/>
                    <a:pt x="2681" y="118"/>
                  </a:cubicBezTo>
                  <a:cubicBezTo>
                    <a:pt x="2691" y="118"/>
                    <a:pt x="2676" y="111"/>
                    <a:pt x="2684" y="111"/>
                  </a:cubicBezTo>
                  <a:cubicBezTo>
                    <a:pt x="2687" y="112"/>
                    <a:pt x="2687" y="115"/>
                    <a:pt x="2687" y="118"/>
                  </a:cubicBezTo>
                  <a:cubicBezTo>
                    <a:pt x="2699" y="117"/>
                    <a:pt x="2715" y="120"/>
                    <a:pt x="2723" y="115"/>
                  </a:cubicBezTo>
                  <a:cubicBezTo>
                    <a:pt x="2727" y="117"/>
                    <a:pt x="2722" y="127"/>
                    <a:pt x="2731" y="124"/>
                  </a:cubicBezTo>
                  <a:cubicBezTo>
                    <a:pt x="2731" y="122"/>
                    <a:pt x="2730" y="118"/>
                    <a:pt x="2734" y="117"/>
                  </a:cubicBezTo>
                  <a:cubicBezTo>
                    <a:pt x="2737" y="117"/>
                    <a:pt x="2741" y="117"/>
                    <a:pt x="2745" y="117"/>
                  </a:cubicBezTo>
                  <a:cubicBezTo>
                    <a:pt x="2744" y="123"/>
                    <a:pt x="2745" y="126"/>
                    <a:pt x="2747" y="129"/>
                  </a:cubicBezTo>
                  <a:cubicBezTo>
                    <a:pt x="2739" y="126"/>
                    <a:pt x="2740" y="128"/>
                    <a:pt x="2737" y="134"/>
                  </a:cubicBezTo>
                  <a:cubicBezTo>
                    <a:pt x="2748" y="138"/>
                    <a:pt x="2756" y="128"/>
                    <a:pt x="2758" y="129"/>
                  </a:cubicBezTo>
                  <a:cubicBezTo>
                    <a:pt x="2762" y="129"/>
                    <a:pt x="2763" y="138"/>
                    <a:pt x="2767" y="136"/>
                  </a:cubicBezTo>
                  <a:cubicBezTo>
                    <a:pt x="2764" y="127"/>
                    <a:pt x="2779" y="132"/>
                    <a:pt x="2775" y="121"/>
                  </a:cubicBezTo>
                  <a:cubicBezTo>
                    <a:pt x="2765" y="119"/>
                    <a:pt x="2771" y="130"/>
                    <a:pt x="2761" y="129"/>
                  </a:cubicBezTo>
                  <a:cubicBezTo>
                    <a:pt x="2770" y="121"/>
                    <a:pt x="2751" y="126"/>
                    <a:pt x="2753" y="117"/>
                  </a:cubicBezTo>
                  <a:cubicBezTo>
                    <a:pt x="2759" y="122"/>
                    <a:pt x="2765" y="117"/>
                    <a:pt x="2769" y="114"/>
                  </a:cubicBezTo>
                  <a:cubicBezTo>
                    <a:pt x="2770" y="117"/>
                    <a:pt x="2772" y="118"/>
                    <a:pt x="2775" y="119"/>
                  </a:cubicBezTo>
                  <a:cubicBezTo>
                    <a:pt x="2778" y="115"/>
                    <a:pt x="2772" y="107"/>
                    <a:pt x="2780" y="102"/>
                  </a:cubicBezTo>
                  <a:cubicBezTo>
                    <a:pt x="2779" y="108"/>
                    <a:pt x="2781" y="112"/>
                    <a:pt x="2783" y="114"/>
                  </a:cubicBezTo>
                  <a:cubicBezTo>
                    <a:pt x="2780" y="114"/>
                    <a:pt x="2780" y="118"/>
                    <a:pt x="2783" y="119"/>
                  </a:cubicBezTo>
                  <a:cubicBezTo>
                    <a:pt x="2784" y="117"/>
                    <a:pt x="2785" y="116"/>
                    <a:pt x="2788" y="116"/>
                  </a:cubicBezTo>
                  <a:cubicBezTo>
                    <a:pt x="2789" y="112"/>
                    <a:pt x="2785" y="111"/>
                    <a:pt x="2786" y="107"/>
                  </a:cubicBezTo>
                  <a:cubicBezTo>
                    <a:pt x="2790" y="107"/>
                    <a:pt x="2796" y="106"/>
                    <a:pt x="2797" y="109"/>
                  </a:cubicBezTo>
                  <a:cubicBezTo>
                    <a:pt x="2797" y="114"/>
                    <a:pt x="2794" y="117"/>
                    <a:pt x="2788" y="116"/>
                  </a:cubicBezTo>
                  <a:cubicBezTo>
                    <a:pt x="2791" y="124"/>
                    <a:pt x="2785" y="124"/>
                    <a:pt x="2778" y="124"/>
                  </a:cubicBezTo>
                  <a:cubicBezTo>
                    <a:pt x="2775" y="129"/>
                    <a:pt x="2782" y="137"/>
                    <a:pt x="2783" y="131"/>
                  </a:cubicBezTo>
                  <a:cubicBezTo>
                    <a:pt x="2780" y="131"/>
                    <a:pt x="2780" y="127"/>
                    <a:pt x="2783" y="126"/>
                  </a:cubicBezTo>
                  <a:cubicBezTo>
                    <a:pt x="2790" y="133"/>
                    <a:pt x="2785" y="127"/>
                    <a:pt x="2794" y="126"/>
                  </a:cubicBezTo>
                  <a:cubicBezTo>
                    <a:pt x="2794" y="130"/>
                    <a:pt x="2797" y="131"/>
                    <a:pt x="2797" y="135"/>
                  </a:cubicBezTo>
                  <a:cubicBezTo>
                    <a:pt x="2806" y="138"/>
                    <a:pt x="2799" y="127"/>
                    <a:pt x="2808" y="130"/>
                  </a:cubicBezTo>
                  <a:cubicBezTo>
                    <a:pt x="2808" y="133"/>
                    <a:pt x="2804" y="133"/>
                    <a:pt x="2805" y="137"/>
                  </a:cubicBezTo>
                  <a:cubicBezTo>
                    <a:pt x="2816" y="140"/>
                    <a:pt x="2809" y="128"/>
                    <a:pt x="2819" y="130"/>
                  </a:cubicBezTo>
                  <a:cubicBezTo>
                    <a:pt x="2817" y="132"/>
                    <a:pt x="2813" y="139"/>
                    <a:pt x="2822" y="137"/>
                  </a:cubicBezTo>
                  <a:cubicBezTo>
                    <a:pt x="2822" y="128"/>
                    <a:pt x="2825" y="128"/>
                    <a:pt x="2821" y="121"/>
                  </a:cubicBezTo>
                  <a:cubicBezTo>
                    <a:pt x="2830" y="123"/>
                    <a:pt x="2842" y="119"/>
                    <a:pt x="2854" y="122"/>
                  </a:cubicBezTo>
                  <a:cubicBezTo>
                    <a:pt x="2855" y="118"/>
                    <a:pt x="2851" y="118"/>
                    <a:pt x="2849" y="115"/>
                  </a:cubicBezTo>
                  <a:cubicBezTo>
                    <a:pt x="2852" y="109"/>
                    <a:pt x="2840" y="104"/>
                    <a:pt x="2849" y="101"/>
                  </a:cubicBezTo>
                  <a:cubicBezTo>
                    <a:pt x="2850" y="101"/>
                    <a:pt x="2852" y="101"/>
                    <a:pt x="2854" y="101"/>
                  </a:cubicBezTo>
                  <a:cubicBezTo>
                    <a:pt x="2856" y="105"/>
                    <a:pt x="2851" y="113"/>
                    <a:pt x="2857" y="113"/>
                  </a:cubicBezTo>
                  <a:cubicBezTo>
                    <a:pt x="2856" y="103"/>
                    <a:pt x="2863" y="111"/>
                    <a:pt x="2868" y="110"/>
                  </a:cubicBezTo>
                  <a:cubicBezTo>
                    <a:pt x="2868" y="107"/>
                    <a:pt x="2867" y="102"/>
                    <a:pt x="2871" y="101"/>
                  </a:cubicBezTo>
                  <a:cubicBezTo>
                    <a:pt x="2869" y="104"/>
                    <a:pt x="2874" y="113"/>
                    <a:pt x="2868" y="113"/>
                  </a:cubicBezTo>
                  <a:cubicBezTo>
                    <a:pt x="2858" y="108"/>
                    <a:pt x="2860" y="115"/>
                    <a:pt x="2857" y="122"/>
                  </a:cubicBezTo>
                  <a:cubicBezTo>
                    <a:pt x="2862" y="124"/>
                    <a:pt x="2866" y="120"/>
                    <a:pt x="2868" y="120"/>
                  </a:cubicBezTo>
                  <a:cubicBezTo>
                    <a:pt x="2871" y="120"/>
                    <a:pt x="2873" y="123"/>
                    <a:pt x="2876" y="122"/>
                  </a:cubicBezTo>
                  <a:cubicBezTo>
                    <a:pt x="2878" y="121"/>
                    <a:pt x="2876" y="116"/>
                    <a:pt x="2879" y="117"/>
                  </a:cubicBezTo>
                  <a:cubicBezTo>
                    <a:pt x="2877" y="123"/>
                    <a:pt x="2883" y="122"/>
                    <a:pt x="2888" y="122"/>
                  </a:cubicBezTo>
                  <a:cubicBezTo>
                    <a:pt x="2888" y="114"/>
                    <a:pt x="2888" y="114"/>
                    <a:pt x="2888" y="114"/>
                  </a:cubicBezTo>
                  <a:cubicBezTo>
                    <a:pt x="2885" y="113"/>
                    <a:pt x="2882" y="111"/>
                    <a:pt x="2876" y="113"/>
                  </a:cubicBezTo>
                  <a:cubicBezTo>
                    <a:pt x="2877" y="110"/>
                    <a:pt x="2881" y="110"/>
                    <a:pt x="2884" y="110"/>
                  </a:cubicBezTo>
                  <a:cubicBezTo>
                    <a:pt x="2887" y="110"/>
                    <a:pt x="2886" y="107"/>
                    <a:pt x="2887" y="105"/>
                  </a:cubicBezTo>
                  <a:cubicBezTo>
                    <a:pt x="2887" y="105"/>
                    <a:pt x="2888" y="105"/>
                    <a:pt x="2888" y="105"/>
                  </a:cubicBezTo>
                  <a:cubicBezTo>
                    <a:pt x="2888" y="74"/>
                    <a:pt x="2888" y="74"/>
                    <a:pt x="2888" y="74"/>
                  </a:cubicBezTo>
                  <a:cubicBezTo>
                    <a:pt x="2887" y="73"/>
                    <a:pt x="2887" y="72"/>
                    <a:pt x="2888" y="70"/>
                  </a:cubicBezTo>
                  <a:lnTo>
                    <a:pt x="2888" y="0"/>
                  </a:lnTo>
                  <a:close/>
                  <a:moveTo>
                    <a:pt x="220" y="274"/>
                  </a:moveTo>
                  <a:cubicBezTo>
                    <a:pt x="213" y="274"/>
                    <a:pt x="214" y="263"/>
                    <a:pt x="217" y="260"/>
                  </a:cubicBezTo>
                  <a:cubicBezTo>
                    <a:pt x="224" y="260"/>
                    <a:pt x="219" y="270"/>
                    <a:pt x="220" y="274"/>
                  </a:cubicBezTo>
                  <a:close/>
                  <a:moveTo>
                    <a:pt x="227" y="203"/>
                  </a:moveTo>
                  <a:cubicBezTo>
                    <a:pt x="224" y="203"/>
                    <a:pt x="225" y="199"/>
                    <a:pt x="225" y="196"/>
                  </a:cubicBezTo>
                  <a:cubicBezTo>
                    <a:pt x="229" y="195"/>
                    <a:pt x="230" y="198"/>
                    <a:pt x="230" y="201"/>
                  </a:cubicBezTo>
                  <a:cubicBezTo>
                    <a:pt x="228" y="201"/>
                    <a:pt x="228" y="202"/>
                    <a:pt x="227" y="203"/>
                  </a:cubicBezTo>
                  <a:close/>
                  <a:moveTo>
                    <a:pt x="305" y="256"/>
                  </a:moveTo>
                  <a:cubicBezTo>
                    <a:pt x="297" y="258"/>
                    <a:pt x="298" y="253"/>
                    <a:pt x="291" y="254"/>
                  </a:cubicBezTo>
                  <a:cubicBezTo>
                    <a:pt x="292" y="247"/>
                    <a:pt x="306" y="249"/>
                    <a:pt x="305" y="256"/>
                  </a:cubicBezTo>
                  <a:close/>
                  <a:moveTo>
                    <a:pt x="340" y="197"/>
                  </a:moveTo>
                  <a:cubicBezTo>
                    <a:pt x="342" y="197"/>
                    <a:pt x="343" y="197"/>
                    <a:pt x="345" y="197"/>
                  </a:cubicBezTo>
                  <a:cubicBezTo>
                    <a:pt x="346" y="203"/>
                    <a:pt x="325" y="196"/>
                    <a:pt x="340" y="197"/>
                  </a:cubicBezTo>
                  <a:close/>
                  <a:moveTo>
                    <a:pt x="357" y="258"/>
                  </a:moveTo>
                  <a:cubicBezTo>
                    <a:pt x="359" y="255"/>
                    <a:pt x="361" y="253"/>
                    <a:pt x="357" y="253"/>
                  </a:cubicBezTo>
                  <a:cubicBezTo>
                    <a:pt x="361" y="245"/>
                    <a:pt x="364" y="258"/>
                    <a:pt x="371" y="255"/>
                  </a:cubicBezTo>
                  <a:cubicBezTo>
                    <a:pt x="372" y="260"/>
                    <a:pt x="361" y="256"/>
                    <a:pt x="357" y="258"/>
                  </a:cubicBezTo>
                  <a:close/>
                  <a:moveTo>
                    <a:pt x="415" y="259"/>
                  </a:moveTo>
                  <a:cubicBezTo>
                    <a:pt x="409" y="260"/>
                    <a:pt x="405" y="259"/>
                    <a:pt x="401" y="257"/>
                  </a:cubicBezTo>
                  <a:cubicBezTo>
                    <a:pt x="401" y="253"/>
                    <a:pt x="419" y="252"/>
                    <a:pt x="415" y="259"/>
                  </a:cubicBezTo>
                  <a:close/>
                  <a:moveTo>
                    <a:pt x="480" y="201"/>
                  </a:moveTo>
                  <a:cubicBezTo>
                    <a:pt x="482" y="201"/>
                    <a:pt x="484" y="201"/>
                    <a:pt x="485" y="201"/>
                  </a:cubicBezTo>
                  <a:cubicBezTo>
                    <a:pt x="486" y="208"/>
                    <a:pt x="465" y="201"/>
                    <a:pt x="480" y="201"/>
                  </a:cubicBezTo>
                  <a:close/>
                  <a:moveTo>
                    <a:pt x="502" y="201"/>
                  </a:moveTo>
                  <a:cubicBezTo>
                    <a:pt x="514" y="202"/>
                    <a:pt x="499" y="215"/>
                    <a:pt x="502" y="201"/>
                  </a:cubicBezTo>
                  <a:close/>
                  <a:moveTo>
                    <a:pt x="538" y="205"/>
                  </a:moveTo>
                  <a:cubicBezTo>
                    <a:pt x="538" y="200"/>
                    <a:pt x="545" y="200"/>
                    <a:pt x="548" y="203"/>
                  </a:cubicBezTo>
                  <a:cubicBezTo>
                    <a:pt x="548" y="206"/>
                    <a:pt x="542" y="205"/>
                    <a:pt x="538" y="205"/>
                  </a:cubicBezTo>
                  <a:close/>
                  <a:moveTo>
                    <a:pt x="552" y="264"/>
                  </a:moveTo>
                  <a:cubicBezTo>
                    <a:pt x="551" y="259"/>
                    <a:pt x="554" y="257"/>
                    <a:pt x="555" y="254"/>
                  </a:cubicBezTo>
                  <a:cubicBezTo>
                    <a:pt x="561" y="256"/>
                    <a:pt x="563" y="264"/>
                    <a:pt x="552" y="264"/>
                  </a:cubicBezTo>
                  <a:close/>
                  <a:moveTo>
                    <a:pt x="573" y="204"/>
                  </a:moveTo>
                  <a:cubicBezTo>
                    <a:pt x="574" y="199"/>
                    <a:pt x="587" y="203"/>
                    <a:pt x="592" y="202"/>
                  </a:cubicBezTo>
                  <a:cubicBezTo>
                    <a:pt x="591" y="207"/>
                    <a:pt x="579" y="203"/>
                    <a:pt x="573" y="204"/>
                  </a:cubicBezTo>
                  <a:close/>
                  <a:moveTo>
                    <a:pt x="592" y="199"/>
                  </a:moveTo>
                  <a:cubicBezTo>
                    <a:pt x="587" y="198"/>
                    <a:pt x="592" y="195"/>
                    <a:pt x="592" y="192"/>
                  </a:cubicBezTo>
                  <a:cubicBezTo>
                    <a:pt x="597" y="194"/>
                    <a:pt x="593" y="197"/>
                    <a:pt x="592" y="199"/>
                  </a:cubicBezTo>
                  <a:close/>
                  <a:moveTo>
                    <a:pt x="624" y="265"/>
                  </a:moveTo>
                  <a:cubicBezTo>
                    <a:pt x="625" y="262"/>
                    <a:pt x="627" y="260"/>
                    <a:pt x="632" y="260"/>
                  </a:cubicBezTo>
                  <a:cubicBezTo>
                    <a:pt x="631" y="263"/>
                    <a:pt x="628" y="265"/>
                    <a:pt x="624" y="265"/>
                  </a:cubicBezTo>
                  <a:close/>
                  <a:moveTo>
                    <a:pt x="653" y="203"/>
                  </a:moveTo>
                  <a:cubicBezTo>
                    <a:pt x="655" y="203"/>
                    <a:pt x="658" y="203"/>
                    <a:pt x="661" y="203"/>
                  </a:cubicBezTo>
                  <a:cubicBezTo>
                    <a:pt x="661" y="208"/>
                    <a:pt x="651" y="204"/>
                    <a:pt x="647" y="205"/>
                  </a:cubicBezTo>
                  <a:cubicBezTo>
                    <a:pt x="647" y="203"/>
                    <a:pt x="651" y="204"/>
                    <a:pt x="653" y="203"/>
                  </a:cubicBezTo>
                  <a:close/>
                  <a:moveTo>
                    <a:pt x="656" y="264"/>
                  </a:moveTo>
                  <a:cubicBezTo>
                    <a:pt x="650" y="263"/>
                    <a:pt x="639" y="267"/>
                    <a:pt x="643" y="260"/>
                  </a:cubicBezTo>
                  <a:cubicBezTo>
                    <a:pt x="652" y="263"/>
                    <a:pt x="661" y="258"/>
                    <a:pt x="667" y="264"/>
                  </a:cubicBezTo>
                  <a:cubicBezTo>
                    <a:pt x="676" y="266"/>
                    <a:pt x="663" y="265"/>
                    <a:pt x="656" y="264"/>
                  </a:cubicBezTo>
                  <a:close/>
                  <a:moveTo>
                    <a:pt x="690" y="266"/>
                  </a:moveTo>
                  <a:cubicBezTo>
                    <a:pt x="697" y="257"/>
                    <a:pt x="707" y="271"/>
                    <a:pt x="690" y="266"/>
                  </a:cubicBezTo>
                  <a:close/>
                  <a:moveTo>
                    <a:pt x="714" y="263"/>
                  </a:moveTo>
                  <a:cubicBezTo>
                    <a:pt x="716" y="263"/>
                    <a:pt x="718" y="263"/>
                    <a:pt x="720" y="263"/>
                  </a:cubicBezTo>
                  <a:cubicBezTo>
                    <a:pt x="720" y="270"/>
                    <a:pt x="699" y="263"/>
                    <a:pt x="714" y="263"/>
                  </a:cubicBezTo>
                  <a:close/>
                  <a:moveTo>
                    <a:pt x="738" y="209"/>
                  </a:moveTo>
                  <a:cubicBezTo>
                    <a:pt x="737" y="208"/>
                    <a:pt x="745" y="206"/>
                    <a:pt x="743" y="204"/>
                  </a:cubicBezTo>
                  <a:cubicBezTo>
                    <a:pt x="753" y="208"/>
                    <a:pt x="740" y="210"/>
                    <a:pt x="738" y="209"/>
                  </a:cubicBezTo>
                  <a:close/>
                  <a:moveTo>
                    <a:pt x="777" y="267"/>
                  </a:moveTo>
                  <a:cubicBezTo>
                    <a:pt x="773" y="266"/>
                    <a:pt x="763" y="269"/>
                    <a:pt x="766" y="262"/>
                  </a:cubicBezTo>
                  <a:cubicBezTo>
                    <a:pt x="773" y="263"/>
                    <a:pt x="779" y="265"/>
                    <a:pt x="788" y="264"/>
                  </a:cubicBezTo>
                  <a:cubicBezTo>
                    <a:pt x="788" y="270"/>
                    <a:pt x="782" y="267"/>
                    <a:pt x="777" y="267"/>
                  </a:cubicBezTo>
                  <a:close/>
                  <a:moveTo>
                    <a:pt x="791" y="269"/>
                  </a:moveTo>
                  <a:cubicBezTo>
                    <a:pt x="793" y="266"/>
                    <a:pt x="797" y="264"/>
                    <a:pt x="802" y="264"/>
                  </a:cubicBezTo>
                  <a:cubicBezTo>
                    <a:pt x="801" y="268"/>
                    <a:pt x="797" y="269"/>
                    <a:pt x="791" y="269"/>
                  </a:cubicBezTo>
                  <a:close/>
                  <a:moveTo>
                    <a:pt x="810" y="261"/>
                  </a:moveTo>
                  <a:cubicBezTo>
                    <a:pt x="814" y="263"/>
                    <a:pt x="815" y="266"/>
                    <a:pt x="816" y="271"/>
                  </a:cubicBezTo>
                  <a:cubicBezTo>
                    <a:pt x="807" y="272"/>
                    <a:pt x="806" y="265"/>
                    <a:pt x="810" y="261"/>
                  </a:cubicBezTo>
                  <a:close/>
                  <a:moveTo>
                    <a:pt x="824" y="264"/>
                  </a:moveTo>
                  <a:cubicBezTo>
                    <a:pt x="830" y="269"/>
                    <a:pt x="836" y="261"/>
                    <a:pt x="840" y="266"/>
                  </a:cubicBezTo>
                  <a:cubicBezTo>
                    <a:pt x="836" y="270"/>
                    <a:pt x="824" y="273"/>
                    <a:pt x="824" y="264"/>
                  </a:cubicBezTo>
                  <a:close/>
                  <a:moveTo>
                    <a:pt x="865" y="268"/>
                  </a:moveTo>
                  <a:cubicBezTo>
                    <a:pt x="867" y="267"/>
                    <a:pt x="869" y="267"/>
                    <a:pt x="871" y="267"/>
                  </a:cubicBezTo>
                  <a:cubicBezTo>
                    <a:pt x="871" y="274"/>
                    <a:pt x="850" y="267"/>
                    <a:pt x="865" y="268"/>
                  </a:cubicBezTo>
                  <a:close/>
                  <a:moveTo>
                    <a:pt x="866" y="326"/>
                  </a:moveTo>
                  <a:cubicBezTo>
                    <a:pt x="866" y="325"/>
                    <a:pt x="866" y="323"/>
                    <a:pt x="866" y="321"/>
                  </a:cubicBezTo>
                  <a:cubicBezTo>
                    <a:pt x="868" y="321"/>
                    <a:pt x="870" y="321"/>
                    <a:pt x="871" y="321"/>
                  </a:cubicBezTo>
                  <a:cubicBezTo>
                    <a:pt x="872" y="323"/>
                    <a:pt x="872" y="325"/>
                    <a:pt x="872" y="326"/>
                  </a:cubicBezTo>
                  <a:cubicBezTo>
                    <a:pt x="870" y="326"/>
                    <a:pt x="868" y="326"/>
                    <a:pt x="866" y="326"/>
                  </a:cubicBezTo>
                  <a:close/>
                  <a:moveTo>
                    <a:pt x="903" y="269"/>
                  </a:moveTo>
                  <a:cubicBezTo>
                    <a:pt x="912" y="260"/>
                    <a:pt x="913" y="276"/>
                    <a:pt x="903" y="269"/>
                  </a:cubicBezTo>
                  <a:close/>
                  <a:moveTo>
                    <a:pt x="925" y="266"/>
                  </a:moveTo>
                  <a:cubicBezTo>
                    <a:pt x="930" y="266"/>
                    <a:pt x="931" y="269"/>
                    <a:pt x="936" y="269"/>
                  </a:cubicBezTo>
                  <a:cubicBezTo>
                    <a:pt x="937" y="273"/>
                    <a:pt x="921" y="273"/>
                    <a:pt x="925" y="266"/>
                  </a:cubicBezTo>
                  <a:close/>
                  <a:moveTo>
                    <a:pt x="947" y="271"/>
                  </a:moveTo>
                  <a:cubicBezTo>
                    <a:pt x="945" y="264"/>
                    <a:pt x="953" y="266"/>
                    <a:pt x="958" y="266"/>
                  </a:cubicBezTo>
                  <a:cubicBezTo>
                    <a:pt x="958" y="270"/>
                    <a:pt x="954" y="271"/>
                    <a:pt x="947" y="271"/>
                  </a:cubicBezTo>
                  <a:close/>
                  <a:moveTo>
                    <a:pt x="961" y="271"/>
                  </a:moveTo>
                  <a:cubicBezTo>
                    <a:pt x="963" y="269"/>
                    <a:pt x="964" y="267"/>
                    <a:pt x="964" y="263"/>
                  </a:cubicBezTo>
                  <a:cubicBezTo>
                    <a:pt x="971" y="263"/>
                    <a:pt x="972" y="267"/>
                    <a:pt x="978" y="268"/>
                  </a:cubicBezTo>
                  <a:cubicBezTo>
                    <a:pt x="977" y="273"/>
                    <a:pt x="966" y="269"/>
                    <a:pt x="961" y="271"/>
                  </a:cubicBezTo>
                  <a:close/>
                  <a:moveTo>
                    <a:pt x="986" y="275"/>
                  </a:moveTo>
                  <a:cubicBezTo>
                    <a:pt x="985" y="273"/>
                    <a:pt x="987" y="273"/>
                    <a:pt x="989" y="272"/>
                  </a:cubicBezTo>
                  <a:cubicBezTo>
                    <a:pt x="985" y="269"/>
                    <a:pt x="980" y="268"/>
                    <a:pt x="986" y="263"/>
                  </a:cubicBezTo>
                  <a:cubicBezTo>
                    <a:pt x="994" y="261"/>
                    <a:pt x="989" y="271"/>
                    <a:pt x="1000" y="268"/>
                  </a:cubicBezTo>
                  <a:cubicBezTo>
                    <a:pt x="995" y="270"/>
                    <a:pt x="993" y="274"/>
                    <a:pt x="986" y="275"/>
                  </a:cubicBezTo>
                  <a:close/>
                  <a:moveTo>
                    <a:pt x="1011" y="272"/>
                  </a:moveTo>
                  <a:cubicBezTo>
                    <a:pt x="1011" y="270"/>
                    <a:pt x="1011" y="269"/>
                    <a:pt x="1010" y="267"/>
                  </a:cubicBezTo>
                  <a:cubicBezTo>
                    <a:pt x="1012" y="267"/>
                    <a:pt x="1014" y="267"/>
                    <a:pt x="1016" y="267"/>
                  </a:cubicBezTo>
                  <a:cubicBezTo>
                    <a:pt x="1016" y="269"/>
                    <a:pt x="1016" y="270"/>
                    <a:pt x="1016" y="272"/>
                  </a:cubicBezTo>
                  <a:cubicBezTo>
                    <a:pt x="1014" y="272"/>
                    <a:pt x="1012" y="272"/>
                    <a:pt x="1011" y="272"/>
                  </a:cubicBezTo>
                  <a:close/>
                  <a:moveTo>
                    <a:pt x="1150" y="270"/>
                  </a:moveTo>
                  <a:cubicBezTo>
                    <a:pt x="1150" y="268"/>
                    <a:pt x="1150" y="266"/>
                    <a:pt x="1150" y="265"/>
                  </a:cubicBezTo>
                  <a:cubicBezTo>
                    <a:pt x="1152" y="265"/>
                    <a:pt x="1154" y="265"/>
                    <a:pt x="1156" y="265"/>
                  </a:cubicBezTo>
                  <a:cubicBezTo>
                    <a:pt x="1156" y="266"/>
                    <a:pt x="1156" y="268"/>
                    <a:pt x="1156" y="269"/>
                  </a:cubicBezTo>
                  <a:cubicBezTo>
                    <a:pt x="1154" y="270"/>
                    <a:pt x="1152" y="270"/>
                    <a:pt x="1150" y="270"/>
                  </a:cubicBezTo>
                  <a:close/>
                  <a:moveTo>
                    <a:pt x="1170" y="269"/>
                  </a:moveTo>
                  <a:cubicBezTo>
                    <a:pt x="1170" y="268"/>
                    <a:pt x="1170" y="266"/>
                    <a:pt x="1170" y="265"/>
                  </a:cubicBezTo>
                  <a:cubicBezTo>
                    <a:pt x="1171" y="265"/>
                    <a:pt x="1173" y="265"/>
                    <a:pt x="1175" y="264"/>
                  </a:cubicBezTo>
                  <a:cubicBezTo>
                    <a:pt x="1175" y="266"/>
                    <a:pt x="1175" y="268"/>
                    <a:pt x="1175" y="269"/>
                  </a:cubicBezTo>
                  <a:cubicBezTo>
                    <a:pt x="1173" y="269"/>
                    <a:pt x="1171" y="269"/>
                    <a:pt x="1170" y="269"/>
                  </a:cubicBezTo>
                  <a:close/>
                  <a:moveTo>
                    <a:pt x="1194" y="271"/>
                  </a:moveTo>
                  <a:cubicBezTo>
                    <a:pt x="1195" y="263"/>
                    <a:pt x="1187" y="272"/>
                    <a:pt x="1181" y="267"/>
                  </a:cubicBezTo>
                  <a:cubicBezTo>
                    <a:pt x="1179" y="261"/>
                    <a:pt x="1191" y="267"/>
                    <a:pt x="1194" y="264"/>
                  </a:cubicBezTo>
                  <a:cubicBezTo>
                    <a:pt x="1194" y="264"/>
                    <a:pt x="1194" y="262"/>
                    <a:pt x="1194" y="262"/>
                  </a:cubicBezTo>
                  <a:cubicBezTo>
                    <a:pt x="1200" y="261"/>
                    <a:pt x="1208" y="268"/>
                    <a:pt x="1211" y="261"/>
                  </a:cubicBezTo>
                  <a:cubicBezTo>
                    <a:pt x="1221" y="266"/>
                    <a:pt x="1208" y="265"/>
                    <a:pt x="1205" y="266"/>
                  </a:cubicBezTo>
                  <a:cubicBezTo>
                    <a:pt x="1201" y="268"/>
                    <a:pt x="1198" y="272"/>
                    <a:pt x="1194" y="271"/>
                  </a:cubicBezTo>
                  <a:close/>
                  <a:moveTo>
                    <a:pt x="1199" y="353"/>
                  </a:moveTo>
                  <a:cubicBezTo>
                    <a:pt x="1207" y="350"/>
                    <a:pt x="1205" y="357"/>
                    <a:pt x="1210" y="358"/>
                  </a:cubicBezTo>
                  <a:cubicBezTo>
                    <a:pt x="1209" y="363"/>
                    <a:pt x="1194" y="361"/>
                    <a:pt x="1199" y="353"/>
                  </a:cubicBezTo>
                  <a:close/>
                  <a:moveTo>
                    <a:pt x="1212" y="355"/>
                  </a:moveTo>
                  <a:cubicBezTo>
                    <a:pt x="1215" y="349"/>
                    <a:pt x="1216" y="353"/>
                    <a:pt x="1223" y="353"/>
                  </a:cubicBezTo>
                  <a:cubicBezTo>
                    <a:pt x="1223" y="358"/>
                    <a:pt x="1216" y="358"/>
                    <a:pt x="1212" y="355"/>
                  </a:cubicBezTo>
                  <a:close/>
                  <a:moveTo>
                    <a:pt x="1227" y="261"/>
                  </a:moveTo>
                  <a:cubicBezTo>
                    <a:pt x="1232" y="261"/>
                    <a:pt x="1234" y="265"/>
                    <a:pt x="1235" y="261"/>
                  </a:cubicBezTo>
                  <a:cubicBezTo>
                    <a:pt x="1247" y="264"/>
                    <a:pt x="1223" y="271"/>
                    <a:pt x="1227" y="261"/>
                  </a:cubicBezTo>
                  <a:close/>
                  <a:moveTo>
                    <a:pt x="1237" y="195"/>
                  </a:moveTo>
                  <a:cubicBezTo>
                    <a:pt x="1237" y="194"/>
                    <a:pt x="1237" y="192"/>
                    <a:pt x="1237" y="191"/>
                  </a:cubicBezTo>
                  <a:cubicBezTo>
                    <a:pt x="1239" y="190"/>
                    <a:pt x="1240" y="190"/>
                    <a:pt x="1242" y="190"/>
                  </a:cubicBezTo>
                  <a:cubicBezTo>
                    <a:pt x="1242" y="192"/>
                    <a:pt x="1242" y="194"/>
                    <a:pt x="1242" y="195"/>
                  </a:cubicBezTo>
                  <a:cubicBezTo>
                    <a:pt x="1241" y="195"/>
                    <a:pt x="1239" y="195"/>
                    <a:pt x="1237" y="195"/>
                  </a:cubicBezTo>
                  <a:close/>
                  <a:moveTo>
                    <a:pt x="1259" y="195"/>
                  </a:moveTo>
                  <a:cubicBezTo>
                    <a:pt x="1252" y="196"/>
                    <a:pt x="1252" y="190"/>
                    <a:pt x="1250" y="186"/>
                  </a:cubicBezTo>
                  <a:cubicBezTo>
                    <a:pt x="1258" y="185"/>
                    <a:pt x="1258" y="190"/>
                    <a:pt x="1259" y="195"/>
                  </a:cubicBezTo>
                  <a:close/>
                  <a:moveTo>
                    <a:pt x="1252" y="261"/>
                  </a:moveTo>
                  <a:cubicBezTo>
                    <a:pt x="1256" y="260"/>
                    <a:pt x="1262" y="262"/>
                    <a:pt x="1263" y="258"/>
                  </a:cubicBezTo>
                  <a:cubicBezTo>
                    <a:pt x="1266" y="259"/>
                    <a:pt x="1265" y="262"/>
                    <a:pt x="1266" y="265"/>
                  </a:cubicBezTo>
                  <a:cubicBezTo>
                    <a:pt x="1263" y="268"/>
                    <a:pt x="1252" y="268"/>
                    <a:pt x="1252" y="261"/>
                  </a:cubicBezTo>
                  <a:close/>
                  <a:moveTo>
                    <a:pt x="1279" y="267"/>
                  </a:moveTo>
                  <a:cubicBezTo>
                    <a:pt x="1271" y="269"/>
                    <a:pt x="1269" y="262"/>
                    <a:pt x="1274" y="258"/>
                  </a:cubicBezTo>
                  <a:cubicBezTo>
                    <a:pt x="1279" y="259"/>
                    <a:pt x="1280" y="262"/>
                    <a:pt x="1279" y="267"/>
                  </a:cubicBezTo>
                  <a:close/>
                  <a:moveTo>
                    <a:pt x="1282" y="260"/>
                  </a:moveTo>
                  <a:cubicBezTo>
                    <a:pt x="1283" y="254"/>
                    <a:pt x="1287" y="263"/>
                    <a:pt x="1293" y="260"/>
                  </a:cubicBezTo>
                  <a:cubicBezTo>
                    <a:pt x="1291" y="268"/>
                    <a:pt x="1287" y="262"/>
                    <a:pt x="1282" y="260"/>
                  </a:cubicBezTo>
                  <a:close/>
                  <a:moveTo>
                    <a:pt x="1312" y="257"/>
                  </a:moveTo>
                  <a:cubicBezTo>
                    <a:pt x="1308" y="258"/>
                    <a:pt x="1310" y="265"/>
                    <a:pt x="1301" y="262"/>
                  </a:cubicBezTo>
                  <a:cubicBezTo>
                    <a:pt x="1300" y="255"/>
                    <a:pt x="1310" y="257"/>
                    <a:pt x="1315" y="255"/>
                  </a:cubicBezTo>
                  <a:cubicBezTo>
                    <a:pt x="1316" y="259"/>
                    <a:pt x="1312" y="260"/>
                    <a:pt x="1312" y="257"/>
                  </a:cubicBezTo>
                  <a:close/>
                  <a:moveTo>
                    <a:pt x="1479" y="238"/>
                  </a:moveTo>
                  <a:cubicBezTo>
                    <a:pt x="1478" y="239"/>
                    <a:pt x="1476" y="232"/>
                    <a:pt x="1474" y="233"/>
                  </a:cubicBezTo>
                  <a:cubicBezTo>
                    <a:pt x="1478" y="225"/>
                    <a:pt x="1481" y="236"/>
                    <a:pt x="1479" y="238"/>
                  </a:cubicBezTo>
                  <a:close/>
                  <a:moveTo>
                    <a:pt x="1448" y="177"/>
                  </a:moveTo>
                  <a:cubicBezTo>
                    <a:pt x="1447" y="180"/>
                    <a:pt x="1445" y="182"/>
                    <a:pt x="1440" y="182"/>
                  </a:cubicBezTo>
                  <a:cubicBezTo>
                    <a:pt x="1438" y="177"/>
                    <a:pt x="1444" y="178"/>
                    <a:pt x="1448" y="177"/>
                  </a:cubicBezTo>
                  <a:close/>
                  <a:moveTo>
                    <a:pt x="1424" y="248"/>
                  </a:moveTo>
                  <a:cubicBezTo>
                    <a:pt x="1429" y="248"/>
                    <a:pt x="1429" y="250"/>
                    <a:pt x="1433" y="251"/>
                  </a:cubicBezTo>
                  <a:cubicBezTo>
                    <a:pt x="1434" y="255"/>
                    <a:pt x="1420" y="254"/>
                    <a:pt x="1424" y="248"/>
                  </a:cubicBezTo>
                  <a:close/>
                  <a:moveTo>
                    <a:pt x="1334" y="259"/>
                  </a:moveTo>
                  <a:cubicBezTo>
                    <a:pt x="1334" y="257"/>
                    <a:pt x="1331" y="258"/>
                    <a:pt x="1329" y="257"/>
                  </a:cubicBezTo>
                  <a:cubicBezTo>
                    <a:pt x="1331" y="252"/>
                    <a:pt x="1344" y="256"/>
                    <a:pt x="1350" y="254"/>
                  </a:cubicBezTo>
                  <a:cubicBezTo>
                    <a:pt x="1347" y="261"/>
                    <a:pt x="1344" y="256"/>
                    <a:pt x="1334" y="259"/>
                  </a:cubicBezTo>
                  <a:close/>
                  <a:moveTo>
                    <a:pt x="1392" y="279"/>
                  </a:moveTo>
                  <a:cubicBezTo>
                    <a:pt x="1392" y="278"/>
                    <a:pt x="1392" y="276"/>
                    <a:pt x="1392" y="275"/>
                  </a:cubicBezTo>
                  <a:cubicBezTo>
                    <a:pt x="1394" y="275"/>
                    <a:pt x="1396" y="275"/>
                    <a:pt x="1397" y="275"/>
                  </a:cubicBezTo>
                  <a:cubicBezTo>
                    <a:pt x="1398" y="276"/>
                    <a:pt x="1398" y="278"/>
                    <a:pt x="1398" y="279"/>
                  </a:cubicBezTo>
                  <a:cubicBezTo>
                    <a:pt x="1396" y="279"/>
                    <a:pt x="1394" y="279"/>
                    <a:pt x="1392" y="279"/>
                  </a:cubicBezTo>
                  <a:close/>
                  <a:moveTo>
                    <a:pt x="1394" y="258"/>
                  </a:moveTo>
                  <a:cubicBezTo>
                    <a:pt x="1394" y="261"/>
                    <a:pt x="1392" y="260"/>
                    <a:pt x="1392" y="258"/>
                  </a:cubicBezTo>
                  <a:cubicBezTo>
                    <a:pt x="1388" y="259"/>
                    <a:pt x="1384" y="259"/>
                    <a:pt x="1383" y="256"/>
                  </a:cubicBezTo>
                  <a:cubicBezTo>
                    <a:pt x="1381" y="258"/>
                    <a:pt x="1376" y="260"/>
                    <a:pt x="1375" y="256"/>
                  </a:cubicBezTo>
                  <a:cubicBezTo>
                    <a:pt x="1373" y="257"/>
                    <a:pt x="1372" y="259"/>
                    <a:pt x="1370" y="259"/>
                  </a:cubicBezTo>
                  <a:cubicBezTo>
                    <a:pt x="1369" y="261"/>
                    <a:pt x="1371" y="261"/>
                    <a:pt x="1373" y="261"/>
                  </a:cubicBezTo>
                  <a:cubicBezTo>
                    <a:pt x="1373" y="267"/>
                    <a:pt x="1365" y="260"/>
                    <a:pt x="1367" y="256"/>
                  </a:cubicBezTo>
                  <a:cubicBezTo>
                    <a:pt x="1362" y="257"/>
                    <a:pt x="1365" y="266"/>
                    <a:pt x="1356" y="264"/>
                  </a:cubicBezTo>
                  <a:cubicBezTo>
                    <a:pt x="1358" y="256"/>
                    <a:pt x="1351" y="256"/>
                    <a:pt x="1356" y="252"/>
                  </a:cubicBezTo>
                  <a:cubicBezTo>
                    <a:pt x="1360" y="249"/>
                    <a:pt x="1366" y="255"/>
                    <a:pt x="1367" y="254"/>
                  </a:cubicBezTo>
                  <a:cubicBezTo>
                    <a:pt x="1367" y="254"/>
                    <a:pt x="1367" y="252"/>
                    <a:pt x="1367" y="252"/>
                  </a:cubicBezTo>
                  <a:cubicBezTo>
                    <a:pt x="1370" y="251"/>
                    <a:pt x="1372" y="254"/>
                    <a:pt x="1372" y="254"/>
                  </a:cubicBezTo>
                  <a:cubicBezTo>
                    <a:pt x="1379" y="253"/>
                    <a:pt x="1377" y="249"/>
                    <a:pt x="1383" y="249"/>
                  </a:cubicBezTo>
                  <a:cubicBezTo>
                    <a:pt x="1383" y="249"/>
                    <a:pt x="1384" y="255"/>
                    <a:pt x="1386" y="254"/>
                  </a:cubicBezTo>
                  <a:cubicBezTo>
                    <a:pt x="1392" y="254"/>
                    <a:pt x="1387" y="245"/>
                    <a:pt x="1389" y="242"/>
                  </a:cubicBezTo>
                  <a:cubicBezTo>
                    <a:pt x="1391" y="243"/>
                    <a:pt x="1393" y="244"/>
                    <a:pt x="1397" y="244"/>
                  </a:cubicBezTo>
                  <a:cubicBezTo>
                    <a:pt x="1396" y="246"/>
                    <a:pt x="1395" y="248"/>
                    <a:pt x="1392" y="249"/>
                  </a:cubicBezTo>
                  <a:cubicBezTo>
                    <a:pt x="1391" y="255"/>
                    <a:pt x="1404" y="247"/>
                    <a:pt x="1400" y="256"/>
                  </a:cubicBezTo>
                  <a:cubicBezTo>
                    <a:pt x="1395" y="255"/>
                    <a:pt x="1390" y="258"/>
                    <a:pt x="1394" y="258"/>
                  </a:cubicBezTo>
                  <a:close/>
                  <a:moveTo>
                    <a:pt x="1405" y="258"/>
                  </a:moveTo>
                  <a:cubicBezTo>
                    <a:pt x="1407" y="258"/>
                    <a:pt x="1409" y="258"/>
                    <a:pt x="1411" y="258"/>
                  </a:cubicBezTo>
                  <a:cubicBezTo>
                    <a:pt x="1412" y="265"/>
                    <a:pt x="1390" y="258"/>
                    <a:pt x="1405" y="258"/>
                  </a:cubicBezTo>
                  <a:close/>
                  <a:moveTo>
                    <a:pt x="1403" y="279"/>
                  </a:moveTo>
                  <a:cubicBezTo>
                    <a:pt x="1403" y="277"/>
                    <a:pt x="1406" y="277"/>
                    <a:pt x="1408" y="277"/>
                  </a:cubicBezTo>
                  <a:cubicBezTo>
                    <a:pt x="1410" y="277"/>
                    <a:pt x="1412" y="277"/>
                    <a:pt x="1414" y="277"/>
                  </a:cubicBezTo>
                  <a:cubicBezTo>
                    <a:pt x="1413" y="280"/>
                    <a:pt x="1407" y="279"/>
                    <a:pt x="1403" y="279"/>
                  </a:cubicBezTo>
                  <a:close/>
                  <a:moveTo>
                    <a:pt x="1416" y="256"/>
                  </a:moveTo>
                  <a:cubicBezTo>
                    <a:pt x="1412" y="256"/>
                    <a:pt x="1407" y="256"/>
                    <a:pt x="1403" y="256"/>
                  </a:cubicBezTo>
                  <a:cubicBezTo>
                    <a:pt x="1401" y="247"/>
                    <a:pt x="1411" y="248"/>
                    <a:pt x="1419" y="248"/>
                  </a:cubicBezTo>
                  <a:cubicBezTo>
                    <a:pt x="1419" y="254"/>
                    <a:pt x="1424" y="256"/>
                    <a:pt x="1419" y="260"/>
                  </a:cubicBezTo>
                  <a:cubicBezTo>
                    <a:pt x="1416" y="260"/>
                    <a:pt x="1417" y="257"/>
                    <a:pt x="1416" y="256"/>
                  </a:cubicBezTo>
                  <a:close/>
                  <a:moveTo>
                    <a:pt x="1418" y="352"/>
                  </a:moveTo>
                  <a:cubicBezTo>
                    <a:pt x="1417" y="348"/>
                    <a:pt x="1423" y="346"/>
                    <a:pt x="1418" y="345"/>
                  </a:cubicBezTo>
                  <a:cubicBezTo>
                    <a:pt x="1420" y="342"/>
                    <a:pt x="1424" y="342"/>
                    <a:pt x="1423" y="338"/>
                  </a:cubicBezTo>
                  <a:cubicBezTo>
                    <a:pt x="1428" y="340"/>
                    <a:pt x="1430" y="344"/>
                    <a:pt x="1426" y="347"/>
                  </a:cubicBezTo>
                  <a:cubicBezTo>
                    <a:pt x="1427" y="352"/>
                    <a:pt x="1433" y="344"/>
                    <a:pt x="1440" y="347"/>
                  </a:cubicBezTo>
                  <a:cubicBezTo>
                    <a:pt x="1439" y="354"/>
                    <a:pt x="1426" y="351"/>
                    <a:pt x="1418" y="352"/>
                  </a:cubicBezTo>
                  <a:close/>
                  <a:moveTo>
                    <a:pt x="1433" y="281"/>
                  </a:moveTo>
                  <a:cubicBezTo>
                    <a:pt x="1435" y="277"/>
                    <a:pt x="1438" y="281"/>
                    <a:pt x="1441" y="281"/>
                  </a:cubicBezTo>
                  <a:cubicBezTo>
                    <a:pt x="1440" y="285"/>
                    <a:pt x="1437" y="281"/>
                    <a:pt x="1433" y="281"/>
                  </a:cubicBezTo>
                  <a:close/>
                  <a:moveTo>
                    <a:pt x="1438" y="250"/>
                  </a:moveTo>
                  <a:cubicBezTo>
                    <a:pt x="1435" y="241"/>
                    <a:pt x="1455" y="254"/>
                    <a:pt x="1452" y="241"/>
                  </a:cubicBezTo>
                  <a:cubicBezTo>
                    <a:pt x="1457" y="241"/>
                    <a:pt x="1454" y="249"/>
                    <a:pt x="1460" y="248"/>
                  </a:cubicBezTo>
                  <a:cubicBezTo>
                    <a:pt x="1459" y="250"/>
                    <a:pt x="1439" y="253"/>
                    <a:pt x="1438" y="250"/>
                  </a:cubicBezTo>
                  <a:close/>
                  <a:moveTo>
                    <a:pt x="1456" y="330"/>
                  </a:moveTo>
                  <a:cubicBezTo>
                    <a:pt x="1459" y="331"/>
                    <a:pt x="1462" y="333"/>
                    <a:pt x="1462" y="337"/>
                  </a:cubicBezTo>
                  <a:cubicBezTo>
                    <a:pt x="1458" y="336"/>
                    <a:pt x="1456" y="334"/>
                    <a:pt x="1456" y="330"/>
                  </a:cubicBezTo>
                  <a:close/>
                  <a:moveTo>
                    <a:pt x="1485" y="250"/>
                  </a:moveTo>
                  <a:cubicBezTo>
                    <a:pt x="1485" y="251"/>
                    <a:pt x="1485" y="253"/>
                    <a:pt x="1485" y="254"/>
                  </a:cubicBezTo>
                  <a:cubicBezTo>
                    <a:pt x="1482" y="254"/>
                    <a:pt x="1483" y="251"/>
                    <a:pt x="1482" y="250"/>
                  </a:cubicBezTo>
                  <a:cubicBezTo>
                    <a:pt x="1477" y="251"/>
                    <a:pt x="1466" y="247"/>
                    <a:pt x="1466" y="252"/>
                  </a:cubicBezTo>
                  <a:cubicBezTo>
                    <a:pt x="1462" y="252"/>
                    <a:pt x="1463" y="246"/>
                    <a:pt x="1463" y="243"/>
                  </a:cubicBezTo>
                  <a:cubicBezTo>
                    <a:pt x="1468" y="244"/>
                    <a:pt x="1471" y="242"/>
                    <a:pt x="1471" y="238"/>
                  </a:cubicBezTo>
                  <a:cubicBezTo>
                    <a:pt x="1476" y="242"/>
                    <a:pt x="1478" y="248"/>
                    <a:pt x="1487" y="247"/>
                  </a:cubicBezTo>
                  <a:cubicBezTo>
                    <a:pt x="1488" y="249"/>
                    <a:pt x="1486" y="249"/>
                    <a:pt x="1485" y="250"/>
                  </a:cubicBezTo>
                  <a:close/>
                  <a:moveTo>
                    <a:pt x="1493" y="233"/>
                  </a:moveTo>
                  <a:cubicBezTo>
                    <a:pt x="1505" y="234"/>
                    <a:pt x="1490" y="247"/>
                    <a:pt x="1493" y="233"/>
                  </a:cubicBezTo>
                  <a:close/>
                  <a:moveTo>
                    <a:pt x="1529" y="251"/>
                  </a:moveTo>
                  <a:cubicBezTo>
                    <a:pt x="1523" y="254"/>
                    <a:pt x="1525" y="247"/>
                    <a:pt x="1523" y="247"/>
                  </a:cubicBezTo>
                  <a:cubicBezTo>
                    <a:pt x="1516" y="244"/>
                    <a:pt x="1502" y="249"/>
                    <a:pt x="1493" y="247"/>
                  </a:cubicBezTo>
                  <a:cubicBezTo>
                    <a:pt x="1492" y="243"/>
                    <a:pt x="1499" y="246"/>
                    <a:pt x="1501" y="245"/>
                  </a:cubicBezTo>
                  <a:cubicBezTo>
                    <a:pt x="1504" y="242"/>
                    <a:pt x="1505" y="245"/>
                    <a:pt x="1512" y="242"/>
                  </a:cubicBezTo>
                  <a:cubicBezTo>
                    <a:pt x="1513" y="242"/>
                    <a:pt x="1517" y="243"/>
                    <a:pt x="1518" y="242"/>
                  </a:cubicBezTo>
                  <a:cubicBezTo>
                    <a:pt x="1519" y="240"/>
                    <a:pt x="1519" y="240"/>
                    <a:pt x="1520" y="242"/>
                  </a:cubicBezTo>
                  <a:cubicBezTo>
                    <a:pt x="1525" y="242"/>
                    <a:pt x="1526" y="239"/>
                    <a:pt x="1531" y="239"/>
                  </a:cubicBezTo>
                  <a:cubicBezTo>
                    <a:pt x="1532" y="245"/>
                    <a:pt x="1526" y="245"/>
                    <a:pt x="1529" y="251"/>
                  </a:cubicBezTo>
                  <a:close/>
                  <a:moveTo>
                    <a:pt x="1606" y="125"/>
                  </a:moveTo>
                  <a:cubicBezTo>
                    <a:pt x="1608" y="119"/>
                    <a:pt x="1609" y="131"/>
                    <a:pt x="1609" y="132"/>
                  </a:cubicBezTo>
                  <a:cubicBezTo>
                    <a:pt x="1608" y="137"/>
                    <a:pt x="1604" y="134"/>
                    <a:pt x="1606" y="125"/>
                  </a:cubicBezTo>
                  <a:close/>
                  <a:moveTo>
                    <a:pt x="1536" y="181"/>
                  </a:moveTo>
                  <a:cubicBezTo>
                    <a:pt x="1539" y="181"/>
                    <a:pt x="1541" y="180"/>
                    <a:pt x="1544" y="180"/>
                  </a:cubicBezTo>
                  <a:cubicBezTo>
                    <a:pt x="1546" y="182"/>
                    <a:pt x="1547" y="178"/>
                    <a:pt x="1547" y="178"/>
                  </a:cubicBezTo>
                  <a:cubicBezTo>
                    <a:pt x="1560" y="181"/>
                    <a:pt x="1525" y="188"/>
                    <a:pt x="1536" y="181"/>
                  </a:cubicBezTo>
                  <a:close/>
                  <a:moveTo>
                    <a:pt x="1566" y="340"/>
                  </a:moveTo>
                  <a:cubicBezTo>
                    <a:pt x="1566" y="338"/>
                    <a:pt x="1566" y="337"/>
                    <a:pt x="1566" y="335"/>
                  </a:cubicBezTo>
                  <a:cubicBezTo>
                    <a:pt x="1571" y="334"/>
                    <a:pt x="1574" y="335"/>
                    <a:pt x="1574" y="340"/>
                  </a:cubicBezTo>
                  <a:cubicBezTo>
                    <a:pt x="1571" y="340"/>
                    <a:pt x="1569" y="340"/>
                    <a:pt x="1566" y="340"/>
                  </a:cubicBezTo>
                  <a:close/>
                  <a:moveTo>
                    <a:pt x="1582" y="342"/>
                  </a:moveTo>
                  <a:cubicBezTo>
                    <a:pt x="1581" y="343"/>
                    <a:pt x="1574" y="336"/>
                    <a:pt x="1580" y="333"/>
                  </a:cubicBezTo>
                  <a:cubicBezTo>
                    <a:pt x="1582" y="332"/>
                    <a:pt x="1584" y="340"/>
                    <a:pt x="1582" y="342"/>
                  </a:cubicBezTo>
                  <a:close/>
                  <a:moveTo>
                    <a:pt x="1573" y="248"/>
                  </a:moveTo>
                  <a:cubicBezTo>
                    <a:pt x="1569" y="250"/>
                    <a:pt x="1569" y="237"/>
                    <a:pt x="1564" y="241"/>
                  </a:cubicBezTo>
                  <a:cubicBezTo>
                    <a:pt x="1564" y="241"/>
                    <a:pt x="1565" y="243"/>
                    <a:pt x="1564" y="244"/>
                  </a:cubicBezTo>
                  <a:cubicBezTo>
                    <a:pt x="1559" y="245"/>
                    <a:pt x="1545" y="243"/>
                    <a:pt x="1537" y="244"/>
                  </a:cubicBezTo>
                  <a:cubicBezTo>
                    <a:pt x="1537" y="236"/>
                    <a:pt x="1545" y="242"/>
                    <a:pt x="1548" y="241"/>
                  </a:cubicBezTo>
                  <a:cubicBezTo>
                    <a:pt x="1550" y="241"/>
                    <a:pt x="1550" y="239"/>
                    <a:pt x="1551" y="239"/>
                  </a:cubicBezTo>
                  <a:cubicBezTo>
                    <a:pt x="1553" y="239"/>
                    <a:pt x="1557" y="243"/>
                    <a:pt x="1556" y="237"/>
                  </a:cubicBezTo>
                  <a:cubicBezTo>
                    <a:pt x="1558" y="238"/>
                    <a:pt x="1559" y="238"/>
                    <a:pt x="1561" y="239"/>
                  </a:cubicBezTo>
                  <a:cubicBezTo>
                    <a:pt x="1562" y="239"/>
                    <a:pt x="1566" y="238"/>
                    <a:pt x="1567" y="239"/>
                  </a:cubicBezTo>
                  <a:cubicBezTo>
                    <a:pt x="1569" y="241"/>
                    <a:pt x="1568" y="240"/>
                    <a:pt x="1578" y="239"/>
                  </a:cubicBezTo>
                  <a:cubicBezTo>
                    <a:pt x="1580" y="238"/>
                    <a:pt x="1588" y="240"/>
                    <a:pt x="1589" y="238"/>
                  </a:cubicBezTo>
                  <a:cubicBezTo>
                    <a:pt x="1592" y="235"/>
                    <a:pt x="1589" y="239"/>
                    <a:pt x="1600" y="238"/>
                  </a:cubicBezTo>
                  <a:cubicBezTo>
                    <a:pt x="1605" y="238"/>
                    <a:pt x="1606" y="236"/>
                    <a:pt x="1611" y="236"/>
                  </a:cubicBezTo>
                  <a:cubicBezTo>
                    <a:pt x="1613" y="249"/>
                    <a:pt x="1568" y="231"/>
                    <a:pt x="1573" y="248"/>
                  </a:cubicBezTo>
                  <a:close/>
                  <a:moveTo>
                    <a:pt x="1593" y="337"/>
                  </a:moveTo>
                  <a:cubicBezTo>
                    <a:pt x="1596" y="328"/>
                    <a:pt x="1599" y="337"/>
                    <a:pt x="1604" y="337"/>
                  </a:cubicBezTo>
                  <a:cubicBezTo>
                    <a:pt x="1606" y="337"/>
                    <a:pt x="1609" y="333"/>
                    <a:pt x="1612" y="334"/>
                  </a:cubicBezTo>
                  <a:cubicBezTo>
                    <a:pt x="1610" y="343"/>
                    <a:pt x="1601" y="336"/>
                    <a:pt x="1593" y="337"/>
                  </a:cubicBezTo>
                  <a:close/>
                  <a:moveTo>
                    <a:pt x="1619" y="238"/>
                  </a:moveTo>
                  <a:cubicBezTo>
                    <a:pt x="1618" y="242"/>
                    <a:pt x="1626" y="239"/>
                    <a:pt x="1627" y="240"/>
                  </a:cubicBezTo>
                  <a:cubicBezTo>
                    <a:pt x="1630" y="244"/>
                    <a:pt x="1618" y="241"/>
                    <a:pt x="1619" y="247"/>
                  </a:cubicBezTo>
                  <a:cubicBezTo>
                    <a:pt x="1615" y="245"/>
                    <a:pt x="1616" y="237"/>
                    <a:pt x="1613" y="233"/>
                  </a:cubicBezTo>
                  <a:cubicBezTo>
                    <a:pt x="1618" y="237"/>
                    <a:pt x="1623" y="231"/>
                    <a:pt x="1633" y="233"/>
                  </a:cubicBezTo>
                  <a:cubicBezTo>
                    <a:pt x="1636" y="241"/>
                    <a:pt x="1624" y="237"/>
                    <a:pt x="1619" y="238"/>
                  </a:cubicBezTo>
                  <a:close/>
                  <a:moveTo>
                    <a:pt x="1642" y="320"/>
                  </a:moveTo>
                  <a:cubicBezTo>
                    <a:pt x="1644" y="319"/>
                    <a:pt x="1647" y="313"/>
                    <a:pt x="1648" y="313"/>
                  </a:cubicBezTo>
                  <a:cubicBezTo>
                    <a:pt x="1651" y="312"/>
                    <a:pt x="1651" y="320"/>
                    <a:pt x="1642" y="320"/>
                  </a:cubicBezTo>
                  <a:close/>
                  <a:moveTo>
                    <a:pt x="1644" y="249"/>
                  </a:moveTo>
                  <a:cubicBezTo>
                    <a:pt x="1652" y="240"/>
                    <a:pt x="1653" y="256"/>
                    <a:pt x="1644" y="249"/>
                  </a:cubicBezTo>
                  <a:close/>
                  <a:moveTo>
                    <a:pt x="1638" y="245"/>
                  </a:moveTo>
                  <a:cubicBezTo>
                    <a:pt x="1634" y="243"/>
                    <a:pt x="1638" y="242"/>
                    <a:pt x="1641" y="242"/>
                  </a:cubicBezTo>
                  <a:cubicBezTo>
                    <a:pt x="1642" y="238"/>
                    <a:pt x="1638" y="237"/>
                    <a:pt x="1638" y="240"/>
                  </a:cubicBezTo>
                  <a:cubicBezTo>
                    <a:pt x="1637" y="241"/>
                    <a:pt x="1635" y="236"/>
                    <a:pt x="1635" y="235"/>
                  </a:cubicBezTo>
                  <a:cubicBezTo>
                    <a:pt x="1636" y="234"/>
                    <a:pt x="1640" y="236"/>
                    <a:pt x="1641" y="235"/>
                  </a:cubicBezTo>
                  <a:cubicBezTo>
                    <a:pt x="1642" y="235"/>
                    <a:pt x="1640" y="231"/>
                    <a:pt x="1641" y="230"/>
                  </a:cubicBezTo>
                  <a:cubicBezTo>
                    <a:pt x="1644" y="229"/>
                    <a:pt x="1643" y="235"/>
                    <a:pt x="1644" y="235"/>
                  </a:cubicBezTo>
                  <a:cubicBezTo>
                    <a:pt x="1644" y="236"/>
                    <a:pt x="1650" y="232"/>
                    <a:pt x="1652" y="235"/>
                  </a:cubicBezTo>
                  <a:cubicBezTo>
                    <a:pt x="1649" y="238"/>
                    <a:pt x="1637" y="240"/>
                    <a:pt x="1652" y="240"/>
                  </a:cubicBezTo>
                  <a:cubicBezTo>
                    <a:pt x="1648" y="247"/>
                    <a:pt x="1643" y="241"/>
                    <a:pt x="1638" y="245"/>
                  </a:cubicBezTo>
                  <a:close/>
                  <a:moveTo>
                    <a:pt x="1739" y="203"/>
                  </a:moveTo>
                  <a:cubicBezTo>
                    <a:pt x="1739" y="206"/>
                    <a:pt x="1731" y="204"/>
                    <a:pt x="1731" y="208"/>
                  </a:cubicBezTo>
                  <a:cubicBezTo>
                    <a:pt x="1722" y="205"/>
                    <a:pt x="1734" y="201"/>
                    <a:pt x="1739" y="203"/>
                  </a:cubicBezTo>
                  <a:close/>
                  <a:moveTo>
                    <a:pt x="1656" y="331"/>
                  </a:moveTo>
                  <a:cubicBezTo>
                    <a:pt x="1656" y="330"/>
                    <a:pt x="1656" y="328"/>
                    <a:pt x="1656" y="327"/>
                  </a:cubicBezTo>
                  <a:cubicBezTo>
                    <a:pt x="1660" y="326"/>
                    <a:pt x="1664" y="326"/>
                    <a:pt x="1667" y="326"/>
                  </a:cubicBezTo>
                  <a:cubicBezTo>
                    <a:pt x="1670" y="333"/>
                    <a:pt x="1661" y="331"/>
                    <a:pt x="1656" y="331"/>
                  </a:cubicBezTo>
                  <a:close/>
                  <a:moveTo>
                    <a:pt x="1662" y="315"/>
                  </a:moveTo>
                  <a:cubicBezTo>
                    <a:pt x="1663" y="315"/>
                    <a:pt x="1665" y="315"/>
                    <a:pt x="1667" y="315"/>
                  </a:cubicBezTo>
                  <a:cubicBezTo>
                    <a:pt x="1668" y="321"/>
                    <a:pt x="1647" y="314"/>
                    <a:pt x="1662" y="315"/>
                  </a:cubicBezTo>
                  <a:close/>
                  <a:moveTo>
                    <a:pt x="1669" y="289"/>
                  </a:moveTo>
                  <a:cubicBezTo>
                    <a:pt x="1662" y="297"/>
                    <a:pt x="1652" y="284"/>
                    <a:pt x="1669" y="289"/>
                  </a:cubicBezTo>
                  <a:close/>
                  <a:moveTo>
                    <a:pt x="1663" y="268"/>
                  </a:moveTo>
                  <a:cubicBezTo>
                    <a:pt x="1664" y="268"/>
                    <a:pt x="1666" y="263"/>
                    <a:pt x="1666" y="263"/>
                  </a:cubicBezTo>
                  <a:cubicBezTo>
                    <a:pt x="1666" y="263"/>
                    <a:pt x="1666" y="261"/>
                    <a:pt x="1666" y="261"/>
                  </a:cubicBezTo>
                  <a:cubicBezTo>
                    <a:pt x="1676" y="259"/>
                    <a:pt x="1667" y="271"/>
                    <a:pt x="1663" y="268"/>
                  </a:cubicBezTo>
                  <a:close/>
                  <a:moveTo>
                    <a:pt x="1697" y="293"/>
                  </a:moveTo>
                  <a:cubicBezTo>
                    <a:pt x="1695" y="297"/>
                    <a:pt x="1694" y="292"/>
                    <a:pt x="1694" y="288"/>
                  </a:cubicBezTo>
                  <a:cubicBezTo>
                    <a:pt x="1686" y="285"/>
                    <a:pt x="1700" y="286"/>
                    <a:pt x="1697" y="293"/>
                  </a:cubicBezTo>
                  <a:close/>
                  <a:moveTo>
                    <a:pt x="1705" y="269"/>
                  </a:moveTo>
                  <a:cubicBezTo>
                    <a:pt x="1700" y="269"/>
                    <a:pt x="1698" y="265"/>
                    <a:pt x="1699" y="260"/>
                  </a:cubicBezTo>
                  <a:cubicBezTo>
                    <a:pt x="1704" y="260"/>
                    <a:pt x="1705" y="264"/>
                    <a:pt x="1705" y="269"/>
                  </a:cubicBezTo>
                  <a:close/>
                  <a:moveTo>
                    <a:pt x="1718" y="269"/>
                  </a:moveTo>
                  <a:cubicBezTo>
                    <a:pt x="1713" y="268"/>
                    <a:pt x="1716" y="260"/>
                    <a:pt x="1710" y="260"/>
                  </a:cubicBezTo>
                  <a:cubicBezTo>
                    <a:pt x="1710" y="257"/>
                    <a:pt x="1715" y="258"/>
                    <a:pt x="1718" y="257"/>
                  </a:cubicBezTo>
                  <a:cubicBezTo>
                    <a:pt x="1717" y="265"/>
                    <a:pt x="1723" y="264"/>
                    <a:pt x="1718" y="269"/>
                  </a:cubicBezTo>
                  <a:close/>
                  <a:moveTo>
                    <a:pt x="1718" y="238"/>
                  </a:moveTo>
                  <a:cubicBezTo>
                    <a:pt x="1720" y="234"/>
                    <a:pt x="1726" y="233"/>
                    <a:pt x="1734" y="234"/>
                  </a:cubicBezTo>
                  <a:cubicBezTo>
                    <a:pt x="1731" y="237"/>
                    <a:pt x="1725" y="238"/>
                    <a:pt x="1718" y="238"/>
                  </a:cubicBezTo>
                  <a:close/>
                  <a:moveTo>
                    <a:pt x="1738" y="309"/>
                  </a:moveTo>
                  <a:cubicBezTo>
                    <a:pt x="1739" y="306"/>
                    <a:pt x="1742" y="304"/>
                    <a:pt x="1746" y="304"/>
                  </a:cubicBezTo>
                  <a:cubicBezTo>
                    <a:pt x="1745" y="307"/>
                    <a:pt x="1743" y="309"/>
                    <a:pt x="1738" y="309"/>
                  </a:cubicBezTo>
                  <a:close/>
                  <a:moveTo>
                    <a:pt x="1747" y="318"/>
                  </a:moveTo>
                  <a:cubicBezTo>
                    <a:pt x="1747" y="316"/>
                    <a:pt x="1747" y="315"/>
                    <a:pt x="1747" y="313"/>
                  </a:cubicBezTo>
                  <a:cubicBezTo>
                    <a:pt x="1748" y="313"/>
                    <a:pt x="1750" y="313"/>
                    <a:pt x="1752" y="313"/>
                  </a:cubicBezTo>
                  <a:cubicBezTo>
                    <a:pt x="1752" y="315"/>
                    <a:pt x="1752" y="316"/>
                    <a:pt x="1752" y="318"/>
                  </a:cubicBezTo>
                  <a:cubicBezTo>
                    <a:pt x="1750" y="318"/>
                    <a:pt x="1748" y="318"/>
                    <a:pt x="1747" y="318"/>
                  </a:cubicBezTo>
                  <a:close/>
                  <a:moveTo>
                    <a:pt x="1745" y="236"/>
                  </a:moveTo>
                  <a:cubicBezTo>
                    <a:pt x="1752" y="231"/>
                    <a:pt x="1741" y="225"/>
                    <a:pt x="1740" y="233"/>
                  </a:cubicBezTo>
                  <a:cubicBezTo>
                    <a:pt x="1733" y="231"/>
                    <a:pt x="1714" y="229"/>
                    <a:pt x="1712" y="234"/>
                  </a:cubicBezTo>
                  <a:cubicBezTo>
                    <a:pt x="1712" y="234"/>
                    <a:pt x="1713" y="239"/>
                    <a:pt x="1712" y="239"/>
                  </a:cubicBezTo>
                  <a:cubicBezTo>
                    <a:pt x="1708" y="239"/>
                    <a:pt x="1712" y="233"/>
                    <a:pt x="1709" y="232"/>
                  </a:cubicBezTo>
                  <a:cubicBezTo>
                    <a:pt x="1705" y="230"/>
                    <a:pt x="1701" y="234"/>
                    <a:pt x="1699" y="234"/>
                  </a:cubicBezTo>
                  <a:cubicBezTo>
                    <a:pt x="1694" y="235"/>
                    <a:pt x="1683" y="231"/>
                    <a:pt x="1685" y="239"/>
                  </a:cubicBezTo>
                  <a:cubicBezTo>
                    <a:pt x="1683" y="237"/>
                    <a:pt x="1677" y="236"/>
                    <a:pt x="1677" y="239"/>
                  </a:cubicBezTo>
                  <a:cubicBezTo>
                    <a:pt x="1674" y="239"/>
                    <a:pt x="1675" y="237"/>
                    <a:pt x="1677" y="237"/>
                  </a:cubicBezTo>
                  <a:cubicBezTo>
                    <a:pt x="1678" y="235"/>
                    <a:pt x="1670" y="233"/>
                    <a:pt x="1668" y="235"/>
                  </a:cubicBezTo>
                  <a:cubicBezTo>
                    <a:pt x="1665" y="237"/>
                    <a:pt x="1667" y="234"/>
                    <a:pt x="1663" y="235"/>
                  </a:cubicBezTo>
                  <a:cubicBezTo>
                    <a:pt x="1660" y="235"/>
                    <a:pt x="1658" y="235"/>
                    <a:pt x="1657" y="237"/>
                  </a:cubicBezTo>
                  <a:cubicBezTo>
                    <a:pt x="1653" y="236"/>
                    <a:pt x="1659" y="234"/>
                    <a:pt x="1657" y="230"/>
                  </a:cubicBezTo>
                  <a:cubicBezTo>
                    <a:pt x="1660" y="229"/>
                    <a:pt x="1660" y="232"/>
                    <a:pt x="1660" y="232"/>
                  </a:cubicBezTo>
                  <a:cubicBezTo>
                    <a:pt x="1663" y="233"/>
                    <a:pt x="1663" y="230"/>
                    <a:pt x="1663" y="230"/>
                  </a:cubicBezTo>
                  <a:cubicBezTo>
                    <a:pt x="1666" y="230"/>
                    <a:pt x="1669" y="233"/>
                    <a:pt x="1671" y="232"/>
                  </a:cubicBezTo>
                  <a:cubicBezTo>
                    <a:pt x="1675" y="231"/>
                    <a:pt x="1680" y="223"/>
                    <a:pt x="1687" y="230"/>
                  </a:cubicBezTo>
                  <a:cubicBezTo>
                    <a:pt x="1691" y="229"/>
                    <a:pt x="1690" y="225"/>
                    <a:pt x="1690" y="223"/>
                  </a:cubicBezTo>
                  <a:cubicBezTo>
                    <a:pt x="1696" y="223"/>
                    <a:pt x="1699" y="222"/>
                    <a:pt x="1698" y="218"/>
                  </a:cubicBezTo>
                  <a:cubicBezTo>
                    <a:pt x="1707" y="219"/>
                    <a:pt x="1704" y="228"/>
                    <a:pt x="1693" y="225"/>
                  </a:cubicBezTo>
                  <a:cubicBezTo>
                    <a:pt x="1692" y="229"/>
                    <a:pt x="1696" y="229"/>
                    <a:pt x="1696" y="232"/>
                  </a:cubicBezTo>
                  <a:cubicBezTo>
                    <a:pt x="1699" y="233"/>
                    <a:pt x="1697" y="228"/>
                    <a:pt x="1698" y="227"/>
                  </a:cubicBezTo>
                  <a:cubicBezTo>
                    <a:pt x="1701" y="226"/>
                    <a:pt x="1701" y="229"/>
                    <a:pt x="1701" y="229"/>
                  </a:cubicBezTo>
                  <a:cubicBezTo>
                    <a:pt x="1701" y="229"/>
                    <a:pt x="1710" y="227"/>
                    <a:pt x="1712" y="227"/>
                  </a:cubicBezTo>
                  <a:cubicBezTo>
                    <a:pt x="1714" y="226"/>
                    <a:pt x="1719" y="222"/>
                    <a:pt x="1720" y="229"/>
                  </a:cubicBezTo>
                  <a:cubicBezTo>
                    <a:pt x="1723" y="230"/>
                    <a:pt x="1722" y="225"/>
                    <a:pt x="1723" y="224"/>
                  </a:cubicBezTo>
                  <a:cubicBezTo>
                    <a:pt x="1734" y="222"/>
                    <a:pt x="1746" y="228"/>
                    <a:pt x="1756" y="224"/>
                  </a:cubicBezTo>
                  <a:cubicBezTo>
                    <a:pt x="1754" y="229"/>
                    <a:pt x="1753" y="235"/>
                    <a:pt x="1745" y="236"/>
                  </a:cubicBezTo>
                  <a:close/>
                  <a:moveTo>
                    <a:pt x="1753" y="186"/>
                  </a:moveTo>
                  <a:cubicBezTo>
                    <a:pt x="1755" y="187"/>
                    <a:pt x="1755" y="189"/>
                    <a:pt x="1758" y="188"/>
                  </a:cubicBezTo>
                  <a:cubicBezTo>
                    <a:pt x="1758" y="194"/>
                    <a:pt x="1745" y="191"/>
                    <a:pt x="1753" y="186"/>
                  </a:cubicBezTo>
                  <a:close/>
                  <a:moveTo>
                    <a:pt x="1831" y="110"/>
                  </a:moveTo>
                  <a:cubicBezTo>
                    <a:pt x="1831" y="108"/>
                    <a:pt x="1831" y="107"/>
                    <a:pt x="1831" y="105"/>
                  </a:cubicBezTo>
                  <a:cubicBezTo>
                    <a:pt x="1837" y="104"/>
                    <a:pt x="1832" y="113"/>
                    <a:pt x="1834" y="117"/>
                  </a:cubicBezTo>
                  <a:cubicBezTo>
                    <a:pt x="1831" y="115"/>
                    <a:pt x="1829" y="114"/>
                    <a:pt x="1828" y="117"/>
                  </a:cubicBezTo>
                  <a:cubicBezTo>
                    <a:pt x="1819" y="115"/>
                    <a:pt x="1831" y="112"/>
                    <a:pt x="1831" y="110"/>
                  </a:cubicBezTo>
                  <a:close/>
                  <a:moveTo>
                    <a:pt x="1792" y="230"/>
                  </a:moveTo>
                  <a:cubicBezTo>
                    <a:pt x="1789" y="237"/>
                    <a:pt x="1781" y="233"/>
                    <a:pt x="1775" y="233"/>
                  </a:cubicBezTo>
                  <a:cubicBezTo>
                    <a:pt x="1776" y="228"/>
                    <a:pt x="1787" y="232"/>
                    <a:pt x="1792" y="230"/>
                  </a:cubicBezTo>
                  <a:close/>
                  <a:moveTo>
                    <a:pt x="1779" y="259"/>
                  </a:moveTo>
                  <a:cubicBezTo>
                    <a:pt x="1776" y="258"/>
                    <a:pt x="1776" y="256"/>
                    <a:pt x="1773" y="256"/>
                  </a:cubicBezTo>
                  <a:cubicBezTo>
                    <a:pt x="1773" y="255"/>
                    <a:pt x="1773" y="253"/>
                    <a:pt x="1773" y="252"/>
                  </a:cubicBezTo>
                  <a:cubicBezTo>
                    <a:pt x="1779" y="250"/>
                    <a:pt x="1778" y="255"/>
                    <a:pt x="1779" y="259"/>
                  </a:cubicBezTo>
                  <a:close/>
                  <a:moveTo>
                    <a:pt x="1771" y="310"/>
                  </a:moveTo>
                  <a:cubicBezTo>
                    <a:pt x="1777" y="309"/>
                    <a:pt x="1775" y="315"/>
                    <a:pt x="1780" y="315"/>
                  </a:cubicBezTo>
                  <a:cubicBezTo>
                    <a:pt x="1780" y="319"/>
                    <a:pt x="1769" y="315"/>
                    <a:pt x="1771" y="310"/>
                  </a:cubicBezTo>
                  <a:close/>
                  <a:moveTo>
                    <a:pt x="1790" y="280"/>
                  </a:moveTo>
                  <a:cubicBezTo>
                    <a:pt x="1788" y="283"/>
                    <a:pt x="1792" y="288"/>
                    <a:pt x="1785" y="287"/>
                  </a:cubicBezTo>
                  <a:cubicBezTo>
                    <a:pt x="1789" y="283"/>
                    <a:pt x="1786" y="274"/>
                    <a:pt x="1795" y="275"/>
                  </a:cubicBezTo>
                  <a:cubicBezTo>
                    <a:pt x="1796" y="278"/>
                    <a:pt x="1791" y="278"/>
                    <a:pt x="1790" y="280"/>
                  </a:cubicBezTo>
                  <a:close/>
                  <a:moveTo>
                    <a:pt x="1789" y="226"/>
                  </a:moveTo>
                  <a:cubicBezTo>
                    <a:pt x="1787" y="225"/>
                    <a:pt x="1786" y="226"/>
                    <a:pt x="1786" y="228"/>
                  </a:cubicBezTo>
                  <a:cubicBezTo>
                    <a:pt x="1784" y="228"/>
                    <a:pt x="1784" y="225"/>
                    <a:pt x="1783" y="223"/>
                  </a:cubicBezTo>
                  <a:cubicBezTo>
                    <a:pt x="1785" y="223"/>
                    <a:pt x="1787" y="223"/>
                    <a:pt x="1789" y="223"/>
                  </a:cubicBezTo>
                  <a:cubicBezTo>
                    <a:pt x="1787" y="218"/>
                    <a:pt x="1781" y="219"/>
                    <a:pt x="1786" y="214"/>
                  </a:cubicBezTo>
                  <a:cubicBezTo>
                    <a:pt x="1791" y="214"/>
                    <a:pt x="1792" y="218"/>
                    <a:pt x="1792" y="223"/>
                  </a:cubicBezTo>
                  <a:cubicBezTo>
                    <a:pt x="1798" y="219"/>
                    <a:pt x="1803" y="224"/>
                    <a:pt x="1805" y="221"/>
                  </a:cubicBezTo>
                  <a:cubicBezTo>
                    <a:pt x="1809" y="222"/>
                    <a:pt x="1807" y="224"/>
                    <a:pt x="1805" y="225"/>
                  </a:cubicBezTo>
                  <a:cubicBezTo>
                    <a:pt x="1799" y="229"/>
                    <a:pt x="1799" y="225"/>
                    <a:pt x="1789" y="226"/>
                  </a:cubicBezTo>
                  <a:close/>
                  <a:moveTo>
                    <a:pt x="1800" y="235"/>
                  </a:moveTo>
                  <a:cubicBezTo>
                    <a:pt x="1792" y="232"/>
                    <a:pt x="1806" y="225"/>
                    <a:pt x="1808" y="230"/>
                  </a:cubicBezTo>
                  <a:cubicBezTo>
                    <a:pt x="1808" y="233"/>
                    <a:pt x="1800" y="231"/>
                    <a:pt x="1800" y="235"/>
                  </a:cubicBezTo>
                  <a:close/>
                  <a:moveTo>
                    <a:pt x="1812" y="314"/>
                  </a:moveTo>
                  <a:cubicBezTo>
                    <a:pt x="1808" y="312"/>
                    <a:pt x="1806" y="308"/>
                    <a:pt x="1810" y="305"/>
                  </a:cubicBezTo>
                  <a:cubicBezTo>
                    <a:pt x="1814" y="307"/>
                    <a:pt x="1816" y="311"/>
                    <a:pt x="1812" y="314"/>
                  </a:cubicBezTo>
                  <a:close/>
                  <a:moveTo>
                    <a:pt x="1811" y="258"/>
                  </a:moveTo>
                  <a:cubicBezTo>
                    <a:pt x="1811" y="256"/>
                    <a:pt x="1811" y="255"/>
                    <a:pt x="1811" y="253"/>
                  </a:cubicBezTo>
                  <a:cubicBezTo>
                    <a:pt x="1817" y="252"/>
                    <a:pt x="1817" y="257"/>
                    <a:pt x="1817" y="260"/>
                  </a:cubicBezTo>
                  <a:cubicBezTo>
                    <a:pt x="1815" y="260"/>
                    <a:pt x="1814" y="258"/>
                    <a:pt x="1811" y="258"/>
                  </a:cubicBezTo>
                  <a:close/>
                  <a:moveTo>
                    <a:pt x="1822" y="225"/>
                  </a:moveTo>
                  <a:cubicBezTo>
                    <a:pt x="1819" y="225"/>
                    <a:pt x="1816" y="225"/>
                    <a:pt x="1814" y="225"/>
                  </a:cubicBezTo>
                  <a:cubicBezTo>
                    <a:pt x="1816" y="218"/>
                    <a:pt x="1810" y="219"/>
                    <a:pt x="1811" y="213"/>
                  </a:cubicBezTo>
                  <a:cubicBezTo>
                    <a:pt x="1815" y="212"/>
                    <a:pt x="1823" y="218"/>
                    <a:pt x="1816" y="218"/>
                  </a:cubicBezTo>
                  <a:cubicBezTo>
                    <a:pt x="1818" y="220"/>
                    <a:pt x="1823" y="220"/>
                    <a:pt x="1822" y="225"/>
                  </a:cubicBezTo>
                  <a:close/>
                  <a:moveTo>
                    <a:pt x="1815" y="155"/>
                  </a:moveTo>
                  <a:cubicBezTo>
                    <a:pt x="1817" y="153"/>
                    <a:pt x="1818" y="151"/>
                    <a:pt x="1818" y="147"/>
                  </a:cubicBezTo>
                  <a:cubicBezTo>
                    <a:pt x="1821" y="148"/>
                    <a:pt x="1822" y="152"/>
                    <a:pt x="1826" y="152"/>
                  </a:cubicBezTo>
                  <a:cubicBezTo>
                    <a:pt x="1825" y="155"/>
                    <a:pt x="1819" y="154"/>
                    <a:pt x="1815" y="155"/>
                  </a:cubicBezTo>
                  <a:close/>
                  <a:moveTo>
                    <a:pt x="1829" y="147"/>
                  </a:moveTo>
                  <a:cubicBezTo>
                    <a:pt x="1832" y="148"/>
                    <a:pt x="1831" y="152"/>
                    <a:pt x="1834" y="152"/>
                  </a:cubicBezTo>
                  <a:cubicBezTo>
                    <a:pt x="1833" y="158"/>
                    <a:pt x="1826" y="152"/>
                    <a:pt x="1829" y="147"/>
                  </a:cubicBezTo>
                  <a:close/>
                  <a:moveTo>
                    <a:pt x="1830" y="229"/>
                  </a:moveTo>
                  <a:cubicBezTo>
                    <a:pt x="1826" y="225"/>
                    <a:pt x="1830" y="226"/>
                    <a:pt x="1830" y="220"/>
                  </a:cubicBezTo>
                  <a:cubicBezTo>
                    <a:pt x="1835" y="220"/>
                    <a:pt x="1837" y="224"/>
                    <a:pt x="1838" y="220"/>
                  </a:cubicBezTo>
                  <a:cubicBezTo>
                    <a:pt x="1843" y="220"/>
                    <a:pt x="1836" y="230"/>
                    <a:pt x="1830" y="229"/>
                  </a:cubicBezTo>
                  <a:close/>
                  <a:moveTo>
                    <a:pt x="1850" y="137"/>
                  </a:moveTo>
                  <a:cubicBezTo>
                    <a:pt x="1850" y="140"/>
                    <a:pt x="1845" y="139"/>
                    <a:pt x="1845" y="142"/>
                  </a:cubicBezTo>
                  <a:cubicBezTo>
                    <a:pt x="1842" y="142"/>
                    <a:pt x="1843" y="139"/>
                    <a:pt x="1842" y="138"/>
                  </a:cubicBezTo>
                  <a:cubicBezTo>
                    <a:pt x="1846" y="135"/>
                    <a:pt x="1847" y="137"/>
                    <a:pt x="1850" y="137"/>
                  </a:cubicBezTo>
                  <a:close/>
                  <a:moveTo>
                    <a:pt x="1845" y="154"/>
                  </a:moveTo>
                  <a:cubicBezTo>
                    <a:pt x="1844" y="154"/>
                    <a:pt x="1842" y="151"/>
                    <a:pt x="1843" y="149"/>
                  </a:cubicBezTo>
                  <a:cubicBezTo>
                    <a:pt x="1846" y="141"/>
                    <a:pt x="1848" y="154"/>
                    <a:pt x="1845" y="154"/>
                  </a:cubicBezTo>
                  <a:close/>
                  <a:moveTo>
                    <a:pt x="1841" y="227"/>
                  </a:moveTo>
                  <a:cubicBezTo>
                    <a:pt x="1840" y="223"/>
                    <a:pt x="1847" y="224"/>
                    <a:pt x="1849" y="222"/>
                  </a:cubicBezTo>
                  <a:cubicBezTo>
                    <a:pt x="1855" y="217"/>
                    <a:pt x="1850" y="226"/>
                    <a:pt x="1841" y="227"/>
                  </a:cubicBezTo>
                  <a:close/>
                  <a:moveTo>
                    <a:pt x="1855" y="220"/>
                  </a:moveTo>
                  <a:cubicBezTo>
                    <a:pt x="1864" y="221"/>
                    <a:pt x="1851" y="235"/>
                    <a:pt x="1858" y="234"/>
                  </a:cubicBezTo>
                  <a:cubicBezTo>
                    <a:pt x="1848" y="244"/>
                    <a:pt x="1856" y="220"/>
                    <a:pt x="1852" y="229"/>
                  </a:cubicBezTo>
                  <a:cubicBezTo>
                    <a:pt x="1844" y="227"/>
                    <a:pt x="1858" y="225"/>
                    <a:pt x="1855" y="220"/>
                  </a:cubicBezTo>
                  <a:close/>
                  <a:moveTo>
                    <a:pt x="1853" y="255"/>
                  </a:moveTo>
                  <a:cubicBezTo>
                    <a:pt x="1849" y="254"/>
                    <a:pt x="1850" y="249"/>
                    <a:pt x="1850" y="246"/>
                  </a:cubicBezTo>
                  <a:cubicBezTo>
                    <a:pt x="1856" y="246"/>
                    <a:pt x="1856" y="252"/>
                    <a:pt x="1853" y="255"/>
                  </a:cubicBezTo>
                  <a:close/>
                  <a:moveTo>
                    <a:pt x="1859" y="309"/>
                  </a:moveTo>
                  <a:cubicBezTo>
                    <a:pt x="1856" y="308"/>
                    <a:pt x="1857" y="304"/>
                    <a:pt x="1853" y="304"/>
                  </a:cubicBezTo>
                  <a:cubicBezTo>
                    <a:pt x="1854" y="302"/>
                    <a:pt x="1858" y="302"/>
                    <a:pt x="1862" y="302"/>
                  </a:cubicBezTo>
                  <a:cubicBezTo>
                    <a:pt x="1862" y="306"/>
                    <a:pt x="1859" y="306"/>
                    <a:pt x="1859" y="309"/>
                  </a:cubicBezTo>
                  <a:close/>
                  <a:moveTo>
                    <a:pt x="1848" y="154"/>
                  </a:moveTo>
                  <a:cubicBezTo>
                    <a:pt x="1849" y="150"/>
                    <a:pt x="1852" y="148"/>
                    <a:pt x="1853" y="144"/>
                  </a:cubicBezTo>
                  <a:cubicBezTo>
                    <a:pt x="1857" y="145"/>
                    <a:pt x="1860" y="149"/>
                    <a:pt x="1856" y="149"/>
                  </a:cubicBezTo>
                  <a:cubicBezTo>
                    <a:pt x="1856" y="151"/>
                    <a:pt x="1860" y="151"/>
                    <a:pt x="1862" y="151"/>
                  </a:cubicBezTo>
                  <a:cubicBezTo>
                    <a:pt x="1871" y="154"/>
                    <a:pt x="1852" y="154"/>
                    <a:pt x="1848" y="154"/>
                  </a:cubicBezTo>
                  <a:close/>
                  <a:moveTo>
                    <a:pt x="1928" y="178"/>
                  </a:moveTo>
                  <a:cubicBezTo>
                    <a:pt x="1929" y="177"/>
                    <a:pt x="1931" y="176"/>
                    <a:pt x="1931" y="174"/>
                  </a:cubicBezTo>
                  <a:cubicBezTo>
                    <a:pt x="1933" y="174"/>
                    <a:pt x="1934" y="174"/>
                    <a:pt x="1936" y="174"/>
                  </a:cubicBezTo>
                  <a:cubicBezTo>
                    <a:pt x="1938" y="179"/>
                    <a:pt x="1932" y="178"/>
                    <a:pt x="1928" y="178"/>
                  </a:cubicBezTo>
                  <a:close/>
                  <a:moveTo>
                    <a:pt x="1930" y="138"/>
                  </a:moveTo>
                  <a:cubicBezTo>
                    <a:pt x="1937" y="141"/>
                    <a:pt x="1932" y="154"/>
                    <a:pt x="1922" y="150"/>
                  </a:cubicBezTo>
                  <a:cubicBezTo>
                    <a:pt x="1919" y="142"/>
                    <a:pt x="1928" y="143"/>
                    <a:pt x="1930" y="138"/>
                  </a:cubicBezTo>
                  <a:close/>
                  <a:moveTo>
                    <a:pt x="1920" y="193"/>
                  </a:moveTo>
                  <a:cubicBezTo>
                    <a:pt x="1929" y="190"/>
                    <a:pt x="1922" y="200"/>
                    <a:pt x="1931" y="197"/>
                  </a:cubicBezTo>
                  <a:cubicBezTo>
                    <a:pt x="1930" y="202"/>
                    <a:pt x="1918" y="198"/>
                    <a:pt x="1920" y="193"/>
                  </a:cubicBezTo>
                  <a:close/>
                  <a:moveTo>
                    <a:pt x="1892" y="144"/>
                  </a:moveTo>
                  <a:cubicBezTo>
                    <a:pt x="1896" y="145"/>
                    <a:pt x="1894" y="147"/>
                    <a:pt x="1892" y="149"/>
                  </a:cubicBezTo>
                  <a:cubicBezTo>
                    <a:pt x="1887" y="152"/>
                    <a:pt x="1885" y="151"/>
                    <a:pt x="1892" y="144"/>
                  </a:cubicBezTo>
                  <a:close/>
                  <a:moveTo>
                    <a:pt x="1875" y="123"/>
                  </a:moveTo>
                  <a:cubicBezTo>
                    <a:pt x="1878" y="124"/>
                    <a:pt x="1877" y="128"/>
                    <a:pt x="1881" y="128"/>
                  </a:cubicBezTo>
                  <a:cubicBezTo>
                    <a:pt x="1880" y="130"/>
                    <a:pt x="1877" y="129"/>
                    <a:pt x="1875" y="130"/>
                  </a:cubicBezTo>
                  <a:cubicBezTo>
                    <a:pt x="1872" y="127"/>
                    <a:pt x="1874" y="126"/>
                    <a:pt x="1875" y="123"/>
                  </a:cubicBezTo>
                  <a:close/>
                  <a:moveTo>
                    <a:pt x="1867" y="147"/>
                  </a:moveTo>
                  <a:cubicBezTo>
                    <a:pt x="1869" y="138"/>
                    <a:pt x="1883" y="151"/>
                    <a:pt x="1883" y="144"/>
                  </a:cubicBezTo>
                  <a:cubicBezTo>
                    <a:pt x="1880" y="141"/>
                    <a:pt x="1883" y="143"/>
                    <a:pt x="1886" y="144"/>
                  </a:cubicBezTo>
                  <a:cubicBezTo>
                    <a:pt x="1882" y="147"/>
                    <a:pt x="1883" y="155"/>
                    <a:pt x="1873" y="154"/>
                  </a:cubicBezTo>
                  <a:cubicBezTo>
                    <a:pt x="1874" y="149"/>
                    <a:pt x="1872" y="146"/>
                    <a:pt x="1867" y="147"/>
                  </a:cubicBezTo>
                  <a:close/>
                  <a:moveTo>
                    <a:pt x="1877" y="229"/>
                  </a:moveTo>
                  <a:cubicBezTo>
                    <a:pt x="1878" y="231"/>
                    <a:pt x="1880" y="232"/>
                    <a:pt x="1880" y="236"/>
                  </a:cubicBezTo>
                  <a:cubicBezTo>
                    <a:pt x="1877" y="236"/>
                    <a:pt x="1874" y="236"/>
                    <a:pt x="1871" y="236"/>
                  </a:cubicBezTo>
                  <a:cubicBezTo>
                    <a:pt x="1874" y="234"/>
                    <a:pt x="1874" y="230"/>
                    <a:pt x="1874" y="226"/>
                  </a:cubicBezTo>
                  <a:cubicBezTo>
                    <a:pt x="1877" y="226"/>
                    <a:pt x="1879" y="226"/>
                    <a:pt x="1882" y="226"/>
                  </a:cubicBezTo>
                  <a:cubicBezTo>
                    <a:pt x="1887" y="228"/>
                    <a:pt x="1881" y="229"/>
                    <a:pt x="1877" y="229"/>
                  </a:cubicBezTo>
                  <a:close/>
                  <a:moveTo>
                    <a:pt x="1884" y="182"/>
                  </a:moveTo>
                  <a:cubicBezTo>
                    <a:pt x="1881" y="170"/>
                    <a:pt x="1883" y="167"/>
                    <a:pt x="1881" y="156"/>
                  </a:cubicBezTo>
                  <a:cubicBezTo>
                    <a:pt x="1884" y="155"/>
                    <a:pt x="1886" y="156"/>
                    <a:pt x="1886" y="158"/>
                  </a:cubicBezTo>
                  <a:cubicBezTo>
                    <a:pt x="1887" y="161"/>
                    <a:pt x="1892" y="160"/>
                    <a:pt x="1892" y="163"/>
                  </a:cubicBezTo>
                  <a:cubicBezTo>
                    <a:pt x="1894" y="168"/>
                    <a:pt x="1887" y="166"/>
                    <a:pt x="1887" y="170"/>
                  </a:cubicBezTo>
                  <a:cubicBezTo>
                    <a:pt x="1886" y="174"/>
                    <a:pt x="1889" y="174"/>
                    <a:pt x="1892" y="174"/>
                  </a:cubicBezTo>
                  <a:cubicBezTo>
                    <a:pt x="1892" y="178"/>
                    <a:pt x="1881" y="179"/>
                    <a:pt x="1892" y="179"/>
                  </a:cubicBezTo>
                  <a:cubicBezTo>
                    <a:pt x="1893" y="181"/>
                    <a:pt x="1891" y="181"/>
                    <a:pt x="1890" y="181"/>
                  </a:cubicBezTo>
                  <a:cubicBezTo>
                    <a:pt x="1888" y="181"/>
                    <a:pt x="1886" y="181"/>
                    <a:pt x="1884" y="182"/>
                  </a:cubicBezTo>
                  <a:close/>
                  <a:moveTo>
                    <a:pt x="1888" y="238"/>
                  </a:moveTo>
                  <a:cubicBezTo>
                    <a:pt x="1888" y="236"/>
                    <a:pt x="1888" y="235"/>
                    <a:pt x="1888" y="233"/>
                  </a:cubicBezTo>
                  <a:cubicBezTo>
                    <a:pt x="1890" y="233"/>
                    <a:pt x="1892" y="233"/>
                    <a:pt x="1893" y="233"/>
                  </a:cubicBezTo>
                  <a:cubicBezTo>
                    <a:pt x="1893" y="235"/>
                    <a:pt x="1893" y="236"/>
                    <a:pt x="1893" y="238"/>
                  </a:cubicBezTo>
                  <a:cubicBezTo>
                    <a:pt x="1892" y="238"/>
                    <a:pt x="1890" y="238"/>
                    <a:pt x="1888" y="238"/>
                  </a:cubicBezTo>
                  <a:close/>
                  <a:moveTo>
                    <a:pt x="1888" y="228"/>
                  </a:moveTo>
                  <a:cubicBezTo>
                    <a:pt x="1889" y="225"/>
                    <a:pt x="1894" y="224"/>
                    <a:pt x="1899" y="224"/>
                  </a:cubicBezTo>
                  <a:cubicBezTo>
                    <a:pt x="1901" y="231"/>
                    <a:pt x="1893" y="228"/>
                    <a:pt x="1888" y="228"/>
                  </a:cubicBezTo>
                  <a:close/>
                  <a:moveTo>
                    <a:pt x="1900" y="151"/>
                  </a:moveTo>
                  <a:cubicBezTo>
                    <a:pt x="1896" y="152"/>
                    <a:pt x="1898" y="157"/>
                    <a:pt x="1897" y="160"/>
                  </a:cubicBezTo>
                  <a:cubicBezTo>
                    <a:pt x="1890" y="154"/>
                    <a:pt x="1894" y="148"/>
                    <a:pt x="1900" y="144"/>
                  </a:cubicBezTo>
                  <a:cubicBezTo>
                    <a:pt x="1905" y="143"/>
                    <a:pt x="1905" y="145"/>
                    <a:pt x="1906" y="148"/>
                  </a:cubicBezTo>
                  <a:cubicBezTo>
                    <a:pt x="1910" y="146"/>
                    <a:pt x="1911" y="141"/>
                    <a:pt x="1919" y="141"/>
                  </a:cubicBezTo>
                  <a:cubicBezTo>
                    <a:pt x="1921" y="148"/>
                    <a:pt x="1912" y="147"/>
                    <a:pt x="1911" y="153"/>
                  </a:cubicBezTo>
                  <a:cubicBezTo>
                    <a:pt x="1914" y="155"/>
                    <a:pt x="1912" y="162"/>
                    <a:pt x="1919" y="160"/>
                  </a:cubicBezTo>
                  <a:cubicBezTo>
                    <a:pt x="1919" y="168"/>
                    <a:pt x="1910" y="155"/>
                    <a:pt x="1911" y="162"/>
                  </a:cubicBezTo>
                  <a:cubicBezTo>
                    <a:pt x="1900" y="162"/>
                    <a:pt x="1915" y="150"/>
                    <a:pt x="1900" y="151"/>
                  </a:cubicBezTo>
                  <a:close/>
                  <a:moveTo>
                    <a:pt x="1908" y="310"/>
                  </a:moveTo>
                  <a:cubicBezTo>
                    <a:pt x="1909" y="307"/>
                    <a:pt x="1913" y="307"/>
                    <a:pt x="1914" y="303"/>
                  </a:cubicBezTo>
                  <a:cubicBezTo>
                    <a:pt x="1921" y="304"/>
                    <a:pt x="1914" y="312"/>
                    <a:pt x="1908" y="310"/>
                  </a:cubicBezTo>
                  <a:close/>
                  <a:moveTo>
                    <a:pt x="1915" y="235"/>
                  </a:moveTo>
                  <a:cubicBezTo>
                    <a:pt x="1917" y="233"/>
                    <a:pt x="1920" y="231"/>
                    <a:pt x="1923" y="230"/>
                  </a:cubicBezTo>
                  <a:cubicBezTo>
                    <a:pt x="1923" y="227"/>
                    <a:pt x="1917" y="228"/>
                    <a:pt x="1912" y="228"/>
                  </a:cubicBezTo>
                  <a:cubicBezTo>
                    <a:pt x="1919" y="222"/>
                    <a:pt x="1906" y="222"/>
                    <a:pt x="1909" y="212"/>
                  </a:cubicBezTo>
                  <a:cubicBezTo>
                    <a:pt x="1918" y="212"/>
                    <a:pt x="1913" y="223"/>
                    <a:pt x="1918" y="226"/>
                  </a:cubicBezTo>
                  <a:cubicBezTo>
                    <a:pt x="1923" y="224"/>
                    <a:pt x="1923" y="218"/>
                    <a:pt x="1929" y="223"/>
                  </a:cubicBezTo>
                  <a:cubicBezTo>
                    <a:pt x="1928" y="232"/>
                    <a:pt x="1922" y="232"/>
                    <a:pt x="1926" y="240"/>
                  </a:cubicBezTo>
                  <a:cubicBezTo>
                    <a:pt x="1922" y="239"/>
                    <a:pt x="1924" y="232"/>
                    <a:pt x="1915" y="235"/>
                  </a:cubicBezTo>
                  <a:close/>
                  <a:moveTo>
                    <a:pt x="1930" y="287"/>
                  </a:moveTo>
                  <a:cubicBezTo>
                    <a:pt x="1923" y="294"/>
                    <a:pt x="1917" y="280"/>
                    <a:pt x="1930" y="287"/>
                  </a:cubicBezTo>
                  <a:close/>
                  <a:moveTo>
                    <a:pt x="1918" y="219"/>
                  </a:moveTo>
                  <a:cubicBezTo>
                    <a:pt x="1915" y="212"/>
                    <a:pt x="1924" y="214"/>
                    <a:pt x="1929" y="214"/>
                  </a:cubicBezTo>
                  <a:cubicBezTo>
                    <a:pt x="1929" y="210"/>
                    <a:pt x="1926" y="208"/>
                    <a:pt x="1923" y="207"/>
                  </a:cubicBezTo>
                  <a:cubicBezTo>
                    <a:pt x="1923" y="204"/>
                    <a:pt x="1928" y="205"/>
                    <a:pt x="1931" y="204"/>
                  </a:cubicBezTo>
                  <a:cubicBezTo>
                    <a:pt x="1930" y="209"/>
                    <a:pt x="1933" y="210"/>
                    <a:pt x="1934" y="214"/>
                  </a:cubicBezTo>
                  <a:cubicBezTo>
                    <a:pt x="1936" y="216"/>
                    <a:pt x="1940" y="216"/>
                    <a:pt x="1940" y="221"/>
                  </a:cubicBezTo>
                  <a:cubicBezTo>
                    <a:pt x="1936" y="217"/>
                    <a:pt x="1926" y="219"/>
                    <a:pt x="1918" y="219"/>
                  </a:cubicBezTo>
                  <a:close/>
                  <a:moveTo>
                    <a:pt x="1943" y="258"/>
                  </a:moveTo>
                  <a:cubicBezTo>
                    <a:pt x="1938" y="258"/>
                    <a:pt x="1937" y="254"/>
                    <a:pt x="1937" y="249"/>
                  </a:cubicBezTo>
                  <a:cubicBezTo>
                    <a:pt x="1946" y="246"/>
                    <a:pt x="1942" y="254"/>
                    <a:pt x="1943" y="258"/>
                  </a:cubicBezTo>
                  <a:close/>
                  <a:moveTo>
                    <a:pt x="1945" y="216"/>
                  </a:moveTo>
                  <a:cubicBezTo>
                    <a:pt x="1947" y="214"/>
                    <a:pt x="1948" y="212"/>
                    <a:pt x="1948" y="209"/>
                  </a:cubicBezTo>
                  <a:cubicBezTo>
                    <a:pt x="1951" y="209"/>
                    <a:pt x="1950" y="213"/>
                    <a:pt x="1953" y="213"/>
                  </a:cubicBezTo>
                  <a:cubicBezTo>
                    <a:pt x="1954" y="215"/>
                    <a:pt x="1952" y="215"/>
                    <a:pt x="1951" y="216"/>
                  </a:cubicBezTo>
                  <a:cubicBezTo>
                    <a:pt x="1949" y="216"/>
                    <a:pt x="1947" y="216"/>
                    <a:pt x="1945" y="216"/>
                  </a:cubicBezTo>
                  <a:close/>
                  <a:moveTo>
                    <a:pt x="1948" y="225"/>
                  </a:moveTo>
                  <a:cubicBezTo>
                    <a:pt x="1948" y="224"/>
                    <a:pt x="1948" y="222"/>
                    <a:pt x="1948" y="220"/>
                  </a:cubicBezTo>
                  <a:cubicBezTo>
                    <a:pt x="1953" y="220"/>
                    <a:pt x="1957" y="221"/>
                    <a:pt x="1956" y="225"/>
                  </a:cubicBezTo>
                  <a:cubicBezTo>
                    <a:pt x="1954" y="225"/>
                    <a:pt x="1951" y="225"/>
                    <a:pt x="1948" y="225"/>
                  </a:cubicBezTo>
                  <a:close/>
                  <a:moveTo>
                    <a:pt x="2054" y="169"/>
                  </a:moveTo>
                  <a:cubicBezTo>
                    <a:pt x="2050" y="171"/>
                    <a:pt x="2055" y="181"/>
                    <a:pt x="2046" y="179"/>
                  </a:cubicBezTo>
                  <a:cubicBezTo>
                    <a:pt x="2045" y="173"/>
                    <a:pt x="2047" y="169"/>
                    <a:pt x="2054" y="169"/>
                  </a:cubicBezTo>
                  <a:close/>
                  <a:moveTo>
                    <a:pt x="1985" y="145"/>
                  </a:moveTo>
                  <a:cubicBezTo>
                    <a:pt x="1984" y="151"/>
                    <a:pt x="1981" y="141"/>
                    <a:pt x="1977" y="142"/>
                  </a:cubicBezTo>
                  <a:cubicBezTo>
                    <a:pt x="1979" y="135"/>
                    <a:pt x="1982" y="145"/>
                    <a:pt x="1985" y="145"/>
                  </a:cubicBezTo>
                  <a:close/>
                  <a:moveTo>
                    <a:pt x="1985" y="274"/>
                  </a:moveTo>
                  <a:cubicBezTo>
                    <a:pt x="1984" y="278"/>
                    <a:pt x="1981" y="272"/>
                    <a:pt x="1982" y="269"/>
                  </a:cubicBezTo>
                  <a:cubicBezTo>
                    <a:pt x="1983" y="265"/>
                    <a:pt x="1985" y="271"/>
                    <a:pt x="1985" y="274"/>
                  </a:cubicBezTo>
                  <a:close/>
                  <a:moveTo>
                    <a:pt x="1979" y="255"/>
                  </a:moveTo>
                  <a:cubicBezTo>
                    <a:pt x="1978" y="250"/>
                    <a:pt x="1981" y="248"/>
                    <a:pt x="1987" y="248"/>
                  </a:cubicBezTo>
                  <a:cubicBezTo>
                    <a:pt x="1984" y="250"/>
                    <a:pt x="1986" y="257"/>
                    <a:pt x="1979" y="255"/>
                  </a:cubicBezTo>
                  <a:close/>
                  <a:moveTo>
                    <a:pt x="1998" y="252"/>
                  </a:moveTo>
                  <a:cubicBezTo>
                    <a:pt x="1993" y="260"/>
                    <a:pt x="1990" y="247"/>
                    <a:pt x="1990" y="243"/>
                  </a:cubicBezTo>
                  <a:cubicBezTo>
                    <a:pt x="1993" y="243"/>
                    <a:pt x="1991" y="241"/>
                    <a:pt x="1989" y="241"/>
                  </a:cubicBezTo>
                  <a:cubicBezTo>
                    <a:pt x="1989" y="239"/>
                    <a:pt x="1991" y="239"/>
                    <a:pt x="1992" y="238"/>
                  </a:cubicBezTo>
                  <a:cubicBezTo>
                    <a:pt x="1994" y="238"/>
                    <a:pt x="1996" y="238"/>
                    <a:pt x="1998" y="238"/>
                  </a:cubicBezTo>
                  <a:cubicBezTo>
                    <a:pt x="2001" y="245"/>
                    <a:pt x="1993" y="252"/>
                    <a:pt x="1998" y="252"/>
                  </a:cubicBezTo>
                  <a:close/>
                  <a:moveTo>
                    <a:pt x="1999" y="285"/>
                  </a:moveTo>
                  <a:cubicBezTo>
                    <a:pt x="2002" y="279"/>
                    <a:pt x="2005" y="276"/>
                    <a:pt x="2001" y="269"/>
                  </a:cubicBezTo>
                  <a:cubicBezTo>
                    <a:pt x="2009" y="268"/>
                    <a:pt x="2004" y="278"/>
                    <a:pt x="2009" y="278"/>
                  </a:cubicBezTo>
                  <a:cubicBezTo>
                    <a:pt x="2009" y="281"/>
                    <a:pt x="2007" y="279"/>
                    <a:pt x="2007" y="278"/>
                  </a:cubicBezTo>
                  <a:cubicBezTo>
                    <a:pt x="2000" y="277"/>
                    <a:pt x="2008" y="289"/>
                    <a:pt x="1999" y="285"/>
                  </a:cubicBezTo>
                  <a:close/>
                  <a:moveTo>
                    <a:pt x="2001" y="297"/>
                  </a:moveTo>
                  <a:cubicBezTo>
                    <a:pt x="2005" y="293"/>
                    <a:pt x="2007" y="288"/>
                    <a:pt x="2015" y="287"/>
                  </a:cubicBezTo>
                  <a:cubicBezTo>
                    <a:pt x="2012" y="291"/>
                    <a:pt x="2009" y="297"/>
                    <a:pt x="2001" y="297"/>
                  </a:cubicBezTo>
                  <a:close/>
                  <a:moveTo>
                    <a:pt x="2017" y="266"/>
                  </a:moveTo>
                  <a:cubicBezTo>
                    <a:pt x="2018" y="261"/>
                    <a:pt x="2025" y="261"/>
                    <a:pt x="2028" y="264"/>
                  </a:cubicBezTo>
                  <a:cubicBezTo>
                    <a:pt x="2028" y="267"/>
                    <a:pt x="2021" y="266"/>
                    <a:pt x="2017" y="266"/>
                  </a:cubicBezTo>
                  <a:close/>
                  <a:moveTo>
                    <a:pt x="2042" y="254"/>
                  </a:moveTo>
                  <a:cubicBezTo>
                    <a:pt x="2042" y="252"/>
                    <a:pt x="2042" y="251"/>
                    <a:pt x="2042" y="249"/>
                  </a:cubicBezTo>
                  <a:cubicBezTo>
                    <a:pt x="2044" y="249"/>
                    <a:pt x="2045" y="249"/>
                    <a:pt x="2047" y="249"/>
                  </a:cubicBezTo>
                  <a:cubicBezTo>
                    <a:pt x="2047" y="251"/>
                    <a:pt x="2047" y="252"/>
                    <a:pt x="2047" y="254"/>
                  </a:cubicBezTo>
                  <a:cubicBezTo>
                    <a:pt x="2046" y="254"/>
                    <a:pt x="2044" y="254"/>
                    <a:pt x="2042" y="254"/>
                  </a:cubicBezTo>
                  <a:close/>
                  <a:moveTo>
                    <a:pt x="2044" y="221"/>
                  </a:moveTo>
                  <a:cubicBezTo>
                    <a:pt x="2044" y="219"/>
                    <a:pt x="2044" y="216"/>
                    <a:pt x="2044" y="214"/>
                  </a:cubicBezTo>
                  <a:cubicBezTo>
                    <a:pt x="2038" y="213"/>
                    <a:pt x="2039" y="217"/>
                    <a:pt x="2039" y="221"/>
                  </a:cubicBezTo>
                  <a:cubicBezTo>
                    <a:pt x="2034" y="222"/>
                    <a:pt x="2025" y="219"/>
                    <a:pt x="2028" y="226"/>
                  </a:cubicBezTo>
                  <a:cubicBezTo>
                    <a:pt x="2018" y="222"/>
                    <a:pt x="2031" y="219"/>
                    <a:pt x="2033" y="217"/>
                  </a:cubicBezTo>
                  <a:cubicBezTo>
                    <a:pt x="2032" y="211"/>
                    <a:pt x="2021" y="216"/>
                    <a:pt x="2016" y="214"/>
                  </a:cubicBezTo>
                  <a:cubicBezTo>
                    <a:pt x="2013" y="222"/>
                    <a:pt x="2025" y="216"/>
                    <a:pt x="2022" y="224"/>
                  </a:cubicBezTo>
                  <a:cubicBezTo>
                    <a:pt x="2018" y="224"/>
                    <a:pt x="2014" y="224"/>
                    <a:pt x="2014" y="226"/>
                  </a:cubicBezTo>
                  <a:cubicBezTo>
                    <a:pt x="2011" y="226"/>
                    <a:pt x="2012" y="222"/>
                    <a:pt x="2008" y="222"/>
                  </a:cubicBezTo>
                  <a:cubicBezTo>
                    <a:pt x="2001" y="221"/>
                    <a:pt x="2016" y="231"/>
                    <a:pt x="2003" y="229"/>
                  </a:cubicBezTo>
                  <a:cubicBezTo>
                    <a:pt x="2001" y="236"/>
                    <a:pt x="2007" y="235"/>
                    <a:pt x="2006" y="241"/>
                  </a:cubicBezTo>
                  <a:cubicBezTo>
                    <a:pt x="1999" y="239"/>
                    <a:pt x="1997" y="231"/>
                    <a:pt x="2000" y="227"/>
                  </a:cubicBezTo>
                  <a:cubicBezTo>
                    <a:pt x="2001" y="226"/>
                    <a:pt x="2006" y="227"/>
                    <a:pt x="2006" y="226"/>
                  </a:cubicBezTo>
                  <a:cubicBezTo>
                    <a:pt x="2006" y="224"/>
                    <a:pt x="1999" y="222"/>
                    <a:pt x="2006" y="217"/>
                  </a:cubicBezTo>
                  <a:cubicBezTo>
                    <a:pt x="2005" y="214"/>
                    <a:pt x="1999" y="215"/>
                    <a:pt x="1994" y="215"/>
                  </a:cubicBezTo>
                  <a:cubicBezTo>
                    <a:pt x="1987" y="217"/>
                    <a:pt x="1992" y="218"/>
                    <a:pt x="1992" y="224"/>
                  </a:cubicBezTo>
                  <a:cubicBezTo>
                    <a:pt x="1983" y="227"/>
                    <a:pt x="1988" y="217"/>
                    <a:pt x="1984" y="215"/>
                  </a:cubicBezTo>
                  <a:cubicBezTo>
                    <a:pt x="1976" y="215"/>
                    <a:pt x="1980" y="222"/>
                    <a:pt x="1978" y="225"/>
                  </a:cubicBezTo>
                  <a:cubicBezTo>
                    <a:pt x="1978" y="225"/>
                    <a:pt x="1973" y="224"/>
                    <a:pt x="1973" y="225"/>
                  </a:cubicBezTo>
                  <a:cubicBezTo>
                    <a:pt x="1971" y="226"/>
                    <a:pt x="1974" y="230"/>
                    <a:pt x="1973" y="232"/>
                  </a:cubicBezTo>
                  <a:cubicBezTo>
                    <a:pt x="1967" y="230"/>
                    <a:pt x="1967" y="228"/>
                    <a:pt x="1970" y="225"/>
                  </a:cubicBezTo>
                  <a:cubicBezTo>
                    <a:pt x="1965" y="224"/>
                    <a:pt x="1965" y="227"/>
                    <a:pt x="1965" y="230"/>
                  </a:cubicBezTo>
                  <a:cubicBezTo>
                    <a:pt x="1961" y="229"/>
                    <a:pt x="1962" y="224"/>
                    <a:pt x="1962" y="220"/>
                  </a:cubicBezTo>
                  <a:cubicBezTo>
                    <a:pt x="1966" y="220"/>
                    <a:pt x="1971" y="220"/>
                    <a:pt x="1975" y="220"/>
                  </a:cubicBezTo>
                  <a:cubicBezTo>
                    <a:pt x="1976" y="214"/>
                    <a:pt x="1960" y="222"/>
                    <a:pt x="1964" y="213"/>
                  </a:cubicBezTo>
                  <a:cubicBezTo>
                    <a:pt x="1974" y="212"/>
                    <a:pt x="1988" y="216"/>
                    <a:pt x="1986" y="206"/>
                  </a:cubicBezTo>
                  <a:cubicBezTo>
                    <a:pt x="1992" y="205"/>
                    <a:pt x="1995" y="207"/>
                    <a:pt x="1994" y="213"/>
                  </a:cubicBezTo>
                  <a:cubicBezTo>
                    <a:pt x="2004" y="211"/>
                    <a:pt x="2003" y="210"/>
                    <a:pt x="2011" y="212"/>
                  </a:cubicBezTo>
                  <a:cubicBezTo>
                    <a:pt x="2015" y="211"/>
                    <a:pt x="2010" y="209"/>
                    <a:pt x="2011" y="205"/>
                  </a:cubicBezTo>
                  <a:cubicBezTo>
                    <a:pt x="2018" y="204"/>
                    <a:pt x="2021" y="206"/>
                    <a:pt x="2019" y="212"/>
                  </a:cubicBezTo>
                  <a:cubicBezTo>
                    <a:pt x="2024" y="212"/>
                    <a:pt x="2026" y="210"/>
                    <a:pt x="2027" y="207"/>
                  </a:cubicBezTo>
                  <a:cubicBezTo>
                    <a:pt x="2031" y="208"/>
                    <a:pt x="2032" y="211"/>
                    <a:pt x="2036" y="212"/>
                  </a:cubicBezTo>
                  <a:cubicBezTo>
                    <a:pt x="2039" y="212"/>
                    <a:pt x="2037" y="210"/>
                    <a:pt x="2038" y="209"/>
                  </a:cubicBezTo>
                  <a:cubicBezTo>
                    <a:pt x="2041" y="209"/>
                    <a:pt x="2045" y="214"/>
                    <a:pt x="2047" y="207"/>
                  </a:cubicBezTo>
                  <a:cubicBezTo>
                    <a:pt x="2051" y="208"/>
                    <a:pt x="2049" y="214"/>
                    <a:pt x="2058" y="211"/>
                  </a:cubicBezTo>
                  <a:cubicBezTo>
                    <a:pt x="2066" y="214"/>
                    <a:pt x="2050" y="214"/>
                    <a:pt x="2047" y="214"/>
                  </a:cubicBezTo>
                  <a:cubicBezTo>
                    <a:pt x="2047" y="220"/>
                    <a:pt x="2057" y="218"/>
                    <a:pt x="2060" y="221"/>
                  </a:cubicBezTo>
                  <a:cubicBezTo>
                    <a:pt x="2057" y="225"/>
                    <a:pt x="2054" y="221"/>
                    <a:pt x="2044" y="221"/>
                  </a:cubicBezTo>
                  <a:close/>
                  <a:moveTo>
                    <a:pt x="2063" y="221"/>
                  </a:moveTo>
                  <a:cubicBezTo>
                    <a:pt x="2063" y="218"/>
                    <a:pt x="2067" y="219"/>
                    <a:pt x="2069" y="218"/>
                  </a:cubicBezTo>
                  <a:cubicBezTo>
                    <a:pt x="2069" y="214"/>
                    <a:pt x="2069" y="210"/>
                    <a:pt x="2068" y="207"/>
                  </a:cubicBezTo>
                  <a:cubicBezTo>
                    <a:pt x="2080" y="203"/>
                    <a:pt x="2069" y="219"/>
                    <a:pt x="2077" y="218"/>
                  </a:cubicBezTo>
                  <a:cubicBezTo>
                    <a:pt x="2077" y="223"/>
                    <a:pt x="2067" y="219"/>
                    <a:pt x="2063" y="221"/>
                  </a:cubicBezTo>
                  <a:close/>
                  <a:moveTo>
                    <a:pt x="2074" y="239"/>
                  </a:moveTo>
                  <a:cubicBezTo>
                    <a:pt x="2073" y="239"/>
                    <a:pt x="2071" y="239"/>
                    <a:pt x="2069" y="239"/>
                  </a:cubicBezTo>
                  <a:cubicBezTo>
                    <a:pt x="2069" y="237"/>
                    <a:pt x="2069" y="235"/>
                    <a:pt x="2069" y="232"/>
                  </a:cubicBezTo>
                  <a:cubicBezTo>
                    <a:pt x="2073" y="232"/>
                    <a:pt x="2074" y="235"/>
                    <a:pt x="2077" y="235"/>
                  </a:cubicBezTo>
                  <a:cubicBezTo>
                    <a:pt x="2077" y="237"/>
                    <a:pt x="2074" y="237"/>
                    <a:pt x="2074" y="239"/>
                  </a:cubicBezTo>
                  <a:close/>
                  <a:moveTo>
                    <a:pt x="2200" y="66"/>
                  </a:moveTo>
                  <a:cubicBezTo>
                    <a:pt x="2203" y="68"/>
                    <a:pt x="2211" y="66"/>
                    <a:pt x="2209" y="72"/>
                  </a:cubicBezTo>
                  <a:cubicBezTo>
                    <a:pt x="2206" y="70"/>
                    <a:pt x="2199" y="72"/>
                    <a:pt x="2200" y="66"/>
                  </a:cubicBezTo>
                  <a:close/>
                  <a:moveTo>
                    <a:pt x="2184" y="71"/>
                  </a:moveTo>
                  <a:cubicBezTo>
                    <a:pt x="2184" y="72"/>
                    <a:pt x="2184" y="74"/>
                    <a:pt x="2184" y="75"/>
                  </a:cubicBezTo>
                  <a:cubicBezTo>
                    <a:pt x="2182" y="75"/>
                    <a:pt x="2180" y="75"/>
                    <a:pt x="2179" y="75"/>
                  </a:cubicBezTo>
                  <a:cubicBezTo>
                    <a:pt x="2179" y="74"/>
                    <a:pt x="2179" y="72"/>
                    <a:pt x="2179" y="71"/>
                  </a:cubicBezTo>
                  <a:cubicBezTo>
                    <a:pt x="2180" y="71"/>
                    <a:pt x="2182" y="71"/>
                    <a:pt x="2184" y="71"/>
                  </a:cubicBezTo>
                  <a:close/>
                  <a:moveTo>
                    <a:pt x="2180" y="132"/>
                  </a:moveTo>
                  <a:cubicBezTo>
                    <a:pt x="2179" y="136"/>
                    <a:pt x="2175" y="141"/>
                    <a:pt x="2174" y="144"/>
                  </a:cubicBezTo>
                  <a:cubicBezTo>
                    <a:pt x="2172" y="142"/>
                    <a:pt x="2170" y="141"/>
                    <a:pt x="2166" y="141"/>
                  </a:cubicBezTo>
                  <a:cubicBezTo>
                    <a:pt x="2162" y="135"/>
                    <a:pt x="2171" y="136"/>
                    <a:pt x="2171" y="132"/>
                  </a:cubicBezTo>
                  <a:cubicBezTo>
                    <a:pt x="2172" y="129"/>
                    <a:pt x="2177" y="130"/>
                    <a:pt x="2180" y="129"/>
                  </a:cubicBezTo>
                  <a:cubicBezTo>
                    <a:pt x="2180" y="127"/>
                    <a:pt x="2178" y="127"/>
                    <a:pt x="2177" y="127"/>
                  </a:cubicBezTo>
                  <a:cubicBezTo>
                    <a:pt x="2185" y="120"/>
                    <a:pt x="2181" y="128"/>
                    <a:pt x="2180" y="132"/>
                  </a:cubicBezTo>
                  <a:close/>
                  <a:moveTo>
                    <a:pt x="2183" y="174"/>
                  </a:moveTo>
                  <a:cubicBezTo>
                    <a:pt x="2180" y="173"/>
                    <a:pt x="2179" y="170"/>
                    <a:pt x="2175" y="169"/>
                  </a:cubicBezTo>
                  <a:cubicBezTo>
                    <a:pt x="2175" y="167"/>
                    <a:pt x="2178" y="168"/>
                    <a:pt x="2178" y="169"/>
                  </a:cubicBezTo>
                  <a:cubicBezTo>
                    <a:pt x="2180" y="169"/>
                    <a:pt x="2180" y="166"/>
                    <a:pt x="2180" y="165"/>
                  </a:cubicBezTo>
                  <a:cubicBezTo>
                    <a:pt x="2184" y="165"/>
                    <a:pt x="2183" y="170"/>
                    <a:pt x="2183" y="174"/>
                  </a:cubicBezTo>
                  <a:close/>
                  <a:moveTo>
                    <a:pt x="2177" y="120"/>
                  </a:moveTo>
                  <a:cubicBezTo>
                    <a:pt x="2176" y="125"/>
                    <a:pt x="2164" y="121"/>
                    <a:pt x="2166" y="116"/>
                  </a:cubicBezTo>
                  <a:cubicBezTo>
                    <a:pt x="2173" y="114"/>
                    <a:pt x="2171" y="120"/>
                    <a:pt x="2177" y="120"/>
                  </a:cubicBezTo>
                  <a:close/>
                  <a:moveTo>
                    <a:pt x="2166" y="108"/>
                  </a:moveTo>
                  <a:cubicBezTo>
                    <a:pt x="2166" y="108"/>
                    <a:pt x="2168" y="109"/>
                    <a:pt x="2168" y="108"/>
                  </a:cubicBezTo>
                  <a:cubicBezTo>
                    <a:pt x="2169" y="108"/>
                    <a:pt x="2169" y="102"/>
                    <a:pt x="2171" y="104"/>
                  </a:cubicBezTo>
                  <a:cubicBezTo>
                    <a:pt x="2179" y="111"/>
                    <a:pt x="2155" y="110"/>
                    <a:pt x="2166" y="108"/>
                  </a:cubicBezTo>
                  <a:close/>
                  <a:moveTo>
                    <a:pt x="2177" y="146"/>
                  </a:moveTo>
                  <a:cubicBezTo>
                    <a:pt x="2172" y="149"/>
                    <a:pt x="2177" y="160"/>
                    <a:pt x="2169" y="160"/>
                  </a:cubicBezTo>
                  <a:cubicBezTo>
                    <a:pt x="2171" y="162"/>
                    <a:pt x="2172" y="164"/>
                    <a:pt x="2172" y="167"/>
                  </a:cubicBezTo>
                  <a:cubicBezTo>
                    <a:pt x="2164" y="171"/>
                    <a:pt x="2163" y="152"/>
                    <a:pt x="2172" y="155"/>
                  </a:cubicBezTo>
                  <a:cubicBezTo>
                    <a:pt x="2171" y="151"/>
                    <a:pt x="2167" y="150"/>
                    <a:pt x="2161" y="151"/>
                  </a:cubicBezTo>
                  <a:cubicBezTo>
                    <a:pt x="2164" y="147"/>
                    <a:pt x="2170" y="146"/>
                    <a:pt x="2177" y="146"/>
                  </a:cubicBezTo>
                  <a:close/>
                  <a:moveTo>
                    <a:pt x="2164" y="205"/>
                  </a:moveTo>
                  <a:cubicBezTo>
                    <a:pt x="2165" y="200"/>
                    <a:pt x="2174" y="207"/>
                    <a:pt x="2173" y="212"/>
                  </a:cubicBezTo>
                  <a:cubicBezTo>
                    <a:pt x="2170" y="212"/>
                    <a:pt x="2167" y="212"/>
                    <a:pt x="2165" y="212"/>
                  </a:cubicBezTo>
                  <a:cubicBezTo>
                    <a:pt x="2166" y="210"/>
                    <a:pt x="2169" y="205"/>
                    <a:pt x="2164" y="205"/>
                  </a:cubicBezTo>
                  <a:close/>
                  <a:moveTo>
                    <a:pt x="2164" y="186"/>
                  </a:moveTo>
                  <a:cubicBezTo>
                    <a:pt x="2166" y="173"/>
                    <a:pt x="2181" y="193"/>
                    <a:pt x="2167" y="193"/>
                  </a:cubicBezTo>
                  <a:cubicBezTo>
                    <a:pt x="2167" y="191"/>
                    <a:pt x="2170" y="191"/>
                    <a:pt x="2170" y="188"/>
                  </a:cubicBezTo>
                  <a:cubicBezTo>
                    <a:pt x="2170" y="186"/>
                    <a:pt x="2166" y="187"/>
                    <a:pt x="2164" y="186"/>
                  </a:cubicBezTo>
                  <a:close/>
                  <a:moveTo>
                    <a:pt x="2154" y="99"/>
                  </a:moveTo>
                  <a:cubicBezTo>
                    <a:pt x="2166" y="98"/>
                    <a:pt x="2156" y="104"/>
                    <a:pt x="2157" y="109"/>
                  </a:cubicBezTo>
                  <a:cubicBezTo>
                    <a:pt x="2149" y="108"/>
                    <a:pt x="2150" y="117"/>
                    <a:pt x="2144" y="111"/>
                  </a:cubicBezTo>
                  <a:cubicBezTo>
                    <a:pt x="2145" y="106"/>
                    <a:pt x="2158" y="109"/>
                    <a:pt x="2154" y="99"/>
                  </a:cubicBezTo>
                  <a:close/>
                  <a:moveTo>
                    <a:pt x="2159" y="207"/>
                  </a:moveTo>
                  <a:cubicBezTo>
                    <a:pt x="2146" y="210"/>
                    <a:pt x="2154" y="195"/>
                    <a:pt x="2159" y="203"/>
                  </a:cubicBezTo>
                  <a:cubicBezTo>
                    <a:pt x="2159" y="204"/>
                    <a:pt x="2159" y="206"/>
                    <a:pt x="2159" y="207"/>
                  </a:cubicBezTo>
                  <a:close/>
                  <a:moveTo>
                    <a:pt x="2141" y="130"/>
                  </a:moveTo>
                  <a:cubicBezTo>
                    <a:pt x="2150" y="127"/>
                    <a:pt x="2143" y="138"/>
                    <a:pt x="2152" y="135"/>
                  </a:cubicBezTo>
                  <a:cubicBezTo>
                    <a:pt x="2150" y="139"/>
                    <a:pt x="2147" y="143"/>
                    <a:pt x="2139" y="142"/>
                  </a:cubicBezTo>
                  <a:cubicBezTo>
                    <a:pt x="2137" y="136"/>
                    <a:pt x="2144" y="137"/>
                    <a:pt x="2141" y="130"/>
                  </a:cubicBezTo>
                  <a:close/>
                  <a:moveTo>
                    <a:pt x="2115" y="189"/>
                  </a:moveTo>
                  <a:cubicBezTo>
                    <a:pt x="2120" y="183"/>
                    <a:pt x="2127" y="192"/>
                    <a:pt x="2134" y="187"/>
                  </a:cubicBezTo>
                  <a:cubicBezTo>
                    <a:pt x="2135" y="195"/>
                    <a:pt x="2119" y="190"/>
                    <a:pt x="2115" y="194"/>
                  </a:cubicBezTo>
                  <a:cubicBezTo>
                    <a:pt x="2117" y="192"/>
                    <a:pt x="2118" y="190"/>
                    <a:pt x="2115" y="189"/>
                  </a:cubicBezTo>
                  <a:close/>
                  <a:moveTo>
                    <a:pt x="2128" y="140"/>
                  </a:moveTo>
                  <a:cubicBezTo>
                    <a:pt x="2125" y="148"/>
                    <a:pt x="2122" y="137"/>
                    <a:pt x="2119" y="138"/>
                  </a:cubicBezTo>
                  <a:cubicBezTo>
                    <a:pt x="2114" y="135"/>
                    <a:pt x="2116" y="142"/>
                    <a:pt x="2114" y="142"/>
                  </a:cubicBezTo>
                  <a:cubicBezTo>
                    <a:pt x="2112" y="143"/>
                    <a:pt x="2108" y="139"/>
                    <a:pt x="2103" y="142"/>
                  </a:cubicBezTo>
                  <a:cubicBezTo>
                    <a:pt x="2103" y="140"/>
                    <a:pt x="2103" y="138"/>
                    <a:pt x="2103" y="135"/>
                  </a:cubicBezTo>
                  <a:cubicBezTo>
                    <a:pt x="2114" y="137"/>
                    <a:pt x="2112" y="136"/>
                    <a:pt x="2125" y="135"/>
                  </a:cubicBezTo>
                  <a:cubicBezTo>
                    <a:pt x="2124" y="138"/>
                    <a:pt x="2126" y="139"/>
                    <a:pt x="2128" y="140"/>
                  </a:cubicBezTo>
                  <a:close/>
                  <a:moveTo>
                    <a:pt x="2130" y="107"/>
                  </a:moveTo>
                  <a:cubicBezTo>
                    <a:pt x="2124" y="116"/>
                    <a:pt x="2136" y="115"/>
                    <a:pt x="2133" y="128"/>
                  </a:cubicBezTo>
                  <a:cubicBezTo>
                    <a:pt x="2130" y="128"/>
                    <a:pt x="2131" y="124"/>
                    <a:pt x="2130" y="121"/>
                  </a:cubicBezTo>
                  <a:cubicBezTo>
                    <a:pt x="2129" y="118"/>
                    <a:pt x="2117" y="107"/>
                    <a:pt x="2130" y="107"/>
                  </a:cubicBezTo>
                  <a:close/>
                  <a:moveTo>
                    <a:pt x="2111" y="107"/>
                  </a:moveTo>
                  <a:cubicBezTo>
                    <a:pt x="2110" y="110"/>
                    <a:pt x="2099" y="112"/>
                    <a:pt x="2111" y="112"/>
                  </a:cubicBezTo>
                  <a:cubicBezTo>
                    <a:pt x="2110" y="115"/>
                    <a:pt x="2106" y="114"/>
                    <a:pt x="2102" y="114"/>
                  </a:cubicBezTo>
                  <a:cubicBezTo>
                    <a:pt x="2098" y="107"/>
                    <a:pt x="2103" y="102"/>
                    <a:pt x="2111" y="107"/>
                  </a:cubicBezTo>
                  <a:close/>
                  <a:moveTo>
                    <a:pt x="2088" y="251"/>
                  </a:moveTo>
                  <a:cubicBezTo>
                    <a:pt x="2084" y="249"/>
                    <a:pt x="2081" y="243"/>
                    <a:pt x="2085" y="239"/>
                  </a:cubicBezTo>
                  <a:cubicBezTo>
                    <a:pt x="2091" y="239"/>
                    <a:pt x="2087" y="247"/>
                    <a:pt x="2088" y="251"/>
                  </a:cubicBezTo>
                  <a:close/>
                  <a:moveTo>
                    <a:pt x="2085" y="227"/>
                  </a:moveTo>
                  <a:cubicBezTo>
                    <a:pt x="2075" y="221"/>
                    <a:pt x="2088" y="214"/>
                    <a:pt x="2082" y="204"/>
                  </a:cubicBezTo>
                  <a:cubicBezTo>
                    <a:pt x="2085" y="205"/>
                    <a:pt x="2085" y="209"/>
                    <a:pt x="2090" y="209"/>
                  </a:cubicBezTo>
                  <a:cubicBezTo>
                    <a:pt x="2090" y="216"/>
                    <a:pt x="2083" y="218"/>
                    <a:pt x="2085" y="227"/>
                  </a:cubicBezTo>
                  <a:close/>
                  <a:moveTo>
                    <a:pt x="2103" y="168"/>
                  </a:moveTo>
                  <a:cubicBezTo>
                    <a:pt x="2105" y="169"/>
                    <a:pt x="2096" y="175"/>
                    <a:pt x="2093" y="171"/>
                  </a:cubicBezTo>
                  <a:cubicBezTo>
                    <a:pt x="2092" y="169"/>
                    <a:pt x="2102" y="167"/>
                    <a:pt x="2103" y="168"/>
                  </a:cubicBezTo>
                  <a:close/>
                  <a:moveTo>
                    <a:pt x="2095" y="293"/>
                  </a:moveTo>
                  <a:cubicBezTo>
                    <a:pt x="2095" y="289"/>
                    <a:pt x="2104" y="291"/>
                    <a:pt x="2103" y="286"/>
                  </a:cubicBezTo>
                  <a:cubicBezTo>
                    <a:pt x="2107" y="287"/>
                    <a:pt x="2105" y="293"/>
                    <a:pt x="2114" y="290"/>
                  </a:cubicBezTo>
                  <a:cubicBezTo>
                    <a:pt x="2108" y="295"/>
                    <a:pt x="2101" y="295"/>
                    <a:pt x="2095" y="293"/>
                  </a:cubicBezTo>
                  <a:close/>
                  <a:moveTo>
                    <a:pt x="2094" y="270"/>
                  </a:moveTo>
                  <a:cubicBezTo>
                    <a:pt x="2095" y="265"/>
                    <a:pt x="2098" y="271"/>
                    <a:pt x="2097" y="274"/>
                  </a:cubicBezTo>
                  <a:cubicBezTo>
                    <a:pt x="2096" y="279"/>
                    <a:pt x="2094" y="273"/>
                    <a:pt x="2094" y="270"/>
                  </a:cubicBezTo>
                  <a:close/>
                  <a:moveTo>
                    <a:pt x="2102" y="225"/>
                  </a:moveTo>
                  <a:cubicBezTo>
                    <a:pt x="2094" y="222"/>
                    <a:pt x="2109" y="208"/>
                    <a:pt x="2102" y="225"/>
                  </a:cubicBezTo>
                  <a:close/>
                  <a:moveTo>
                    <a:pt x="2110" y="218"/>
                  </a:moveTo>
                  <a:cubicBezTo>
                    <a:pt x="2117" y="218"/>
                    <a:pt x="2111" y="226"/>
                    <a:pt x="2110" y="227"/>
                  </a:cubicBezTo>
                  <a:cubicBezTo>
                    <a:pt x="2102" y="226"/>
                    <a:pt x="2112" y="222"/>
                    <a:pt x="2110" y="218"/>
                  </a:cubicBezTo>
                  <a:close/>
                  <a:moveTo>
                    <a:pt x="2119" y="281"/>
                  </a:moveTo>
                  <a:cubicBezTo>
                    <a:pt x="2117" y="288"/>
                    <a:pt x="2115" y="277"/>
                    <a:pt x="2116" y="274"/>
                  </a:cubicBezTo>
                  <a:cubicBezTo>
                    <a:pt x="2113" y="277"/>
                    <a:pt x="2112" y="275"/>
                    <a:pt x="2108" y="274"/>
                  </a:cubicBezTo>
                  <a:cubicBezTo>
                    <a:pt x="2110" y="272"/>
                    <a:pt x="2114" y="271"/>
                    <a:pt x="2113" y="267"/>
                  </a:cubicBezTo>
                  <a:cubicBezTo>
                    <a:pt x="2118" y="269"/>
                    <a:pt x="2120" y="274"/>
                    <a:pt x="2119" y="281"/>
                  </a:cubicBezTo>
                  <a:close/>
                  <a:moveTo>
                    <a:pt x="2121" y="246"/>
                  </a:moveTo>
                  <a:cubicBezTo>
                    <a:pt x="2121" y="246"/>
                    <a:pt x="2116" y="243"/>
                    <a:pt x="2116" y="243"/>
                  </a:cubicBezTo>
                  <a:cubicBezTo>
                    <a:pt x="2116" y="240"/>
                    <a:pt x="2120" y="243"/>
                    <a:pt x="2121" y="241"/>
                  </a:cubicBezTo>
                  <a:cubicBezTo>
                    <a:pt x="2121" y="240"/>
                    <a:pt x="2122" y="234"/>
                    <a:pt x="2124" y="236"/>
                  </a:cubicBezTo>
                  <a:cubicBezTo>
                    <a:pt x="2124" y="237"/>
                    <a:pt x="2121" y="245"/>
                    <a:pt x="2121" y="246"/>
                  </a:cubicBezTo>
                  <a:close/>
                  <a:moveTo>
                    <a:pt x="2115" y="217"/>
                  </a:moveTo>
                  <a:cubicBezTo>
                    <a:pt x="2117" y="212"/>
                    <a:pt x="2129" y="216"/>
                    <a:pt x="2126" y="222"/>
                  </a:cubicBezTo>
                  <a:cubicBezTo>
                    <a:pt x="2122" y="221"/>
                    <a:pt x="2119" y="219"/>
                    <a:pt x="2115" y="217"/>
                  </a:cubicBezTo>
                  <a:close/>
                  <a:moveTo>
                    <a:pt x="2122" y="276"/>
                  </a:moveTo>
                  <a:cubicBezTo>
                    <a:pt x="2122" y="272"/>
                    <a:pt x="2126" y="271"/>
                    <a:pt x="2133" y="271"/>
                  </a:cubicBezTo>
                  <a:cubicBezTo>
                    <a:pt x="2132" y="275"/>
                    <a:pt x="2128" y="277"/>
                    <a:pt x="2122" y="276"/>
                  </a:cubicBezTo>
                  <a:close/>
                  <a:moveTo>
                    <a:pt x="2129" y="243"/>
                  </a:moveTo>
                  <a:cubicBezTo>
                    <a:pt x="2129" y="241"/>
                    <a:pt x="2129" y="240"/>
                    <a:pt x="2129" y="238"/>
                  </a:cubicBezTo>
                  <a:cubicBezTo>
                    <a:pt x="2131" y="238"/>
                    <a:pt x="2133" y="238"/>
                    <a:pt x="2135" y="238"/>
                  </a:cubicBezTo>
                  <a:cubicBezTo>
                    <a:pt x="2135" y="240"/>
                    <a:pt x="2135" y="241"/>
                    <a:pt x="2135" y="243"/>
                  </a:cubicBezTo>
                  <a:cubicBezTo>
                    <a:pt x="2133" y="243"/>
                    <a:pt x="2131" y="243"/>
                    <a:pt x="2129" y="243"/>
                  </a:cubicBezTo>
                  <a:close/>
                  <a:moveTo>
                    <a:pt x="2134" y="210"/>
                  </a:moveTo>
                  <a:cubicBezTo>
                    <a:pt x="2132" y="212"/>
                    <a:pt x="2130" y="212"/>
                    <a:pt x="2126" y="213"/>
                  </a:cubicBezTo>
                  <a:cubicBezTo>
                    <a:pt x="2126" y="213"/>
                    <a:pt x="2126" y="210"/>
                    <a:pt x="2126" y="210"/>
                  </a:cubicBezTo>
                  <a:cubicBezTo>
                    <a:pt x="2124" y="211"/>
                    <a:pt x="2124" y="213"/>
                    <a:pt x="2123" y="213"/>
                  </a:cubicBezTo>
                  <a:cubicBezTo>
                    <a:pt x="2121" y="213"/>
                    <a:pt x="2120" y="210"/>
                    <a:pt x="2121" y="210"/>
                  </a:cubicBezTo>
                  <a:cubicBezTo>
                    <a:pt x="2121" y="210"/>
                    <a:pt x="2113" y="212"/>
                    <a:pt x="2112" y="213"/>
                  </a:cubicBezTo>
                  <a:cubicBezTo>
                    <a:pt x="2110" y="215"/>
                    <a:pt x="2112" y="213"/>
                    <a:pt x="2101" y="213"/>
                  </a:cubicBezTo>
                  <a:cubicBezTo>
                    <a:pt x="2103" y="207"/>
                    <a:pt x="2100" y="205"/>
                    <a:pt x="2093" y="206"/>
                  </a:cubicBezTo>
                  <a:cubicBezTo>
                    <a:pt x="2092" y="203"/>
                    <a:pt x="2097" y="205"/>
                    <a:pt x="2099" y="204"/>
                  </a:cubicBezTo>
                  <a:cubicBezTo>
                    <a:pt x="2103" y="199"/>
                    <a:pt x="2097" y="191"/>
                    <a:pt x="2107" y="192"/>
                  </a:cubicBezTo>
                  <a:cubicBezTo>
                    <a:pt x="2101" y="197"/>
                    <a:pt x="2105" y="205"/>
                    <a:pt x="2107" y="211"/>
                  </a:cubicBezTo>
                  <a:cubicBezTo>
                    <a:pt x="2112" y="208"/>
                    <a:pt x="2122" y="210"/>
                    <a:pt x="2121" y="203"/>
                  </a:cubicBezTo>
                  <a:cubicBezTo>
                    <a:pt x="2123" y="205"/>
                    <a:pt x="2125" y="207"/>
                    <a:pt x="2126" y="210"/>
                  </a:cubicBezTo>
                  <a:cubicBezTo>
                    <a:pt x="2130" y="206"/>
                    <a:pt x="2135" y="204"/>
                    <a:pt x="2134" y="196"/>
                  </a:cubicBezTo>
                  <a:cubicBezTo>
                    <a:pt x="2138" y="196"/>
                    <a:pt x="2135" y="203"/>
                    <a:pt x="2140" y="203"/>
                  </a:cubicBezTo>
                  <a:cubicBezTo>
                    <a:pt x="2138" y="205"/>
                    <a:pt x="2133" y="206"/>
                    <a:pt x="2134" y="210"/>
                  </a:cubicBezTo>
                  <a:close/>
                  <a:moveTo>
                    <a:pt x="2144" y="285"/>
                  </a:moveTo>
                  <a:cubicBezTo>
                    <a:pt x="2139" y="283"/>
                    <a:pt x="2136" y="275"/>
                    <a:pt x="2141" y="271"/>
                  </a:cubicBezTo>
                  <a:cubicBezTo>
                    <a:pt x="2147" y="271"/>
                    <a:pt x="2142" y="281"/>
                    <a:pt x="2144" y="285"/>
                  </a:cubicBezTo>
                  <a:close/>
                  <a:moveTo>
                    <a:pt x="2143" y="215"/>
                  </a:moveTo>
                  <a:cubicBezTo>
                    <a:pt x="2146" y="216"/>
                    <a:pt x="2148" y="218"/>
                    <a:pt x="2148" y="222"/>
                  </a:cubicBezTo>
                  <a:cubicBezTo>
                    <a:pt x="2145" y="221"/>
                    <a:pt x="2143" y="219"/>
                    <a:pt x="2143" y="215"/>
                  </a:cubicBezTo>
                  <a:close/>
                  <a:moveTo>
                    <a:pt x="2147" y="156"/>
                  </a:moveTo>
                  <a:cubicBezTo>
                    <a:pt x="2143" y="154"/>
                    <a:pt x="2148" y="152"/>
                    <a:pt x="2144" y="146"/>
                  </a:cubicBezTo>
                  <a:cubicBezTo>
                    <a:pt x="2154" y="144"/>
                    <a:pt x="2150" y="154"/>
                    <a:pt x="2155" y="156"/>
                  </a:cubicBezTo>
                  <a:cubicBezTo>
                    <a:pt x="2154" y="159"/>
                    <a:pt x="2151" y="156"/>
                    <a:pt x="2150" y="153"/>
                  </a:cubicBezTo>
                  <a:cubicBezTo>
                    <a:pt x="2147" y="153"/>
                    <a:pt x="2147" y="154"/>
                    <a:pt x="2147" y="156"/>
                  </a:cubicBezTo>
                  <a:close/>
                  <a:moveTo>
                    <a:pt x="2157" y="250"/>
                  </a:moveTo>
                  <a:cubicBezTo>
                    <a:pt x="2153" y="249"/>
                    <a:pt x="2156" y="243"/>
                    <a:pt x="2151" y="243"/>
                  </a:cubicBezTo>
                  <a:cubicBezTo>
                    <a:pt x="2153" y="240"/>
                    <a:pt x="2158" y="240"/>
                    <a:pt x="2157" y="236"/>
                  </a:cubicBezTo>
                  <a:cubicBezTo>
                    <a:pt x="2164" y="238"/>
                    <a:pt x="2156" y="246"/>
                    <a:pt x="2157" y="250"/>
                  </a:cubicBezTo>
                  <a:close/>
                  <a:moveTo>
                    <a:pt x="2159" y="221"/>
                  </a:moveTo>
                  <a:cubicBezTo>
                    <a:pt x="2160" y="224"/>
                    <a:pt x="2159" y="236"/>
                    <a:pt x="2157" y="228"/>
                  </a:cubicBezTo>
                  <a:cubicBezTo>
                    <a:pt x="2157" y="224"/>
                    <a:pt x="2156" y="219"/>
                    <a:pt x="2156" y="214"/>
                  </a:cubicBezTo>
                  <a:cubicBezTo>
                    <a:pt x="2160" y="214"/>
                    <a:pt x="2164" y="214"/>
                    <a:pt x="2167" y="214"/>
                  </a:cubicBezTo>
                  <a:cubicBezTo>
                    <a:pt x="2168" y="219"/>
                    <a:pt x="2165" y="222"/>
                    <a:pt x="2159" y="221"/>
                  </a:cubicBezTo>
                  <a:close/>
                  <a:moveTo>
                    <a:pt x="2168" y="273"/>
                  </a:moveTo>
                  <a:cubicBezTo>
                    <a:pt x="2171" y="274"/>
                    <a:pt x="2173" y="275"/>
                    <a:pt x="2177" y="275"/>
                  </a:cubicBezTo>
                  <a:cubicBezTo>
                    <a:pt x="2176" y="284"/>
                    <a:pt x="2173" y="284"/>
                    <a:pt x="2177" y="292"/>
                  </a:cubicBezTo>
                  <a:cubicBezTo>
                    <a:pt x="2165" y="293"/>
                    <a:pt x="2169" y="281"/>
                    <a:pt x="2168" y="273"/>
                  </a:cubicBezTo>
                  <a:close/>
                  <a:moveTo>
                    <a:pt x="2174" y="273"/>
                  </a:moveTo>
                  <a:cubicBezTo>
                    <a:pt x="2174" y="271"/>
                    <a:pt x="2174" y="270"/>
                    <a:pt x="2174" y="268"/>
                  </a:cubicBezTo>
                  <a:cubicBezTo>
                    <a:pt x="2176" y="268"/>
                    <a:pt x="2177" y="268"/>
                    <a:pt x="2179" y="268"/>
                  </a:cubicBezTo>
                  <a:cubicBezTo>
                    <a:pt x="2179" y="270"/>
                    <a:pt x="2179" y="271"/>
                    <a:pt x="2179" y="273"/>
                  </a:cubicBezTo>
                  <a:cubicBezTo>
                    <a:pt x="2177" y="273"/>
                    <a:pt x="2176" y="273"/>
                    <a:pt x="2174" y="273"/>
                  </a:cubicBezTo>
                  <a:close/>
                  <a:moveTo>
                    <a:pt x="2170" y="217"/>
                  </a:moveTo>
                  <a:cubicBezTo>
                    <a:pt x="2171" y="213"/>
                    <a:pt x="2177" y="214"/>
                    <a:pt x="2181" y="214"/>
                  </a:cubicBezTo>
                  <a:cubicBezTo>
                    <a:pt x="2180" y="219"/>
                    <a:pt x="2174" y="220"/>
                    <a:pt x="2170" y="217"/>
                  </a:cubicBezTo>
                  <a:close/>
                  <a:moveTo>
                    <a:pt x="2181" y="197"/>
                  </a:moveTo>
                  <a:cubicBezTo>
                    <a:pt x="2173" y="193"/>
                    <a:pt x="2182" y="183"/>
                    <a:pt x="2183" y="179"/>
                  </a:cubicBezTo>
                  <a:cubicBezTo>
                    <a:pt x="2189" y="182"/>
                    <a:pt x="2180" y="191"/>
                    <a:pt x="2181" y="197"/>
                  </a:cubicBezTo>
                  <a:close/>
                  <a:moveTo>
                    <a:pt x="2188" y="136"/>
                  </a:moveTo>
                  <a:cubicBezTo>
                    <a:pt x="2190" y="136"/>
                    <a:pt x="2192" y="136"/>
                    <a:pt x="2193" y="136"/>
                  </a:cubicBezTo>
                  <a:cubicBezTo>
                    <a:pt x="2195" y="141"/>
                    <a:pt x="2190" y="141"/>
                    <a:pt x="2185" y="141"/>
                  </a:cubicBezTo>
                  <a:cubicBezTo>
                    <a:pt x="2186" y="139"/>
                    <a:pt x="2188" y="139"/>
                    <a:pt x="2188" y="136"/>
                  </a:cubicBezTo>
                  <a:close/>
                  <a:moveTo>
                    <a:pt x="2189" y="204"/>
                  </a:moveTo>
                  <a:cubicBezTo>
                    <a:pt x="2188" y="209"/>
                    <a:pt x="2186" y="203"/>
                    <a:pt x="2186" y="200"/>
                  </a:cubicBezTo>
                  <a:cubicBezTo>
                    <a:pt x="2187" y="195"/>
                    <a:pt x="2190" y="201"/>
                    <a:pt x="2189" y="204"/>
                  </a:cubicBezTo>
                  <a:close/>
                  <a:moveTo>
                    <a:pt x="2189" y="214"/>
                  </a:moveTo>
                  <a:cubicBezTo>
                    <a:pt x="2194" y="213"/>
                    <a:pt x="2194" y="216"/>
                    <a:pt x="2198" y="216"/>
                  </a:cubicBezTo>
                  <a:cubicBezTo>
                    <a:pt x="2195" y="223"/>
                    <a:pt x="2195" y="223"/>
                    <a:pt x="2198" y="230"/>
                  </a:cubicBezTo>
                  <a:cubicBezTo>
                    <a:pt x="2190" y="229"/>
                    <a:pt x="2193" y="219"/>
                    <a:pt x="2189" y="214"/>
                  </a:cubicBezTo>
                  <a:close/>
                  <a:moveTo>
                    <a:pt x="2191" y="148"/>
                  </a:moveTo>
                  <a:cubicBezTo>
                    <a:pt x="2192" y="145"/>
                    <a:pt x="2198" y="146"/>
                    <a:pt x="2202" y="145"/>
                  </a:cubicBezTo>
                  <a:cubicBezTo>
                    <a:pt x="2201" y="137"/>
                    <a:pt x="2204" y="132"/>
                    <a:pt x="2213" y="131"/>
                  </a:cubicBezTo>
                  <a:cubicBezTo>
                    <a:pt x="2207" y="140"/>
                    <a:pt x="2204" y="142"/>
                    <a:pt x="2207" y="155"/>
                  </a:cubicBezTo>
                  <a:cubicBezTo>
                    <a:pt x="2200" y="155"/>
                    <a:pt x="2204" y="153"/>
                    <a:pt x="2205" y="150"/>
                  </a:cubicBezTo>
                  <a:cubicBezTo>
                    <a:pt x="2200" y="145"/>
                    <a:pt x="2198" y="152"/>
                    <a:pt x="2191" y="148"/>
                  </a:cubicBezTo>
                  <a:close/>
                  <a:moveTo>
                    <a:pt x="2214" y="220"/>
                  </a:moveTo>
                  <a:cubicBezTo>
                    <a:pt x="2205" y="222"/>
                    <a:pt x="2213" y="209"/>
                    <a:pt x="2203" y="211"/>
                  </a:cubicBezTo>
                  <a:cubicBezTo>
                    <a:pt x="2203" y="208"/>
                    <a:pt x="2208" y="209"/>
                    <a:pt x="2211" y="209"/>
                  </a:cubicBezTo>
                  <a:cubicBezTo>
                    <a:pt x="2209" y="215"/>
                    <a:pt x="2215" y="215"/>
                    <a:pt x="2214" y="220"/>
                  </a:cubicBezTo>
                  <a:close/>
                  <a:moveTo>
                    <a:pt x="2211" y="202"/>
                  </a:moveTo>
                  <a:cubicBezTo>
                    <a:pt x="2208" y="201"/>
                    <a:pt x="2206" y="202"/>
                    <a:pt x="2206" y="204"/>
                  </a:cubicBezTo>
                  <a:cubicBezTo>
                    <a:pt x="2201" y="203"/>
                    <a:pt x="2207" y="201"/>
                    <a:pt x="2206" y="197"/>
                  </a:cubicBezTo>
                  <a:cubicBezTo>
                    <a:pt x="2209" y="201"/>
                    <a:pt x="2217" y="200"/>
                    <a:pt x="2217" y="206"/>
                  </a:cubicBezTo>
                  <a:cubicBezTo>
                    <a:pt x="2214" y="205"/>
                    <a:pt x="2212" y="204"/>
                    <a:pt x="2211" y="202"/>
                  </a:cubicBezTo>
                  <a:close/>
                  <a:moveTo>
                    <a:pt x="2222" y="223"/>
                  </a:moveTo>
                  <a:cubicBezTo>
                    <a:pt x="2219" y="222"/>
                    <a:pt x="2220" y="217"/>
                    <a:pt x="2219" y="213"/>
                  </a:cubicBezTo>
                  <a:cubicBezTo>
                    <a:pt x="2222" y="213"/>
                    <a:pt x="2225" y="213"/>
                    <a:pt x="2228" y="213"/>
                  </a:cubicBezTo>
                  <a:cubicBezTo>
                    <a:pt x="2231" y="221"/>
                    <a:pt x="2219" y="215"/>
                    <a:pt x="2222" y="223"/>
                  </a:cubicBezTo>
                  <a:close/>
                  <a:moveTo>
                    <a:pt x="2233" y="187"/>
                  </a:moveTo>
                  <a:cubicBezTo>
                    <a:pt x="2235" y="187"/>
                    <a:pt x="2236" y="187"/>
                    <a:pt x="2238" y="187"/>
                  </a:cubicBezTo>
                  <a:cubicBezTo>
                    <a:pt x="2240" y="192"/>
                    <a:pt x="2234" y="192"/>
                    <a:pt x="2230" y="192"/>
                  </a:cubicBezTo>
                  <a:cubicBezTo>
                    <a:pt x="2231" y="190"/>
                    <a:pt x="2233" y="190"/>
                    <a:pt x="2233" y="187"/>
                  </a:cubicBezTo>
                  <a:close/>
                  <a:moveTo>
                    <a:pt x="2236" y="225"/>
                  </a:moveTo>
                  <a:cubicBezTo>
                    <a:pt x="2234" y="223"/>
                    <a:pt x="2230" y="215"/>
                    <a:pt x="2230" y="208"/>
                  </a:cubicBezTo>
                  <a:cubicBezTo>
                    <a:pt x="2230" y="207"/>
                    <a:pt x="2235" y="207"/>
                    <a:pt x="2236" y="206"/>
                  </a:cubicBezTo>
                  <a:cubicBezTo>
                    <a:pt x="2237" y="205"/>
                    <a:pt x="2232" y="201"/>
                    <a:pt x="2236" y="199"/>
                  </a:cubicBezTo>
                  <a:cubicBezTo>
                    <a:pt x="2244" y="199"/>
                    <a:pt x="2230" y="217"/>
                    <a:pt x="2239" y="211"/>
                  </a:cubicBezTo>
                  <a:cubicBezTo>
                    <a:pt x="2247" y="214"/>
                    <a:pt x="2234" y="219"/>
                    <a:pt x="2236" y="225"/>
                  </a:cubicBezTo>
                  <a:close/>
                  <a:moveTo>
                    <a:pt x="2264" y="104"/>
                  </a:moveTo>
                  <a:cubicBezTo>
                    <a:pt x="2271" y="105"/>
                    <a:pt x="2267" y="115"/>
                    <a:pt x="2259" y="112"/>
                  </a:cubicBezTo>
                  <a:cubicBezTo>
                    <a:pt x="2261" y="109"/>
                    <a:pt x="2265" y="109"/>
                    <a:pt x="2264" y="104"/>
                  </a:cubicBezTo>
                  <a:close/>
                  <a:moveTo>
                    <a:pt x="2267" y="128"/>
                  </a:moveTo>
                  <a:cubicBezTo>
                    <a:pt x="2277" y="126"/>
                    <a:pt x="2268" y="138"/>
                    <a:pt x="2265" y="135"/>
                  </a:cubicBezTo>
                  <a:cubicBezTo>
                    <a:pt x="2265" y="135"/>
                    <a:pt x="2267" y="130"/>
                    <a:pt x="2267" y="130"/>
                  </a:cubicBezTo>
                  <a:cubicBezTo>
                    <a:pt x="2268" y="130"/>
                    <a:pt x="2267" y="128"/>
                    <a:pt x="2267" y="128"/>
                  </a:cubicBezTo>
                  <a:close/>
                  <a:moveTo>
                    <a:pt x="2265" y="121"/>
                  </a:moveTo>
                  <a:cubicBezTo>
                    <a:pt x="2266" y="120"/>
                    <a:pt x="2256" y="119"/>
                    <a:pt x="2256" y="119"/>
                  </a:cubicBezTo>
                  <a:cubicBezTo>
                    <a:pt x="2255" y="115"/>
                    <a:pt x="2271" y="115"/>
                    <a:pt x="2265" y="121"/>
                  </a:cubicBezTo>
                  <a:close/>
                  <a:moveTo>
                    <a:pt x="2243" y="135"/>
                  </a:moveTo>
                  <a:cubicBezTo>
                    <a:pt x="2245" y="134"/>
                    <a:pt x="2245" y="138"/>
                    <a:pt x="2246" y="138"/>
                  </a:cubicBezTo>
                  <a:cubicBezTo>
                    <a:pt x="2248" y="138"/>
                    <a:pt x="2248" y="135"/>
                    <a:pt x="2248" y="135"/>
                  </a:cubicBezTo>
                  <a:cubicBezTo>
                    <a:pt x="2252" y="135"/>
                    <a:pt x="2258" y="140"/>
                    <a:pt x="2259" y="135"/>
                  </a:cubicBezTo>
                  <a:cubicBezTo>
                    <a:pt x="2255" y="132"/>
                    <a:pt x="2259" y="134"/>
                    <a:pt x="2262" y="135"/>
                  </a:cubicBezTo>
                  <a:cubicBezTo>
                    <a:pt x="2261" y="135"/>
                    <a:pt x="2260" y="139"/>
                    <a:pt x="2259" y="140"/>
                  </a:cubicBezTo>
                  <a:cubicBezTo>
                    <a:pt x="2256" y="141"/>
                    <a:pt x="2255" y="137"/>
                    <a:pt x="2254" y="137"/>
                  </a:cubicBezTo>
                  <a:cubicBezTo>
                    <a:pt x="2249" y="138"/>
                    <a:pt x="2241" y="144"/>
                    <a:pt x="2243" y="135"/>
                  </a:cubicBezTo>
                  <a:close/>
                  <a:moveTo>
                    <a:pt x="2247" y="220"/>
                  </a:moveTo>
                  <a:cubicBezTo>
                    <a:pt x="2252" y="215"/>
                    <a:pt x="2247" y="217"/>
                    <a:pt x="2247" y="210"/>
                  </a:cubicBezTo>
                  <a:cubicBezTo>
                    <a:pt x="2256" y="210"/>
                    <a:pt x="2258" y="221"/>
                    <a:pt x="2247" y="220"/>
                  </a:cubicBezTo>
                  <a:close/>
                  <a:moveTo>
                    <a:pt x="2244" y="192"/>
                  </a:moveTo>
                  <a:cubicBezTo>
                    <a:pt x="2237" y="190"/>
                    <a:pt x="2252" y="187"/>
                    <a:pt x="2257" y="187"/>
                  </a:cubicBezTo>
                  <a:cubicBezTo>
                    <a:pt x="2255" y="190"/>
                    <a:pt x="2249" y="190"/>
                    <a:pt x="2244" y="192"/>
                  </a:cubicBezTo>
                  <a:close/>
                  <a:moveTo>
                    <a:pt x="2249" y="182"/>
                  </a:moveTo>
                  <a:cubicBezTo>
                    <a:pt x="2251" y="180"/>
                    <a:pt x="2252" y="178"/>
                    <a:pt x="2252" y="175"/>
                  </a:cubicBezTo>
                  <a:cubicBezTo>
                    <a:pt x="2255" y="175"/>
                    <a:pt x="2257" y="175"/>
                    <a:pt x="2260" y="175"/>
                  </a:cubicBezTo>
                  <a:cubicBezTo>
                    <a:pt x="2258" y="178"/>
                    <a:pt x="2256" y="183"/>
                    <a:pt x="2249" y="182"/>
                  </a:cubicBezTo>
                  <a:close/>
                  <a:moveTo>
                    <a:pt x="2261" y="227"/>
                  </a:moveTo>
                  <a:cubicBezTo>
                    <a:pt x="2261" y="221"/>
                    <a:pt x="2266" y="230"/>
                    <a:pt x="2272" y="226"/>
                  </a:cubicBezTo>
                  <a:cubicBezTo>
                    <a:pt x="2272" y="232"/>
                    <a:pt x="2263" y="227"/>
                    <a:pt x="2261" y="227"/>
                  </a:cubicBezTo>
                  <a:close/>
                  <a:moveTo>
                    <a:pt x="2269" y="234"/>
                  </a:moveTo>
                  <a:cubicBezTo>
                    <a:pt x="2281" y="234"/>
                    <a:pt x="2267" y="247"/>
                    <a:pt x="2269" y="234"/>
                  </a:cubicBezTo>
                  <a:close/>
                  <a:moveTo>
                    <a:pt x="2273" y="109"/>
                  </a:moveTo>
                  <a:cubicBezTo>
                    <a:pt x="2269" y="106"/>
                    <a:pt x="2266" y="97"/>
                    <a:pt x="2269" y="95"/>
                  </a:cubicBezTo>
                  <a:cubicBezTo>
                    <a:pt x="2273" y="98"/>
                    <a:pt x="2276" y="106"/>
                    <a:pt x="2273" y="109"/>
                  </a:cubicBezTo>
                  <a:close/>
                  <a:moveTo>
                    <a:pt x="2886" y="232"/>
                  </a:moveTo>
                  <a:cubicBezTo>
                    <a:pt x="2880" y="240"/>
                    <a:pt x="2873" y="226"/>
                    <a:pt x="2886" y="232"/>
                  </a:cubicBezTo>
                  <a:close/>
                  <a:moveTo>
                    <a:pt x="2865" y="263"/>
                  </a:moveTo>
                  <a:cubicBezTo>
                    <a:pt x="2870" y="263"/>
                    <a:pt x="2871" y="266"/>
                    <a:pt x="2876" y="265"/>
                  </a:cubicBezTo>
                  <a:cubicBezTo>
                    <a:pt x="2877" y="269"/>
                    <a:pt x="2861" y="270"/>
                    <a:pt x="2865" y="263"/>
                  </a:cubicBezTo>
                  <a:close/>
                  <a:moveTo>
                    <a:pt x="2865" y="230"/>
                  </a:moveTo>
                  <a:cubicBezTo>
                    <a:pt x="2876" y="227"/>
                    <a:pt x="2872" y="238"/>
                    <a:pt x="2878" y="239"/>
                  </a:cubicBezTo>
                  <a:cubicBezTo>
                    <a:pt x="2877" y="243"/>
                    <a:pt x="2872" y="241"/>
                    <a:pt x="2873" y="237"/>
                  </a:cubicBezTo>
                  <a:cubicBezTo>
                    <a:pt x="2865" y="239"/>
                    <a:pt x="2875" y="246"/>
                    <a:pt x="2879" y="246"/>
                  </a:cubicBezTo>
                  <a:cubicBezTo>
                    <a:pt x="2876" y="250"/>
                    <a:pt x="2877" y="256"/>
                    <a:pt x="2868" y="254"/>
                  </a:cubicBezTo>
                  <a:cubicBezTo>
                    <a:pt x="2866" y="252"/>
                    <a:pt x="2873" y="249"/>
                    <a:pt x="2873" y="249"/>
                  </a:cubicBezTo>
                  <a:cubicBezTo>
                    <a:pt x="2873" y="246"/>
                    <a:pt x="2869" y="248"/>
                    <a:pt x="2867" y="247"/>
                  </a:cubicBezTo>
                  <a:cubicBezTo>
                    <a:pt x="2867" y="246"/>
                    <a:pt x="2868" y="243"/>
                    <a:pt x="2867" y="242"/>
                  </a:cubicBezTo>
                  <a:cubicBezTo>
                    <a:pt x="2866" y="241"/>
                    <a:pt x="2863" y="237"/>
                    <a:pt x="2865" y="230"/>
                  </a:cubicBezTo>
                  <a:close/>
                  <a:moveTo>
                    <a:pt x="2862" y="247"/>
                  </a:moveTo>
                  <a:cubicBezTo>
                    <a:pt x="2860" y="251"/>
                    <a:pt x="2859" y="245"/>
                    <a:pt x="2859" y="242"/>
                  </a:cubicBezTo>
                  <a:cubicBezTo>
                    <a:pt x="2851" y="239"/>
                    <a:pt x="2866" y="240"/>
                    <a:pt x="2862" y="247"/>
                  </a:cubicBezTo>
                  <a:close/>
                  <a:moveTo>
                    <a:pt x="2869" y="193"/>
                  </a:moveTo>
                  <a:cubicBezTo>
                    <a:pt x="2871" y="190"/>
                    <a:pt x="2873" y="188"/>
                    <a:pt x="2869" y="188"/>
                  </a:cubicBezTo>
                  <a:cubicBezTo>
                    <a:pt x="2872" y="178"/>
                    <a:pt x="2881" y="196"/>
                    <a:pt x="2869" y="193"/>
                  </a:cubicBezTo>
                  <a:close/>
                  <a:moveTo>
                    <a:pt x="2872" y="160"/>
                  </a:moveTo>
                  <a:cubicBezTo>
                    <a:pt x="2866" y="156"/>
                    <a:pt x="2868" y="160"/>
                    <a:pt x="2861" y="160"/>
                  </a:cubicBezTo>
                  <a:cubicBezTo>
                    <a:pt x="2860" y="158"/>
                    <a:pt x="2862" y="158"/>
                    <a:pt x="2863" y="157"/>
                  </a:cubicBezTo>
                  <a:cubicBezTo>
                    <a:pt x="2863" y="155"/>
                    <a:pt x="2860" y="156"/>
                    <a:pt x="2858" y="155"/>
                  </a:cubicBezTo>
                  <a:cubicBezTo>
                    <a:pt x="2859" y="147"/>
                    <a:pt x="2872" y="152"/>
                    <a:pt x="2872" y="160"/>
                  </a:cubicBezTo>
                  <a:close/>
                  <a:moveTo>
                    <a:pt x="2705" y="221"/>
                  </a:moveTo>
                  <a:cubicBezTo>
                    <a:pt x="2707" y="221"/>
                    <a:pt x="2709" y="221"/>
                    <a:pt x="2711" y="221"/>
                  </a:cubicBezTo>
                  <a:cubicBezTo>
                    <a:pt x="2711" y="223"/>
                    <a:pt x="2711" y="224"/>
                    <a:pt x="2711" y="226"/>
                  </a:cubicBezTo>
                  <a:cubicBezTo>
                    <a:pt x="2709" y="226"/>
                    <a:pt x="2707" y="226"/>
                    <a:pt x="2705" y="226"/>
                  </a:cubicBezTo>
                  <a:cubicBezTo>
                    <a:pt x="2705" y="224"/>
                    <a:pt x="2705" y="223"/>
                    <a:pt x="2705" y="221"/>
                  </a:cubicBezTo>
                  <a:close/>
                  <a:moveTo>
                    <a:pt x="2714" y="245"/>
                  </a:moveTo>
                  <a:cubicBezTo>
                    <a:pt x="2718" y="236"/>
                    <a:pt x="2706" y="240"/>
                    <a:pt x="2708" y="233"/>
                  </a:cubicBezTo>
                  <a:cubicBezTo>
                    <a:pt x="2713" y="233"/>
                    <a:pt x="2714" y="230"/>
                    <a:pt x="2719" y="230"/>
                  </a:cubicBezTo>
                  <a:cubicBezTo>
                    <a:pt x="2725" y="236"/>
                    <a:pt x="2714" y="241"/>
                    <a:pt x="2725" y="242"/>
                  </a:cubicBezTo>
                  <a:cubicBezTo>
                    <a:pt x="2724" y="245"/>
                    <a:pt x="2718" y="244"/>
                    <a:pt x="2714" y="245"/>
                  </a:cubicBezTo>
                  <a:close/>
                  <a:moveTo>
                    <a:pt x="2727" y="237"/>
                  </a:moveTo>
                  <a:cubicBezTo>
                    <a:pt x="2730" y="232"/>
                    <a:pt x="2734" y="229"/>
                    <a:pt x="2733" y="221"/>
                  </a:cubicBezTo>
                  <a:cubicBezTo>
                    <a:pt x="2743" y="224"/>
                    <a:pt x="2734" y="228"/>
                    <a:pt x="2738" y="235"/>
                  </a:cubicBezTo>
                  <a:cubicBezTo>
                    <a:pt x="2733" y="235"/>
                    <a:pt x="2733" y="238"/>
                    <a:pt x="2727" y="237"/>
                  </a:cubicBezTo>
                  <a:close/>
                  <a:moveTo>
                    <a:pt x="2733" y="242"/>
                  </a:moveTo>
                  <a:cubicBezTo>
                    <a:pt x="2735" y="244"/>
                    <a:pt x="2739" y="244"/>
                    <a:pt x="2739" y="249"/>
                  </a:cubicBezTo>
                  <a:cubicBezTo>
                    <a:pt x="2731" y="250"/>
                    <a:pt x="2731" y="244"/>
                    <a:pt x="2730" y="240"/>
                  </a:cubicBezTo>
                  <a:cubicBezTo>
                    <a:pt x="2735" y="240"/>
                    <a:pt x="2736" y="237"/>
                    <a:pt x="2741" y="237"/>
                  </a:cubicBezTo>
                  <a:cubicBezTo>
                    <a:pt x="2743" y="242"/>
                    <a:pt x="2737" y="242"/>
                    <a:pt x="2733" y="242"/>
                  </a:cubicBezTo>
                  <a:close/>
                  <a:moveTo>
                    <a:pt x="2730" y="218"/>
                  </a:moveTo>
                  <a:cubicBezTo>
                    <a:pt x="2727" y="211"/>
                    <a:pt x="2747" y="206"/>
                    <a:pt x="2730" y="207"/>
                  </a:cubicBezTo>
                  <a:cubicBezTo>
                    <a:pt x="2729" y="198"/>
                    <a:pt x="2749" y="206"/>
                    <a:pt x="2751" y="199"/>
                  </a:cubicBezTo>
                  <a:cubicBezTo>
                    <a:pt x="2758" y="201"/>
                    <a:pt x="2748" y="208"/>
                    <a:pt x="2752" y="216"/>
                  </a:cubicBezTo>
                  <a:cubicBezTo>
                    <a:pt x="2746" y="217"/>
                    <a:pt x="2748" y="211"/>
                    <a:pt x="2743" y="211"/>
                  </a:cubicBezTo>
                  <a:cubicBezTo>
                    <a:pt x="2735" y="213"/>
                    <a:pt x="2750" y="215"/>
                    <a:pt x="2746" y="221"/>
                  </a:cubicBezTo>
                  <a:cubicBezTo>
                    <a:pt x="2741" y="218"/>
                    <a:pt x="2738" y="222"/>
                    <a:pt x="2730" y="218"/>
                  </a:cubicBezTo>
                  <a:close/>
                  <a:moveTo>
                    <a:pt x="2740" y="185"/>
                  </a:moveTo>
                  <a:cubicBezTo>
                    <a:pt x="2742" y="185"/>
                    <a:pt x="2744" y="185"/>
                    <a:pt x="2746" y="185"/>
                  </a:cubicBezTo>
                  <a:cubicBezTo>
                    <a:pt x="2746" y="187"/>
                    <a:pt x="2746" y="188"/>
                    <a:pt x="2746" y="190"/>
                  </a:cubicBezTo>
                  <a:cubicBezTo>
                    <a:pt x="2744" y="190"/>
                    <a:pt x="2742" y="190"/>
                    <a:pt x="2740" y="190"/>
                  </a:cubicBezTo>
                  <a:cubicBezTo>
                    <a:pt x="2740" y="189"/>
                    <a:pt x="2740" y="187"/>
                    <a:pt x="2740" y="185"/>
                  </a:cubicBezTo>
                  <a:close/>
                  <a:moveTo>
                    <a:pt x="2755" y="242"/>
                  </a:moveTo>
                  <a:cubicBezTo>
                    <a:pt x="2751" y="242"/>
                    <a:pt x="2748" y="242"/>
                    <a:pt x="2744" y="242"/>
                  </a:cubicBezTo>
                  <a:cubicBezTo>
                    <a:pt x="2743" y="237"/>
                    <a:pt x="2751" y="238"/>
                    <a:pt x="2749" y="239"/>
                  </a:cubicBezTo>
                  <a:cubicBezTo>
                    <a:pt x="2755" y="235"/>
                    <a:pt x="2752" y="229"/>
                    <a:pt x="2763" y="230"/>
                  </a:cubicBezTo>
                  <a:cubicBezTo>
                    <a:pt x="2766" y="238"/>
                    <a:pt x="2750" y="231"/>
                    <a:pt x="2755" y="242"/>
                  </a:cubicBezTo>
                  <a:close/>
                  <a:moveTo>
                    <a:pt x="2763" y="248"/>
                  </a:moveTo>
                  <a:cubicBezTo>
                    <a:pt x="2760" y="248"/>
                    <a:pt x="2761" y="244"/>
                    <a:pt x="2760" y="241"/>
                  </a:cubicBezTo>
                  <a:cubicBezTo>
                    <a:pt x="2763" y="241"/>
                    <a:pt x="2766" y="241"/>
                    <a:pt x="2769" y="241"/>
                  </a:cubicBezTo>
                  <a:cubicBezTo>
                    <a:pt x="2768" y="244"/>
                    <a:pt x="2764" y="245"/>
                    <a:pt x="2763" y="248"/>
                  </a:cubicBezTo>
                  <a:close/>
                  <a:moveTo>
                    <a:pt x="2771" y="222"/>
                  </a:moveTo>
                  <a:cubicBezTo>
                    <a:pt x="2784" y="224"/>
                    <a:pt x="2769" y="237"/>
                    <a:pt x="2771" y="222"/>
                  </a:cubicBezTo>
                  <a:close/>
                  <a:moveTo>
                    <a:pt x="2777" y="262"/>
                  </a:moveTo>
                  <a:cubicBezTo>
                    <a:pt x="2771" y="261"/>
                    <a:pt x="2775" y="250"/>
                    <a:pt x="2777" y="248"/>
                  </a:cubicBezTo>
                  <a:cubicBezTo>
                    <a:pt x="2783" y="249"/>
                    <a:pt x="2779" y="261"/>
                    <a:pt x="2777" y="262"/>
                  </a:cubicBezTo>
                  <a:close/>
                  <a:moveTo>
                    <a:pt x="2782" y="236"/>
                  </a:moveTo>
                  <a:cubicBezTo>
                    <a:pt x="2781" y="236"/>
                    <a:pt x="2779" y="236"/>
                    <a:pt x="2777" y="237"/>
                  </a:cubicBezTo>
                  <a:cubicBezTo>
                    <a:pt x="2777" y="234"/>
                    <a:pt x="2776" y="234"/>
                    <a:pt x="2774" y="234"/>
                  </a:cubicBezTo>
                  <a:cubicBezTo>
                    <a:pt x="2773" y="230"/>
                    <a:pt x="2786" y="231"/>
                    <a:pt x="2782" y="236"/>
                  </a:cubicBezTo>
                  <a:close/>
                  <a:moveTo>
                    <a:pt x="2794" y="269"/>
                  </a:moveTo>
                  <a:cubicBezTo>
                    <a:pt x="2794" y="268"/>
                    <a:pt x="2794" y="266"/>
                    <a:pt x="2794" y="264"/>
                  </a:cubicBezTo>
                  <a:cubicBezTo>
                    <a:pt x="2796" y="264"/>
                    <a:pt x="2797" y="264"/>
                    <a:pt x="2799" y="264"/>
                  </a:cubicBezTo>
                  <a:cubicBezTo>
                    <a:pt x="2799" y="266"/>
                    <a:pt x="2799" y="267"/>
                    <a:pt x="2799" y="269"/>
                  </a:cubicBezTo>
                  <a:cubicBezTo>
                    <a:pt x="2798" y="269"/>
                    <a:pt x="2796" y="269"/>
                    <a:pt x="2794" y="269"/>
                  </a:cubicBezTo>
                  <a:close/>
                  <a:moveTo>
                    <a:pt x="2807" y="259"/>
                  </a:moveTo>
                  <a:cubicBezTo>
                    <a:pt x="2804" y="256"/>
                    <a:pt x="2796" y="257"/>
                    <a:pt x="2796" y="250"/>
                  </a:cubicBezTo>
                  <a:cubicBezTo>
                    <a:pt x="2804" y="253"/>
                    <a:pt x="2809" y="244"/>
                    <a:pt x="2799" y="245"/>
                  </a:cubicBezTo>
                  <a:cubicBezTo>
                    <a:pt x="2799" y="242"/>
                    <a:pt x="2806" y="238"/>
                    <a:pt x="2804" y="245"/>
                  </a:cubicBezTo>
                  <a:cubicBezTo>
                    <a:pt x="2808" y="245"/>
                    <a:pt x="2809" y="246"/>
                    <a:pt x="2810" y="248"/>
                  </a:cubicBezTo>
                  <a:cubicBezTo>
                    <a:pt x="2819" y="247"/>
                    <a:pt x="2802" y="239"/>
                    <a:pt x="2815" y="241"/>
                  </a:cubicBezTo>
                  <a:cubicBezTo>
                    <a:pt x="2815" y="245"/>
                    <a:pt x="2815" y="250"/>
                    <a:pt x="2816" y="255"/>
                  </a:cubicBezTo>
                  <a:cubicBezTo>
                    <a:pt x="2810" y="254"/>
                    <a:pt x="2807" y="255"/>
                    <a:pt x="2807" y="259"/>
                  </a:cubicBezTo>
                  <a:close/>
                  <a:moveTo>
                    <a:pt x="2810" y="231"/>
                  </a:moveTo>
                  <a:cubicBezTo>
                    <a:pt x="2809" y="234"/>
                    <a:pt x="2806" y="236"/>
                    <a:pt x="2801" y="236"/>
                  </a:cubicBezTo>
                  <a:cubicBezTo>
                    <a:pt x="2800" y="231"/>
                    <a:pt x="2805" y="232"/>
                    <a:pt x="2810" y="231"/>
                  </a:cubicBezTo>
                  <a:close/>
                  <a:moveTo>
                    <a:pt x="2824" y="259"/>
                  </a:moveTo>
                  <a:cubicBezTo>
                    <a:pt x="2834" y="255"/>
                    <a:pt x="2826" y="267"/>
                    <a:pt x="2832" y="266"/>
                  </a:cubicBezTo>
                  <a:cubicBezTo>
                    <a:pt x="2830" y="272"/>
                    <a:pt x="2821" y="265"/>
                    <a:pt x="2824" y="259"/>
                  </a:cubicBezTo>
                  <a:close/>
                  <a:moveTo>
                    <a:pt x="2838" y="268"/>
                  </a:moveTo>
                  <a:cubicBezTo>
                    <a:pt x="2838" y="267"/>
                    <a:pt x="2838" y="265"/>
                    <a:pt x="2838" y="264"/>
                  </a:cubicBezTo>
                  <a:cubicBezTo>
                    <a:pt x="2840" y="264"/>
                    <a:pt x="2841" y="264"/>
                    <a:pt x="2843" y="264"/>
                  </a:cubicBezTo>
                  <a:cubicBezTo>
                    <a:pt x="2843" y="265"/>
                    <a:pt x="2843" y="267"/>
                    <a:pt x="2843" y="268"/>
                  </a:cubicBezTo>
                  <a:cubicBezTo>
                    <a:pt x="2841" y="268"/>
                    <a:pt x="2840" y="268"/>
                    <a:pt x="2838" y="268"/>
                  </a:cubicBezTo>
                  <a:close/>
                  <a:moveTo>
                    <a:pt x="2833" y="163"/>
                  </a:moveTo>
                  <a:cubicBezTo>
                    <a:pt x="2839" y="163"/>
                    <a:pt x="2835" y="173"/>
                    <a:pt x="2836" y="177"/>
                  </a:cubicBezTo>
                  <a:cubicBezTo>
                    <a:pt x="2840" y="176"/>
                    <a:pt x="2838" y="171"/>
                    <a:pt x="2839" y="167"/>
                  </a:cubicBezTo>
                  <a:cubicBezTo>
                    <a:pt x="2849" y="167"/>
                    <a:pt x="2846" y="180"/>
                    <a:pt x="2850" y="186"/>
                  </a:cubicBezTo>
                  <a:cubicBezTo>
                    <a:pt x="2845" y="186"/>
                    <a:pt x="2847" y="192"/>
                    <a:pt x="2839" y="191"/>
                  </a:cubicBezTo>
                  <a:cubicBezTo>
                    <a:pt x="2838" y="181"/>
                    <a:pt x="2852" y="178"/>
                    <a:pt x="2833" y="179"/>
                  </a:cubicBezTo>
                  <a:cubicBezTo>
                    <a:pt x="2836" y="171"/>
                    <a:pt x="2827" y="168"/>
                    <a:pt x="2833" y="163"/>
                  </a:cubicBezTo>
                  <a:close/>
                  <a:moveTo>
                    <a:pt x="2850" y="198"/>
                  </a:moveTo>
                  <a:cubicBezTo>
                    <a:pt x="2847" y="202"/>
                    <a:pt x="2834" y="210"/>
                    <a:pt x="2834" y="198"/>
                  </a:cubicBezTo>
                  <a:cubicBezTo>
                    <a:pt x="2843" y="200"/>
                    <a:pt x="2845" y="193"/>
                    <a:pt x="2850" y="198"/>
                  </a:cubicBezTo>
                  <a:close/>
                  <a:moveTo>
                    <a:pt x="2836" y="191"/>
                  </a:moveTo>
                  <a:cubicBezTo>
                    <a:pt x="2834" y="190"/>
                    <a:pt x="2834" y="192"/>
                    <a:pt x="2834" y="193"/>
                  </a:cubicBezTo>
                  <a:cubicBezTo>
                    <a:pt x="2830" y="193"/>
                    <a:pt x="2831" y="189"/>
                    <a:pt x="2831" y="186"/>
                  </a:cubicBezTo>
                  <a:cubicBezTo>
                    <a:pt x="2835" y="185"/>
                    <a:pt x="2836" y="188"/>
                    <a:pt x="2836" y="191"/>
                  </a:cubicBezTo>
                  <a:close/>
                  <a:moveTo>
                    <a:pt x="2825" y="175"/>
                  </a:moveTo>
                  <a:cubicBezTo>
                    <a:pt x="2831" y="176"/>
                    <a:pt x="2831" y="178"/>
                    <a:pt x="2828" y="182"/>
                  </a:cubicBezTo>
                  <a:cubicBezTo>
                    <a:pt x="2826" y="182"/>
                    <a:pt x="2824" y="182"/>
                    <a:pt x="2822" y="182"/>
                  </a:cubicBezTo>
                  <a:cubicBezTo>
                    <a:pt x="2822" y="178"/>
                    <a:pt x="2825" y="178"/>
                    <a:pt x="2825" y="175"/>
                  </a:cubicBezTo>
                  <a:close/>
                  <a:moveTo>
                    <a:pt x="2812" y="184"/>
                  </a:moveTo>
                  <a:cubicBezTo>
                    <a:pt x="2823" y="185"/>
                    <a:pt x="2812" y="190"/>
                    <a:pt x="2817" y="196"/>
                  </a:cubicBezTo>
                  <a:cubicBezTo>
                    <a:pt x="2808" y="198"/>
                    <a:pt x="2813" y="189"/>
                    <a:pt x="2812" y="184"/>
                  </a:cubicBezTo>
                  <a:close/>
                  <a:moveTo>
                    <a:pt x="2801" y="182"/>
                  </a:moveTo>
                  <a:cubicBezTo>
                    <a:pt x="2802" y="182"/>
                    <a:pt x="2804" y="182"/>
                    <a:pt x="2806" y="182"/>
                  </a:cubicBezTo>
                  <a:cubicBezTo>
                    <a:pt x="2806" y="184"/>
                    <a:pt x="2807" y="184"/>
                    <a:pt x="2809" y="184"/>
                  </a:cubicBezTo>
                  <a:cubicBezTo>
                    <a:pt x="2809" y="187"/>
                    <a:pt x="2805" y="186"/>
                    <a:pt x="2803" y="187"/>
                  </a:cubicBezTo>
                  <a:cubicBezTo>
                    <a:pt x="2805" y="189"/>
                    <a:pt x="2806" y="190"/>
                    <a:pt x="2806" y="194"/>
                  </a:cubicBezTo>
                  <a:cubicBezTo>
                    <a:pt x="2795" y="194"/>
                    <a:pt x="2799" y="188"/>
                    <a:pt x="2801" y="182"/>
                  </a:cubicBezTo>
                  <a:close/>
                  <a:moveTo>
                    <a:pt x="2801" y="215"/>
                  </a:moveTo>
                  <a:cubicBezTo>
                    <a:pt x="2811" y="212"/>
                    <a:pt x="2811" y="209"/>
                    <a:pt x="2820" y="215"/>
                  </a:cubicBezTo>
                  <a:cubicBezTo>
                    <a:pt x="2823" y="214"/>
                    <a:pt x="2822" y="212"/>
                    <a:pt x="2823" y="210"/>
                  </a:cubicBezTo>
                  <a:cubicBezTo>
                    <a:pt x="2822" y="208"/>
                    <a:pt x="2811" y="204"/>
                    <a:pt x="2812" y="208"/>
                  </a:cubicBezTo>
                  <a:cubicBezTo>
                    <a:pt x="2803" y="206"/>
                    <a:pt x="2815" y="203"/>
                    <a:pt x="2815" y="201"/>
                  </a:cubicBezTo>
                  <a:cubicBezTo>
                    <a:pt x="2815" y="197"/>
                    <a:pt x="2827" y="197"/>
                    <a:pt x="2831" y="198"/>
                  </a:cubicBezTo>
                  <a:cubicBezTo>
                    <a:pt x="2830" y="200"/>
                    <a:pt x="2826" y="200"/>
                    <a:pt x="2826" y="203"/>
                  </a:cubicBezTo>
                  <a:cubicBezTo>
                    <a:pt x="2825" y="206"/>
                    <a:pt x="2831" y="204"/>
                    <a:pt x="2831" y="205"/>
                  </a:cubicBezTo>
                  <a:cubicBezTo>
                    <a:pt x="2832" y="206"/>
                    <a:pt x="2825" y="218"/>
                    <a:pt x="2840" y="214"/>
                  </a:cubicBezTo>
                  <a:cubicBezTo>
                    <a:pt x="2843" y="212"/>
                    <a:pt x="2844" y="207"/>
                    <a:pt x="2853" y="209"/>
                  </a:cubicBezTo>
                  <a:cubicBezTo>
                    <a:pt x="2846" y="218"/>
                    <a:pt x="2842" y="225"/>
                    <a:pt x="2845" y="238"/>
                  </a:cubicBezTo>
                  <a:cubicBezTo>
                    <a:pt x="2842" y="238"/>
                    <a:pt x="2838" y="238"/>
                    <a:pt x="2834" y="238"/>
                  </a:cubicBezTo>
                  <a:cubicBezTo>
                    <a:pt x="2835" y="235"/>
                    <a:pt x="2839" y="236"/>
                    <a:pt x="2843" y="235"/>
                  </a:cubicBezTo>
                  <a:cubicBezTo>
                    <a:pt x="2844" y="230"/>
                    <a:pt x="2837" y="232"/>
                    <a:pt x="2837" y="228"/>
                  </a:cubicBezTo>
                  <a:cubicBezTo>
                    <a:pt x="2835" y="223"/>
                    <a:pt x="2841" y="225"/>
                    <a:pt x="2842" y="224"/>
                  </a:cubicBezTo>
                  <a:cubicBezTo>
                    <a:pt x="2844" y="222"/>
                    <a:pt x="2842" y="218"/>
                    <a:pt x="2845" y="219"/>
                  </a:cubicBezTo>
                  <a:cubicBezTo>
                    <a:pt x="2844" y="215"/>
                    <a:pt x="2842" y="220"/>
                    <a:pt x="2837" y="219"/>
                  </a:cubicBezTo>
                  <a:cubicBezTo>
                    <a:pt x="2838" y="215"/>
                    <a:pt x="2821" y="215"/>
                    <a:pt x="2826" y="222"/>
                  </a:cubicBezTo>
                  <a:cubicBezTo>
                    <a:pt x="2820" y="218"/>
                    <a:pt x="2816" y="223"/>
                    <a:pt x="2812" y="222"/>
                  </a:cubicBezTo>
                  <a:cubicBezTo>
                    <a:pt x="2811" y="221"/>
                    <a:pt x="2813" y="216"/>
                    <a:pt x="2809" y="217"/>
                  </a:cubicBezTo>
                  <a:cubicBezTo>
                    <a:pt x="2806" y="218"/>
                    <a:pt x="2807" y="221"/>
                    <a:pt x="2807" y="224"/>
                  </a:cubicBezTo>
                  <a:cubicBezTo>
                    <a:pt x="2800" y="225"/>
                    <a:pt x="2804" y="217"/>
                    <a:pt x="2798" y="217"/>
                  </a:cubicBezTo>
                  <a:cubicBezTo>
                    <a:pt x="2788" y="223"/>
                    <a:pt x="2807" y="240"/>
                    <a:pt x="2791" y="239"/>
                  </a:cubicBezTo>
                  <a:cubicBezTo>
                    <a:pt x="2791" y="237"/>
                    <a:pt x="2787" y="236"/>
                    <a:pt x="2788" y="234"/>
                  </a:cubicBezTo>
                  <a:cubicBezTo>
                    <a:pt x="2788" y="233"/>
                    <a:pt x="2793" y="232"/>
                    <a:pt x="2793" y="231"/>
                  </a:cubicBezTo>
                  <a:cubicBezTo>
                    <a:pt x="2793" y="227"/>
                    <a:pt x="2787" y="225"/>
                    <a:pt x="2790" y="217"/>
                  </a:cubicBezTo>
                  <a:cubicBezTo>
                    <a:pt x="2788" y="219"/>
                    <a:pt x="2783" y="219"/>
                    <a:pt x="2782" y="222"/>
                  </a:cubicBezTo>
                  <a:cubicBezTo>
                    <a:pt x="2777" y="220"/>
                    <a:pt x="2776" y="213"/>
                    <a:pt x="2771" y="211"/>
                  </a:cubicBezTo>
                  <a:cubicBezTo>
                    <a:pt x="2773" y="206"/>
                    <a:pt x="2776" y="210"/>
                    <a:pt x="2779" y="211"/>
                  </a:cubicBezTo>
                  <a:cubicBezTo>
                    <a:pt x="2776" y="203"/>
                    <a:pt x="2777" y="201"/>
                    <a:pt x="2782" y="196"/>
                  </a:cubicBezTo>
                  <a:cubicBezTo>
                    <a:pt x="2789" y="200"/>
                    <a:pt x="2782" y="211"/>
                    <a:pt x="2779" y="213"/>
                  </a:cubicBezTo>
                  <a:cubicBezTo>
                    <a:pt x="2780" y="219"/>
                    <a:pt x="2801" y="204"/>
                    <a:pt x="2793" y="215"/>
                  </a:cubicBezTo>
                  <a:cubicBezTo>
                    <a:pt x="2795" y="214"/>
                    <a:pt x="2798" y="213"/>
                    <a:pt x="2798" y="210"/>
                  </a:cubicBezTo>
                  <a:cubicBezTo>
                    <a:pt x="2798" y="208"/>
                    <a:pt x="2793" y="208"/>
                    <a:pt x="2790" y="208"/>
                  </a:cubicBezTo>
                  <a:cubicBezTo>
                    <a:pt x="2790" y="204"/>
                    <a:pt x="2790" y="200"/>
                    <a:pt x="2790" y="196"/>
                  </a:cubicBezTo>
                  <a:cubicBezTo>
                    <a:pt x="2807" y="195"/>
                    <a:pt x="2808" y="206"/>
                    <a:pt x="2801" y="215"/>
                  </a:cubicBezTo>
                  <a:close/>
                  <a:moveTo>
                    <a:pt x="2781" y="180"/>
                  </a:moveTo>
                  <a:cubicBezTo>
                    <a:pt x="2794" y="180"/>
                    <a:pt x="2782" y="188"/>
                    <a:pt x="2784" y="194"/>
                  </a:cubicBezTo>
                  <a:cubicBezTo>
                    <a:pt x="2778" y="194"/>
                    <a:pt x="2783" y="184"/>
                    <a:pt x="2781" y="180"/>
                  </a:cubicBezTo>
                  <a:close/>
                  <a:moveTo>
                    <a:pt x="2797" y="159"/>
                  </a:moveTo>
                  <a:cubicBezTo>
                    <a:pt x="2802" y="154"/>
                    <a:pt x="2797" y="156"/>
                    <a:pt x="2797" y="149"/>
                  </a:cubicBezTo>
                  <a:cubicBezTo>
                    <a:pt x="2803" y="148"/>
                    <a:pt x="2807" y="161"/>
                    <a:pt x="2797" y="159"/>
                  </a:cubicBezTo>
                  <a:close/>
                  <a:moveTo>
                    <a:pt x="2792" y="177"/>
                  </a:moveTo>
                  <a:cubicBezTo>
                    <a:pt x="2805" y="179"/>
                    <a:pt x="2790" y="192"/>
                    <a:pt x="2792" y="177"/>
                  </a:cubicBezTo>
                  <a:close/>
                  <a:moveTo>
                    <a:pt x="2784" y="149"/>
                  </a:moveTo>
                  <a:cubicBezTo>
                    <a:pt x="2786" y="149"/>
                    <a:pt x="2786" y="152"/>
                    <a:pt x="2786" y="154"/>
                  </a:cubicBezTo>
                  <a:cubicBezTo>
                    <a:pt x="2790" y="154"/>
                    <a:pt x="2791" y="153"/>
                    <a:pt x="2792" y="152"/>
                  </a:cubicBezTo>
                  <a:cubicBezTo>
                    <a:pt x="2802" y="156"/>
                    <a:pt x="2784" y="157"/>
                    <a:pt x="2778" y="157"/>
                  </a:cubicBezTo>
                  <a:cubicBezTo>
                    <a:pt x="2779" y="153"/>
                    <a:pt x="2783" y="153"/>
                    <a:pt x="2784" y="149"/>
                  </a:cubicBezTo>
                  <a:close/>
                  <a:moveTo>
                    <a:pt x="2776" y="166"/>
                  </a:moveTo>
                  <a:cubicBezTo>
                    <a:pt x="2779" y="167"/>
                    <a:pt x="2778" y="171"/>
                    <a:pt x="2781" y="171"/>
                  </a:cubicBezTo>
                  <a:cubicBezTo>
                    <a:pt x="2780" y="177"/>
                    <a:pt x="2772" y="171"/>
                    <a:pt x="2776" y="166"/>
                  </a:cubicBezTo>
                  <a:close/>
                  <a:moveTo>
                    <a:pt x="2770" y="175"/>
                  </a:moveTo>
                  <a:cubicBezTo>
                    <a:pt x="2770" y="178"/>
                    <a:pt x="2774" y="177"/>
                    <a:pt x="2776" y="178"/>
                  </a:cubicBezTo>
                  <a:cubicBezTo>
                    <a:pt x="2774" y="181"/>
                    <a:pt x="2779" y="190"/>
                    <a:pt x="2773" y="190"/>
                  </a:cubicBezTo>
                  <a:cubicBezTo>
                    <a:pt x="2773" y="203"/>
                    <a:pt x="2772" y="201"/>
                    <a:pt x="2768" y="211"/>
                  </a:cubicBezTo>
                  <a:cubicBezTo>
                    <a:pt x="2769" y="213"/>
                    <a:pt x="2771" y="215"/>
                    <a:pt x="2774" y="215"/>
                  </a:cubicBezTo>
                  <a:cubicBezTo>
                    <a:pt x="2773" y="218"/>
                    <a:pt x="2768" y="217"/>
                    <a:pt x="2768" y="220"/>
                  </a:cubicBezTo>
                  <a:cubicBezTo>
                    <a:pt x="2764" y="220"/>
                    <a:pt x="2767" y="213"/>
                    <a:pt x="2763" y="213"/>
                  </a:cubicBezTo>
                  <a:cubicBezTo>
                    <a:pt x="2753" y="215"/>
                    <a:pt x="2764" y="220"/>
                    <a:pt x="2757" y="225"/>
                  </a:cubicBezTo>
                  <a:cubicBezTo>
                    <a:pt x="2755" y="224"/>
                    <a:pt x="2752" y="223"/>
                    <a:pt x="2752" y="220"/>
                  </a:cubicBezTo>
                  <a:cubicBezTo>
                    <a:pt x="2752" y="218"/>
                    <a:pt x="2757" y="217"/>
                    <a:pt x="2757" y="216"/>
                  </a:cubicBezTo>
                  <a:cubicBezTo>
                    <a:pt x="2759" y="209"/>
                    <a:pt x="2756" y="199"/>
                    <a:pt x="2768" y="201"/>
                  </a:cubicBezTo>
                  <a:cubicBezTo>
                    <a:pt x="2762" y="195"/>
                    <a:pt x="2768" y="193"/>
                    <a:pt x="2768" y="183"/>
                  </a:cubicBezTo>
                  <a:cubicBezTo>
                    <a:pt x="2768" y="182"/>
                    <a:pt x="2768" y="178"/>
                    <a:pt x="2768" y="178"/>
                  </a:cubicBezTo>
                  <a:cubicBezTo>
                    <a:pt x="2767" y="178"/>
                    <a:pt x="2765" y="178"/>
                    <a:pt x="2765" y="178"/>
                  </a:cubicBezTo>
                  <a:cubicBezTo>
                    <a:pt x="2765" y="177"/>
                    <a:pt x="2767" y="175"/>
                    <a:pt x="2768" y="176"/>
                  </a:cubicBezTo>
                  <a:cubicBezTo>
                    <a:pt x="2767" y="174"/>
                    <a:pt x="2762" y="171"/>
                    <a:pt x="2762" y="171"/>
                  </a:cubicBezTo>
                  <a:cubicBezTo>
                    <a:pt x="2761" y="167"/>
                    <a:pt x="2764" y="167"/>
                    <a:pt x="2765" y="164"/>
                  </a:cubicBezTo>
                  <a:cubicBezTo>
                    <a:pt x="2765" y="159"/>
                    <a:pt x="2762" y="157"/>
                    <a:pt x="2762" y="152"/>
                  </a:cubicBezTo>
                  <a:cubicBezTo>
                    <a:pt x="2775" y="151"/>
                    <a:pt x="2768" y="167"/>
                    <a:pt x="2770" y="175"/>
                  </a:cubicBezTo>
                  <a:close/>
                  <a:moveTo>
                    <a:pt x="2757" y="185"/>
                  </a:moveTo>
                  <a:cubicBezTo>
                    <a:pt x="2768" y="184"/>
                    <a:pt x="2759" y="193"/>
                    <a:pt x="2760" y="197"/>
                  </a:cubicBezTo>
                  <a:cubicBezTo>
                    <a:pt x="2754" y="197"/>
                    <a:pt x="2758" y="189"/>
                    <a:pt x="2757" y="185"/>
                  </a:cubicBezTo>
                  <a:close/>
                  <a:moveTo>
                    <a:pt x="2734" y="153"/>
                  </a:moveTo>
                  <a:cubicBezTo>
                    <a:pt x="2748" y="151"/>
                    <a:pt x="2748" y="152"/>
                    <a:pt x="2759" y="150"/>
                  </a:cubicBezTo>
                  <a:cubicBezTo>
                    <a:pt x="2757" y="157"/>
                    <a:pt x="2761" y="159"/>
                    <a:pt x="2759" y="164"/>
                  </a:cubicBezTo>
                  <a:cubicBezTo>
                    <a:pt x="2759" y="164"/>
                    <a:pt x="2755" y="161"/>
                    <a:pt x="2754" y="162"/>
                  </a:cubicBezTo>
                  <a:cubicBezTo>
                    <a:pt x="2752" y="162"/>
                    <a:pt x="2749" y="168"/>
                    <a:pt x="2756" y="169"/>
                  </a:cubicBezTo>
                  <a:cubicBezTo>
                    <a:pt x="2754" y="171"/>
                    <a:pt x="2739" y="181"/>
                    <a:pt x="2751" y="181"/>
                  </a:cubicBezTo>
                  <a:cubicBezTo>
                    <a:pt x="2761" y="181"/>
                    <a:pt x="2743" y="187"/>
                    <a:pt x="2746" y="181"/>
                  </a:cubicBezTo>
                  <a:cubicBezTo>
                    <a:pt x="2739" y="181"/>
                    <a:pt x="2737" y="185"/>
                    <a:pt x="2732" y="181"/>
                  </a:cubicBezTo>
                  <a:cubicBezTo>
                    <a:pt x="2734" y="177"/>
                    <a:pt x="2741" y="177"/>
                    <a:pt x="2746" y="176"/>
                  </a:cubicBezTo>
                  <a:cubicBezTo>
                    <a:pt x="2743" y="172"/>
                    <a:pt x="2754" y="168"/>
                    <a:pt x="2745" y="166"/>
                  </a:cubicBezTo>
                  <a:cubicBezTo>
                    <a:pt x="2748" y="164"/>
                    <a:pt x="2751" y="162"/>
                    <a:pt x="2754" y="159"/>
                  </a:cubicBezTo>
                  <a:cubicBezTo>
                    <a:pt x="2751" y="151"/>
                    <a:pt x="2737" y="166"/>
                    <a:pt x="2740" y="155"/>
                  </a:cubicBezTo>
                  <a:cubicBezTo>
                    <a:pt x="2736" y="156"/>
                    <a:pt x="2733" y="159"/>
                    <a:pt x="2732" y="162"/>
                  </a:cubicBezTo>
                  <a:cubicBezTo>
                    <a:pt x="2723" y="160"/>
                    <a:pt x="2735" y="156"/>
                    <a:pt x="2734" y="153"/>
                  </a:cubicBezTo>
                  <a:close/>
                  <a:moveTo>
                    <a:pt x="2724" y="169"/>
                  </a:moveTo>
                  <a:cubicBezTo>
                    <a:pt x="2728" y="170"/>
                    <a:pt x="2729" y="167"/>
                    <a:pt x="2729" y="164"/>
                  </a:cubicBezTo>
                  <a:cubicBezTo>
                    <a:pt x="2734" y="165"/>
                    <a:pt x="2735" y="161"/>
                    <a:pt x="2740" y="162"/>
                  </a:cubicBezTo>
                  <a:cubicBezTo>
                    <a:pt x="2739" y="165"/>
                    <a:pt x="2741" y="166"/>
                    <a:pt x="2743" y="167"/>
                  </a:cubicBezTo>
                  <a:cubicBezTo>
                    <a:pt x="2740" y="170"/>
                    <a:pt x="2735" y="173"/>
                    <a:pt x="2732" y="176"/>
                  </a:cubicBezTo>
                  <a:cubicBezTo>
                    <a:pt x="2729" y="177"/>
                    <a:pt x="2730" y="172"/>
                    <a:pt x="2729" y="171"/>
                  </a:cubicBezTo>
                  <a:cubicBezTo>
                    <a:pt x="2725" y="170"/>
                    <a:pt x="2721" y="176"/>
                    <a:pt x="2715" y="172"/>
                  </a:cubicBezTo>
                  <a:cubicBezTo>
                    <a:pt x="2708" y="172"/>
                    <a:pt x="2719" y="176"/>
                    <a:pt x="2716" y="181"/>
                  </a:cubicBezTo>
                  <a:cubicBezTo>
                    <a:pt x="2705" y="180"/>
                    <a:pt x="2718" y="171"/>
                    <a:pt x="2704" y="172"/>
                  </a:cubicBezTo>
                  <a:cubicBezTo>
                    <a:pt x="2711" y="167"/>
                    <a:pt x="2699" y="160"/>
                    <a:pt x="2712" y="160"/>
                  </a:cubicBezTo>
                  <a:cubicBezTo>
                    <a:pt x="2711" y="166"/>
                    <a:pt x="2708" y="169"/>
                    <a:pt x="2718" y="169"/>
                  </a:cubicBezTo>
                  <a:cubicBezTo>
                    <a:pt x="2722" y="169"/>
                    <a:pt x="2722" y="149"/>
                    <a:pt x="2724" y="169"/>
                  </a:cubicBezTo>
                  <a:close/>
                  <a:moveTo>
                    <a:pt x="2701" y="151"/>
                  </a:moveTo>
                  <a:cubicBezTo>
                    <a:pt x="2704" y="148"/>
                    <a:pt x="2711" y="148"/>
                    <a:pt x="2718" y="148"/>
                  </a:cubicBezTo>
                  <a:cubicBezTo>
                    <a:pt x="2722" y="156"/>
                    <a:pt x="2700" y="160"/>
                    <a:pt x="2701" y="151"/>
                  </a:cubicBezTo>
                  <a:close/>
                  <a:moveTo>
                    <a:pt x="2699" y="203"/>
                  </a:moveTo>
                  <a:cubicBezTo>
                    <a:pt x="2699" y="198"/>
                    <a:pt x="2704" y="198"/>
                    <a:pt x="2705" y="193"/>
                  </a:cubicBezTo>
                  <a:cubicBezTo>
                    <a:pt x="2706" y="187"/>
                    <a:pt x="2702" y="187"/>
                    <a:pt x="2702" y="181"/>
                  </a:cubicBezTo>
                  <a:cubicBezTo>
                    <a:pt x="2717" y="180"/>
                    <a:pt x="2702" y="192"/>
                    <a:pt x="2710" y="195"/>
                  </a:cubicBezTo>
                  <a:cubicBezTo>
                    <a:pt x="2713" y="195"/>
                    <a:pt x="2712" y="193"/>
                    <a:pt x="2710" y="193"/>
                  </a:cubicBezTo>
                  <a:cubicBezTo>
                    <a:pt x="2712" y="190"/>
                    <a:pt x="2716" y="189"/>
                    <a:pt x="2721" y="188"/>
                  </a:cubicBezTo>
                  <a:cubicBezTo>
                    <a:pt x="2722" y="184"/>
                    <a:pt x="2718" y="176"/>
                    <a:pt x="2726" y="179"/>
                  </a:cubicBezTo>
                  <a:cubicBezTo>
                    <a:pt x="2723" y="186"/>
                    <a:pt x="2728" y="187"/>
                    <a:pt x="2727" y="197"/>
                  </a:cubicBezTo>
                  <a:cubicBezTo>
                    <a:pt x="2724" y="196"/>
                    <a:pt x="2723" y="193"/>
                    <a:pt x="2721" y="190"/>
                  </a:cubicBezTo>
                  <a:cubicBezTo>
                    <a:pt x="2713" y="192"/>
                    <a:pt x="2724" y="208"/>
                    <a:pt x="2727" y="200"/>
                  </a:cubicBezTo>
                  <a:cubicBezTo>
                    <a:pt x="2733" y="201"/>
                    <a:pt x="2724" y="203"/>
                    <a:pt x="2724" y="205"/>
                  </a:cubicBezTo>
                  <a:cubicBezTo>
                    <a:pt x="2723" y="210"/>
                    <a:pt x="2726" y="213"/>
                    <a:pt x="2727" y="219"/>
                  </a:cubicBezTo>
                  <a:cubicBezTo>
                    <a:pt x="2714" y="218"/>
                    <a:pt x="2724" y="222"/>
                    <a:pt x="2719" y="226"/>
                  </a:cubicBezTo>
                  <a:cubicBezTo>
                    <a:pt x="2711" y="223"/>
                    <a:pt x="2722" y="218"/>
                    <a:pt x="2719" y="212"/>
                  </a:cubicBezTo>
                  <a:cubicBezTo>
                    <a:pt x="2716" y="212"/>
                    <a:pt x="2717" y="215"/>
                    <a:pt x="2716" y="216"/>
                  </a:cubicBezTo>
                  <a:cubicBezTo>
                    <a:pt x="2714" y="215"/>
                    <a:pt x="2709" y="213"/>
                    <a:pt x="2708" y="217"/>
                  </a:cubicBezTo>
                  <a:cubicBezTo>
                    <a:pt x="2701" y="216"/>
                    <a:pt x="2703" y="210"/>
                    <a:pt x="2702" y="207"/>
                  </a:cubicBezTo>
                  <a:cubicBezTo>
                    <a:pt x="2702" y="205"/>
                    <a:pt x="2700" y="205"/>
                    <a:pt x="2699" y="203"/>
                  </a:cubicBezTo>
                  <a:close/>
                  <a:moveTo>
                    <a:pt x="2698" y="280"/>
                  </a:moveTo>
                  <a:cubicBezTo>
                    <a:pt x="2698" y="282"/>
                    <a:pt x="2698" y="283"/>
                    <a:pt x="2698" y="285"/>
                  </a:cubicBezTo>
                  <a:cubicBezTo>
                    <a:pt x="2696" y="285"/>
                    <a:pt x="2694" y="285"/>
                    <a:pt x="2693" y="285"/>
                  </a:cubicBezTo>
                  <a:cubicBezTo>
                    <a:pt x="2693" y="283"/>
                    <a:pt x="2693" y="282"/>
                    <a:pt x="2693" y="280"/>
                  </a:cubicBezTo>
                  <a:cubicBezTo>
                    <a:pt x="2694" y="280"/>
                    <a:pt x="2696" y="280"/>
                    <a:pt x="2698" y="280"/>
                  </a:cubicBezTo>
                  <a:close/>
                  <a:moveTo>
                    <a:pt x="2694" y="226"/>
                  </a:moveTo>
                  <a:cubicBezTo>
                    <a:pt x="2689" y="233"/>
                    <a:pt x="2695" y="245"/>
                    <a:pt x="2698" y="252"/>
                  </a:cubicBezTo>
                  <a:cubicBezTo>
                    <a:pt x="2695" y="259"/>
                    <a:pt x="2695" y="245"/>
                    <a:pt x="2689" y="247"/>
                  </a:cubicBezTo>
                  <a:cubicBezTo>
                    <a:pt x="2692" y="241"/>
                    <a:pt x="2683" y="225"/>
                    <a:pt x="2694" y="226"/>
                  </a:cubicBezTo>
                  <a:close/>
                  <a:moveTo>
                    <a:pt x="2695" y="259"/>
                  </a:moveTo>
                  <a:cubicBezTo>
                    <a:pt x="2695" y="264"/>
                    <a:pt x="2695" y="268"/>
                    <a:pt x="2695" y="273"/>
                  </a:cubicBezTo>
                  <a:cubicBezTo>
                    <a:pt x="2691" y="271"/>
                    <a:pt x="2689" y="267"/>
                    <a:pt x="2692" y="264"/>
                  </a:cubicBezTo>
                  <a:cubicBezTo>
                    <a:pt x="2682" y="261"/>
                    <a:pt x="2692" y="274"/>
                    <a:pt x="2681" y="271"/>
                  </a:cubicBezTo>
                  <a:cubicBezTo>
                    <a:pt x="2680" y="265"/>
                    <a:pt x="2686" y="266"/>
                    <a:pt x="2684" y="259"/>
                  </a:cubicBezTo>
                  <a:cubicBezTo>
                    <a:pt x="2688" y="259"/>
                    <a:pt x="2691" y="259"/>
                    <a:pt x="2695" y="259"/>
                  </a:cubicBezTo>
                  <a:close/>
                  <a:moveTo>
                    <a:pt x="2687" y="252"/>
                  </a:moveTo>
                  <a:cubicBezTo>
                    <a:pt x="2687" y="254"/>
                    <a:pt x="2687" y="255"/>
                    <a:pt x="2687" y="257"/>
                  </a:cubicBezTo>
                  <a:cubicBezTo>
                    <a:pt x="2685" y="257"/>
                    <a:pt x="2683" y="257"/>
                    <a:pt x="2681" y="257"/>
                  </a:cubicBezTo>
                  <a:cubicBezTo>
                    <a:pt x="2681" y="255"/>
                    <a:pt x="2681" y="254"/>
                    <a:pt x="2681" y="252"/>
                  </a:cubicBezTo>
                  <a:cubicBezTo>
                    <a:pt x="2683" y="252"/>
                    <a:pt x="2685" y="252"/>
                    <a:pt x="2687" y="252"/>
                  </a:cubicBezTo>
                  <a:close/>
                  <a:moveTo>
                    <a:pt x="2679" y="271"/>
                  </a:moveTo>
                  <a:cubicBezTo>
                    <a:pt x="2676" y="275"/>
                    <a:pt x="2674" y="279"/>
                    <a:pt x="2665" y="278"/>
                  </a:cubicBezTo>
                  <a:cubicBezTo>
                    <a:pt x="2667" y="276"/>
                    <a:pt x="2668" y="274"/>
                    <a:pt x="2665" y="274"/>
                  </a:cubicBezTo>
                  <a:cubicBezTo>
                    <a:pt x="2664" y="269"/>
                    <a:pt x="2675" y="272"/>
                    <a:pt x="2679" y="271"/>
                  </a:cubicBezTo>
                  <a:close/>
                  <a:moveTo>
                    <a:pt x="2673" y="259"/>
                  </a:moveTo>
                  <a:cubicBezTo>
                    <a:pt x="2671" y="262"/>
                    <a:pt x="2667" y="268"/>
                    <a:pt x="2676" y="266"/>
                  </a:cubicBezTo>
                  <a:cubicBezTo>
                    <a:pt x="2669" y="276"/>
                    <a:pt x="2657" y="258"/>
                    <a:pt x="2673" y="259"/>
                  </a:cubicBezTo>
                  <a:close/>
                  <a:moveTo>
                    <a:pt x="2676" y="255"/>
                  </a:moveTo>
                  <a:cubicBezTo>
                    <a:pt x="2673" y="253"/>
                    <a:pt x="2669" y="252"/>
                    <a:pt x="2665" y="253"/>
                  </a:cubicBezTo>
                  <a:cubicBezTo>
                    <a:pt x="2669" y="245"/>
                    <a:pt x="2664" y="243"/>
                    <a:pt x="2667" y="238"/>
                  </a:cubicBezTo>
                  <a:cubicBezTo>
                    <a:pt x="2673" y="239"/>
                    <a:pt x="2674" y="245"/>
                    <a:pt x="2670" y="248"/>
                  </a:cubicBezTo>
                  <a:cubicBezTo>
                    <a:pt x="2672" y="250"/>
                    <a:pt x="2676" y="250"/>
                    <a:pt x="2676" y="255"/>
                  </a:cubicBezTo>
                  <a:close/>
                  <a:moveTo>
                    <a:pt x="2672" y="234"/>
                  </a:moveTo>
                  <a:cubicBezTo>
                    <a:pt x="2665" y="242"/>
                    <a:pt x="2655" y="229"/>
                    <a:pt x="2672" y="234"/>
                  </a:cubicBezTo>
                  <a:close/>
                  <a:moveTo>
                    <a:pt x="2653" y="234"/>
                  </a:moveTo>
                  <a:cubicBezTo>
                    <a:pt x="2647" y="242"/>
                    <a:pt x="2642" y="226"/>
                    <a:pt x="2653" y="234"/>
                  </a:cubicBezTo>
                  <a:close/>
                  <a:moveTo>
                    <a:pt x="2674" y="8"/>
                  </a:moveTo>
                  <a:cubicBezTo>
                    <a:pt x="2674" y="13"/>
                    <a:pt x="2662" y="10"/>
                    <a:pt x="2660" y="8"/>
                  </a:cubicBezTo>
                  <a:cubicBezTo>
                    <a:pt x="2663" y="1"/>
                    <a:pt x="2669" y="9"/>
                    <a:pt x="2674" y="8"/>
                  </a:cubicBezTo>
                  <a:close/>
                  <a:moveTo>
                    <a:pt x="2646" y="124"/>
                  </a:moveTo>
                  <a:cubicBezTo>
                    <a:pt x="2655" y="127"/>
                    <a:pt x="2636" y="126"/>
                    <a:pt x="2632" y="126"/>
                  </a:cubicBezTo>
                  <a:cubicBezTo>
                    <a:pt x="2632" y="124"/>
                    <a:pt x="2636" y="124"/>
                    <a:pt x="2638" y="124"/>
                  </a:cubicBezTo>
                  <a:cubicBezTo>
                    <a:pt x="2636" y="122"/>
                    <a:pt x="2635" y="120"/>
                    <a:pt x="2632" y="119"/>
                  </a:cubicBezTo>
                  <a:cubicBezTo>
                    <a:pt x="2633" y="116"/>
                    <a:pt x="2639" y="117"/>
                    <a:pt x="2643" y="117"/>
                  </a:cubicBezTo>
                  <a:cubicBezTo>
                    <a:pt x="2643" y="119"/>
                    <a:pt x="2640" y="119"/>
                    <a:pt x="2640" y="121"/>
                  </a:cubicBezTo>
                  <a:cubicBezTo>
                    <a:pt x="2641" y="124"/>
                    <a:pt x="2644" y="123"/>
                    <a:pt x="2646" y="124"/>
                  </a:cubicBezTo>
                  <a:close/>
                  <a:moveTo>
                    <a:pt x="2640" y="100"/>
                  </a:moveTo>
                  <a:cubicBezTo>
                    <a:pt x="2639" y="103"/>
                    <a:pt x="2635" y="104"/>
                    <a:pt x="2635" y="107"/>
                  </a:cubicBezTo>
                  <a:cubicBezTo>
                    <a:pt x="2628" y="107"/>
                    <a:pt x="2634" y="98"/>
                    <a:pt x="2640" y="100"/>
                  </a:cubicBezTo>
                  <a:close/>
                  <a:moveTo>
                    <a:pt x="2626" y="103"/>
                  </a:moveTo>
                  <a:cubicBezTo>
                    <a:pt x="2622" y="104"/>
                    <a:pt x="2623" y="105"/>
                    <a:pt x="2618" y="103"/>
                  </a:cubicBezTo>
                  <a:cubicBezTo>
                    <a:pt x="2615" y="101"/>
                    <a:pt x="2634" y="100"/>
                    <a:pt x="2626" y="103"/>
                  </a:cubicBezTo>
                  <a:close/>
                  <a:moveTo>
                    <a:pt x="2618" y="82"/>
                  </a:moveTo>
                  <a:cubicBezTo>
                    <a:pt x="2623" y="83"/>
                    <a:pt x="2618" y="86"/>
                    <a:pt x="2618" y="89"/>
                  </a:cubicBezTo>
                  <a:cubicBezTo>
                    <a:pt x="2613" y="87"/>
                    <a:pt x="2617" y="85"/>
                    <a:pt x="2618" y="82"/>
                  </a:cubicBezTo>
                  <a:close/>
                  <a:moveTo>
                    <a:pt x="2616" y="117"/>
                  </a:moveTo>
                  <a:cubicBezTo>
                    <a:pt x="2621" y="116"/>
                    <a:pt x="2621" y="119"/>
                    <a:pt x="2618" y="119"/>
                  </a:cubicBezTo>
                  <a:cubicBezTo>
                    <a:pt x="2615" y="117"/>
                    <a:pt x="2607" y="122"/>
                    <a:pt x="2608" y="122"/>
                  </a:cubicBezTo>
                  <a:cubicBezTo>
                    <a:pt x="2600" y="121"/>
                    <a:pt x="2606" y="115"/>
                    <a:pt x="2616" y="117"/>
                  </a:cubicBezTo>
                  <a:close/>
                  <a:moveTo>
                    <a:pt x="2588" y="99"/>
                  </a:moveTo>
                  <a:cubicBezTo>
                    <a:pt x="2592" y="99"/>
                    <a:pt x="2590" y="105"/>
                    <a:pt x="2591" y="108"/>
                  </a:cubicBezTo>
                  <a:cubicBezTo>
                    <a:pt x="2588" y="107"/>
                    <a:pt x="2586" y="105"/>
                    <a:pt x="2585" y="108"/>
                  </a:cubicBezTo>
                  <a:cubicBezTo>
                    <a:pt x="2577" y="106"/>
                    <a:pt x="2592" y="105"/>
                    <a:pt x="2588" y="99"/>
                  </a:cubicBezTo>
                  <a:close/>
                  <a:moveTo>
                    <a:pt x="2584" y="38"/>
                  </a:moveTo>
                  <a:cubicBezTo>
                    <a:pt x="2583" y="43"/>
                    <a:pt x="2577" y="43"/>
                    <a:pt x="2573" y="40"/>
                  </a:cubicBezTo>
                  <a:cubicBezTo>
                    <a:pt x="2574" y="37"/>
                    <a:pt x="2580" y="38"/>
                    <a:pt x="2584" y="38"/>
                  </a:cubicBezTo>
                  <a:close/>
                  <a:moveTo>
                    <a:pt x="2563" y="116"/>
                  </a:moveTo>
                  <a:cubicBezTo>
                    <a:pt x="2565" y="112"/>
                    <a:pt x="2561" y="107"/>
                    <a:pt x="2563" y="104"/>
                  </a:cubicBezTo>
                  <a:cubicBezTo>
                    <a:pt x="2564" y="102"/>
                    <a:pt x="2573" y="103"/>
                    <a:pt x="2571" y="99"/>
                  </a:cubicBezTo>
                  <a:cubicBezTo>
                    <a:pt x="2580" y="103"/>
                    <a:pt x="2563" y="104"/>
                    <a:pt x="2569" y="113"/>
                  </a:cubicBezTo>
                  <a:cubicBezTo>
                    <a:pt x="2569" y="118"/>
                    <a:pt x="2579" y="114"/>
                    <a:pt x="2583" y="115"/>
                  </a:cubicBezTo>
                  <a:cubicBezTo>
                    <a:pt x="2590" y="121"/>
                    <a:pt x="2556" y="112"/>
                    <a:pt x="2566" y="127"/>
                  </a:cubicBezTo>
                  <a:cubicBezTo>
                    <a:pt x="2562" y="128"/>
                    <a:pt x="2561" y="126"/>
                    <a:pt x="2561" y="123"/>
                  </a:cubicBezTo>
                  <a:cubicBezTo>
                    <a:pt x="2559" y="121"/>
                    <a:pt x="2556" y="119"/>
                    <a:pt x="2552" y="118"/>
                  </a:cubicBezTo>
                  <a:cubicBezTo>
                    <a:pt x="2553" y="115"/>
                    <a:pt x="2559" y="116"/>
                    <a:pt x="2563" y="116"/>
                  </a:cubicBezTo>
                  <a:close/>
                  <a:moveTo>
                    <a:pt x="2544" y="121"/>
                  </a:moveTo>
                  <a:cubicBezTo>
                    <a:pt x="2542" y="119"/>
                    <a:pt x="2540" y="118"/>
                    <a:pt x="2536" y="118"/>
                  </a:cubicBezTo>
                  <a:cubicBezTo>
                    <a:pt x="2537" y="112"/>
                    <a:pt x="2546" y="113"/>
                    <a:pt x="2544" y="121"/>
                  </a:cubicBezTo>
                  <a:close/>
                  <a:moveTo>
                    <a:pt x="2554" y="179"/>
                  </a:moveTo>
                  <a:cubicBezTo>
                    <a:pt x="2555" y="184"/>
                    <a:pt x="2552" y="186"/>
                    <a:pt x="2551" y="189"/>
                  </a:cubicBezTo>
                  <a:cubicBezTo>
                    <a:pt x="2548" y="186"/>
                    <a:pt x="2546" y="182"/>
                    <a:pt x="2537" y="184"/>
                  </a:cubicBezTo>
                  <a:cubicBezTo>
                    <a:pt x="2536" y="179"/>
                    <a:pt x="2542" y="179"/>
                    <a:pt x="2540" y="172"/>
                  </a:cubicBezTo>
                  <a:cubicBezTo>
                    <a:pt x="2538" y="172"/>
                    <a:pt x="2536" y="173"/>
                    <a:pt x="2534" y="173"/>
                  </a:cubicBezTo>
                  <a:cubicBezTo>
                    <a:pt x="2535" y="170"/>
                    <a:pt x="2539" y="170"/>
                    <a:pt x="2542" y="170"/>
                  </a:cubicBezTo>
                  <a:cubicBezTo>
                    <a:pt x="2540" y="178"/>
                    <a:pt x="2544" y="181"/>
                    <a:pt x="2554" y="179"/>
                  </a:cubicBezTo>
                  <a:close/>
                  <a:moveTo>
                    <a:pt x="2548" y="168"/>
                  </a:moveTo>
                  <a:cubicBezTo>
                    <a:pt x="2552" y="168"/>
                    <a:pt x="2552" y="172"/>
                    <a:pt x="2556" y="172"/>
                  </a:cubicBezTo>
                  <a:cubicBezTo>
                    <a:pt x="2556" y="175"/>
                    <a:pt x="2553" y="173"/>
                    <a:pt x="2553" y="172"/>
                  </a:cubicBezTo>
                  <a:cubicBezTo>
                    <a:pt x="2551" y="172"/>
                    <a:pt x="2551" y="173"/>
                    <a:pt x="2551" y="175"/>
                  </a:cubicBezTo>
                  <a:cubicBezTo>
                    <a:pt x="2548" y="174"/>
                    <a:pt x="2548" y="170"/>
                    <a:pt x="2548" y="168"/>
                  </a:cubicBezTo>
                  <a:close/>
                  <a:moveTo>
                    <a:pt x="2531" y="130"/>
                  </a:moveTo>
                  <a:cubicBezTo>
                    <a:pt x="2543" y="132"/>
                    <a:pt x="2529" y="145"/>
                    <a:pt x="2531" y="130"/>
                  </a:cubicBezTo>
                  <a:close/>
                  <a:moveTo>
                    <a:pt x="2519" y="72"/>
                  </a:moveTo>
                  <a:cubicBezTo>
                    <a:pt x="2522" y="73"/>
                    <a:pt x="2523" y="76"/>
                    <a:pt x="2527" y="76"/>
                  </a:cubicBezTo>
                  <a:cubicBezTo>
                    <a:pt x="2526" y="82"/>
                    <a:pt x="2517" y="77"/>
                    <a:pt x="2519" y="72"/>
                  </a:cubicBezTo>
                  <a:close/>
                  <a:moveTo>
                    <a:pt x="2517" y="131"/>
                  </a:moveTo>
                  <a:cubicBezTo>
                    <a:pt x="2520" y="133"/>
                    <a:pt x="2527" y="131"/>
                    <a:pt x="2525" y="137"/>
                  </a:cubicBezTo>
                  <a:cubicBezTo>
                    <a:pt x="2523" y="135"/>
                    <a:pt x="2515" y="137"/>
                    <a:pt x="2517" y="131"/>
                  </a:cubicBezTo>
                  <a:close/>
                  <a:moveTo>
                    <a:pt x="2520" y="166"/>
                  </a:moveTo>
                  <a:cubicBezTo>
                    <a:pt x="2520" y="169"/>
                    <a:pt x="2514" y="168"/>
                    <a:pt x="2510" y="168"/>
                  </a:cubicBezTo>
                  <a:cubicBezTo>
                    <a:pt x="2511" y="166"/>
                    <a:pt x="2516" y="166"/>
                    <a:pt x="2515" y="161"/>
                  </a:cubicBezTo>
                  <a:cubicBezTo>
                    <a:pt x="2518" y="162"/>
                    <a:pt x="2517" y="166"/>
                    <a:pt x="2520" y="166"/>
                  </a:cubicBezTo>
                  <a:close/>
                  <a:moveTo>
                    <a:pt x="2518" y="196"/>
                  </a:moveTo>
                  <a:cubicBezTo>
                    <a:pt x="2517" y="197"/>
                    <a:pt x="2515" y="191"/>
                    <a:pt x="2513" y="192"/>
                  </a:cubicBezTo>
                  <a:cubicBezTo>
                    <a:pt x="2517" y="184"/>
                    <a:pt x="2520" y="194"/>
                    <a:pt x="2518" y="196"/>
                  </a:cubicBezTo>
                  <a:close/>
                  <a:moveTo>
                    <a:pt x="2513" y="185"/>
                  </a:moveTo>
                  <a:cubicBezTo>
                    <a:pt x="2512" y="187"/>
                    <a:pt x="2507" y="186"/>
                    <a:pt x="2507" y="189"/>
                  </a:cubicBezTo>
                  <a:cubicBezTo>
                    <a:pt x="2507" y="198"/>
                    <a:pt x="2497" y="182"/>
                    <a:pt x="2513" y="185"/>
                  </a:cubicBezTo>
                  <a:close/>
                  <a:moveTo>
                    <a:pt x="2514" y="121"/>
                  </a:moveTo>
                  <a:cubicBezTo>
                    <a:pt x="2514" y="123"/>
                    <a:pt x="2514" y="124"/>
                    <a:pt x="2514" y="126"/>
                  </a:cubicBezTo>
                  <a:cubicBezTo>
                    <a:pt x="2512" y="126"/>
                    <a:pt x="2511" y="126"/>
                    <a:pt x="2509" y="126"/>
                  </a:cubicBezTo>
                  <a:cubicBezTo>
                    <a:pt x="2509" y="124"/>
                    <a:pt x="2509" y="123"/>
                    <a:pt x="2509" y="121"/>
                  </a:cubicBezTo>
                  <a:cubicBezTo>
                    <a:pt x="2510" y="121"/>
                    <a:pt x="2512" y="121"/>
                    <a:pt x="2514" y="121"/>
                  </a:cubicBezTo>
                  <a:close/>
                  <a:moveTo>
                    <a:pt x="2503" y="131"/>
                  </a:moveTo>
                  <a:cubicBezTo>
                    <a:pt x="2503" y="131"/>
                    <a:pt x="2505" y="135"/>
                    <a:pt x="2506" y="133"/>
                  </a:cubicBezTo>
                  <a:cubicBezTo>
                    <a:pt x="2508" y="131"/>
                    <a:pt x="2508" y="131"/>
                    <a:pt x="2509" y="133"/>
                  </a:cubicBezTo>
                  <a:cubicBezTo>
                    <a:pt x="2512" y="133"/>
                    <a:pt x="2511" y="137"/>
                    <a:pt x="2512" y="140"/>
                  </a:cubicBezTo>
                  <a:cubicBezTo>
                    <a:pt x="2506" y="136"/>
                    <a:pt x="2492" y="139"/>
                    <a:pt x="2482" y="138"/>
                  </a:cubicBezTo>
                  <a:cubicBezTo>
                    <a:pt x="2483" y="136"/>
                    <a:pt x="2485" y="134"/>
                    <a:pt x="2481" y="133"/>
                  </a:cubicBezTo>
                  <a:cubicBezTo>
                    <a:pt x="2485" y="130"/>
                    <a:pt x="2497" y="130"/>
                    <a:pt x="2503" y="131"/>
                  </a:cubicBezTo>
                  <a:close/>
                  <a:moveTo>
                    <a:pt x="2488" y="190"/>
                  </a:moveTo>
                  <a:cubicBezTo>
                    <a:pt x="2488" y="188"/>
                    <a:pt x="2488" y="187"/>
                    <a:pt x="2488" y="185"/>
                  </a:cubicBezTo>
                  <a:cubicBezTo>
                    <a:pt x="2492" y="185"/>
                    <a:pt x="2495" y="185"/>
                    <a:pt x="2499" y="185"/>
                  </a:cubicBezTo>
                  <a:cubicBezTo>
                    <a:pt x="2502" y="192"/>
                    <a:pt x="2493" y="189"/>
                    <a:pt x="2488" y="190"/>
                  </a:cubicBezTo>
                  <a:close/>
                  <a:moveTo>
                    <a:pt x="2480" y="185"/>
                  </a:moveTo>
                  <a:cubicBezTo>
                    <a:pt x="2485" y="187"/>
                    <a:pt x="2480" y="190"/>
                    <a:pt x="2480" y="192"/>
                  </a:cubicBezTo>
                  <a:cubicBezTo>
                    <a:pt x="2475" y="191"/>
                    <a:pt x="2479" y="188"/>
                    <a:pt x="2480" y="185"/>
                  </a:cubicBezTo>
                  <a:close/>
                  <a:moveTo>
                    <a:pt x="2465" y="115"/>
                  </a:moveTo>
                  <a:cubicBezTo>
                    <a:pt x="2474" y="111"/>
                    <a:pt x="2467" y="123"/>
                    <a:pt x="2473" y="122"/>
                  </a:cubicBezTo>
                  <a:cubicBezTo>
                    <a:pt x="2470" y="129"/>
                    <a:pt x="2464" y="119"/>
                    <a:pt x="2465" y="115"/>
                  </a:cubicBezTo>
                  <a:close/>
                  <a:moveTo>
                    <a:pt x="2432" y="134"/>
                  </a:moveTo>
                  <a:cubicBezTo>
                    <a:pt x="2436" y="128"/>
                    <a:pt x="2446" y="135"/>
                    <a:pt x="2449" y="136"/>
                  </a:cubicBezTo>
                  <a:cubicBezTo>
                    <a:pt x="2446" y="142"/>
                    <a:pt x="2440" y="131"/>
                    <a:pt x="2432" y="134"/>
                  </a:cubicBezTo>
                  <a:close/>
                  <a:moveTo>
                    <a:pt x="2427" y="170"/>
                  </a:moveTo>
                  <a:cubicBezTo>
                    <a:pt x="2428" y="166"/>
                    <a:pt x="2432" y="164"/>
                    <a:pt x="2438" y="165"/>
                  </a:cubicBezTo>
                  <a:cubicBezTo>
                    <a:pt x="2441" y="172"/>
                    <a:pt x="2432" y="169"/>
                    <a:pt x="2427" y="170"/>
                  </a:cubicBezTo>
                  <a:close/>
                  <a:moveTo>
                    <a:pt x="2454" y="160"/>
                  </a:moveTo>
                  <a:cubicBezTo>
                    <a:pt x="2454" y="160"/>
                    <a:pt x="2455" y="158"/>
                    <a:pt x="2454" y="158"/>
                  </a:cubicBezTo>
                  <a:cubicBezTo>
                    <a:pt x="2464" y="158"/>
                    <a:pt x="2450" y="165"/>
                    <a:pt x="2446" y="162"/>
                  </a:cubicBezTo>
                  <a:cubicBezTo>
                    <a:pt x="2444" y="161"/>
                    <a:pt x="2453" y="160"/>
                    <a:pt x="2454" y="160"/>
                  </a:cubicBezTo>
                  <a:close/>
                  <a:moveTo>
                    <a:pt x="2457" y="132"/>
                  </a:moveTo>
                  <a:cubicBezTo>
                    <a:pt x="2461" y="123"/>
                    <a:pt x="2462" y="136"/>
                    <a:pt x="2460" y="136"/>
                  </a:cubicBezTo>
                  <a:cubicBezTo>
                    <a:pt x="2458" y="137"/>
                    <a:pt x="2456" y="133"/>
                    <a:pt x="2457" y="132"/>
                  </a:cubicBezTo>
                  <a:close/>
                  <a:moveTo>
                    <a:pt x="2463" y="169"/>
                  </a:moveTo>
                  <a:cubicBezTo>
                    <a:pt x="2462" y="172"/>
                    <a:pt x="2456" y="171"/>
                    <a:pt x="2452" y="172"/>
                  </a:cubicBezTo>
                  <a:cubicBezTo>
                    <a:pt x="2453" y="166"/>
                    <a:pt x="2459" y="166"/>
                    <a:pt x="2463" y="169"/>
                  </a:cubicBezTo>
                  <a:close/>
                  <a:moveTo>
                    <a:pt x="2456" y="110"/>
                  </a:moveTo>
                  <a:cubicBezTo>
                    <a:pt x="2466" y="108"/>
                    <a:pt x="2464" y="125"/>
                    <a:pt x="2454" y="120"/>
                  </a:cubicBezTo>
                  <a:cubicBezTo>
                    <a:pt x="2456" y="118"/>
                    <a:pt x="2457" y="115"/>
                    <a:pt x="2456" y="110"/>
                  </a:cubicBezTo>
                  <a:close/>
                  <a:moveTo>
                    <a:pt x="2448" y="96"/>
                  </a:moveTo>
                  <a:cubicBezTo>
                    <a:pt x="2451" y="97"/>
                    <a:pt x="2450" y="101"/>
                    <a:pt x="2453" y="101"/>
                  </a:cubicBezTo>
                  <a:cubicBezTo>
                    <a:pt x="2452" y="108"/>
                    <a:pt x="2445" y="101"/>
                    <a:pt x="2448" y="96"/>
                  </a:cubicBezTo>
                  <a:close/>
                  <a:moveTo>
                    <a:pt x="2451" y="108"/>
                  </a:moveTo>
                  <a:cubicBezTo>
                    <a:pt x="2443" y="117"/>
                    <a:pt x="2441" y="101"/>
                    <a:pt x="2451" y="108"/>
                  </a:cubicBezTo>
                  <a:close/>
                  <a:moveTo>
                    <a:pt x="2440" y="101"/>
                  </a:moveTo>
                  <a:cubicBezTo>
                    <a:pt x="2435" y="103"/>
                    <a:pt x="2441" y="113"/>
                    <a:pt x="2432" y="111"/>
                  </a:cubicBezTo>
                  <a:cubicBezTo>
                    <a:pt x="2431" y="105"/>
                    <a:pt x="2433" y="101"/>
                    <a:pt x="2440" y="101"/>
                  </a:cubicBezTo>
                  <a:close/>
                  <a:moveTo>
                    <a:pt x="2419" y="149"/>
                  </a:moveTo>
                  <a:cubicBezTo>
                    <a:pt x="2419" y="143"/>
                    <a:pt x="2428" y="148"/>
                    <a:pt x="2430" y="149"/>
                  </a:cubicBezTo>
                  <a:cubicBezTo>
                    <a:pt x="2428" y="156"/>
                    <a:pt x="2424" y="146"/>
                    <a:pt x="2419" y="149"/>
                  </a:cubicBezTo>
                  <a:close/>
                  <a:moveTo>
                    <a:pt x="2427" y="139"/>
                  </a:moveTo>
                  <a:cubicBezTo>
                    <a:pt x="2423" y="139"/>
                    <a:pt x="2419" y="139"/>
                    <a:pt x="2416" y="139"/>
                  </a:cubicBezTo>
                  <a:cubicBezTo>
                    <a:pt x="2417" y="137"/>
                    <a:pt x="2419" y="135"/>
                    <a:pt x="2416" y="135"/>
                  </a:cubicBezTo>
                  <a:cubicBezTo>
                    <a:pt x="2416" y="131"/>
                    <a:pt x="2424" y="134"/>
                    <a:pt x="2424" y="130"/>
                  </a:cubicBezTo>
                  <a:cubicBezTo>
                    <a:pt x="2427" y="131"/>
                    <a:pt x="2426" y="136"/>
                    <a:pt x="2427" y="139"/>
                  </a:cubicBezTo>
                  <a:close/>
                  <a:moveTo>
                    <a:pt x="2410" y="114"/>
                  </a:moveTo>
                  <a:cubicBezTo>
                    <a:pt x="2413" y="116"/>
                    <a:pt x="2417" y="117"/>
                    <a:pt x="2424" y="116"/>
                  </a:cubicBezTo>
                  <a:cubicBezTo>
                    <a:pt x="2421" y="121"/>
                    <a:pt x="2408" y="123"/>
                    <a:pt x="2410" y="114"/>
                  </a:cubicBezTo>
                  <a:close/>
                  <a:moveTo>
                    <a:pt x="2413" y="130"/>
                  </a:moveTo>
                  <a:cubicBezTo>
                    <a:pt x="2414" y="140"/>
                    <a:pt x="2398" y="133"/>
                    <a:pt x="2394" y="133"/>
                  </a:cubicBezTo>
                  <a:cubicBezTo>
                    <a:pt x="2399" y="122"/>
                    <a:pt x="2404" y="136"/>
                    <a:pt x="2413" y="130"/>
                  </a:cubicBezTo>
                  <a:close/>
                  <a:moveTo>
                    <a:pt x="2405" y="151"/>
                  </a:moveTo>
                  <a:cubicBezTo>
                    <a:pt x="2402" y="159"/>
                    <a:pt x="2398" y="149"/>
                    <a:pt x="2394" y="149"/>
                  </a:cubicBezTo>
                  <a:cubicBezTo>
                    <a:pt x="2397" y="146"/>
                    <a:pt x="2404" y="144"/>
                    <a:pt x="2408" y="147"/>
                  </a:cubicBezTo>
                  <a:cubicBezTo>
                    <a:pt x="2408" y="149"/>
                    <a:pt x="2404" y="148"/>
                    <a:pt x="2402" y="149"/>
                  </a:cubicBezTo>
                  <a:cubicBezTo>
                    <a:pt x="2402" y="151"/>
                    <a:pt x="2403" y="151"/>
                    <a:pt x="2405" y="151"/>
                  </a:cubicBezTo>
                  <a:close/>
                  <a:moveTo>
                    <a:pt x="2393" y="116"/>
                  </a:moveTo>
                  <a:cubicBezTo>
                    <a:pt x="2392" y="119"/>
                    <a:pt x="2390" y="121"/>
                    <a:pt x="2385" y="121"/>
                  </a:cubicBezTo>
                  <a:cubicBezTo>
                    <a:pt x="2384" y="116"/>
                    <a:pt x="2389" y="117"/>
                    <a:pt x="2393" y="116"/>
                  </a:cubicBezTo>
                  <a:close/>
                  <a:moveTo>
                    <a:pt x="2374" y="100"/>
                  </a:moveTo>
                  <a:cubicBezTo>
                    <a:pt x="2374" y="100"/>
                    <a:pt x="2380" y="96"/>
                    <a:pt x="2382" y="98"/>
                  </a:cubicBezTo>
                  <a:cubicBezTo>
                    <a:pt x="2384" y="99"/>
                    <a:pt x="2371" y="105"/>
                    <a:pt x="2374" y="100"/>
                  </a:cubicBezTo>
                  <a:close/>
                  <a:moveTo>
                    <a:pt x="2360" y="100"/>
                  </a:moveTo>
                  <a:cubicBezTo>
                    <a:pt x="2366" y="100"/>
                    <a:pt x="2369" y="102"/>
                    <a:pt x="2368" y="107"/>
                  </a:cubicBezTo>
                  <a:cubicBezTo>
                    <a:pt x="2365" y="107"/>
                    <a:pt x="2361" y="107"/>
                    <a:pt x="2360" y="110"/>
                  </a:cubicBezTo>
                  <a:cubicBezTo>
                    <a:pt x="2352" y="108"/>
                    <a:pt x="2363" y="105"/>
                    <a:pt x="2360" y="100"/>
                  </a:cubicBezTo>
                  <a:close/>
                  <a:moveTo>
                    <a:pt x="2349" y="115"/>
                  </a:moveTo>
                  <a:cubicBezTo>
                    <a:pt x="2346" y="113"/>
                    <a:pt x="2344" y="110"/>
                    <a:pt x="2344" y="105"/>
                  </a:cubicBezTo>
                  <a:cubicBezTo>
                    <a:pt x="2347" y="106"/>
                    <a:pt x="2349" y="105"/>
                    <a:pt x="2349" y="103"/>
                  </a:cubicBezTo>
                  <a:cubicBezTo>
                    <a:pt x="2352" y="103"/>
                    <a:pt x="2351" y="105"/>
                    <a:pt x="2349" y="105"/>
                  </a:cubicBezTo>
                  <a:cubicBezTo>
                    <a:pt x="2349" y="112"/>
                    <a:pt x="2354" y="110"/>
                    <a:pt x="2349" y="115"/>
                  </a:cubicBezTo>
                  <a:close/>
                  <a:moveTo>
                    <a:pt x="2347" y="124"/>
                  </a:moveTo>
                  <a:cubicBezTo>
                    <a:pt x="2350" y="121"/>
                    <a:pt x="2352" y="122"/>
                    <a:pt x="2352" y="126"/>
                  </a:cubicBezTo>
                  <a:cubicBezTo>
                    <a:pt x="2346" y="127"/>
                    <a:pt x="2344" y="125"/>
                    <a:pt x="2344" y="119"/>
                  </a:cubicBezTo>
                  <a:cubicBezTo>
                    <a:pt x="2347" y="119"/>
                    <a:pt x="2346" y="122"/>
                    <a:pt x="2347" y="124"/>
                  </a:cubicBezTo>
                  <a:close/>
                  <a:moveTo>
                    <a:pt x="2349" y="86"/>
                  </a:moveTo>
                  <a:cubicBezTo>
                    <a:pt x="2357" y="88"/>
                    <a:pt x="2345" y="90"/>
                    <a:pt x="2346" y="94"/>
                  </a:cubicBezTo>
                  <a:cubicBezTo>
                    <a:pt x="2337" y="91"/>
                    <a:pt x="2349" y="89"/>
                    <a:pt x="2349" y="86"/>
                  </a:cubicBezTo>
                  <a:close/>
                  <a:moveTo>
                    <a:pt x="2327" y="94"/>
                  </a:moveTo>
                  <a:cubicBezTo>
                    <a:pt x="2330" y="94"/>
                    <a:pt x="2329" y="98"/>
                    <a:pt x="2330" y="101"/>
                  </a:cubicBezTo>
                  <a:cubicBezTo>
                    <a:pt x="2330" y="104"/>
                    <a:pt x="2335" y="103"/>
                    <a:pt x="2338" y="103"/>
                  </a:cubicBezTo>
                  <a:cubicBezTo>
                    <a:pt x="2336" y="105"/>
                    <a:pt x="2335" y="109"/>
                    <a:pt x="2336" y="113"/>
                  </a:cubicBezTo>
                  <a:cubicBezTo>
                    <a:pt x="2334" y="111"/>
                    <a:pt x="2331" y="110"/>
                    <a:pt x="2327" y="110"/>
                  </a:cubicBezTo>
                  <a:cubicBezTo>
                    <a:pt x="2328" y="106"/>
                    <a:pt x="2327" y="103"/>
                    <a:pt x="2322" y="103"/>
                  </a:cubicBezTo>
                  <a:cubicBezTo>
                    <a:pt x="2322" y="99"/>
                    <a:pt x="2329" y="100"/>
                    <a:pt x="2327" y="94"/>
                  </a:cubicBezTo>
                  <a:close/>
                  <a:moveTo>
                    <a:pt x="2322" y="125"/>
                  </a:moveTo>
                  <a:cubicBezTo>
                    <a:pt x="2327" y="125"/>
                    <a:pt x="2324" y="132"/>
                    <a:pt x="2328" y="134"/>
                  </a:cubicBezTo>
                  <a:cubicBezTo>
                    <a:pt x="2332" y="134"/>
                    <a:pt x="2338" y="135"/>
                    <a:pt x="2339" y="131"/>
                  </a:cubicBezTo>
                  <a:cubicBezTo>
                    <a:pt x="2343" y="132"/>
                    <a:pt x="2338" y="134"/>
                    <a:pt x="2339" y="138"/>
                  </a:cubicBezTo>
                  <a:cubicBezTo>
                    <a:pt x="2334" y="139"/>
                    <a:pt x="2334" y="136"/>
                    <a:pt x="2331" y="136"/>
                  </a:cubicBezTo>
                  <a:cubicBezTo>
                    <a:pt x="2327" y="139"/>
                    <a:pt x="2326" y="143"/>
                    <a:pt x="2317" y="141"/>
                  </a:cubicBezTo>
                  <a:cubicBezTo>
                    <a:pt x="2320" y="134"/>
                    <a:pt x="2320" y="134"/>
                    <a:pt x="2309" y="134"/>
                  </a:cubicBezTo>
                  <a:cubicBezTo>
                    <a:pt x="2299" y="129"/>
                    <a:pt x="2330" y="137"/>
                    <a:pt x="2322" y="125"/>
                  </a:cubicBezTo>
                  <a:close/>
                  <a:moveTo>
                    <a:pt x="2339" y="162"/>
                  </a:moveTo>
                  <a:cubicBezTo>
                    <a:pt x="2344" y="162"/>
                    <a:pt x="2341" y="170"/>
                    <a:pt x="2348" y="169"/>
                  </a:cubicBezTo>
                  <a:cubicBezTo>
                    <a:pt x="2345" y="175"/>
                    <a:pt x="2332" y="165"/>
                    <a:pt x="2339" y="162"/>
                  </a:cubicBezTo>
                  <a:close/>
                  <a:moveTo>
                    <a:pt x="2351" y="211"/>
                  </a:moveTo>
                  <a:cubicBezTo>
                    <a:pt x="2350" y="214"/>
                    <a:pt x="2348" y="216"/>
                    <a:pt x="2343" y="216"/>
                  </a:cubicBezTo>
                  <a:cubicBezTo>
                    <a:pt x="2342" y="211"/>
                    <a:pt x="2347" y="211"/>
                    <a:pt x="2351" y="211"/>
                  </a:cubicBezTo>
                  <a:close/>
                  <a:moveTo>
                    <a:pt x="2321" y="202"/>
                  </a:moveTo>
                  <a:cubicBezTo>
                    <a:pt x="2322" y="203"/>
                    <a:pt x="2331" y="208"/>
                    <a:pt x="2332" y="202"/>
                  </a:cubicBezTo>
                  <a:cubicBezTo>
                    <a:pt x="2337" y="205"/>
                    <a:pt x="2329" y="210"/>
                    <a:pt x="2335" y="216"/>
                  </a:cubicBezTo>
                  <a:cubicBezTo>
                    <a:pt x="2332" y="216"/>
                    <a:pt x="2330" y="217"/>
                    <a:pt x="2329" y="218"/>
                  </a:cubicBezTo>
                  <a:cubicBezTo>
                    <a:pt x="2326" y="218"/>
                    <a:pt x="2326" y="211"/>
                    <a:pt x="2329" y="211"/>
                  </a:cubicBezTo>
                  <a:cubicBezTo>
                    <a:pt x="2328" y="207"/>
                    <a:pt x="2319" y="210"/>
                    <a:pt x="2321" y="202"/>
                  </a:cubicBezTo>
                  <a:close/>
                  <a:moveTo>
                    <a:pt x="2309" y="141"/>
                  </a:moveTo>
                  <a:cubicBezTo>
                    <a:pt x="2304" y="142"/>
                    <a:pt x="2303" y="138"/>
                    <a:pt x="2298" y="139"/>
                  </a:cubicBezTo>
                  <a:cubicBezTo>
                    <a:pt x="2297" y="135"/>
                    <a:pt x="2313" y="135"/>
                    <a:pt x="2309" y="141"/>
                  </a:cubicBezTo>
                  <a:close/>
                  <a:moveTo>
                    <a:pt x="2287" y="132"/>
                  </a:moveTo>
                  <a:cubicBezTo>
                    <a:pt x="2289" y="132"/>
                    <a:pt x="2292" y="132"/>
                    <a:pt x="2295" y="132"/>
                  </a:cubicBezTo>
                  <a:cubicBezTo>
                    <a:pt x="2293" y="134"/>
                    <a:pt x="2294" y="140"/>
                    <a:pt x="2292" y="142"/>
                  </a:cubicBezTo>
                  <a:cubicBezTo>
                    <a:pt x="2292" y="142"/>
                    <a:pt x="2290" y="141"/>
                    <a:pt x="2290" y="142"/>
                  </a:cubicBezTo>
                  <a:cubicBezTo>
                    <a:pt x="2288" y="146"/>
                    <a:pt x="2294" y="155"/>
                    <a:pt x="2284" y="153"/>
                  </a:cubicBezTo>
                  <a:cubicBezTo>
                    <a:pt x="2289" y="149"/>
                    <a:pt x="2286" y="140"/>
                    <a:pt x="2287" y="132"/>
                  </a:cubicBezTo>
                  <a:close/>
                  <a:moveTo>
                    <a:pt x="2291" y="252"/>
                  </a:moveTo>
                  <a:cubicBezTo>
                    <a:pt x="2291" y="254"/>
                    <a:pt x="2291" y="255"/>
                    <a:pt x="2292" y="257"/>
                  </a:cubicBezTo>
                  <a:cubicBezTo>
                    <a:pt x="2290" y="257"/>
                    <a:pt x="2288" y="257"/>
                    <a:pt x="2286" y="257"/>
                  </a:cubicBezTo>
                  <a:cubicBezTo>
                    <a:pt x="2286" y="255"/>
                    <a:pt x="2286" y="254"/>
                    <a:pt x="2286" y="252"/>
                  </a:cubicBezTo>
                  <a:cubicBezTo>
                    <a:pt x="2288" y="252"/>
                    <a:pt x="2290" y="252"/>
                    <a:pt x="2291" y="252"/>
                  </a:cubicBezTo>
                  <a:close/>
                  <a:moveTo>
                    <a:pt x="2285" y="210"/>
                  </a:moveTo>
                  <a:cubicBezTo>
                    <a:pt x="2297" y="211"/>
                    <a:pt x="2283" y="223"/>
                    <a:pt x="2285" y="210"/>
                  </a:cubicBezTo>
                  <a:close/>
                  <a:moveTo>
                    <a:pt x="2278" y="283"/>
                  </a:moveTo>
                  <a:cubicBezTo>
                    <a:pt x="2279" y="280"/>
                    <a:pt x="2284" y="280"/>
                    <a:pt x="2284" y="283"/>
                  </a:cubicBezTo>
                  <a:cubicBezTo>
                    <a:pt x="2287" y="282"/>
                    <a:pt x="2286" y="278"/>
                    <a:pt x="2286" y="276"/>
                  </a:cubicBezTo>
                  <a:cubicBezTo>
                    <a:pt x="2289" y="277"/>
                    <a:pt x="2291" y="278"/>
                    <a:pt x="2292" y="275"/>
                  </a:cubicBezTo>
                  <a:cubicBezTo>
                    <a:pt x="2299" y="281"/>
                    <a:pt x="2284" y="287"/>
                    <a:pt x="2278" y="283"/>
                  </a:cubicBezTo>
                  <a:close/>
                  <a:moveTo>
                    <a:pt x="2303" y="282"/>
                  </a:moveTo>
                  <a:cubicBezTo>
                    <a:pt x="2303" y="281"/>
                    <a:pt x="2303" y="279"/>
                    <a:pt x="2303" y="278"/>
                  </a:cubicBezTo>
                  <a:cubicBezTo>
                    <a:pt x="2305" y="278"/>
                    <a:pt x="2307" y="278"/>
                    <a:pt x="2308" y="278"/>
                  </a:cubicBezTo>
                  <a:cubicBezTo>
                    <a:pt x="2308" y="279"/>
                    <a:pt x="2308" y="281"/>
                    <a:pt x="2308" y="282"/>
                  </a:cubicBezTo>
                  <a:cubicBezTo>
                    <a:pt x="2307" y="282"/>
                    <a:pt x="2305" y="282"/>
                    <a:pt x="2303" y="282"/>
                  </a:cubicBezTo>
                  <a:close/>
                  <a:moveTo>
                    <a:pt x="2311" y="278"/>
                  </a:moveTo>
                  <a:cubicBezTo>
                    <a:pt x="2316" y="277"/>
                    <a:pt x="2316" y="280"/>
                    <a:pt x="2319" y="280"/>
                  </a:cubicBezTo>
                  <a:cubicBezTo>
                    <a:pt x="2321" y="284"/>
                    <a:pt x="2307" y="283"/>
                    <a:pt x="2311" y="278"/>
                  </a:cubicBezTo>
                  <a:close/>
                  <a:moveTo>
                    <a:pt x="2311" y="254"/>
                  </a:moveTo>
                  <a:cubicBezTo>
                    <a:pt x="2313" y="254"/>
                    <a:pt x="2313" y="253"/>
                    <a:pt x="2313" y="252"/>
                  </a:cubicBezTo>
                  <a:cubicBezTo>
                    <a:pt x="2319" y="251"/>
                    <a:pt x="2318" y="262"/>
                    <a:pt x="2311" y="259"/>
                  </a:cubicBezTo>
                  <a:cubicBezTo>
                    <a:pt x="2311" y="257"/>
                    <a:pt x="2311" y="256"/>
                    <a:pt x="2311" y="254"/>
                  </a:cubicBezTo>
                  <a:close/>
                  <a:moveTo>
                    <a:pt x="2318" y="221"/>
                  </a:moveTo>
                  <a:cubicBezTo>
                    <a:pt x="2313" y="224"/>
                    <a:pt x="2314" y="217"/>
                    <a:pt x="2313" y="216"/>
                  </a:cubicBezTo>
                  <a:cubicBezTo>
                    <a:pt x="2307" y="216"/>
                    <a:pt x="2307" y="222"/>
                    <a:pt x="2308" y="231"/>
                  </a:cubicBezTo>
                  <a:cubicBezTo>
                    <a:pt x="2310" y="231"/>
                    <a:pt x="2310" y="230"/>
                    <a:pt x="2310" y="228"/>
                  </a:cubicBezTo>
                  <a:cubicBezTo>
                    <a:pt x="2319" y="229"/>
                    <a:pt x="2300" y="236"/>
                    <a:pt x="2310" y="238"/>
                  </a:cubicBezTo>
                  <a:cubicBezTo>
                    <a:pt x="2310" y="241"/>
                    <a:pt x="2303" y="239"/>
                    <a:pt x="2302" y="238"/>
                  </a:cubicBezTo>
                  <a:cubicBezTo>
                    <a:pt x="2301" y="234"/>
                    <a:pt x="2305" y="233"/>
                    <a:pt x="2305" y="231"/>
                  </a:cubicBezTo>
                  <a:cubicBezTo>
                    <a:pt x="2304" y="225"/>
                    <a:pt x="2302" y="221"/>
                    <a:pt x="2305" y="219"/>
                  </a:cubicBezTo>
                  <a:cubicBezTo>
                    <a:pt x="2306" y="211"/>
                    <a:pt x="2291" y="218"/>
                    <a:pt x="2293" y="210"/>
                  </a:cubicBezTo>
                  <a:cubicBezTo>
                    <a:pt x="2300" y="204"/>
                    <a:pt x="2307" y="219"/>
                    <a:pt x="2302" y="205"/>
                  </a:cubicBezTo>
                  <a:cubicBezTo>
                    <a:pt x="2307" y="205"/>
                    <a:pt x="2313" y="205"/>
                    <a:pt x="2318" y="205"/>
                  </a:cubicBezTo>
                  <a:cubicBezTo>
                    <a:pt x="2317" y="212"/>
                    <a:pt x="2325" y="216"/>
                    <a:pt x="2318" y="221"/>
                  </a:cubicBezTo>
                  <a:close/>
                  <a:moveTo>
                    <a:pt x="2321" y="228"/>
                  </a:moveTo>
                  <a:cubicBezTo>
                    <a:pt x="2321" y="226"/>
                    <a:pt x="2321" y="225"/>
                    <a:pt x="2321" y="223"/>
                  </a:cubicBezTo>
                  <a:cubicBezTo>
                    <a:pt x="2323" y="223"/>
                    <a:pt x="2325" y="223"/>
                    <a:pt x="2327" y="223"/>
                  </a:cubicBezTo>
                  <a:cubicBezTo>
                    <a:pt x="2327" y="225"/>
                    <a:pt x="2327" y="226"/>
                    <a:pt x="2327" y="228"/>
                  </a:cubicBezTo>
                  <a:cubicBezTo>
                    <a:pt x="2325" y="228"/>
                    <a:pt x="2323" y="228"/>
                    <a:pt x="2321" y="228"/>
                  </a:cubicBezTo>
                  <a:close/>
                  <a:moveTo>
                    <a:pt x="2327" y="258"/>
                  </a:moveTo>
                  <a:cubicBezTo>
                    <a:pt x="2339" y="259"/>
                    <a:pt x="2325" y="272"/>
                    <a:pt x="2327" y="258"/>
                  </a:cubicBezTo>
                  <a:close/>
                  <a:moveTo>
                    <a:pt x="2338" y="249"/>
                  </a:moveTo>
                  <a:cubicBezTo>
                    <a:pt x="2336" y="248"/>
                    <a:pt x="2335" y="247"/>
                    <a:pt x="2333" y="247"/>
                  </a:cubicBezTo>
                  <a:cubicBezTo>
                    <a:pt x="2333" y="245"/>
                    <a:pt x="2335" y="244"/>
                    <a:pt x="2335" y="242"/>
                  </a:cubicBezTo>
                  <a:cubicBezTo>
                    <a:pt x="2337" y="242"/>
                    <a:pt x="2338" y="244"/>
                    <a:pt x="2341" y="244"/>
                  </a:cubicBezTo>
                  <a:cubicBezTo>
                    <a:pt x="2340" y="246"/>
                    <a:pt x="2338" y="246"/>
                    <a:pt x="2338" y="249"/>
                  </a:cubicBezTo>
                  <a:close/>
                  <a:moveTo>
                    <a:pt x="2341" y="239"/>
                  </a:moveTo>
                  <a:cubicBezTo>
                    <a:pt x="2342" y="236"/>
                    <a:pt x="2349" y="237"/>
                    <a:pt x="2346" y="230"/>
                  </a:cubicBezTo>
                  <a:cubicBezTo>
                    <a:pt x="2351" y="234"/>
                    <a:pt x="2351" y="238"/>
                    <a:pt x="2349" y="244"/>
                  </a:cubicBezTo>
                  <a:cubicBezTo>
                    <a:pt x="2346" y="242"/>
                    <a:pt x="2346" y="239"/>
                    <a:pt x="2341" y="239"/>
                  </a:cubicBezTo>
                  <a:close/>
                  <a:moveTo>
                    <a:pt x="2352" y="282"/>
                  </a:moveTo>
                  <a:cubicBezTo>
                    <a:pt x="2351" y="286"/>
                    <a:pt x="2347" y="283"/>
                    <a:pt x="2349" y="274"/>
                  </a:cubicBezTo>
                  <a:cubicBezTo>
                    <a:pt x="2351" y="268"/>
                    <a:pt x="2353" y="280"/>
                    <a:pt x="2352" y="282"/>
                  </a:cubicBezTo>
                  <a:close/>
                  <a:moveTo>
                    <a:pt x="2347" y="138"/>
                  </a:moveTo>
                  <a:cubicBezTo>
                    <a:pt x="2345" y="138"/>
                    <a:pt x="2344" y="139"/>
                    <a:pt x="2344" y="141"/>
                  </a:cubicBezTo>
                  <a:cubicBezTo>
                    <a:pt x="2334" y="139"/>
                    <a:pt x="2360" y="133"/>
                    <a:pt x="2344" y="134"/>
                  </a:cubicBezTo>
                  <a:cubicBezTo>
                    <a:pt x="2344" y="126"/>
                    <a:pt x="2351" y="134"/>
                    <a:pt x="2355" y="133"/>
                  </a:cubicBezTo>
                  <a:cubicBezTo>
                    <a:pt x="2358" y="133"/>
                    <a:pt x="2389" y="124"/>
                    <a:pt x="2377" y="140"/>
                  </a:cubicBezTo>
                  <a:cubicBezTo>
                    <a:pt x="2371" y="141"/>
                    <a:pt x="2374" y="133"/>
                    <a:pt x="2369" y="133"/>
                  </a:cubicBezTo>
                  <a:cubicBezTo>
                    <a:pt x="2365" y="138"/>
                    <a:pt x="2354" y="143"/>
                    <a:pt x="2347" y="138"/>
                  </a:cubicBezTo>
                  <a:close/>
                  <a:moveTo>
                    <a:pt x="2354" y="213"/>
                  </a:moveTo>
                  <a:cubicBezTo>
                    <a:pt x="2356" y="211"/>
                    <a:pt x="2358" y="207"/>
                    <a:pt x="2354" y="206"/>
                  </a:cubicBezTo>
                  <a:cubicBezTo>
                    <a:pt x="2355" y="201"/>
                    <a:pt x="2367" y="205"/>
                    <a:pt x="2373" y="204"/>
                  </a:cubicBezTo>
                  <a:cubicBezTo>
                    <a:pt x="2382" y="205"/>
                    <a:pt x="2368" y="207"/>
                    <a:pt x="2365" y="206"/>
                  </a:cubicBezTo>
                  <a:cubicBezTo>
                    <a:pt x="2358" y="205"/>
                    <a:pt x="2363" y="215"/>
                    <a:pt x="2354" y="213"/>
                  </a:cubicBezTo>
                  <a:close/>
                  <a:moveTo>
                    <a:pt x="2373" y="218"/>
                  </a:moveTo>
                  <a:cubicBezTo>
                    <a:pt x="2371" y="215"/>
                    <a:pt x="2363" y="217"/>
                    <a:pt x="2365" y="211"/>
                  </a:cubicBezTo>
                  <a:cubicBezTo>
                    <a:pt x="2371" y="210"/>
                    <a:pt x="2374" y="213"/>
                    <a:pt x="2373" y="218"/>
                  </a:cubicBezTo>
                  <a:close/>
                  <a:moveTo>
                    <a:pt x="2363" y="263"/>
                  </a:moveTo>
                  <a:cubicBezTo>
                    <a:pt x="2362" y="262"/>
                    <a:pt x="2357" y="267"/>
                    <a:pt x="2358" y="267"/>
                  </a:cubicBezTo>
                  <a:cubicBezTo>
                    <a:pt x="2351" y="265"/>
                    <a:pt x="2366" y="255"/>
                    <a:pt x="2366" y="265"/>
                  </a:cubicBezTo>
                  <a:cubicBezTo>
                    <a:pt x="2363" y="266"/>
                    <a:pt x="2364" y="263"/>
                    <a:pt x="2363" y="263"/>
                  </a:cubicBezTo>
                  <a:close/>
                  <a:moveTo>
                    <a:pt x="2374" y="255"/>
                  </a:moveTo>
                  <a:cubicBezTo>
                    <a:pt x="2366" y="252"/>
                    <a:pt x="2360" y="247"/>
                    <a:pt x="2368" y="241"/>
                  </a:cubicBezTo>
                  <a:cubicBezTo>
                    <a:pt x="2367" y="238"/>
                    <a:pt x="2363" y="239"/>
                    <a:pt x="2363" y="241"/>
                  </a:cubicBezTo>
                  <a:cubicBezTo>
                    <a:pt x="2356" y="240"/>
                    <a:pt x="2361" y="230"/>
                    <a:pt x="2368" y="232"/>
                  </a:cubicBezTo>
                  <a:cubicBezTo>
                    <a:pt x="2367" y="229"/>
                    <a:pt x="2363" y="230"/>
                    <a:pt x="2360" y="230"/>
                  </a:cubicBezTo>
                  <a:cubicBezTo>
                    <a:pt x="2360" y="225"/>
                    <a:pt x="2367" y="227"/>
                    <a:pt x="2365" y="220"/>
                  </a:cubicBezTo>
                  <a:cubicBezTo>
                    <a:pt x="2369" y="223"/>
                    <a:pt x="2371" y="232"/>
                    <a:pt x="2368" y="234"/>
                  </a:cubicBezTo>
                  <a:cubicBezTo>
                    <a:pt x="2366" y="238"/>
                    <a:pt x="2381" y="238"/>
                    <a:pt x="2379" y="234"/>
                  </a:cubicBezTo>
                  <a:cubicBezTo>
                    <a:pt x="2385" y="235"/>
                    <a:pt x="2374" y="244"/>
                    <a:pt x="2371" y="239"/>
                  </a:cubicBezTo>
                  <a:cubicBezTo>
                    <a:pt x="2370" y="243"/>
                    <a:pt x="2373" y="243"/>
                    <a:pt x="2376" y="244"/>
                  </a:cubicBezTo>
                  <a:cubicBezTo>
                    <a:pt x="2378" y="249"/>
                    <a:pt x="2371" y="249"/>
                    <a:pt x="2374" y="255"/>
                  </a:cubicBezTo>
                  <a:close/>
                  <a:moveTo>
                    <a:pt x="2377" y="283"/>
                  </a:moveTo>
                  <a:cubicBezTo>
                    <a:pt x="2375" y="283"/>
                    <a:pt x="2375" y="284"/>
                    <a:pt x="2374" y="286"/>
                  </a:cubicBezTo>
                  <a:cubicBezTo>
                    <a:pt x="2367" y="283"/>
                    <a:pt x="2381" y="279"/>
                    <a:pt x="2388" y="281"/>
                  </a:cubicBezTo>
                  <a:cubicBezTo>
                    <a:pt x="2388" y="283"/>
                    <a:pt x="2388" y="286"/>
                    <a:pt x="2388" y="288"/>
                  </a:cubicBezTo>
                  <a:cubicBezTo>
                    <a:pt x="2380" y="291"/>
                    <a:pt x="2381" y="284"/>
                    <a:pt x="2377" y="283"/>
                  </a:cubicBezTo>
                  <a:close/>
                  <a:moveTo>
                    <a:pt x="2381" y="218"/>
                  </a:moveTo>
                  <a:cubicBezTo>
                    <a:pt x="2378" y="217"/>
                    <a:pt x="2379" y="213"/>
                    <a:pt x="2376" y="213"/>
                  </a:cubicBezTo>
                  <a:cubicBezTo>
                    <a:pt x="2377" y="205"/>
                    <a:pt x="2383" y="215"/>
                    <a:pt x="2387" y="215"/>
                  </a:cubicBezTo>
                  <a:cubicBezTo>
                    <a:pt x="2387" y="215"/>
                    <a:pt x="2390" y="215"/>
                    <a:pt x="2390" y="215"/>
                  </a:cubicBezTo>
                  <a:cubicBezTo>
                    <a:pt x="2392" y="221"/>
                    <a:pt x="2379" y="212"/>
                    <a:pt x="2381" y="218"/>
                  </a:cubicBezTo>
                  <a:close/>
                  <a:moveTo>
                    <a:pt x="2409" y="224"/>
                  </a:moveTo>
                  <a:cubicBezTo>
                    <a:pt x="2413" y="225"/>
                    <a:pt x="2416" y="227"/>
                    <a:pt x="2420" y="229"/>
                  </a:cubicBezTo>
                  <a:cubicBezTo>
                    <a:pt x="2419" y="234"/>
                    <a:pt x="2407" y="229"/>
                    <a:pt x="2409" y="224"/>
                  </a:cubicBezTo>
                  <a:close/>
                  <a:moveTo>
                    <a:pt x="2425" y="217"/>
                  </a:moveTo>
                  <a:cubicBezTo>
                    <a:pt x="2426" y="211"/>
                    <a:pt x="2435" y="216"/>
                    <a:pt x="2436" y="217"/>
                  </a:cubicBezTo>
                  <a:cubicBezTo>
                    <a:pt x="2435" y="224"/>
                    <a:pt x="2430" y="214"/>
                    <a:pt x="2425" y="217"/>
                  </a:cubicBezTo>
                  <a:close/>
                  <a:moveTo>
                    <a:pt x="2436" y="212"/>
                  </a:moveTo>
                  <a:cubicBezTo>
                    <a:pt x="2437" y="211"/>
                    <a:pt x="2442" y="208"/>
                    <a:pt x="2444" y="209"/>
                  </a:cubicBezTo>
                  <a:cubicBezTo>
                    <a:pt x="2451" y="214"/>
                    <a:pt x="2433" y="220"/>
                    <a:pt x="2436" y="212"/>
                  </a:cubicBezTo>
                  <a:close/>
                  <a:moveTo>
                    <a:pt x="2453" y="259"/>
                  </a:moveTo>
                  <a:cubicBezTo>
                    <a:pt x="2451" y="259"/>
                    <a:pt x="2448" y="259"/>
                    <a:pt x="2445" y="259"/>
                  </a:cubicBezTo>
                  <a:cubicBezTo>
                    <a:pt x="2447" y="252"/>
                    <a:pt x="2449" y="256"/>
                    <a:pt x="2456" y="256"/>
                  </a:cubicBezTo>
                  <a:cubicBezTo>
                    <a:pt x="2456" y="260"/>
                    <a:pt x="2456" y="263"/>
                    <a:pt x="2459" y="263"/>
                  </a:cubicBezTo>
                  <a:cubicBezTo>
                    <a:pt x="2458" y="270"/>
                    <a:pt x="2450" y="263"/>
                    <a:pt x="2453" y="259"/>
                  </a:cubicBezTo>
                  <a:close/>
                  <a:moveTo>
                    <a:pt x="2464" y="237"/>
                  </a:moveTo>
                  <a:cubicBezTo>
                    <a:pt x="2460" y="238"/>
                    <a:pt x="2463" y="244"/>
                    <a:pt x="2459" y="244"/>
                  </a:cubicBezTo>
                  <a:cubicBezTo>
                    <a:pt x="2457" y="240"/>
                    <a:pt x="2460" y="238"/>
                    <a:pt x="2461" y="235"/>
                  </a:cubicBezTo>
                  <a:cubicBezTo>
                    <a:pt x="2466" y="234"/>
                    <a:pt x="2467" y="237"/>
                    <a:pt x="2464" y="237"/>
                  </a:cubicBezTo>
                  <a:close/>
                  <a:moveTo>
                    <a:pt x="2478" y="246"/>
                  </a:moveTo>
                  <a:cubicBezTo>
                    <a:pt x="2484" y="241"/>
                    <a:pt x="2475" y="239"/>
                    <a:pt x="2481" y="235"/>
                  </a:cubicBezTo>
                  <a:cubicBezTo>
                    <a:pt x="2485" y="234"/>
                    <a:pt x="2486" y="250"/>
                    <a:pt x="2478" y="246"/>
                  </a:cubicBezTo>
                  <a:close/>
                  <a:moveTo>
                    <a:pt x="2497" y="253"/>
                  </a:moveTo>
                  <a:cubicBezTo>
                    <a:pt x="2497" y="251"/>
                    <a:pt x="2501" y="251"/>
                    <a:pt x="2503" y="251"/>
                  </a:cubicBezTo>
                  <a:cubicBezTo>
                    <a:pt x="2505" y="251"/>
                    <a:pt x="2508" y="251"/>
                    <a:pt x="2511" y="251"/>
                  </a:cubicBezTo>
                  <a:cubicBezTo>
                    <a:pt x="2512" y="256"/>
                    <a:pt x="2501" y="252"/>
                    <a:pt x="2497" y="253"/>
                  </a:cubicBezTo>
                  <a:close/>
                  <a:moveTo>
                    <a:pt x="2503" y="248"/>
                  </a:moveTo>
                  <a:cubicBezTo>
                    <a:pt x="2503" y="245"/>
                    <a:pt x="2503" y="242"/>
                    <a:pt x="2503" y="239"/>
                  </a:cubicBezTo>
                  <a:cubicBezTo>
                    <a:pt x="2505" y="239"/>
                    <a:pt x="2505" y="242"/>
                    <a:pt x="2505" y="244"/>
                  </a:cubicBezTo>
                  <a:cubicBezTo>
                    <a:pt x="2509" y="244"/>
                    <a:pt x="2510" y="243"/>
                    <a:pt x="2511" y="241"/>
                  </a:cubicBezTo>
                  <a:cubicBezTo>
                    <a:pt x="2519" y="244"/>
                    <a:pt x="2507" y="249"/>
                    <a:pt x="2503" y="248"/>
                  </a:cubicBezTo>
                  <a:close/>
                  <a:moveTo>
                    <a:pt x="2517" y="269"/>
                  </a:moveTo>
                  <a:cubicBezTo>
                    <a:pt x="2512" y="275"/>
                    <a:pt x="2517" y="268"/>
                    <a:pt x="2517" y="265"/>
                  </a:cubicBezTo>
                  <a:cubicBezTo>
                    <a:pt x="2517" y="256"/>
                    <a:pt x="2524" y="271"/>
                    <a:pt x="2517" y="269"/>
                  </a:cubicBezTo>
                  <a:close/>
                  <a:moveTo>
                    <a:pt x="2535" y="241"/>
                  </a:moveTo>
                  <a:cubicBezTo>
                    <a:pt x="2533" y="237"/>
                    <a:pt x="2522" y="241"/>
                    <a:pt x="2524" y="234"/>
                  </a:cubicBezTo>
                  <a:cubicBezTo>
                    <a:pt x="2527" y="232"/>
                    <a:pt x="2532" y="231"/>
                    <a:pt x="2538" y="231"/>
                  </a:cubicBezTo>
                  <a:cubicBezTo>
                    <a:pt x="2538" y="235"/>
                    <a:pt x="2535" y="236"/>
                    <a:pt x="2535" y="241"/>
                  </a:cubicBezTo>
                  <a:close/>
                  <a:moveTo>
                    <a:pt x="2543" y="219"/>
                  </a:moveTo>
                  <a:cubicBezTo>
                    <a:pt x="2538" y="215"/>
                    <a:pt x="2538" y="221"/>
                    <a:pt x="2530" y="220"/>
                  </a:cubicBezTo>
                  <a:cubicBezTo>
                    <a:pt x="2526" y="217"/>
                    <a:pt x="2529" y="216"/>
                    <a:pt x="2530" y="213"/>
                  </a:cubicBezTo>
                  <a:cubicBezTo>
                    <a:pt x="2524" y="212"/>
                    <a:pt x="2521" y="215"/>
                    <a:pt x="2521" y="220"/>
                  </a:cubicBezTo>
                  <a:cubicBezTo>
                    <a:pt x="2511" y="215"/>
                    <a:pt x="2520" y="208"/>
                    <a:pt x="2529" y="208"/>
                  </a:cubicBezTo>
                  <a:cubicBezTo>
                    <a:pt x="2529" y="203"/>
                    <a:pt x="2521" y="208"/>
                    <a:pt x="2521" y="208"/>
                  </a:cubicBezTo>
                  <a:cubicBezTo>
                    <a:pt x="2518" y="208"/>
                    <a:pt x="2517" y="204"/>
                    <a:pt x="2513" y="203"/>
                  </a:cubicBezTo>
                  <a:cubicBezTo>
                    <a:pt x="2513" y="209"/>
                    <a:pt x="2518" y="209"/>
                    <a:pt x="2513" y="213"/>
                  </a:cubicBezTo>
                  <a:cubicBezTo>
                    <a:pt x="2511" y="215"/>
                    <a:pt x="2519" y="239"/>
                    <a:pt x="2508" y="236"/>
                  </a:cubicBezTo>
                  <a:cubicBezTo>
                    <a:pt x="2507" y="233"/>
                    <a:pt x="2510" y="232"/>
                    <a:pt x="2511" y="229"/>
                  </a:cubicBezTo>
                  <a:cubicBezTo>
                    <a:pt x="2508" y="225"/>
                    <a:pt x="2504" y="222"/>
                    <a:pt x="2499" y="220"/>
                  </a:cubicBezTo>
                  <a:cubicBezTo>
                    <a:pt x="2499" y="216"/>
                    <a:pt x="2501" y="211"/>
                    <a:pt x="2497" y="211"/>
                  </a:cubicBezTo>
                  <a:cubicBezTo>
                    <a:pt x="2493" y="211"/>
                    <a:pt x="2496" y="214"/>
                    <a:pt x="2497" y="213"/>
                  </a:cubicBezTo>
                  <a:cubicBezTo>
                    <a:pt x="2492" y="219"/>
                    <a:pt x="2486" y="214"/>
                    <a:pt x="2483" y="220"/>
                  </a:cubicBezTo>
                  <a:cubicBezTo>
                    <a:pt x="2481" y="219"/>
                    <a:pt x="2479" y="218"/>
                    <a:pt x="2475" y="218"/>
                  </a:cubicBezTo>
                  <a:cubicBezTo>
                    <a:pt x="2474" y="226"/>
                    <a:pt x="2487" y="222"/>
                    <a:pt x="2483" y="232"/>
                  </a:cubicBezTo>
                  <a:cubicBezTo>
                    <a:pt x="2479" y="233"/>
                    <a:pt x="2478" y="230"/>
                    <a:pt x="2478" y="228"/>
                  </a:cubicBezTo>
                  <a:cubicBezTo>
                    <a:pt x="2478" y="225"/>
                    <a:pt x="2473" y="227"/>
                    <a:pt x="2472" y="225"/>
                  </a:cubicBezTo>
                  <a:cubicBezTo>
                    <a:pt x="2472" y="225"/>
                    <a:pt x="2472" y="216"/>
                    <a:pt x="2469" y="218"/>
                  </a:cubicBezTo>
                  <a:cubicBezTo>
                    <a:pt x="2467" y="220"/>
                    <a:pt x="2464" y="221"/>
                    <a:pt x="2464" y="211"/>
                  </a:cubicBezTo>
                  <a:cubicBezTo>
                    <a:pt x="2459" y="214"/>
                    <a:pt x="2460" y="221"/>
                    <a:pt x="2450" y="219"/>
                  </a:cubicBezTo>
                  <a:cubicBezTo>
                    <a:pt x="2450" y="216"/>
                    <a:pt x="2449" y="214"/>
                    <a:pt x="2447" y="214"/>
                  </a:cubicBezTo>
                  <a:cubicBezTo>
                    <a:pt x="2446" y="210"/>
                    <a:pt x="2449" y="210"/>
                    <a:pt x="2453" y="209"/>
                  </a:cubicBezTo>
                  <a:cubicBezTo>
                    <a:pt x="2452" y="207"/>
                    <a:pt x="2447" y="208"/>
                    <a:pt x="2447" y="205"/>
                  </a:cubicBezTo>
                  <a:cubicBezTo>
                    <a:pt x="2436" y="206"/>
                    <a:pt x="2426" y="206"/>
                    <a:pt x="2414" y="205"/>
                  </a:cubicBezTo>
                  <a:cubicBezTo>
                    <a:pt x="2406" y="208"/>
                    <a:pt x="2418" y="211"/>
                    <a:pt x="2412" y="215"/>
                  </a:cubicBezTo>
                  <a:cubicBezTo>
                    <a:pt x="2408" y="215"/>
                    <a:pt x="2404" y="215"/>
                    <a:pt x="2401" y="215"/>
                  </a:cubicBezTo>
                  <a:cubicBezTo>
                    <a:pt x="2400" y="211"/>
                    <a:pt x="2403" y="211"/>
                    <a:pt x="2403" y="208"/>
                  </a:cubicBezTo>
                  <a:cubicBezTo>
                    <a:pt x="2400" y="201"/>
                    <a:pt x="2389" y="208"/>
                    <a:pt x="2384" y="208"/>
                  </a:cubicBezTo>
                  <a:cubicBezTo>
                    <a:pt x="2378" y="197"/>
                    <a:pt x="2422" y="207"/>
                    <a:pt x="2411" y="201"/>
                  </a:cubicBezTo>
                  <a:cubicBezTo>
                    <a:pt x="2412" y="198"/>
                    <a:pt x="2414" y="199"/>
                    <a:pt x="2414" y="200"/>
                  </a:cubicBezTo>
                  <a:cubicBezTo>
                    <a:pt x="2421" y="203"/>
                    <a:pt x="2431" y="203"/>
                    <a:pt x="2442" y="202"/>
                  </a:cubicBezTo>
                  <a:cubicBezTo>
                    <a:pt x="2444" y="201"/>
                    <a:pt x="2446" y="200"/>
                    <a:pt x="2450" y="200"/>
                  </a:cubicBezTo>
                  <a:cubicBezTo>
                    <a:pt x="2450" y="198"/>
                    <a:pt x="2450" y="195"/>
                    <a:pt x="2450" y="193"/>
                  </a:cubicBezTo>
                  <a:cubicBezTo>
                    <a:pt x="2456" y="187"/>
                    <a:pt x="2447" y="202"/>
                    <a:pt x="2458" y="202"/>
                  </a:cubicBezTo>
                  <a:cubicBezTo>
                    <a:pt x="2463" y="202"/>
                    <a:pt x="2468" y="203"/>
                    <a:pt x="2463" y="204"/>
                  </a:cubicBezTo>
                  <a:cubicBezTo>
                    <a:pt x="2460" y="206"/>
                    <a:pt x="2455" y="203"/>
                    <a:pt x="2455" y="207"/>
                  </a:cubicBezTo>
                  <a:cubicBezTo>
                    <a:pt x="2453" y="211"/>
                    <a:pt x="2468" y="210"/>
                    <a:pt x="2466" y="207"/>
                  </a:cubicBezTo>
                  <a:cubicBezTo>
                    <a:pt x="2469" y="205"/>
                    <a:pt x="2469" y="201"/>
                    <a:pt x="2474" y="202"/>
                  </a:cubicBezTo>
                  <a:cubicBezTo>
                    <a:pt x="2474" y="198"/>
                    <a:pt x="2477" y="198"/>
                    <a:pt x="2477" y="195"/>
                  </a:cubicBezTo>
                  <a:cubicBezTo>
                    <a:pt x="2481" y="195"/>
                    <a:pt x="2478" y="202"/>
                    <a:pt x="2483" y="202"/>
                  </a:cubicBezTo>
                  <a:cubicBezTo>
                    <a:pt x="2490" y="202"/>
                    <a:pt x="2492" y="198"/>
                    <a:pt x="2491" y="192"/>
                  </a:cubicBezTo>
                  <a:cubicBezTo>
                    <a:pt x="2499" y="194"/>
                    <a:pt x="2494" y="196"/>
                    <a:pt x="2494" y="201"/>
                  </a:cubicBezTo>
                  <a:cubicBezTo>
                    <a:pt x="2500" y="202"/>
                    <a:pt x="2504" y="201"/>
                    <a:pt x="2505" y="197"/>
                  </a:cubicBezTo>
                  <a:cubicBezTo>
                    <a:pt x="2508" y="196"/>
                    <a:pt x="2506" y="200"/>
                    <a:pt x="2507" y="201"/>
                  </a:cubicBezTo>
                  <a:cubicBezTo>
                    <a:pt x="2511" y="203"/>
                    <a:pt x="2519" y="200"/>
                    <a:pt x="2524" y="201"/>
                  </a:cubicBezTo>
                  <a:cubicBezTo>
                    <a:pt x="2527" y="200"/>
                    <a:pt x="2529" y="198"/>
                    <a:pt x="2529" y="194"/>
                  </a:cubicBezTo>
                  <a:cubicBezTo>
                    <a:pt x="2540" y="192"/>
                    <a:pt x="2540" y="192"/>
                    <a:pt x="2551" y="193"/>
                  </a:cubicBezTo>
                  <a:cubicBezTo>
                    <a:pt x="2553" y="201"/>
                    <a:pt x="2548" y="202"/>
                    <a:pt x="2549" y="208"/>
                  </a:cubicBezTo>
                  <a:cubicBezTo>
                    <a:pt x="2546" y="206"/>
                    <a:pt x="2542" y="205"/>
                    <a:pt x="2538" y="205"/>
                  </a:cubicBezTo>
                  <a:cubicBezTo>
                    <a:pt x="2537" y="212"/>
                    <a:pt x="2544" y="213"/>
                    <a:pt x="2543" y="219"/>
                  </a:cubicBezTo>
                  <a:close/>
                  <a:moveTo>
                    <a:pt x="2549" y="212"/>
                  </a:moveTo>
                  <a:cubicBezTo>
                    <a:pt x="2550" y="209"/>
                    <a:pt x="2552" y="213"/>
                    <a:pt x="2557" y="212"/>
                  </a:cubicBezTo>
                  <a:cubicBezTo>
                    <a:pt x="2559" y="219"/>
                    <a:pt x="2547" y="215"/>
                    <a:pt x="2552" y="224"/>
                  </a:cubicBezTo>
                  <a:cubicBezTo>
                    <a:pt x="2539" y="223"/>
                    <a:pt x="2556" y="214"/>
                    <a:pt x="2549" y="212"/>
                  </a:cubicBezTo>
                  <a:close/>
                  <a:moveTo>
                    <a:pt x="2549" y="238"/>
                  </a:moveTo>
                  <a:cubicBezTo>
                    <a:pt x="2548" y="233"/>
                    <a:pt x="2554" y="235"/>
                    <a:pt x="2554" y="231"/>
                  </a:cubicBezTo>
                  <a:cubicBezTo>
                    <a:pt x="2558" y="231"/>
                    <a:pt x="2557" y="235"/>
                    <a:pt x="2557" y="238"/>
                  </a:cubicBezTo>
                  <a:cubicBezTo>
                    <a:pt x="2555" y="238"/>
                    <a:pt x="2552" y="238"/>
                    <a:pt x="2549" y="238"/>
                  </a:cubicBezTo>
                  <a:close/>
                  <a:moveTo>
                    <a:pt x="2553" y="146"/>
                  </a:moveTo>
                  <a:cubicBezTo>
                    <a:pt x="2555" y="146"/>
                    <a:pt x="2557" y="146"/>
                    <a:pt x="2559" y="146"/>
                  </a:cubicBezTo>
                  <a:cubicBezTo>
                    <a:pt x="2559" y="153"/>
                    <a:pt x="2538" y="146"/>
                    <a:pt x="2553" y="146"/>
                  </a:cubicBezTo>
                  <a:close/>
                  <a:moveTo>
                    <a:pt x="2570" y="167"/>
                  </a:moveTo>
                  <a:cubicBezTo>
                    <a:pt x="2567" y="175"/>
                    <a:pt x="2562" y="165"/>
                    <a:pt x="2564" y="160"/>
                  </a:cubicBezTo>
                  <a:cubicBezTo>
                    <a:pt x="2568" y="161"/>
                    <a:pt x="2565" y="167"/>
                    <a:pt x="2570" y="167"/>
                  </a:cubicBezTo>
                  <a:close/>
                  <a:moveTo>
                    <a:pt x="2567" y="137"/>
                  </a:moveTo>
                  <a:cubicBezTo>
                    <a:pt x="2570" y="138"/>
                    <a:pt x="2572" y="140"/>
                    <a:pt x="2572" y="144"/>
                  </a:cubicBezTo>
                  <a:cubicBezTo>
                    <a:pt x="2569" y="143"/>
                    <a:pt x="2566" y="141"/>
                    <a:pt x="2567" y="137"/>
                  </a:cubicBezTo>
                  <a:close/>
                  <a:moveTo>
                    <a:pt x="2568" y="191"/>
                  </a:moveTo>
                  <a:cubicBezTo>
                    <a:pt x="2570" y="191"/>
                    <a:pt x="2573" y="191"/>
                    <a:pt x="2576" y="191"/>
                  </a:cubicBezTo>
                  <a:cubicBezTo>
                    <a:pt x="2575" y="196"/>
                    <a:pt x="2564" y="192"/>
                    <a:pt x="2559" y="193"/>
                  </a:cubicBezTo>
                  <a:cubicBezTo>
                    <a:pt x="2560" y="190"/>
                    <a:pt x="2564" y="191"/>
                    <a:pt x="2568" y="191"/>
                  </a:cubicBezTo>
                  <a:close/>
                  <a:moveTo>
                    <a:pt x="2559" y="200"/>
                  </a:moveTo>
                  <a:cubicBezTo>
                    <a:pt x="2562" y="205"/>
                    <a:pt x="2573" y="201"/>
                    <a:pt x="2565" y="198"/>
                  </a:cubicBezTo>
                  <a:cubicBezTo>
                    <a:pt x="2567" y="194"/>
                    <a:pt x="2569" y="198"/>
                    <a:pt x="2576" y="195"/>
                  </a:cubicBezTo>
                  <a:cubicBezTo>
                    <a:pt x="2576" y="199"/>
                    <a:pt x="2564" y="203"/>
                    <a:pt x="2576" y="202"/>
                  </a:cubicBezTo>
                  <a:cubicBezTo>
                    <a:pt x="2586" y="207"/>
                    <a:pt x="2561" y="202"/>
                    <a:pt x="2562" y="207"/>
                  </a:cubicBezTo>
                  <a:cubicBezTo>
                    <a:pt x="2560" y="208"/>
                    <a:pt x="2560" y="206"/>
                    <a:pt x="2560" y="205"/>
                  </a:cubicBezTo>
                  <a:cubicBezTo>
                    <a:pt x="2560" y="203"/>
                    <a:pt x="2560" y="202"/>
                    <a:pt x="2559" y="200"/>
                  </a:cubicBezTo>
                  <a:close/>
                  <a:moveTo>
                    <a:pt x="2595" y="219"/>
                  </a:moveTo>
                  <a:cubicBezTo>
                    <a:pt x="2593" y="223"/>
                    <a:pt x="2594" y="216"/>
                    <a:pt x="2590" y="216"/>
                  </a:cubicBezTo>
                  <a:cubicBezTo>
                    <a:pt x="2587" y="216"/>
                    <a:pt x="2585" y="212"/>
                    <a:pt x="2584" y="207"/>
                  </a:cubicBezTo>
                  <a:cubicBezTo>
                    <a:pt x="2588" y="207"/>
                    <a:pt x="2592" y="207"/>
                    <a:pt x="2595" y="207"/>
                  </a:cubicBezTo>
                  <a:cubicBezTo>
                    <a:pt x="2597" y="214"/>
                    <a:pt x="2590" y="214"/>
                    <a:pt x="2595" y="219"/>
                  </a:cubicBezTo>
                  <a:close/>
                  <a:moveTo>
                    <a:pt x="2591" y="263"/>
                  </a:moveTo>
                  <a:cubicBezTo>
                    <a:pt x="2589" y="268"/>
                    <a:pt x="2586" y="265"/>
                    <a:pt x="2588" y="256"/>
                  </a:cubicBezTo>
                  <a:cubicBezTo>
                    <a:pt x="2590" y="250"/>
                    <a:pt x="2591" y="262"/>
                    <a:pt x="2591" y="263"/>
                  </a:cubicBezTo>
                  <a:close/>
                  <a:moveTo>
                    <a:pt x="2582" y="230"/>
                  </a:moveTo>
                  <a:cubicBezTo>
                    <a:pt x="2594" y="232"/>
                    <a:pt x="2580" y="245"/>
                    <a:pt x="2582" y="230"/>
                  </a:cubicBezTo>
                  <a:close/>
                  <a:moveTo>
                    <a:pt x="2571" y="228"/>
                  </a:moveTo>
                  <a:cubicBezTo>
                    <a:pt x="2572" y="226"/>
                    <a:pt x="2573" y="224"/>
                    <a:pt x="2576" y="224"/>
                  </a:cubicBezTo>
                  <a:cubicBezTo>
                    <a:pt x="2575" y="220"/>
                    <a:pt x="2568" y="222"/>
                    <a:pt x="2571" y="214"/>
                  </a:cubicBezTo>
                  <a:cubicBezTo>
                    <a:pt x="2579" y="214"/>
                    <a:pt x="2580" y="220"/>
                    <a:pt x="2582" y="226"/>
                  </a:cubicBezTo>
                  <a:cubicBezTo>
                    <a:pt x="2579" y="228"/>
                    <a:pt x="2576" y="228"/>
                    <a:pt x="2571" y="228"/>
                  </a:cubicBezTo>
                  <a:close/>
                  <a:moveTo>
                    <a:pt x="2560" y="221"/>
                  </a:moveTo>
                  <a:cubicBezTo>
                    <a:pt x="2560" y="219"/>
                    <a:pt x="2560" y="217"/>
                    <a:pt x="2560" y="214"/>
                  </a:cubicBezTo>
                  <a:cubicBezTo>
                    <a:pt x="2562" y="214"/>
                    <a:pt x="2565" y="214"/>
                    <a:pt x="2568" y="214"/>
                  </a:cubicBezTo>
                  <a:cubicBezTo>
                    <a:pt x="2565" y="217"/>
                    <a:pt x="2567" y="223"/>
                    <a:pt x="2560" y="221"/>
                  </a:cubicBezTo>
                  <a:close/>
                  <a:moveTo>
                    <a:pt x="2568" y="231"/>
                  </a:moveTo>
                  <a:cubicBezTo>
                    <a:pt x="2578" y="230"/>
                    <a:pt x="2572" y="243"/>
                    <a:pt x="2577" y="247"/>
                  </a:cubicBezTo>
                  <a:cubicBezTo>
                    <a:pt x="2566" y="249"/>
                    <a:pt x="2569" y="238"/>
                    <a:pt x="2568" y="231"/>
                  </a:cubicBezTo>
                  <a:close/>
                  <a:moveTo>
                    <a:pt x="2569" y="254"/>
                  </a:moveTo>
                  <a:cubicBezTo>
                    <a:pt x="2568" y="251"/>
                    <a:pt x="2576" y="246"/>
                    <a:pt x="2577" y="252"/>
                  </a:cubicBezTo>
                  <a:cubicBezTo>
                    <a:pt x="2576" y="254"/>
                    <a:pt x="2578" y="254"/>
                    <a:pt x="2580" y="254"/>
                  </a:cubicBezTo>
                  <a:cubicBezTo>
                    <a:pt x="2578" y="261"/>
                    <a:pt x="2574" y="252"/>
                    <a:pt x="2569" y="254"/>
                  </a:cubicBezTo>
                  <a:close/>
                  <a:moveTo>
                    <a:pt x="2579" y="242"/>
                  </a:moveTo>
                  <a:cubicBezTo>
                    <a:pt x="2578" y="238"/>
                    <a:pt x="2592" y="239"/>
                    <a:pt x="2588" y="244"/>
                  </a:cubicBezTo>
                  <a:cubicBezTo>
                    <a:pt x="2586" y="245"/>
                    <a:pt x="2584" y="245"/>
                    <a:pt x="2582" y="245"/>
                  </a:cubicBezTo>
                  <a:cubicBezTo>
                    <a:pt x="2583" y="243"/>
                    <a:pt x="2581" y="242"/>
                    <a:pt x="2579" y="242"/>
                  </a:cubicBezTo>
                  <a:close/>
                  <a:moveTo>
                    <a:pt x="2585" y="275"/>
                  </a:moveTo>
                  <a:cubicBezTo>
                    <a:pt x="2586" y="269"/>
                    <a:pt x="2596" y="271"/>
                    <a:pt x="2596" y="266"/>
                  </a:cubicBezTo>
                  <a:cubicBezTo>
                    <a:pt x="2603" y="268"/>
                    <a:pt x="2595" y="278"/>
                    <a:pt x="2585" y="275"/>
                  </a:cubicBezTo>
                  <a:close/>
                  <a:moveTo>
                    <a:pt x="2631" y="232"/>
                  </a:moveTo>
                  <a:cubicBezTo>
                    <a:pt x="2638" y="234"/>
                    <a:pt x="2643" y="237"/>
                    <a:pt x="2643" y="246"/>
                  </a:cubicBezTo>
                  <a:cubicBezTo>
                    <a:pt x="2637" y="247"/>
                    <a:pt x="2639" y="243"/>
                    <a:pt x="2637" y="241"/>
                  </a:cubicBezTo>
                  <a:cubicBezTo>
                    <a:pt x="2635" y="239"/>
                    <a:pt x="2630" y="235"/>
                    <a:pt x="2631" y="232"/>
                  </a:cubicBezTo>
                  <a:close/>
                  <a:moveTo>
                    <a:pt x="2613" y="263"/>
                  </a:moveTo>
                  <a:cubicBezTo>
                    <a:pt x="2615" y="262"/>
                    <a:pt x="2622" y="254"/>
                    <a:pt x="2615" y="253"/>
                  </a:cubicBezTo>
                  <a:cubicBezTo>
                    <a:pt x="2616" y="247"/>
                    <a:pt x="2624" y="253"/>
                    <a:pt x="2621" y="258"/>
                  </a:cubicBezTo>
                  <a:cubicBezTo>
                    <a:pt x="2630" y="261"/>
                    <a:pt x="2623" y="250"/>
                    <a:pt x="2632" y="253"/>
                  </a:cubicBezTo>
                  <a:cubicBezTo>
                    <a:pt x="2632" y="255"/>
                    <a:pt x="2631" y="255"/>
                    <a:pt x="2629" y="255"/>
                  </a:cubicBezTo>
                  <a:cubicBezTo>
                    <a:pt x="2629" y="262"/>
                    <a:pt x="2633" y="260"/>
                    <a:pt x="2629" y="267"/>
                  </a:cubicBezTo>
                  <a:cubicBezTo>
                    <a:pt x="2628" y="270"/>
                    <a:pt x="2629" y="272"/>
                    <a:pt x="2624" y="272"/>
                  </a:cubicBezTo>
                  <a:cubicBezTo>
                    <a:pt x="2621" y="265"/>
                    <a:pt x="2628" y="266"/>
                    <a:pt x="2626" y="260"/>
                  </a:cubicBezTo>
                  <a:cubicBezTo>
                    <a:pt x="2620" y="259"/>
                    <a:pt x="2621" y="264"/>
                    <a:pt x="2621" y="267"/>
                  </a:cubicBezTo>
                  <a:cubicBezTo>
                    <a:pt x="2611" y="266"/>
                    <a:pt x="2598" y="263"/>
                    <a:pt x="2604" y="254"/>
                  </a:cubicBezTo>
                  <a:cubicBezTo>
                    <a:pt x="2600" y="253"/>
                    <a:pt x="2599" y="255"/>
                    <a:pt x="2599" y="258"/>
                  </a:cubicBezTo>
                  <a:cubicBezTo>
                    <a:pt x="2591" y="257"/>
                    <a:pt x="2601" y="253"/>
                    <a:pt x="2599" y="249"/>
                  </a:cubicBezTo>
                  <a:cubicBezTo>
                    <a:pt x="2604" y="251"/>
                    <a:pt x="2608" y="253"/>
                    <a:pt x="2607" y="261"/>
                  </a:cubicBezTo>
                  <a:cubicBezTo>
                    <a:pt x="2610" y="260"/>
                    <a:pt x="2612" y="261"/>
                    <a:pt x="2613" y="263"/>
                  </a:cubicBezTo>
                  <a:close/>
                  <a:moveTo>
                    <a:pt x="2607" y="232"/>
                  </a:moveTo>
                  <a:cubicBezTo>
                    <a:pt x="2605" y="239"/>
                    <a:pt x="2611" y="238"/>
                    <a:pt x="2610" y="244"/>
                  </a:cubicBezTo>
                  <a:cubicBezTo>
                    <a:pt x="2607" y="244"/>
                    <a:pt x="2604" y="244"/>
                    <a:pt x="2601" y="244"/>
                  </a:cubicBezTo>
                  <a:cubicBezTo>
                    <a:pt x="2601" y="240"/>
                    <a:pt x="2605" y="239"/>
                    <a:pt x="2604" y="235"/>
                  </a:cubicBezTo>
                  <a:cubicBezTo>
                    <a:pt x="2601" y="236"/>
                    <a:pt x="2598" y="238"/>
                    <a:pt x="2599" y="242"/>
                  </a:cubicBezTo>
                  <a:cubicBezTo>
                    <a:pt x="2594" y="240"/>
                    <a:pt x="2594" y="234"/>
                    <a:pt x="2593" y="230"/>
                  </a:cubicBezTo>
                  <a:cubicBezTo>
                    <a:pt x="2596" y="232"/>
                    <a:pt x="2600" y="233"/>
                    <a:pt x="2607" y="232"/>
                  </a:cubicBezTo>
                  <a:close/>
                  <a:moveTo>
                    <a:pt x="2584" y="198"/>
                  </a:moveTo>
                  <a:cubicBezTo>
                    <a:pt x="2586" y="194"/>
                    <a:pt x="2591" y="196"/>
                    <a:pt x="2592" y="197"/>
                  </a:cubicBezTo>
                  <a:cubicBezTo>
                    <a:pt x="2593" y="198"/>
                    <a:pt x="2597" y="197"/>
                    <a:pt x="2598" y="197"/>
                  </a:cubicBezTo>
                  <a:cubicBezTo>
                    <a:pt x="2599" y="198"/>
                    <a:pt x="2598" y="204"/>
                    <a:pt x="2603" y="202"/>
                  </a:cubicBezTo>
                  <a:cubicBezTo>
                    <a:pt x="2596" y="210"/>
                    <a:pt x="2590" y="198"/>
                    <a:pt x="2584" y="198"/>
                  </a:cubicBezTo>
                  <a:close/>
                  <a:moveTo>
                    <a:pt x="2586" y="146"/>
                  </a:moveTo>
                  <a:cubicBezTo>
                    <a:pt x="2591" y="147"/>
                    <a:pt x="2598" y="146"/>
                    <a:pt x="2597" y="153"/>
                  </a:cubicBezTo>
                  <a:cubicBezTo>
                    <a:pt x="2591" y="149"/>
                    <a:pt x="2594" y="153"/>
                    <a:pt x="2586" y="153"/>
                  </a:cubicBezTo>
                  <a:cubicBezTo>
                    <a:pt x="2586" y="151"/>
                    <a:pt x="2586" y="148"/>
                    <a:pt x="2586" y="146"/>
                  </a:cubicBezTo>
                  <a:close/>
                  <a:moveTo>
                    <a:pt x="2625" y="171"/>
                  </a:moveTo>
                  <a:cubicBezTo>
                    <a:pt x="2625" y="167"/>
                    <a:pt x="2625" y="163"/>
                    <a:pt x="2625" y="159"/>
                  </a:cubicBezTo>
                  <a:cubicBezTo>
                    <a:pt x="2633" y="155"/>
                    <a:pt x="2633" y="174"/>
                    <a:pt x="2625" y="171"/>
                  </a:cubicBezTo>
                  <a:close/>
                  <a:moveTo>
                    <a:pt x="2639" y="182"/>
                  </a:moveTo>
                  <a:cubicBezTo>
                    <a:pt x="2631" y="179"/>
                    <a:pt x="2636" y="177"/>
                    <a:pt x="2633" y="168"/>
                  </a:cubicBezTo>
                  <a:cubicBezTo>
                    <a:pt x="2636" y="168"/>
                    <a:pt x="2638" y="168"/>
                    <a:pt x="2641" y="168"/>
                  </a:cubicBezTo>
                  <a:cubicBezTo>
                    <a:pt x="2638" y="171"/>
                    <a:pt x="2638" y="177"/>
                    <a:pt x="2639" y="182"/>
                  </a:cubicBezTo>
                  <a:close/>
                  <a:moveTo>
                    <a:pt x="2655" y="173"/>
                  </a:moveTo>
                  <a:cubicBezTo>
                    <a:pt x="2662" y="173"/>
                    <a:pt x="2656" y="181"/>
                    <a:pt x="2655" y="182"/>
                  </a:cubicBezTo>
                  <a:cubicBezTo>
                    <a:pt x="2647" y="181"/>
                    <a:pt x="2658" y="177"/>
                    <a:pt x="2655" y="173"/>
                  </a:cubicBezTo>
                  <a:close/>
                  <a:moveTo>
                    <a:pt x="2663" y="189"/>
                  </a:moveTo>
                  <a:cubicBezTo>
                    <a:pt x="2661" y="187"/>
                    <a:pt x="2657" y="187"/>
                    <a:pt x="2652" y="187"/>
                  </a:cubicBezTo>
                  <a:cubicBezTo>
                    <a:pt x="2652" y="183"/>
                    <a:pt x="2668" y="182"/>
                    <a:pt x="2663" y="189"/>
                  </a:cubicBezTo>
                  <a:close/>
                  <a:moveTo>
                    <a:pt x="2660" y="154"/>
                  </a:moveTo>
                  <a:cubicBezTo>
                    <a:pt x="2656" y="157"/>
                    <a:pt x="2653" y="157"/>
                    <a:pt x="2649" y="154"/>
                  </a:cubicBezTo>
                  <a:cubicBezTo>
                    <a:pt x="2651" y="146"/>
                    <a:pt x="2656" y="154"/>
                    <a:pt x="2666" y="151"/>
                  </a:cubicBezTo>
                  <a:cubicBezTo>
                    <a:pt x="2668" y="150"/>
                    <a:pt x="2668" y="146"/>
                    <a:pt x="2674" y="147"/>
                  </a:cubicBezTo>
                  <a:cubicBezTo>
                    <a:pt x="2675" y="151"/>
                    <a:pt x="2672" y="151"/>
                    <a:pt x="2668" y="151"/>
                  </a:cubicBezTo>
                  <a:cubicBezTo>
                    <a:pt x="2668" y="154"/>
                    <a:pt x="2669" y="156"/>
                    <a:pt x="2671" y="156"/>
                  </a:cubicBezTo>
                  <a:cubicBezTo>
                    <a:pt x="2671" y="162"/>
                    <a:pt x="2661" y="156"/>
                    <a:pt x="2660" y="154"/>
                  </a:cubicBezTo>
                  <a:close/>
                  <a:moveTo>
                    <a:pt x="2669" y="168"/>
                  </a:moveTo>
                  <a:cubicBezTo>
                    <a:pt x="2669" y="166"/>
                    <a:pt x="2669" y="165"/>
                    <a:pt x="2669" y="163"/>
                  </a:cubicBezTo>
                  <a:cubicBezTo>
                    <a:pt x="2670" y="163"/>
                    <a:pt x="2672" y="163"/>
                    <a:pt x="2674" y="163"/>
                  </a:cubicBezTo>
                  <a:cubicBezTo>
                    <a:pt x="2674" y="165"/>
                    <a:pt x="2674" y="166"/>
                    <a:pt x="2674" y="168"/>
                  </a:cubicBezTo>
                  <a:cubicBezTo>
                    <a:pt x="2672" y="168"/>
                    <a:pt x="2670" y="168"/>
                    <a:pt x="2669" y="168"/>
                  </a:cubicBezTo>
                  <a:close/>
                  <a:moveTo>
                    <a:pt x="2685" y="184"/>
                  </a:moveTo>
                  <a:cubicBezTo>
                    <a:pt x="2679" y="185"/>
                    <a:pt x="2681" y="180"/>
                    <a:pt x="2677" y="179"/>
                  </a:cubicBezTo>
                  <a:cubicBezTo>
                    <a:pt x="2678" y="174"/>
                    <a:pt x="2688" y="179"/>
                    <a:pt x="2685" y="184"/>
                  </a:cubicBezTo>
                  <a:close/>
                  <a:moveTo>
                    <a:pt x="2682" y="135"/>
                  </a:moveTo>
                  <a:cubicBezTo>
                    <a:pt x="2682" y="141"/>
                    <a:pt x="2671" y="138"/>
                    <a:pt x="2671" y="144"/>
                  </a:cubicBezTo>
                  <a:cubicBezTo>
                    <a:pt x="2669" y="142"/>
                    <a:pt x="2661" y="135"/>
                    <a:pt x="2663" y="147"/>
                  </a:cubicBezTo>
                  <a:cubicBezTo>
                    <a:pt x="2659" y="148"/>
                    <a:pt x="2661" y="140"/>
                    <a:pt x="2660" y="140"/>
                  </a:cubicBezTo>
                  <a:cubicBezTo>
                    <a:pt x="2657" y="139"/>
                    <a:pt x="2654" y="144"/>
                    <a:pt x="2649" y="140"/>
                  </a:cubicBezTo>
                  <a:cubicBezTo>
                    <a:pt x="2647" y="139"/>
                    <a:pt x="2630" y="144"/>
                    <a:pt x="2632" y="136"/>
                  </a:cubicBezTo>
                  <a:cubicBezTo>
                    <a:pt x="2628" y="135"/>
                    <a:pt x="2627" y="137"/>
                    <a:pt x="2627" y="140"/>
                  </a:cubicBezTo>
                  <a:cubicBezTo>
                    <a:pt x="2620" y="142"/>
                    <a:pt x="2621" y="136"/>
                    <a:pt x="2616" y="136"/>
                  </a:cubicBezTo>
                  <a:cubicBezTo>
                    <a:pt x="2613" y="137"/>
                    <a:pt x="2614" y="141"/>
                    <a:pt x="2610" y="141"/>
                  </a:cubicBezTo>
                  <a:cubicBezTo>
                    <a:pt x="2606" y="142"/>
                    <a:pt x="2605" y="139"/>
                    <a:pt x="2605" y="136"/>
                  </a:cubicBezTo>
                  <a:cubicBezTo>
                    <a:pt x="2593" y="134"/>
                    <a:pt x="2592" y="141"/>
                    <a:pt x="2583" y="141"/>
                  </a:cubicBezTo>
                  <a:cubicBezTo>
                    <a:pt x="2583" y="139"/>
                    <a:pt x="2583" y="136"/>
                    <a:pt x="2583" y="134"/>
                  </a:cubicBezTo>
                  <a:cubicBezTo>
                    <a:pt x="2573" y="133"/>
                    <a:pt x="2581" y="141"/>
                    <a:pt x="2572" y="137"/>
                  </a:cubicBezTo>
                  <a:cubicBezTo>
                    <a:pt x="2572" y="137"/>
                    <a:pt x="2568" y="134"/>
                    <a:pt x="2569" y="134"/>
                  </a:cubicBezTo>
                  <a:cubicBezTo>
                    <a:pt x="2568" y="134"/>
                    <a:pt x="2561" y="140"/>
                    <a:pt x="2561" y="134"/>
                  </a:cubicBezTo>
                  <a:cubicBezTo>
                    <a:pt x="2558" y="135"/>
                    <a:pt x="2560" y="137"/>
                    <a:pt x="2561" y="137"/>
                  </a:cubicBezTo>
                  <a:cubicBezTo>
                    <a:pt x="2562" y="142"/>
                    <a:pt x="2551" y="138"/>
                    <a:pt x="2547" y="139"/>
                  </a:cubicBezTo>
                  <a:cubicBezTo>
                    <a:pt x="2547" y="137"/>
                    <a:pt x="2551" y="138"/>
                    <a:pt x="2553" y="137"/>
                  </a:cubicBezTo>
                  <a:cubicBezTo>
                    <a:pt x="2561" y="132"/>
                    <a:pt x="2569" y="128"/>
                    <a:pt x="2577" y="127"/>
                  </a:cubicBezTo>
                  <a:cubicBezTo>
                    <a:pt x="2578" y="127"/>
                    <a:pt x="2577" y="132"/>
                    <a:pt x="2578" y="132"/>
                  </a:cubicBezTo>
                  <a:cubicBezTo>
                    <a:pt x="2580" y="134"/>
                    <a:pt x="2586" y="128"/>
                    <a:pt x="2586" y="127"/>
                  </a:cubicBezTo>
                  <a:cubicBezTo>
                    <a:pt x="2587" y="128"/>
                    <a:pt x="2589" y="128"/>
                    <a:pt x="2591" y="129"/>
                  </a:cubicBezTo>
                  <a:cubicBezTo>
                    <a:pt x="2594" y="131"/>
                    <a:pt x="2595" y="131"/>
                    <a:pt x="2599" y="131"/>
                  </a:cubicBezTo>
                  <a:cubicBezTo>
                    <a:pt x="2601" y="132"/>
                    <a:pt x="2603" y="134"/>
                    <a:pt x="2602" y="134"/>
                  </a:cubicBezTo>
                  <a:cubicBezTo>
                    <a:pt x="2606" y="134"/>
                    <a:pt x="2608" y="130"/>
                    <a:pt x="2616" y="131"/>
                  </a:cubicBezTo>
                  <a:cubicBezTo>
                    <a:pt x="2617" y="131"/>
                    <a:pt x="2619" y="133"/>
                    <a:pt x="2619" y="133"/>
                  </a:cubicBezTo>
                  <a:cubicBezTo>
                    <a:pt x="2621" y="134"/>
                    <a:pt x="2623" y="131"/>
                    <a:pt x="2627" y="131"/>
                  </a:cubicBezTo>
                  <a:cubicBezTo>
                    <a:pt x="2626" y="131"/>
                    <a:pt x="2631" y="135"/>
                    <a:pt x="2632" y="133"/>
                  </a:cubicBezTo>
                  <a:cubicBezTo>
                    <a:pt x="2635" y="130"/>
                    <a:pt x="2634" y="133"/>
                    <a:pt x="2638" y="133"/>
                  </a:cubicBezTo>
                  <a:cubicBezTo>
                    <a:pt x="2642" y="133"/>
                    <a:pt x="2643" y="131"/>
                    <a:pt x="2646" y="131"/>
                  </a:cubicBezTo>
                  <a:cubicBezTo>
                    <a:pt x="2657" y="131"/>
                    <a:pt x="2670" y="132"/>
                    <a:pt x="2682" y="135"/>
                  </a:cubicBezTo>
                  <a:close/>
                  <a:moveTo>
                    <a:pt x="2665" y="116"/>
                  </a:moveTo>
                  <a:cubicBezTo>
                    <a:pt x="2665" y="119"/>
                    <a:pt x="2662" y="118"/>
                    <a:pt x="2660" y="119"/>
                  </a:cubicBezTo>
                  <a:cubicBezTo>
                    <a:pt x="2657" y="120"/>
                    <a:pt x="2657" y="124"/>
                    <a:pt x="2651" y="124"/>
                  </a:cubicBezTo>
                  <a:cubicBezTo>
                    <a:pt x="2653" y="122"/>
                    <a:pt x="2654" y="120"/>
                    <a:pt x="2654" y="116"/>
                  </a:cubicBezTo>
                  <a:cubicBezTo>
                    <a:pt x="2650" y="116"/>
                    <a:pt x="2645" y="126"/>
                    <a:pt x="2646" y="117"/>
                  </a:cubicBezTo>
                  <a:cubicBezTo>
                    <a:pt x="2650" y="117"/>
                    <a:pt x="2651" y="115"/>
                    <a:pt x="2651" y="112"/>
                  </a:cubicBezTo>
                  <a:cubicBezTo>
                    <a:pt x="2660" y="110"/>
                    <a:pt x="2657" y="118"/>
                    <a:pt x="2665" y="116"/>
                  </a:cubicBezTo>
                  <a:close/>
                  <a:moveTo>
                    <a:pt x="2673" y="107"/>
                  </a:moveTo>
                  <a:cubicBezTo>
                    <a:pt x="2664" y="110"/>
                    <a:pt x="2671" y="99"/>
                    <a:pt x="2662" y="102"/>
                  </a:cubicBezTo>
                  <a:cubicBezTo>
                    <a:pt x="2664" y="92"/>
                    <a:pt x="2681" y="102"/>
                    <a:pt x="2673" y="107"/>
                  </a:cubicBezTo>
                  <a:close/>
                  <a:moveTo>
                    <a:pt x="2724" y="24"/>
                  </a:moveTo>
                  <a:cubicBezTo>
                    <a:pt x="2718" y="17"/>
                    <a:pt x="2716" y="33"/>
                    <a:pt x="2715" y="19"/>
                  </a:cubicBezTo>
                  <a:cubicBezTo>
                    <a:pt x="2721" y="18"/>
                    <a:pt x="2724" y="19"/>
                    <a:pt x="2724" y="24"/>
                  </a:cubicBezTo>
                  <a:close/>
                  <a:moveTo>
                    <a:pt x="2694" y="71"/>
                  </a:moveTo>
                  <a:cubicBezTo>
                    <a:pt x="2697" y="71"/>
                    <a:pt x="2697" y="74"/>
                    <a:pt x="2697" y="76"/>
                  </a:cubicBezTo>
                  <a:cubicBezTo>
                    <a:pt x="2700" y="76"/>
                    <a:pt x="2702" y="75"/>
                    <a:pt x="2703" y="73"/>
                  </a:cubicBezTo>
                  <a:cubicBezTo>
                    <a:pt x="2706" y="75"/>
                    <a:pt x="2708" y="78"/>
                    <a:pt x="2708" y="83"/>
                  </a:cubicBezTo>
                  <a:cubicBezTo>
                    <a:pt x="2703" y="77"/>
                    <a:pt x="2689" y="81"/>
                    <a:pt x="2694" y="71"/>
                  </a:cubicBezTo>
                  <a:close/>
                  <a:moveTo>
                    <a:pt x="2700" y="106"/>
                  </a:moveTo>
                  <a:cubicBezTo>
                    <a:pt x="2698" y="104"/>
                    <a:pt x="2690" y="106"/>
                    <a:pt x="2692" y="99"/>
                  </a:cubicBezTo>
                  <a:cubicBezTo>
                    <a:pt x="2698" y="99"/>
                    <a:pt x="2701" y="101"/>
                    <a:pt x="2700" y="106"/>
                  </a:cubicBezTo>
                  <a:close/>
                  <a:moveTo>
                    <a:pt x="2698" y="97"/>
                  </a:moveTo>
                  <a:cubicBezTo>
                    <a:pt x="2698" y="95"/>
                    <a:pt x="2701" y="95"/>
                    <a:pt x="2703" y="94"/>
                  </a:cubicBezTo>
                  <a:cubicBezTo>
                    <a:pt x="2705" y="94"/>
                    <a:pt x="2707" y="94"/>
                    <a:pt x="2708" y="94"/>
                  </a:cubicBezTo>
                  <a:cubicBezTo>
                    <a:pt x="2708" y="98"/>
                    <a:pt x="2702" y="96"/>
                    <a:pt x="2698" y="97"/>
                  </a:cubicBezTo>
                  <a:close/>
                  <a:moveTo>
                    <a:pt x="2722" y="99"/>
                  </a:moveTo>
                  <a:cubicBezTo>
                    <a:pt x="2722" y="101"/>
                    <a:pt x="2725" y="101"/>
                    <a:pt x="2725" y="101"/>
                  </a:cubicBezTo>
                  <a:cubicBezTo>
                    <a:pt x="2725" y="105"/>
                    <a:pt x="2721" y="107"/>
                    <a:pt x="2725" y="108"/>
                  </a:cubicBezTo>
                  <a:cubicBezTo>
                    <a:pt x="2726" y="109"/>
                    <a:pt x="2720" y="111"/>
                    <a:pt x="2720" y="111"/>
                  </a:cubicBezTo>
                  <a:cubicBezTo>
                    <a:pt x="2717" y="108"/>
                    <a:pt x="2722" y="104"/>
                    <a:pt x="2717" y="104"/>
                  </a:cubicBezTo>
                  <a:cubicBezTo>
                    <a:pt x="2713" y="103"/>
                    <a:pt x="2717" y="101"/>
                    <a:pt x="2717" y="99"/>
                  </a:cubicBezTo>
                  <a:cubicBezTo>
                    <a:pt x="2717" y="97"/>
                    <a:pt x="2716" y="97"/>
                    <a:pt x="2714" y="97"/>
                  </a:cubicBezTo>
                  <a:cubicBezTo>
                    <a:pt x="2707" y="92"/>
                    <a:pt x="2720" y="98"/>
                    <a:pt x="2725" y="96"/>
                  </a:cubicBezTo>
                  <a:cubicBezTo>
                    <a:pt x="2727" y="99"/>
                    <a:pt x="2722" y="98"/>
                    <a:pt x="2722" y="99"/>
                  </a:cubicBezTo>
                  <a:close/>
                  <a:moveTo>
                    <a:pt x="2733" y="99"/>
                  </a:moveTo>
                  <a:cubicBezTo>
                    <a:pt x="2732" y="91"/>
                    <a:pt x="2741" y="92"/>
                    <a:pt x="2741" y="87"/>
                  </a:cubicBezTo>
                  <a:cubicBezTo>
                    <a:pt x="2744" y="79"/>
                    <a:pt x="2745" y="104"/>
                    <a:pt x="2733" y="99"/>
                  </a:cubicBezTo>
                  <a:close/>
                  <a:moveTo>
                    <a:pt x="2736" y="106"/>
                  </a:moveTo>
                  <a:cubicBezTo>
                    <a:pt x="2736" y="102"/>
                    <a:pt x="2748" y="108"/>
                    <a:pt x="2747" y="112"/>
                  </a:cubicBezTo>
                  <a:cubicBezTo>
                    <a:pt x="2738" y="115"/>
                    <a:pt x="2741" y="106"/>
                    <a:pt x="2736" y="106"/>
                  </a:cubicBezTo>
                  <a:close/>
                  <a:moveTo>
                    <a:pt x="2766" y="79"/>
                  </a:moveTo>
                  <a:cubicBezTo>
                    <a:pt x="2767" y="75"/>
                    <a:pt x="2769" y="81"/>
                    <a:pt x="2769" y="84"/>
                  </a:cubicBezTo>
                  <a:cubicBezTo>
                    <a:pt x="2768" y="88"/>
                    <a:pt x="2765" y="82"/>
                    <a:pt x="2766" y="79"/>
                  </a:cubicBezTo>
                  <a:close/>
                  <a:moveTo>
                    <a:pt x="2762" y="23"/>
                  </a:moveTo>
                  <a:cubicBezTo>
                    <a:pt x="2767" y="22"/>
                    <a:pt x="2766" y="33"/>
                    <a:pt x="2759" y="30"/>
                  </a:cubicBezTo>
                  <a:cubicBezTo>
                    <a:pt x="2759" y="28"/>
                    <a:pt x="2759" y="27"/>
                    <a:pt x="2759" y="25"/>
                  </a:cubicBezTo>
                  <a:cubicBezTo>
                    <a:pt x="2762" y="26"/>
                    <a:pt x="2762" y="24"/>
                    <a:pt x="2762" y="23"/>
                  </a:cubicBezTo>
                  <a:close/>
                  <a:moveTo>
                    <a:pt x="2757" y="35"/>
                  </a:moveTo>
                  <a:cubicBezTo>
                    <a:pt x="2761" y="35"/>
                    <a:pt x="2758" y="42"/>
                    <a:pt x="2762" y="42"/>
                  </a:cubicBezTo>
                  <a:cubicBezTo>
                    <a:pt x="2759" y="49"/>
                    <a:pt x="2751" y="37"/>
                    <a:pt x="2757" y="35"/>
                  </a:cubicBezTo>
                  <a:close/>
                  <a:moveTo>
                    <a:pt x="2761" y="100"/>
                  </a:moveTo>
                  <a:cubicBezTo>
                    <a:pt x="2757" y="99"/>
                    <a:pt x="2756" y="96"/>
                    <a:pt x="2755" y="91"/>
                  </a:cubicBezTo>
                  <a:cubicBezTo>
                    <a:pt x="2763" y="89"/>
                    <a:pt x="2760" y="96"/>
                    <a:pt x="2761" y="100"/>
                  </a:cubicBezTo>
                  <a:close/>
                  <a:moveTo>
                    <a:pt x="2769" y="112"/>
                  </a:moveTo>
                  <a:cubicBezTo>
                    <a:pt x="2767" y="112"/>
                    <a:pt x="2765" y="112"/>
                    <a:pt x="2764" y="112"/>
                  </a:cubicBezTo>
                  <a:cubicBezTo>
                    <a:pt x="2764" y="110"/>
                    <a:pt x="2763" y="110"/>
                    <a:pt x="2761" y="110"/>
                  </a:cubicBezTo>
                  <a:cubicBezTo>
                    <a:pt x="2760" y="105"/>
                    <a:pt x="2773" y="106"/>
                    <a:pt x="2769" y="112"/>
                  </a:cubicBezTo>
                  <a:close/>
                  <a:moveTo>
                    <a:pt x="2780" y="86"/>
                  </a:moveTo>
                  <a:cubicBezTo>
                    <a:pt x="2775" y="84"/>
                    <a:pt x="2779" y="82"/>
                    <a:pt x="2780" y="79"/>
                  </a:cubicBezTo>
                  <a:cubicBezTo>
                    <a:pt x="2785" y="81"/>
                    <a:pt x="2780" y="83"/>
                    <a:pt x="2780" y="86"/>
                  </a:cubicBezTo>
                  <a:close/>
                  <a:moveTo>
                    <a:pt x="2787" y="11"/>
                  </a:moveTo>
                  <a:cubicBezTo>
                    <a:pt x="2783" y="10"/>
                    <a:pt x="2784" y="5"/>
                    <a:pt x="2784" y="1"/>
                  </a:cubicBezTo>
                  <a:cubicBezTo>
                    <a:pt x="2795" y="0"/>
                    <a:pt x="2785" y="6"/>
                    <a:pt x="2787" y="11"/>
                  </a:cubicBezTo>
                  <a:close/>
                  <a:moveTo>
                    <a:pt x="2795" y="43"/>
                  </a:moveTo>
                  <a:cubicBezTo>
                    <a:pt x="2792" y="43"/>
                    <a:pt x="2793" y="39"/>
                    <a:pt x="2793" y="36"/>
                  </a:cubicBezTo>
                  <a:cubicBezTo>
                    <a:pt x="2797" y="35"/>
                    <a:pt x="2798" y="38"/>
                    <a:pt x="2798" y="41"/>
                  </a:cubicBezTo>
                  <a:cubicBezTo>
                    <a:pt x="2796" y="41"/>
                    <a:pt x="2795" y="42"/>
                    <a:pt x="2795" y="43"/>
                  </a:cubicBezTo>
                  <a:close/>
                  <a:moveTo>
                    <a:pt x="2791" y="123"/>
                  </a:moveTo>
                  <a:cubicBezTo>
                    <a:pt x="2792" y="121"/>
                    <a:pt x="2794" y="121"/>
                    <a:pt x="2794" y="119"/>
                  </a:cubicBezTo>
                  <a:cubicBezTo>
                    <a:pt x="2796" y="119"/>
                    <a:pt x="2798" y="119"/>
                    <a:pt x="2799" y="119"/>
                  </a:cubicBezTo>
                  <a:cubicBezTo>
                    <a:pt x="2801" y="124"/>
                    <a:pt x="2796" y="123"/>
                    <a:pt x="2791" y="123"/>
                  </a:cubicBezTo>
                  <a:close/>
                  <a:moveTo>
                    <a:pt x="2808" y="126"/>
                  </a:moveTo>
                  <a:cubicBezTo>
                    <a:pt x="2802" y="125"/>
                    <a:pt x="2802" y="120"/>
                    <a:pt x="2802" y="114"/>
                  </a:cubicBezTo>
                  <a:cubicBezTo>
                    <a:pt x="2805" y="118"/>
                    <a:pt x="2813" y="121"/>
                    <a:pt x="2808" y="126"/>
                  </a:cubicBezTo>
                  <a:close/>
                  <a:moveTo>
                    <a:pt x="2819" y="114"/>
                  </a:moveTo>
                  <a:cubicBezTo>
                    <a:pt x="2815" y="114"/>
                    <a:pt x="2817" y="116"/>
                    <a:pt x="2819" y="116"/>
                  </a:cubicBezTo>
                  <a:cubicBezTo>
                    <a:pt x="2812" y="124"/>
                    <a:pt x="2808" y="109"/>
                    <a:pt x="2810" y="102"/>
                  </a:cubicBezTo>
                  <a:cubicBezTo>
                    <a:pt x="2814" y="103"/>
                    <a:pt x="2816" y="105"/>
                    <a:pt x="2816" y="109"/>
                  </a:cubicBezTo>
                  <a:cubicBezTo>
                    <a:pt x="2823" y="106"/>
                    <a:pt x="2821" y="98"/>
                    <a:pt x="2827" y="109"/>
                  </a:cubicBezTo>
                  <a:cubicBezTo>
                    <a:pt x="2827" y="110"/>
                    <a:pt x="2829" y="108"/>
                    <a:pt x="2830" y="111"/>
                  </a:cubicBezTo>
                  <a:cubicBezTo>
                    <a:pt x="2830" y="113"/>
                    <a:pt x="2829" y="116"/>
                    <a:pt x="2830" y="118"/>
                  </a:cubicBezTo>
                  <a:cubicBezTo>
                    <a:pt x="2822" y="120"/>
                    <a:pt x="2824" y="113"/>
                    <a:pt x="2819" y="114"/>
                  </a:cubicBezTo>
                  <a:close/>
                  <a:moveTo>
                    <a:pt x="2846" y="111"/>
                  </a:moveTo>
                  <a:cubicBezTo>
                    <a:pt x="2845" y="114"/>
                    <a:pt x="2843" y="116"/>
                    <a:pt x="2838" y="116"/>
                  </a:cubicBezTo>
                  <a:cubicBezTo>
                    <a:pt x="2839" y="113"/>
                    <a:pt x="2841" y="111"/>
                    <a:pt x="2846" y="111"/>
                  </a:cubicBezTo>
                  <a:close/>
                  <a:moveTo>
                    <a:pt x="2851" y="64"/>
                  </a:moveTo>
                  <a:cubicBezTo>
                    <a:pt x="2860" y="64"/>
                    <a:pt x="2850" y="70"/>
                    <a:pt x="2856" y="71"/>
                  </a:cubicBezTo>
                  <a:cubicBezTo>
                    <a:pt x="2853" y="78"/>
                    <a:pt x="2848" y="68"/>
                    <a:pt x="2851" y="64"/>
                  </a:cubicBezTo>
                  <a:close/>
                  <a:moveTo>
                    <a:pt x="2862" y="87"/>
                  </a:moveTo>
                  <a:cubicBezTo>
                    <a:pt x="2860" y="80"/>
                    <a:pt x="2866" y="81"/>
                    <a:pt x="2865" y="75"/>
                  </a:cubicBezTo>
                  <a:cubicBezTo>
                    <a:pt x="2868" y="75"/>
                    <a:pt x="2866" y="78"/>
                    <a:pt x="2867" y="80"/>
                  </a:cubicBezTo>
                  <a:cubicBezTo>
                    <a:pt x="2867" y="80"/>
                    <a:pt x="2873" y="84"/>
                    <a:pt x="2873" y="82"/>
                  </a:cubicBezTo>
                  <a:cubicBezTo>
                    <a:pt x="2872" y="86"/>
                    <a:pt x="2868" y="85"/>
                    <a:pt x="2862" y="87"/>
                  </a:cubicBezTo>
                  <a:close/>
                  <a:moveTo>
                    <a:pt x="2867" y="54"/>
                  </a:moveTo>
                  <a:cubicBezTo>
                    <a:pt x="2868" y="53"/>
                    <a:pt x="2871" y="54"/>
                    <a:pt x="2870" y="52"/>
                  </a:cubicBezTo>
                  <a:cubicBezTo>
                    <a:pt x="2883" y="60"/>
                    <a:pt x="2857" y="64"/>
                    <a:pt x="2867" y="54"/>
                  </a:cubicBezTo>
                  <a:close/>
                  <a:moveTo>
                    <a:pt x="2875" y="40"/>
                  </a:moveTo>
                  <a:cubicBezTo>
                    <a:pt x="2876" y="34"/>
                    <a:pt x="2879" y="29"/>
                    <a:pt x="2869" y="28"/>
                  </a:cubicBezTo>
                  <a:cubicBezTo>
                    <a:pt x="2875" y="17"/>
                    <a:pt x="2888" y="40"/>
                    <a:pt x="2875" y="40"/>
                  </a:cubicBezTo>
                  <a:close/>
                  <a:moveTo>
                    <a:pt x="2881" y="91"/>
                  </a:moveTo>
                  <a:cubicBezTo>
                    <a:pt x="2881" y="90"/>
                    <a:pt x="2881" y="88"/>
                    <a:pt x="2881" y="87"/>
                  </a:cubicBezTo>
                  <a:cubicBezTo>
                    <a:pt x="2883" y="87"/>
                    <a:pt x="2885" y="87"/>
                    <a:pt x="2887" y="87"/>
                  </a:cubicBezTo>
                  <a:cubicBezTo>
                    <a:pt x="2887" y="88"/>
                    <a:pt x="2887" y="90"/>
                    <a:pt x="2887" y="91"/>
                  </a:cubicBezTo>
                  <a:cubicBezTo>
                    <a:pt x="2885" y="91"/>
                    <a:pt x="2883" y="91"/>
                    <a:pt x="288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2" name="Freeform 20"/>
            <p:cNvSpPr>
              <a:spLocks/>
            </p:cNvSpPr>
            <p:nvPr userDrawn="1"/>
          </p:nvSpPr>
          <p:spPr bwMode="auto">
            <a:xfrm>
              <a:off x="5827" y="2112"/>
              <a:ext cx="11" cy="12"/>
            </a:xfrm>
            <a:custGeom>
              <a:avLst/>
              <a:gdLst>
                <a:gd name="T0" fmla="*/ 0 w 5"/>
                <a:gd name="T1" fmla="*/ 5 h 5"/>
                <a:gd name="T2" fmla="*/ 5 w 5"/>
                <a:gd name="T3" fmla="*/ 5 h 5"/>
                <a:gd name="T4" fmla="*/ 5 w 5"/>
                <a:gd name="T5" fmla="*/ 0 h 5"/>
                <a:gd name="T6" fmla="*/ 0 w 5"/>
                <a:gd name="T7" fmla="*/ 0 h 5"/>
                <a:gd name="T8" fmla="*/ 0 w 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cubicBezTo>
                    <a:pt x="1" y="5"/>
                    <a:pt x="3" y="5"/>
                    <a:pt x="5" y="5"/>
                  </a:cubicBezTo>
                  <a:cubicBezTo>
                    <a:pt x="5" y="3"/>
                    <a:pt x="5" y="2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2"/>
                    <a:pt x="0" y="3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3" name="Freeform 21"/>
            <p:cNvSpPr>
              <a:spLocks/>
            </p:cNvSpPr>
            <p:nvPr userDrawn="1"/>
          </p:nvSpPr>
          <p:spPr bwMode="auto">
            <a:xfrm>
              <a:off x="5373" y="2207"/>
              <a:ext cx="33" cy="47"/>
            </a:xfrm>
            <a:custGeom>
              <a:avLst/>
              <a:gdLst>
                <a:gd name="T0" fmla="*/ 11 w 14"/>
                <a:gd name="T1" fmla="*/ 1 h 20"/>
                <a:gd name="T2" fmla="*/ 12 w 14"/>
                <a:gd name="T3" fmla="*/ 20 h 20"/>
                <a:gd name="T4" fmla="*/ 11 w 14"/>
                <a:gd name="T5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0">
                  <a:moveTo>
                    <a:pt x="11" y="1"/>
                  </a:moveTo>
                  <a:cubicBezTo>
                    <a:pt x="0" y="0"/>
                    <a:pt x="6" y="19"/>
                    <a:pt x="12" y="20"/>
                  </a:cubicBezTo>
                  <a:cubicBezTo>
                    <a:pt x="14" y="10"/>
                    <a:pt x="5" y="6"/>
                    <a:pt x="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4" name="Freeform 22"/>
            <p:cNvSpPr>
              <a:spLocks/>
            </p:cNvSpPr>
            <p:nvPr userDrawn="1"/>
          </p:nvSpPr>
          <p:spPr bwMode="auto">
            <a:xfrm>
              <a:off x="6280" y="2349"/>
              <a:ext cx="12" cy="12"/>
            </a:xfrm>
            <a:custGeom>
              <a:avLst/>
              <a:gdLst>
                <a:gd name="T0" fmla="*/ 1 w 5"/>
                <a:gd name="T1" fmla="*/ 5 h 5"/>
                <a:gd name="T2" fmla="*/ 5 w 5"/>
                <a:gd name="T3" fmla="*/ 4 h 5"/>
                <a:gd name="T4" fmla="*/ 5 w 5"/>
                <a:gd name="T5" fmla="*/ 0 h 5"/>
                <a:gd name="T6" fmla="*/ 1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1" y="5"/>
                  </a:moveTo>
                  <a:cubicBezTo>
                    <a:pt x="3" y="4"/>
                    <a:pt x="4" y="4"/>
                    <a:pt x="5" y="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5" name="Freeform 23"/>
            <p:cNvSpPr>
              <a:spLocks/>
            </p:cNvSpPr>
            <p:nvPr userDrawn="1"/>
          </p:nvSpPr>
          <p:spPr bwMode="auto">
            <a:xfrm>
              <a:off x="4920" y="2209"/>
              <a:ext cx="21" cy="14"/>
            </a:xfrm>
            <a:custGeom>
              <a:avLst/>
              <a:gdLst>
                <a:gd name="T0" fmla="*/ 0 w 9"/>
                <a:gd name="T1" fmla="*/ 1 h 6"/>
                <a:gd name="T2" fmla="*/ 0 w 9"/>
                <a:gd name="T3" fmla="*/ 6 h 6"/>
                <a:gd name="T4" fmla="*/ 8 w 9"/>
                <a:gd name="T5" fmla="*/ 6 h 6"/>
                <a:gd name="T6" fmla="*/ 0 w 9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6">
                  <a:moveTo>
                    <a:pt x="0" y="1"/>
                  </a:moveTo>
                  <a:cubicBezTo>
                    <a:pt x="0" y="3"/>
                    <a:pt x="0" y="4"/>
                    <a:pt x="0" y="6"/>
                  </a:cubicBezTo>
                  <a:cubicBezTo>
                    <a:pt x="3" y="6"/>
                    <a:pt x="6" y="6"/>
                    <a:pt x="8" y="6"/>
                  </a:cubicBezTo>
                  <a:cubicBezTo>
                    <a:pt x="9" y="1"/>
                    <a:pt x="6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6" name="Freeform 24"/>
            <p:cNvSpPr>
              <a:spLocks/>
            </p:cNvSpPr>
            <p:nvPr userDrawn="1"/>
          </p:nvSpPr>
          <p:spPr bwMode="auto">
            <a:xfrm>
              <a:off x="5647" y="2205"/>
              <a:ext cx="31" cy="16"/>
            </a:xfrm>
            <a:custGeom>
              <a:avLst/>
              <a:gdLst>
                <a:gd name="T0" fmla="*/ 13 w 13"/>
                <a:gd name="T1" fmla="*/ 2 h 7"/>
                <a:gd name="T2" fmla="*/ 8 w 13"/>
                <a:gd name="T3" fmla="*/ 0 h 7"/>
                <a:gd name="T4" fmla="*/ 13 w 13"/>
                <a:gd name="T5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7">
                  <a:moveTo>
                    <a:pt x="13" y="2"/>
                  </a:moveTo>
                  <a:cubicBezTo>
                    <a:pt x="10" y="2"/>
                    <a:pt x="10" y="0"/>
                    <a:pt x="8" y="0"/>
                  </a:cubicBezTo>
                  <a:cubicBezTo>
                    <a:pt x="0" y="5"/>
                    <a:pt x="13" y="7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7" name="Freeform 25"/>
            <p:cNvSpPr>
              <a:spLocks/>
            </p:cNvSpPr>
            <p:nvPr userDrawn="1"/>
          </p:nvSpPr>
          <p:spPr bwMode="auto">
            <a:xfrm>
              <a:off x="5928" y="2372"/>
              <a:ext cx="31" cy="36"/>
            </a:xfrm>
            <a:custGeom>
              <a:avLst/>
              <a:gdLst>
                <a:gd name="T0" fmla="*/ 0 w 13"/>
                <a:gd name="T1" fmla="*/ 7 h 15"/>
                <a:gd name="T2" fmla="*/ 8 w 13"/>
                <a:gd name="T3" fmla="*/ 4 h 15"/>
                <a:gd name="T4" fmla="*/ 13 w 13"/>
                <a:gd name="T5" fmla="*/ 9 h 15"/>
                <a:gd name="T6" fmla="*/ 11 w 13"/>
                <a:gd name="T7" fmla="*/ 7 h 15"/>
                <a:gd name="T8" fmla="*/ 13 w 13"/>
                <a:gd name="T9" fmla="*/ 0 h 15"/>
                <a:gd name="T10" fmla="*/ 0 w 13"/>
                <a:gd name="T1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cubicBezTo>
                    <a:pt x="3" y="7"/>
                    <a:pt x="6" y="6"/>
                    <a:pt x="8" y="4"/>
                  </a:cubicBezTo>
                  <a:cubicBezTo>
                    <a:pt x="5" y="9"/>
                    <a:pt x="12" y="15"/>
                    <a:pt x="13" y="9"/>
                  </a:cubicBezTo>
                  <a:cubicBezTo>
                    <a:pt x="12" y="9"/>
                    <a:pt x="10" y="8"/>
                    <a:pt x="11" y="7"/>
                  </a:cubicBezTo>
                  <a:cubicBezTo>
                    <a:pt x="11" y="6"/>
                    <a:pt x="12" y="0"/>
                    <a:pt x="13" y="0"/>
                  </a:cubicBezTo>
                  <a:cubicBezTo>
                    <a:pt x="10" y="3"/>
                    <a:pt x="0" y="1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8" name="Freeform 26"/>
            <p:cNvSpPr>
              <a:spLocks/>
            </p:cNvSpPr>
            <p:nvPr userDrawn="1"/>
          </p:nvSpPr>
          <p:spPr bwMode="auto">
            <a:xfrm>
              <a:off x="5361" y="2202"/>
              <a:ext cx="19" cy="14"/>
            </a:xfrm>
            <a:custGeom>
              <a:avLst/>
              <a:gdLst>
                <a:gd name="T0" fmla="*/ 0 w 8"/>
                <a:gd name="T1" fmla="*/ 1 h 6"/>
                <a:gd name="T2" fmla="*/ 0 w 8"/>
                <a:gd name="T3" fmla="*/ 6 h 6"/>
                <a:gd name="T4" fmla="*/ 8 w 8"/>
                <a:gd name="T5" fmla="*/ 5 h 6"/>
                <a:gd name="T6" fmla="*/ 0 w 8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6">
                  <a:moveTo>
                    <a:pt x="0" y="1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2" y="5"/>
                    <a:pt x="5" y="5"/>
                    <a:pt x="8" y="5"/>
                  </a:cubicBezTo>
                  <a:cubicBezTo>
                    <a:pt x="8" y="1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9" name="Freeform 27"/>
            <p:cNvSpPr>
              <a:spLocks/>
            </p:cNvSpPr>
            <p:nvPr userDrawn="1"/>
          </p:nvSpPr>
          <p:spPr bwMode="auto">
            <a:xfrm>
              <a:off x="5990" y="2375"/>
              <a:ext cx="21" cy="33"/>
            </a:xfrm>
            <a:custGeom>
              <a:avLst/>
              <a:gdLst>
                <a:gd name="T0" fmla="*/ 4 w 9"/>
                <a:gd name="T1" fmla="*/ 1 h 14"/>
                <a:gd name="T2" fmla="*/ 1 w 9"/>
                <a:gd name="T3" fmla="*/ 10 h 14"/>
                <a:gd name="T4" fmla="*/ 4 w 9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4" y="1"/>
                  </a:moveTo>
                  <a:cubicBezTo>
                    <a:pt x="3" y="4"/>
                    <a:pt x="0" y="5"/>
                    <a:pt x="1" y="10"/>
                  </a:cubicBezTo>
                  <a:cubicBezTo>
                    <a:pt x="9" y="14"/>
                    <a:pt x="9" y="0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</p:grp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46618" y="1930400"/>
            <a:ext cx="11169649" cy="38703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buClr>
                <a:srgbClr val="49853E"/>
              </a:buClr>
              <a:buNone/>
              <a:defRPr sz="2000"/>
            </a:lvl1pPr>
            <a:lvl2pPr marL="179388" indent="-179388">
              <a:lnSpc>
                <a:spcPct val="95000"/>
              </a:lnSpc>
              <a:spcBef>
                <a:spcPts val="1000"/>
              </a:spcBef>
              <a:buClr>
                <a:srgbClr val="49853E"/>
              </a:buClr>
              <a:buFont typeface="Arial" panose="020B0604020202020204" pitchFamily="34" charset="0"/>
              <a:buChar char="•"/>
              <a:defRPr sz="2000"/>
            </a:lvl2pPr>
            <a:lvl3pPr marL="358775" indent="-179388">
              <a:lnSpc>
                <a:spcPct val="95000"/>
              </a:lnSpc>
              <a:spcBef>
                <a:spcPts val="400"/>
              </a:spcBef>
              <a:buClr>
                <a:srgbClr val="49853E"/>
              </a:buClr>
              <a:buFont typeface="Arial" panose="020B0604020202020204" pitchFamily="34" charset="0"/>
              <a:buChar char="–"/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46618" y="1440000"/>
            <a:ext cx="11169649" cy="381000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2400" b="0">
                <a:solidFill>
                  <a:srgbClr val="49853E"/>
                </a:solidFill>
                <a:latin typeface="Fungo" pitchFamily="50" charset="0"/>
              </a:defRPr>
            </a:lvl1pPr>
          </a:lstStyle>
          <a:p>
            <a:pPr lvl="0"/>
            <a:r>
              <a:rPr lang="en-US"/>
              <a:t>Sub heading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044116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"/>
          <p:cNvGrpSpPr>
            <a:grpSpLocks noChangeAspect="1"/>
          </p:cNvGrpSpPr>
          <p:nvPr userDrawn="1"/>
        </p:nvGrpSpPr>
        <p:grpSpPr bwMode="auto">
          <a:xfrm>
            <a:off x="-12000" y="0"/>
            <a:ext cx="12216000" cy="1178432"/>
            <a:chOff x="-530" y="1723"/>
            <a:chExt cx="6834" cy="879"/>
          </a:xfrm>
          <a:solidFill>
            <a:schemeClr val="accent2"/>
          </a:solidFill>
        </p:grpSpPr>
        <p:sp>
          <p:nvSpPr>
            <p:cNvPr id="56" name="Freeform 6"/>
            <p:cNvSpPr>
              <a:spLocks/>
            </p:cNvSpPr>
            <p:nvPr userDrawn="1"/>
          </p:nvSpPr>
          <p:spPr bwMode="auto">
            <a:xfrm>
              <a:off x="4076" y="2427"/>
              <a:ext cx="45" cy="49"/>
            </a:xfrm>
            <a:custGeom>
              <a:avLst/>
              <a:gdLst>
                <a:gd name="T0" fmla="*/ 8 w 19"/>
                <a:gd name="T1" fmla="*/ 14 h 21"/>
                <a:gd name="T2" fmla="*/ 11 w 19"/>
                <a:gd name="T3" fmla="*/ 21 h 21"/>
                <a:gd name="T4" fmla="*/ 16 w 19"/>
                <a:gd name="T5" fmla="*/ 2 h 21"/>
                <a:gd name="T6" fmla="*/ 8 w 19"/>
                <a:gd name="T7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8" y="14"/>
                  </a:moveTo>
                  <a:cubicBezTo>
                    <a:pt x="9" y="17"/>
                    <a:pt x="7" y="21"/>
                    <a:pt x="11" y="21"/>
                  </a:cubicBezTo>
                  <a:cubicBezTo>
                    <a:pt x="16" y="14"/>
                    <a:pt x="19" y="12"/>
                    <a:pt x="16" y="2"/>
                  </a:cubicBezTo>
                  <a:cubicBezTo>
                    <a:pt x="0" y="0"/>
                    <a:pt x="7" y="11"/>
                    <a:pt x="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6" name="Freeform 7"/>
            <p:cNvSpPr>
              <a:spLocks/>
            </p:cNvSpPr>
            <p:nvPr userDrawn="1"/>
          </p:nvSpPr>
          <p:spPr bwMode="auto">
            <a:xfrm>
              <a:off x="5264" y="2389"/>
              <a:ext cx="22" cy="12"/>
            </a:xfrm>
            <a:custGeom>
              <a:avLst/>
              <a:gdLst>
                <a:gd name="T0" fmla="*/ 1 w 9"/>
                <a:gd name="T1" fmla="*/ 5 h 5"/>
                <a:gd name="T2" fmla="*/ 9 w 9"/>
                <a:gd name="T3" fmla="*/ 0 h 5"/>
                <a:gd name="T4" fmla="*/ 1 w 9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5">
                  <a:moveTo>
                    <a:pt x="1" y="5"/>
                  </a:moveTo>
                  <a:cubicBezTo>
                    <a:pt x="6" y="5"/>
                    <a:pt x="8" y="3"/>
                    <a:pt x="9" y="0"/>
                  </a:cubicBezTo>
                  <a:cubicBezTo>
                    <a:pt x="5" y="0"/>
                    <a:pt x="0" y="0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7" name="Freeform 8"/>
            <p:cNvSpPr>
              <a:spLocks/>
            </p:cNvSpPr>
            <p:nvPr userDrawn="1"/>
          </p:nvSpPr>
          <p:spPr bwMode="auto">
            <a:xfrm>
              <a:off x="5659" y="2375"/>
              <a:ext cx="28" cy="35"/>
            </a:xfrm>
            <a:custGeom>
              <a:avLst/>
              <a:gdLst>
                <a:gd name="T0" fmla="*/ 7 w 12"/>
                <a:gd name="T1" fmla="*/ 5 h 15"/>
                <a:gd name="T2" fmla="*/ 4 w 12"/>
                <a:gd name="T3" fmla="*/ 8 h 15"/>
                <a:gd name="T4" fmla="*/ 1 w 12"/>
                <a:gd name="T5" fmla="*/ 6 h 15"/>
                <a:gd name="T6" fmla="*/ 4 w 12"/>
                <a:gd name="T7" fmla="*/ 15 h 15"/>
                <a:gd name="T8" fmla="*/ 7 w 12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7" y="5"/>
                  </a:moveTo>
                  <a:cubicBezTo>
                    <a:pt x="7" y="7"/>
                    <a:pt x="6" y="8"/>
                    <a:pt x="4" y="8"/>
                  </a:cubicBezTo>
                  <a:cubicBezTo>
                    <a:pt x="4" y="6"/>
                    <a:pt x="4" y="5"/>
                    <a:pt x="1" y="6"/>
                  </a:cubicBezTo>
                  <a:cubicBezTo>
                    <a:pt x="2" y="9"/>
                    <a:pt x="0" y="14"/>
                    <a:pt x="4" y="15"/>
                  </a:cubicBezTo>
                  <a:cubicBezTo>
                    <a:pt x="6" y="13"/>
                    <a:pt x="12" y="0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8" name="Freeform 9"/>
            <p:cNvSpPr>
              <a:spLocks/>
            </p:cNvSpPr>
            <p:nvPr userDrawn="1"/>
          </p:nvSpPr>
          <p:spPr bwMode="auto">
            <a:xfrm>
              <a:off x="6155" y="2018"/>
              <a:ext cx="68" cy="35"/>
            </a:xfrm>
            <a:custGeom>
              <a:avLst/>
              <a:gdLst>
                <a:gd name="T0" fmla="*/ 16 w 29"/>
                <a:gd name="T1" fmla="*/ 12 h 15"/>
                <a:gd name="T2" fmla="*/ 27 w 29"/>
                <a:gd name="T3" fmla="*/ 7 h 15"/>
                <a:gd name="T4" fmla="*/ 5 w 29"/>
                <a:gd name="T5" fmla="*/ 0 h 15"/>
                <a:gd name="T6" fmla="*/ 3 w 29"/>
                <a:gd name="T7" fmla="*/ 12 h 15"/>
                <a:gd name="T8" fmla="*/ 16 w 29"/>
                <a:gd name="T9" fmla="*/ 7 h 15"/>
                <a:gd name="T10" fmla="*/ 16 w 29"/>
                <a:gd name="T11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5">
                  <a:moveTo>
                    <a:pt x="16" y="12"/>
                  </a:moveTo>
                  <a:cubicBezTo>
                    <a:pt x="21" y="15"/>
                    <a:pt x="29" y="8"/>
                    <a:pt x="27" y="7"/>
                  </a:cubicBezTo>
                  <a:cubicBezTo>
                    <a:pt x="24" y="1"/>
                    <a:pt x="11" y="3"/>
                    <a:pt x="5" y="0"/>
                  </a:cubicBezTo>
                  <a:cubicBezTo>
                    <a:pt x="6" y="6"/>
                    <a:pt x="0" y="5"/>
                    <a:pt x="3" y="12"/>
                  </a:cubicBezTo>
                  <a:cubicBezTo>
                    <a:pt x="11" y="15"/>
                    <a:pt x="10" y="8"/>
                    <a:pt x="16" y="7"/>
                  </a:cubicBezTo>
                  <a:cubicBezTo>
                    <a:pt x="16" y="7"/>
                    <a:pt x="16" y="11"/>
                    <a:pt x="1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9" name="Freeform 10"/>
            <p:cNvSpPr>
              <a:spLocks/>
            </p:cNvSpPr>
            <p:nvPr userDrawn="1"/>
          </p:nvSpPr>
          <p:spPr bwMode="auto">
            <a:xfrm>
              <a:off x="5633" y="2365"/>
              <a:ext cx="24" cy="29"/>
            </a:xfrm>
            <a:custGeom>
              <a:avLst/>
              <a:gdLst>
                <a:gd name="T0" fmla="*/ 4 w 10"/>
                <a:gd name="T1" fmla="*/ 0 h 12"/>
                <a:gd name="T2" fmla="*/ 7 w 10"/>
                <a:gd name="T3" fmla="*/ 12 h 12"/>
                <a:gd name="T4" fmla="*/ 4 w 10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4" y="0"/>
                  </a:moveTo>
                  <a:cubicBezTo>
                    <a:pt x="0" y="3"/>
                    <a:pt x="3" y="9"/>
                    <a:pt x="7" y="12"/>
                  </a:cubicBezTo>
                  <a:cubicBezTo>
                    <a:pt x="10" y="9"/>
                    <a:pt x="8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0" name="Freeform 11"/>
            <p:cNvSpPr>
              <a:spLocks/>
            </p:cNvSpPr>
            <p:nvPr userDrawn="1"/>
          </p:nvSpPr>
          <p:spPr bwMode="auto">
            <a:xfrm>
              <a:off x="4187" y="2453"/>
              <a:ext cx="33" cy="21"/>
            </a:xfrm>
            <a:custGeom>
              <a:avLst/>
              <a:gdLst>
                <a:gd name="T0" fmla="*/ 7 w 14"/>
                <a:gd name="T1" fmla="*/ 0 h 9"/>
                <a:gd name="T2" fmla="*/ 2 w 14"/>
                <a:gd name="T3" fmla="*/ 7 h 9"/>
                <a:gd name="T4" fmla="*/ 7 w 14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9">
                  <a:moveTo>
                    <a:pt x="7" y="0"/>
                  </a:moveTo>
                  <a:cubicBezTo>
                    <a:pt x="7" y="3"/>
                    <a:pt x="0" y="2"/>
                    <a:pt x="2" y="7"/>
                  </a:cubicBezTo>
                  <a:cubicBezTo>
                    <a:pt x="8" y="9"/>
                    <a:pt x="14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1" name="Freeform 12"/>
            <p:cNvSpPr>
              <a:spLocks/>
            </p:cNvSpPr>
            <p:nvPr userDrawn="1"/>
          </p:nvSpPr>
          <p:spPr bwMode="auto">
            <a:xfrm>
              <a:off x="5678" y="2379"/>
              <a:ext cx="40" cy="31"/>
            </a:xfrm>
            <a:custGeom>
              <a:avLst/>
              <a:gdLst>
                <a:gd name="T0" fmla="*/ 7 w 17"/>
                <a:gd name="T1" fmla="*/ 6 h 13"/>
                <a:gd name="T2" fmla="*/ 4 w 17"/>
                <a:gd name="T3" fmla="*/ 6 h 13"/>
                <a:gd name="T4" fmla="*/ 7 w 17"/>
                <a:gd name="T5" fmla="*/ 8 h 13"/>
                <a:gd name="T6" fmla="*/ 15 w 17"/>
                <a:gd name="T7" fmla="*/ 1 h 13"/>
                <a:gd name="T8" fmla="*/ 7 w 17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3">
                  <a:moveTo>
                    <a:pt x="7" y="6"/>
                  </a:moveTo>
                  <a:cubicBezTo>
                    <a:pt x="7" y="4"/>
                    <a:pt x="5" y="3"/>
                    <a:pt x="4" y="6"/>
                  </a:cubicBezTo>
                  <a:cubicBezTo>
                    <a:pt x="6" y="6"/>
                    <a:pt x="8" y="6"/>
                    <a:pt x="7" y="8"/>
                  </a:cubicBezTo>
                  <a:cubicBezTo>
                    <a:pt x="0" y="13"/>
                    <a:pt x="17" y="6"/>
                    <a:pt x="15" y="1"/>
                  </a:cubicBezTo>
                  <a:cubicBezTo>
                    <a:pt x="10" y="0"/>
                    <a:pt x="10" y="4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2" name="Freeform 13"/>
            <p:cNvSpPr>
              <a:spLocks/>
            </p:cNvSpPr>
            <p:nvPr userDrawn="1"/>
          </p:nvSpPr>
          <p:spPr bwMode="auto">
            <a:xfrm>
              <a:off x="6219" y="2016"/>
              <a:ext cx="73" cy="35"/>
            </a:xfrm>
            <a:custGeom>
              <a:avLst/>
              <a:gdLst>
                <a:gd name="T0" fmla="*/ 20 w 31"/>
                <a:gd name="T1" fmla="*/ 10 h 15"/>
                <a:gd name="T2" fmla="*/ 19 w 31"/>
                <a:gd name="T3" fmla="*/ 0 h 15"/>
                <a:gd name="T4" fmla="*/ 11 w 31"/>
                <a:gd name="T5" fmla="*/ 5 h 15"/>
                <a:gd name="T6" fmla="*/ 0 w 31"/>
                <a:gd name="T7" fmla="*/ 1 h 15"/>
                <a:gd name="T8" fmla="*/ 9 w 31"/>
                <a:gd name="T9" fmla="*/ 15 h 15"/>
                <a:gd name="T10" fmla="*/ 11 w 31"/>
                <a:gd name="T11" fmla="*/ 7 h 15"/>
                <a:gd name="T12" fmla="*/ 11 w 31"/>
                <a:gd name="T13" fmla="*/ 12 h 15"/>
                <a:gd name="T14" fmla="*/ 31 w 31"/>
                <a:gd name="T15" fmla="*/ 11 h 15"/>
                <a:gd name="T16" fmla="*/ 31 w 31"/>
                <a:gd name="T17" fmla="*/ 2 h 15"/>
                <a:gd name="T18" fmla="*/ 20 w 31"/>
                <a:gd name="T1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15">
                  <a:moveTo>
                    <a:pt x="20" y="10"/>
                  </a:moveTo>
                  <a:cubicBezTo>
                    <a:pt x="15" y="5"/>
                    <a:pt x="20" y="7"/>
                    <a:pt x="19" y="0"/>
                  </a:cubicBezTo>
                  <a:cubicBezTo>
                    <a:pt x="14" y="0"/>
                    <a:pt x="14" y="4"/>
                    <a:pt x="11" y="5"/>
                  </a:cubicBezTo>
                  <a:cubicBezTo>
                    <a:pt x="9" y="2"/>
                    <a:pt x="5" y="1"/>
                    <a:pt x="0" y="1"/>
                  </a:cubicBezTo>
                  <a:cubicBezTo>
                    <a:pt x="2" y="6"/>
                    <a:pt x="2" y="13"/>
                    <a:pt x="9" y="15"/>
                  </a:cubicBezTo>
                  <a:cubicBezTo>
                    <a:pt x="9" y="12"/>
                    <a:pt x="8" y="8"/>
                    <a:pt x="11" y="7"/>
                  </a:cubicBezTo>
                  <a:cubicBezTo>
                    <a:pt x="11" y="9"/>
                    <a:pt x="11" y="11"/>
                    <a:pt x="11" y="12"/>
                  </a:cubicBezTo>
                  <a:cubicBezTo>
                    <a:pt x="19" y="12"/>
                    <a:pt x="26" y="12"/>
                    <a:pt x="31" y="1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6" y="3"/>
                    <a:pt x="28" y="11"/>
                    <a:pt x="2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3" name="Freeform 14"/>
            <p:cNvSpPr>
              <a:spLocks/>
            </p:cNvSpPr>
            <p:nvPr userDrawn="1"/>
          </p:nvSpPr>
          <p:spPr bwMode="auto">
            <a:xfrm>
              <a:off x="4256" y="2441"/>
              <a:ext cx="24" cy="21"/>
            </a:xfrm>
            <a:custGeom>
              <a:avLst/>
              <a:gdLst>
                <a:gd name="T0" fmla="*/ 0 w 10"/>
                <a:gd name="T1" fmla="*/ 7 h 9"/>
                <a:gd name="T2" fmla="*/ 9 w 10"/>
                <a:gd name="T3" fmla="*/ 9 h 9"/>
                <a:gd name="T4" fmla="*/ 0 w 10"/>
                <a:gd name="T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7"/>
                  </a:moveTo>
                  <a:cubicBezTo>
                    <a:pt x="4" y="6"/>
                    <a:pt x="6" y="8"/>
                    <a:pt x="9" y="9"/>
                  </a:cubicBezTo>
                  <a:cubicBezTo>
                    <a:pt x="10" y="2"/>
                    <a:pt x="1" y="0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4" name="Freeform 15"/>
            <p:cNvSpPr>
              <a:spLocks/>
            </p:cNvSpPr>
            <p:nvPr userDrawn="1"/>
          </p:nvSpPr>
          <p:spPr bwMode="auto">
            <a:xfrm>
              <a:off x="3859" y="2455"/>
              <a:ext cx="14" cy="31"/>
            </a:xfrm>
            <a:custGeom>
              <a:avLst/>
              <a:gdLst>
                <a:gd name="T0" fmla="*/ 1 w 6"/>
                <a:gd name="T1" fmla="*/ 8 h 13"/>
                <a:gd name="T2" fmla="*/ 4 w 6"/>
                <a:gd name="T3" fmla="*/ 13 h 13"/>
                <a:gd name="T4" fmla="*/ 1 w 6"/>
                <a:gd name="T5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3">
                  <a:moveTo>
                    <a:pt x="1" y="8"/>
                  </a:moveTo>
                  <a:cubicBezTo>
                    <a:pt x="0" y="10"/>
                    <a:pt x="2" y="13"/>
                    <a:pt x="4" y="13"/>
                  </a:cubicBezTo>
                  <a:cubicBezTo>
                    <a:pt x="6" y="13"/>
                    <a:pt x="5" y="0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5" name="Freeform 16"/>
            <p:cNvSpPr>
              <a:spLocks/>
            </p:cNvSpPr>
            <p:nvPr userDrawn="1"/>
          </p:nvSpPr>
          <p:spPr bwMode="auto">
            <a:xfrm>
              <a:off x="3982" y="2455"/>
              <a:ext cx="38" cy="31"/>
            </a:xfrm>
            <a:custGeom>
              <a:avLst/>
              <a:gdLst>
                <a:gd name="T0" fmla="*/ 10 w 16"/>
                <a:gd name="T1" fmla="*/ 12 h 13"/>
                <a:gd name="T2" fmla="*/ 15 w 16"/>
                <a:gd name="T3" fmla="*/ 2 h 13"/>
                <a:gd name="T4" fmla="*/ 10 w 16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10" y="12"/>
                  </a:moveTo>
                  <a:cubicBezTo>
                    <a:pt x="11" y="12"/>
                    <a:pt x="16" y="5"/>
                    <a:pt x="15" y="2"/>
                  </a:cubicBezTo>
                  <a:cubicBezTo>
                    <a:pt x="0" y="0"/>
                    <a:pt x="4" y="13"/>
                    <a:pt x="1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6" name="Freeform 17"/>
            <p:cNvSpPr>
              <a:spLocks/>
            </p:cNvSpPr>
            <p:nvPr userDrawn="1"/>
          </p:nvSpPr>
          <p:spPr bwMode="auto">
            <a:xfrm>
              <a:off x="5872" y="2004"/>
              <a:ext cx="56" cy="54"/>
            </a:xfrm>
            <a:custGeom>
              <a:avLst/>
              <a:gdLst>
                <a:gd name="T0" fmla="*/ 18 w 24"/>
                <a:gd name="T1" fmla="*/ 13 h 23"/>
                <a:gd name="T2" fmla="*/ 24 w 24"/>
                <a:gd name="T3" fmla="*/ 15 h 23"/>
                <a:gd name="T4" fmla="*/ 18 w 24"/>
                <a:gd name="T5" fmla="*/ 8 h 23"/>
                <a:gd name="T6" fmla="*/ 16 w 24"/>
                <a:gd name="T7" fmla="*/ 10 h 23"/>
                <a:gd name="T8" fmla="*/ 2 w 24"/>
                <a:gd name="T9" fmla="*/ 1 h 23"/>
                <a:gd name="T10" fmla="*/ 5 w 24"/>
                <a:gd name="T11" fmla="*/ 8 h 23"/>
                <a:gd name="T12" fmla="*/ 5 w 24"/>
                <a:gd name="T13" fmla="*/ 15 h 23"/>
                <a:gd name="T14" fmla="*/ 10 w 24"/>
                <a:gd name="T15" fmla="*/ 20 h 23"/>
                <a:gd name="T16" fmla="*/ 18 w 24"/>
                <a:gd name="T17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3">
                  <a:moveTo>
                    <a:pt x="18" y="13"/>
                  </a:moveTo>
                  <a:cubicBezTo>
                    <a:pt x="19" y="14"/>
                    <a:pt x="21" y="15"/>
                    <a:pt x="24" y="15"/>
                  </a:cubicBezTo>
                  <a:cubicBezTo>
                    <a:pt x="24" y="12"/>
                    <a:pt x="21" y="7"/>
                    <a:pt x="18" y="8"/>
                  </a:cubicBezTo>
                  <a:cubicBezTo>
                    <a:pt x="18" y="8"/>
                    <a:pt x="18" y="12"/>
                    <a:pt x="16" y="10"/>
                  </a:cubicBezTo>
                  <a:cubicBezTo>
                    <a:pt x="13" y="9"/>
                    <a:pt x="12" y="0"/>
                    <a:pt x="2" y="1"/>
                  </a:cubicBezTo>
                  <a:cubicBezTo>
                    <a:pt x="2" y="4"/>
                    <a:pt x="3" y="6"/>
                    <a:pt x="5" y="8"/>
                  </a:cubicBezTo>
                  <a:cubicBezTo>
                    <a:pt x="4" y="11"/>
                    <a:pt x="0" y="14"/>
                    <a:pt x="5" y="15"/>
                  </a:cubicBezTo>
                  <a:cubicBezTo>
                    <a:pt x="7" y="5"/>
                    <a:pt x="16" y="16"/>
                    <a:pt x="10" y="20"/>
                  </a:cubicBezTo>
                  <a:cubicBezTo>
                    <a:pt x="20" y="23"/>
                    <a:pt x="12" y="12"/>
                    <a:pt x="1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7" name="Freeform 18"/>
            <p:cNvSpPr>
              <a:spLocks/>
            </p:cNvSpPr>
            <p:nvPr userDrawn="1"/>
          </p:nvSpPr>
          <p:spPr bwMode="auto">
            <a:xfrm>
              <a:off x="6129" y="2051"/>
              <a:ext cx="26" cy="31"/>
            </a:xfrm>
            <a:custGeom>
              <a:avLst/>
              <a:gdLst>
                <a:gd name="T0" fmla="*/ 3 w 11"/>
                <a:gd name="T1" fmla="*/ 5 h 13"/>
                <a:gd name="T2" fmla="*/ 0 w 11"/>
                <a:gd name="T3" fmla="*/ 0 h 13"/>
                <a:gd name="T4" fmla="*/ 0 w 11"/>
                <a:gd name="T5" fmla="*/ 12 h 13"/>
                <a:gd name="T6" fmla="*/ 11 w 11"/>
                <a:gd name="T7" fmla="*/ 7 h 13"/>
                <a:gd name="T8" fmla="*/ 3 w 11"/>
                <a:gd name="T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3" y="5"/>
                  </a:moveTo>
                  <a:cubicBezTo>
                    <a:pt x="2" y="3"/>
                    <a:pt x="3" y="0"/>
                    <a:pt x="0" y="0"/>
                  </a:cubicBezTo>
                  <a:cubicBezTo>
                    <a:pt x="0" y="4"/>
                    <a:pt x="0" y="8"/>
                    <a:pt x="0" y="12"/>
                  </a:cubicBezTo>
                  <a:cubicBezTo>
                    <a:pt x="6" y="13"/>
                    <a:pt x="11" y="11"/>
                    <a:pt x="11" y="7"/>
                  </a:cubicBezTo>
                  <a:cubicBezTo>
                    <a:pt x="8" y="7"/>
                    <a:pt x="3" y="8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8" name="Freeform 19"/>
            <p:cNvSpPr>
              <a:spLocks noEditPoints="1"/>
            </p:cNvSpPr>
            <p:nvPr userDrawn="1"/>
          </p:nvSpPr>
          <p:spPr bwMode="auto">
            <a:xfrm>
              <a:off x="-530" y="1723"/>
              <a:ext cx="6834" cy="879"/>
            </a:xfrm>
            <a:custGeom>
              <a:avLst/>
              <a:gdLst>
                <a:gd name="T0" fmla="*/ 389 w 2893"/>
                <a:gd name="T1" fmla="*/ 342 h 372"/>
                <a:gd name="T2" fmla="*/ 740 w 2893"/>
                <a:gd name="T3" fmla="*/ 359 h 372"/>
                <a:gd name="T4" fmla="*/ 1103 w 2893"/>
                <a:gd name="T5" fmla="*/ 367 h 372"/>
                <a:gd name="T6" fmla="*/ 1426 w 2893"/>
                <a:gd name="T7" fmla="*/ 356 h 372"/>
                <a:gd name="T8" fmla="*/ 1695 w 2893"/>
                <a:gd name="T9" fmla="*/ 331 h 372"/>
                <a:gd name="T10" fmla="*/ 1895 w 2893"/>
                <a:gd name="T11" fmla="*/ 320 h 372"/>
                <a:gd name="T12" fmla="*/ 2114 w 2893"/>
                <a:gd name="T13" fmla="*/ 302 h 372"/>
                <a:gd name="T14" fmla="*/ 2309 w 2893"/>
                <a:gd name="T15" fmla="*/ 287 h 372"/>
                <a:gd name="T16" fmla="*/ 2459 w 2893"/>
                <a:gd name="T17" fmla="*/ 275 h 372"/>
                <a:gd name="T18" fmla="*/ 2597 w 2893"/>
                <a:gd name="T19" fmla="*/ 289 h 372"/>
                <a:gd name="T20" fmla="*/ 2723 w 2893"/>
                <a:gd name="T21" fmla="*/ 280 h 372"/>
                <a:gd name="T22" fmla="*/ 2838 w 2893"/>
                <a:gd name="T23" fmla="*/ 287 h 372"/>
                <a:gd name="T24" fmla="*/ 2866 w 2893"/>
                <a:gd name="T25" fmla="*/ 183 h 372"/>
                <a:gd name="T26" fmla="*/ 2808 w 2893"/>
                <a:gd name="T27" fmla="*/ 147 h 372"/>
                <a:gd name="T28" fmla="*/ 2631 w 2893"/>
                <a:gd name="T29" fmla="*/ 218 h 372"/>
                <a:gd name="T30" fmla="*/ 2665 w 2893"/>
                <a:gd name="T31" fmla="*/ 112 h 372"/>
                <a:gd name="T32" fmla="*/ 2857 w 2893"/>
                <a:gd name="T33" fmla="*/ 113 h 372"/>
                <a:gd name="T34" fmla="*/ 485 w 2893"/>
                <a:gd name="T35" fmla="*/ 201 h 372"/>
                <a:gd name="T36" fmla="*/ 777 w 2893"/>
                <a:gd name="T37" fmla="*/ 267 h 372"/>
                <a:gd name="T38" fmla="*/ 1016 w 2893"/>
                <a:gd name="T39" fmla="*/ 272 h 372"/>
                <a:gd name="T40" fmla="*/ 1266 w 2893"/>
                <a:gd name="T41" fmla="*/ 265 h 372"/>
                <a:gd name="T42" fmla="*/ 1356 w 2893"/>
                <a:gd name="T43" fmla="*/ 252 h 372"/>
                <a:gd name="T44" fmla="*/ 1456 w 2893"/>
                <a:gd name="T45" fmla="*/ 330 h 372"/>
                <a:gd name="T46" fmla="*/ 1548 w 2893"/>
                <a:gd name="T47" fmla="*/ 241 h 372"/>
                <a:gd name="T48" fmla="*/ 1656 w 2893"/>
                <a:gd name="T49" fmla="*/ 331 h 372"/>
                <a:gd name="T50" fmla="*/ 1709 w 2893"/>
                <a:gd name="T51" fmla="*/ 232 h 372"/>
                <a:gd name="T52" fmla="*/ 1779 w 2893"/>
                <a:gd name="T53" fmla="*/ 259 h 372"/>
                <a:gd name="T54" fmla="*/ 1829 w 2893"/>
                <a:gd name="T55" fmla="*/ 147 h 372"/>
                <a:gd name="T56" fmla="*/ 1920 w 2893"/>
                <a:gd name="T57" fmla="*/ 193 h 372"/>
                <a:gd name="T58" fmla="*/ 1900 w 2893"/>
                <a:gd name="T59" fmla="*/ 151 h 372"/>
                <a:gd name="T60" fmla="*/ 1948 w 2893"/>
                <a:gd name="T61" fmla="*/ 220 h 372"/>
                <a:gd name="T62" fmla="*/ 2044 w 2893"/>
                <a:gd name="T63" fmla="*/ 214 h 372"/>
                <a:gd name="T64" fmla="*/ 2069 w 2893"/>
                <a:gd name="T65" fmla="*/ 218 h 372"/>
                <a:gd name="T66" fmla="*/ 2172 w 2893"/>
                <a:gd name="T67" fmla="*/ 167 h 372"/>
                <a:gd name="T68" fmla="*/ 2111 w 2893"/>
                <a:gd name="T69" fmla="*/ 107 h 372"/>
                <a:gd name="T70" fmla="*/ 2115 w 2893"/>
                <a:gd name="T71" fmla="*/ 217 h 372"/>
                <a:gd name="T72" fmla="*/ 2157 w 2893"/>
                <a:gd name="T73" fmla="*/ 236 h 372"/>
                <a:gd name="T74" fmla="*/ 2191 w 2893"/>
                <a:gd name="T75" fmla="*/ 148 h 372"/>
                <a:gd name="T76" fmla="*/ 2262 w 2893"/>
                <a:gd name="T77" fmla="*/ 135 h 372"/>
                <a:gd name="T78" fmla="*/ 2862 w 2893"/>
                <a:gd name="T79" fmla="*/ 247 h 372"/>
                <a:gd name="T80" fmla="*/ 2740 w 2893"/>
                <a:gd name="T81" fmla="*/ 190 h 372"/>
                <a:gd name="T82" fmla="*/ 2824 w 2893"/>
                <a:gd name="T83" fmla="*/ 259 h 372"/>
                <a:gd name="T84" fmla="*/ 2831 w 2893"/>
                <a:gd name="T85" fmla="*/ 198 h 372"/>
                <a:gd name="T86" fmla="*/ 2792 w 2893"/>
                <a:gd name="T87" fmla="*/ 177 h 372"/>
                <a:gd name="T88" fmla="*/ 2732 w 2893"/>
                <a:gd name="T89" fmla="*/ 181 h 372"/>
                <a:gd name="T90" fmla="*/ 2702 w 2893"/>
                <a:gd name="T91" fmla="*/ 207 h 372"/>
                <a:gd name="T92" fmla="*/ 2674 w 2893"/>
                <a:gd name="T93" fmla="*/ 8 h 372"/>
                <a:gd name="T94" fmla="*/ 2563 w 2893"/>
                <a:gd name="T95" fmla="*/ 116 h 372"/>
                <a:gd name="T96" fmla="*/ 2514 w 2893"/>
                <a:gd name="T97" fmla="*/ 121 h 372"/>
                <a:gd name="T98" fmla="*/ 2453 w 2893"/>
                <a:gd name="T99" fmla="*/ 101 h 372"/>
                <a:gd name="T100" fmla="*/ 2349 w 2893"/>
                <a:gd name="T101" fmla="*/ 103 h 372"/>
                <a:gd name="T102" fmla="*/ 2298 w 2893"/>
                <a:gd name="T103" fmla="*/ 139 h 372"/>
                <a:gd name="T104" fmla="*/ 2305 w 2893"/>
                <a:gd name="T105" fmla="*/ 231 h 372"/>
                <a:gd name="T106" fmla="*/ 2365 w 2893"/>
                <a:gd name="T107" fmla="*/ 211 h 372"/>
                <a:gd name="T108" fmla="*/ 2456 w 2893"/>
                <a:gd name="T109" fmla="*/ 256 h 372"/>
                <a:gd name="T110" fmla="*/ 2497 w 2893"/>
                <a:gd name="T111" fmla="*/ 213 h 372"/>
                <a:gd name="T112" fmla="*/ 2543 w 2893"/>
                <a:gd name="T113" fmla="*/ 219 h 372"/>
                <a:gd name="T114" fmla="*/ 2582 w 2893"/>
                <a:gd name="T115" fmla="*/ 230 h 372"/>
                <a:gd name="T116" fmla="*/ 2599 w 2893"/>
                <a:gd name="T117" fmla="*/ 258 h 372"/>
                <a:gd name="T118" fmla="*/ 2671 w 2893"/>
                <a:gd name="T119" fmla="*/ 156 h 372"/>
                <a:gd name="T120" fmla="*/ 2638 w 2893"/>
                <a:gd name="T121" fmla="*/ 133 h 372"/>
                <a:gd name="T122" fmla="*/ 2741 w 2893"/>
                <a:gd name="T123" fmla="*/ 87 h 372"/>
                <a:gd name="T124" fmla="*/ 2808 w 2893"/>
                <a:gd name="T125" fmla="*/ 12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93" h="372">
                  <a:moveTo>
                    <a:pt x="288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1"/>
                    <a:pt x="1" y="320"/>
                    <a:pt x="2" y="320"/>
                  </a:cubicBezTo>
                  <a:cubicBezTo>
                    <a:pt x="1" y="331"/>
                    <a:pt x="12" y="320"/>
                    <a:pt x="15" y="320"/>
                  </a:cubicBezTo>
                  <a:cubicBezTo>
                    <a:pt x="16" y="328"/>
                    <a:pt x="25" y="329"/>
                    <a:pt x="35" y="329"/>
                  </a:cubicBezTo>
                  <a:cubicBezTo>
                    <a:pt x="35" y="327"/>
                    <a:pt x="35" y="324"/>
                    <a:pt x="37" y="324"/>
                  </a:cubicBezTo>
                  <a:cubicBezTo>
                    <a:pt x="39" y="331"/>
                    <a:pt x="43" y="322"/>
                    <a:pt x="48" y="324"/>
                  </a:cubicBezTo>
                  <a:cubicBezTo>
                    <a:pt x="50" y="329"/>
                    <a:pt x="56" y="325"/>
                    <a:pt x="62" y="326"/>
                  </a:cubicBezTo>
                  <a:cubicBezTo>
                    <a:pt x="70" y="328"/>
                    <a:pt x="66" y="332"/>
                    <a:pt x="70" y="328"/>
                  </a:cubicBezTo>
                  <a:cubicBezTo>
                    <a:pt x="77" y="323"/>
                    <a:pt x="90" y="333"/>
                    <a:pt x="87" y="333"/>
                  </a:cubicBezTo>
                  <a:cubicBezTo>
                    <a:pt x="102" y="336"/>
                    <a:pt x="117" y="327"/>
                    <a:pt x="136" y="330"/>
                  </a:cubicBezTo>
                  <a:cubicBezTo>
                    <a:pt x="139" y="338"/>
                    <a:pt x="156" y="332"/>
                    <a:pt x="167" y="334"/>
                  </a:cubicBezTo>
                  <a:cubicBezTo>
                    <a:pt x="170" y="334"/>
                    <a:pt x="170" y="336"/>
                    <a:pt x="175" y="336"/>
                  </a:cubicBezTo>
                  <a:cubicBezTo>
                    <a:pt x="178" y="336"/>
                    <a:pt x="179" y="334"/>
                    <a:pt x="183" y="333"/>
                  </a:cubicBezTo>
                  <a:cubicBezTo>
                    <a:pt x="190" y="333"/>
                    <a:pt x="194" y="335"/>
                    <a:pt x="200" y="336"/>
                  </a:cubicBezTo>
                  <a:cubicBezTo>
                    <a:pt x="202" y="332"/>
                    <a:pt x="204" y="328"/>
                    <a:pt x="210" y="328"/>
                  </a:cubicBezTo>
                  <a:cubicBezTo>
                    <a:pt x="211" y="331"/>
                    <a:pt x="210" y="335"/>
                    <a:pt x="213" y="335"/>
                  </a:cubicBezTo>
                  <a:cubicBezTo>
                    <a:pt x="216" y="328"/>
                    <a:pt x="221" y="337"/>
                    <a:pt x="222" y="337"/>
                  </a:cubicBezTo>
                  <a:cubicBezTo>
                    <a:pt x="225" y="339"/>
                    <a:pt x="233" y="339"/>
                    <a:pt x="238" y="340"/>
                  </a:cubicBezTo>
                  <a:cubicBezTo>
                    <a:pt x="246" y="340"/>
                    <a:pt x="240" y="332"/>
                    <a:pt x="246" y="337"/>
                  </a:cubicBezTo>
                  <a:cubicBezTo>
                    <a:pt x="248" y="338"/>
                    <a:pt x="255" y="336"/>
                    <a:pt x="257" y="337"/>
                  </a:cubicBezTo>
                  <a:cubicBezTo>
                    <a:pt x="259" y="338"/>
                    <a:pt x="260" y="343"/>
                    <a:pt x="266" y="341"/>
                  </a:cubicBezTo>
                  <a:cubicBezTo>
                    <a:pt x="275" y="336"/>
                    <a:pt x="294" y="346"/>
                    <a:pt x="307" y="341"/>
                  </a:cubicBezTo>
                  <a:cubicBezTo>
                    <a:pt x="309" y="340"/>
                    <a:pt x="309" y="334"/>
                    <a:pt x="312" y="334"/>
                  </a:cubicBezTo>
                  <a:cubicBezTo>
                    <a:pt x="312" y="335"/>
                    <a:pt x="312" y="337"/>
                    <a:pt x="312" y="338"/>
                  </a:cubicBezTo>
                  <a:cubicBezTo>
                    <a:pt x="315" y="339"/>
                    <a:pt x="321" y="337"/>
                    <a:pt x="323" y="338"/>
                  </a:cubicBezTo>
                  <a:cubicBezTo>
                    <a:pt x="323" y="338"/>
                    <a:pt x="323" y="340"/>
                    <a:pt x="323" y="340"/>
                  </a:cubicBezTo>
                  <a:cubicBezTo>
                    <a:pt x="327" y="341"/>
                    <a:pt x="334" y="339"/>
                    <a:pt x="340" y="340"/>
                  </a:cubicBezTo>
                  <a:cubicBezTo>
                    <a:pt x="342" y="341"/>
                    <a:pt x="343" y="342"/>
                    <a:pt x="345" y="342"/>
                  </a:cubicBezTo>
                  <a:cubicBezTo>
                    <a:pt x="345" y="342"/>
                    <a:pt x="345" y="340"/>
                    <a:pt x="348" y="340"/>
                  </a:cubicBezTo>
                  <a:cubicBezTo>
                    <a:pt x="349" y="340"/>
                    <a:pt x="347" y="343"/>
                    <a:pt x="351" y="342"/>
                  </a:cubicBezTo>
                  <a:cubicBezTo>
                    <a:pt x="352" y="342"/>
                    <a:pt x="354" y="338"/>
                    <a:pt x="356" y="338"/>
                  </a:cubicBezTo>
                  <a:cubicBezTo>
                    <a:pt x="355" y="338"/>
                    <a:pt x="360" y="341"/>
                    <a:pt x="361" y="337"/>
                  </a:cubicBezTo>
                  <a:cubicBezTo>
                    <a:pt x="361" y="339"/>
                    <a:pt x="361" y="341"/>
                    <a:pt x="362" y="342"/>
                  </a:cubicBezTo>
                  <a:cubicBezTo>
                    <a:pt x="370" y="341"/>
                    <a:pt x="374" y="337"/>
                    <a:pt x="381" y="335"/>
                  </a:cubicBezTo>
                  <a:cubicBezTo>
                    <a:pt x="381" y="341"/>
                    <a:pt x="376" y="340"/>
                    <a:pt x="381" y="344"/>
                  </a:cubicBezTo>
                  <a:cubicBezTo>
                    <a:pt x="387" y="347"/>
                    <a:pt x="389" y="333"/>
                    <a:pt x="389" y="342"/>
                  </a:cubicBezTo>
                  <a:cubicBezTo>
                    <a:pt x="389" y="345"/>
                    <a:pt x="400" y="345"/>
                    <a:pt x="403" y="346"/>
                  </a:cubicBezTo>
                  <a:cubicBezTo>
                    <a:pt x="403" y="344"/>
                    <a:pt x="403" y="341"/>
                    <a:pt x="405" y="341"/>
                  </a:cubicBezTo>
                  <a:cubicBezTo>
                    <a:pt x="405" y="345"/>
                    <a:pt x="407" y="346"/>
                    <a:pt x="408" y="348"/>
                  </a:cubicBezTo>
                  <a:cubicBezTo>
                    <a:pt x="423" y="348"/>
                    <a:pt x="437" y="348"/>
                    <a:pt x="452" y="348"/>
                  </a:cubicBezTo>
                  <a:cubicBezTo>
                    <a:pt x="453" y="346"/>
                    <a:pt x="452" y="343"/>
                    <a:pt x="455" y="343"/>
                  </a:cubicBezTo>
                  <a:cubicBezTo>
                    <a:pt x="453" y="352"/>
                    <a:pt x="461" y="345"/>
                    <a:pt x="463" y="345"/>
                  </a:cubicBezTo>
                  <a:cubicBezTo>
                    <a:pt x="465" y="345"/>
                    <a:pt x="466" y="349"/>
                    <a:pt x="469" y="350"/>
                  </a:cubicBezTo>
                  <a:cubicBezTo>
                    <a:pt x="469" y="350"/>
                    <a:pt x="471" y="345"/>
                    <a:pt x="474" y="347"/>
                  </a:cubicBezTo>
                  <a:cubicBezTo>
                    <a:pt x="475" y="351"/>
                    <a:pt x="481" y="349"/>
                    <a:pt x="485" y="349"/>
                  </a:cubicBezTo>
                  <a:cubicBezTo>
                    <a:pt x="485" y="345"/>
                    <a:pt x="487" y="341"/>
                    <a:pt x="490" y="340"/>
                  </a:cubicBezTo>
                  <a:cubicBezTo>
                    <a:pt x="491" y="343"/>
                    <a:pt x="490" y="349"/>
                    <a:pt x="493" y="349"/>
                  </a:cubicBezTo>
                  <a:cubicBezTo>
                    <a:pt x="494" y="345"/>
                    <a:pt x="503" y="348"/>
                    <a:pt x="504" y="344"/>
                  </a:cubicBezTo>
                  <a:cubicBezTo>
                    <a:pt x="506" y="341"/>
                    <a:pt x="501" y="332"/>
                    <a:pt x="507" y="332"/>
                  </a:cubicBezTo>
                  <a:cubicBezTo>
                    <a:pt x="506" y="340"/>
                    <a:pt x="512" y="341"/>
                    <a:pt x="510" y="349"/>
                  </a:cubicBezTo>
                  <a:cubicBezTo>
                    <a:pt x="515" y="350"/>
                    <a:pt x="515" y="346"/>
                    <a:pt x="518" y="344"/>
                  </a:cubicBezTo>
                  <a:cubicBezTo>
                    <a:pt x="518" y="356"/>
                    <a:pt x="541" y="354"/>
                    <a:pt x="551" y="351"/>
                  </a:cubicBezTo>
                  <a:cubicBezTo>
                    <a:pt x="552" y="346"/>
                    <a:pt x="547" y="345"/>
                    <a:pt x="551" y="343"/>
                  </a:cubicBezTo>
                  <a:cubicBezTo>
                    <a:pt x="555" y="344"/>
                    <a:pt x="553" y="349"/>
                    <a:pt x="554" y="353"/>
                  </a:cubicBezTo>
                  <a:cubicBezTo>
                    <a:pt x="563" y="352"/>
                    <a:pt x="578" y="356"/>
                    <a:pt x="578" y="348"/>
                  </a:cubicBezTo>
                  <a:cubicBezTo>
                    <a:pt x="576" y="347"/>
                    <a:pt x="573" y="348"/>
                    <a:pt x="573" y="345"/>
                  </a:cubicBezTo>
                  <a:cubicBezTo>
                    <a:pt x="575" y="346"/>
                    <a:pt x="577" y="345"/>
                    <a:pt x="578" y="345"/>
                  </a:cubicBezTo>
                  <a:cubicBezTo>
                    <a:pt x="582" y="346"/>
                    <a:pt x="579" y="348"/>
                    <a:pt x="581" y="350"/>
                  </a:cubicBezTo>
                  <a:cubicBezTo>
                    <a:pt x="583" y="351"/>
                    <a:pt x="587" y="349"/>
                    <a:pt x="587" y="352"/>
                  </a:cubicBezTo>
                  <a:cubicBezTo>
                    <a:pt x="601" y="349"/>
                    <a:pt x="614" y="358"/>
                    <a:pt x="622" y="352"/>
                  </a:cubicBezTo>
                  <a:cubicBezTo>
                    <a:pt x="619" y="351"/>
                    <a:pt x="616" y="348"/>
                    <a:pt x="620" y="347"/>
                  </a:cubicBezTo>
                  <a:cubicBezTo>
                    <a:pt x="623" y="348"/>
                    <a:pt x="625" y="350"/>
                    <a:pt x="625" y="354"/>
                  </a:cubicBezTo>
                  <a:cubicBezTo>
                    <a:pt x="630" y="356"/>
                    <a:pt x="634" y="351"/>
                    <a:pt x="636" y="351"/>
                  </a:cubicBezTo>
                  <a:cubicBezTo>
                    <a:pt x="636" y="351"/>
                    <a:pt x="638" y="356"/>
                    <a:pt x="639" y="356"/>
                  </a:cubicBezTo>
                  <a:cubicBezTo>
                    <a:pt x="641" y="357"/>
                    <a:pt x="645" y="356"/>
                    <a:pt x="647" y="356"/>
                  </a:cubicBezTo>
                  <a:cubicBezTo>
                    <a:pt x="649" y="356"/>
                    <a:pt x="649" y="358"/>
                    <a:pt x="650" y="358"/>
                  </a:cubicBezTo>
                  <a:cubicBezTo>
                    <a:pt x="656" y="359"/>
                    <a:pt x="655" y="355"/>
                    <a:pt x="658" y="358"/>
                  </a:cubicBezTo>
                  <a:cubicBezTo>
                    <a:pt x="659" y="359"/>
                    <a:pt x="663" y="358"/>
                    <a:pt x="664" y="358"/>
                  </a:cubicBezTo>
                  <a:cubicBezTo>
                    <a:pt x="673" y="359"/>
                    <a:pt x="674" y="359"/>
                    <a:pt x="680" y="360"/>
                  </a:cubicBezTo>
                  <a:cubicBezTo>
                    <a:pt x="690" y="350"/>
                    <a:pt x="712" y="364"/>
                    <a:pt x="721" y="355"/>
                  </a:cubicBezTo>
                  <a:cubicBezTo>
                    <a:pt x="720" y="356"/>
                    <a:pt x="716" y="350"/>
                    <a:pt x="721" y="350"/>
                  </a:cubicBezTo>
                  <a:cubicBezTo>
                    <a:pt x="724" y="355"/>
                    <a:pt x="726" y="361"/>
                    <a:pt x="738" y="359"/>
                  </a:cubicBezTo>
                  <a:cubicBezTo>
                    <a:pt x="741" y="353"/>
                    <a:pt x="727" y="352"/>
                    <a:pt x="735" y="350"/>
                  </a:cubicBezTo>
                  <a:cubicBezTo>
                    <a:pt x="740" y="350"/>
                    <a:pt x="741" y="354"/>
                    <a:pt x="740" y="359"/>
                  </a:cubicBezTo>
                  <a:cubicBezTo>
                    <a:pt x="750" y="362"/>
                    <a:pt x="742" y="351"/>
                    <a:pt x="749" y="352"/>
                  </a:cubicBezTo>
                  <a:cubicBezTo>
                    <a:pt x="749" y="356"/>
                    <a:pt x="756" y="355"/>
                    <a:pt x="754" y="361"/>
                  </a:cubicBezTo>
                  <a:cubicBezTo>
                    <a:pt x="785" y="357"/>
                    <a:pt x="804" y="370"/>
                    <a:pt x="820" y="360"/>
                  </a:cubicBezTo>
                  <a:cubicBezTo>
                    <a:pt x="821" y="363"/>
                    <a:pt x="826" y="363"/>
                    <a:pt x="828" y="364"/>
                  </a:cubicBezTo>
                  <a:cubicBezTo>
                    <a:pt x="833" y="360"/>
                    <a:pt x="828" y="362"/>
                    <a:pt x="828" y="355"/>
                  </a:cubicBezTo>
                  <a:cubicBezTo>
                    <a:pt x="837" y="363"/>
                    <a:pt x="829" y="348"/>
                    <a:pt x="839" y="350"/>
                  </a:cubicBezTo>
                  <a:cubicBezTo>
                    <a:pt x="838" y="356"/>
                    <a:pt x="834" y="360"/>
                    <a:pt x="839" y="364"/>
                  </a:cubicBezTo>
                  <a:cubicBezTo>
                    <a:pt x="851" y="363"/>
                    <a:pt x="864" y="362"/>
                    <a:pt x="875" y="364"/>
                  </a:cubicBezTo>
                  <a:cubicBezTo>
                    <a:pt x="873" y="357"/>
                    <a:pt x="881" y="359"/>
                    <a:pt x="883" y="356"/>
                  </a:cubicBezTo>
                  <a:cubicBezTo>
                    <a:pt x="884" y="362"/>
                    <a:pt x="887" y="366"/>
                    <a:pt x="894" y="366"/>
                  </a:cubicBezTo>
                  <a:cubicBezTo>
                    <a:pt x="894" y="365"/>
                    <a:pt x="895" y="360"/>
                    <a:pt x="897" y="361"/>
                  </a:cubicBezTo>
                  <a:cubicBezTo>
                    <a:pt x="898" y="361"/>
                    <a:pt x="896" y="365"/>
                    <a:pt x="897" y="366"/>
                  </a:cubicBezTo>
                  <a:cubicBezTo>
                    <a:pt x="900" y="367"/>
                    <a:pt x="905" y="364"/>
                    <a:pt x="908" y="365"/>
                  </a:cubicBezTo>
                  <a:cubicBezTo>
                    <a:pt x="908" y="366"/>
                    <a:pt x="908" y="368"/>
                    <a:pt x="908" y="368"/>
                  </a:cubicBezTo>
                  <a:cubicBezTo>
                    <a:pt x="915" y="368"/>
                    <a:pt x="927" y="366"/>
                    <a:pt x="935" y="367"/>
                  </a:cubicBezTo>
                  <a:cubicBezTo>
                    <a:pt x="939" y="368"/>
                    <a:pt x="939" y="370"/>
                    <a:pt x="941" y="367"/>
                  </a:cubicBezTo>
                  <a:cubicBezTo>
                    <a:pt x="943" y="365"/>
                    <a:pt x="958" y="367"/>
                    <a:pt x="960" y="367"/>
                  </a:cubicBezTo>
                  <a:cubicBezTo>
                    <a:pt x="964" y="366"/>
                    <a:pt x="963" y="364"/>
                    <a:pt x="966" y="367"/>
                  </a:cubicBezTo>
                  <a:cubicBezTo>
                    <a:pt x="968" y="370"/>
                    <a:pt x="980" y="364"/>
                    <a:pt x="982" y="367"/>
                  </a:cubicBezTo>
                  <a:cubicBezTo>
                    <a:pt x="986" y="361"/>
                    <a:pt x="975" y="358"/>
                    <a:pt x="982" y="357"/>
                  </a:cubicBezTo>
                  <a:cubicBezTo>
                    <a:pt x="988" y="362"/>
                    <a:pt x="987" y="365"/>
                    <a:pt x="990" y="366"/>
                  </a:cubicBezTo>
                  <a:cubicBezTo>
                    <a:pt x="988" y="365"/>
                    <a:pt x="995" y="358"/>
                    <a:pt x="993" y="366"/>
                  </a:cubicBezTo>
                  <a:cubicBezTo>
                    <a:pt x="1002" y="368"/>
                    <a:pt x="1002" y="363"/>
                    <a:pt x="1007" y="361"/>
                  </a:cubicBezTo>
                  <a:cubicBezTo>
                    <a:pt x="1006" y="361"/>
                    <a:pt x="1009" y="364"/>
                    <a:pt x="1011" y="362"/>
                  </a:cubicBezTo>
                  <a:cubicBezTo>
                    <a:pt x="1008" y="367"/>
                    <a:pt x="1012" y="366"/>
                    <a:pt x="1018" y="366"/>
                  </a:cubicBezTo>
                  <a:cubicBezTo>
                    <a:pt x="1020" y="366"/>
                    <a:pt x="1020" y="368"/>
                    <a:pt x="1020" y="368"/>
                  </a:cubicBezTo>
                  <a:cubicBezTo>
                    <a:pt x="1028" y="369"/>
                    <a:pt x="1040" y="368"/>
                    <a:pt x="1042" y="365"/>
                  </a:cubicBezTo>
                  <a:cubicBezTo>
                    <a:pt x="1042" y="368"/>
                    <a:pt x="1044" y="367"/>
                    <a:pt x="1045" y="368"/>
                  </a:cubicBezTo>
                  <a:cubicBezTo>
                    <a:pt x="1045" y="368"/>
                    <a:pt x="1049" y="370"/>
                    <a:pt x="1048" y="370"/>
                  </a:cubicBezTo>
                  <a:cubicBezTo>
                    <a:pt x="1058" y="372"/>
                    <a:pt x="1076" y="367"/>
                    <a:pt x="1078" y="367"/>
                  </a:cubicBezTo>
                  <a:cubicBezTo>
                    <a:pt x="1081" y="367"/>
                    <a:pt x="1082" y="369"/>
                    <a:pt x="1086" y="369"/>
                  </a:cubicBezTo>
                  <a:cubicBezTo>
                    <a:pt x="1087" y="369"/>
                    <a:pt x="1086" y="367"/>
                    <a:pt x="1089" y="367"/>
                  </a:cubicBezTo>
                  <a:cubicBezTo>
                    <a:pt x="1090" y="367"/>
                    <a:pt x="1089" y="370"/>
                    <a:pt x="1092" y="369"/>
                  </a:cubicBezTo>
                  <a:cubicBezTo>
                    <a:pt x="1091" y="369"/>
                    <a:pt x="1094" y="367"/>
                    <a:pt x="1095" y="367"/>
                  </a:cubicBezTo>
                  <a:cubicBezTo>
                    <a:pt x="1097" y="366"/>
                    <a:pt x="1099" y="365"/>
                    <a:pt x="1100" y="362"/>
                  </a:cubicBezTo>
                  <a:cubicBezTo>
                    <a:pt x="1097" y="362"/>
                    <a:pt x="1096" y="360"/>
                    <a:pt x="1094" y="357"/>
                  </a:cubicBezTo>
                  <a:cubicBezTo>
                    <a:pt x="1098" y="357"/>
                    <a:pt x="1100" y="356"/>
                    <a:pt x="1103" y="355"/>
                  </a:cubicBezTo>
                  <a:cubicBezTo>
                    <a:pt x="1105" y="362"/>
                    <a:pt x="1105" y="359"/>
                    <a:pt x="1103" y="367"/>
                  </a:cubicBezTo>
                  <a:cubicBezTo>
                    <a:pt x="1112" y="371"/>
                    <a:pt x="1115" y="365"/>
                    <a:pt x="1127" y="366"/>
                  </a:cubicBezTo>
                  <a:cubicBezTo>
                    <a:pt x="1131" y="365"/>
                    <a:pt x="1128" y="357"/>
                    <a:pt x="1133" y="357"/>
                  </a:cubicBezTo>
                  <a:cubicBezTo>
                    <a:pt x="1132" y="364"/>
                    <a:pt x="1133" y="370"/>
                    <a:pt x="1141" y="368"/>
                  </a:cubicBezTo>
                  <a:cubicBezTo>
                    <a:pt x="1143" y="364"/>
                    <a:pt x="1133" y="359"/>
                    <a:pt x="1141" y="357"/>
                  </a:cubicBezTo>
                  <a:cubicBezTo>
                    <a:pt x="1145" y="359"/>
                    <a:pt x="1144" y="366"/>
                    <a:pt x="1152" y="366"/>
                  </a:cubicBezTo>
                  <a:cubicBezTo>
                    <a:pt x="1152" y="363"/>
                    <a:pt x="1153" y="360"/>
                    <a:pt x="1158" y="361"/>
                  </a:cubicBezTo>
                  <a:cubicBezTo>
                    <a:pt x="1158" y="357"/>
                    <a:pt x="1157" y="353"/>
                    <a:pt x="1163" y="354"/>
                  </a:cubicBezTo>
                  <a:cubicBezTo>
                    <a:pt x="1167" y="363"/>
                    <a:pt x="1155" y="359"/>
                    <a:pt x="1158" y="366"/>
                  </a:cubicBezTo>
                  <a:cubicBezTo>
                    <a:pt x="1172" y="369"/>
                    <a:pt x="1165" y="355"/>
                    <a:pt x="1174" y="354"/>
                  </a:cubicBezTo>
                  <a:cubicBezTo>
                    <a:pt x="1182" y="360"/>
                    <a:pt x="1176" y="360"/>
                    <a:pt x="1174" y="368"/>
                  </a:cubicBezTo>
                  <a:cubicBezTo>
                    <a:pt x="1185" y="370"/>
                    <a:pt x="1191" y="370"/>
                    <a:pt x="1199" y="365"/>
                  </a:cubicBezTo>
                  <a:cubicBezTo>
                    <a:pt x="1202" y="369"/>
                    <a:pt x="1216" y="362"/>
                    <a:pt x="1221" y="367"/>
                  </a:cubicBezTo>
                  <a:cubicBezTo>
                    <a:pt x="1221" y="365"/>
                    <a:pt x="1221" y="362"/>
                    <a:pt x="1223" y="362"/>
                  </a:cubicBezTo>
                  <a:cubicBezTo>
                    <a:pt x="1223" y="364"/>
                    <a:pt x="1223" y="365"/>
                    <a:pt x="1223" y="367"/>
                  </a:cubicBezTo>
                  <a:cubicBezTo>
                    <a:pt x="1233" y="362"/>
                    <a:pt x="1233" y="372"/>
                    <a:pt x="1240" y="367"/>
                  </a:cubicBezTo>
                  <a:cubicBezTo>
                    <a:pt x="1240" y="363"/>
                    <a:pt x="1239" y="359"/>
                    <a:pt x="1237" y="357"/>
                  </a:cubicBezTo>
                  <a:cubicBezTo>
                    <a:pt x="1242" y="358"/>
                    <a:pt x="1243" y="355"/>
                    <a:pt x="1248" y="355"/>
                  </a:cubicBezTo>
                  <a:cubicBezTo>
                    <a:pt x="1247" y="358"/>
                    <a:pt x="1244" y="359"/>
                    <a:pt x="1243" y="362"/>
                  </a:cubicBezTo>
                  <a:cubicBezTo>
                    <a:pt x="1252" y="364"/>
                    <a:pt x="1246" y="352"/>
                    <a:pt x="1256" y="355"/>
                  </a:cubicBezTo>
                  <a:cubicBezTo>
                    <a:pt x="1255" y="359"/>
                    <a:pt x="1250" y="361"/>
                    <a:pt x="1251" y="367"/>
                  </a:cubicBezTo>
                  <a:cubicBezTo>
                    <a:pt x="1261" y="366"/>
                    <a:pt x="1261" y="363"/>
                    <a:pt x="1270" y="366"/>
                  </a:cubicBezTo>
                  <a:cubicBezTo>
                    <a:pt x="1284" y="364"/>
                    <a:pt x="1292" y="371"/>
                    <a:pt x="1298" y="363"/>
                  </a:cubicBezTo>
                  <a:cubicBezTo>
                    <a:pt x="1302" y="371"/>
                    <a:pt x="1312" y="359"/>
                    <a:pt x="1317" y="365"/>
                  </a:cubicBezTo>
                  <a:cubicBezTo>
                    <a:pt x="1315" y="360"/>
                    <a:pt x="1314" y="356"/>
                    <a:pt x="1319" y="351"/>
                  </a:cubicBezTo>
                  <a:cubicBezTo>
                    <a:pt x="1324" y="356"/>
                    <a:pt x="1318" y="356"/>
                    <a:pt x="1319" y="363"/>
                  </a:cubicBezTo>
                  <a:cubicBezTo>
                    <a:pt x="1328" y="365"/>
                    <a:pt x="1324" y="358"/>
                    <a:pt x="1325" y="353"/>
                  </a:cubicBezTo>
                  <a:cubicBezTo>
                    <a:pt x="1329" y="353"/>
                    <a:pt x="1336" y="345"/>
                    <a:pt x="1338" y="351"/>
                  </a:cubicBezTo>
                  <a:cubicBezTo>
                    <a:pt x="1334" y="351"/>
                    <a:pt x="1331" y="353"/>
                    <a:pt x="1330" y="356"/>
                  </a:cubicBezTo>
                  <a:cubicBezTo>
                    <a:pt x="1340" y="356"/>
                    <a:pt x="1325" y="364"/>
                    <a:pt x="1333" y="363"/>
                  </a:cubicBezTo>
                  <a:cubicBezTo>
                    <a:pt x="1337" y="358"/>
                    <a:pt x="1343" y="365"/>
                    <a:pt x="1350" y="360"/>
                  </a:cubicBezTo>
                  <a:cubicBezTo>
                    <a:pt x="1353" y="365"/>
                    <a:pt x="1369" y="361"/>
                    <a:pt x="1377" y="362"/>
                  </a:cubicBezTo>
                  <a:cubicBezTo>
                    <a:pt x="1378" y="358"/>
                    <a:pt x="1374" y="348"/>
                    <a:pt x="1379" y="348"/>
                  </a:cubicBezTo>
                  <a:cubicBezTo>
                    <a:pt x="1389" y="350"/>
                    <a:pt x="1381" y="352"/>
                    <a:pt x="1382" y="360"/>
                  </a:cubicBezTo>
                  <a:cubicBezTo>
                    <a:pt x="1388" y="358"/>
                    <a:pt x="1401" y="362"/>
                    <a:pt x="1402" y="357"/>
                  </a:cubicBezTo>
                  <a:cubicBezTo>
                    <a:pt x="1399" y="356"/>
                    <a:pt x="1395" y="353"/>
                    <a:pt x="1399" y="352"/>
                  </a:cubicBezTo>
                  <a:cubicBezTo>
                    <a:pt x="1401" y="355"/>
                    <a:pt x="1409" y="353"/>
                    <a:pt x="1407" y="359"/>
                  </a:cubicBezTo>
                  <a:cubicBezTo>
                    <a:pt x="1418" y="359"/>
                    <a:pt x="1409" y="352"/>
                    <a:pt x="1415" y="357"/>
                  </a:cubicBezTo>
                  <a:cubicBezTo>
                    <a:pt x="1421" y="361"/>
                    <a:pt x="1422" y="357"/>
                    <a:pt x="1426" y="356"/>
                  </a:cubicBezTo>
                  <a:cubicBezTo>
                    <a:pt x="1438" y="354"/>
                    <a:pt x="1439" y="354"/>
                    <a:pt x="1446" y="358"/>
                  </a:cubicBezTo>
                  <a:cubicBezTo>
                    <a:pt x="1446" y="355"/>
                    <a:pt x="1445" y="350"/>
                    <a:pt x="1451" y="351"/>
                  </a:cubicBezTo>
                  <a:cubicBezTo>
                    <a:pt x="1451" y="347"/>
                    <a:pt x="1448" y="346"/>
                    <a:pt x="1448" y="342"/>
                  </a:cubicBezTo>
                  <a:cubicBezTo>
                    <a:pt x="1451" y="342"/>
                    <a:pt x="1454" y="342"/>
                    <a:pt x="1456" y="342"/>
                  </a:cubicBezTo>
                  <a:cubicBezTo>
                    <a:pt x="1457" y="346"/>
                    <a:pt x="1453" y="347"/>
                    <a:pt x="1454" y="351"/>
                  </a:cubicBezTo>
                  <a:cubicBezTo>
                    <a:pt x="1460" y="350"/>
                    <a:pt x="1464" y="352"/>
                    <a:pt x="1465" y="356"/>
                  </a:cubicBezTo>
                  <a:cubicBezTo>
                    <a:pt x="1473" y="356"/>
                    <a:pt x="1481" y="355"/>
                    <a:pt x="1489" y="355"/>
                  </a:cubicBezTo>
                  <a:cubicBezTo>
                    <a:pt x="1492" y="353"/>
                    <a:pt x="1494" y="347"/>
                    <a:pt x="1497" y="346"/>
                  </a:cubicBezTo>
                  <a:cubicBezTo>
                    <a:pt x="1502" y="345"/>
                    <a:pt x="1504" y="349"/>
                    <a:pt x="1508" y="348"/>
                  </a:cubicBezTo>
                  <a:cubicBezTo>
                    <a:pt x="1508" y="343"/>
                    <a:pt x="1509" y="339"/>
                    <a:pt x="1514" y="338"/>
                  </a:cubicBezTo>
                  <a:cubicBezTo>
                    <a:pt x="1515" y="346"/>
                    <a:pt x="1508" y="348"/>
                    <a:pt x="1514" y="352"/>
                  </a:cubicBezTo>
                  <a:cubicBezTo>
                    <a:pt x="1526" y="355"/>
                    <a:pt x="1523" y="344"/>
                    <a:pt x="1533" y="345"/>
                  </a:cubicBezTo>
                  <a:cubicBezTo>
                    <a:pt x="1534" y="347"/>
                    <a:pt x="1533" y="350"/>
                    <a:pt x="1536" y="350"/>
                  </a:cubicBezTo>
                  <a:cubicBezTo>
                    <a:pt x="1539" y="350"/>
                    <a:pt x="1540" y="353"/>
                    <a:pt x="1541" y="350"/>
                  </a:cubicBezTo>
                  <a:cubicBezTo>
                    <a:pt x="1537" y="349"/>
                    <a:pt x="1543" y="344"/>
                    <a:pt x="1541" y="340"/>
                  </a:cubicBezTo>
                  <a:cubicBezTo>
                    <a:pt x="1541" y="339"/>
                    <a:pt x="1533" y="341"/>
                    <a:pt x="1536" y="336"/>
                  </a:cubicBezTo>
                  <a:cubicBezTo>
                    <a:pt x="1540" y="336"/>
                    <a:pt x="1545" y="336"/>
                    <a:pt x="1549" y="335"/>
                  </a:cubicBezTo>
                  <a:cubicBezTo>
                    <a:pt x="1553" y="343"/>
                    <a:pt x="1552" y="345"/>
                    <a:pt x="1547" y="350"/>
                  </a:cubicBezTo>
                  <a:cubicBezTo>
                    <a:pt x="1555" y="349"/>
                    <a:pt x="1563" y="349"/>
                    <a:pt x="1572" y="349"/>
                  </a:cubicBezTo>
                  <a:cubicBezTo>
                    <a:pt x="1573" y="346"/>
                    <a:pt x="1574" y="344"/>
                    <a:pt x="1577" y="342"/>
                  </a:cubicBezTo>
                  <a:cubicBezTo>
                    <a:pt x="1579" y="353"/>
                    <a:pt x="1592" y="340"/>
                    <a:pt x="1599" y="346"/>
                  </a:cubicBezTo>
                  <a:cubicBezTo>
                    <a:pt x="1600" y="345"/>
                    <a:pt x="1599" y="342"/>
                    <a:pt x="1602" y="342"/>
                  </a:cubicBezTo>
                  <a:cubicBezTo>
                    <a:pt x="1604" y="345"/>
                    <a:pt x="1609" y="340"/>
                    <a:pt x="1615" y="344"/>
                  </a:cubicBezTo>
                  <a:cubicBezTo>
                    <a:pt x="1619" y="338"/>
                    <a:pt x="1617" y="328"/>
                    <a:pt x="1626" y="327"/>
                  </a:cubicBezTo>
                  <a:cubicBezTo>
                    <a:pt x="1629" y="330"/>
                    <a:pt x="1629" y="336"/>
                    <a:pt x="1632" y="339"/>
                  </a:cubicBezTo>
                  <a:cubicBezTo>
                    <a:pt x="1628" y="339"/>
                    <a:pt x="1623" y="329"/>
                    <a:pt x="1624" y="339"/>
                  </a:cubicBezTo>
                  <a:cubicBezTo>
                    <a:pt x="1627" y="342"/>
                    <a:pt x="1633" y="343"/>
                    <a:pt x="1640" y="343"/>
                  </a:cubicBezTo>
                  <a:cubicBezTo>
                    <a:pt x="1640" y="340"/>
                    <a:pt x="1639" y="335"/>
                    <a:pt x="1643" y="334"/>
                  </a:cubicBezTo>
                  <a:cubicBezTo>
                    <a:pt x="1642" y="340"/>
                    <a:pt x="1647" y="341"/>
                    <a:pt x="1651" y="343"/>
                  </a:cubicBezTo>
                  <a:cubicBezTo>
                    <a:pt x="1651" y="340"/>
                    <a:pt x="1656" y="341"/>
                    <a:pt x="1656" y="338"/>
                  </a:cubicBezTo>
                  <a:cubicBezTo>
                    <a:pt x="1655" y="338"/>
                    <a:pt x="1653" y="336"/>
                    <a:pt x="1656" y="336"/>
                  </a:cubicBezTo>
                  <a:cubicBezTo>
                    <a:pt x="1662" y="335"/>
                    <a:pt x="1663" y="338"/>
                    <a:pt x="1667" y="338"/>
                  </a:cubicBezTo>
                  <a:cubicBezTo>
                    <a:pt x="1667" y="338"/>
                    <a:pt x="1669" y="334"/>
                    <a:pt x="1670" y="333"/>
                  </a:cubicBezTo>
                  <a:cubicBezTo>
                    <a:pt x="1670" y="333"/>
                    <a:pt x="1678" y="338"/>
                    <a:pt x="1681" y="336"/>
                  </a:cubicBezTo>
                  <a:cubicBezTo>
                    <a:pt x="1682" y="330"/>
                    <a:pt x="1676" y="330"/>
                    <a:pt x="1678" y="324"/>
                  </a:cubicBezTo>
                  <a:cubicBezTo>
                    <a:pt x="1682" y="323"/>
                    <a:pt x="1683" y="320"/>
                    <a:pt x="1686" y="319"/>
                  </a:cubicBezTo>
                  <a:cubicBezTo>
                    <a:pt x="1686" y="322"/>
                    <a:pt x="1691" y="321"/>
                    <a:pt x="1692" y="324"/>
                  </a:cubicBezTo>
                  <a:cubicBezTo>
                    <a:pt x="1681" y="324"/>
                    <a:pt x="1694" y="328"/>
                    <a:pt x="1695" y="331"/>
                  </a:cubicBezTo>
                  <a:cubicBezTo>
                    <a:pt x="1695" y="330"/>
                    <a:pt x="1687" y="343"/>
                    <a:pt x="1695" y="340"/>
                  </a:cubicBezTo>
                  <a:cubicBezTo>
                    <a:pt x="1694" y="335"/>
                    <a:pt x="1705" y="339"/>
                    <a:pt x="1709" y="337"/>
                  </a:cubicBezTo>
                  <a:cubicBezTo>
                    <a:pt x="1709" y="335"/>
                    <a:pt x="1712" y="334"/>
                    <a:pt x="1714" y="333"/>
                  </a:cubicBezTo>
                  <a:cubicBezTo>
                    <a:pt x="1714" y="335"/>
                    <a:pt x="1715" y="338"/>
                    <a:pt x="1720" y="337"/>
                  </a:cubicBezTo>
                  <a:cubicBezTo>
                    <a:pt x="1716" y="330"/>
                    <a:pt x="1728" y="335"/>
                    <a:pt x="1725" y="328"/>
                  </a:cubicBezTo>
                  <a:cubicBezTo>
                    <a:pt x="1721" y="327"/>
                    <a:pt x="1715" y="329"/>
                    <a:pt x="1714" y="326"/>
                  </a:cubicBezTo>
                  <a:cubicBezTo>
                    <a:pt x="1717" y="322"/>
                    <a:pt x="1718" y="318"/>
                    <a:pt x="1722" y="316"/>
                  </a:cubicBezTo>
                  <a:cubicBezTo>
                    <a:pt x="1718" y="324"/>
                    <a:pt x="1731" y="317"/>
                    <a:pt x="1730" y="323"/>
                  </a:cubicBezTo>
                  <a:cubicBezTo>
                    <a:pt x="1727" y="323"/>
                    <a:pt x="1727" y="329"/>
                    <a:pt x="1730" y="330"/>
                  </a:cubicBezTo>
                  <a:cubicBezTo>
                    <a:pt x="1734" y="325"/>
                    <a:pt x="1735" y="318"/>
                    <a:pt x="1744" y="318"/>
                  </a:cubicBezTo>
                  <a:cubicBezTo>
                    <a:pt x="1741" y="323"/>
                    <a:pt x="1735" y="326"/>
                    <a:pt x="1733" y="332"/>
                  </a:cubicBezTo>
                  <a:cubicBezTo>
                    <a:pt x="1748" y="334"/>
                    <a:pt x="1742" y="318"/>
                    <a:pt x="1760" y="322"/>
                  </a:cubicBezTo>
                  <a:cubicBezTo>
                    <a:pt x="1767" y="320"/>
                    <a:pt x="1754" y="312"/>
                    <a:pt x="1763" y="308"/>
                  </a:cubicBezTo>
                  <a:cubicBezTo>
                    <a:pt x="1759" y="319"/>
                    <a:pt x="1769" y="319"/>
                    <a:pt x="1774" y="322"/>
                  </a:cubicBezTo>
                  <a:cubicBezTo>
                    <a:pt x="1773" y="327"/>
                    <a:pt x="1760" y="323"/>
                    <a:pt x="1763" y="332"/>
                  </a:cubicBezTo>
                  <a:cubicBezTo>
                    <a:pt x="1770" y="333"/>
                    <a:pt x="1769" y="327"/>
                    <a:pt x="1777" y="329"/>
                  </a:cubicBezTo>
                  <a:cubicBezTo>
                    <a:pt x="1776" y="324"/>
                    <a:pt x="1779" y="322"/>
                    <a:pt x="1785" y="322"/>
                  </a:cubicBezTo>
                  <a:cubicBezTo>
                    <a:pt x="1783" y="330"/>
                    <a:pt x="1790" y="330"/>
                    <a:pt x="1796" y="331"/>
                  </a:cubicBezTo>
                  <a:cubicBezTo>
                    <a:pt x="1793" y="321"/>
                    <a:pt x="1802" y="324"/>
                    <a:pt x="1807" y="322"/>
                  </a:cubicBezTo>
                  <a:cubicBezTo>
                    <a:pt x="1809" y="320"/>
                    <a:pt x="1810" y="315"/>
                    <a:pt x="1815" y="317"/>
                  </a:cubicBezTo>
                  <a:cubicBezTo>
                    <a:pt x="1818" y="323"/>
                    <a:pt x="1811" y="323"/>
                    <a:pt x="1813" y="329"/>
                  </a:cubicBezTo>
                  <a:cubicBezTo>
                    <a:pt x="1818" y="329"/>
                    <a:pt x="1817" y="327"/>
                    <a:pt x="1818" y="324"/>
                  </a:cubicBezTo>
                  <a:cubicBezTo>
                    <a:pt x="1818" y="323"/>
                    <a:pt x="1821" y="324"/>
                    <a:pt x="1821" y="324"/>
                  </a:cubicBezTo>
                  <a:cubicBezTo>
                    <a:pt x="1822" y="321"/>
                    <a:pt x="1820" y="317"/>
                    <a:pt x="1821" y="314"/>
                  </a:cubicBezTo>
                  <a:cubicBezTo>
                    <a:pt x="1822" y="303"/>
                    <a:pt x="1828" y="308"/>
                    <a:pt x="1823" y="314"/>
                  </a:cubicBezTo>
                  <a:cubicBezTo>
                    <a:pt x="1834" y="316"/>
                    <a:pt x="1825" y="302"/>
                    <a:pt x="1837" y="305"/>
                  </a:cubicBezTo>
                  <a:cubicBezTo>
                    <a:pt x="1834" y="311"/>
                    <a:pt x="1833" y="322"/>
                    <a:pt x="1843" y="323"/>
                  </a:cubicBezTo>
                  <a:cubicBezTo>
                    <a:pt x="1849" y="318"/>
                    <a:pt x="1839" y="319"/>
                    <a:pt x="1840" y="312"/>
                  </a:cubicBezTo>
                  <a:cubicBezTo>
                    <a:pt x="1843" y="312"/>
                    <a:pt x="1844" y="315"/>
                    <a:pt x="1848" y="314"/>
                  </a:cubicBezTo>
                  <a:cubicBezTo>
                    <a:pt x="1853" y="308"/>
                    <a:pt x="1844" y="304"/>
                    <a:pt x="1851" y="300"/>
                  </a:cubicBezTo>
                  <a:cubicBezTo>
                    <a:pt x="1858" y="309"/>
                    <a:pt x="1841" y="322"/>
                    <a:pt x="1854" y="328"/>
                  </a:cubicBezTo>
                  <a:cubicBezTo>
                    <a:pt x="1853" y="321"/>
                    <a:pt x="1854" y="316"/>
                    <a:pt x="1859" y="314"/>
                  </a:cubicBezTo>
                  <a:cubicBezTo>
                    <a:pt x="1868" y="315"/>
                    <a:pt x="1866" y="307"/>
                    <a:pt x="1873" y="306"/>
                  </a:cubicBezTo>
                  <a:cubicBezTo>
                    <a:pt x="1875" y="314"/>
                    <a:pt x="1870" y="316"/>
                    <a:pt x="1867" y="320"/>
                  </a:cubicBezTo>
                  <a:cubicBezTo>
                    <a:pt x="1878" y="323"/>
                    <a:pt x="1872" y="312"/>
                    <a:pt x="1881" y="313"/>
                  </a:cubicBezTo>
                  <a:cubicBezTo>
                    <a:pt x="1881" y="316"/>
                    <a:pt x="1878" y="317"/>
                    <a:pt x="1878" y="320"/>
                  </a:cubicBezTo>
                  <a:cubicBezTo>
                    <a:pt x="1884" y="321"/>
                    <a:pt x="1884" y="317"/>
                    <a:pt x="1886" y="315"/>
                  </a:cubicBezTo>
                  <a:cubicBezTo>
                    <a:pt x="1891" y="316"/>
                    <a:pt x="1889" y="321"/>
                    <a:pt x="1895" y="320"/>
                  </a:cubicBezTo>
                  <a:cubicBezTo>
                    <a:pt x="1897" y="315"/>
                    <a:pt x="1895" y="308"/>
                    <a:pt x="1903" y="303"/>
                  </a:cubicBezTo>
                  <a:cubicBezTo>
                    <a:pt x="1903" y="307"/>
                    <a:pt x="1904" y="309"/>
                    <a:pt x="1906" y="310"/>
                  </a:cubicBezTo>
                  <a:cubicBezTo>
                    <a:pt x="1895" y="307"/>
                    <a:pt x="1905" y="325"/>
                    <a:pt x="1906" y="325"/>
                  </a:cubicBezTo>
                  <a:cubicBezTo>
                    <a:pt x="1909" y="319"/>
                    <a:pt x="1905" y="320"/>
                    <a:pt x="1908" y="313"/>
                  </a:cubicBezTo>
                  <a:cubicBezTo>
                    <a:pt x="1919" y="315"/>
                    <a:pt x="1916" y="307"/>
                    <a:pt x="1925" y="308"/>
                  </a:cubicBezTo>
                  <a:cubicBezTo>
                    <a:pt x="1929" y="309"/>
                    <a:pt x="1925" y="317"/>
                    <a:pt x="1930" y="317"/>
                  </a:cubicBezTo>
                  <a:cubicBezTo>
                    <a:pt x="1936" y="311"/>
                    <a:pt x="1927" y="306"/>
                    <a:pt x="1933" y="303"/>
                  </a:cubicBezTo>
                  <a:cubicBezTo>
                    <a:pt x="1937" y="303"/>
                    <a:pt x="1935" y="309"/>
                    <a:pt x="1939" y="310"/>
                  </a:cubicBezTo>
                  <a:cubicBezTo>
                    <a:pt x="1939" y="308"/>
                    <a:pt x="1941" y="307"/>
                    <a:pt x="1944" y="307"/>
                  </a:cubicBezTo>
                  <a:cubicBezTo>
                    <a:pt x="1948" y="307"/>
                    <a:pt x="1955" y="298"/>
                    <a:pt x="1949" y="298"/>
                  </a:cubicBezTo>
                  <a:cubicBezTo>
                    <a:pt x="1950" y="303"/>
                    <a:pt x="1941" y="298"/>
                    <a:pt x="1941" y="296"/>
                  </a:cubicBezTo>
                  <a:cubicBezTo>
                    <a:pt x="1952" y="300"/>
                    <a:pt x="1950" y="292"/>
                    <a:pt x="1955" y="295"/>
                  </a:cubicBezTo>
                  <a:cubicBezTo>
                    <a:pt x="1957" y="297"/>
                    <a:pt x="1963" y="294"/>
                    <a:pt x="1966" y="295"/>
                  </a:cubicBezTo>
                  <a:cubicBezTo>
                    <a:pt x="1966" y="293"/>
                    <a:pt x="1966" y="291"/>
                    <a:pt x="1968" y="291"/>
                  </a:cubicBezTo>
                  <a:cubicBezTo>
                    <a:pt x="1968" y="295"/>
                    <a:pt x="1972" y="295"/>
                    <a:pt x="1974" y="297"/>
                  </a:cubicBezTo>
                  <a:cubicBezTo>
                    <a:pt x="1975" y="302"/>
                    <a:pt x="1971" y="303"/>
                    <a:pt x="1971" y="307"/>
                  </a:cubicBezTo>
                  <a:cubicBezTo>
                    <a:pt x="1978" y="311"/>
                    <a:pt x="1992" y="309"/>
                    <a:pt x="1999" y="306"/>
                  </a:cubicBezTo>
                  <a:cubicBezTo>
                    <a:pt x="1999" y="304"/>
                    <a:pt x="1998" y="300"/>
                    <a:pt x="2001" y="299"/>
                  </a:cubicBezTo>
                  <a:cubicBezTo>
                    <a:pt x="2004" y="301"/>
                    <a:pt x="2011" y="310"/>
                    <a:pt x="2013" y="304"/>
                  </a:cubicBezTo>
                  <a:cubicBezTo>
                    <a:pt x="2011" y="304"/>
                    <a:pt x="2009" y="302"/>
                    <a:pt x="2012" y="301"/>
                  </a:cubicBezTo>
                  <a:cubicBezTo>
                    <a:pt x="2013" y="298"/>
                    <a:pt x="2011" y="296"/>
                    <a:pt x="2010" y="295"/>
                  </a:cubicBezTo>
                  <a:cubicBezTo>
                    <a:pt x="2017" y="296"/>
                    <a:pt x="2017" y="291"/>
                    <a:pt x="2023" y="292"/>
                  </a:cubicBezTo>
                  <a:cubicBezTo>
                    <a:pt x="2024" y="298"/>
                    <a:pt x="2019" y="297"/>
                    <a:pt x="2023" y="301"/>
                  </a:cubicBezTo>
                  <a:cubicBezTo>
                    <a:pt x="2021" y="301"/>
                    <a:pt x="2020" y="305"/>
                    <a:pt x="2024" y="306"/>
                  </a:cubicBezTo>
                  <a:cubicBezTo>
                    <a:pt x="2025" y="297"/>
                    <a:pt x="2032" y="305"/>
                    <a:pt x="2034" y="303"/>
                  </a:cubicBezTo>
                  <a:cubicBezTo>
                    <a:pt x="2036" y="303"/>
                    <a:pt x="2034" y="298"/>
                    <a:pt x="2037" y="299"/>
                  </a:cubicBezTo>
                  <a:cubicBezTo>
                    <a:pt x="2037" y="303"/>
                    <a:pt x="2045" y="300"/>
                    <a:pt x="2045" y="303"/>
                  </a:cubicBezTo>
                  <a:cubicBezTo>
                    <a:pt x="2038" y="300"/>
                    <a:pt x="2033" y="310"/>
                    <a:pt x="2040" y="310"/>
                  </a:cubicBezTo>
                  <a:cubicBezTo>
                    <a:pt x="2040" y="304"/>
                    <a:pt x="2048" y="306"/>
                    <a:pt x="2051" y="303"/>
                  </a:cubicBezTo>
                  <a:cubicBezTo>
                    <a:pt x="2053" y="301"/>
                    <a:pt x="2050" y="291"/>
                    <a:pt x="2059" y="294"/>
                  </a:cubicBezTo>
                  <a:cubicBezTo>
                    <a:pt x="2057" y="299"/>
                    <a:pt x="2051" y="301"/>
                    <a:pt x="2051" y="308"/>
                  </a:cubicBezTo>
                  <a:cubicBezTo>
                    <a:pt x="2061" y="307"/>
                    <a:pt x="2062" y="299"/>
                    <a:pt x="2073" y="298"/>
                  </a:cubicBezTo>
                  <a:cubicBezTo>
                    <a:pt x="2072" y="294"/>
                    <a:pt x="2064" y="279"/>
                    <a:pt x="2075" y="279"/>
                  </a:cubicBezTo>
                  <a:cubicBezTo>
                    <a:pt x="2072" y="288"/>
                    <a:pt x="2072" y="298"/>
                    <a:pt x="2084" y="303"/>
                  </a:cubicBezTo>
                  <a:cubicBezTo>
                    <a:pt x="2085" y="299"/>
                    <a:pt x="2080" y="297"/>
                    <a:pt x="2084" y="296"/>
                  </a:cubicBezTo>
                  <a:cubicBezTo>
                    <a:pt x="2090" y="299"/>
                    <a:pt x="2088" y="301"/>
                    <a:pt x="2087" y="307"/>
                  </a:cubicBezTo>
                  <a:cubicBezTo>
                    <a:pt x="2095" y="308"/>
                    <a:pt x="2096" y="298"/>
                    <a:pt x="2103" y="305"/>
                  </a:cubicBezTo>
                  <a:cubicBezTo>
                    <a:pt x="2102" y="295"/>
                    <a:pt x="2109" y="303"/>
                    <a:pt x="2114" y="302"/>
                  </a:cubicBezTo>
                  <a:cubicBezTo>
                    <a:pt x="2115" y="299"/>
                    <a:pt x="2118" y="298"/>
                    <a:pt x="2117" y="293"/>
                  </a:cubicBezTo>
                  <a:cubicBezTo>
                    <a:pt x="2122" y="293"/>
                    <a:pt x="2122" y="289"/>
                    <a:pt x="2125" y="288"/>
                  </a:cubicBezTo>
                  <a:cubicBezTo>
                    <a:pt x="2124" y="293"/>
                    <a:pt x="2119" y="301"/>
                    <a:pt x="2128" y="302"/>
                  </a:cubicBezTo>
                  <a:cubicBezTo>
                    <a:pt x="2128" y="300"/>
                    <a:pt x="2128" y="297"/>
                    <a:pt x="2130" y="297"/>
                  </a:cubicBezTo>
                  <a:cubicBezTo>
                    <a:pt x="2127" y="305"/>
                    <a:pt x="2139" y="299"/>
                    <a:pt x="2136" y="306"/>
                  </a:cubicBezTo>
                  <a:cubicBezTo>
                    <a:pt x="2135" y="306"/>
                    <a:pt x="2133" y="308"/>
                    <a:pt x="2136" y="309"/>
                  </a:cubicBezTo>
                  <a:cubicBezTo>
                    <a:pt x="2137" y="306"/>
                    <a:pt x="2140" y="304"/>
                    <a:pt x="2139" y="299"/>
                  </a:cubicBezTo>
                  <a:cubicBezTo>
                    <a:pt x="2146" y="298"/>
                    <a:pt x="2149" y="288"/>
                    <a:pt x="2152" y="285"/>
                  </a:cubicBezTo>
                  <a:cubicBezTo>
                    <a:pt x="2154" y="292"/>
                    <a:pt x="2154" y="289"/>
                    <a:pt x="2152" y="297"/>
                  </a:cubicBezTo>
                  <a:cubicBezTo>
                    <a:pt x="2166" y="292"/>
                    <a:pt x="2160" y="304"/>
                    <a:pt x="2169" y="303"/>
                  </a:cubicBezTo>
                  <a:cubicBezTo>
                    <a:pt x="2175" y="311"/>
                    <a:pt x="2170" y="295"/>
                    <a:pt x="2174" y="294"/>
                  </a:cubicBezTo>
                  <a:cubicBezTo>
                    <a:pt x="2176" y="294"/>
                    <a:pt x="2179" y="297"/>
                    <a:pt x="2180" y="296"/>
                  </a:cubicBezTo>
                  <a:cubicBezTo>
                    <a:pt x="2182" y="294"/>
                    <a:pt x="2177" y="287"/>
                    <a:pt x="2182" y="287"/>
                  </a:cubicBezTo>
                  <a:cubicBezTo>
                    <a:pt x="2187" y="286"/>
                    <a:pt x="2184" y="294"/>
                    <a:pt x="2188" y="294"/>
                  </a:cubicBezTo>
                  <a:cubicBezTo>
                    <a:pt x="2189" y="285"/>
                    <a:pt x="2188" y="282"/>
                    <a:pt x="2190" y="280"/>
                  </a:cubicBezTo>
                  <a:cubicBezTo>
                    <a:pt x="2201" y="287"/>
                    <a:pt x="2186" y="293"/>
                    <a:pt x="2193" y="294"/>
                  </a:cubicBezTo>
                  <a:cubicBezTo>
                    <a:pt x="2200" y="294"/>
                    <a:pt x="2195" y="303"/>
                    <a:pt x="2196" y="305"/>
                  </a:cubicBezTo>
                  <a:cubicBezTo>
                    <a:pt x="2208" y="306"/>
                    <a:pt x="2196" y="302"/>
                    <a:pt x="2199" y="296"/>
                  </a:cubicBezTo>
                  <a:cubicBezTo>
                    <a:pt x="2205" y="293"/>
                    <a:pt x="2206" y="296"/>
                    <a:pt x="2213" y="291"/>
                  </a:cubicBezTo>
                  <a:cubicBezTo>
                    <a:pt x="2218" y="293"/>
                    <a:pt x="2212" y="304"/>
                    <a:pt x="2218" y="305"/>
                  </a:cubicBezTo>
                  <a:cubicBezTo>
                    <a:pt x="2219" y="299"/>
                    <a:pt x="2223" y="297"/>
                    <a:pt x="2226" y="293"/>
                  </a:cubicBezTo>
                  <a:cubicBezTo>
                    <a:pt x="2227" y="299"/>
                    <a:pt x="2231" y="290"/>
                    <a:pt x="2237" y="293"/>
                  </a:cubicBezTo>
                  <a:cubicBezTo>
                    <a:pt x="2244" y="290"/>
                    <a:pt x="2232" y="284"/>
                    <a:pt x="2240" y="281"/>
                  </a:cubicBezTo>
                  <a:cubicBezTo>
                    <a:pt x="2243" y="281"/>
                    <a:pt x="2242" y="285"/>
                    <a:pt x="2245" y="286"/>
                  </a:cubicBezTo>
                  <a:cubicBezTo>
                    <a:pt x="2253" y="281"/>
                    <a:pt x="2242" y="274"/>
                    <a:pt x="2248" y="274"/>
                  </a:cubicBezTo>
                  <a:cubicBezTo>
                    <a:pt x="2250" y="274"/>
                    <a:pt x="2252" y="274"/>
                    <a:pt x="2253" y="274"/>
                  </a:cubicBezTo>
                  <a:cubicBezTo>
                    <a:pt x="2250" y="277"/>
                    <a:pt x="2250" y="280"/>
                    <a:pt x="2254" y="283"/>
                  </a:cubicBezTo>
                  <a:cubicBezTo>
                    <a:pt x="2250" y="286"/>
                    <a:pt x="2245" y="287"/>
                    <a:pt x="2243" y="290"/>
                  </a:cubicBezTo>
                  <a:cubicBezTo>
                    <a:pt x="2247" y="290"/>
                    <a:pt x="2252" y="290"/>
                    <a:pt x="2257" y="290"/>
                  </a:cubicBezTo>
                  <a:cubicBezTo>
                    <a:pt x="2256" y="296"/>
                    <a:pt x="2257" y="299"/>
                    <a:pt x="2262" y="300"/>
                  </a:cubicBezTo>
                  <a:cubicBezTo>
                    <a:pt x="2263" y="295"/>
                    <a:pt x="2259" y="288"/>
                    <a:pt x="2267" y="290"/>
                  </a:cubicBezTo>
                  <a:cubicBezTo>
                    <a:pt x="2268" y="293"/>
                    <a:pt x="2264" y="294"/>
                    <a:pt x="2268" y="295"/>
                  </a:cubicBezTo>
                  <a:cubicBezTo>
                    <a:pt x="2272" y="288"/>
                    <a:pt x="2276" y="301"/>
                    <a:pt x="2281" y="302"/>
                  </a:cubicBezTo>
                  <a:cubicBezTo>
                    <a:pt x="2281" y="295"/>
                    <a:pt x="2280" y="288"/>
                    <a:pt x="2287" y="287"/>
                  </a:cubicBezTo>
                  <a:cubicBezTo>
                    <a:pt x="2287" y="292"/>
                    <a:pt x="2289" y="295"/>
                    <a:pt x="2292" y="297"/>
                  </a:cubicBezTo>
                  <a:cubicBezTo>
                    <a:pt x="2293" y="294"/>
                    <a:pt x="2295" y="295"/>
                    <a:pt x="2298" y="297"/>
                  </a:cubicBezTo>
                  <a:cubicBezTo>
                    <a:pt x="2298" y="294"/>
                    <a:pt x="2297" y="290"/>
                    <a:pt x="2300" y="289"/>
                  </a:cubicBezTo>
                  <a:cubicBezTo>
                    <a:pt x="2303" y="298"/>
                    <a:pt x="2306" y="286"/>
                    <a:pt x="2309" y="287"/>
                  </a:cubicBezTo>
                  <a:cubicBezTo>
                    <a:pt x="2311" y="288"/>
                    <a:pt x="2311" y="294"/>
                    <a:pt x="2314" y="294"/>
                  </a:cubicBezTo>
                  <a:cubicBezTo>
                    <a:pt x="2318" y="288"/>
                    <a:pt x="2307" y="285"/>
                    <a:pt x="2314" y="284"/>
                  </a:cubicBezTo>
                  <a:cubicBezTo>
                    <a:pt x="2321" y="283"/>
                    <a:pt x="2319" y="289"/>
                    <a:pt x="2322" y="291"/>
                  </a:cubicBezTo>
                  <a:cubicBezTo>
                    <a:pt x="2319" y="291"/>
                    <a:pt x="2313" y="298"/>
                    <a:pt x="2320" y="299"/>
                  </a:cubicBezTo>
                  <a:cubicBezTo>
                    <a:pt x="2320" y="296"/>
                    <a:pt x="2323" y="295"/>
                    <a:pt x="2325" y="294"/>
                  </a:cubicBezTo>
                  <a:cubicBezTo>
                    <a:pt x="2326" y="290"/>
                    <a:pt x="2317" y="282"/>
                    <a:pt x="2325" y="280"/>
                  </a:cubicBezTo>
                  <a:cubicBezTo>
                    <a:pt x="2330" y="280"/>
                    <a:pt x="2326" y="301"/>
                    <a:pt x="2331" y="294"/>
                  </a:cubicBezTo>
                  <a:cubicBezTo>
                    <a:pt x="2331" y="284"/>
                    <a:pt x="2328" y="271"/>
                    <a:pt x="2338" y="270"/>
                  </a:cubicBezTo>
                  <a:cubicBezTo>
                    <a:pt x="2332" y="275"/>
                    <a:pt x="2338" y="281"/>
                    <a:pt x="2339" y="286"/>
                  </a:cubicBezTo>
                  <a:cubicBezTo>
                    <a:pt x="2339" y="289"/>
                    <a:pt x="2336" y="289"/>
                    <a:pt x="2336" y="291"/>
                  </a:cubicBezTo>
                  <a:cubicBezTo>
                    <a:pt x="2336" y="294"/>
                    <a:pt x="2340" y="295"/>
                    <a:pt x="2342" y="296"/>
                  </a:cubicBezTo>
                  <a:cubicBezTo>
                    <a:pt x="2342" y="292"/>
                    <a:pt x="2340" y="287"/>
                    <a:pt x="2344" y="286"/>
                  </a:cubicBezTo>
                  <a:cubicBezTo>
                    <a:pt x="2348" y="286"/>
                    <a:pt x="2347" y="290"/>
                    <a:pt x="2350" y="291"/>
                  </a:cubicBezTo>
                  <a:cubicBezTo>
                    <a:pt x="2352" y="278"/>
                    <a:pt x="2350" y="297"/>
                    <a:pt x="2358" y="293"/>
                  </a:cubicBezTo>
                  <a:cubicBezTo>
                    <a:pt x="2362" y="286"/>
                    <a:pt x="2357" y="286"/>
                    <a:pt x="2358" y="277"/>
                  </a:cubicBezTo>
                  <a:cubicBezTo>
                    <a:pt x="2363" y="278"/>
                    <a:pt x="2361" y="271"/>
                    <a:pt x="2366" y="270"/>
                  </a:cubicBezTo>
                  <a:cubicBezTo>
                    <a:pt x="2369" y="269"/>
                    <a:pt x="2374" y="270"/>
                    <a:pt x="2374" y="272"/>
                  </a:cubicBezTo>
                  <a:cubicBezTo>
                    <a:pt x="2371" y="273"/>
                    <a:pt x="2367" y="274"/>
                    <a:pt x="2366" y="277"/>
                  </a:cubicBezTo>
                  <a:cubicBezTo>
                    <a:pt x="2366" y="276"/>
                    <a:pt x="2371" y="279"/>
                    <a:pt x="2369" y="281"/>
                  </a:cubicBezTo>
                  <a:cubicBezTo>
                    <a:pt x="2365" y="285"/>
                    <a:pt x="2368" y="284"/>
                    <a:pt x="2369" y="288"/>
                  </a:cubicBezTo>
                  <a:cubicBezTo>
                    <a:pt x="2369" y="288"/>
                    <a:pt x="2363" y="293"/>
                    <a:pt x="2369" y="293"/>
                  </a:cubicBezTo>
                  <a:cubicBezTo>
                    <a:pt x="2374" y="285"/>
                    <a:pt x="2379" y="296"/>
                    <a:pt x="2386" y="295"/>
                  </a:cubicBezTo>
                  <a:cubicBezTo>
                    <a:pt x="2387" y="295"/>
                    <a:pt x="2385" y="289"/>
                    <a:pt x="2388" y="290"/>
                  </a:cubicBezTo>
                  <a:cubicBezTo>
                    <a:pt x="2389" y="296"/>
                    <a:pt x="2397" y="291"/>
                    <a:pt x="2399" y="290"/>
                  </a:cubicBezTo>
                  <a:cubicBezTo>
                    <a:pt x="2399" y="282"/>
                    <a:pt x="2392" y="273"/>
                    <a:pt x="2401" y="267"/>
                  </a:cubicBezTo>
                  <a:cubicBezTo>
                    <a:pt x="2397" y="274"/>
                    <a:pt x="2403" y="277"/>
                    <a:pt x="2402" y="288"/>
                  </a:cubicBezTo>
                  <a:cubicBezTo>
                    <a:pt x="2407" y="288"/>
                    <a:pt x="2409" y="292"/>
                    <a:pt x="2413" y="294"/>
                  </a:cubicBezTo>
                  <a:cubicBezTo>
                    <a:pt x="2411" y="288"/>
                    <a:pt x="2417" y="288"/>
                    <a:pt x="2415" y="283"/>
                  </a:cubicBezTo>
                  <a:cubicBezTo>
                    <a:pt x="2412" y="282"/>
                    <a:pt x="2408" y="283"/>
                    <a:pt x="2407" y="281"/>
                  </a:cubicBezTo>
                  <a:cubicBezTo>
                    <a:pt x="2420" y="283"/>
                    <a:pt x="2414" y="269"/>
                    <a:pt x="2423" y="269"/>
                  </a:cubicBezTo>
                  <a:cubicBezTo>
                    <a:pt x="2419" y="274"/>
                    <a:pt x="2426" y="278"/>
                    <a:pt x="2426" y="283"/>
                  </a:cubicBezTo>
                  <a:cubicBezTo>
                    <a:pt x="2427" y="285"/>
                    <a:pt x="2421" y="288"/>
                    <a:pt x="2427" y="290"/>
                  </a:cubicBezTo>
                  <a:cubicBezTo>
                    <a:pt x="2428" y="286"/>
                    <a:pt x="2430" y="290"/>
                    <a:pt x="2435" y="289"/>
                  </a:cubicBezTo>
                  <a:cubicBezTo>
                    <a:pt x="2438" y="284"/>
                    <a:pt x="2424" y="282"/>
                    <a:pt x="2432" y="280"/>
                  </a:cubicBezTo>
                  <a:cubicBezTo>
                    <a:pt x="2441" y="278"/>
                    <a:pt x="2436" y="288"/>
                    <a:pt x="2443" y="287"/>
                  </a:cubicBezTo>
                  <a:cubicBezTo>
                    <a:pt x="2441" y="278"/>
                    <a:pt x="2434" y="268"/>
                    <a:pt x="2443" y="261"/>
                  </a:cubicBezTo>
                  <a:cubicBezTo>
                    <a:pt x="2448" y="268"/>
                    <a:pt x="2439" y="284"/>
                    <a:pt x="2451" y="289"/>
                  </a:cubicBezTo>
                  <a:cubicBezTo>
                    <a:pt x="2449" y="280"/>
                    <a:pt x="2456" y="279"/>
                    <a:pt x="2459" y="275"/>
                  </a:cubicBezTo>
                  <a:cubicBezTo>
                    <a:pt x="2458" y="280"/>
                    <a:pt x="2467" y="277"/>
                    <a:pt x="2468" y="282"/>
                  </a:cubicBezTo>
                  <a:cubicBezTo>
                    <a:pt x="2459" y="285"/>
                    <a:pt x="2472" y="291"/>
                    <a:pt x="2465" y="294"/>
                  </a:cubicBezTo>
                  <a:cubicBezTo>
                    <a:pt x="2473" y="295"/>
                    <a:pt x="2470" y="289"/>
                    <a:pt x="2476" y="289"/>
                  </a:cubicBezTo>
                  <a:cubicBezTo>
                    <a:pt x="2476" y="292"/>
                    <a:pt x="2477" y="294"/>
                    <a:pt x="2482" y="293"/>
                  </a:cubicBezTo>
                  <a:cubicBezTo>
                    <a:pt x="2479" y="288"/>
                    <a:pt x="2479" y="284"/>
                    <a:pt x="2484" y="279"/>
                  </a:cubicBezTo>
                  <a:cubicBezTo>
                    <a:pt x="2489" y="278"/>
                    <a:pt x="2500" y="282"/>
                    <a:pt x="2500" y="277"/>
                  </a:cubicBezTo>
                  <a:cubicBezTo>
                    <a:pt x="2499" y="277"/>
                    <a:pt x="2497" y="275"/>
                    <a:pt x="2500" y="274"/>
                  </a:cubicBezTo>
                  <a:cubicBezTo>
                    <a:pt x="2501" y="277"/>
                    <a:pt x="2504" y="279"/>
                    <a:pt x="2503" y="284"/>
                  </a:cubicBezTo>
                  <a:cubicBezTo>
                    <a:pt x="2500" y="281"/>
                    <a:pt x="2479" y="277"/>
                    <a:pt x="2484" y="289"/>
                  </a:cubicBezTo>
                  <a:cubicBezTo>
                    <a:pt x="2493" y="290"/>
                    <a:pt x="2493" y="285"/>
                    <a:pt x="2498" y="284"/>
                  </a:cubicBezTo>
                  <a:cubicBezTo>
                    <a:pt x="2496" y="288"/>
                    <a:pt x="2502" y="287"/>
                    <a:pt x="2503" y="288"/>
                  </a:cubicBezTo>
                  <a:cubicBezTo>
                    <a:pt x="2505" y="290"/>
                    <a:pt x="2503" y="295"/>
                    <a:pt x="2509" y="293"/>
                  </a:cubicBezTo>
                  <a:cubicBezTo>
                    <a:pt x="2507" y="284"/>
                    <a:pt x="2508" y="287"/>
                    <a:pt x="2506" y="276"/>
                  </a:cubicBezTo>
                  <a:cubicBezTo>
                    <a:pt x="2512" y="282"/>
                    <a:pt x="2523" y="270"/>
                    <a:pt x="2525" y="281"/>
                  </a:cubicBezTo>
                  <a:cubicBezTo>
                    <a:pt x="2522" y="278"/>
                    <a:pt x="2515" y="278"/>
                    <a:pt x="2511" y="281"/>
                  </a:cubicBezTo>
                  <a:cubicBezTo>
                    <a:pt x="2512" y="287"/>
                    <a:pt x="2514" y="291"/>
                    <a:pt x="2520" y="293"/>
                  </a:cubicBezTo>
                  <a:cubicBezTo>
                    <a:pt x="2522" y="289"/>
                    <a:pt x="2526" y="288"/>
                    <a:pt x="2531" y="288"/>
                  </a:cubicBezTo>
                  <a:cubicBezTo>
                    <a:pt x="2531" y="290"/>
                    <a:pt x="2531" y="292"/>
                    <a:pt x="2534" y="292"/>
                  </a:cubicBezTo>
                  <a:cubicBezTo>
                    <a:pt x="2531" y="284"/>
                    <a:pt x="2533" y="284"/>
                    <a:pt x="2528" y="276"/>
                  </a:cubicBezTo>
                  <a:cubicBezTo>
                    <a:pt x="2531" y="274"/>
                    <a:pt x="2535" y="273"/>
                    <a:pt x="2542" y="273"/>
                  </a:cubicBezTo>
                  <a:cubicBezTo>
                    <a:pt x="2540" y="277"/>
                    <a:pt x="2538" y="278"/>
                    <a:pt x="2542" y="281"/>
                  </a:cubicBezTo>
                  <a:cubicBezTo>
                    <a:pt x="2544" y="282"/>
                    <a:pt x="2539" y="291"/>
                    <a:pt x="2545" y="290"/>
                  </a:cubicBezTo>
                  <a:cubicBezTo>
                    <a:pt x="2549" y="285"/>
                    <a:pt x="2551" y="283"/>
                    <a:pt x="2547" y="276"/>
                  </a:cubicBezTo>
                  <a:cubicBezTo>
                    <a:pt x="2558" y="280"/>
                    <a:pt x="2550" y="270"/>
                    <a:pt x="2555" y="269"/>
                  </a:cubicBezTo>
                  <a:cubicBezTo>
                    <a:pt x="2554" y="269"/>
                    <a:pt x="2564" y="276"/>
                    <a:pt x="2572" y="273"/>
                  </a:cubicBezTo>
                  <a:cubicBezTo>
                    <a:pt x="2573" y="272"/>
                    <a:pt x="2571" y="266"/>
                    <a:pt x="2577" y="268"/>
                  </a:cubicBezTo>
                  <a:cubicBezTo>
                    <a:pt x="2578" y="274"/>
                    <a:pt x="2576" y="278"/>
                    <a:pt x="2572" y="280"/>
                  </a:cubicBezTo>
                  <a:cubicBezTo>
                    <a:pt x="2571" y="277"/>
                    <a:pt x="2569" y="276"/>
                    <a:pt x="2566" y="275"/>
                  </a:cubicBezTo>
                  <a:cubicBezTo>
                    <a:pt x="2567" y="286"/>
                    <a:pt x="2558" y="276"/>
                    <a:pt x="2555" y="276"/>
                  </a:cubicBezTo>
                  <a:cubicBezTo>
                    <a:pt x="2552" y="281"/>
                    <a:pt x="2562" y="284"/>
                    <a:pt x="2555" y="285"/>
                  </a:cubicBezTo>
                  <a:cubicBezTo>
                    <a:pt x="2554" y="285"/>
                    <a:pt x="2552" y="285"/>
                    <a:pt x="2553" y="287"/>
                  </a:cubicBezTo>
                  <a:cubicBezTo>
                    <a:pt x="2560" y="288"/>
                    <a:pt x="2561" y="284"/>
                    <a:pt x="2566" y="282"/>
                  </a:cubicBezTo>
                  <a:cubicBezTo>
                    <a:pt x="2571" y="290"/>
                    <a:pt x="2578" y="281"/>
                    <a:pt x="2580" y="289"/>
                  </a:cubicBezTo>
                  <a:cubicBezTo>
                    <a:pt x="2580" y="291"/>
                    <a:pt x="2581" y="292"/>
                    <a:pt x="2583" y="292"/>
                  </a:cubicBezTo>
                  <a:cubicBezTo>
                    <a:pt x="2583" y="287"/>
                    <a:pt x="2580" y="286"/>
                    <a:pt x="2580" y="282"/>
                  </a:cubicBezTo>
                  <a:cubicBezTo>
                    <a:pt x="2583" y="282"/>
                    <a:pt x="2583" y="280"/>
                    <a:pt x="2585" y="280"/>
                  </a:cubicBezTo>
                  <a:cubicBezTo>
                    <a:pt x="2586" y="290"/>
                    <a:pt x="2587" y="280"/>
                    <a:pt x="2591" y="280"/>
                  </a:cubicBezTo>
                  <a:cubicBezTo>
                    <a:pt x="2589" y="285"/>
                    <a:pt x="2594" y="295"/>
                    <a:pt x="2597" y="289"/>
                  </a:cubicBezTo>
                  <a:cubicBezTo>
                    <a:pt x="2594" y="289"/>
                    <a:pt x="2593" y="285"/>
                    <a:pt x="2597" y="284"/>
                  </a:cubicBezTo>
                  <a:cubicBezTo>
                    <a:pt x="2600" y="284"/>
                    <a:pt x="2599" y="288"/>
                    <a:pt x="2602" y="289"/>
                  </a:cubicBezTo>
                  <a:cubicBezTo>
                    <a:pt x="2606" y="287"/>
                    <a:pt x="2602" y="283"/>
                    <a:pt x="2602" y="279"/>
                  </a:cubicBezTo>
                  <a:cubicBezTo>
                    <a:pt x="2602" y="277"/>
                    <a:pt x="2605" y="278"/>
                    <a:pt x="2605" y="277"/>
                  </a:cubicBezTo>
                  <a:cubicBezTo>
                    <a:pt x="2606" y="274"/>
                    <a:pt x="2601" y="266"/>
                    <a:pt x="2607" y="265"/>
                  </a:cubicBezTo>
                  <a:cubicBezTo>
                    <a:pt x="2614" y="270"/>
                    <a:pt x="2618" y="277"/>
                    <a:pt x="2629" y="277"/>
                  </a:cubicBezTo>
                  <a:cubicBezTo>
                    <a:pt x="2633" y="277"/>
                    <a:pt x="2632" y="272"/>
                    <a:pt x="2635" y="272"/>
                  </a:cubicBezTo>
                  <a:cubicBezTo>
                    <a:pt x="2638" y="271"/>
                    <a:pt x="2643" y="272"/>
                    <a:pt x="2643" y="269"/>
                  </a:cubicBezTo>
                  <a:cubicBezTo>
                    <a:pt x="2628" y="273"/>
                    <a:pt x="2637" y="256"/>
                    <a:pt x="2637" y="255"/>
                  </a:cubicBezTo>
                  <a:cubicBezTo>
                    <a:pt x="2642" y="248"/>
                    <a:pt x="2636" y="253"/>
                    <a:pt x="2634" y="248"/>
                  </a:cubicBezTo>
                  <a:cubicBezTo>
                    <a:pt x="2639" y="249"/>
                    <a:pt x="2644" y="250"/>
                    <a:pt x="2645" y="253"/>
                  </a:cubicBezTo>
                  <a:cubicBezTo>
                    <a:pt x="2641" y="253"/>
                    <a:pt x="2639" y="255"/>
                    <a:pt x="2640" y="260"/>
                  </a:cubicBezTo>
                  <a:cubicBezTo>
                    <a:pt x="2650" y="264"/>
                    <a:pt x="2655" y="257"/>
                    <a:pt x="2662" y="262"/>
                  </a:cubicBezTo>
                  <a:cubicBezTo>
                    <a:pt x="2658" y="265"/>
                    <a:pt x="2661" y="274"/>
                    <a:pt x="2654" y="274"/>
                  </a:cubicBezTo>
                  <a:cubicBezTo>
                    <a:pt x="2649" y="268"/>
                    <a:pt x="2658" y="265"/>
                    <a:pt x="2648" y="265"/>
                  </a:cubicBezTo>
                  <a:cubicBezTo>
                    <a:pt x="2646" y="276"/>
                    <a:pt x="2650" y="280"/>
                    <a:pt x="2646" y="290"/>
                  </a:cubicBezTo>
                  <a:cubicBezTo>
                    <a:pt x="2654" y="292"/>
                    <a:pt x="2649" y="286"/>
                    <a:pt x="2651" y="283"/>
                  </a:cubicBezTo>
                  <a:cubicBezTo>
                    <a:pt x="2653" y="282"/>
                    <a:pt x="2658" y="284"/>
                    <a:pt x="2657" y="281"/>
                  </a:cubicBezTo>
                  <a:cubicBezTo>
                    <a:pt x="2654" y="280"/>
                    <a:pt x="2650" y="277"/>
                    <a:pt x="2654" y="276"/>
                  </a:cubicBezTo>
                  <a:cubicBezTo>
                    <a:pt x="2661" y="278"/>
                    <a:pt x="2660" y="287"/>
                    <a:pt x="2668" y="288"/>
                  </a:cubicBezTo>
                  <a:cubicBezTo>
                    <a:pt x="2669" y="285"/>
                    <a:pt x="2672" y="282"/>
                    <a:pt x="2673" y="285"/>
                  </a:cubicBezTo>
                  <a:cubicBezTo>
                    <a:pt x="2674" y="287"/>
                    <a:pt x="2674" y="290"/>
                    <a:pt x="2676" y="290"/>
                  </a:cubicBezTo>
                  <a:cubicBezTo>
                    <a:pt x="2676" y="283"/>
                    <a:pt x="2677" y="278"/>
                    <a:pt x="2681" y="276"/>
                  </a:cubicBezTo>
                  <a:cubicBezTo>
                    <a:pt x="2684" y="283"/>
                    <a:pt x="2687" y="273"/>
                    <a:pt x="2690" y="273"/>
                  </a:cubicBezTo>
                  <a:cubicBezTo>
                    <a:pt x="2690" y="276"/>
                    <a:pt x="2692" y="276"/>
                    <a:pt x="2692" y="278"/>
                  </a:cubicBezTo>
                  <a:cubicBezTo>
                    <a:pt x="2690" y="281"/>
                    <a:pt x="2690" y="287"/>
                    <a:pt x="2684" y="287"/>
                  </a:cubicBezTo>
                  <a:cubicBezTo>
                    <a:pt x="2684" y="286"/>
                    <a:pt x="2682" y="285"/>
                    <a:pt x="2682" y="287"/>
                  </a:cubicBezTo>
                  <a:cubicBezTo>
                    <a:pt x="2689" y="293"/>
                    <a:pt x="2699" y="287"/>
                    <a:pt x="2701" y="287"/>
                  </a:cubicBezTo>
                  <a:cubicBezTo>
                    <a:pt x="2704" y="287"/>
                    <a:pt x="2703" y="283"/>
                    <a:pt x="2706" y="282"/>
                  </a:cubicBezTo>
                  <a:cubicBezTo>
                    <a:pt x="2709" y="282"/>
                    <a:pt x="2710" y="284"/>
                    <a:pt x="2712" y="285"/>
                  </a:cubicBezTo>
                  <a:cubicBezTo>
                    <a:pt x="2715" y="275"/>
                    <a:pt x="2700" y="281"/>
                    <a:pt x="2698" y="275"/>
                  </a:cubicBezTo>
                  <a:cubicBezTo>
                    <a:pt x="2702" y="275"/>
                    <a:pt x="2708" y="276"/>
                    <a:pt x="2709" y="273"/>
                  </a:cubicBezTo>
                  <a:cubicBezTo>
                    <a:pt x="2696" y="273"/>
                    <a:pt x="2699" y="251"/>
                    <a:pt x="2711" y="252"/>
                  </a:cubicBezTo>
                  <a:cubicBezTo>
                    <a:pt x="2712" y="255"/>
                    <a:pt x="2710" y="260"/>
                    <a:pt x="2714" y="261"/>
                  </a:cubicBezTo>
                  <a:cubicBezTo>
                    <a:pt x="2720" y="259"/>
                    <a:pt x="2713" y="248"/>
                    <a:pt x="2719" y="247"/>
                  </a:cubicBezTo>
                  <a:cubicBezTo>
                    <a:pt x="2715" y="256"/>
                    <a:pt x="2725" y="258"/>
                    <a:pt x="2725" y="263"/>
                  </a:cubicBezTo>
                  <a:cubicBezTo>
                    <a:pt x="2725" y="263"/>
                    <a:pt x="2720" y="263"/>
                    <a:pt x="2720" y="263"/>
                  </a:cubicBezTo>
                  <a:cubicBezTo>
                    <a:pt x="2719" y="264"/>
                    <a:pt x="2719" y="272"/>
                    <a:pt x="2723" y="280"/>
                  </a:cubicBezTo>
                  <a:cubicBezTo>
                    <a:pt x="2719" y="280"/>
                    <a:pt x="2717" y="279"/>
                    <a:pt x="2714" y="277"/>
                  </a:cubicBezTo>
                  <a:cubicBezTo>
                    <a:pt x="2714" y="281"/>
                    <a:pt x="2716" y="283"/>
                    <a:pt x="2717" y="285"/>
                  </a:cubicBezTo>
                  <a:cubicBezTo>
                    <a:pt x="2723" y="284"/>
                    <a:pt x="2723" y="288"/>
                    <a:pt x="2726" y="289"/>
                  </a:cubicBezTo>
                  <a:cubicBezTo>
                    <a:pt x="2726" y="284"/>
                    <a:pt x="2731" y="273"/>
                    <a:pt x="2731" y="275"/>
                  </a:cubicBezTo>
                  <a:cubicBezTo>
                    <a:pt x="2731" y="273"/>
                    <a:pt x="2728" y="268"/>
                    <a:pt x="2728" y="268"/>
                  </a:cubicBezTo>
                  <a:cubicBezTo>
                    <a:pt x="2729" y="266"/>
                    <a:pt x="2735" y="265"/>
                    <a:pt x="2736" y="263"/>
                  </a:cubicBezTo>
                  <a:cubicBezTo>
                    <a:pt x="2739" y="259"/>
                    <a:pt x="2735" y="255"/>
                    <a:pt x="2741" y="254"/>
                  </a:cubicBezTo>
                  <a:cubicBezTo>
                    <a:pt x="2745" y="254"/>
                    <a:pt x="2747" y="256"/>
                    <a:pt x="2747" y="260"/>
                  </a:cubicBezTo>
                  <a:cubicBezTo>
                    <a:pt x="2742" y="260"/>
                    <a:pt x="2741" y="263"/>
                    <a:pt x="2736" y="263"/>
                  </a:cubicBezTo>
                  <a:cubicBezTo>
                    <a:pt x="2738" y="266"/>
                    <a:pt x="2733" y="275"/>
                    <a:pt x="2739" y="275"/>
                  </a:cubicBezTo>
                  <a:cubicBezTo>
                    <a:pt x="2742" y="270"/>
                    <a:pt x="2738" y="264"/>
                    <a:pt x="2750" y="263"/>
                  </a:cubicBezTo>
                  <a:cubicBezTo>
                    <a:pt x="2751" y="268"/>
                    <a:pt x="2745" y="268"/>
                    <a:pt x="2747" y="275"/>
                  </a:cubicBezTo>
                  <a:cubicBezTo>
                    <a:pt x="2748" y="274"/>
                    <a:pt x="2752" y="275"/>
                    <a:pt x="2753" y="275"/>
                  </a:cubicBezTo>
                  <a:cubicBezTo>
                    <a:pt x="2753" y="273"/>
                    <a:pt x="2752" y="271"/>
                    <a:pt x="2753" y="270"/>
                  </a:cubicBezTo>
                  <a:cubicBezTo>
                    <a:pt x="2754" y="265"/>
                    <a:pt x="2759" y="256"/>
                    <a:pt x="2755" y="251"/>
                  </a:cubicBezTo>
                  <a:cubicBezTo>
                    <a:pt x="2764" y="252"/>
                    <a:pt x="2766" y="250"/>
                    <a:pt x="2769" y="253"/>
                  </a:cubicBezTo>
                  <a:cubicBezTo>
                    <a:pt x="2768" y="255"/>
                    <a:pt x="2767" y="256"/>
                    <a:pt x="2763" y="256"/>
                  </a:cubicBezTo>
                  <a:cubicBezTo>
                    <a:pt x="2763" y="257"/>
                    <a:pt x="2763" y="260"/>
                    <a:pt x="2761" y="260"/>
                  </a:cubicBezTo>
                  <a:cubicBezTo>
                    <a:pt x="2763" y="264"/>
                    <a:pt x="2762" y="272"/>
                    <a:pt x="2767" y="274"/>
                  </a:cubicBezTo>
                  <a:cubicBezTo>
                    <a:pt x="2769" y="266"/>
                    <a:pt x="2780" y="274"/>
                    <a:pt x="2783" y="269"/>
                  </a:cubicBezTo>
                  <a:cubicBezTo>
                    <a:pt x="2779" y="269"/>
                    <a:pt x="2783" y="260"/>
                    <a:pt x="2783" y="260"/>
                  </a:cubicBezTo>
                  <a:cubicBezTo>
                    <a:pt x="2784" y="259"/>
                    <a:pt x="2788" y="262"/>
                    <a:pt x="2788" y="262"/>
                  </a:cubicBezTo>
                  <a:cubicBezTo>
                    <a:pt x="2789" y="257"/>
                    <a:pt x="2783" y="255"/>
                    <a:pt x="2785" y="246"/>
                  </a:cubicBezTo>
                  <a:cubicBezTo>
                    <a:pt x="2789" y="246"/>
                    <a:pt x="2789" y="243"/>
                    <a:pt x="2793" y="243"/>
                  </a:cubicBezTo>
                  <a:cubicBezTo>
                    <a:pt x="2796" y="252"/>
                    <a:pt x="2787" y="256"/>
                    <a:pt x="2794" y="262"/>
                  </a:cubicBezTo>
                  <a:cubicBezTo>
                    <a:pt x="2789" y="262"/>
                    <a:pt x="2787" y="264"/>
                    <a:pt x="2786" y="267"/>
                  </a:cubicBezTo>
                  <a:cubicBezTo>
                    <a:pt x="2792" y="267"/>
                    <a:pt x="2789" y="268"/>
                    <a:pt x="2788" y="272"/>
                  </a:cubicBezTo>
                  <a:cubicBezTo>
                    <a:pt x="2787" y="278"/>
                    <a:pt x="2792" y="281"/>
                    <a:pt x="2791" y="283"/>
                  </a:cubicBezTo>
                  <a:cubicBezTo>
                    <a:pt x="2791" y="283"/>
                    <a:pt x="2781" y="286"/>
                    <a:pt x="2789" y="288"/>
                  </a:cubicBezTo>
                  <a:cubicBezTo>
                    <a:pt x="2792" y="284"/>
                    <a:pt x="2797" y="279"/>
                    <a:pt x="2791" y="274"/>
                  </a:cubicBezTo>
                  <a:cubicBezTo>
                    <a:pt x="2795" y="274"/>
                    <a:pt x="2797" y="273"/>
                    <a:pt x="2799" y="271"/>
                  </a:cubicBezTo>
                  <a:cubicBezTo>
                    <a:pt x="2799" y="274"/>
                    <a:pt x="2800" y="286"/>
                    <a:pt x="2802" y="278"/>
                  </a:cubicBezTo>
                  <a:cubicBezTo>
                    <a:pt x="2799" y="266"/>
                    <a:pt x="2808" y="278"/>
                    <a:pt x="2810" y="271"/>
                  </a:cubicBezTo>
                  <a:cubicBezTo>
                    <a:pt x="2805" y="272"/>
                    <a:pt x="2806" y="260"/>
                    <a:pt x="2813" y="264"/>
                  </a:cubicBezTo>
                  <a:cubicBezTo>
                    <a:pt x="2811" y="266"/>
                    <a:pt x="2807" y="273"/>
                    <a:pt x="2816" y="271"/>
                  </a:cubicBezTo>
                  <a:cubicBezTo>
                    <a:pt x="2817" y="268"/>
                    <a:pt x="2812" y="259"/>
                    <a:pt x="2818" y="259"/>
                  </a:cubicBezTo>
                  <a:cubicBezTo>
                    <a:pt x="2817" y="267"/>
                    <a:pt x="2826" y="270"/>
                    <a:pt x="2830" y="275"/>
                  </a:cubicBezTo>
                  <a:cubicBezTo>
                    <a:pt x="2832" y="279"/>
                    <a:pt x="2829" y="288"/>
                    <a:pt x="2838" y="287"/>
                  </a:cubicBezTo>
                  <a:cubicBezTo>
                    <a:pt x="2838" y="283"/>
                    <a:pt x="2830" y="274"/>
                    <a:pt x="2838" y="271"/>
                  </a:cubicBezTo>
                  <a:cubicBezTo>
                    <a:pt x="2842" y="271"/>
                    <a:pt x="2841" y="276"/>
                    <a:pt x="2843" y="278"/>
                  </a:cubicBezTo>
                  <a:cubicBezTo>
                    <a:pt x="2836" y="272"/>
                    <a:pt x="2837" y="282"/>
                    <a:pt x="2841" y="285"/>
                  </a:cubicBezTo>
                  <a:cubicBezTo>
                    <a:pt x="2861" y="284"/>
                    <a:pt x="2841" y="259"/>
                    <a:pt x="2859" y="254"/>
                  </a:cubicBezTo>
                  <a:cubicBezTo>
                    <a:pt x="2859" y="257"/>
                    <a:pt x="2861" y="259"/>
                    <a:pt x="2862" y="261"/>
                  </a:cubicBezTo>
                  <a:cubicBezTo>
                    <a:pt x="2856" y="261"/>
                    <a:pt x="2861" y="269"/>
                    <a:pt x="2860" y="273"/>
                  </a:cubicBezTo>
                  <a:cubicBezTo>
                    <a:pt x="2855" y="271"/>
                    <a:pt x="2855" y="284"/>
                    <a:pt x="2860" y="282"/>
                  </a:cubicBezTo>
                  <a:cubicBezTo>
                    <a:pt x="2860" y="279"/>
                    <a:pt x="2863" y="278"/>
                    <a:pt x="2865" y="277"/>
                  </a:cubicBezTo>
                  <a:cubicBezTo>
                    <a:pt x="2870" y="283"/>
                    <a:pt x="2861" y="286"/>
                    <a:pt x="2871" y="287"/>
                  </a:cubicBezTo>
                  <a:cubicBezTo>
                    <a:pt x="2873" y="278"/>
                    <a:pt x="2862" y="271"/>
                    <a:pt x="2876" y="270"/>
                  </a:cubicBezTo>
                  <a:cubicBezTo>
                    <a:pt x="2879" y="277"/>
                    <a:pt x="2872" y="276"/>
                    <a:pt x="2874" y="282"/>
                  </a:cubicBezTo>
                  <a:cubicBezTo>
                    <a:pt x="2885" y="280"/>
                    <a:pt x="2879" y="273"/>
                    <a:pt x="2879" y="265"/>
                  </a:cubicBezTo>
                  <a:cubicBezTo>
                    <a:pt x="2881" y="265"/>
                    <a:pt x="2884" y="265"/>
                    <a:pt x="2884" y="263"/>
                  </a:cubicBezTo>
                  <a:cubicBezTo>
                    <a:pt x="2886" y="263"/>
                    <a:pt x="2887" y="261"/>
                    <a:pt x="2884" y="260"/>
                  </a:cubicBezTo>
                  <a:cubicBezTo>
                    <a:pt x="2884" y="264"/>
                    <a:pt x="2880" y="261"/>
                    <a:pt x="2879" y="258"/>
                  </a:cubicBezTo>
                  <a:cubicBezTo>
                    <a:pt x="2884" y="259"/>
                    <a:pt x="2884" y="255"/>
                    <a:pt x="2887" y="253"/>
                  </a:cubicBezTo>
                  <a:cubicBezTo>
                    <a:pt x="2887" y="255"/>
                    <a:pt x="2887" y="256"/>
                    <a:pt x="2888" y="257"/>
                  </a:cubicBezTo>
                  <a:cubicBezTo>
                    <a:pt x="2888" y="244"/>
                    <a:pt x="2888" y="244"/>
                    <a:pt x="2888" y="244"/>
                  </a:cubicBezTo>
                  <a:cubicBezTo>
                    <a:pt x="2887" y="244"/>
                    <a:pt x="2885" y="244"/>
                    <a:pt x="2884" y="244"/>
                  </a:cubicBezTo>
                  <a:cubicBezTo>
                    <a:pt x="2884" y="242"/>
                    <a:pt x="2884" y="239"/>
                    <a:pt x="2884" y="237"/>
                  </a:cubicBezTo>
                  <a:cubicBezTo>
                    <a:pt x="2886" y="237"/>
                    <a:pt x="2887" y="238"/>
                    <a:pt x="2888" y="239"/>
                  </a:cubicBezTo>
                  <a:cubicBezTo>
                    <a:pt x="2888" y="205"/>
                    <a:pt x="2888" y="205"/>
                    <a:pt x="2888" y="205"/>
                  </a:cubicBezTo>
                  <a:cubicBezTo>
                    <a:pt x="2885" y="205"/>
                    <a:pt x="2883" y="205"/>
                    <a:pt x="2881" y="209"/>
                  </a:cubicBezTo>
                  <a:cubicBezTo>
                    <a:pt x="2884" y="211"/>
                    <a:pt x="2893" y="228"/>
                    <a:pt x="2881" y="228"/>
                  </a:cubicBezTo>
                  <a:cubicBezTo>
                    <a:pt x="2886" y="223"/>
                    <a:pt x="2880" y="220"/>
                    <a:pt x="2875" y="218"/>
                  </a:cubicBezTo>
                  <a:cubicBezTo>
                    <a:pt x="2875" y="222"/>
                    <a:pt x="2876" y="227"/>
                    <a:pt x="2873" y="228"/>
                  </a:cubicBezTo>
                  <a:cubicBezTo>
                    <a:pt x="2872" y="222"/>
                    <a:pt x="2871" y="217"/>
                    <a:pt x="2862" y="219"/>
                  </a:cubicBezTo>
                  <a:cubicBezTo>
                    <a:pt x="2860" y="224"/>
                    <a:pt x="2865" y="236"/>
                    <a:pt x="2859" y="237"/>
                  </a:cubicBezTo>
                  <a:cubicBezTo>
                    <a:pt x="2855" y="232"/>
                    <a:pt x="2852" y="240"/>
                    <a:pt x="2851" y="235"/>
                  </a:cubicBezTo>
                  <a:cubicBezTo>
                    <a:pt x="2851" y="231"/>
                    <a:pt x="2851" y="228"/>
                    <a:pt x="2853" y="226"/>
                  </a:cubicBezTo>
                  <a:cubicBezTo>
                    <a:pt x="2851" y="225"/>
                    <a:pt x="2848" y="226"/>
                    <a:pt x="2848" y="223"/>
                  </a:cubicBezTo>
                  <a:cubicBezTo>
                    <a:pt x="2857" y="221"/>
                    <a:pt x="2854" y="229"/>
                    <a:pt x="2859" y="230"/>
                  </a:cubicBezTo>
                  <a:cubicBezTo>
                    <a:pt x="2857" y="227"/>
                    <a:pt x="2862" y="218"/>
                    <a:pt x="2856" y="219"/>
                  </a:cubicBezTo>
                  <a:cubicBezTo>
                    <a:pt x="2856" y="221"/>
                    <a:pt x="2851" y="222"/>
                    <a:pt x="2851" y="219"/>
                  </a:cubicBezTo>
                  <a:cubicBezTo>
                    <a:pt x="2851" y="209"/>
                    <a:pt x="2859" y="220"/>
                    <a:pt x="2861" y="214"/>
                  </a:cubicBezTo>
                  <a:cubicBezTo>
                    <a:pt x="2857" y="213"/>
                    <a:pt x="2859" y="209"/>
                    <a:pt x="2861" y="207"/>
                  </a:cubicBezTo>
                  <a:cubicBezTo>
                    <a:pt x="2855" y="204"/>
                    <a:pt x="2860" y="192"/>
                    <a:pt x="2858" y="186"/>
                  </a:cubicBezTo>
                  <a:cubicBezTo>
                    <a:pt x="2862" y="185"/>
                    <a:pt x="2862" y="183"/>
                    <a:pt x="2866" y="183"/>
                  </a:cubicBezTo>
                  <a:cubicBezTo>
                    <a:pt x="2860" y="196"/>
                    <a:pt x="2870" y="207"/>
                    <a:pt x="2864" y="216"/>
                  </a:cubicBezTo>
                  <a:cubicBezTo>
                    <a:pt x="2867" y="216"/>
                    <a:pt x="2870" y="216"/>
                    <a:pt x="2873" y="216"/>
                  </a:cubicBezTo>
                  <a:cubicBezTo>
                    <a:pt x="2869" y="209"/>
                    <a:pt x="2873" y="210"/>
                    <a:pt x="2870" y="204"/>
                  </a:cubicBezTo>
                  <a:cubicBezTo>
                    <a:pt x="2874" y="204"/>
                    <a:pt x="2871" y="198"/>
                    <a:pt x="2875" y="197"/>
                  </a:cubicBezTo>
                  <a:cubicBezTo>
                    <a:pt x="2876" y="200"/>
                    <a:pt x="2878" y="202"/>
                    <a:pt x="2881" y="204"/>
                  </a:cubicBezTo>
                  <a:cubicBezTo>
                    <a:pt x="2877" y="196"/>
                    <a:pt x="2884" y="198"/>
                    <a:pt x="2888" y="197"/>
                  </a:cubicBezTo>
                  <a:cubicBezTo>
                    <a:pt x="2888" y="191"/>
                    <a:pt x="2888" y="191"/>
                    <a:pt x="2888" y="191"/>
                  </a:cubicBezTo>
                  <a:cubicBezTo>
                    <a:pt x="2888" y="190"/>
                    <a:pt x="2888" y="189"/>
                    <a:pt x="2888" y="188"/>
                  </a:cubicBezTo>
                  <a:cubicBezTo>
                    <a:pt x="2888" y="159"/>
                    <a:pt x="2888" y="159"/>
                    <a:pt x="2888" y="159"/>
                  </a:cubicBezTo>
                  <a:cubicBezTo>
                    <a:pt x="2885" y="158"/>
                    <a:pt x="2882" y="158"/>
                    <a:pt x="2877" y="160"/>
                  </a:cubicBezTo>
                  <a:cubicBezTo>
                    <a:pt x="2877" y="157"/>
                    <a:pt x="2880" y="158"/>
                    <a:pt x="2882" y="157"/>
                  </a:cubicBezTo>
                  <a:cubicBezTo>
                    <a:pt x="2883" y="155"/>
                    <a:pt x="2881" y="155"/>
                    <a:pt x="2880" y="155"/>
                  </a:cubicBezTo>
                  <a:cubicBezTo>
                    <a:pt x="2879" y="151"/>
                    <a:pt x="2884" y="152"/>
                    <a:pt x="2888" y="152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2" y="148"/>
                    <a:pt x="2884" y="141"/>
                    <a:pt x="2877" y="143"/>
                  </a:cubicBezTo>
                  <a:cubicBezTo>
                    <a:pt x="2876" y="145"/>
                    <a:pt x="2877" y="148"/>
                    <a:pt x="2874" y="148"/>
                  </a:cubicBezTo>
                  <a:cubicBezTo>
                    <a:pt x="2874" y="140"/>
                    <a:pt x="2871" y="146"/>
                    <a:pt x="2866" y="146"/>
                  </a:cubicBezTo>
                  <a:cubicBezTo>
                    <a:pt x="2866" y="146"/>
                    <a:pt x="2866" y="143"/>
                    <a:pt x="2866" y="143"/>
                  </a:cubicBezTo>
                  <a:cubicBezTo>
                    <a:pt x="2863" y="142"/>
                    <a:pt x="2859" y="146"/>
                    <a:pt x="2858" y="146"/>
                  </a:cubicBezTo>
                  <a:cubicBezTo>
                    <a:pt x="2855" y="145"/>
                    <a:pt x="2855" y="141"/>
                    <a:pt x="2849" y="141"/>
                  </a:cubicBezTo>
                  <a:cubicBezTo>
                    <a:pt x="2848" y="141"/>
                    <a:pt x="2849" y="147"/>
                    <a:pt x="2847" y="146"/>
                  </a:cubicBezTo>
                  <a:cubicBezTo>
                    <a:pt x="2849" y="138"/>
                    <a:pt x="2838" y="143"/>
                    <a:pt x="2835" y="139"/>
                  </a:cubicBezTo>
                  <a:cubicBezTo>
                    <a:pt x="2829" y="145"/>
                    <a:pt x="2836" y="151"/>
                    <a:pt x="2836" y="158"/>
                  </a:cubicBezTo>
                  <a:cubicBezTo>
                    <a:pt x="2832" y="157"/>
                    <a:pt x="2826" y="160"/>
                    <a:pt x="2822" y="158"/>
                  </a:cubicBezTo>
                  <a:cubicBezTo>
                    <a:pt x="2821" y="158"/>
                    <a:pt x="2822" y="151"/>
                    <a:pt x="2816" y="153"/>
                  </a:cubicBezTo>
                  <a:cubicBezTo>
                    <a:pt x="2818" y="161"/>
                    <a:pt x="2815" y="164"/>
                    <a:pt x="2814" y="170"/>
                  </a:cubicBezTo>
                  <a:cubicBezTo>
                    <a:pt x="2823" y="172"/>
                    <a:pt x="2818" y="162"/>
                    <a:pt x="2825" y="163"/>
                  </a:cubicBezTo>
                  <a:cubicBezTo>
                    <a:pt x="2825" y="166"/>
                    <a:pt x="2826" y="168"/>
                    <a:pt x="2828" y="170"/>
                  </a:cubicBezTo>
                  <a:cubicBezTo>
                    <a:pt x="2821" y="171"/>
                    <a:pt x="2822" y="177"/>
                    <a:pt x="2817" y="179"/>
                  </a:cubicBezTo>
                  <a:cubicBezTo>
                    <a:pt x="2818" y="174"/>
                    <a:pt x="2816" y="171"/>
                    <a:pt x="2811" y="170"/>
                  </a:cubicBezTo>
                  <a:cubicBezTo>
                    <a:pt x="2811" y="173"/>
                    <a:pt x="2812" y="177"/>
                    <a:pt x="2809" y="177"/>
                  </a:cubicBezTo>
                  <a:cubicBezTo>
                    <a:pt x="2810" y="171"/>
                    <a:pt x="2798" y="175"/>
                    <a:pt x="2798" y="170"/>
                  </a:cubicBezTo>
                  <a:cubicBezTo>
                    <a:pt x="2805" y="172"/>
                    <a:pt x="2795" y="159"/>
                    <a:pt x="2803" y="161"/>
                  </a:cubicBezTo>
                  <a:cubicBezTo>
                    <a:pt x="2803" y="164"/>
                    <a:pt x="2802" y="169"/>
                    <a:pt x="2806" y="170"/>
                  </a:cubicBezTo>
                  <a:cubicBezTo>
                    <a:pt x="2808" y="158"/>
                    <a:pt x="2819" y="154"/>
                    <a:pt x="2814" y="142"/>
                  </a:cubicBezTo>
                  <a:cubicBezTo>
                    <a:pt x="2815" y="142"/>
                    <a:pt x="2817" y="140"/>
                    <a:pt x="2814" y="139"/>
                  </a:cubicBezTo>
                  <a:cubicBezTo>
                    <a:pt x="2812" y="142"/>
                    <a:pt x="2811" y="145"/>
                    <a:pt x="2808" y="147"/>
                  </a:cubicBezTo>
                  <a:cubicBezTo>
                    <a:pt x="2803" y="140"/>
                    <a:pt x="2792" y="144"/>
                    <a:pt x="2784" y="147"/>
                  </a:cubicBezTo>
                  <a:cubicBezTo>
                    <a:pt x="2787" y="139"/>
                    <a:pt x="2775" y="145"/>
                    <a:pt x="2778" y="138"/>
                  </a:cubicBezTo>
                  <a:cubicBezTo>
                    <a:pt x="2768" y="138"/>
                    <a:pt x="2772" y="150"/>
                    <a:pt x="2759" y="147"/>
                  </a:cubicBezTo>
                  <a:cubicBezTo>
                    <a:pt x="2759" y="144"/>
                    <a:pt x="2759" y="141"/>
                    <a:pt x="2759" y="138"/>
                  </a:cubicBezTo>
                  <a:cubicBezTo>
                    <a:pt x="2749" y="139"/>
                    <a:pt x="2748" y="142"/>
                    <a:pt x="2739" y="138"/>
                  </a:cubicBezTo>
                  <a:cubicBezTo>
                    <a:pt x="2739" y="143"/>
                    <a:pt x="2738" y="146"/>
                    <a:pt x="2734" y="148"/>
                  </a:cubicBezTo>
                  <a:cubicBezTo>
                    <a:pt x="2736" y="143"/>
                    <a:pt x="2733" y="130"/>
                    <a:pt x="2728" y="139"/>
                  </a:cubicBezTo>
                  <a:cubicBezTo>
                    <a:pt x="2733" y="139"/>
                    <a:pt x="2729" y="142"/>
                    <a:pt x="2729" y="146"/>
                  </a:cubicBezTo>
                  <a:cubicBezTo>
                    <a:pt x="2729" y="148"/>
                    <a:pt x="2731" y="148"/>
                    <a:pt x="2731" y="150"/>
                  </a:cubicBezTo>
                  <a:cubicBezTo>
                    <a:pt x="2731" y="150"/>
                    <a:pt x="2728" y="151"/>
                    <a:pt x="2729" y="153"/>
                  </a:cubicBezTo>
                  <a:cubicBezTo>
                    <a:pt x="2729" y="153"/>
                    <a:pt x="2733" y="153"/>
                    <a:pt x="2731" y="155"/>
                  </a:cubicBezTo>
                  <a:cubicBezTo>
                    <a:pt x="2727" y="155"/>
                    <a:pt x="2721" y="156"/>
                    <a:pt x="2720" y="153"/>
                  </a:cubicBezTo>
                  <a:cubicBezTo>
                    <a:pt x="2722" y="148"/>
                    <a:pt x="2728" y="148"/>
                    <a:pt x="2726" y="141"/>
                  </a:cubicBezTo>
                  <a:cubicBezTo>
                    <a:pt x="2717" y="144"/>
                    <a:pt x="2716" y="140"/>
                    <a:pt x="2707" y="144"/>
                  </a:cubicBezTo>
                  <a:cubicBezTo>
                    <a:pt x="2710" y="139"/>
                    <a:pt x="2702" y="133"/>
                    <a:pt x="2701" y="139"/>
                  </a:cubicBezTo>
                  <a:cubicBezTo>
                    <a:pt x="2710" y="142"/>
                    <a:pt x="2694" y="142"/>
                    <a:pt x="2690" y="142"/>
                  </a:cubicBezTo>
                  <a:cubicBezTo>
                    <a:pt x="2688" y="149"/>
                    <a:pt x="2697" y="146"/>
                    <a:pt x="2698" y="151"/>
                  </a:cubicBezTo>
                  <a:cubicBezTo>
                    <a:pt x="2693" y="152"/>
                    <a:pt x="2698" y="161"/>
                    <a:pt x="2693" y="163"/>
                  </a:cubicBezTo>
                  <a:cubicBezTo>
                    <a:pt x="2696" y="164"/>
                    <a:pt x="2699" y="165"/>
                    <a:pt x="2702" y="167"/>
                  </a:cubicBezTo>
                  <a:cubicBezTo>
                    <a:pt x="2701" y="172"/>
                    <a:pt x="2696" y="174"/>
                    <a:pt x="2693" y="177"/>
                  </a:cubicBezTo>
                  <a:cubicBezTo>
                    <a:pt x="2699" y="182"/>
                    <a:pt x="2691" y="188"/>
                    <a:pt x="2699" y="193"/>
                  </a:cubicBezTo>
                  <a:cubicBezTo>
                    <a:pt x="2696" y="194"/>
                    <a:pt x="2694" y="196"/>
                    <a:pt x="2694" y="200"/>
                  </a:cubicBezTo>
                  <a:cubicBezTo>
                    <a:pt x="2697" y="207"/>
                    <a:pt x="2694" y="206"/>
                    <a:pt x="2700" y="210"/>
                  </a:cubicBezTo>
                  <a:cubicBezTo>
                    <a:pt x="2698" y="213"/>
                    <a:pt x="2695" y="215"/>
                    <a:pt x="2691" y="217"/>
                  </a:cubicBezTo>
                  <a:cubicBezTo>
                    <a:pt x="2689" y="215"/>
                    <a:pt x="2688" y="202"/>
                    <a:pt x="2683" y="210"/>
                  </a:cubicBezTo>
                  <a:cubicBezTo>
                    <a:pt x="2690" y="213"/>
                    <a:pt x="2683" y="220"/>
                    <a:pt x="2683" y="224"/>
                  </a:cubicBezTo>
                  <a:cubicBezTo>
                    <a:pt x="2683" y="226"/>
                    <a:pt x="2681" y="227"/>
                    <a:pt x="2681" y="226"/>
                  </a:cubicBezTo>
                  <a:cubicBezTo>
                    <a:pt x="2680" y="231"/>
                    <a:pt x="2684" y="232"/>
                    <a:pt x="2683" y="236"/>
                  </a:cubicBezTo>
                  <a:cubicBezTo>
                    <a:pt x="2680" y="233"/>
                    <a:pt x="2673" y="234"/>
                    <a:pt x="2672" y="229"/>
                  </a:cubicBezTo>
                  <a:cubicBezTo>
                    <a:pt x="2677" y="224"/>
                    <a:pt x="2676" y="212"/>
                    <a:pt x="2669" y="210"/>
                  </a:cubicBezTo>
                  <a:cubicBezTo>
                    <a:pt x="2668" y="216"/>
                    <a:pt x="2673" y="227"/>
                    <a:pt x="2667" y="229"/>
                  </a:cubicBezTo>
                  <a:cubicBezTo>
                    <a:pt x="2662" y="229"/>
                    <a:pt x="2665" y="222"/>
                    <a:pt x="2661" y="222"/>
                  </a:cubicBezTo>
                  <a:cubicBezTo>
                    <a:pt x="2662" y="222"/>
                    <a:pt x="2658" y="231"/>
                    <a:pt x="2653" y="227"/>
                  </a:cubicBezTo>
                  <a:cubicBezTo>
                    <a:pt x="2653" y="222"/>
                    <a:pt x="2661" y="224"/>
                    <a:pt x="2658" y="217"/>
                  </a:cubicBezTo>
                  <a:cubicBezTo>
                    <a:pt x="2650" y="215"/>
                    <a:pt x="2652" y="221"/>
                    <a:pt x="2648" y="222"/>
                  </a:cubicBezTo>
                  <a:cubicBezTo>
                    <a:pt x="2647" y="213"/>
                    <a:pt x="2640" y="222"/>
                    <a:pt x="2634" y="218"/>
                  </a:cubicBezTo>
                  <a:cubicBezTo>
                    <a:pt x="2634" y="224"/>
                    <a:pt x="2635" y="229"/>
                    <a:pt x="2629" y="230"/>
                  </a:cubicBezTo>
                  <a:cubicBezTo>
                    <a:pt x="2627" y="224"/>
                    <a:pt x="2633" y="224"/>
                    <a:pt x="2631" y="218"/>
                  </a:cubicBezTo>
                  <a:cubicBezTo>
                    <a:pt x="2627" y="216"/>
                    <a:pt x="2622" y="221"/>
                    <a:pt x="2620" y="220"/>
                  </a:cubicBezTo>
                  <a:cubicBezTo>
                    <a:pt x="2616" y="219"/>
                    <a:pt x="2619" y="205"/>
                    <a:pt x="2612" y="214"/>
                  </a:cubicBezTo>
                  <a:cubicBezTo>
                    <a:pt x="2616" y="212"/>
                    <a:pt x="2616" y="225"/>
                    <a:pt x="2612" y="223"/>
                  </a:cubicBezTo>
                  <a:cubicBezTo>
                    <a:pt x="2614" y="212"/>
                    <a:pt x="2603" y="213"/>
                    <a:pt x="2598" y="209"/>
                  </a:cubicBezTo>
                  <a:cubicBezTo>
                    <a:pt x="2609" y="212"/>
                    <a:pt x="2608" y="205"/>
                    <a:pt x="2612" y="202"/>
                  </a:cubicBezTo>
                  <a:cubicBezTo>
                    <a:pt x="2621" y="200"/>
                    <a:pt x="2637" y="204"/>
                    <a:pt x="2642" y="199"/>
                  </a:cubicBezTo>
                  <a:cubicBezTo>
                    <a:pt x="2638" y="193"/>
                    <a:pt x="2634" y="203"/>
                    <a:pt x="2631" y="197"/>
                  </a:cubicBezTo>
                  <a:cubicBezTo>
                    <a:pt x="2635" y="196"/>
                    <a:pt x="2635" y="193"/>
                    <a:pt x="2639" y="192"/>
                  </a:cubicBezTo>
                  <a:cubicBezTo>
                    <a:pt x="2643" y="195"/>
                    <a:pt x="2642" y="202"/>
                    <a:pt x="2650" y="201"/>
                  </a:cubicBezTo>
                  <a:cubicBezTo>
                    <a:pt x="2647" y="194"/>
                    <a:pt x="2659" y="198"/>
                    <a:pt x="2661" y="194"/>
                  </a:cubicBezTo>
                  <a:cubicBezTo>
                    <a:pt x="2662" y="199"/>
                    <a:pt x="2666" y="200"/>
                    <a:pt x="2669" y="203"/>
                  </a:cubicBezTo>
                  <a:cubicBezTo>
                    <a:pt x="2665" y="203"/>
                    <a:pt x="2662" y="205"/>
                    <a:pt x="2661" y="208"/>
                  </a:cubicBezTo>
                  <a:cubicBezTo>
                    <a:pt x="2669" y="206"/>
                    <a:pt x="2671" y="210"/>
                    <a:pt x="2678" y="210"/>
                  </a:cubicBezTo>
                  <a:cubicBezTo>
                    <a:pt x="2678" y="205"/>
                    <a:pt x="2674" y="205"/>
                    <a:pt x="2672" y="203"/>
                  </a:cubicBezTo>
                  <a:cubicBezTo>
                    <a:pt x="2679" y="199"/>
                    <a:pt x="2680" y="204"/>
                    <a:pt x="2683" y="203"/>
                  </a:cubicBezTo>
                  <a:cubicBezTo>
                    <a:pt x="2684" y="202"/>
                    <a:pt x="2682" y="197"/>
                    <a:pt x="2683" y="196"/>
                  </a:cubicBezTo>
                  <a:cubicBezTo>
                    <a:pt x="2685" y="194"/>
                    <a:pt x="2686" y="198"/>
                    <a:pt x="2686" y="198"/>
                  </a:cubicBezTo>
                  <a:cubicBezTo>
                    <a:pt x="2690" y="199"/>
                    <a:pt x="2695" y="192"/>
                    <a:pt x="2694" y="189"/>
                  </a:cubicBezTo>
                  <a:cubicBezTo>
                    <a:pt x="2687" y="186"/>
                    <a:pt x="2684" y="199"/>
                    <a:pt x="2680" y="191"/>
                  </a:cubicBezTo>
                  <a:cubicBezTo>
                    <a:pt x="2682" y="188"/>
                    <a:pt x="2686" y="187"/>
                    <a:pt x="2691" y="186"/>
                  </a:cubicBezTo>
                  <a:cubicBezTo>
                    <a:pt x="2691" y="182"/>
                    <a:pt x="2691" y="179"/>
                    <a:pt x="2693" y="177"/>
                  </a:cubicBezTo>
                  <a:cubicBezTo>
                    <a:pt x="2690" y="175"/>
                    <a:pt x="2688" y="172"/>
                    <a:pt x="2688" y="167"/>
                  </a:cubicBezTo>
                  <a:cubicBezTo>
                    <a:pt x="2684" y="167"/>
                    <a:pt x="2681" y="167"/>
                    <a:pt x="2682" y="163"/>
                  </a:cubicBezTo>
                  <a:cubicBezTo>
                    <a:pt x="2688" y="168"/>
                    <a:pt x="2689" y="159"/>
                    <a:pt x="2693" y="156"/>
                  </a:cubicBezTo>
                  <a:cubicBezTo>
                    <a:pt x="2690" y="155"/>
                    <a:pt x="2685" y="156"/>
                    <a:pt x="2685" y="154"/>
                  </a:cubicBezTo>
                  <a:cubicBezTo>
                    <a:pt x="2688" y="147"/>
                    <a:pt x="2688" y="141"/>
                    <a:pt x="2685" y="135"/>
                  </a:cubicBezTo>
                  <a:cubicBezTo>
                    <a:pt x="2694" y="138"/>
                    <a:pt x="2686" y="127"/>
                    <a:pt x="2693" y="128"/>
                  </a:cubicBezTo>
                  <a:cubicBezTo>
                    <a:pt x="2696" y="128"/>
                    <a:pt x="2696" y="131"/>
                    <a:pt x="2695" y="134"/>
                  </a:cubicBezTo>
                  <a:cubicBezTo>
                    <a:pt x="2702" y="130"/>
                    <a:pt x="2705" y="137"/>
                    <a:pt x="2709" y="132"/>
                  </a:cubicBezTo>
                  <a:cubicBezTo>
                    <a:pt x="2706" y="130"/>
                    <a:pt x="2704" y="127"/>
                    <a:pt x="2701" y="125"/>
                  </a:cubicBezTo>
                  <a:cubicBezTo>
                    <a:pt x="2705" y="125"/>
                    <a:pt x="2710" y="125"/>
                    <a:pt x="2709" y="120"/>
                  </a:cubicBezTo>
                  <a:cubicBezTo>
                    <a:pt x="2701" y="123"/>
                    <a:pt x="2701" y="120"/>
                    <a:pt x="2690" y="121"/>
                  </a:cubicBezTo>
                  <a:cubicBezTo>
                    <a:pt x="2690" y="126"/>
                    <a:pt x="2688" y="128"/>
                    <a:pt x="2682" y="128"/>
                  </a:cubicBezTo>
                  <a:cubicBezTo>
                    <a:pt x="2682" y="125"/>
                    <a:pt x="2685" y="124"/>
                    <a:pt x="2684" y="121"/>
                  </a:cubicBezTo>
                  <a:cubicBezTo>
                    <a:pt x="2672" y="118"/>
                    <a:pt x="2679" y="130"/>
                    <a:pt x="2668" y="128"/>
                  </a:cubicBezTo>
                  <a:cubicBezTo>
                    <a:pt x="2674" y="124"/>
                    <a:pt x="2667" y="121"/>
                    <a:pt x="2668" y="119"/>
                  </a:cubicBezTo>
                  <a:cubicBezTo>
                    <a:pt x="2668" y="118"/>
                    <a:pt x="2673" y="117"/>
                    <a:pt x="2670" y="114"/>
                  </a:cubicBezTo>
                  <a:cubicBezTo>
                    <a:pt x="2670" y="113"/>
                    <a:pt x="2664" y="114"/>
                    <a:pt x="2665" y="112"/>
                  </a:cubicBezTo>
                  <a:cubicBezTo>
                    <a:pt x="2678" y="107"/>
                    <a:pt x="2672" y="119"/>
                    <a:pt x="2681" y="118"/>
                  </a:cubicBezTo>
                  <a:cubicBezTo>
                    <a:pt x="2691" y="118"/>
                    <a:pt x="2676" y="111"/>
                    <a:pt x="2684" y="111"/>
                  </a:cubicBezTo>
                  <a:cubicBezTo>
                    <a:pt x="2687" y="112"/>
                    <a:pt x="2687" y="115"/>
                    <a:pt x="2687" y="118"/>
                  </a:cubicBezTo>
                  <a:cubicBezTo>
                    <a:pt x="2699" y="117"/>
                    <a:pt x="2715" y="120"/>
                    <a:pt x="2723" y="115"/>
                  </a:cubicBezTo>
                  <a:cubicBezTo>
                    <a:pt x="2727" y="117"/>
                    <a:pt x="2722" y="127"/>
                    <a:pt x="2731" y="124"/>
                  </a:cubicBezTo>
                  <a:cubicBezTo>
                    <a:pt x="2731" y="122"/>
                    <a:pt x="2730" y="118"/>
                    <a:pt x="2734" y="117"/>
                  </a:cubicBezTo>
                  <a:cubicBezTo>
                    <a:pt x="2737" y="117"/>
                    <a:pt x="2741" y="117"/>
                    <a:pt x="2745" y="117"/>
                  </a:cubicBezTo>
                  <a:cubicBezTo>
                    <a:pt x="2744" y="123"/>
                    <a:pt x="2745" y="126"/>
                    <a:pt x="2747" y="129"/>
                  </a:cubicBezTo>
                  <a:cubicBezTo>
                    <a:pt x="2739" y="126"/>
                    <a:pt x="2740" y="128"/>
                    <a:pt x="2737" y="134"/>
                  </a:cubicBezTo>
                  <a:cubicBezTo>
                    <a:pt x="2748" y="138"/>
                    <a:pt x="2756" y="128"/>
                    <a:pt x="2758" y="129"/>
                  </a:cubicBezTo>
                  <a:cubicBezTo>
                    <a:pt x="2762" y="129"/>
                    <a:pt x="2763" y="138"/>
                    <a:pt x="2767" y="136"/>
                  </a:cubicBezTo>
                  <a:cubicBezTo>
                    <a:pt x="2764" y="127"/>
                    <a:pt x="2779" y="132"/>
                    <a:pt x="2775" y="121"/>
                  </a:cubicBezTo>
                  <a:cubicBezTo>
                    <a:pt x="2765" y="119"/>
                    <a:pt x="2771" y="130"/>
                    <a:pt x="2761" y="129"/>
                  </a:cubicBezTo>
                  <a:cubicBezTo>
                    <a:pt x="2770" y="121"/>
                    <a:pt x="2751" y="126"/>
                    <a:pt x="2753" y="117"/>
                  </a:cubicBezTo>
                  <a:cubicBezTo>
                    <a:pt x="2759" y="122"/>
                    <a:pt x="2765" y="117"/>
                    <a:pt x="2769" y="114"/>
                  </a:cubicBezTo>
                  <a:cubicBezTo>
                    <a:pt x="2770" y="117"/>
                    <a:pt x="2772" y="118"/>
                    <a:pt x="2775" y="119"/>
                  </a:cubicBezTo>
                  <a:cubicBezTo>
                    <a:pt x="2778" y="115"/>
                    <a:pt x="2772" y="107"/>
                    <a:pt x="2780" y="102"/>
                  </a:cubicBezTo>
                  <a:cubicBezTo>
                    <a:pt x="2779" y="108"/>
                    <a:pt x="2781" y="112"/>
                    <a:pt x="2783" y="114"/>
                  </a:cubicBezTo>
                  <a:cubicBezTo>
                    <a:pt x="2780" y="114"/>
                    <a:pt x="2780" y="118"/>
                    <a:pt x="2783" y="119"/>
                  </a:cubicBezTo>
                  <a:cubicBezTo>
                    <a:pt x="2784" y="117"/>
                    <a:pt x="2785" y="116"/>
                    <a:pt x="2788" y="116"/>
                  </a:cubicBezTo>
                  <a:cubicBezTo>
                    <a:pt x="2789" y="112"/>
                    <a:pt x="2785" y="111"/>
                    <a:pt x="2786" y="107"/>
                  </a:cubicBezTo>
                  <a:cubicBezTo>
                    <a:pt x="2790" y="107"/>
                    <a:pt x="2796" y="106"/>
                    <a:pt x="2797" y="109"/>
                  </a:cubicBezTo>
                  <a:cubicBezTo>
                    <a:pt x="2797" y="114"/>
                    <a:pt x="2794" y="117"/>
                    <a:pt x="2788" y="116"/>
                  </a:cubicBezTo>
                  <a:cubicBezTo>
                    <a:pt x="2791" y="124"/>
                    <a:pt x="2785" y="124"/>
                    <a:pt x="2778" y="124"/>
                  </a:cubicBezTo>
                  <a:cubicBezTo>
                    <a:pt x="2775" y="129"/>
                    <a:pt x="2782" y="137"/>
                    <a:pt x="2783" y="131"/>
                  </a:cubicBezTo>
                  <a:cubicBezTo>
                    <a:pt x="2780" y="131"/>
                    <a:pt x="2780" y="127"/>
                    <a:pt x="2783" y="126"/>
                  </a:cubicBezTo>
                  <a:cubicBezTo>
                    <a:pt x="2790" y="133"/>
                    <a:pt x="2785" y="127"/>
                    <a:pt x="2794" y="126"/>
                  </a:cubicBezTo>
                  <a:cubicBezTo>
                    <a:pt x="2794" y="130"/>
                    <a:pt x="2797" y="131"/>
                    <a:pt x="2797" y="135"/>
                  </a:cubicBezTo>
                  <a:cubicBezTo>
                    <a:pt x="2806" y="138"/>
                    <a:pt x="2799" y="127"/>
                    <a:pt x="2808" y="130"/>
                  </a:cubicBezTo>
                  <a:cubicBezTo>
                    <a:pt x="2808" y="133"/>
                    <a:pt x="2804" y="133"/>
                    <a:pt x="2805" y="137"/>
                  </a:cubicBezTo>
                  <a:cubicBezTo>
                    <a:pt x="2816" y="140"/>
                    <a:pt x="2809" y="128"/>
                    <a:pt x="2819" y="130"/>
                  </a:cubicBezTo>
                  <a:cubicBezTo>
                    <a:pt x="2817" y="132"/>
                    <a:pt x="2813" y="139"/>
                    <a:pt x="2822" y="137"/>
                  </a:cubicBezTo>
                  <a:cubicBezTo>
                    <a:pt x="2822" y="128"/>
                    <a:pt x="2825" y="128"/>
                    <a:pt x="2821" y="121"/>
                  </a:cubicBezTo>
                  <a:cubicBezTo>
                    <a:pt x="2830" y="123"/>
                    <a:pt x="2842" y="119"/>
                    <a:pt x="2854" y="122"/>
                  </a:cubicBezTo>
                  <a:cubicBezTo>
                    <a:pt x="2855" y="118"/>
                    <a:pt x="2851" y="118"/>
                    <a:pt x="2849" y="115"/>
                  </a:cubicBezTo>
                  <a:cubicBezTo>
                    <a:pt x="2852" y="109"/>
                    <a:pt x="2840" y="104"/>
                    <a:pt x="2849" y="101"/>
                  </a:cubicBezTo>
                  <a:cubicBezTo>
                    <a:pt x="2850" y="101"/>
                    <a:pt x="2852" y="101"/>
                    <a:pt x="2854" y="101"/>
                  </a:cubicBezTo>
                  <a:cubicBezTo>
                    <a:pt x="2856" y="105"/>
                    <a:pt x="2851" y="113"/>
                    <a:pt x="2857" y="113"/>
                  </a:cubicBezTo>
                  <a:cubicBezTo>
                    <a:pt x="2856" y="103"/>
                    <a:pt x="2863" y="111"/>
                    <a:pt x="2868" y="110"/>
                  </a:cubicBezTo>
                  <a:cubicBezTo>
                    <a:pt x="2868" y="107"/>
                    <a:pt x="2867" y="102"/>
                    <a:pt x="2871" y="101"/>
                  </a:cubicBezTo>
                  <a:cubicBezTo>
                    <a:pt x="2869" y="104"/>
                    <a:pt x="2874" y="113"/>
                    <a:pt x="2868" y="113"/>
                  </a:cubicBezTo>
                  <a:cubicBezTo>
                    <a:pt x="2858" y="108"/>
                    <a:pt x="2860" y="115"/>
                    <a:pt x="2857" y="122"/>
                  </a:cubicBezTo>
                  <a:cubicBezTo>
                    <a:pt x="2862" y="124"/>
                    <a:pt x="2866" y="120"/>
                    <a:pt x="2868" y="120"/>
                  </a:cubicBezTo>
                  <a:cubicBezTo>
                    <a:pt x="2871" y="120"/>
                    <a:pt x="2873" y="123"/>
                    <a:pt x="2876" y="122"/>
                  </a:cubicBezTo>
                  <a:cubicBezTo>
                    <a:pt x="2878" y="121"/>
                    <a:pt x="2876" y="116"/>
                    <a:pt x="2879" y="117"/>
                  </a:cubicBezTo>
                  <a:cubicBezTo>
                    <a:pt x="2877" y="123"/>
                    <a:pt x="2883" y="122"/>
                    <a:pt x="2888" y="122"/>
                  </a:cubicBezTo>
                  <a:cubicBezTo>
                    <a:pt x="2888" y="114"/>
                    <a:pt x="2888" y="114"/>
                    <a:pt x="2888" y="114"/>
                  </a:cubicBezTo>
                  <a:cubicBezTo>
                    <a:pt x="2885" y="113"/>
                    <a:pt x="2882" y="111"/>
                    <a:pt x="2876" y="113"/>
                  </a:cubicBezTo>
                  <a:cubicBezTo>
                    <a:pt x="2877" y="110"/>
                    <a:pt x="2881" y="110"/>
                    <a:pt x="2884" y="110"/>
                  </a:cubicBezTo>
                  <a:cubicBezTo>
                    <a:pt x="2887" y="110"/>
                    <a:pt x="2886" y="107"/>
                    <a:pt x="2887" y="105"/>
                  </a:cubicBezTo>
                  <a:cubicBezTo>
                    <a:pt x="2887" y="105"/>
                    <a:pt x="2888" y="105"/>
                    <a:pt x="2888" y="105"/>
                  </a:cubicBezTo>
                  <a:cubicBezTo>
                    <a:pt x="2888" y="74"/>
                    <a:pt x="2888" y="74"/>
                    <a:pt x="2888" y="74"/>
                  </a:cubicBezTo>
                  <a:cubicBezTo>
                    <a:pt x="2887" y="73"/>
                    <a:pt x="2887" y="72"/>
                    <a:pt x="2888" y="70"/>
                  </a:cubicBezTo>
                  <a:lnTo>
                    <a:pt x="2888" y="0"/>
                  </a:lnTo>
                  <a:close/>
                  <a:moveTo>
                    <a:pt x="220" y="274"/>
                  </a:moveTo>
                  <a:cubicBezTo>
                    <a:pt x="213" y="274"/>
                    <a:pt x="214" y="263"/>
                    <a:pt x="217" y="260"/>
                  </a:cubicBezTo>
                  <a:cubicBezTo>
                    <a:pt x="224" y="260"/>
                    <a:pt x="219" y="270"/>
                    <a:pt x="220" y="274"/>
                  </a:cubicBezTo>
                  <a:close/>
                  <a:moveTo>
                    <a:pt x="227" y="203"/>
                  </a:moveTo>
                  <a:cubicBezTo>
                    <a:pt x="224" y="203"/>
                    <a:pt x="225" y="199"/>
                    <a:pt x="225" y="196"/>
                  </a:cubicBezTo>
                  <a:cubicBezTo>
                    <a:pt x="229" y="195"/>
                    <a:pt x="230" y="198"/>
                    <a:pt x="230" y="201"/>
                  </a:cubicBezTo>
                  <a:cubicBezTo>
                    <a:pt x="228" y="201"/>
                    <a:pt x="228" y="202"/>
                    <a:pt x="227" y="203"/>
                  </a:cubicBezTo>
                  <a:close/>
                  <a:moveTo>
                    <a:pt x="305" y="256"/>
                  </a:moveTo>
                  <a:cubicBezTo>
                    <a:pt x="297" y="258"/>
                    <a:pt x="298" y="253"/>
                    <a:pt x="291" y="254"/>
                  </a:cubicBezTo>
                  <a:cubicBezTo>
                    <a:pt x="292" y="247"/>
                    <a:pt x="306" y="249"/>
                    <a:pt x="305" y="256"/>
                  </a:cubicBezTo>
                  <a:close/>
                  <a:moveTo>
                    <a:pt x="340" y="197"/>
                  </a:moveTo>
                  <a:cubicBezTo>
                    <a:pt x="342" y="197"/>
                    <a:pt x="343" y="197"/>
                    <a:pt x="345" y="197"/>
                  </a:cubicBezTo>
                  <a:cubicBezTo>
                    <a:pt x="346" y="203"/>
                    <a:pt x="325" y="196"/>
                    <a:pt x="340" y="197"/>
                  </a:cubicBezTo>
                  <a:close/>
                  <a:moveTo>
                    <a:pt x="357" y="258"/>
                  </a:moveTo>
                  <a:cubicBezTo>
                    <a:pt x="359" y="255"/>
                    <a:pt x="361" y="253"/>
                    <a:pt x="357" y="253"/>
                  </a:cubicBezTo>
                  <a:cubicBezTo>
                    <a:pt x="361" y="245"/>
                    <a:pt x="364" y="258"/>
                    <a:pt x="371" y="255"/>
                  </a:cubicBezTo>
                  <a:cubicBezTo>
                    <a:pt x="372" y="260"/>
                    <a:pt x="361" y="256"/>
                    <a:pt x="357" y="258"/>
                  </a:cubicBezTo>
                  <a:close/>
                  <a:moveTo>
                    <a:pt x="415" y="259"/>
                  </a:moveTo>
                  <a:cubicBezTo>
                    <a:pt x="409" y="260"/>
                    <a:pt x="405" y="259"/>
                    <a:pt x="401" y="257"/>
                  </a:cubicBezTo>
                  <a:cubicBezTo>
                    <a:pt x="401" y="253"/>
                    <a:pt x="419" y="252"/>
                    <a:pt x="415" y="259"/>
                  </a:cubicBezTo>
                  <a:close/>
                  <a:moveTo>
                    <a:pt x="480" y="201"/>
                  </a:moveTo>
                  <a:cubicBezTo>
                    <a:pt x="482" y="201"/>
                    <a:pt x="484" y="201"/>
                    <a:pt x="485" y="201"/>
                  </a:cubicBezTo>
                  <a:cubicBezTo>
                    <a:pt x="486" y="208"/>
                    <a:pt x="465" y="201"/>
                    <a:pt x="480" y="201"/>
                  </a:cubicBezTo>
                  <a:close/>
                  <a:moveTo>
                    <a:pt x="502" y="201"/>
                  </a:moveTo>
                  <a:cubicBezTo>
                    <a:pt x="514" y="202"/>
                    <a:pt x="499" y="215"/>
                    <a:pt x="502" y="201"/>
                  </a:cubicBezTo>
                  <a:close/>
                  <a:moveTo>
                    <a:pt x="538" y="205"/>
                  </a:moveTo>
                  <a:cubicBezTo>
                    <a:pt x="538" y="200"/>
                    <a:pt x="545" y="200"/>
                    <a:pt x="548" y="203"/>
                  </a:cubicBezTo>
                  <a:cubicBezTo>
                    <a:pt x="548" y="206"/>
                    <a:pt x="542" y="205"/>
                    <a:pt x="538" y="205"/>
                  </a:cubicBezTo>
                  <a:close/>
                  <a:moveTo>
                    <a:pt x="552" y="264"/>
                  </a:moveTo>
                  <a:cubicBezTo>
                    <a:pt x="551" y="259"/>
                    <a:pt x="554" y="257"/>
                    <a:pt x="555" y="254"/>
                  </a:cubicBezTo>
                  <a:cubicBezTo>
                    <a:pt x="561" y="256"/>
                    <a:pt x="563" y="264"/>
                    <a:pt x="552" y="264"/>
                  </a:cubicBezTo>
                  <a:close/>
                  <a:moveTo>
                    <a:pt x="573" y="204"/>
                  </a:moveTo>
                  <a:cubicBezTo>
                    <a:pt x="574" y="199"/>
                    <a:pt x="587" y="203"/>
                    <a:pt x="592" y="202"/>
                  </a:cubicBezTo>
                  <a:cubicBezTo>
                    <a:pt x="591" y="207"/>
                    <a:pt x="579" y="203"/>
                    <a:pt x="573" y="204"/>
                  </a:cubicBezTo>
                  <a:close/>
                  <a:moveTo>
                    <a:pt x="592" y="199"/>
                  </a:moveTo>
                  <a:cubicBezTo>
                    <a:pt x="587" y="198"/>
                    <a:pt x="592" y="195"/>
                    <a:pt x="592" y="192"/>
                  </a:cubicBezTo>
                  <a:cubicBezTo>
                    <a:pt x="597" y="194"/>
                    <a:pt x="593" y="197"/>
                    <a:pt x="592" y="199"/>
                  </a:cubicBezTo>
                  <a:close/>
                  <a:moveTo>
                    <a:pt x="624" y="265"/>
                  </a:moveTo>
                  <a:cubicBezTo>
                    <a:pt x="625" y="262"/>
                    <a:pt x="627" y="260"/>
                    <a:pt x="632" y="260"/>
                  </a:cubicBezTo>
                  <a:cubicBezTo>
                    <a:pt x="631" y="263"/>
                    <a:pt x="628" y="265"/>
                    <a:pt x="624" y="265"/>
                  </a:cubicBezTo>
                  <a:close/>
                  <a:moveTo>
                    <a:pt x="653" y="203"/>
                  </a:moveTo>
                  <a:cubicBezTo>
                    <a:pt x="655" y="203"/>
                    <a:pt x="658" y="203"/>
                    <a:pt x="661" y="203"/>
                  </a:cubicBezTo>
                  <a:cubicBezTo>
                    <a:pt x="661" y="208"/>
                    <a:pt x="651" y="204"/>
                    <a:pt x="647" y="205"/>
                  </a:cubicBezTo>
                  <a:cubicBezTo>
                    <a:pt x="647" y="203"/>
                    <a:pt x="651" y="204"/>
                    <a:pt x="653" y="203"/>
                  </a:cubicBezTo>
                  <a:close/>
                  <a:moveTo>
                    <a:pt x="656" y="264"/>
                  </a:moveTo>
                  <a:cubicBezTo>
                    <a:pt x="650" y="263"/>
                    <a:pt x="639" y="267"/>
                    <a:pt x="643" y="260"/>
                  </a:cubicBezTo>
                  <a:cubicBezTo>
                    <a:pt x="652" y="263"/>
                    <a:pt x="661" y="258"/>
                    <a:pt x="667" y="264"/>
                  </a:cubicBezTo>
                  <a:cubicBezTo>
                    <a:pt x="676" y="266"/>
                    <a:pt x="663" y="265"/>
                    <a:pt x="656" y="264"/>
                  </a:cubicBezTo>
                  <a:close/>
                  <a:moveTo>
                    <a:pt x="690" y="266"/>
                  </a:moveTo>
                  <a:cubicBezTo>
                    <a:pt x="697" y="257"/>
                    <a:pt x="707" y="271"/>
                    <a:pt x="690" y="266"/>
                  </a:cubicBezTo>
                  <a:close/>
                  <a:moveTo>
                    <a:pt x="714" y="263"/>
                  </a:moveTo>
                  <a:cubicBezTo>
                    <a:pt x="716" y="263"/>
                    <a:pt x="718" y="263"/>
                    <a:pt x="720" y="263"/>
                  </a:cubicBezTo>
                  <a:cubicBezTo>
                    <a:pt x="720" y="270"/>
                    <a:pt x="699" y="263"/>
                    <a:pt x="714" y="263"/>
                  </a:cubicBezTo>
                  <a:close/>
                  <a:moveTo>
                    <a:pt x="738" y="209"/>
                  </a:moveTo>
                  <a:cubicBezTo>
                    <a:pt x="737" y="208"/>
                    <a:pt x="745" y="206"/>
                    <a:pt x="743" y="204"/>
                  </a:cubicBezTo>
                  <a:cubicBezTo>
                    <a:pt x="753" y="208"/>
                    <a:pt x="740" y="210"/>
                    <a:pt x="738" y="209"/>
                  </a:cubicBezTo>
                  <a:close/>
                  <a:moveTo>
                    <a:pt x="777" y="267"/>
                  </a:moveTo>
                  <a:cubicBezTo>
                    <a:pt x="773" y="266"/>
                    <a:pt x="763" y="269"/>
                    <a:pt x="766" y="262"/>
                  </a:cubicBezTo>
                  <a:cubicBezTo>
                    <a:pt x="773" y="263"/>
                    <a:pt x="779" y="265"/>
                    <a:pt x="788" y="264"/>
                  </a:cubicBezTo>
                  <a:cubicBezTo>
                    <a:pt x="788" y="270"/>
                    <a:pt x="782" y="267"/>
                    <a:pt x="777" y="267"/>
                  </a:cubicBezTo>
                  <a:close/>
                  <a:moveTo>
                    <a:pt x="791" y="269"/>
                  </a:moveTo>
                  <a:cubicBezTo>
                    <a:pt x="793" y="266"/>
                    <a:pt x="797" y="264"/>
                    <a:pt x="802" y="264"/>
                  </a:cubicBezTo>
                  <a:cubicBezTo>
                    <a:pt x="801" y="268"/>
                    <a:pt x="797" y="269"/>
                    <a:pt x="791" y="269"/>
                  </a:cubicBezTo>
                  <a:close/>
                  <a:moveTo>
                    <a:pt x="810" y="261"/>
                  </a:moveTo>
                  <a:cubicBezTo>
                    <a:pt x="814" y="263"/>
                    <a:pt x="815" y="266"/>
                    <a:pt x="816" y="271"/>
                  </a:cubicBezTo>
                  <a:cubicBezTo>
                    <a:pt x="807" y="272"/>
                    <a:pt x="806" y="265"/>
                    <a:pt x="810" y="261"/>
                  </a:cubicBezTo>
                  <a:close/>
                  <a:moveTo>
                    <a:pt x="824" y="264"/>
                  </a:moveTo>
                  <a:cubicBezTo>
                    <a:pt x="830" y="269"/>
                    <a:pt x="836" y="261"/>
                    <a:pt x="840" y="266"/>
                  </a:cubicBezTo>
                  <a:cubicBezTo>
                    <a:pt x="836" y="270"/>
                    <a:pt x="824" y="273"/>
                    <a:pt x="824" y="264"/>
                  </a:cubicBezTo>
                  <a:close/>
                  <a:moveTo>
                    <a:pt x="865" y="268"/>
                  </a:moveTo>
                  <a:cubicBezTo>
                    <a:pt x="867" y="267"/>
                    <a:pt x="869" y="267"/>
                    <a:pt x="871" y="267"/>
                  </a:cubicBezTo>
                  <a:cubicBezTo>
                    <a:pt x="871" y="274"/>
                    <a:pt x="850" y="267"/>
                    <a:pt x="865" y="268"/>
                  </a:cubicBezTo>
                  <a:close/>
                  <a:moveTo>
                    <a:pt x="866" y="326"/>
                  </a:moveTo>
                  <a:cubicBezTo>
                    <a:pt x="866" y="325"/>
                    <a:pt x="866" y="323"/>
                    <a:pt x="866" y="321"/>
                  </a:cubicBezTo>
                  <a:cubicBezTo>
                    <a:pt x="868" y="321"/>
                    <a:pt x="870" y="321"/>
                    <a:pt x="871" y="321"/>
                  </a:cubicBezTo>
                  <a:cubicBezTo>
                    <a:pt x="872" y="323"/>
                    <a:pt x="872" y="325"/>
                    <a:pt x="872" y="326"/>
                  </a:cubicBezTo>
                  <a:cubicBezTo>
                    <a:pt x="870" y="326"/>
                    <a:pt x="868" y="326"/>
                    <a:pt x="866" y="326"/>
                  </a:cubicBezTo>
                  <a:close/>
                  <a:moveTo>
                    <a:pt x="903" y="269"/>
                  </a:moveTo>
                  <a:cubicBezTo>
                    <a:pt x="912" y="260"/>
                    <a:pt x="913" y="276"/>
                    <a:pt x="903" y="269"/>
                  </a:cubicBezTo>
                  <a:close/>
                  <a:moveTo>
                    <a:pt x="925" y="266"/>
                  </a:moveTo>
                  <a:cubicBezTo>
                    <a:pt x="930" y="266"/>
                    <a:pt x="931" y="269"/>
                    <a:pt x="936" y="269"/>
                  </a:cubicBezTo>
                  <a:cubicBezTo>
                    <a:pt x="937" y="273"/>
                    <a:pt x="921" y="273"/>
                    <a:pt x="925" y="266"/>
                  </a:cubicBezTo>
                  <a:close/>
                  <a:moveTo>
                    <a:pt x="947" y="271"/>
                  </a:moveTo>
                  <a:cubicBezTo>
                    <a:pt x="945" y="264"/>
                    <a:pt x="953" y="266"/>
                    <a:pt x="958" y="266"/>
                  </a:cubicBezTo>
                  <a:cubicBezTo>
                    <a:pt x="958" y="270"/>
                    <a:pt x="954" y="271"/>
                    <a:pt x="947" y="271"/>
                  </a:cubicBezTo>
                  <a:close/>
                  <a:moveTo>
                    <a:pt x="961" y="271"/>
                  </a:moveTo>
                  <a:cubicBezTo>
                    <a:pt x="963" y="269"/>
                    <a:pt x="964" y="267"/>
                    <a:pt x="964" y="263"/>
                  </a:cubicBezTo>
                  <a:cubicBezTo>
                    <a:pt x="971" y="263"/>
                    <a:pt x="972" y="267"/>
                    <a:pt x="978" y="268"/>
                  </a:cubicBezTo>
                  <a:cubicBezTo>
                    <a:pt x="977" y="273"/>
                    <a:pt x="966" y="269"/>
                    <a:pt x="961" y="271"/>
                  </a:cubicBezTo>
                  <a:close/>
                  <a:moveTo>
                    <a:pt x="986" y="275"/>
                  </a:moveTo>
                  <a:cubicBezTo>
                    <a:pt x="985" y="273"/>
                    <a:pt x="987" y="273"/>
                    <a:pt x="989" y="272"/>
                  </a:cubicBezTo>
                  <a:cubicBezTo>
                    <a:pt x="985" y="269"/>
                    <a:pt x="980" y="268"/>
                    <a:pt x="986" y="263"/>
                  </a:cubicBezTo>
                  <a:cubicBezTo>
                    <a:pt x="994" y="261"/>
                    <a:pt x="989" y="271"/>
                    <a:pt x="1000" y="268"/>
                  </a:cubicBezTo>
                  <a:cubicBezTo>
                    <a:pt x="995" y="270"/>
                    <a:pt x="993" y="274"/>
                    <a:pt x="986" y="275"/>
                  </a:cubicBezTo>
                  <a:close/>
                  <a:moveTo>
                    <a:pt x="1011" y="272"/>
                  </a:moveTo>
                  <a:cubicBezTo>
                    <a:pt x="1011" y="270"/>
                    <a:pt x="1011" y="269"/>
                    <a:pt x="1010" y="267"/>
                  </a:cubicBezTo>
                  <a:cubicBezTo>
                    <a:pt x="1012" y="267"/>
                    <a:pt x="1014" y="267"/>
                    <a:pt x="1016" y="267"/>
                  </a:cubicBezTo>
                  <a:cubicBezTo>
                    <a:pt x="1016" y="269"/>
                    <a:pt x="1016" y="270"/>
                    <a:pt x="1016" y="272"/>
                  </a:cubicBezTo>
                  <a:cubicBezTo>
                    <a:pt x="1014" y="272"/>
                    <a:pt x="1012" y="272"/>
                    <a:pt x="1011" y="272"/>
                  </a:cubicBezTo>
                  <a:close/>
                  <a:moveTo>
                    <a:pt x="1150" y="270"/>
                  </a:moveTo>
                  <a:cubicBezTo>
                    <a:pt x="1150" y="268"/>
                    <a:pt x="1150" y="266"/>
                    <a:pt x="1150" y="265"/>
                  </a:cubicBezTo>
                  <a:cubicBezTo>
                    <a:pt x="1152" y="265"/>
                    <a:pt x="1154" y="265"/>
                    <a:pt x="1156" y="265"/>
                  </a:cubicBezTo>
                  <a:cubicBezTo>
                    <a:pt x="1156" y="266"/>
                    <a:pt x="1156" y="268"/>
                    <a:pt x="1156" y="269"/>
                  </a:cubicBezTo>
                  <a:cubicBezTo>
                    <a:pt x="1154" y="270"/>
                    <a:pt x="1152" y="270"/>
                    <a:pt x="1150" y="270"/>
                  </a:cubicBezTo>
                  <a:close/>
                  <a:moveTo>
                    <a:pt x="1170" y="269"/>
                  </a:moveTo>
                  <a:cubicBezTo>
                    <a:pt x="1170" y="268"/>
                    <a:pt x="1170" y="266"/>
                    <a:pt x="1170" y="265"/>
                  </a:cubicBezTo>
                  <a:cubicBezTo>
                    <a:pt x="1171" y="265"/>
                    <a:pt x="1173" y="265"/>
                    <a:pt x="1175" y="264"/>
                  </a:cubicBezTo>
                  <a:cubicBezTo>
                    <a:pt x="1175" y="266"/>
                    <a:pt x="1175" y="268"/>
                    <a:pt x="1175" y="269"/>
                  </a:cubicBezTo>
                  <a:cubicBezTo>
                    <a:pt x="1173" y="269"/>
                    <a:pt x="1171" y="269"/>
                    <a:pt x="1170" y="269"/>
                  </a:cubicBezTo>
                  <a:close/>
                  <a:moveTo>
                    <a:pt x="1194" y="271"/>
                  </a:moveTo>
                  <a:cubicBezTo>
                    <a:pt x="1195" y="263"/>
                    <a:pt x="1187" y="272"/>
                    <a:pt x="1181" y="267"/>
                  </a:cubicBezTo>
                  <a:cubicBezTo>
                    <a:pt x="1179" y="261"/>
                    <a:pt x="1191" y="267"/>
                    <a:pt x="1194" y="264"/>
                  </a:cubicBezTo>
                  <a:cubicBezTo>
                    <a:pt x="1194" y="264"/>
                    <a:pt x="1194" y="262"/>
                    <a:pt x="1194" y="262"/>
                  </a:cubicBezTo>
                  <a:cubicBezTo>
                    <a:pt x="1200" y="261"/>
                    <a:pt x="1208" y="268"/>
                    <a:pt x="1211" y="261"/>
                  </a:cubicBezTo>
                  <a:cubicBezTo>
                    <a:pt x="1221" y="266"/>
                    <a:pt x="1208" y="265"/>
                    <a:pt x="1205" y="266"/>
                  </a:cubicBezTo>
                  <a:cubicBezTo>
                    <a:pt x="1201" y="268"/>
                    <a:pt x="1198" y="272"/>
                    <a:pt x="1194" y="271"/>
                  </a:cubicBezTo>
                  <a:close/>
                  <a:moveTo>
                    <a:pt x="1199" y="353"/>
                  </a:moveTo>
                  <a:cubicBezTo>
                    <a:pt x="1207" y="350"/>
                    <a:pt x="1205" y="357"/>
                    <a:pt x="1210" y="358"/>
                  </a:cubicBezTo>
                  <a:cubicBezTo>
                    <a:pt x="1209" y="363"/>
                    <a:pt x="1194" y="361"/>
                    <a:pt x="1199" y="353"/>
                  </a:cubicBezTo>
                  <a:close/>
                  <a:moveTo>
                    <a:pt x="1212" y="355"/>
                  </a:moveTo>
                  <a:cubicBezTo>
                    <a:pt x="1215" y="349"/>
                    <a:pt x="1216" y="353"/>
                    <a:pt x="1223" y="353"/>
                  </a:cubicBezTo>
                  <a:cubicBezTo>
                    <a:pt x="1223" y="358"/>
                    <a:pt x="1216" y="358"/>
                    <a:pt x="1212" y="355"/>
                  </a:cubicBezTo>
                  <a:close/>
                  <a:moveTo>
                    <a:pt x="1227" y="261"/>
                  </a:moveTo>
                  <a:cubicBezTo>
                    <a:pt x="1232" y="261"/>
                    <a:pt x="1234" y="265"/>
                    <a:pt x="1235" y="261"/>
                  </a:cubicBezTo>
                  <a:cubicBezTo>
                    <a:pt x="1247" y="264"/>
                    <a:pt x="1223" y="271"/>
                    <a:pt x="1227" y="261"/>
                  </a:cubicBezTo>
                  <a:close/>
                  <a:moveTo>
                    <a:pt x="1237" y="195"/>
                  </a:moveTo>
                  <a:cubicBezTo>
                    <a:pt x="1237" y="194"/>
                    <a:pt x="1237" y="192"/>
                    <a:pt x="1237" y="191"/>
                  </a:cubicBezTo>
                  <a:cubicBezTo>
                    <a:pt x="1239" y="190"/>
                    <a:pt x="1240" y="190"/>
                    <a:pt x="1242" y="190"/>
                  </a:cubicBezTo>
                  <a:cubicBezTo>
                    <a:pt x="1242" y="192"/>
                    <a:pt x="1242" y="194"/>
                    <a:pt x="1242" y="195"/>
                  </a:cubicBezTo>
                  <a:cubicBezTo>
                    <a:pt x="1241" y="195"/>
                    <a:pt x="1239" y="195"/>
                    <a:pt x="1237" y="195"/>
                  </a:cubicBezTo>
                  <a:close/>
                  <a:moveTo>
                    <a:pt x="1259" y="195"/>
                  </a:moveTo>
                  <a:cubicBezTo>
                    <a:pt x="1252" y="196"/>
                    <a:pt x="1252" y="190"/>
                    <a:pt x="1250" y="186"/>
                  </a:cubicBezTo>
                  <a:cubicBezTo>
                    <a:pt x="1258" y="185"/>
                    <a:pt x="1258" y="190"/>
                    <a:pt x="1259" y="195"/>
                  </a:cubicBezTo>
                  <a:close/>
                  <a:moveTo>
                    <a:pt x="1252" y="261"/>
                  </a:moveTo>
                  <a:cubicBezTo>
                    <a:pt x="1256" y="260"/>
                    <a:pt x="1262" y="262"/>
                    <a:pt x="1263" y="258"/>
                  </a:cubicBezTo>
                  <a:cubicBezTo>
                    <a:pt x="1266" y="259"/>
                    <a:pt x="1265" y="262"/>
                    <a:pt x="1266" y="265"/>
                  </a:cubicBezTo>
                  <a:cubicBezTo>
                    <a:pt x="1263" y="268"/>
                    <a:pt x="1252" y="268"/>
                    <a:pt x="1252" y="261"/>
                  </a:cubicBezTo>
                  <a:close/>
                  <a:moveTo>
                    <a:pt x="1279" y="267"/>
                  </a:moveTo>
                  <a:cubicBezTo>
                    <a:pt x="1271" y="269"/>
                    <a:pt x="1269" y="262"/>
                    <a:pt x="1274" y="258"/>
                  </a:cubicBezTo>
                  <a:cubicBezTo>
                    <a:pt x="1279" y="259"/>
                    <a:pt x="1280" y="262"/>
                    <a:pt x="1279" y="267"/>
                  </a:cubicBezTo>
                  <a:close/>
                  <a:moveTo>
                    <a:pt x="1282" y="260"/>
                  </a:moveTo>
                  <a:cubicBezTo>
                    <a:pt x="1283" y="254"/>
                    <a:pt x="1287" y="263"/>
                    <a:pt x="1293" y="260"/>
                  </a:cubicBezTo>
                  <a:cubicBezTo>
                    <a:pt x="1291" y="268"/>
                    <a:pt x="1287" y="262"/>
                    <a:pt x="1282" y="260"/>
                  </a:cubicBezTo>
                  <a:close/>
                  <a:moveTo>
                    <a:pt x="1312" y="257"/>
                  </a:moveTo>
                  <a:cubicBezTo>
                    <a:pt x="1308" y="258"/>
                    <a:pt x="1310" y="265"/>
                    <a:pt x="1301" y="262"/>
                  </a:cubicBezTo>
                  <a:cubicBezTo>
                    <a:pt x="1300" y="255"/>
                    <a:pt x="1310" y="257"/>
                    <a:pt x="1315" y="255"/>
                  </a:cubicBezTo>
                  <a:cubicBezTo>
                    <a:pt x="1316" y="259"/>
                    <a:pt x="1312" y="260"/>
                    <a:pt x="1312" y="257"/>
                  </a:cubicBezTo>
                  <a:close/>
                  <a:moveTo>
                    <a:pt x="1479" y="238"/>
                  </a:moveTo>
                  <a:cubicBezTo>
                    <a:pt x="1478" y="239"/>
                    <a:pt x="1476" y="232"/>
                    <a:pt x="1474" y="233"/>
                  </a:cubicBezTo>
                  <a:cubicBezTo>
                    <a:pt x="1478" y="225"/>
                    <a:pt x="1481" y="236"/>
                    <a:pt x="1479" y="238"/>
                  </a:cubicBezTo>
                  <a:close/>
                  <a:moveTo>
                    <a:pt x="1448" y="177"/>
                  </a:moveTo>
                  <a:cubicBezTo>
                    <a:pt x="1447" y="180"/>
                    <a:pt x="1445" y="182"/>
                    <a:pt x="1440" y="182"/>
                  </a:cubicBezTo>
                  <a:cubicBezTo>
                    <a:pt x="1438" y="177"/>
                    <a:pt x="1444" y="178"/>
                    <a:pt x="1448" y="177"/>
                  </a:cubicBezTo>
                  <a:close/>
                  <a:moveTo>
                    <a:pt x="1424" y="248"/>
                  </a:moveTo>
                  <a:cubicBezTo>
                    <a:pt x="1429" y="248"/>
                    <a:pt x="1429" y="250"/>
                    <a:pt x="1433" y="251"/>
                  </a:cubicBezTo>
                  <a:cubicBezTo>
                    <a:pt x="1434" y="255"/>
                    <a:pt x="1420" y="254"/>
                    <a:pt x="1424" y="248"/>
                  </a:cubicBezTo>
                  <a:close/>
                  <a:moveTo>
                    <a:pt x="1334" y="259"/>
                  </a:moveTo>
                  <a:cubicBezTo>
                    <a:pt x="1334" y="257"/>
                    <a:pt x="1331" y="258"/>
                    <a:pt x="1329" y="257"/>
                  </a:cubicBezTo>
                  <a:cubicBezTo>
                    <a:pt x="1331" y="252"/>
                    <a:pt x="1344" y="256"/>
                    <a:pt x="1350" y="254"/>
                  </a:cubicBezTo>
                  <a:cubicBezTo>
                    <a:pt x="1347" y="261"/>
                    <a:pt x="1344" y="256"/>
                    <a:pt x="1334" y="259"/>
                  </a:cubicBezTo>
                  <a:close/>
                  <a:moveTo>
                    <a:pt x="1392" y="279"/>
                  </a:moveTo>
                  <a:cubicBezTo>
                    <a:pt x="1392" y="278"/>
                    <a:pt x="1392" y="276"/>
                    <a:pt x="1392" y="275"/>
                  </a:cubicBezTo>
                  <a:cubicBezTo>
                    <a:pt x="1394" y="275"/>
                    <a:pt x="1396" y="275"/>
                    <a:pt x="1397" y="275"/>
                  </a:cubicBezTo>
                  <a:cubicBezTo>
                    <a:pt x="1398" y="276"/>
                    <a:pt x="1398" y="278"/>
                    <a:pt x="1398" y="279"/>
                  </a:cubicBezTo>
                  <a:cubicBezTo>
                    <a:pt x="1396" y="279"/>
                    <a:pt x="1394" y="279"/>
                    <a:pt x="1392" y="279"/>
                  </a:cubicBezTo>
                  <a:close/>
                  <a:moveTo>
                    <a:pt x="1394" y="258"/>
                  </a:moveTo>
                  <a:cubicBezTo>
                    <a:pt x="1394" y="261"/>
                    <a:pt x="1392" y="260"/>
                    <a:pt x="1392" y="258"/>
                  </a:cubicBezTo>
                  <a:cubicBezTo>
                    <a:pt x="1388" y="259"/>
                    <a:pt x="1384" y="259"/>
                    <a:pt x="1383" y="256"/>
                  </a:cubicBezTo>
                  <a:cubicBezTo>
                    <a:pt x="1381" y="258"/>
                    <a:pt x="1376" y="260"/>
                    <a:pt x="1375" y="256"/>
                  </a:cubicBezTo>
                  <a:cubicBezTo>
                    <a:pt x="1373" y="257"/>
                    <a:pt x="1372" y="259"/>
                    <a:pt x="1370" y="259"/>
                  </a:cubicBezTo>
                  <a:cubicBezTo>
                    <a:pt x="1369" y="261"/>
                    <a:pt x="1371" y="261"/>
                    <a:pt x="1373" y="261"/>
                  </a:cubicBezTo>
                  <a:cubicBezTo>
                    <a:pt x="1373" y="267"/>
                    <a:pt x="1365" y="260"/>
                    <a:pt x="1367" y="256"/>
                  </a:cubicBezTo>
                  <a:cubicBezTo>
                    <a:pt x="1362" y="257"/>
                    <a:pt x="1365" y="266"/>
                    <a:pt x="1356" y="264"/>
                  </a:cubicBezTo>
                  <a:cubicBezTo>
                    <a:pt x="1358" y="256"/>
                    <a:pt x="1351" y="256"/>
                    <a:pt x="1356" y="252"/>
                  </a:cubicBezTo>
                  <a:cubicBezTo>
                    <a:pt x="1360" y="249"/>
                    <a:pt x="1366" y="255"/>
                    <a:pt x="1367" y="254"/>
                  </a:cubicBezTo>
                  <a:cubicBezTo>
                    <a:pt x="1367" y="254"/>
                    <a:pt x="1367" y="252"/>
                    <a:pt x="1367" y="252"/>
                  </a:cubicBezTo>
                  <a:cubicBezTo>
                    <a:pt x="1370" y="251"/>
                    <a:pt x="1372" y="254"/>
                    <a:pt x="1372" y="254"/>
                  </a:cubicBezTo>
                  <a:cubicBezTo>
                    <a:pt x="1379" y="253"/>
                    <a:pt x="1377" y="249"/>
                    <a:pt x="1383" y="249"/>
                  </a:cubicBezTo>
                  <a:cubicBezTo>
                    <a:pt x="1383" y="249"/>
                    <a:pt x="1384" y="255"/>
                    <a:pt x="1386" y="254"/>
                  </a:cubicBezTo>
                  <a:cubicBezTo>
                    <a:pt x="1392" y="254"/>
                    <a:pt x="1387" y="245"/>
                    <a:pt x="1389" y="242"/>
                  </a:cubicBezTo>
                  <a:cubicBezTo>
                    <a:pt x="1391" y="243"/>
                    <a:pt x="1393" y="244"/>
                    <a:pt x="1397" y="244"/>
                  </a:cubicBezTo>
                  <a:cubicBezTo>
                    <a:pt x="1396" y="246"/>
                    <a:pt x="1395" y="248"/>
                    <a:pt x="1392" y="249"/>
                  </a:cubicBezTo>
                  <a:cubicBezTo>
                    <a:pt x="1391" y="255"/>
                    <a:pt x="1404" y="247"/>
                    <a:pt x="1400" y="256"/>
                  </a:cubicBezTo>
                  <a:cubicBezTo>
                    <a:pt x="1395" y="255"/>
                    <a:pt x="1390" y="258"/>
                    <a:pt x="1394" y="258"/>
                  </a:cubicBezTo>
                  <a:close/>
                  <a:moveTo>
                    <a:pt x="1405" y="258"/>
                  </a:moveTo>
                  <a:cubicBezTo>
                    <a:pt x="1407" y="258"/>
                    <a:pt x="1409" y="258"/>
                    <a:pt x="1411" y="258"/>
                  </a:cubicBezTo>
                  <a:cubicBezTo>
                    <a:pt x="1412" y="265"/>
                    <a:pt x="1390" y="258"/>
                    <a:pt x="1405" y="258"/>
                  </a:cubicBezTo>
                  <a:close/>
                  <a:moveTo>
                    <a:pt x="1403" y="279"/>
                  </a:moveTo>
                  <a:cubicBezTo>
                    <a:pt x="1403" y="277"/>
                    <a:pt x="1406" y="277"/>
                    <a:pt x="1408" y="277"/>
                  </a:cubicBezTo>
                  <a:cubicBezTo>
                    <a:pt x="1410" y="277"/>
                    <a:pt x="1412" y="277"/>
                    <a:pt x="1414" y="277"/>
                  </a:cubicBezTo>
                  <a:cubicBezTo>
                    <a:pt x="1413" y="280"/>
                    <a:pt x="1407" y="279"/>
                    <a:pt x="1403" y="279"/>
                  </a:cubicBezTo>
                  <a:close/>
                  <a:moveTo>
                    <a:pt x="1416" y="256"/>
                  </a:moveTo>
                  <a:cubicBezTo>
                    <a:pt x="1412" y="256"/>
                    <a:pt x="1407" y="256"/>
                    <a:pt x="1403" y="256"/>
                  </a:cubicBezTo>
                  <a:cubicBezTo>
                    <a:pt x="1401" y="247"/>
                    <a:pt x="1411" y="248"/>
                    <a:pt x="1419" y="248"/>
                  </a:cubicBezTo>
                  <a:cubicBezTo>
                    <a:pt x="1419" y="254"/>
                    <a:pt x="1424" y="256"/>
                    <a:pt x="1419" y="260"/>
                  </a:cubicBezTo>
                  <a:cubicBezTo>
                    <a:pt x="1416" y="260"/>
                    <a:pt x="1417" y="257"/>
                    <a:pt x="1416" y="256"/>
                  </a:cubicBezTo>
                  <a:close/>
                  <a:moveTo>
                    <a:pt x="1418" y="352"/>
                  </a:moveTo>
                  <a:cubicBezTo>
                    <a:pt x="1417" y="348"/>
                    <a:pt x="1423" y="346"/>
                    <a:pt x="1418" y="345"/>
                  </a:cubicBezTo>
                  <a:cubicBezTo>
                    <a:pt x="1420" y="342"/>
                    <a:pt x="1424" y="342"/>
                    <a:pt x="1423" y="338"/>
                  </a:cubicBezTo>
                  <a:cubicBezTo>
                    <a:pt x="1428" y="340"/>
                    <a:pt x="1430" y="344"/>
                    <a:pt x="1426" y="347"/>
                  </a:cubicBezTo>
                  <a:cubicBezTo>
                    <a:pt x="1427" y="352"/>
                    <a:pt x="1433" y="344"/>
                    <a:pt x="1440" y="347"/>
                  </a:cubicBezTo>
                  <a:cubicBezTo>
                    <a:pt x="1439" y="354"/>
                    <a:pt x="1426" y="351"/>
                    <a:pt x="1418" y="352"/>
                  </a:cubicBezTo>
                  <a:close/>
                  <a:moveTo>
                    <a:pt x="1433" y="281"/>
                  </a:moveTo>
                  <a:cubicBezTo>
                    <a:pt x="1435" y="277"/>
                    <a:pt x="1438" y="281"/>
                    <a:pt x="1441" y="281"/>
                  </a:cubicBezTo>
                  <a:cubicBezTo>
                    <a:pt x="1440" y="285"/>
                    <a:pt x="1437" y="281"/>
                    <a:pt x="1433" y="281"/>
                  </a:cubicBezTo>
                  <a:close/>
                  <a:moveTo>
                    <a:pt x="1438" y="250"/>
                  </a:moveTo>
                  <a:cubicBezTo>
                    <a:pt x="1435" y="241"/>
                    <a:pt x="1455" y="254"/>
                    <a:pt x="1452" y="241"/>
                  </a:cubicBezTo>
                  <a:cubicBezTo>
                    <a:pt x="1457" y="241"/>
                    <a:pt x="1454" y="249"/>
                    <a:pt x="1460" y="248"/>
                  </a:cubicBezTo>
                  <a:cubicBezTo>
                    <a:pt x="1459" y="250"/>
                    <a:pt x="1439" y="253"/>
                    <a:pt x="1438" y="250"/>
                  </a:cubicBezTo>
                  <a:close/>
                  <a:moveTo>
                    <a:pt x="1456" y="330"/>
                  </a:moveTo>
                  <a:cubicBezTo>
                    <a:pt x="1459" y="331"/>
                    <a:pt x="1462" y="333"/>
                    <a:pt x="1462" y="337"/>
                  </a:cubicBezTo>
                  <a:cubicBezTo>
                    <a:pt x="1458" y="336"/>
                    <a:pt x="1456" y="334"/>
                    <a:pt x="1456" y="330"/>
                  </a:cubicBezTo>
                  <a:close/>
                  <a:moveTo>
                    <a:pt x="1485" y="250"/>
                  </a:moveTo>
                  <a:cubicBezTo>
                    <a:pt x="1485" y="251"/>
                    <a:pt x="1485" y="253"/>
                    <a:pt x="1485" y="254"/>
                  </a:cubicBezTo>
                  <a:cubicBezTo>
                    <a:pt x="1482" y="254"/>
                    <a:pt x="1483" y="251"/>
                    <a:pt x="1482" y="250"/>
                  </a:cubicBezTo>
                  <a:cubicBezTo>
                    <a:pt x="1477" y="251"/>
                    <a:pt x="1466" y="247"/>
                    <a:pt x="1466" y="252"/>
                  </a:cubicBezTo>
                  <a:cubicBezTo>
                    <a:pt x="1462" y="252"/>
                    <a:pt x="1463" y="246"/>
                    <a:pt x="1463" y="243"/>
                  </a:cubicBezTo>
                  <a:cubicBezTo>
                    <a:pt x="1468" y="244"/>
                    <a:pt x="1471" y="242"/>
                    <a:pt x="1471" y="238"/>
                  </a:cubicBezTo>
                  <a:cubicBezTo>
                    <a:pt x="1476" y="242"/>
                    <a:pt x="1478" y="248"/>
                    <a:pt x="1487" y="247"/>
                  </a:cubicBezTo>
                  <a:cubicBezTo>
                    <a:pt x="1488" y="249"/>
                    <a:pt x="1486" y="249"/>
                    <a:pt x="1485" y="250"/>
                  </a:cubicBezTo>
                  <a:close/>
                  <a:moveTo>
                    <a:pt x="1493" y="233"/>
                  </a:moveTo>
                  <a:cubicBezTo>
                    <a:pt x="1505" y="234"/>
                    <a:pt x="1490" y="247"/>
                    <a:pt x="1493" y="233"/>
                  </a:cubicBezTo>
                  <a:close/>
                  <a:moveTo>
                    <a:pt x="1529" y="251"/>
                  </a:moveTo>
                  <a:cubicBezTo>
                    <a:pt x="1523" y="254"/>
                    <a:pt x="1525" y="247"/>
                    <a:pt x="1523" y="247"/>
                  </a:cubicBezTo>
                  <a:cubicBezTo>
                    <a:pt x="1516" y="244"/>
                    <a:pt x="1502" y="249"/>
                    <a:pt x="1493" y="247"/>
                  </a:cubicBezTo>
                  <a:cubicBezTo>
                    <a:pt x="1492" y="243"/>
                    <a:pt x="1499" y="246"/>
                    <a:pt x="1501" y="245"/>
                  </a:cubicBezTo>
                  <a:cubicBezTo>
                    <a:pt x="1504" y="242"/>
                    <a:pt x="1505" y="245"/>
                    <a:pt x="1512" y="242"/>
                  </a:cubicBezTo>
                  <a:cubicBezTo>
                    <a:pt x="1513" y="242"/>
                    <a:pt x="1517" y="243"/>
                    <a:pt x="1518" y="242"/>
                  </a:cubicBezTo>
                  <a:cubicBezTo>
                    <a:pt x="1519" y="240"/>
                    <a:pt x="1519" y="240"/>
                    <a:pt x="1520" y="242"/>
                  </a:cubicBezTo>
                  <a:cubicBezTo>
                    <a:pt x="1525" y="242"/>
                    <a:pt x="1526" y="239"/>
                    <a:pt x="1531" y="239"/>
                  </a:cubicBezTo>
                  <a:cubicBezTo>
                    <a:pt x="1532" y="245"/>
                    <a:pt x="1526" y="245"/>
                    <a:pt x="1529" y="251"/>
                  </a:cubicBezTo>
                  <a:close/>
                  <a:moveTo>
                    <a:pt x="1606" y="125"/>
                  </a:moveTo>
                  <a:cubicBezTo>
                    <a:pt x="1608" y="119"/>
                    <a:pt x="1609" y="131"/>
                    <a:pt x="1609" y="132"/>
                  </a:cubicBezTo>
                  <a:cubicBezTo>
                    <a:pt x="1608" y="137"/>
                    <a:pt x="1604" y="134"/>
                    <a:pt x="1606" y="125"/>
                  </a:cubicBezTo>
                  <a:close/>
                  <a:moveTo>
                    <a:pt x="1536" y="181"/>
                  </a:moveTo>
                  <a:cubicBezTo>
                    <a:pt x="1539" y="181"/>
                    <a:pt x="1541" y="180"/>
                    <a:pt x="1544" y="180"/>
                  </a:cubicBezTo>
                  <a:cubicBezTo>
                    <a:pt x="1546" y="182"/>
                    <a:pt x="1547" y="178"/>
                    <a:pt x="1547" y="178"/>
                  </a:cubicBezTo>
                  <a:cubicBezTo>
                    <a:pt x="1560" y="181"/>
                    <a:pt x="1525" y="188"/>
                    <a:pt x="1536" y="181"/>
                  </a:cubicBezTo>
                  <a:close/>
                  <a:moveTo>
                    <a:pt x="1566" y="340"/>
                  </a:moveTo>
                  <a:cubicBezTo>
                    <a:pt x="1566" y="338"/>
                    <a:pt x="1566" y="337"/>
                    <a:pt x="1566" y="335"/>
                  </a:cubicBezTo>
                  <a:cubicBezTo>
                    <a:pt x="1571" y="334"/>
                    <a:pt x="1574" y="335"/>
                    <a:pt x="1574" y="340"/>
                  </a:cubicBezTo>
                  <a:cubicBezTo>
                    <a:pt x="1571" y="340"/>
                    <a:pt x="1569" y="340"/>
                    <a:pt x="1566" y="340"/>
                  </a:cubicBezTo>
                  <a:close/>
                  <a:moveTo>
                    <a:pt x="1582" y="342"/>
                  </a:moveTo>
                  <a:cubicBezTo>
                    <a:pt x="1581" y="343"/>
                    <a:pt x="1574" y="336"/>
                    <a:pt x="1580" y="333"/>
                  </a:cubicBezTo>
                  <a:cubicBezTo>
                    <a:pt x="1582" y="332"/>
                    <a:pt x="1584" y="340"/>
                    <a:pt x="1582" y="342"/>
                  </a:cubicBezTo>
                  <a:close/>
                  <a:moveTo>
                    <a:pt x="1573" y="248"/>
                  </a:moveTo>
                  <a:cubicBezTo>
                    <a:pt x="1569" y="250"/>
                    <a:pt x="1569" y="237"/>
                    <a:pt x="1564" y="241"/>
                  </a:cubicBezTo>
                  <a:cubicBezTo>
                    <a:pt x="1564" y="241"/>
                    <a:pt x="1565" y="243"/>
                    <a:pt x="1564" y="244"/>
                  </a:cubicBezTo>
                  <a:cubicBezTo>
                    <a:pt x="1559" y="245"/>
                    <a:pt x="1545" y="243"/>
                    <a:pt x="1537" y="244"/>
                  </a:cubicBezTo>
                  <a:cubicBezTo>
                    <a:pt x="1537" y="236"/>
                    <a:pt x="1545" y="242"/>
                    <a:pt x="1548" y="241"/>
                  </a:cubicBezTo>
                  <a:cubicBezTo>
                    <a:pt x="1550" y="241"/>
                    <a:pt x="1550" y="239"/>
                    <a:pt x="1551" y="239"/>
                  </a:cubicBezTo>
                  <a:cubicBezTo>
                    <a:pt x="1553" y="239"/>
                    <a:pt x="1557" y="243"/>
                    <a:pt x="1556" y="237"/>
                  </a:cubicBezTo>
                  <a:cubicBezTo>
                    <a:pt x="1558" y="238"/>
                    <a:pt x="1559" y="238"/>
                    <a:pt x="1561" y="239"/>
                  </a:cubicBezTo>
                  <a:cubicBezTo>
                    <a:pt x="1562" y="239"/>
                    <a:pt x="1566" y="238"/>
                    <a:pt x="1567" y="239"/>
                  </a:cubicBezTo>
                  <a:cubicBezTo>
                    <a:pt x="1569" y="241"/>
                    <a:pt x="1568" y="240"/>
                    <a:pt x="1578" y="239"/>
                  </a:cubicBezTo>
                  <a:cubicBezTo>
                    <a:pt x="1580" y="238"/>
                    <a:pt x="1588" y="240"/>
                    <a:pt x="1589" y="238"/>
                  </a:cubicBezTo>
                  <a:cubicBezTo>
                    <a:pt x="1592" y="235"/>
                    <a:pt x="1589" y="239"/>
                    <a:pt x="1600" y="238"/>
                  </a:cubicBezTo>
                  <a:cubicBezTo>
                    <a:pt x="1605" y="238"/>
                    <a:pt x="1606" y="236"/>
                    <a:pt x="1611" y="236"/>
                  </a:cubicBezTo>
                  <a:cubicBezTo>
                    <a:pt x="1613" y="249"/>
                    <a:pt x="1568" y="231"/>
                    <a:pt x="1573" y="248"/>
                  </a:cubicBezTo>
                  <a:close/>
                  <a:moveTo>
                    <a:pt x="1593" y="337"/>
                  </a:moveTo>
                  <a:cubicBezTo>
                    <a:pt x="1596" y="328"/>
                    <a:pt x="1599" y="337"/>
                    <a:pt x="1604" y="337"/>
                  </a:cubicBezTo>
                  <a:cubicBezTo>
                    <a:pt x="1606" y="337"/>
                    <a:pt x="1609" y="333"/>
                    <a:pt x="1612" y="334"/>
                  </a:cubicBezTo>
                  <a:cubicBezTo>
                    <a:pt x="1610" y="343"/>
                    <a:pt x="1601" y="336"/>
                    <a:pt x="1593" y="337"/>
                  </a:cubicBezTo>
                  <a:close/>
                  <a:moveTo>
                    <a:pt x="1619" y="238"/>
                  </a:moveTo>
                  <a:cubicBezTo>
                    <a:pt x="1618" y="242"/>
                    <a:pt x="1626" y="239"/>
                    <a:pt x="1627" y="240"/>
                  </a:cubicBezTo>
                  <a:cubicBezTo>
                    <a:pt x="1630" y="244"/>
                    <a:pt x="1618" y="241"/>
                    <a:pt x="1619" y="247"/>
                  </a:cubicBezTo>
                  <a:cubicBezTo>
                    <a:pt x="1615" y="245"/>
                    <a:pt x="1616" y="237"/>
                    <a:pt x="1613" y="233"/>
                  </a:cubicBezTo>
                  <a:cubicBezTo>
                    <a:pt x="1618" y="237"/>
                    <a:pt x="1623" y="231"/>
                    <a:pt x="1633" y="233"/>
                  </a:cubicBezTo>
                  <a:cubicBezTo>
                    <a:pt x="1636" y="241"/>
                    <a:pt x="1624" y="237"/>
                    <a:pt x="1619" y="238"/>
                  </a:cubicBezTo>
                  <a:close/>
                  <a:moveTo>
                    <a:pt x="1642" y="320"/>
                  </a:moveTo>
                  <a:cubicBezTo>
                    <a:pt x="1644" y="319"/>
                    <a:pt x="1647" y="313"/>
                    <a:pt x="1648" y="313"/>
                  </a:cubicBezTo>
                  <a:cubicBezTo>
                    <a:pt x="1651" y="312"/>
                    <a:pt x="1651" y="320"/>
                    <a:pt x="1642" y="320"/>
                  </a:cubicBezTo>
                  <a:close/>
                  <a:moveTo>
                    <a:pt x="1644" y="249"/>
                  </a:moveTo>
                  <a:cubicBezTo>
                    <a:pt x="1652" y="240"/>
                    <a:pt x="1653" y="256"/>
                    <a:pt x="1644" y="249"/>
                  </a:cubicBezTo>
                  <a:close/>
                  <a:moveTo>
                    <a:pt x="1638" y="245"/>
                  </a:moveTo>
                  <a:cubicBezTo>
                    <a:pt x="1634" y="243"/>
                    <a:pt x="1638" y="242"/>
                    <a:pt x="1641" y="242"/>
                  </a:cubicBezTo>
                  <a:cubicBezTo>
                    <a:pt x="1642" y="238"/>
                    <a:pt x="1638" y="237"/>
                    <a:pt x="1638" y="240"/>
                  </a:cubicBezTo>
                  <a:cubicBezTo>
                    <a:pt x="1637" y="241"/>
                    <a:pt x="1635" y="236"/>
                    <a:pt x="1635" y="235"/>
                  </a:cubicBezTo>
                  <a:cubicBezTo>
                    <a:pt x="1636" y="234"/>
                    <a:pt x="1640" y="236"/>
                    <a:pt x="1641" y="235"/>
                  </a:cubicBezTo>
                  <a:cubicBezTo>
                    <a:pt x="1642" y="235"/>
                    <a:pt x="1640" y="231"/>
                    <a:pt x="1641" y="230"/>
                  </a:cubicBezTo>
                  <a:cubicBezTo>
                    <a:pt x="1644" y="229"/>
                    <a:pt x="1643" y="235"/>
                    <a:pt x="1644" y="235"/>
                  </a:cubicBezTo>
                  <a:cubicBezTo>
                    <a:pt x="1644" y="236"/>
                    <a:pt x="1650" y="232"/>
                    <a:pt x="1652" y="235"/>
                  </a:cubicBezTo>
                  <a:cubicBezTo>
                    <a:pt x="1649" y="238"/>
                    <a:pt x="1637" y="240"/>
                    <a:pt x="1652" y="240"/>
                  </a:cubicBezTo>
                  <a:cubicBezTo>
                    <a:pt x="1648" y="247"/>
                    <a:pt x="1643" y="241"/>
                    <a:pt x="1638" y="245"/>
                  </a:cubicBezTo>
                  <a:close/>
                  <a:moveTo>
                    <a:pt x="1739" y="203"/>
                  </a:moveTo>
                  <a:cubicBezTo>
                    <a:pt x="1739" y="206"/>
                    <a:pt x="1731" y="204"/>
                    <a:pt x="1731" y="208"/>
                  </a:cubicBezTo>
                  <a:cubicBezTo>
                    <a:pt x="1722" y="205"/>
                    <a:pt x="1734" y="201"/>
                    <a:pt x="1739" y="203"/>
                  </a:cubicBezTo>
                  <a:close/>
                  <a:moveTo>
                    <a:pt x="1656" y="331"/>
                  </a:moveTo>
                  <a:cubicBezTo>
                    <a:pt x="1656" y="330"/>
                    <a:pt x="1656" y="328"/>
                    <a:pt x="1656" y="327"/>
                  </a:cubicBezTo>
                  <a:cubicBezTo>
                    <a:pt x="1660" y="326"/>
                    <a:pt x="1664" y="326"/>
                    <a:pt x="1667" y="326"/>
                  </a:cubicBezTo>
                  <a:cubicBezTo>
                    <a:pt x="1670" y="333"/>
                    <a:pt x="1661" y="331"/>
                    <a:pt x="1656" y="331"/>
                  </a:cubicBezTo>
                  <a:close/>
                  <a:moveTo>
                    <a:pt x="1662" y="315"/>
                  </a:moveTo>
                  <a:cubicBezTo>
                    <a:pt x="1663" y="315"/>
                    <a:pt x="1665" y="315"/>
                    <a:pt x="1667" y="315"/>
                  </a:cubicBezTo>
                  <a:cubicBezTo>
                    <a:pt x="1668" y="321"/>
                    <a:pt x="1647" y="314"/>
                    <a:pt x="1662" y="315"/>
                  </a:cubicBezTo>
                  <a:close/>
                  <a:moveTo>
                    <a:pt x="1669" y="289"/>
                  </a:moveTo>
                  <a:cubicBezTo>
                    <a:pt x="1662" y="297"/>
                    <a:pt x="1652" y="284"/>
                    <a:pt x="1669" y="289"/>
                  </a:cubicBezTo>
                  <a:close/>
                  <a:moveTo>
                    <a:pt x="1663" y="268"/>
                  </a:moveTo>
                  <a:cubicBezTo>
                    <a:pt x="1664" y="268"/>
                    <a:pt x="1666" y="263"/>
                    <a:pt x="1666" y="263"/>
                  </a:cubicBezTo>
                  <a:cubicBezTo>
                    <a:pt x="1666" y="263"/>
                    <a:pt x="1666" y="261"/>
                    <a:pt x="1666" y="261"/>
                  </a:cubicBezTo>
                  <a:cubicBezTo>
                    <a:pt x="1676" y="259"/>
                    <a:pt x="1667" y="271"/>
                    <a:pt x="1663" y="268"/>
                  </a:cubicBezTo>
                  <a:close/>
                  <a:moveTo>
                    <a:pt x="1697" y="293"/>
                  </a:moveTo>
                  <a:cubicBezTo>
                    <a:pt x="1695" y="297"/>
                    <a:pt x="1694" y="292"/>
                    <a:pt x="1694" y="288"/>
                  </a:cubicBezTo>
                  <a:cubicBezTo>
                    <a:pt x="1686" y="285"/>
                    <a:pt x="1700" y="286"/>
                    <a:pt x="1697" y="293"/>
                  </a:cubicBezTo>
                  <a:close/>
                  <a:moveTo>
                    <a:pt x="1705" y="269"/>
                  </a:moveTo>
                  <a:cubicBezTo>
                    <a:pt x="1700" y="269"/>
                    <a:pt x="1698" y="265"/>
                    <a:pt x="1699" y="260"/>
                  </a:cubicBezTo>
                  <a:cubicBezTo>
                    <a:pt x="1704" y="260"/>
                    <a:pt x="1705" y="264"/>
                    <a:pt x="1705" y="269"/>
                  </a:cubicBezTo>
                  <a:close/>
                  <a:moveTo>
                    <a:pt x="1718" y="269"/>
                  </a:moveTo>
                  <a:cubicBezTo>
                    <a:pt x="1713" y="268"/>
                    <a:pt x="1716" y="260"/>
                    <a:pt x="1710" y="260"/>
                  </a:cubicBezTo>
                  <a:cubicBezTo>
                    <a:pt x="1710" y="257"/>
                    <a:pt x="1715" y="258"/>
                    <a:pt x="1718" y="257"/>
                  </a:cubicBezTo>
                  <a:cubicBezTo>
                    <a:pt x="1717" y="265"/>
                    <a:pt x="1723" y="264"/>
                    <a:pt x="1718" y="269"/>
                  </a:cubicBezTo>
                  <a:close/>
                  <a:moveTo>
                    <a:pt x="1718" y="238"/>
                  </a:moveTo>
                  <a:cubicBezTo>
                    <a:pt x="1720" y="234"/>
                    <a:pt x="1726" y="233"/>
                    <a:pt x="1734" y="234"/>
                  </a:cubicBezTo>
                  <a:cubicBezTo>
                    <a:pt x="1731" y="237"/>
                    <a:pt x="1725" y="238"/>
                    <a:pt x="1718" y="238"/>
                  </a:cubicBezTo>
                  <a:close/>
                  <a:moveTo>
                    <a:pt x="1738" y="309"/>
                  </a:moveTo>
                  <a:cubicBezTo>
                    <a:pt x="1739" y="306"/>
                    <a:pt x="1742" y="304"/>
                    <a:pt x="1746" y="304"/>
                  </a:cubicBezTo>
                  <a:cubicBezTo>
                    <a:pt x="1745" y="307"/>
                    <a:pt x="1743" y="309"/>
                    <a:pt x="1738" y="309"/>
                  </a:cubicBezTo>
                  <a:close/>
                  <a:moveTo>
                    <a:pt x="1747" y="318"/>
                  </a:moveTo>
                  <a:cubicBezTo>
                    <a:pt x="1747" y="316"/>
                    <a:pt x="1747" y="315"/>
                    <a:pt x="1747" y="313"/>
                  </a:cubicBezTo>
                  <a:cubicBezTo>
                    <a:pt x="1748" y="313"/>
                    <a:pt x="1750" y="313"/>
                    <a:pt x="1752" y="313"/>
                  </a:cubicBezTo>
                  <a:cubicBezTo>
                    <a:pt x="1752" y="315"/>
                    <a:pt x="1752" y="316"/>
                    <a:pt x="1752" y="318"/>
                  </a:cubicBezTo>
                  <a:cubicBezTo>
                    <a:pt x="1750" y="318"/>
                    <a:pt x="1748" y="318"/>
                    <a:pt x="1747" y="318"/>
                  </a:cubicBezTo>
                  <a:close/>
                  <a:moveTo>
                    <a:pt x="1745" y="236"/>
                  </a:moveTo>
                  <a:cubicBezTo>
                    <a:pt x="1752" y="231"/>
                    <a:pt x="1741" y="225"/>
                    <a:pt x="1740" y="233"/>
                  </a:cubicBezTo>
                  <a:cubicBezTo>
                    <a:pt x="1733" y="231"/>
                    <a:pt x="1714" y="229"/>
                    <a:pt x="1712" y="234"/>
                  </a:cubicBezTo>
                  <a:cubicBezTo>
                    <a:pt x="1712" y="234"/>
                    <a:pt x="1713" y="239"/>
                    <a:pt x="1712" y="239"/>
                  </a:cubicBezTo>
                  <a:cubicBezTo>
                    <a:pt x="1708" y="239"/>
                    <a:pt x="1712" y="233"/>
                    <a:pt x="1709" y="232"/>
                  </a:cubicBezTo>
                  <a:cubicBezTo>
                    <a:pt x="1705" y="230"/>
                    <a:pt x="1701" y="234"/>
                    <a:pt x="1699" y="234"/>
                  </a:cubicBezTo>
                  <a:cubicBezTo>
                    <a:pt x="1694" y="235"/>
                    <a:pt x="1683" y="231"/>
                    <a:pt x="1685" y="239"/>
                  </a:cubicBezTo>
                  <a:cubicBezTo>
                    <a:pt x="1683" y="237"/>
                    <a:pt x="1677" y="236"/>
                    <a:pt x="1677" y="239"/>
                  </a:cubicBezTo>
                  <a:cubicBezTo>
                    <a:pt x="1674" y="239"/>
                    <a:pt x="1675" y="237"/>
                    <a:pt x="1677" y="237"/>
                  </a:cubicBezTo>
                  <a:cubicBezTo>
                    <a:pt x="1678" y="235"/>
                    <a:pt x="1670" y="233"/>
                    <a:pt x="1668" y="235"/>
                  </a:cubicBezTo>
                  <a:cubicBezTo>
                    <a:pt x="1665" y="237"/>
                    <a:pt x="1667" y="234"/>
                    <a:pt x="1663" y="235"/>
                  </a:cubicBezTo>
                  <a:cubicBezTo>
                    <a:pt x="1660" y="235"/>
                    <a:pt x="1658" y="235"/>
                    <a:pt x="1657" y="237"/>
                  </a:cubicBezTo>
                  <a:cubicBezTo>
                    <a:pt x="1653" y="236"/>
                    <a:pt x="1659" y="234"/>
                    <a:pt x="1657" y="230"/>
                  </a:cubicBezTo>
                  <a:cubicBezTo>
                    <a:pt x="1660" y="229"/>
                    <a:pt x="1660" y="232"/>
                    <a:pt x="1660" y="232"/>
                  </a:cubicBezTo>
                  <a:cubicBezTo>
                    <a:pt x="1663" y="233"/>
                    <a:pt x="1663" y="230"/>
                    <a:pt x="1663" y="230"/>
                  </a:cubicBezTo>
                  <a:cubicBezTo>
                    <a:pt x="1666" y="230"/>
                    <a:pt x="1669" y="233"/>
                    <a:pt x="1671" y="232"/>
                  </a:cubicBezTo>
                  <a:cubicBezTo>
                    <a:pt x="1675" y="231"/>
                    <a:pt x="1680" y="223"/>
                    <a:pt x="1687" y="230"/>
                  </a:cubicBezTo>
                  <a:cubicBezTo>
                    <a:pt x="1691" y="229"/>
                    <a:pt x="1690" y="225"/>
                    <a:pt x="1690" y="223"/>
                  </a:cubicBezTo>
                  <a:cubicBezTo>
                    <a:pt x="1696" y="223"/>
                    <a:pt x="1699" y="222"/>
                    <a:pt x="1698" y="218"/>
                  </a:cubicBezTo>
                  <a:cubicBezTo>
                    <a:pt x="1707" y="219"/>
                    <a:pt x="1704" y="228"/>
                    <a:pt x="1693" y="225"/>
                  </a:cubicBezTo>
                  <a:cubicBezTo>
                    <a:pt x="1692" y="229"/>
                    <a:pt x="1696" y="229"/>
                    <a:pt x="1696" y="232"/>
                  </a:cubicBezTo>
                  <a:cubicBezTo>
                    <a:pt x="1699" y="233"/>
                    <a:pt x="1697" y="228"/>
                    <a:pt x="1698" y="227"/>
                  </a:cubicBezTo>
                  <a:cubicBezTo>
                    <a:pt x="1701" y="226"/>
                    <a:pt x="1701" y="229"/>
                    <a:pt x="1701" y="229"/>
                  </a:cubicBezTo>
                  <a:cubicBezTo>
                    <a:pt x="1701" y="229"/>
                    <a:pt x="1710" y="227"/>
                    <a:pt x="1712" y="227"/>
                  </a:cubicBezTo>
                  <a:cubicBezTo>
                    <a:pt x="1714" y="226"/>
                    <a:pt x="1719" y="222"/>
                    <a:pt x="1720" y="229"/>
                  </a:cubicBezTo>
                  <a:cubicBezTo>
                    <a:pt x="1723" y="230"/>
                    <a:pt x="1722" y="225"/>
                    <a:pt x="1723" y="224"/>
                  </a:cubicBezTo>
                  <a:cubicBezTo>
                    <a:pt x="1734" y="222"/>
                    <a:pt x="1746" y="228"/>
                    <a:pt x="1756" y="224"/>
                  </a:cubicBezTo>
                  <a:cubicBezTo>
                    <a:pt x="1754" y="229"/>
                    <a:pt x="1753" y="235"/>
                    <a:pt x="1745" y="236"/>
                  </a:cubicBezTo>
                  <a:close/>
                  <a:moveTo>
                    <a:pt x="1753" y="186"/>
                  </a:moveTo>
                  <a:cubicBezTo>
                    <a:pt x="1755" y="187"/>
                    <a:pt x="1755" y="189"/>
                    <a:pt x="1758" y="188"/>
                  </a:cubicBezTo>
                  <a:cubicBezTo>
                    <a:pt x="1758" y="194"/>
                    <a:pt x="1745" y="191"/>
                    <a:pt x="1753" y="186"/>
                  </a:cubicBezTo>
                  <a:close/>
                  <a:moveTo>
                    <a:pt x="1831" y="110"/>
                  </a:moveTo>
                  <a:cubicBezTo>
                    <a:pt x="1831" y="108"/>
                    <a:pt x="1831" y="107"/>
                    <a:pt x="1831" y="105"/>
                  </a:cubicBezTo>
                  <a:cubicBezTo>
                    <a:pt x="1837" y="104"/>
                    <a:pt x="1832" y="113"/>
                    <a:pt x="1834" y="117"/>
                  </a:cubicBezTo>
                  <a:cubicBezTo>
                    <a:pt x="1831" y="115"/>
                    <a:pt x="1829" y="114"/>
                    <a:pt x="1828" y="117"/>
                  </a:cubicBezTo>
                  <a:cubicBezTo>
                    <a:pt x="1819" y="115"/>
                    <a:pt x="1831" y="112"/>
                    <a:pt x="1831" y="110"/>
                  </a:cubicBezTo>
                  <a:close/>
                  <a:moveTo>
                    <a:pt x="1792" y="230"/>
                  </a:moveTo>
                  <a:cubicBezTo>
                    <a:pt x="1789" y="237"/>
                    <a:pt x="1781" y="233"/>
                    <a:pt x="1775" y="233"/>
                  </a:cubicBezTo>
                  <a:cubicBezTo>
                    <a:pt x="1776" y="228"/>
                    <a:pt x="1787" y="232"/>
                    <a:pt x="1792" y="230"/>
                  </a:cubicBezTo>
                  <a:close/>
                  <a:moveTo>
                    <a:pt x="1779" y="259"/>
                  </a:moveTo>
                  <a:cubicBezTo>
                    <a:pt x="1776" y="258"/>
                    <a:pt x="1776" y="256"/>
                    <a:pt x="1773" y="256"/>
                  </a:cubicBezTo>
                  <a:cubicBezTo>
                    <a:pt x="1773" y="255"/>
                    <a:pt x="1773" y="253"/>
                    <a:pt x="1773" y="252"/>
                  </a:cubicBezTo>
                  <a:cubicBezTo>
                    <a:pt x="1779" y="250"/>
                    <a:pt x="1778" y="255"/>
                    <a:pt x="1779" y="259"/>
                  </a:cubicBezTo>
                  <a:close/>
                  <a:moveTo>
                    <a:pt x="1771" y="310"/>
                  </a:moveTo>
                  <a:cubicBezTo>
                    <a:pt x="1777" y="309"/>
                    <a:pt x="1775" y="315"/>
                    <a:pt x="1780" y="315"/>
                  </a:cubicBezTo>
                  <a:cubicBezTo>
                    <a:pt x="1780" y="319"/>
                    <a:pt x="1769" y="315"/>
                    <a:pt x="1771" y="310"/>
                  </a:cubicBezTo>
                  <a:close/>
                  <a:moveTo>
                    <a:pt x="1790" y="280"/>
                  </a:moveTo>
                  <a:cubicBezTo>
                    <a:pt x="1788" y="283"/>
                    <a:pt x="1792" y="288"/>
                    <a:pt x="1785" y="287"/>
                  </a:cubicBezTo>
                  <a:cubicBezTo>
                    <a:pt x="1789" y="283"/>
                    <a:pt x="1786" y="274"/>
                    <a:pt x="1795" y="275"/>
                  </a:cubicBezTo>
                  <a:cubicBezTo>
                    <a:pt x="1796" y="278"/>
                    <a:pt x="1791" y="278"/>
                    <a:pt x="1790" y="280"/>
                  </a:cubicBezTo>
                  <a:close/>
                  <a:moveTo>
                    <a:pt x="1789" y="226"/>
                  </a:moveTo>
                  <a:cubicBezTo>
                    <a:pt x="1787" y="225"/>
                    <a:pt x="1786" y="226"/>
                    <a:pt x="1786" y="228"/>
                  </a:cubicBezTo>
                  <a:cubicBezTo>
                    <a:pt x="1784" y="228"/>
                    <a:pt x="1784" y="225"/>
                    <a:pt x="1783" y="223"/>
                  </a:cubicBezTo>
                  <a:cubicBezTo>
                    <a:pt x="1785" y="223"/>
                    <a:pt x="1787" y="223"/>
                    <a:pt x="1789" y="223"/>
                  </a:cubicBezTo>
                  <a:cubicBezTo>
                    <a:pt x="1787" y="218"/>
                    <a:pt x="1781" y="219"/>
                    <a:pt x="1786" y="214"/>
                  </a:cubicBezTo>
                  <a:cubicBezTo>
                    <a:pt x="1791" y="214"/>
                    <a:pt x="1792" y="218"/>
                    <a:pt x="1792" y="223"/>
                  </a:cubicBezTo>
                  <a:cubicBezTo>
                    <a:pt x="1798" y="219"/>
                    <a:pt x="1803" y="224"/>
                    <a:pt x="1805" y="221"/>
                  </a:cubicBezTo>
                  <a:cubicBezTo>
                    <a:pt x="1809" y="222"/>
                    <a:pt x="1807" y="224"/>
                    <a:pt x="1805" y="225"/>
                  </a:cubicBezTo>
                  <a:cubicBezTo>
                    <a:pt x="1799" y="229"/>
                    <a:pt x="1799" y="225"/>
                    <a:pt x="1789" y="226"/>
                  </a:cubicBezTo>
                  <a:close/>
                  <a:moveTo>
                    <a:pt x="1800" y="235"/>
                  </a:moveTo>
                  <a:cubicBezTo>
                    <a:pt x="1792" y="232"/>
                    <a:pt x="1806" y="225"/>
                    <a:pt x="1808" y="230"/>
                  </a:cubicBezTo>
                  <a:cubicBezTo>
                    <a:pt x="1808" y="233"/>
                    <a:pt x="1800" y="231"/>
                    <a:pt x="1800" y="235"/>
                  </a:cubicBezTo>
                  <a:close/>
                  <a:moveTo>
                    <a:pt x="1812" y="314"/>
                  </a:moveTo>
                  <a:cubicBezTo>
                    <a:pt x="1808" y="312"/>
                    <a:pt x="1806" y="308"/>
                    <a:pt x="1810" y="305"/>
                  </a:cubicBezTo>
                  <a:cubicBezTo>
                    <a:pt x="1814" y="307"/>
                    <a:pt x="1816" y="311"/>
                    <a:pt x="1812" y="314"/>
                  </a:cubicBezTo>
                  <a:close/>
                  <a:moveTo>
                    <a:pt x="1811" y="258"/>
                  </a:moveTo>
                  <a:cubicBezTo>
                    <a:pt x="1811" y="256"/>
                    <a:pt x="1811" y="255"/>
                    <a:pt x="1811" y="253"/>
                  </a:cubicBezTo>
                  <a:cubicBezTo>
                    <a:pt x="1817" y="252"/>
                    <a:pt x="1817" y="257"/>
                    <a:pt x="1817" y="260"/>
                  </a:cubicBezTo>
                  <a:cubicBezTo>
                    <a:pt x="1815" y="260"/>
                    <a:pt x="1814" y="258"/>
                    <a:pt x="1811" y="258"/>
                  </a:cubicBezTo>
                  <a:close/>
                  <a:moveTo>
                    <a:pt x="1822" y="225"/>
                  </a:moveTo>
                  <a:cubicBezTo>
                    <a:pt x="1819" y="225"/>
                    <a:pt x="1816" y="225"/>
                    <a:pt x="1814" y="225"/>
                  </a:cubicBezTo>
                  <a:cubicBezTo>
                    <a:pt x="1816" y="218"/>
                    <a:pt x="1810" y="219"/>
                    <a:pt x="1811" y="213"/>
                  </a:cubicBezTo>
                  <a:cubicBezTo>
                    <a:pt x="1815" y="212"/>
                    <a:pt x="1823" y="218"/>
                    <a:pt x="1816" y="218"/>
                  </a:cubicBezTo>
                  <a:cubicBezTo>
                    <a:pt x="1818" y="220"/>
                    <a:pt x="1823" y="220"/>
                    <a:pt x="1822" y="225"/>
                  </a:cubicBezTo>
                  <a:close/>
                  <a:moveTo>
                    <a:pt x="1815" y="155"/>
                  </a:moveTo>
                  <a:cubicBezTo>
                    <a:pt x="1817" y="153"/>
                    <a:pt x="1818" y="151"/>
                    <a:pt x="1818" y="147"/>
                  </a:cubicBezTo>
                  <a:cubicBezTo>
                    <a:pt x="1821" y="148"/>
                    <a:pt x="1822" y="152"/>
                    <a:pt x="1826" y="152"/>
                  </a:cubicBezTo>
                  <a:cubicBezTo>
                    <a:pt x="1825" y="155"/>
                    <a:pt x="1819" y="154"/>
                    <a:pt x="1815" y="155"/>
                  </a:cubicBezTo>
                  <a:close/>
                  <a:moveTo>
                    <a:pt x="1829" y="147"/>
                  </a:moveTo>
                  <a:cubicBezTo>
                    <a:pt x="1832" y="148"/>
                    <a:pt x="1831" y="152"/>
                    <a:pt x="1834" y="152"/>
                  </a:cubicBezTo>
                  <a:cubicBezTo>
                    <a:pt x="1833" y="158"/>
                    <a:pt x="1826" y="152"/>
                    <a:pt x="1829" y="147"/>
                  </a:cubicBezTo>
                  <a:close/>
                  <a:moveTo>
                    <a:pt x="1830" y="229"/>
                  </a:moveTo>
                  <a:cubicBezTo>
                    <a:pt x="1826" y="225"/>
                    <a:pt x="1830" y="226"/>
                    <a:pt x="1830" y="220"/>
                  </a:cubicBezTo>
                  <a:cubicBezTo>
                    <a:pt x="1835" y="220"/>
                    <a:pt x="1837" y="224"/>
                    <a:pt x="1838" y="220"/>
                  </a:cubicBezTo>
                  <a:cubicBezTo>
                    <a:pt x="1843" y="220"/>
                    <a:pt x="1836" y="230"/>
                    <a:pt x="1830" y="229"/>
                  </a:cubicBezTo>
                  <a:close/>
                  <a:moveTo>
                    <a:pt x="1850" y="137"/>
                  </a:moveTo>
                  <a:cubicBezTo>
                    <a:pt x="1850" y="140"/>
                    <a:pt x="1845" y="139"/>
                    <a:pt x="1845" y="142"/>
                  </a:cubicBezTo>
                  <a:cubicBezTo>
                    <a:pt x="1842" y="142"/>
                    <a:pt x="1843" y="139"/>
                    <a:pt x="1842" y="138"/>
                  </a:cubicBezTo>
                  <a:cubicBezTo>
                    <a:pt x="1846" y="135"/>
                    <a:pt x="1847" y="137"/>
                    <a:pt x="1850" y="137"/>
                  </a:cubicBezTo>
                  <a:close/>
                  <a:moveTo>
                    <a:pt x="1845" y="154"/>
                  </a:moveTo>
                  <a:cubicBezTo>
                    <a:pt x="1844" y="154"/>
                    <a:pt x="1842" y="151"/>
                    <a:pt x="1843" y="149"/>
                  </a:cubicBezTo>
                  <a:cubicBezTo>
                    <a:pt x="1846" y="141"/>
                    <a:pt x="1848" y="154"/>
                    <a:pt x="1845" y="154"/>
                  </a:cubicBezTo>
                  <a:close/>
                  <a:moveTo>
                    <a:pt x="1841" y="227"/>
                  </a:moveTo>
                  <a:cubicBezTo>
                    <a:pt x="1840" y="223"/>
                    <a:pt x="1847" y="224"/>
                    <a:pt x="1849" y="222"/>
                  </a:cubicBezTo>
                  <a:cubicBezTo>
                    <a:pt x="1855" y="217"/>
                    <a:pt x="1850" y="226"/>
                    <a:pt x="1841" y="227"/>
                  </a:cubicBezTo>
                  <a:close/>
                  <a:moveTo>
                    <a:pt x="1855" y="220"/>
                  </a:moveTo>
                  <a:cubicBezTo>
                    <a:pt x="1864" y="221"/>
                    <a:pt x="1851" y="235"/>
                    <a:pt x="1858" y="234"/>
                  </a:cubicBezTo>
                  <a:cubicBezTo>
                    <a:pt x="1848" y="244"/>
                    <a:pt x="1856" y="220"/>
                    <a:pt x="1852" y="229"/>
                  </a:cubicBezTo>
                  <a:cubicBezTo>
                    <a:pt x="1844" y="227"/>
                    <a:pt x="1858" y="225"/>
                    <a:pt x="1855" y="220"/>
                  </a:cubicBezTo>
                  <a:close/>
                  <a:moveTo>
                    <a:pt x="1853" y="255"/>
                  </a:moveTo>
                  <a:cubicBezTo>
                    <a:pt x="1849" y="254"/>
                    <a:pt x="1850" y="249"/>
                    <a:pt x="1850" y="246"/>
                  </a:cubicBezTo>
                  <a:cubicBezTo>
                    <a:pt x="1856" y="246"/>
                    <a:pt x="1856" y="252"/>
                    <a:pt x="1853" y="255"/>
                  </a:cubicBezTo>
                  <a:close/>
                  <a:moveTo>
                    <a:pt x="1859" y="309"/>
                  </a:moveTo>
                  <a:cubicBezTo>
                    <a:pt x="1856" y="308"/>
                    <a:pt x="1857" y="304"/>
                    <a:pt x="1853" y="304"/>
                  </a:cubicBezTo>
                  <a:cubicBezTo>
                    <a:pt x="1854" y="302"/>
                    <a:pt x="1858" y="302"/>
                    <a:pt x="1862" y="302"/>
                  </a:cubicBezTo>
                  <a:cubicBezTo>
                    <a:pt x="1862" y="306"/>
                    <a:pt x="1859" y="306"/>
                    <a:pt x="1859" y="309"/>
                  </a:cubicBezTo>
                  <a:close/>
                  <a:moveTo>
                    <a:pt x="1848" y="154"/>
                  </a:moveTo>
                  <a:cubicBezTo>
                    <a:pt x="1849" y="150"/>
                    <a:pt x="1852" y="148"/>
                    <a:pt x="1853" y="144"/>
                  </a:cubicBezTo>
                  <a:cubicBezTo>
                    <a:pt x="1857" y="145"/>
                    <a:pt x="1860" y="149"/>
                    <a:pt x="1856" y="149"/>
                  </a:cubicBezTo>
                  <a:cubicBezTo>
                    <a:pt x="1856" y="151"/>
                    <a:pt x="1860" y="151"/>
                    <a:pt x="1862" y="151"/>
                  </a:cubicBezTo>
                  <a:cubicBezTo>
                    <a:pt x="1871" y="154"/>
                    <a:pt x="1852" y="154"/>
                    <a:pt x="1848" y="154"/>
                  </a:cubicBezTo>
                  <a:close/>
                  <a:moveTo>
                    <a:pt x="1928" y="178"/>
                  </a:moveTo>
                  <a:cubicBezTo>
                    <a:pt x="1929" y="177"/>
                    <a:pt x="1931" y="176"/>
                    <a:pt x="1931" y="174"/>
                  </a:cubicBezTo>
                  <a:cubicBezTo>
                    <a:pt x="1933" y="174"/>
                    <a:pt x="1934" y="174"/>
                    <a:pt x="1936" y="174"/>
                  </a:cubicBezTo>
                  <a:cubicBezTo>
                    <a:pt x="1938" y="179"/>
                    <a:pt x="1932" y="178"/>
                    <a:pt x="1928" y="178"/>
                  </a:cubicBezTo>
                  <a:close/>
                  <a:moveTo>
                    <a:pt x="1930" y="138"/>
                  </a:moveTo>
                  <a:cubicBezTo>
                    <a:pt x="1937" y="141"/>
                    <a:pt x="1932" y="154"/>
                    <a:pt x="1922" y="150"/>
                  </a:cubicBezTo>
                  <a:cubicBezTo>
                    <a:pt x="1919" y="142"/>
                    <a:pt x="1928" y="143"/>
                    <a:pt x="1930" y="138"/>
                  </a:cubicBezTo>
                  <a:close/>
                  <a:moveTo>
                    <a:pt x="1920" y="193"/>
                  </a:moveTo>
                  <a:cubicBezTo>
                    <a:pt x="1929" y="190"/>
                    <a:pt x="1922" y="200"/>
                    <a:pt x="1931" y="197"/>
                  </a:cubicBezTo>
                  <a:cubicBezTo>
                    <a:pt x="1930" y="202"/>
                    <a:pt x="1918" y="198"/>
                    <a:pt x="1920" y="193"/>
                  </a:cubicBezTo>
                  <a:close/>
                  <a:moveTo>
                    <a:pt x="1892" y="144"/>
                  </a:moveTo>
                  <a:cubicBezTo>
                    <a:pt x="1896" y="145"/>
                    <a:pt x="1894" y="147"/>
                    <a:pt x="1892" y="149"/>
                  </a:cubicBezTo>
                  <a:cubicBezTo>
                    <a:pt x="1887" y="152"/>
                    <a:pt x="1885" y="151"/>
                    <a:pt x="1892" y="144"/>
                  </a:cubicBezTo>
                  <a:close/>
                  <a:moveTo>
                    <a:pt x="1875" y="123"/>
                  </a:moveTo>
                  <a:cubicBezTo>
                    <a:pt x="1878" y="124"/>
                    <a:pt x="1877" y="128"/>
                    <a:pt x="1881" y="128"/>
                  </a:cubicBezTo>
                  <a:cubicBezTo>
                    <a:pt x="1880" y="130"/>
                    <a:pt x="1877" y="129"/>
                    <a:pt x="1875" y="130"/>
                  </a:cubicBezTo>
                  <a:cubicBezTo>
                    <a:pt x="1872" y="127"/>
                    <a:pt x="1874" y="126"/>
                    <a:pt x="1875" y="123"/>
                  </a:cubicBezTo>
                  <a:close/>
                  <a:moveTo>
                    <a:pt x="1867" y="147"/>
                  </a:moveTo>
                  <a:cubicBezTo>
                    <a:pt x="1869" y="138"/>
                    <a:pt x="1883" y="151"/>
                    <a:pt x="1883" y="144"/>
                  </a:cubicBezTo>
                  <a:cubicBezTo>
                    <a:pt x="1880" y="141"/>
                    <a:pt x="1883" y="143"/>
                    <a:pt x="1886" y="144"/>
                  </a:cubicBezTo>
                  <a:cubicBezTo>
                    <a:pt x="1882" y="147"/>
                    <a:pt x="1883" y="155"/>
                    <a:pt x="1873" y="154"/>
                  </a:cubicBezTo>
                  <a:cubicBezTo>
                    <a:pt x="1874" y="149"/>
                    <a:pt x="1872" y="146"/>
                    <a:pt x="1867" y="147"/>
                  </a:cubicBezTo>
                  <a:close/>
                  <a:moveTo>
                    <a:pt x="1877" y="229"/>
                  </a:moveTo>
                  <a:cubicBezTo>
                    <a:pt x="1878" y="231"/>
                    <a:pt x="1880" y="232"/>
                    <a:pt x="1880" y="236"/>
                  </a:cubicBezTo>
                  <a:cubicBezTo>
                    <a:pt x="1877" y="236"/>
                    <a:pt x="1874" y="236"/>
                    <a:pt x="1871" y="236"/>
                  </a:cubicBezTo>
                  <a:cubicBezTo>
                    <a:pt x="1874" y="234"/>
                    <a:pt x="1874" y="230"/>
                    <a:pt x="1874" y="226"/>
                  </a:cubicBezTo>
                  <a:cubicBezTo>
                    <a:pt x="1877" y="226"/>
                    <a:pt x="1879" y="226"/>
                    <a:pt x="1882" y="226"/>
                  </a:cubicBezTo>
                  <a:cubicBezTo>
                    <a:pt x="1887" y="228"/>
                    <a:pt x="1881" y="229"/>
                    <a:pt x="1877" y="229"/>
                  </a:cubicBezTo>
                  <a:close/>
                  <a:moveTo>
                    <a:pt x="1884" y="182"/>
                  </a:moveTo>
                  <a:cubicBezTo>
                    <a:pt x="1881" y="170"/>
                    <a:pt x="1883" y="167"/>
                    <a:pt x="1881" y="156"/>
                  </a:cubicBezTo>
                  <a:cubicBezTo>
                    <a:pt x="1884" y="155"/>
                    <a:pt x="1886" y="156"/>
                    <a:pt x="1886" y="158"/>
                  </a:cubicBezTo>
                  <a:cubicBezTo>
                    <a:pt x="1887" y="161"/>
                    <a:pt x="1892" y="160"/>
                    <a:pt x="1892" y="163"/>
                  </a:cubicBezTo>
                  <a:cubicBezTo>
                    <a:pt x="1894" y="168"/>
                    <a:pt x="1887" y="166"/>
                    <a:pt x="1887" y="170"/>
                  </a:cubicBezTo>
                  <a:cubicBezTo>
                    <a:pt x="1886" y="174"/>
                    <a:pt x="1889" y="174"/>
                    <a:pt x="1892" y="174"/>
                  </a:cubicBezTo>
                  <a:cubicBezTo>
                    <a:pt x="1892" y="178"/>
                    <a:pt x="1881" y="179"/>
                    <a:pt x="1892" y="179"/>
                  </a:cubicBezTo>
                  <a:cubicBezTo>
                    <a:pt x="1893" y="181"/>
                    <a:pt x="1891" y="181"/>
                    <a:pt x="1890" y="181"/>
                  </a:cubicBezTo>
                  <a:cubicBezTo>
                    <a:pt x="1888" y="181"/>
                    <a:pt x="1886" y="181"/>
                    <a:pt x="1884" y="182"/>
                  </a:cubicBezTo>
                  <a:close/>
                  <a:moveTo>
                    <a:pt x="1888" y="238"/>
                  </a:moveTo>
                  <a:cubicBezTo>
                    <a:pt x="1888" y="236"/>
                    <a:pt x="1888" y="235"/>
                    <a:pt x="1888" y="233"/>
                  </a:cubicBezTo>
                  <a:cubicBezTo>
                    <a:pt x="1890" y="233"/>
                    <a:pt x="1892" y="233"/>
                    <a:pt x="1893" y="233"/>
                  </a:cubicBezTo>
                  <a:cubicBezTo>
                    <a:pt x="1893" y="235"/>
                    <a:pt x="1893" y="236"/>
                    <a:pt x="1893" y="238"/>
                  </a:cubicBezTo>
                  <a:cubicBezTo>
                    <a:pt x="1892" y="238"/>
                    <a:pt x="1890" y="238"/>
                    <a:pt x="1888" y="238"/>
                  </a:cubicBezTo>
                  <a:close/>
                  <a:moveTo>
                    <a:pt x="1888" y="228"/>
                  </a:moveTo>
                  <a:cubicBezTo>
                    <a:pt x="1889" y="225"/>
                    <a:pt x="1894" y="224"/>
                    <a:pt x="1899" y="224"/>
                  </a:cubicBezTo>
                  <a:cubicBezTo>
                    <a:pt x="1901" y="231"/>
                    <a:pt x="1893" y="228"/>
                    <a:pt x="1888" y="228"/>
                  </a:cubicBezTo>
                  <a:close/>
                  <a:moveTo>
                    <a:pt x="1900" y="151"/>
                  </a:moveTo>
                  <a:cubicBezTo>
                    <a:pt x="1896" y="152"/>
                    <a:pt x="1898" y="157"/>
                    <a:pt x="1897" y="160"/>
                  </a:cubicBezTo>
                  <a:cubicBezTo>
                    <a:pt x="1890" y="154"/>
                    <a:pt x="1894" y="148"/>
                    <a:pt x="1900" y="144"/>
                  </a:cubicBezTo>
                  <a:cubicBezTo>
                    <a:pt x="1905" y="143"/>
                    <a:pt x="1905" y="145"/>
                    <a:pt x="1906" y="148"/>
                  </a:cubicBezTo>
                  <a:cubicBezTo>
                    <a:pt x="1910" y="146"/>
                    <a:pt x="1911" y="141"/>
                    <a:pt x="1919" y="141"/>
                  </a:cubicBezTo>
                  <a:cubicBezTo>
                    <a:pt x="1921" y="148"/>
                    <a:pt x="1912" y="147"/>
                    <a:pt x="1911" y="153"/>
                  </a:cubicBezTo>
                  <a:cubicBezTo>
                    <a:pt x="1914" y="155"/>
                    <a:pt x="1912" y="162"/>
                    <a:pt x="1919" y="160"/>
                  </a:cubicBezTo>
                  <a:cubicBezTo>
                    <a:pt x="1919" y="168"/>
                    <a:pt x="1910" y="155"/>
                    <a:pt x="1911" y="162"/>
                  </a:cubicBezTo>
                  <a:cubicBezTo>
                    <a:pt x="1900" y="162"/>
                    <a:pt x="1915" y="150"/>
                    <a:pt x="1900" y="151"/>
                  </a:cubicBezTo>
                  <a:close/>
                  <a:moveTo>
                    <a:pt x="1908" y="310"/>
                  </a:moveTo>
                  <a:cubicBezTo>
                    <a:pt x="1909" y="307"/>
                    <a:pt x="1913" y="307"/>
                    <a:pt x="1914" y="303"/>
                  </a:cubicBezTo>
                  <a:cubicBezTo>
                    <a:pt x="1921" y="304"/>
                    <a:pt x="1914" y="312"/>
                    <a:pt x="1908" y="310"/>
                  </a:cubicBezTo>
                  <a:close/>
                  <a:moveTo>
                    <a:pt x="1915" y="235"/>
                  </a:moveTo>
                  <a:cubicBezTo>
                    <a:pt x="1917" y="233"/>
                    <a:pt x="1920" y="231"/>
                    <a:pt x="1923" y="230"/>
                  </a:cubicBezTo>
                  <a:cubicBezTo>
                    <a:pt x="1923" y="227"/>
                    <a:pt x="1917" y="228"/>
                    <a:pt x="1912" y="228"/>
                  </a:cubicBezTo>
                  <a:cubicBezTo>
                    <a:pt x="1919" y="222"/>
                    <a:pt x="1906" y="222"/>
                    <a:pt x="1909" y="212"/>
                  </a:cubicBezTo>
                  <a:cubicBezTo>
                    <a:pt x="1918" y="212"/>
                    <a:pt x="1913" y="223"/>
                    <a:pt x="1918" y="226"/>
                  </a:cubicBezTo>
                  <a:cubicBezTo>
                    <a:pt x="1923" y="224"/>
                    <a:pt x="1923" y="218"/>
                    <a:pt x="1929" y="223"/>
                  </a:cubicBezTo>
                  <a:cubicBezTo>
                    <a:pt x="1928" y="232"/>
                    <a:pt x="1922" y="232"/>
                    <a:pt x="1926" y="240"/>
                  </a:cubicBezTo>
                  <a:cubicBezTo>
                    <a:pt x="1922" y="239"/>
                    <a:pt x="1924" y="232"/>
                    <a:pt x="1915" y="235"/>
                  </a:cubicBezTo>
                  <a:close/>
                  <a:moveTo>
                    <a:pt x="1930" y="287"/>
                  </a:moveTo>
                  <a:cubicBezTo>
                    <a:pt x="1923" y="294"/>
                    <a:pt x="1917" y="280"/>
                    <a:pt x="1930" y="287"/>
                  </a:cubicBezTo>
                  <a:close/>
                  <a:moveTo>
                    <a:pt x="1918" y="219"/>
                  </a:moveTo>
                  <a:cubicBezTo>
                    <a:pt x="1915" y="212"/>
                    <a:pt x="1924" y="214"/>
                    <a:pt x="1929" y="214"/>
                  </a:cubicBezTo>
                  <a:cubicBezTo>
                    <a:pt x="1929" y="210"/>
                    <a:pt x="1926" y="208"/>
                    <a:pt x="1923" y="207"/>
                  </a:cubicBezTo>
                  <a:cubicBezTo>
                    <a:pt x="1923" y="204"/>
                    <a:pt x="1928" y="205"/>
                    <a:pt x="1931" y="204"/>
                  </a:cubicBezTo>
                  <a:cubicBezTo>
                    <a:pt x="1930" y="209"/>
                    <a:pt x="1933" y="210"/>
                    <a:pt x="1934" y="214"/>
                  </a:cubicBezTo>
                  <a:cubicBezTo>
                    <a:pt x="1936" y="216"/>
                    <a:pt x="1940" y="216"/>
                    <a:pt x="1940" y="221"/>
                  </a:cubicBezTo>
                  <a:cubicBezTo>
                    <a:pt x="1936" y="217"/>
                    <a:pt x="1926" y="219"/>
                    <a:pt x="1918" y="219"/>
                  </a:cubicBezTo>
                  <a:close/>
                  <a:moveTo>
                    <a:pt x="1943" y="258"/>
                  </a:moveTo>
                  <a:cubicBezTo>
                    <a:pt x="1938" y="258"/>
                    <a:pt x="1937" y="254"/>
                    <a:pt x="1937" y="249"/>
                  </a:cubicBezTo>
                  <a:cubicBezTo>
                    <a:pt x="1946" y="246"/>
                    <a:pt x="1942" y="254"/>
                    <a:pt x="1943" y="258"/>
                  </a:cubicBezTo>
                  <a:close/>
                  <a:moveTo>
                    <a:pt x="1945" y="216"/>
                  </a:moveTo>
                  <a:cubicBezTo>
                    <a:pt x="1947" y="214"/>
                    <a:pt x="1948" y="212"/>
                    <a:pt x="1948" y="209"/>
                  </a:cubicBezTo>
                  <a:cubicBezTo>
                    <a:pt x="1951" y="209"/>
                    <a:pt x="1950" y="213"/>
                    <a:pt x="1953" y="213"/>
                  </a:cubicBezTo>
                  <a:cubicBezTo>
                    <a:pt x="1954" y="215"/>
                    <a:pt x="1952" y="215"/>
                    <a:pt x="1951" y="216"/>
                  </a:cubicBezTo>
                  <a:cubicBezTo>
                    <a:pt x="1949" y="216"/>
                    <a:pt x="1947" y="216"/>
                    <a:pt x="1945" y="216"/>
                  </a:cubicBezTo>
                  <a:close/>
                  <a:moveTo>
                    <a:pt x="1948" y="225"/>
                  </a:moveTo>
                  <a:cubicBezTo>
                    <a:pt x="1948" y="224"/>
                    <a:pt x="1948" y="222"/>
                    <a:pt x="1948" y="220"/>
                  </a:cubicBezTo>
                  <a:cubicBezTo>
                    <a:pt x="1953" y="220"/>
                    <a:pt x="1957" y="221"/>
                    <a:pt x="1956" y="225"/>
                  </a:cubicBezTo>
                  <a:cubicBezTo>
                    <a:pt x="1954" y="225"/>
                    <a:pt x="1951" y="225"/>
                    <a:pt x="1948" y="225"/>
                  </a:cubicBezTo>
                  <a:close/>
                  <a:moveTo>
                    <a:pt x="2054" y="169"/>
                  </a:moveTo>
                  <a:cubicBezTo>
                    <a:pt x="2050" y="171"/>
                    <a:pt x="2055" y="181"/>
                    <a:pt x="2046" y="179"/>
                  </a:cubicBezTo>
                  <a:cubicBezTo>
                    <a:pt x="2045" y="173"/>
                    <a:pt x="2047" y="169"/>
                    <a:pt x="2054" y="169"/>
                  </a:cubicBezTo>
                  <a:close/>
                  <a:moveTo>
                    <a:pt x="1985" y="145"/>
                  </a:moveTo>
                  <a:cubicBezTo>
                    <a:pt x="1984" y="151"/>
                    <a:pt x="1981" y="141"/>
                    <a:pt x="1977" y="142"/>
                  </a:cubicBezTo>
                  <a:cubicBezTo>
                    <a:pt x="1979" y="135"/>
                    <a:pt x="1982" y="145"/>
                    <a:pt x="1985" y="145"/>
                  </a:cubicBezTo>
                  <a:close/>
                  <a:moveTo>
                    <a:pt x="1985" y="274"/>
                  </a:moveTo>
                  <a:cubicBezTo>
                    <a:pt x="1984" y="278"/>
                    <a:pt x="1981" y="272"/>
                    <a:pt x="1982" y="269"/>
                  </a:cubicBezTo>
                  <a:cubicBezTo>
                    <a:pt x="1983" y="265"/>
                    <a:pt x="1985" y="271"/>
                    <a:pt x="1985" y="274"/>
                  </a:cubicBezTo>
                  <a:close/>
                  <a:moveTo>
                    <a:pt x="1979" y="255"/>
                  </a:moveTo>
                  <a:cubicBezTo>
                    <a:pt x="1978" y="250"/>
                    <a:pt x="1981" y="248"/>
                    <a:pt x="1987" y="248"/>
                  </a:cubicBezTo>
                  <a:cubicBezTo>
                    <a:pt x="1984" y="250"/>
                    <a:pt x="1986" y="257"/>
                    <a:pt x="1979" y="255"/>
                  </a:cubicBezTo>
                  <a:close/>
                  <a:moveTo>
                    <a:pt x="1998" y="252"/>
                  </a:moveTo>
                  <a:cubicBezTo>
                    <a:pt x="1993" y="260"/>
                    <a:pt x="1990" y="247"/>
                    <a:pt x="1990" y="243"/>
                  </a:cubicBezTo>
                  <a:cubicBezTo>
                    <a:pt x="1993" y="243"/>
                    <a:pt x="1991" y="241"/>
                    <a:pt x="1989" y="241"/>
                  </a:cubicBezTo>
                  <a:cubicBezTo>
                    <a:pt x="1989" y="239"/>
                    <a:pt x="1991" y="239"/>
                    <a:pt x="1992" y="238"/>
                  </a:cubicBezTo>
                  <a:cubicBezTo>
                    <a:pt x="1994" y="238"/>
                    <a:pt x="1996" y="238"/>
                    <a:pt x="1998" y="238"/>
                  </a:cubicBezTo>
                  <a:cubicBezTo>
                    <a:pt x="2001" y="245"/>
                    <a:pt x="1993" y="252"/>
                    <a:pt x="1998" y="252"/>
                  </a:cubicBezTo>
                  <a:close/>
                  <a:moveTo>
                    <a:pt x="1999" y="285"/>
                  </a:moveTo>
                  <a:cubicBezTo>
                    <a:pt x="2002" y="279"/>
                    <a:pt x="2005" y="276"/>
                    <a:pt x="2001" y="269"/>
                  </a:cubicBezTo>
                  <a:cubicBezTo>
                    <a:pt x="2009" y="268"/>
                    <a:pt x="2004" y="278"/>
                    <a:pt x="2009" y="278"/>
                  </a:cubicBezTo>
                  <a:cubicBezTo>
                    <a:pt x="2009" y="281"/>
                    <a:pt x="2007" y="279"/>
                    <a:pt x="2007" y="278"/>
                  </a:cubicBezTo>
                  <a:cubicBezTo>
                    <a:pt x="2000" y="277"/>
                    <a:pt x="2008" y="289"/>
                    <a:pt x="1999" y="285"/>
                  </a:cubicBezTo>
                  <a:close/>
                  <a:moveTo>
                    <a:pt x="2001" y="297"/>
                  </a:moveTo>
                  <a:cubicBezTo>
                    <a:pt x="2005" y="293"/>
                    <a:pt x="2007" y="288"/>
                    <a:pt x="2015" y="287"/>
                  </a:cubicBezTo>
                  <a:cubicBezTo>
                    <a:pt x="2012" y="291"/>
                    <a:pt x="2009" y="297"/>
                    <a:pt x="2001" y="297"/>
                  </a:cubicBezTo>
                  <a:close/>
                  <a:moveTo>
                    <a:pt x="2017" y="266"/>
                  </a:moveTo>
                  <a:cubicBezTo>
                    <a:pt x="2018" y="261"/>
                    <a:pt x="2025" y="261"/>
                    <a:pt x="2028" y="264"/>
                  </a:cubicBezTo>
                  <a:cubicBezTo>
                    <a:pt x="2028" y="267"/>
                    <a:pt x="2021" y="266"/>
                    <a:pt x="2017" y="266"/>
                  </a:cubicBezTo>
                  <a:close/>
                  <a:moveTo>
                    <a:pt x="2042" y="254"/>
                  </a:moveTo>
                  <a:cubicBezTo>
                    <a:pt x="2042" y="252"/>
                    <a:pt x="2042" y="251"/>
                    <a:pt x="2042" y="249"/>
                  </a:cubicBezTo>
                  <a:cubicBezTo>
                    <a:pt x="2044" y="249"/>
                    <a:pt x="2045" y="249"/>
                    <a:pt x="2047" y="249"/>
                  </a:cubicBezTo>
                  <a:cubicBezTo>
                    <a:pt x="2047" y="251"/>
                    <a:pt x="2047" y="252"/>
                    <a:pt x="2047" y="254"/>
                  </a:cubicBezTo>
                  <a:cubicBezTo>
                    <a:pt x="2046" y="254"/>
                    <a:pt x="2044" y="254"/>
                    <a:pt x="2042" y="254"/>
                  </a:cubicBezTo>
                  <a:close/>
                  <a:moveTo>
                    <a:pt x="2044" y="221"/>
                  </a:moveTo>
                  <a:cubicBezTo>
                    <a:pt x="2044" y="219"/>
                    <a:pt x="2044" y="216"/>
                    <a:pt x="2044" y="214"/>
                  </a:cubicBezTo>
                  <a:cubicBezTo>
                    <a:pt x="2038" y="213"/>
                    <a:pt x="2039" y="217"/>
                    <a:pt x="2039" y="221"/>
                  </a:cubicBezTo>
                  <a:cubicBezTo>
                    <a:pt x="2034" y="222"/>
                    <a:pt x="2025" y="219"/>
                    <a:pt x="2028" y="226"/>
                  </a:cubicBezTo>
                  <a:cubicBezTo>
                    <a:pt x="2018" y="222"/>
                    <a:pt x="2031" y="219"/>
                    <a:pt x="2033" y="217"/>
                  </a:cubicBezTo>
                  <a:cubicBezTo>
                    <a:pt x="2032" y="211"/>
                    <a:pt x="2021" y="216"/>
                    <a:pt x="2016" y="214"/>
                  </a:cubicBezTo>
                  <a:cubicBezTo>
                    <a:pt x="2013" y="222"/>
                    <a:pt x="2025" y="216"/>
                    <a:pt x="2022" y="224"/>
                  </a:cubicBezTo>
                  <a:cubicBezTo>
                    <a:pt x="2018" y="224"/>
                    <a:pt x="2014" y="224"/>
                    <a:pt x="2014" y="226"/>
                  </a:cubicBezTo>
                  <a:cubicBezTo>
                    <a:pt x="2011" y="226"/>
                    <a:pt x="2012" y="222"/>
                    <a:pt x="2008" y="222"/>
                  </a:cubicBezTo>
                  <a:cubicBezTo>
                    <a:pt x="2001" y="221"/>
                    <a:pt x="2016" y="231"/>
                    <a:pt x="2003" y="229"/>
                  </a:cubicBezTo>
                  <a:cubicBezTo>
                    <a:pt x="2001" y="236"/>
                    <a:pt x="2007" y="235"/>
                    <a:pt x="2006" y="241"/>
                  </a:cubicBezTo>
                  <a:cubicBezTo>
                    <a:pt x="1999" y="239"/>
                    <a:pt x="1997" y="231"/>
                    <a:pt x="2000" y="227"/>
                  </a:cubicBezTo>
                  <a:cubicBezTo>
                    <a:pt x="2001" y="226"/>
                    <a:pt x="2006" y="227"/>
                    <a:pt x="2006" y="226"/>
                  </a:cubicBezTo>
                  <a:cubicBezTo>
                    <a:pt x="2006" y="224"/>
                    <a:pt x="1999" y="222"/>
                    <a:pt x="2006" y="217"/>
                  </a:cubicBezTo>
                  <a:cubicBezTo>
                    <a:pt x="2005" y="214"/>
                    <a:pt x="1999" y="215"/>
                    <a:pt x="1994" y="215"/>
                  </a:cubicBezTo>
                  <a:cubicBezTo>
                    <a:pt x="1987" y="217"/>
                    <a:pt x="1992" y="218"/>
                    <a:pt x="1992" y="224"/>
                  </a:cubicBezTo>
                  <a:cubicBezTo>
                    <a:pt x="1983" y="227"/>
                    <a:pt x="1988" y="217"/>
                    <a:pt x="1984" y="215"/>
                  </a:cubicBezTo>
                  <a:cubicBezTo>
                    <a:pt x="1976" y="215"/>
                    <a:pt x="1980" y="222"/>
                    <a:pt x="1978" y="225"/>
                  </a:cubicBezTo>
                  <a:cubicBezTo>
                    <a:pt x="1978" y="225"/>
                    <a:pt x="1973" y="224"/>
                    <a:pt x="1973" y="225"/>
                  </a:cubicBezTo>
                  <a:cubicBezTo>
                    <a:pt x="1971" y="226"/>
                    <a:pt x="1974" y="230"/>
                    <a:pt x="1973" y="232"/>
                  </a:cubicBezTo>
                  <a:cubicBezTo>
                    <a:pt x="1967" y="230"/>
                    <a:pt x="1967" y="228"/>
                    <a:pt x="1970" y="225"/>
                  </a:cubicBezTo>
                  <a:cubicBezTo>
                    <a:pt x="1965" y="224"/>
                    <a:pt x="1965" y="227"/>
                    <a:pt x="1965" y="230"/>
                  </a:cubicBezTo>
                  <a:cubicBezTo>
                    <a:pt x="1961" y="229"/>
                    <a:pt x="1962" y="224"/>
                    <a:pt x="1962" y="220"/>
                  </a:cubicBezTo>
                  <a:cubicBezTo>
                    <a:pt x="1966" y="220"/>
                    <a:pt x="1971" y="220"/>
                    <a:pt x="1975" y="220"/>
                  </a:cubicBezTo>
                  <a:cubicBezTo>
                    <a:pt x="1976" y="214"/>
                    <a:pt x="1960" y="222"/>
                    <a:pt x="1964" y="213"/>
                  </a:cubicBezTo>
                  <a:cubicBezTo>
                    <a:pt x="1974" y="212"/>
                    <a:pt x="1988" y="216"/>
                    <a:pt x="1986" y="206"/>
                  </a:cubicBezTo>
                  <a:cubicBezTo>
                    <a:pt x="1992" y="205"/>
                    <a:pt x="1995" y="207"/>
                    <a:pt x="1994" y="213"/>
                  </a:cubicBezTo>
                  <a:cubicBezTo>
                    <a:pt x="2004" y="211"/>
                    <a:pt x="2003" y="210"/>
                    <a:pt x="2011" y="212"/>
                  </a:cubicBezTo>
                  <a:cubicBezTo>
                    <a:pt x="2015" y="211"/>
                    <a:pt x="2010" y="209"/>
                    <a:pt x="2011" y="205"/>
                  </a:cubicBezTo>
                  <a:cubicBezTo>
                    <a:pt x="2018" y="204"/>
                    <a:pt x="2021" y="206"/>
                    <a:pt x="2019" y="212"/>
                  </a:cubicBezTo>
                  <a:cubicBezTo>
                    <a:pt x="2024" y="212"/>
                    <a:pt x="2026" y="210"/>
                    <a:pt x="2027" y="207"/>
                  </a:cubicBezTo>
                  <a:cubicBezTo>
                    <a:pt x="2031" y="208"/>
                    <a:pt x="2032" y="211"/>
                    <a:pt x="2036" y="212"/>
                  </a:cubicBezTo>
                  <a:cubicBezTo>
                    <a:pt x="2039" y="212"/>
                    <a:pt x="2037" y="210"/>
                    <a:pt x="2038" y="209"/>
                  </a:cubicBezTo>
                  <a:cubicBezTo>
                    <a:pt x="2041" y="209"/>
                    <a:pt x="2045" y="214"/>
                    <a:pt x="2047" y="207"/>
                  </a:cubicBezTo>
                  <a:cubicBezTo>
                    <a:pt x="2051" y="208"/>
                    <a:pt x="2049" y="214"/>
                    <a:pt x="2058" y="211"/>
                  </a:cubicBezTo>
                  <a:cubicBezTo>
                    <a:pt x="2066" y="214"/>
                    <a:pt x="2050" y="214"/>
                    <a:pt x="2047" y="214"/>
                  </a:cubicBezTo>
                  <a:cubicBezTo>
                    <a:pt x="2047" y="220"/>
                    <a:pt x="2057" y="218"/>
                    <a:pt x="2060" y="221"/>
                  </a:cubicBezTo>
                  <a:cubicBezTo>
                    <a:pt x="2057" y="225"/>
                    <a:pt x="2054" y="221"/>
                    <a:pt x="2044" y="221"/>
                  </a:cubicBezTo>
                  <a:close/>
                  <a:moveTo>
                    <a:pt x="2063" y="221"/>
                  </a:moveTo>
                  <a:cubicBezTo>
                    <a:pt x="2063" y="218"/>
                    <a:pt x="2067" y="219"/>
                    <a:pt x="2069" y="218"/>
                  </a:cubicBezTo>
                  <a:cubicBezTo>
                    <a:pt x="2069" y="214"/>
                    <a:pt x="2069" y="210"/>
                    <a:pt x="2068" y="207"/>
                  </a:cubicBezTo>
                  <a:cubicBezTo>
                    <a:pt x="2080" y="203"/>
                    <a:pt x="2069" y="219"/>
                    <a:pt x="2077" y="218"/>
                  </a:cubicBezTo>
                  <a:cubicBezTo>
                    <a:pt x="2077" y="223"/>
                    <a:pt x="2067" y="219"/>
                    <a:pt x="2063" y="221"/>
                  </a:cubicBezTo>
                  <a:close/>
                  <a:moveTo>
                    <a:pt x="2074" y="239"/>
                  </a:moveTo>
                  <a:cubicBezTo>
                    <a:pt x="2073" y="239"/>
                    <a:pt x="2071" y="239"/>
                    <a:pt x="2069" y="239"/>
                  </a:cubicBezTo>
                  <a:cubicBezTo>
                    <a:pt x="2069" y="237"/>
                    <a:pt x="2069" y="235"/>
                    <a:pt x="2069" y="232"/>
                  </a:cubicBezTo>
                  <a:cubicBezTo>
                    <a:pt x="2073" y="232"/>
                    <a:pt x="2074" y="235"/>
                    <a:pt x="2077" y="235"/>
                  </a:cubicBezTo>
                  <a:cubicBezTo>
                    <a:pt x="2077" y="237"/>
                    <a:pt x="2074" y="237"/>
                    <a:pt x="2074" y="239"/>
                  </a:cubicBezTo>
                  <a:close/>
                  <a:moveTo>
                    <a:pt x="2200" y="66"/>
                  </a:moveTo>
                  <a:cubicBezTo>
                    <a:pt x="2203" y="68"/>
                    <a:pt x="2211" y="66"/>
                    <a:pt x="2209" y="72"/>
                  </a:cubicBezTo>
                  <a:cubicBezTo>
                    <a:pt x="2206" y="70"/>
                    <a:pt x="2199" y="72"/>
                    <a:pt x="2200" y="66"/>
                  </a:cubicBezTo>
                  <a:close/>
                  <a:moveTo>
                    <a:pt x="2184" y="71"/>
                  </a:moveTo>
                  <a:cubicBezTo>
                    <a:pt x="2184" y="72"/>
                    <a:pt x="2184" y="74"/>
                    <a:pt x="2184" y="75"/>
                  </a:cubicBezTo>
                  <a:cubicBezTo>
                    <a:pt x="2182" y="75"/>
                    <a:pt x="2180" y="75"/>
                    <a:pt x="2179" y="75"/>
                  </a:cubicBezTo>
                  <a:cubicBezTo>
                    <a:pt x="2179" y="74"/>
                    <a:pt x="2179" y="72"/>
                    <a:pt x="2179" y="71"/>
                  </a:cubicBezTo>
                  <a:cubicBezTo>
                    <a:pt x="2180" y="71"/>
                    <a:pt x="2182" y="71"/>
                    <a:pt x="2184" y="71"/>
                  </a:cubicBezTo>
                  <a:close/>
                  <a:moveTo>
                    <a:pt x="2180" y="132"/>
                  </a:moveTo>
                  <a:cubicBezTo>
                    <a:pt x="2179" y="136"/>
                    <a:pt x="2175" y="141"/>
                    <a:pt x="2174" y="144"/>
                  </a:cubicBezTo>
                  <a:cubicBezTo>
                    <a:pt x="2172" y="142"/>
                    <a:pt x="2170" y="141"/>
                    <a:pt x="2166" y="141"/>
                  </a:cubicBezTo>
                  <a:cubicBezTo>
                    <a:pt x="2162" y="135"/>
                    <a:pt x="2171" y="136"/>
                    <a:pt x="2171" y="132"/>
                  </a:cubicBezTo>
                  <a:cubicBezTo>
                    <a:pt x="2172" y="129"/>
                    <a:pt x="2177" y="130"/>
                    <a:pt x="2180" y="129"/>
                  </a:cubicBezTo>
                  <a:cubicBezTo>
                    <a:pt x="2180" y="127"/>
                    <a:pt x="2178" y="127"/>
                    <a:pt x="2177" y="127"/>
                  </a:cubicBezTo>
                  <a:cubicBezTo>
                    <a:pt x="2185" y="120"/>
                    <a:pt x="2181" y="128"/>
                    <a:pt x="2180" y="132"/>
                  </a:cubicBezTo>
                  <a:close/>
                  <a:moveTo>
                    <a:pt x="2183" y="174"/>
                  </a:moveTo>
                  <a:cubicBezTo>
                    <a:pt x="2180" y="173"/>
                    <a:pt x="2179" y="170"/>
                    <a:pt x="2175" y="169"/>
                  </a:cubicBezTo>
                  <a:cubicBezTo>
                    <a:pt x="2175" y="167"/>
                    <a:pt x="2178" y="168"/>
                    <a:pt x="2178" y="169"/>
                  </a:cubicBezTo>
                  <a:cubicBezTo>
                    <a:pt x="2180" y="169"/>
                    <a:pt x="2180" y="166"/>
                    <a:pt x="2180" y="165"/>
                  </a:cubicBezTo>
                  <a:cubicBezTo>
                    <a:pt x="2184" y="165"/>
                    <a:pt x="2183" y="170"/>
                    <a:pt x="2183" y="174"/>
                  </a:cubicBezTo>
                  <a:close/>
                  <a:moveTo>
                    <a:pt x="2177" y="120"/>
                  </a:moveTo>
                  <a:cubicBezTo>
                    <a:pt x="2176" y="125"/>
                    <a:pt x="2164" y="121"/>
                    <a:pt x="2166" y="116"/>
                  </a:cubicBezTo>
                  <a:cubicBezTo>
                    <a:pt x="2173" y="114"/>
                    <a:pt x="2171" y="120"/>
                    <a:pt x="2177" y="120"/>
                  </a:cubicBezTo>
                  <a:close/>
                  <a:moveTo>
                    <a:pt x="2166" y="108"/>
                  </a:moveTo>
                  <a:cubicBezTo>
                    <a:pt x="2166" y="108"/>
                    <a:pt x="2168" y="109"/>
                    <a:pt x="2168" y="108"/>
                  </a:cubicBezTo>
                  <a:cubicBezTo>
                    <a:pt x="2169" y="108"/>
                    <a:pt x="2169" y="102"/>
                    <a:pt x="2171" y="104"/>
                  </a:cubicBezTo>
                  <a:cubicBezTo>
                    <a:pt x="2179" y="111"/>
                    <a:pt x="2155" y="110"/>
                    <a:pt x="2166" y="108"/>
                  </a:cubicBezTo>
                  <a:close/>
                  <a:moveTo>
                    <a:pt x="2177" y="146"/>
                  </a:moveTo>
                  <a:cubicBezTo>
                    <a:pt x="2172" y="149"/>
                    <a:pt x="2177" y="160"/>
                    <a:pt x="2169" y="160"/>
                  </a:cubicBezTo>
                  <a:cubicBezTo>
                    <a:pt x="2171" y="162"/>
                    <a:pt x="2172" y="164"/>
                    <a:pt x="2172" y="167"/>
                  </a:cubicBezTo>
                  <a:cubicBezTo>
                    <a:pt x="2164" y="171"/>
                    <a:pt x="2163" y="152"/>
                    <a:pt x="2172" y="155"/>
                  </a:cubicBezTo>
                  <a:cubicBezTo>
                    <a:pt x="2171" y="151"/>
                    <a:pt x="2167" y="150"/>
                    <a:pt x="2161" y="151"/>
                  </a:cubicBezTo>
                  <a:cubicBezTo>
                    <a:pt x="2164" y="147"/>
                    <a:pt x="2170" y="146"/>
                    <a:pt x="2177" y="146"/>
                  </a:cubicBezTo>
                  <a:close/>
                  <a:moveTo>
                    <a:pt x="2164" y="205"/>
                  </a:moveTo>
                  <a:cubicBezTo>
                    <a:pt x="2165" y="200"/>
                    <a:pt x="2174" y="207"/>
                    <a:pt x="2173" y="212"/>
                  </a:cubicBezTo>
                  <a:cubicBezTo>
                    <a:pt x="2170" y="212"/>
                    <a:pt x="2167" y="212"/>
                    <a:pt x="2165" y="212"/>
                  </a:cubicBezTo>
                  <a:cubicBezTo>
                    <a:pt x="2166" y="210"/>
                    <a:pt x="2169" y="205"/>
                    <a:pt x="2164" y="205"/>
                  </a:cubicBezTo>
                  <a:close/>
                  <a:moveTo>
                    <a:pt x="2164" y="186"/>
                  </a:moveTo>
                  <a:cubicBezTo>
                    <a:pt x="2166" y="173"/>
                    <a:pt x="2181" y="193"/>
                    <a:pt x="2167" y="193"/>
                  </a:cubicBezTo>
                  <a:cubicBezTo>
                    <a:pt x="2167" y="191"/>
                    <a:pt x="2170" y="191"/>
                    <a:pt x="2170" y="188"/>
                  </a:cubicBezTo>
                  <a:cubicBezTo>
                    <a:pt x="2170" y="186"/>
                    <a:pt x="2166" y="187"/>
                    <a:pt x="2164" y="186"/>
                  </a:cubicBezTo>
                  <a:close/>
                  <a:moveTo>
                    <a:pt x="2154" y="99"/>
                  </a:moveTo>
                  <a:cubicBezTo>
                    <a:pt x="2166" y="98"/>
                    <a:pt x="2156" y="104"/>
                    <a:pt x="2157" y="109"/>
                  </a:cubicBezTo>
                  <a:cubicBezTo>
                    <a:pt x="2149" y="108"/>
                    <a:pt x="2150" y="117"/>
                    <a:pt x="2144" y="111"/>
                  </a:cubicBezTo>
                  <a:cubicBezTo>
                    <a:pt x="2145" y="106"/>
                    <a:pt x="2158" y="109"/>
                    <a:pt x="2154" y="99"/>
                  </a:cubicBezTo>
                  <a:close/>
                  <a:moveTo>
                    <a:pt x="2159" y="207"/>
                  </a:moveTo>
                  <a:cubicBezTo>
                    <a:pt x="2146" y="210"/>
                    <a:pt x="2154" y="195"/>
                    <a:pt x="2159" y="203"/>
                  </a:cubicBezTo>
                  <a:cubicBezTo>
                    <a:pt x="2159" y="204"/>
                    <a:pt x="2159" y="206"/>
                    <a:pt x="2159" y="207"/>
                  </a:cubicBezTo>
                  <a:close/>
                  <a:moveTo>
                    <a:pt x="2141" y="130"/>
                  </a:moveTo>
                  <a:cubicBezTo>
                    <a:pt x="2150" y="127"/>
                    <a:pt x="2143" y="138"/>
                    <a:pt x="2152" y="135"/>
                  </a:cubicBezTo>
                  <a:cubicBezTo>
                    <a:pt x="2150" y="139"/>
                    <a:pt x="2147" y="143"/>
                    <a:pt x="2139" y="142"/>
                  </a:cubicBezTo>
                  <a:cubicBezTo>
                    <a:pt x="2137" y="136"/>
                    <a:pt x="2144" y="137"/>
                    <a:pt x="2141" y="130"/>
                  </a:cubicBezTo>
                  <a:close/>
                  <a:moveTo>
                    <a:pt x="2115" y="189"/>
                  </a:moveTo>
                  <a:cubicBezTo>
                    <a:pt x="2120" y="183"/>
                    <a:pt x="2127" y="192"/>
                    <a:pt x="2134" y="187"/>
                  </a:cubicBezTo>
                  <a:cubicBezTo>
                    <a:pt x="2135" y="195"/>
                    <a:pt x="2119" y="190"/>
                    <a:pt x="2115" y="194"/>
                  </a:cubicBezTo>
                  <a:cubicBezTo>
                    <a:pt x="2117" y="192"/>
                    <a:pt x="2118" y="190"/>
                    <a:pt x="2115" y="189"/>
                  </a:cubicBezTo>
                  <a:close/>
                  <a:moveTo>
                    <a:pt x="2128" y="140"/>
                  </a:moveTo>
                  <a:cubicBezTo>
                    <a:pt x="2125" y="148"/>
                    <a:pt x="2122" y="137"/>
                    <a:pt x="2119" y="138"/>
                  </a:cubicBezTo>
                  <a:cubicBezTo>
                    <a:pt x="2114" y="135"/>
                    <a:pt x="2116" y="142"/>
                    <a:pt x="2114" y="142"/>
                  </a:cubicBezTo>
                  <a:cubicBezTo>
                    <a:pt x="2112" y="143"/>
                    <a:pt x="2108" y="139"/>
                    <a:pt x="2103" y="142"/>
                  </a:cubicBezTo>
                  <a:cubicBezTo>
                    <a:pt x="2103" y="140"/>
                    <a:pt x="2103" y="138"/>
                    <a:pt x="2103" y="135"/>
                  </a:cubicBezTo>
                  <a:cubicBezTo>
                    <a:pt x="2114" y="137"/>
                    <a:pt x="2112" y="136"/>
                    <a:pt x="2125" y="135"/>
                  </a:cubicBezTo>
                  <a:cubicBezTo>
                    <a:pt x="2124" y="138"/>
                    <a:pt x="2126" y="139"/>
                    <a:pt x="2128" y="140"/>
                  </a:cubicBezTo>
                  <a:close/>
                  <a:moveTo>
                    <a:pt x="2130" y="107"/>
                  </a:moveTo>
                  <a:cubicBezTo>
                    <a:pt x="2124" y="116"/>
                    <a:pt x="2136" y="115"/>
                    <a:pt x="2133" y="128"/>
                  </a:cubicBezTo>
                  <a:cubicBezTo>
                    <a:pt x="2130" y="128"/>
                    <a:pt x="2131" y="124"/>
                    <a:pt x="2130" y="121"/>
                  </a:cubicBezTo>
                  <a:cubicBezTo>
                    <a:pt x="2129" y="118"/>
                    <a:pt x="2117" y="107"/>
                    <a:pt x="2130" y="107"/>
                  </a:cubicBezTo>
                  <a:close/>
                  <a:moveTo>
                    <a:pt x="2111" y="107"/>
                  </a:moveTo>
                  <a:cubicBezTo>
                    <a:pt x="2110" y="110"/>
                    <a:pt x="2099" y="112"/>
                    <a:pt x="2111" y="112"/>
                  </a:cubicBezTo>
                  <a:cubicBezTo>
                    <a:pt x="2110" y="115"/>
                    <a:pt x="2106" y="114"/>
                    <a:pt x="2102" y="114"/>
                  </a:cubicBezTo>
                  <a:cubicBezTo>
                    <a:pt x="2098" y="107"/>
                    <a:pt x="2103" y="102"/>
                    <a:pt x="2111" y="107"/>
                  </a:cubicBezTo>
                  <a:close/>
                  <a:moveTo>
                    <a:pt x="2088" y="251"/>
                  </a:moveTo>
                  <a:cubicBezTo>
                    <a:pt x="2084" y="249"/>
                    <a:pt x="2081" y="243"/>
                    <a:pt x="2085" y="239"/>
                  </a:cubicBezTo>
                  <a:cubicBezTo>
                    <a:pt x="2091" y="239"/>
                    <a:pt x="2087" y="247"/>
                    <a:pt x="2088" y="251"/>
                  </a:cubicBezTo>
                  <a:close/>
                  <a:moveTo>
                    <a:pt x="2085" y="227"/>
                  </a:moveTo>
                  <a:cubicBezTo>
                    <a:pt x="2075" y="221"/>
                    <a:pt x="2088" y="214"/>
                    <a:pt x="2082" y="204"/>
                  </a:cubicBezTo>
                  <a:cubicBezTo>
                    <a:pt x="2085" y="205"/>
                    <a:pt x="2085" y="209"/>
                    <a:pt x="2090" y="209"/>
                  </a:cubicBezTo>
                  <a:cubicBezTo>
                    <a:pt x="2090" y="216"/>
                    <a:pt x="2083" y="218"/>
                    <a:pt x="2085" y="227"/>
                  </a:cubicBezTo>
                  <a:close/>
                  <a:moveTo>
                    <a:pt x="2103" y="168"/>
                  </a:moveTo>
                  <a:cubicBezTo>
                    <a:pt x="2105" y="169"/>
                    <a:pt x="2096" y="175"/>
                    <a:pt x="2093" y="171"/>
                  </a:cubicBezTo>
                  <a:cubicBezTo>
                    <a:pt x="2092" y="169"/>
                    <a:pt x="2102" y="167"/>
                    <a:pt x="2103" y="168"/>
                  </a:cubicBezTo>
                  <a:close/>
                  <a:moveTo>
                    <a:pt x="2095" y="293"/>
                  </a:moveTo>
                  <a:cubicBezTo>
                    <a:pt x="2095" y="289"/>
                    <a:pt x="2104" y="291"/>
                    <a:pt x="2103" y="286"/>
                  </a:cubicBezTo>
                  <a:cubicBezTo>
                    <a:pt x="2107" y="287"/>
                    <a:pt x="2105" y="293"/>
                    <a:pt x="2114" y="290"/>
                  </a:cubicBezTo>
                  <a:cubicBezTo>
                    <a:pt x="2108" y="295"/>
                    <a:pt x="2101" y="295"/>
                    <a:pt x="2095" y="293"/>
                  </a:cubicBezTo>
                  <a:close/>
                  <a:moveTo>
                    <a:pt x="2094" y="270"/>
                  </a:moveTo>
                  <a:cubicBezTo>
                    <a:pt x="2095" y="265"/>
                    <a:pt x="2098" y="271"/>
                    <a:pt x="2097" y="274"/>
                  </a:cubicBezTo>
                  <a:cubicBezTo>
                    <a:pt x="2096" y="279"/>
                    <a:pt x="2094" y="273"/>
                    <a:pt x="2094" y="270"/>
                  </a:cubicBezTo>
                  <a:close/>
                  <a:moveTo>
                    <a:pt x="2102" y="225"/>
                  </a:moveTo>
                  <a:cubicBezTo>
                    <a:pt x="2094" y="222"/>
                    <a:pt x="2109" y="208"/>
                    <a:pt x="2102" y="225"/>
                  </a:cubicBezTo>
                  <a:close/>
                  <a:moveTo>
                    <a:pt x="2110" y="218"/>
                  </a:moveTo>
                  <a:cubicBezTo>
                    <a:pt x="2117" y="218"/>
                    <a:pt x="2111" y="226"/>
                    <a:pt x="2110" y="227"/>
                  </a:cubicBezTo>
                  <a:cubicBezTo>
                    <a:pt x="2102" y="226"/>
                    <a:pt x="2112" y="222"/>
                    <a:pt x="2110" y="218"/>
                  </a:cubicBezTo>
                  <a:close/>
                  <a:moveTo>
                    <a:pt x="2119" y="281"/>
                  </a:moveTo>
                  <a:cubicBezTo>
                    <a:pt x="2117" y="288"/>
                    <a:pt x="2115" y="277"/>
                    <a:pt x="2116" y="274"/>
                  </a:cubicBezTo>
                  <a:cubicBezTo>
                    <a:pt x="2113" y="277"/>
                    <a:pt x="2112" y="275"/>
                    <a:pt x="2108" y="274"/>
                  </a:cubicBezTo>
                  <a:cubicBezTo>
                    <a:pt x="2110" y="272"/>
                    <a:pt x="2114" y="271"/>
                    <a:pt x="2113" y="267"/>
                  </a:cubicBezTo>
                  <a:cubicBezTo>
                    <a:pt x="2118" y="269"/>
                    <a:pt x="2120" y="274"/>
                    <a:pt x="2119" y="281"/>
                  </a:cubicBezTo>
                  <a:close/>
                  <a:moveTo>
                    <a:pt x="2121" y="246"/>
                  </a:moveTo>
                  <a:cubicBezTo>
                    <a:pt x="2121" y="246"/>
                    <a:pt x="2116" y="243"/>
                    <a:pt x="2116" y="243"/>
                  </a:cubicBezTo>
                  <a:cubicBezTo>
                    <a:pt x="2116" y="240"/>
                    <a:pt x="2120" y="243"/>
                    <a:pt x="2121" y="241"/>
                  </a:cubicBezTo>
                  <a:cubicBezTo>
                    <a:pt x="2121" y="240"/>
                    <a:pt x="2122" y="234"/>
                    <a:pt x="2124" y="236"/>
                  </a:cubicBezTo>
                  <a:cubicBezTo>
                    <a:pt x="2124" y="237"/>
                    <a:pt x="2121" y="245"/>
                    <a:pt x="2121" y="246"/>
                  </a:cubicBezTo>
                  <a:close/>
                  <a:moveTo>
                    <a:pt x="2115" y="217"/>
                  </a:moveTo>
                  <a:cubicBezTo>
                    <a:pt x="2117" y="212"/>
                    <a:pt x="2129" y="216"/>
                    <a:pt x="2126" y="222"/>
                  </a:cubicBezTo>
                  <a:cubicBezTo>
                    <a:pt x="2122" y="221"/>
                    <a:pt x="2119" y="219"/>
                    <a:pt x="2115" y="217"/>
                  </a:cubicBezTo>
                  <a:close/>
                  <a:moveTo>
                    <a:pt x="2122" y="276"/>
                  </a:moveTo>
                  <a:cubicBezTo>
                    <a:pt x="2122" y="272"/>
                    <a:pt x="2126" y="271"/>
                    <a:pt x="2133" y="271"/>
                  </a:cubicBezTo>
                  <a:cubicBezTo>
                    <a:pt x="2132" y="275"/>
                    <a:pt x="2128" y="277"/>
                    <a:pt x="2122" y="276"/>
                  </a:cubicBezTo>
                  <a:close/>
                  <a:moveTo>
                    <a:pt x="2129" y="243"/>
                  </a:moveTo>
                  <a:cubicBezTo>
                    <a:pt x="2129" y="241"/>
                    <a:pt x="2129" y="240"/>
                    <a:pt x="2129" y="238"/>
                  </a:cubicBezTo>
                  <a:cubicBezTo>
                    <a:pt x="2131" y="238"/>
                    <a:pt x="2133" y="238"/>
                    <a:pt x="2135" y="238"/>
                  </a:cubicBezTo>
                  <a:cubicBezTo>
                    <a:pt x="2135" y="240"/>
                    <a:pt x="2135" y="241"/>
                    <a:pt x="2135" y="243"/>
                  </a:cubicBezTo>
                  <a:cubicBezTo>
                    <a:pt x="2133" y="243"/>
                    <a:pt x="2131" y="243"/>
                    <a:pt x="2129" y="243"/>
                  </a:cubicBezTo>
                  <a:close/>
                  <a:moveTo>
                    <a:pt x="2134" y="210"/>
                  </a:moveTo>
                  <a:cubicBezTo>
                    <a:pt x="2132" y="212"/>
                    <a:pt x="2130" y="212"/>
                    <a:pt x="2126" y="213"/>
                  </a:cubicBezTo>
                  <a:cubicBezTo>
                    <a:pt x="2126" y="213"/>
                    <a:pt x="2126" y="210"/>
                    <a:pt x="2126" y="210"/>
                  </a:cubicBezTo>
                  <a:cubicBezTo>
                    <a:pt x="2124" y="211"/>
                    <a:pt x="2124" y="213"/>
                    <a:pt x="2123" y="213"/>
                  </a:cubicBezTo>
                  <a:cubicBezTo>
                    <a:pt x="2121" y="213"/>
                    <a:pt x="2120" y="210"/>
                    <a:pt x="2121" y="210"/>
                  </a:cubicBezTo>
                  <a:cubicBezTo>
                    <a:pt x="2121" y="210"/>
                    <a:pt x="2113" y="212"/>
                    <a:pt x="2112" y="213"/>
                  </a:cubicBezTo>
                  <a:cubicBezTo>
                    <a:pt x="2110" y="215"/>
                    <a:pt x="2112" y="213"/>
                    <a:pt x="2101" y="213"/>
                  </a:cubicBezTo>
                  <a:cubicBezTo>
                    <a:pt x="2103" y="207"/>
                    <a:pt x="2100" y="205"/>
                    <a:pt x="2093" y="206"/>
                  </a:cubicBezTo>
                  <a:cubicBezTo>
                    <a:pt x="2092" y="203"/>
                    <a:pt x="2097" y="205"/>
                    <a:pt x="2099" y="204"/>
                  </a:cubicBezTo>
                  <a:cubicBezTo>
                    <a:pt x="2103" y="199"/>
                    <a:pt x="2097" y="191"/>
                    <a:pt x="2107" y="192"/>
                  </a:cubicBezTo>
                  <a:cubicBezTo>
                    <a:pt x="2101" y="197"/>
                    <a:pt x="2105" y="205"/>
                    <a:pt x="2107" y="211"/>
                  </a:cubicBezTo>
                  <a:cubicBezTo>
                    <a:pt x="2112" y="208"/>
                    <a:pt x="2122" y="210"/>
                    <a:pt x="2121" y="203"/>
                  </a:cubicBezTo>
                  <a:cubicBezTo>
                    <a:pt x="2123" y="205"/>
                    <a:pt x="2125" y="207"/>
                    <a:pt x="2126" y="210"/>
                  </a:cubicBezTo>
                  <a:cubicBezTo>
                    <a:pt x="2130" y="206"/>
                    <a:pt x="2135" y="204"/>
                    <a:pt x="2134" y="196"/>
                  </a:cubicBezTo>
                  <a:cubicBezTo>
                    <a:pt x="2138" y="196"/>
                    <a:pt x="2135" y="203"/>
                    <a:pt x="2140" y="203"/>
                  </a:cubicBezTo>
                  <a:cubicBezTo>
                    <a:pt x="2138" y="205"/>
                    <a:pt x="2133" y="206"/>
                    <a:pt x="2134" y="210"/>
                  </a:cubicBezTo>
                  <a:close/>
                  <a:moveTo>
                    <a:pt x="2144" y="285"/>
                  </a:moveTo>
                  <a:cubicBezTo>
                    <a:pt x="2139" y="283"/>
                    <a:pt x="2136" y="275"/>
                    <a:pt x="2141" y="271"/>
                  </a:cubicBezTo>
                  <a:cubicBezTo>
                    <a:pt x="2147" y="271"/>
                    <a:pt x="2142" y="281"/>
                    <a:pt x="2144" y="285"/>
                  </a:cubicBezTo>
                  <a:close/>
                  <a:moveTo>
                    <a:pt x="2143" y="215"/>
                  </a:moveTo>
                  <a:cubicBezTo>
                    <a:pt x="2146" y="216"/>
                    <a:pt x="2148" y="218"/>
                    <a:pt x="2148" y="222"/>
                  </a:cubicBezTo>
                  <a:cubicBezTo>
                    <a:pt x="2145" y="221"/>
                    <a:pt x="2143" y="219"/>
                    <a:pt x="2143" y="215"/>
                  </a:cubicBezTo>
                  <a:close/>
                  <a:moveTo>
                    <a:pt x="2147" y="156"/>
                  </a:moveTo>
                  <a:cubicBezTo>
                    <a:pt x="2143" y="154"/>
                    <a:pt x="2148" y="152"/>
                    <a:pt x="2144" y="146"/>
                  </a:cubicBezTo>
                  <a:cubicBezTo>
                    <a:pt x="2154" y="144"/>
                    <a:pt x="2150" y="154"/>
                    <a:pt x="2155" y="156"/>
                  </a:cubicBezTo>
                  <a:cubicBezTo>
                    <a:pt x="2154" y="159"/>
                    <a:pt x="2151" y="156"/>
                    <a:pt x="2150" y="153"/>
                  </a:cubicBezTo>
                  <a:cubicBezTo>
                    <a:pt x="2147" y="153"/>
                    <a:pt x="2147" y="154"/>
                    <a:pt x="2147" y="156"/>
                  </a:cubicBezTo>
                  <a:close/>
                  <a:moveTo>
                    <a:pt x="2157" y="250"/>
                  </a:moveTo>
                  <a:cubicBezTo>
                    <a:pt x="2153" y="249"/>
                    <a:pt x="2156" y="243"/>
                    <a:pt x="2151" y="243"/>
                  </a:cubicBezTo>
                  <a:cubicBezTo>
                    <a:pt x="2153" y="240"/>
                    <a:pt x="2158" y="240"/>
                    <a:pt x="2157" y="236"/>
                  </a:cubicBezTo>
                  <a:cubicBezTo>
                    <a:pt x="2164" y="238"/>
                    <a:pt x="2156" y="246"/>
                    <a:pt x="2157" y="250"/>
                  </a:cubicBezTo>
                  <a:close/>
                  <a:moveTo>
                    <a:pt x="2159" y="221"/>
                  </a:moveTo>
                  <a:cubicBezTo>
                    <a:pt x="2160" y="224"/>
                    <a:pt x="2159" y="236"/>
                    <a:pt x="2157" y="228"/>
                  </a:cubicBezTo>
                  <a:cubicBezTo>
                    <a:pt x="2157" y="224"/>
                    <a:pt x="2156" y="219"/>
                    <a:pt x="2156" y="214"/>
                  </a:cubicBezTo>
                  <a:cubicBezTo>
                    <a:pt x="2160" y="214"/>
                    <a:pt x="2164" y="214"/>
                    <a:pt x="2167" y="214"/>
                  </a:cubicBezTo>
                  <a:cubicBezTo>
                    <a:pt x="2168" y="219"/>
                    <a:pt x="2165" y="222"/>
                    <a:pt x="2159" y="221"/>
                  </a:cubicBezTo>
                  <a:close/>
                  <a:moveTo>
                    <a:pt x="2168" y="273"/>
                  </a:moveTo>
                  <a:cubicBezTo>
                    <a:pt x="2171" y="274"/>
                    <a:pt x="2173" y="275"/>
                    <a:pt x="2177" y="275"/>
                  </a:cubicBezTo>
                  <a:cubicBezTo>
                    <a:pt x="2176" y="284"/>
                    <a:pt x="2173" y="284"/>
                    <a:pt x="2177" y="292"/>
                  </a:cubicBezTo>
                  <a:cubicBezTo>
                    <a:pt x="2165" y="293"/>
                    <a:pt x="2169" y="281"/>
                    <a:pt x="2168" y="273"/>
                  </a:cubicBezTo>
                  <a:close/>
                  <a:moveTo>
                    <a:pt x="2174" y="273"/>
                  </a:moveTo>
                  <a:cubicBezTo>
                    <a:pt x="2174" y="271"/>
                    <a:pt x="2174" y="270"/>
                    <a:pt x="2174" y="268"/>
                  </a:cubicBezTo>
                  <a:cubicBezTo>
                    <a:pt x="2176" y="268"/>
                    <a:pt x="2177" y="268"/>
                    <a:pt x="2179" y="268"/>
                  </a:cubicBezTo>
                  <a:cubicBezTo>
                    <a:pt x="2179" y="270"/>
                    <a:pt x="2179" y="271"/>
                    <a:pt x="2179" y="273"/>
                  </a:cubicBezTo>
                  <a:cubicBezTo>
                    <a:pt x="2177" y="273"/>
                    <a:pt x="2176" y="273"/>
                    <a:pt x="2174" y="273"/>
                  </a:cubicBezTo>
                  <a:close/>
                  <a:moveTo>
                    <a:pt x="2170" y="217"/>
                  </a:moveTo>
                  <a:cubicBezTo>
                    <a:pt x="2171" y="213"/>
                    <a:pt x="2177" y="214"/>
                    <a:pt x="2181" y="214"/>
                  </a:cubicBezTo>
                  <a:cubicBezTo>
                    <a:pt x="2180" y="219"/>
                    <a:pt x="2174" y="220"/>
                    <a:pt x="2170" y="217"/>
                  </a:cubicBezTo>
                  <a:close/>
                  <a:moveTo>
                    <a:pt x="2181" y="197"/>
                  </a:moveTo>
                  <a:cubicBezTo>
                    <a:pt x="2173" y="193"/>
                    <a:pt x="2182" y="183"/>
                    <a:pt x="2183" y="179"/>
                  </a:cubicBezTo>
                  <a:cubicBezTo>
                    <a:pt x="2189" y="182"/>
                    <a:pt x="2180" y="191"/>
                    <a:pt x="2181" y="197"/>
                  </a:cubicBezTo>
                  <a:close/>
                  <a:moveTo>
                    <a:pt x="2188" y="136"/>
                  </a:moveTo>
                  <a:cubicBezTo>
                    <a:pt x="2190" y="136"/>
                    <a:pt x="2192" y="136"/>
                    <a:pt x="2193" y="136"/>
                  </a:cubicBezTo>
                  <a:cubicBezTo>
                    <a:pt x="2195" y="141"/>
                    <a:pt x="2190" y="141"/>
                    <a:pt x="2185" y="141"/>
                  </a:cubicBezTo>
                  <a:cubicBezTo>
                    <a:pt x="2186" y="139"/>
                    <a:pt x="2188" y="139"/>
                    <a:pt x="2188" y="136"/>
                  </a:cubicBezTo>
                  <a:close/>
                  <a:moveTo>
                    <a:pt x="2189" y="204"/>
                  </a:moveTo>
                  <a:cubicBezTo>
                    <a:pt x="2188" y="209"/>
                    <a:pt x="2186" y="203"/>
                    <a:pt x="2186" y="200"/>
                  </a:cubicBezTo>
                  <a:cubicBezTo>
                    <a:pt x="2187" y="195"/>
                    <a:pt x="2190" y="201"/>
                    <a:pt x="2189" y="204"/>
                  </a:cubicBezTo>
                  <a:close/>
                  <a:moveTo>
                    <a:pt x="2189" y="214"/>
                  </a:moveTo>
                  <a:cubicBezTo>
                    <a:pt x="2194" y="213"/>
                    <a:pt x="2194" y="216"/>
                    <a:pt x="2198" y="216"/>
                  </a:cubicBezTo>
                  <a:cubicBezTo>
                    <a:pt x="2195" y="223"/>
                    <a:pt x="2195" y="223"/>
                    <a:pt x="2198" y="230"/>
                  </a:cubicBezTo>
                  <a:cubicBezTo>
                    <a:pt x="2190" y="229"/>
                    <a:pt x="2193" y="219"/>
                    <a:pt x="2189" y="214"/>
                  </a:cubicBezTo>
                  <a:close/>
                  <a:moveTo>
                    <a:pt x="2191" y="148"/>
                  </a:moveTo>
                  <a:cubicBezTo>
                    <a:pt x="2192" y="145"/>
                    <a:pt x="2198" y="146"/>
                    <a:pt x="2202" y="145"/>
                  </a:cubicBezTo>
                  <a:cubicBezTo>
                    <a:pt x="2201" y="137"/>
                    <a:pt x="2204" y="132"/>
                    <a:pt x="2213" y="131"/>
                  </a:cubicBezTo>
                  <a:cubicBezTo>
                    <a:pt x="2207" y="140"/>
                    <a:pt x="2204" y="142"/>
                    <a:pt x="2207" y="155"/>
                  </a:cubicBezTo>
                  <a:cubicBezTo>
                    <a:pt x="2200" y="155"/>
                    <a:pt x="2204" y="153"/>
                    <a:pt x="2205" y="150"/>
                  </a:cubicBezTo>
                  <a:cubicBezTo>
                    <a:pt x="2200" y="145"/>
                    <a:pt x="2198" y="152"/>
                    <a:pt x="2191" y="148"/>
                  </a:cubicBezTo>
                  <a:close/>
                  <a:moveTo>
                    <a:pt x="2214" y="220"/>
                  </a:moveTo>
                  <a:cubicBezTo>
                    <a:pt x="2205" y="222"/>
                    <a:pt x="2213" y="209"/>
                    <a:pt x="2203" y="211"/>
                  </a:cubicBezTo>
                  <a:cubicBezTo>
                    <a:pt x="2203" y="208"/>
                    <a:pt x="2208" y="209"/>
                    <a:pt x="2211" y="209"/>
                  </a:cubicBezTo>
                  <a:cubicBezTo>
                    <a:pt x="2209" y="215"/>
                    <a:pt x="2215" y="215"/>
                    <a:pt x="2214" y="220"/>
                  </a:cubicBezTo>
                  <a:close/>
                  <a:moveTo>
                    <a:pt x="2211" y="202"/>
                  </a:moveTo>
                  <a:cubicBezTo>
                    <a:pt x="2208" y="201"/>
                    <a:pt x="2206" y="202"/>
                    <a:pt x="2206" y="204"/>
                  </a:cubicBezTo>
                  <a:cubicBezTo>
                    <a:pt x="2201" y="203"/>
                    <a:pt x="2207" y="201"/>
                    <a:pt x="2206" y="197"/>
                  </a:cubicBezTo>
                  <a:cubicBezTo>
                    <a:pt x="2209" y="201"/>
                    <a:pt x="2217" y="200"/>
                    <a:pt x="2217" y="206"/>
                  </a:cubicBezTo>
                  <a:cubicBezTo>
                    <a:pt x="2214" y="205"/>
                    <a:pt x="2212" y="204"/>
                    <a:pt x="2211" y="202"/>
                  </a:cubicBezTo>
                  <a:close/>
                  <a:moveTo>
                    <a:pt x="2222" y="223"/>
                  </a:moveTo>
                  <a:cubicBezTo>
                    <a:pt x="2219" y="222"/>
                    <a:pt x="2220" y="217"/>
                    <a:pt x="2219" y="213"/>
                  </a:cubicBezTo>
                  <a:cubicBezTo>
                    <a:pt x="2222" y="213"/>
                    <a:pt x="2225" y="213"/>
                    <a:pt x="2228" y="213"/>
                  </a:cubicBezTo>
                  <a:cubicBezTo>
                    <a:pt x="2231" y="221"/>
                    <a:pt x="2219" y="215"/>
                    <a:pt x="2222" y="223"/>
                  </a:cubicBezTo>
                  <a:close/>
                  <a:moveTo>
                    <a:pt x="2233" y="187"/>
                  </a:moveTo>
                  <a:cubicBezTo>
                    <a:pt x="2235" y="187"/>
                    <a:pt x="2236" y="187"/>
                    <a:pt x="2238" y="187"/>
                  </a:cubicBezTo>
                  <a:cubicBezTo>
                    <a:pt x="2240" y="192"/>
                    <a:pt x="2234" y="192"/>
                    <a:pt x="2230" y="192"/>
                  </a:cubicBezTo>
                  <a:cubicBezTo>
                    <a:pt x="2231" y="190"/>
                    <a:pt x="2233" y="190"/>
                    <a:pt x="2233" y="187"/>
                  </a:cubicBezTo>
                  <a:close/>
                  <a:moveTo>
                    <a:pt x="2236" y="225"/>
                  </a:moveTo>
                  <a:cubicBezTo>
                    <a:pt x="2234" y="223"/>
                    <a:pt x="2230" y="215"/>
                    <a:pt x="2230" y="208"/>
                  </a:cubicBezTo>
                  <a:cubicBezTo>
                    <a:pt x="2230" y="207"/>
                    <a:pt x="2235" y="207"/>
                    <a:pt x="2236" y="206"/>
                  </a:cubicBezTo>
                  <a:cubicBezTo>
                    <a:pt x="2237" y="205"/>
                    <a:pt x="2232" y="201"/>
                    <a:pt x="2236" y="199"/>
                  </a:cubicBezTo>
                  <a:cubicBezTo>
                    <a:pt x="2244" y="199"/>
                    <a:pt x="2230" y="217"/>
                    <a:pt x="2239" y="211"/>
                  </a:cubicBezTo>
                  <a:cubicBezTo>
                    <a:pt x="2247" y="214"/>
                    <a:pt x="2234" y="219"/>
                    <a:pt x="2236" y="225"/>
                  </a:cubicBezTo>
                  <a:close/>
                  <a:moveTo>
                    <a:pt x="2264" y="104"/>
                  </a:moveTo>
                  <a:cubicBezTo>
                    <a:pt x="2271" y="105"/>
                    <a:pt x="2267" y="115"/>
                    <a:pt x="2259" y="112"/>
                  </a:cubicBezTo>
                  <a:cubicBezTo>
                    <a:pt x="2261" y="109"/>
                    <a:pt x="2265" y="109"/>
                    <a:pt x="2264" y="104"/>
                  </a:cubicBezTo>
                  <a:close/>
                  <a:moveTo>
                    <a:pt x="2267" y="128"/>
                  </a:moveTo>
                  <a:cubicBezTo>
                    <a:pt x="2277" y="126"/>
                    <a:pt x="2268" y="138"/>
                    <a:pt x="2265" y="135"/>
                  </a:cubicBezTo>
                  <a:cubicBezTo>
                    <a:pt x="2265" y="135"/>
                    <a:pt x="2267" y="130"/>
                    <a:pt x="2267" y="130"/>
                  </a:cubicBezTo>
                  <a:cubicBezTo>
                    <a:pt x="2268" y="130"/>
                    <a:pt x="2267" y="128"/>
                    <a:pt x="2267" y="128"/>
                  </a:cubicBezTo>
                  <a:close/>
                  <a:moveTo>
                    <a:pt x="2265" y="121"/>
                  </a:moveTo>
                  <a:cubicBezTo>
                    <a:pt x="2266" y="120"/>
                    <a:pt x="2256" y="119"/>
                    <a:pt x="2256" y="119"/>
                  </a:cubicBezTo>
                  <a:cubicBezTo>
                    <a:pt x="2255" y="115"/>
                    <a:pt x="2271" y="115"/>
                    <a:pt x="2265" y="121"/>
                  </a:cubicBezTo>
                  <a:close/>
                  <a:moveTo>
                    <a:pt x="2243" y="135"/>
                  </a:moveTo>
                  <a:cubicBezTo>
                    <a:pt x="2245" y="134"/>
                    <a:pt x="2245" y="138"/>
                    <a:pt x="2246" y="138"/>
                  </a:cubicBezTo>
                  <a:cubicBezTo>
                    <a:pt x="2248" y="138"/>
                    <a:pt x="2248" y="135"/>
                    <a:pt x="2248" y="135"/>
                  </a:cubicBezTo>
                  <a:cubicBezTo>
                    <a:pt x="2252" y="135"/>
                    <a:pt x="2258" y="140"/>
                    <a:pt x="2259" y="135"/>
                  </a:cubicBezTo>
                  <a:cubicBezTo>
                    <a:pt x="2255" y="132"/>
                    <a:pt x="2259" y="134"/>
                    <a:pt x="2262" y="135"/>
                  </a:cubicBezTo>
                  <a:cubicBezTo>
                    <a:pt x="2261" y="135"/>
                    <a:pt x="2260" y="139"/>
                    <a:pt x="2259" y="140"/>
                  </a:cubicBezTo>
                  <a:cubicBezTo>
                    <a:pt x="2256" y="141"/>
                    <a:pt x="2255" y="137"/>
                    <a:pt x="2254" y="137"/>
                  </a:cubicBezTo>
                  <a:cubicBezTo>
                    <a:pt x="2249" y="138"/>
                    <a:pt x="2241" y="144"/>
                    <a:pt x="2243" y="135"/>
                  </a:cubicBezTo>
                  <a:close/>
                  <a:moveTo>
                    <a:pt x="2247" y="220"/>
                  </a:moveTo>
                  <a:cubicBezTo>
                    <a:pt x="2252" y="215"/>
                    <a:pt x="2247" y="217"/>
                    <a:pt x="2247" y="210"/>
                  </a:cubicBezTo>
                  <a:cubicBezTo>
                    <a:pt x="2256" y="210"/>
                    <a:pt x="2258" y="221"/>
                    <a:pt x="2247" y="220"/>
                  </a:cubicBezTo>
                  <a:close/>
                  <a:moveTo>
                    <a:pt x="2244" y="192"/>
                  </a:moveTo>
                  <a:cubicBezTo>
                    <a:pt x="2237" y="190"/>
                    <a:pt x="2252" y="187"/>
                    <a:pt x="2257" y="187"/>
                  </a:cubicBezTo>
                  <a:cubicBezTo>
                    <a:pt x="2255" y="190"/>
                    <a:pt x="2249" y="190"/>
                    <a:pt x="2244" y="192"/>
                  </a:cubicBezTo>
                  <a:close/>
                  <a:moveTo>
                    <a:pt x="2249" y="182"/>
                  </a:moveTo>
                  <a:cubicBezTo>
                    <a:pt x="2251" y="180"/>
                    <a:pt x="2252" y="178"/>
                    <a:pt x="2252" y="175"/>
                  </a:cubicBezTo>
                  <a:cubicBezTo>
                    <a:pt x="2255" y="175"/>
                    <a:pt x="2257" y="175"/>
                    <a:pt x="2260" y="175"/>
                  </a:cubicBezTo>
                  <a:cubicBezTo>
                    <a:pt x="2258" y="178"/>
                    <a:pt x="2256" y="183"/>
                    <a:pt x="2249" y="182"/>
                  </a:cubicBezTo>
                  <a:close/>
                  <a:moveTo>
                    <a:pt x="2261" y="227"/>
                  </a:moveTo>
                  <a:cubicBezTo>
                    <a:pt x="2261" y="221"/>
                    <a:pt x="2266" y="230"/>
                    <a:pt x="2272" y="226"/>
                  </a:cubicBezTo>
                  <a:cubicBezTo>
                    <a:pt x="2272" y="232"/>
                    <a:pt x="2263" y="227"/>
                    <a:pt x="2261" y="227"/>
                  </a:cubicBezTo>
                  <a:close/>
                  <a:moveTo>
                    <a:pt x="2269" y="234"/>
                  </a:moveTo>
                  <a:cubicBezTo>
                    <a:pt x="2281" y="234"/>
                    <a:pt x="2267" y="247"/>
                    <a:pt x="2269" y="234"/>
                  </a:cubicBezTo>
                  <a:close/>
                  <a:moveTo>
                    <a:pt x="2273" y="109"/>
                  </a:moveTo>
                  <a:cubicBezTo>
                    <a:pt x="2269" y="106"/>
                    <a:pt x="2266" y="97"/>
                    <a:pt x="2269" y="95"/>
                  </a:cubicBezTo>
                  <a:cubicBezTo>
                    <a:pt x="2273" y="98"/>
                    <a:pt x="2276" y="106"/>
                    <a:pt x="2273" y="109"/>
                  </a:cubicBezTo>
                  <a:close/>
                  <a:moveTo>
                    <a:pt x="2886" y="232"/>
                  </a:moveTo>
                  <a:cubicBezTo>
                    <a:pt x="2880" y="240"/>
                    <a:pt x="2873" y="226"/>
                    <a:pt x="2886" y="232"/>
                  </a:cubicBezTo>
                  <a:close/>
                  <a:moveTo>
                    <a:pt x="2865" y="263"/>
                  </a:moveTo>
                  <a:cubicBezTo>
                    <a:pt x="2870" y="263"/>
                    <a:pt x="2871" y="266"/>
                    <a:pt x="2876" y="265"/>
                  </a:cubicBezTo>
                  <a:cubicBezTo>
                    <a:pt x="2877" y="269"/>
                    <a:pt x="2861" y="270"/>
                    <a:pt x="2865" y="263"/>
                  </a:cubicBezTo>
                  <a:close/>
                  <a:moveTo>
                    <a:pt x="2865" y="230"/>
                  </a:moveTo>
                  <a:cubicBezTo>
                    <a:pt x="2876" y="227"/>
                    <a:pt x="2872" y="238"/>
                    <a:pt x="2878" y="239"/>
                  </a:cubicBezTo>
                  <a:cubicBezTo>
                    <a:pt x="2877" y="243"/>
                    <a:pt x="2872" y="241"/>
                    <a:pt x="2873" y="237"/>
                  </a:cubicBezTo>
                  <a:cubicBezTo>
                    <a:pt x="2865" y="239"/>
                    <a:pt x="2875" y="246"/>
                    <a:pt x="2879" y="246"/>
                  </a:cubicBezTo>
                  <a:cubicBezTo>
                    <a:pt x="2876" y="250"/>
                    <a:pt x="2877" y="256"/>
                    <a:pt x="2868" y="254"/>
                  </a:cubicBezTo>
                  <a:cubicBezTo>
                    <a:pt x="2866" y="252"/>
                    <a:pt x="2873" y="249"/>
                    <a:pt x="2873" y="249"/>
                  </a:cubicBezTo>
                  <a:cubicBezTo>
                    <a:pt x="2873" y="246"/>
                    <a:pt x="2869" y="248"/>
                    <a:pt x="2867" y="247"/>
                  </a:cubicBezTo>
                  <a:cubicBezTo>
                    <a:pt x="2867" y="246"/>
                    <a:pt x="2868" y="243"/>
                    <a:pt x="2867" y="242"/>
                  </a:cubicBezTo>
                  <a:cubicBezTo>
                    <a:pt x="2866" y="241"/>
                    <a:pt x="2863" y="237"/>
                    <a:pt x="2865" y="230"/>
                  </a:cubicBezTo>
                  <a:close/>
                  <a:moveTo>
                    <a:pt x="2862" y="247"/>
                  </a:moveTo>
                  <a:cubicBezTo>
                    <a:pt x="2860" y="251"/>
                    <a:pt x="2859" y="245"/>
                    <a:pt x="2859" y="242"/>
                  </a:cubicBezTo>
                  <a:cubicBezTo>
                    <a:pt x="2851" y="239"/>
                    <a:pt x="2866" y="240"/>
                    <a:pt x="2862" y="247"/>
                  </a:cubicBezTo>
                  <a:close/>
                  <a:moveTo>
                    <a:pt x="2869" y="193"/>
                  </a:moveTo>
                  <a:cubicBezTo>
                    <a:pt x="2871" y="190"/>
                    <a:pt x="2873" y="188"/>
                    <a:pt x="2869" y="188"/>
                  </a:cubicBezTo>
                  <a:cubicBezTo>
                    <a:pt x="2872" y="178"/>
                    <a:pt x="2881" y="196"/>
                    <a:pt x="2869" y="193"/>
                  </a:cubicBezTo>
                  <a:close/>
                  <a:moveTo>
                    <a:pt x="2872" y="160"/>
                  </a:moveTo>
                  <a:cubicBezTo>
                    <a:pt x="2866" y="156"/>
                    <a:pt x="2868" y="160"/>
                    <a:pt x="2861" y="160"/>
                  </a:cubicBezTo>
                  <a:cubicBezTo>
                    <a:pt x="2860" y="158"/>
                    <a:pt x="2862" y="158"/>
                    <a:pt x="2863" y="157"/>
                  </a:cubicBezTo>
                  <a:cubicBezTo>
                    <a:pt x="2863" y="155"/>
                    <a:pt x="2860" y="156"/>
                    <a:pt x="2858" y="155"/>
                  </a:cubicBezTo>
                  <a:cubicBezTo>
                    <a:pt x="2859" y="147"/>
                    <a:pt x="2872" y="152"/>
                    <a:pt x="2872" y="160"/>
                  </a:cubicBezTo>
                  <a:close/>
                  <a:moveTo>
                    <a:pt x="2705" y="221"/>
                  </a:moveTo>
                  <a:cubicBezTo>
                    <a:pt x="2707" y="221"/>
                    <a:pt x="2709" y="221"/>
                    <a:pt x="2711" y="221"/>
                  </a:cubicBezTo>
                  <a:cubicBezTo>
                    <a:pt x="2711" y="223"/>
                    <a:pt x="2711" y="224"/>
                    <a:pt x="2711" y="226"/>
                  </a:cubicBezTo>
                  <a:cubicBezTo>
                    <a:pt x="2709" y="226"/>
                    <a:pt x="2707" y="226"/>
                    <a:pt x="2705" y="226"/>
                  </a:cubicBezTo>
                  <a:cubicBezTo>
                    <a:pt x="2705" y="224"/>
                    <a:pt x="2705" y="223"/>
                    <a:pt x="2705" y="221"/>
                  </a:cubicBezTo>
                  <a:close/>
                  <a:moveTo>
                    <a:pt x="2714" y="245"/>
                  </a:moveTo>
                  <a:cubicBezTo>
                    <a:pt x="2718" y="236"/>
                    <a:pt x="2706" y="240"/>
                    <a:pt x="2708" y="233"/>
                  </a:cubicBezTo>
                  <a:cubicBezTo>
                    <a:pt x="2713" y="233"/>
                    <a:pt x="2714" y="230"/>
                    <a:pt x="2719" y="230"/>
                  </a:cubicBezTo>
                  <a:cubicBezTo>
                    <a:pt x="2725" y="236"/>
                    <a:pt x="2714" y="241"/>
                    <a:pt x="2725" y="242"/>
                  </a:cubicBezTo>
                  <a:cubicBezTo>
                    <a:pt x="2724" y="245"/>
                    <a:pt x="2718" y="244"/>
                    <a:pt x="2714" y="245"/>
                  </a:cubicBezTo>
                  <a:close/>
                  <a:moveTo>
                    <a:pt x="2727" y="237"/>
                  </a:moveTo>
                  <a:cubicBezTo>
                    <a:pt x="2730" y="232"/>
                    <a:pt x="2734" y="229"/>
                    <a:pt x="2733" y="221"/>
                  </a:cubicBezTo>
                  <a:cubicBezTo>
                    <a:pt x="2743" y="224"/>
                    <a:pt x="2734" y="228"/>
                    <a:pt x="2738" y="235"/>
                  </a:cubicBezTo>
                  <a:cubicBezTo>
                    <a:pt x="2733" y="235"/>
                    <a:pt x="2733" y="238"/>
                    <a:pt x="2727" y="237"/>
                  </a:cubicBezTo>
                  <a:close/>
                  <a:moveTo>
                    <a:pt x="2733" y="242"/>
                  </a:moveTo>
                  <a:cubicBezTo>
                    <a:pt x="2735" y="244"/>
                    <a:pt x="2739" y="244"/>
                    <a:pt x="2739" y="249"/>
                  </a:cubicBezTo>
                  <a:cubicBezTo>
                    <a:pt x="2731" y="250"/>
                    <a:pt x="2731" y="244"/>
                    <a:pt x="2730" y="240"/>
                  </a:cubicBezTo>
                  <a:cubicBezTo>
                    <a:pt x="2735" y="240"/>
                    <a:pt x="2736" y="237"/>
                    <a:pt x="2741" y="237"/>
                  </a:cubicBezTo>
                  <a:cubicBezTo>
                    <a:pt x="2743" y="242"/>
                    <a:pt x="2737" y="242"/>
                    <a:pt x="2733" y="242"/>
                  </a:cubicBezTo>
                  <a:close/>
                  <a:moveTo>
                    <a:pt x="2730" y="218"/>
                  </a:moveTo>
                  <a:cubicBezTo>
                    <a:pt x="2727" y="211"/>
                    <a:pt x="2747" y="206"/>
                    <a:pt x="2730" y="207"/>
                  </a:cubicBezTo>
                  <a:cubicBezTo>
                    <a:pt x="2729" y="198"/>
                    <a:pt x="2749" y="206"/>
                    <a:pt x="2751" y="199"/>
                  </a:cubicBezTo>
                  <a:cubicBezTo>
                    <a:pt x="2758" y="201"/>
                    <a:pt x="2748" y="208"/>
                    <a:pt x="2752" y="216"/>
                  </a:cubicBezTo>
                  <a:cubicBezTo>
                    <a:pt x="2746" y="217"/>
                    <a:pt x="2748" y="211"/>
                    <a:pt x="2743" y="211"/>
                  </a:cubicBezTo>
                  <a:cubicBezTo>
                    <a:pt x="2735" y="213"/>
                    <a:pt x="2750" y="215"/>
                    <a:pt x="2746" y="221"/>
                  </a:cubicBezTo>
                  <a:cubicBezTo>
                    <a:pt x="2741" y="218"/>
                    <a:pt x="2738" y="222"/>
                    <a:pt x="2730" y="218"/>
                  </a:cubicBezTo>
                  <a:close/>
                  <a:moveTo>
                    <a:pt x="2740" y="185"/>
                  </a:moveTo>
                  <a:cubicBezTo>
                    <a:pt x="2742" y="185"/>
                    <a:pt x="2744" y="185"/>
                    <a:pt x="2746" y="185"/>
                  </a:cubicBezTo>
                  <a:cubicBezTo>
                    <a:pt x="2746" y="187"/>
                    <a:pt x="2746" y="188"/>
                    <a:pt x="2746" y="190"/>
                  </a:cubicBezTo>
                  <a:cubicBezTo>
                    <a:pt x="2744" y="190"/>
                    <a:pt x="2742" y="190"/>
                    <a:pt x="2740" y="190"/>
                  </a:cubicBezTo>
                  <a:cubicBezTo>
                    <a:pt x="2740" y="189"/>
                    <a:pt x="2740" y="187"/>
                    <a:pt x="2740" y="185"/>
                  </a:cubicBezTo>
                  <a:close/>
                  <a:moveTo>
                    <a:pt x="2755" y="242"/>
                  </a:moveTo>
                  <a:cubicBezTo>
                    <a:pt x="2751" y="242"/>
                    <a:pt x="2748" y="242"/>
                    <a:pt x="2744" y="242"/>
                  </a:cubicBezTo>
                  <a:cubicBezTo>
                    <a:pt x="2743" y="237"/>
                    <a:pt x="2751" y="238"/>
                    <a:pt x="2749" y="239"/>
                  </a:cubicBezTo>
                  <a:cubicBezTo>
                    <a:pt x="2755" y="235"/>
                    <a:pt x="2752" y="229"/>
                    <a:pt x="2763" y="230"/>
                  </a:cubicBezTo>
                  <a:cubicBezTo>
                    <a:pt x="2766" y="238"/>
                    <a:pt x="2750" y="231"/>
                    <a:pt x="2755" y="242"/>
                  </a:cubicBezTo>
                  <a:close/>
                  <a:moveTo>
                    <a:pt x="2763" y="248"/>
                  </a:moveTo>
                  <a:cubicBezTo>
                    <a:pt x="2760" y="248"/>
                    <a:pt x="2761" y="244"/>
                    <a:pt x="2760" y="241"/>
                  </a:cubicBezTo>
                  <a:cubicBezTo>
                    <a:pt x="2763" y="241"/>
                    <a:pt x="2766" y="241"/>
                    <a:pt x="2769" y="241"/>
                  </a:cubicBezTo>
                  <a:cubicBezTo>
                    <a:pt x="2768" y="244"/>
                    <a:pt x="2764" y="245"/>
                    <a:pt x="2763" y="248"/>
                  </a:cubicBezTo>
                  <a:close/>
                  <a:moveTo>
                    <a:pt x="2771" y="222"/>
                  </a:moveTo>
                  <a:cubicBezTo>
                    <a:pt x="2784" y="224"/>
                    <a:pt x="2769" y="237"/>
                    <a:pt x="2771" y="222"/>
                  </a:cubicBezTo>
                  <a:close/>
                  <a:moveTo>
                    <a:pt x="2777" y="262"/>
                  </a:moveTo>
                  <a:cubicBezTo>
                    <a:pt x="2771" y="261"/>
                    <a:pt x="2775" y="250"/>
                    <a:pt x="2777" y="248"/>
                  </a:cubicBezTo>
                  <a:cubicBezTo>
                    <a:pt x="2783" y="249"/>
                    <a:pt x="2779" y="261"/>
                    <a:pt x="2777" y="262"/>
                  </a:cubicBezTo>
                  <a:close/>
                  <a:moveTo>
                    <a:pt x="2782" y="236"/>
                  </a:moveTo>
                  <a:cubicBezTo>
                    <a:pt x="2781" y="236"/>
                    <a:pt x="2779" y="236"/>
                    <a:pt x="2777" y="237"/>
                  </a:cubicBezTo>
                  <a:cubicBezTo>
                    <a:pt x="2777" y="234"/>
                    <a:pt x="2776" y="234"/>
                    <a:pt x="2774" y="234"/>
                  </a:cubicBezTo>
                  <a:cubicBezTo>
                    <a:pt x="2773" y="230"/>
                    <a:pt x="2786" y="231"/>
                    <a:pt x="2782" y="236"/>
                  </a:cubicBezTo>
                  <a:close/>
                  <a:moveTo>
                    <a:pt x="2794" y="269"/>
                  </a:moveTo>
                  <a:cubicBezTo>
                    <a:pt x="2794" y="268"/>
                    <a:pt x="2794" y="266"/>
                    <a:pt x="2794" y="264"/>
                  </a:cubicBezTo>
                  <a:cubicBezTo>
                    <a:pt x="2796" y="264"/>
                    <a:pt x="2797" y="264"/>
                    <a:pt x="2799" y="264"/>
                  </a:cubicBezTo>
                  <a:cubicBezTo>
                    <a:pt x="2799" y="266"/>
                    <a:pt x="2799" y="267"/>
                    <a:pt x="2799" y="269"/>
                  </a:cubicBezTo>
                  <a:cubicBezTo>
                    <a:pt x="2798" y="269"/>
                    <a:pt x="2796" y="269"/>
                    <a:pt x="2794" y="269"/>
                  </a:cubicBezTo>
                  <a:close/>
                  <a:moveTo>
                    <a:pt x="2807" y="259"/>
                  </a:moveTo>
                  <a:cubicBezTo>
                    <a:pt x="2804" y="256"/>
                    <a:pt x="2796" y="257"/>
                    <a:pt x="2796" y="250"/>
                  </a:cubicBezTo>
                  <a:cubicBezTo>
                    <a:pt x="2804" y="253"/>
                    <a:pt x="2809" y="244"/>
                    <a:pt x="2799" y="245"/>
                  </a:cubicBezTo>
                  <a:cubicBezTo>
                    <a:pt x="2799" y="242"/>
                    <a:pt x="2806" y="238"/>
                    <a:pt x="2804" y="245"/>
                  </a:cubicBezTo>
                  <a:cubicBezTo>
                    <a:pt x="2808" y="245"/>
                    <a:pt x="2809" y="246"/>
                    <a:pt x="2810" y="248"/>
                  </a:cubicBezTo>
                  <a:cubicBezTo>
                    <a:pt x="2819" y="247"/>
                    <a:pt x="2802" y="239"/>
                    <a:pt x="2815" y="241"/>
                  </a:cubicBezTo>
                  <a:cubicBezTo>
                    <a:pt x="2815" y="245"/>
                    <a:pt x="2815" y="250"/>
                    <a:pt x="2816" y="255"/>
                  </a:cubicBezTo>
                  <a:cubicBezTo>
                    <a:pt x="2810" y="254"/>
                    <a:pt x="2807" y="255"/>
                    <a:pt x="2807" y="259"/>
                  </a:cubicBezTo>
                  <a:close/>
                  <a:moveTo>
                    <a:pt x="2810" y="231"/>
                  </a:moveTo>
                  <a:cubicBezTo>
                    <a:pt x="2809" y="234"/>
                    <a:pt x="2806" y="236"/>
                    <a:pt x="2801" y="236"/>
                  </a:cubicBezTo>
                  <a:cubicBezTo>
                    <a:pt x="2800" y="231"/>
                    <a:pt x="2805" y="232"/>
                    <a:pt x="2810" y="231"/>
                  </a:cubicBezTo>
                  <a:close/>
                  <a:moveTo>
                    <a:pt x="2824" y="259"/>
                  </a:moveTo>
                  <a:cubicBezTo>
                    <a:pt x="2834" y="255"/>
                    <a:pt x="2826" y="267"/>
                    <a:pt x="2832" y="266"/>
                  </a:cubicBezTo>
                  <a:cubicBezTo>
                    <a:pt x="2830" y="272"/>
                    <a:pt x="2821" y="265"/>
                    <a:pt x="2824" y="259"/>
                  </a:cubicBezTo>
                  <a:close/>
                  <a:moveTo>
                    <a:pt x="2838" y="268"/>
                  </a:moveTo>
                  <a:cubicBezTo>
                    <a:pt x="2838" y="267"/>
                    <a:pt x="2838" y="265"/>
                    <a:pt x="2838" y="264"/>
                  </a:cubicBezTo>
                  <a:cubicBezTo>
                    <a:pt x="2840" y="264"/>
                    <a:pt x="2841" y="264"/>
                    <a:pt x="2843" y="264"/>
                  </a:cubicBezTo>
                  <a:cubicBezTo>
                    <a:pt x="2843" y="265"/>
                    <a:pt x="2843" y="267"/>
                    <a:pt x="2843" y="268"/>
                  </a:cubicBezTo>
                  <a:cubicBezTo>
                    <a:pt x="2841" y="268"/>
                    <a:pt x="2840" y="268"/>
                    <a:pt x="2838" y="268"/>
                  </a:cubicBezTo>
                  <a:close/>
                  <a:moveTo>
                    <a:pt x="2833" y="163"/>
                  </a:moveTo>
                  <a:cubicBezTo>
                    <a:pt x="2839" y="163"/>
                    <a:pt x="2835" y="173"/>
                    <a:pt x="2836" y="177"/>
                  </a:cubicBezTo>
                  <a:cubicBezTo>
                    <a:pt x="2840" y="176"/>
                    <a:pt x="2838" y="171"/>
                    <a:pt x="2839" y="167"/>
                  </a:cubicBezTo>
                  <a:cubicBezTo>
                    <a:pt x="2849" y="167"/>
                    <a:pt x="2846" y="180"/>
                    <a:pt x="2850" y="186"/>
                  </a:cubicBezTo>
                  <a:cubicBezTo>
                    <a:pt x="2845" y="186"/>
                    <a:pt x="2847" y="192"/>
                    <a:pt x="2839" y="191"/>
                  </a:cubicBezTo>
                  <a:cubicBezTo>
                    <a:pt x="2838" y="181"/>
                    <a:pt x="2852" y="178"/>
                    <a:pt x="2833" y="179"/>
                  </a:cubicBezTo>
                  <a:cubicBezTo>
                    <a:pt x="2836" y="171"/>
                    <a:pt x="2827" y="168"/>
                    <a:pt x="2833" y="163"/>
                  </a:cubicBezTo>
                  <a:close/>
                  <a:moveTo>
                    <a:pt x="2850" y="198"/>
                  </a:moveTo>
                  <a:cubicBezTo>
                    <a:pt x="2847" y="202"/>
                    <a:pt x="2834" y="210"/>
                    <a:pt x="2834" y="198"/>
                  </a:cubicBezTo>
                  <a:cubicBezTo>
                    <a:pt x="2843" y="200"/>
                    <a:pt x="2845" y="193"/>
                    <a:pt x="2850" y="198"/>
                  </a:cubicBezTo>
                  <a:close/>
                  <a:moveTo>
                    <a:pt x="2836" y="191"/>
                  </a:moveTo>
                  <a:cubicBezTo>
                    <a:pt x="2834" y="190"/>
                    <a:pt x="2834" y="192"/>
                    <a:pt x="2834" y="193"/>
                  </a:cubicBezTo>
                  <a:cubicBezTo>
                    <a:pt x="2830" y="193"/>
                    <a:pt x="2831" y="189"/>
                    <a:pt x="2831" y="186"/>
                  </a:cubicBezTo>
                  <a:cubicBezTo>
                    <a:pt x="2835" y="185"/>
                    <a:pt x="2836" y="188"/>
                    <a:pt x="2836" y="191"/>
                  </a:cubicBezTo>
                  <a:close/>
                  <a:moveTo>
                    <a:pt x="2825" y="175"/>
                  </a:moveTo>
                  <a:cubicBezTo>
                    <a:pt x="2831" y="176"/>
                    <a:pt x="2831" y="178"/>
                    <a:pt x="2828" y="182"/>
                  </a:cubicBezTo>
                  <a:cubicBezTo>
                    <a:pt x="2826" y="182"/>
                    <a:pt x="2824" y="182"/>
                    <a:pt x="2822" y="182"/>
                  </a:cubicBezTo>
                  <a:cubicBezTo>
                    <a:pt x="2822" y="178"/>
                    <a:pt x="2825" y="178"/>
                    <a:pt x="2825" y="175"/>
                  </a:cubicBezTo>
                  <a:close/>
                  <a:moveTo>
                    <a:pt x="2812" y="184"/>
                  </a:moveTo>
                  <a:cubicBezTo>
                    <a:pt x="2823" y="185"/>
                    <a:pt x="2812" y="190"/>
                    <a:pt x="2817" y="196"/>
                  </a:cubicBezTo>
                  <a:cubicBezTo>
                    <a:pt x="2808" y="198"/>
                    <a:pt x="2813" y="189"/>
                    <a:pt x="2812" y="184"/>
                  </a:cubicBezTo>
                  <a:close/>
                  <a:moveTo>
                    <a:pt x="2801" y="182"/>
                  </a:moveTo>
                  <a:cubicBezTo>
                    <a:pt x="2802" y="182"/>
                    <a:pt x="2804" y="182"/>
                    <a:pt x="2806" y="182"/>
                  </a:cubicBezTo>
                  <a:cubicBezTo>
                    <a:pt x="2806" y="184"/>
                    <a:pt x="2807" y="184"/>
                    <a:pt x="2809" y="184"/>
                  </a:cubicBezTo>
                  <a:cubicBezTo>
                    <a:pt x="2809" y="187"/>
                    <a:pt x="2805" y="186"/>
                    <a:pt x="2803" y="187"/>
                  </a:cubicBezTo>
                  <a:cubicBezTo>
                    <a:pt x="2805" y="189"/>
                    <a:pt x="2806" y="190"/>
                    <a:pt x="2806" y="194"/>
                  </a:cubicBezTo>
                  <a:cubicBezTo>
                    <a:pt x="2795" y="194"/>
                    <a:pt x="2799" y="188"/>
                    <a:pt x="2801" y="182"/>
                  </a:cubicBezTo>
                  <a:close/>
                  <a:moveTo>
                    <a:pt x="2801" y="215"/>
                  </a:moveTo>
                  <a:cubicBezTo>
                    <a:pt x="2811" y="212"/>
                    <a:pt x="2811" y="209"/>
                    <a:pt x="2820" y="215"/>
                  </a:cubicBezTo>
                  <a:cubicBezTo>
                    <a:pt x="2823" y="214"/>
                    <a:pt x="2822" y="212"/>
                    <a:pt x="2823" y="210"/>
                  </a:cubicBezTo>
                  <a:cubicBezTo>
                    <a:pt x="2822" y="208"/>
                    <a:pt x="2811" y="204"/>
                    <a:pt x="2812" y="208"/>
                  </a:cubicBezTo>
                  <a:cubicBezTo>
                    <a:pt x="2803" y="206"/>
                    <a:pt x="2815" y="203"/>
                    <a:pt x="2815" y="201"/>
                  </a:cubicBezTo>
                  <a:cubicBezTo>
                    <a:pt x="2815" y="197"/>
                    <a:pt x="2827" y="197"/>
                    <a:pt x="2831" y="198"/>
                  </a:cubicBezTo>
                  <a:cubicBezTo>
                    <a:pt x="2830" y="200"/>
                    <a:pt x="2826" y="200"/>
                    <a:pt x="2826" y="203"/>
                  </a:cubicBezTo>
                  <a:cubicBezTo>
                    <a:pt x="2825" y="206"/>
                    <a:pt x="2831" y="204"/>
                    <a:pt x="2831" y="205"/>
                  </a:cubicBezTo>
                  <a:cubicBezTo>
                    <a:pt x="2832" y="206"/>
                    <a:pt x="2825" y="218"/>
                    <a:pt x="2840" y="214"/>
                  </a:cubicBezTo>
                  <a:cubicBezTo>
                    <a:pt x="2843" y="212"/>
                    <a:pt x="2844" y="207"/>
                    <a:pt x="2853" y="209"/>
                  </a:cubicBezTo>
                  <a:cubicBezTo>
                    <a:pt x="2846" y="218"/>
                    <a:pt x="2842" y="225"/>
                    <a:pt x="2845" y="238"/>
                  </a:cubicBezTo>
                  <a:cubicBezTo>
                    <a:pt x="2842" y="238"/>
                    <a:pt x="2838" y="238"/>
                    <a:pt x="2834" y="238"/>
                  </a:cubicBezTo>
                  <a:cubicBezTo>
                    <a:pt x="2835" y="235"/>
                    <a:pt x="2839" y="236"/>
                    <a:pt x="2843" y="235"/>
                  </a:cubicBezTo>
                  <a:cubicBezTo>
                    <a:pt x="2844" y="230"/>
                    <a:pt x="2837" y="232"/>
                    <a:pt x="2837" y="228"/>
                  </a:cubicBezTo>
                  <a:cubicBezTo>
                    <a:pt x="2835" y="223"/>
                    <a:pt x="2841" y="225"/>
                    <a:pt x="2842" y="224"/>
                  </a:cubicBezTo>
                  <a:cubicBezTo>
                    <a:pt x="2844" y="222"/>
                    <a:pt x="2842" y="218"/>
                    <a:pt x="2845" y="219"/>
                  </a:cubicBezTo>
                  <a:cubicBezTo>
                    <a:pt x="2844" y="215"/>
                    <a:pt x="2842" y="220"/>
                    <a:pt x="2837" y="219"/>
                  </a:cubicBezTo>
                  <a:cubicBezTo>
                    <a:pt x="2838" y="215"/>
                    <a:pt x="2821" y="215"/>
                    <a:pt x="2826" y="222"/>
                  </a:cubicBezTo>
                  <a:cubicBezTo>
                    <a:pt x="2820" y="218"/>
                    <a:pt x="2816" y="223"/>
                    <a:pt x="2812" y="222"/>
                  </a:cubicBezTo>
                  <a:cubicBezTo>
                    <a:pt x="2811" y="221"/>
                    <a:pt x="2813" y="216"/>
                    <a:pt x="2809" y="217"/>
                  </a:cubicBezTo>
                  <a:cubicBezTo>
                    <a:pt x="2806" y="218"/>
                    <a:pt x="2807" y="221"/>
                    <a:pt x="2807" y="224"/>
                  </a:cubicBezTo>
                  <a:cubicBezTo>
                    <a:pt x="2800" y="225"/>
                    <a:pt x="2804" y="217"/>
                    <a:pt x="2798" y="217"/>
                  </a:cubicBezTo>
                  <a:cubicBezTo>
                    <a:pt x="2788" y="223"/>
                    <a:pt x="2807" y="240"/>
                    <a:pt x="2791" y="239"/>
                  </a:cubicBezTo>
                  <a:cubicBezTo>
                    <a:pt x="2791" y="237"/>
                    <a:pt x="2787" y="236"/>
                    <a:pt x="2788" y="234"/>
                  </a:cubicBezTo>
                  <a:cubicBezTo>
                    <a:pt x="2788" y="233"/>
                    <a:pt x="2793" y="232"/>
                    <a:pt x="2793" y="231"/>
                  </a:cubicBezTo>
                  <a:cubicBezTo>
                    <a:pt x="2793" y="227"/>
                    <a:pt x="2787" y="225"/>
                    <a:pt x="2790" y="217"/>
                  </a:cubicBezTo>
                  <a:cubicBezTo>
                    <a:pt x="2788" y="219"/>
                    <a:pt x="2783" y="219"/>
                    <a:pt x="2782" y="222"/>
                  </a:cubicBezTo>
                  <a:cubicBezTo>
                    <a:pt x="2777" y="220"/>
                    <a:pt x="2776" y="213"/>
                    <a:pt x="2771" y="211"/>
                  </a:cubicBezTo>
                  <a:cubicBezTo>
                    <a:pt x="2773" y="206"/>
                    <a:pt x="2776" y="210"/>
                    <a:pt x="2779" y="211"/>
                  </a:cubicBezTo>
                  <a:cubicBezTo>
                    <a:pt x="2776" y="203"/>
                    <a:pt x="2777" y="201"/>
                    <a:pt x="2782" y="196"/>
                  </a:cubicBezTo>
                  <a:cubicBezTo>
                    <a:pt x="2789" y="200"/>
                    <a:pt x="2782" y="211"/>
                    <a:pt x="2779" y="213"/>
                  </a:cubicBezTo>
                  <a:cubicBezTo>
                    <a:pt x="2780" y="219"/>
                    <a:pt x="2801" y="204"/>
                    <a:pt x="2793" y="215"/>
                  </a:cubicBezTo>
                  <a:cubicBezTo>
                    <a:pt x="2795" y="214"/>
                    <a:pt x="2798" y="213"/>
                    <a:pt x="2798" y="210"/>
                  </a:cubicBezTo>
                  <a:cubicBezTo>
                    <a:pt x="2798" y="208"/>
                    <a:pt x="2793" y="208"/>
                    <a:pt x="2790" y="208"/>
                  </a:cubicBezTo>
                  <a:cubicBezTo>
                    <a:pt x="2790" y="204"/>
                    <a:pt x="2790" y="200"/>
                    <a:pt x="2790" y="196"/>
                  </a:cubicBezTo>
                  <a:cubicBezTo>
                    <a:pt x="2807" y="195"/>
                    <a:pt x="2808" y="206"/>
                    <a:pt x="2801" y="215"/>
                  </a:cubicBezTo>
                  <a:close/>
                  <a:moveTo>
                    <a:pt x="2781" y="180"/>
                  </a:moveTo>
                  <a:cubicBezTo>
                    <a:pt x="2794" y="180"/>
                    <a:pt x="2782" y="188"/>
                    <a:pt x="2784" y="194"/>
                  </a:cubicBezTo>
                  <a:cubicBezTo>
                    <a:pt x="2778" y="194"/>
                    <a:pt x="2783" y="184"/>
                    <a:pt x="2781" y="180"/>
                  </a:cubicBezTo>
                  <a:close/>
                  <a:moveTo>
                    <a:pt x="2797" y="159"/>
                  </a:moveTo>
                  <a:cubicBezTo>
                    <a:pt x="2802" y="154"/>
                    <a:pt x="2797" y="156"/>
                    <a:pt x="2797" y="149"/>
                  </a:cubicBezTo>
                  <a:cubicBezTo>
                    <a:pt x="2803" y="148"/>
                    <a:pt x="2807" y="161"/>
                    <a:pt x="2797" y="159"/>
                  </a:cubicBezTo>
                  <a:close/>
                  <a:moveTo>
                    <a:pt x="2792" y="177"/>
                  </a:moveTo>
                  <a:cubicBezTo>
                    <a:pt x="2805" y="179"/>
                    <a:pt x="2790" y="192"/>
                    <a:pt x="2792" y="177"/>
                  </a:cubicBezTo>
                  <a:close/>
                  <a:moveTo>
                    <a:pt x="2784" y="149"/>
                  </a:moveTo>
                  <a:cubicBezTo>
                    <a:pt x="2786" y="149"/>
                    <a:pt x="2786" y="152"/>
                    <a:pt x="2786" y="154"/>
                  </a:cubicBezTo>
                  <a:cubicBezTo>
                    <a:pt x="2790" y="154"/>
                    <a:pt x="2791" y="153"/>
                    <a:pt x="2792" y="152"/>
                  </a:cubicBezTo>
                  <a:cubicBezTo>
                    <a:pt x="2802" y="156"/>
                    <a:pt x="2784" y="157"/>
                    <a:pt x="2778" y="157"/>
                  </a:cubicBezTo>
                  <a:cubicBezTo>
                    <a:pt x="2779" y="153"/>
                    <a:pt x="2783" y="153"/>
                    <a:pt x="2784" y="149"/>
                  </a:cubicBezTo>
                  <a:close/>
                  <a:moveTo>
                    <a:pt x="2776" y="166"/>
                  </a:moveTo>
                  <a:cubicBezTo>
                    <a:pt x="2779" y="167"/>
                    <a:pt x="2778" y="171"/>
                    <a:pt x="2781" y="171"/>
                  </a:cubicBezTo>
                  <a:cubicBezTo>
                    <a:pt x="2780" y="177"/>
                    <a:pt x="2772" y="171"/>
                    <a:pt x="2776" y="166"/>
                  </a:cubicBezTo>
                  <a:close/>
                  <a:moveTo>
                    <a:pt x="2770" y="175"/>
                  </a:moveTo>
                  <a:cubicBezTo>
                    <a:pt x="2770" y="178"/>
                    <a:pt x="2774" y="177"/>
                    <a:pt x="2776" y="178"/>
                  </a:cubicBezTo>
                  <a:cubicBezTo>
                    <a:pt x="2774" y="181"/>
                    <a:pt x="2779" y="190"/>
                    <a:pt x="2773" y="190"/>
                  </a:cubicBezTo>
                  <a:cubicBezTo>
                    <a:pt x="2773" y="203"/>
                    <a:pt x="2772" y="201"/>
                    <a:pt x="2768" y="211"/>
                  </a:cubicBezTo>
                  <a:cubicBezTo>
                    <a:pt x="2769" y="213"/>
                    <a:pt x="2771" y="215"/>
                    <a:pt x="2774" y="215"/>
                  </a:cubicBezTo>
                  <a:cubicBezTo>
                    <a:pt x="2773" y="218"/>
                    <a:pt x="2768" y="217"/>
                    <a:pt x="2768" y="220"/>
                  </a:cubicBezTo>
                  <a:cubicBezTo>
                    <a:pt x="2764" y="220"/>
                    <a:pt x="2767" y="213"/>
                    <a:pt x="2763" y="213"/>
                  </a:cubicBezTo>
                  <a:cubicBezTo>
                    <a:pt x="2753" y="215"/>
                    <a:pt x="2764" y="220"/>
                    <a:pt x="2757" y="225"/>
                  </a:cubicBezTo>
                  <a:cubicBezTo>
                    <a:pt x="2755" y="224"/>
                    <a:pt x="2752" y="223"/>
                    <a:pt x="2752" y="220"/>
                  </a:cubicBezTo>
                  <a:cubicBezTo>
                    <a:pt x="2752" y="218"/>
                    <a:pt x="2757" y="217"/>
                    <a:pt x="2757" y="216"/>
                  </a:cubicBezTo>
                  <a:cubicBezTo>
                    <a:pt x="2759" y="209"/>
                    <a:pt x="2756" y="199"/>
                    <a:pt x="2768" y="201"/>
                  </a:cubicBezTo>
                  <a:cubicBezTo>
                    <a:pt x="2762" y="195"/>
                    <a:pt x="2768" y="193"/>
                    <a:pt x="2768" y="183"/>
                  </a:cubicBezTo>
                  <a:cubicBezTo>
                    <a:pt x="2768" y="182"/>
                    <a:pt x="2768" y="178"/>
                    <a:pt x="2768" y="178"/>
                  </a:cubicBezTo>
                  <a:cubicBezTo>
                    <a:pt x="2767" y="178"/>
                    <a:pt x="2765" y="178"/>
                    <a:pt x="2765" y="178"/>
                  </a:cubicBezTo>
                  <a:cubicBezTo>
                    <a:pt x="2765" y="177"/>
                    <a:pt x="2767" y="175"/>
                    <a:pt x="2768" y="176"/>
                  </a:cubicBezTo>
                  <a:cubicBezTo>
                    <a:pt x="2767" y="174"/>
                    <a:pt x="2762" y="171"/>
                    <a:pt x="2762" y="171"/>
                  </a:cubicBezTo>
                  <a:cubicBezTo>
                    <a:pt x="2761" y="167"/>
                    <a:pt x="2764" y="167"/>
                    <a:pt x="2765" y="164"/>
                  </a:cubicBezTo>
                  <a:cubicBezTo>
                    <a:pt x="2765" y="159"/>
                    <a:pt x="2762" y="157"/>
                    <a:pt x="2762" y="152"/>
                  </a:cubicBezTo>
                  <a:cubicBezTo>
                    <a:pt x="2775" y="151"/>
                    <a:pt x="2768" y="167"/>
                    <a:pt x="2770" y="175"/>
                  </a:cubicBezTo>
                  <a:close/>
                  <a:moveTo>
                    <a:pt x="2757" y="185"/>
                  </a:moveTo>
                  <a:cubicBezTo>
                    <a:pt x="2768" y="184"/>
                    <a:pt x="2759" y="193"/>
                    <a:pt x="2760" y="197"/>
                  </a:cubicBezTo>
                  <a:cubicBezTo>
                    <a:pt x="2754" y="197"/>
                    <a:pt x="2758" y="189"/>
                    <a:pt x="2757" y="185"/>
                  </a:cubicBezTo>
                  <a:close/>
                  <a:moveTo>
                    <a:pt x="2734" y="153"/>
                  </a:moveTo>
                  <a:cubicBezTo>
                    <a:pt x="2748" y="151"/>
                    <a:pt x="2748" y="152"/>
                    <a:pt x="2759" y="150"/>
                  </a:cubicBezTo>
                  <a:cubicBezTo>
                    <a:pt x="2757" y="157"/>
                    <a:pt x="2761" y="159"/>
                    <a:pt x="2759" y="164"/>
                  </a:cubicBezTo>
                  <a:cubicBezTo>
                    <a:pt x="2759" y="164"/>
                    <a:pt x="2755" y="161"/>
                    <a:pt x="2754" y="162"/>
                  </a:cubicBezTo>
                  <a:cubicBezTo>
                    <a:pt x="2752" y="162"/>
                    <a:pt x="2749" y="168"/>
                    <a:pt x="2756" y="169"/>
                  </a:cubicBezTo>
                  <a:cubicBezTo>
                    <a:pt x="2754" y="171"/>
                    <a:pt x="2739" y="181"/>
                    <a:pt x="2751" y="181"/>
                  </a:cubicBezTo>
                  <a:cubicBezTo>
                    <a:pt x="2761" y="181"/>
                    <a:pt x="2743" y="187"/>
                    <a:pt x="2746" y="181"/>
                  </a:cubicBezTo>
                  <a:cubicBezTo>
                    <a:pt x="2739" y="181"/>
                    <a:pt x="2737" y="185"/>
                    <a:pt x="2732" y="181"/>
                  </a:cubicBezTo>
                  <a:cubicBezTo>
                    <a:pt x="2734" y="177"/>
                    <a:pt x="2741" y="177"/>
                    <a:pt x="2746" y="176"/>
                  </a:cubicBezTo>
                  <a:cubicBezTo>
                    <a:pt x="2743" y="172"/>
                    <a:pt x="2754" y="168"/>
                    <a:pt x="2745" y="166"/>
                  </a:cubicBezTo>
                  <a:cubicBezTo>
                    <a:pt x="2748" y="164"/>
                    <a:pt x="2751" y="162"/>
                    <a:pt x="2754" y="159"/>
                  </a:cubicBezTo>
                  <a:cubicBezTo>
                    <a:pt x="2751" y="151"/>
                    <a:pt x="2737" y="166"/>
                    <a:pt x="2740" y="155"/>
                  </a:cubicBezTo>
                  <a:cubicBezTo>
                    <a:pt x="2736" y="156"/>
                    <a:pt x="2733" y="159"/>
                    <a:pt x="2732" y="162"/>
                  </a:cubicBezTo>
                  <a:cubicBezTo>
                    <a:pt x="2723" y="160"/>
                    <a:pt x="2735" y="156"/>
                    <a:pt x="2734" y="153"/>
                  </a:cubicBezTo>
                  <a:close/>
                  <a:moveTo>
                    <a:pt x="2724" y="169"/>
                  </a:moveTo>
                  <a:cubicBezTo>
                    <a:pt x="2728" y="170"/>
                    <a:pt x="2729" y="167"/>
                    <a:pt x="2729" y="164"/>
                  </a:cubicBezTo>
                  <a:cubicBezTo>
                    <a:pt x="2734" y="165"/>
                    <a:pt x="2735" y="161"/>
                    <a:pt x="2740" y="162"/>
                  </a:cubicBezTo>
                  <a:cubicBezTo>
                    <a:pt x="2739" y="165"/>
                    <a:pt x="2741" y="166"/>
                    <a:pt x="2743" y="167"/>
                  </a:cubicBezTo>
                  <a:cubicBezTo>
                    <a:pt x="2740" y="170"/>
                    <a:pt x="2735" y="173"/>
                    <a:pt x="2732" y="176"/>
                  </a:cubicBezTo>
                  <a:cubicBezTo>
                    <a:pt x="2729" y="177"/>
                    <a:pt x="2730" y="172"/>
                    <a:pt x="2729" y="171"/>
                  </a:cubicBezTo>
                  <a:cubicBezTo>
                    <a:pt x="2725" y="170"/>
                    <a:pt x="2721" y="176"/>
                    <a:pt x="2715" y="172"/>
                  </a:cubicBezTo>
                  <a:cubicBezTo>
                    <a:pt x="2708" y="172"/>
                    <a:pt x="2719" y="176"/>
                    <a:pt x="2716" y="181"/>
                  </a:cubicBezTo>
                  <a:cubicBezTo>
                    <a:pt x="2705" y="180"/>
                    <a:pt x="2718" y="171"/>
                    <a:pt x="2704" y="172"/>
                  </a:cubicBezTo>
                  <a:cubicBezTo>
                    <a:pt x="2711" y="167"/>
                    <a:pt x="2699" y="160"/>
                    <a:pt x="2712" y="160"/>
                  </a:cubicBezTo>
                  <a:cubicBezTo>
                    <a:pt x="2711" y="166"/>
                    <a:pt x="2708" y="169"/>
                    <a:pt x="2718" y="169"/>
                  </a:cubicBezTo>
                  <a:cubicBezTo>
                    <a:pt x="2722" y="169"/>
                    <a:pt x="2722" y="149"/>
                    <a:pt x="2724" y="169"/>
                  </a:cubicBezTo>
                  <a:close/>
                  <a:moveTo>
                    <a:pt x="2701" y="151"/>
                  </a:moveTo>
                  <a:cubicBezTo>
                    <a:pt x="2704" y="148"/>
                    <a:pt x="2711" y="148"/>
                    <a:pt x="2718" y="148"/>
                  </a:cubicBezTo>
                  <a:cubicBezTo>
                    <a:pt x="2722" y="156"/>
                    <a:pt x="2700" y="160"/>
                    <a:pt x="2701" y="151"/>
                  </a:cubicBezTo>
                  <a:close/>
                  <a:moveTo>
                    <a:pt x="2699" y="203"/>
                  </a:moveTo>
                  <a:cubicBezTo>
                    <a:pt x="2699" y="198"/>
                    <a:pt x="2704" y="198"/>
                    <a:pt x="2705" y="193"/>
                  </a:cubicBezTo>
                  <a:cubicBezTo>
                    <a:pt x="2706" y="187"/>
                    <a:pt x="2702" y="187"/>
                    <a:pt x="2702" y="181"/>
                  </a:cubicBezTo>
                  <a:cubicBezTo>
                    <a:pt x="2717" y="180"/>
                    <a:pt x="2702" y="192"/>
                    <a:pt x="2710" y="195"/>
                  </a:cubicBezTo>
                  <a:cubicBezTo>
                    <a:pt x="2713" y="195"/>
                    <a:pt x="2712" y="193"/>
                    <a:pt x="2710" y="193"/>
                  </a:cubicBezTo>
                  <a:cubicBezTo>
                    <a:pt x="2712" y="190"/>
                    <a:pt x="2716" y="189"/>
                    <a:pt x="2721" y="188"/>
                  </a:cubicBezTo>
                  <a:cubicBezTo>
                    <a:pt x="2722" y="184"/>
                    <a:pt x="2718" y="176"/>
                    <a:pt x="2726" y="179"/>
                  </a:cubicBezTo>
                  <a:cubicBezTo>
                    <a:pt x="2723" y="186"/>
                    <a:pt x="2728" y="187"/>
                    <a:pt x="2727" y="197"/>
                  </a:cubicBezTo>
                  <a:cubicBezTo>
                    <a:pt x="2724" y="196"/>
                    <a:pt x="2723" y="193"/>
                    <a:pt x="2721" y="190"/>
                  </a:cubicBezTo>
                  <a:cubicBezTo>
                    <a:pt x="2713" y="192"/>
                    <a:pt x="2724" y="208"/>
                    <a:pt x="2727" y="200"/>
                  </a:cubicBezTo>
                  <a:cubicBezTo>
                    <a:pt x="2733" y="201"/>
                    <a:pt x="2724" y="203"/>
                    <a:pt x="2724" y="205"/>
                  </a:cubicBezTo>
                  <a:cubicBezTo>
                    <a:pt x="2723" y="210"/>
                    <a:pt x="2726" y="213"/>
                    <a:pt x="2727" y="219"/>
                  </a:cubicBezTo>
                  <a:cubicBezTo>
                    <a:pt x="2714" y="218"/>
                    <a:pt x="2724" y="222"/>
                    <a:pt x="2719" y="226"/>
                  </a:cubicBezTo>
                  <a:cubicBezTo>
                    <a:pt x="2711" y="223"/>
                    <a:pt x="2722" y="218"/>
                    <a:pt x="2719" y="212"/>
                  </a:cubicBezTo>
                  <a:cubicBezTo>
                    <a:pt x="2716" y="212"/>
                    <a:pt x="2717" y="215"/>
                    <a:pt x="2716" y="216"/>
                  </a:cubicBezTo>
                  <a:cubicBezTo>
                    <a:pt x="2714" y="215"/>
                    <a:pt x="2709" y="213"/>
                    <a:pt x="2708" y="217"/>
                  </a:cubicBezTo>
                  <a:cubicBezTo>
                    <a:pt x="2701" y="216"/>
                    <a:pt x="2703" y="210"/>
                    <a:pt x="2702" y="207"/>
                  </a:cubicBezTo>
                  <a:cubicBezTo>
                    <a:pt x="2702" y="205"/>
                    <a:pt x="2700" y="205"/>
                    <a:pt x="2699" y="203"/>
                  </a:cubicBezTo>
                  <a:close/>
                  <a:moveTo>
                    <a:pt x="2698" y="280"/>
                  </a:moveTo>
                  <a:cubicBezTo>
                    <a:pt x="2698" y="282"/>
                    <a:pt x="2698" y="283"/>
                    <a:pt x="2698" y="285"/>
                  </a:cubicBezTo>
                  <a:cubicBezTo>
                    <a:pt x="2696" y="285"/>
                    <a:pt x="2694" y="285"/>
                    <a:pt x="2693" y="285"/>
                  </a:cubicBezTo>
                  <a:cubicBezTo>
                    <a:pt x="2693" y="283"/>
                    <a:pt x="2693" y="282"/>
                    <a:pt x="2693" y="280"/>
                  </a:cubicBezTo>
                  <a:cubicBezTo>
                    <a:pt x="2694" y="280"/>
                    <a:pt x="2696" y="280"/>
                    <a:pt x="2698" y="280"/>
                  </a:cubicBezTo>
                  <a:close/>
                  <a:moveTo>
                    <a:pt x="2694" y="226"/>
                  </a:moveTo>
                  <a:cubicBezTo>
                    <a:pt x="2689" y="233"/>
                    <a:pt x="2695" y="245"/>
                    <a:pt x="2698" y="252"/>
                  </a:cubicBezTo>
                  <a:cubicBezTo>
                    <a:pt x="2695" y="259"/>
                    <a:pt x="2695" y="245"/>
                    <a:pt x="2689" y="247"/>
                  </a:cubicBezTo>
                  <a:cubicBezTo>
                    <a:pt x="2692" y="241"/>
                    <a:pt x="2683" y="225"/>
                    <a:pt x="2694" y="226"/>
                  </a:cubicBezTo>
                  <a:close/>
                  <a:moveTo>
                    <a:pt x="2695" y="259"/>
                  </a:moveTo>
                  <a:cubicBezTo>
                    <a:pt x="2695" y="264"/>
                    <a:pt x="2695" y="268"/>
                    <a:pt x="2695" y="273"/>
                  </a:cubicBezTo>
                  <a:cubicBezTo>
                    <a:pt x="2691" y="271"/>
                    <a:pt x="2689" y="267"/>
                    <a:pt x="2692" y="264"/>
                  </a:cubicBezTo>
                  <a:cubicBezTo>
                    <a:pt x="2682" y="261"/>
                    <a:pt x="2692" y="274"/>
                    <a:pt x="2681" y="271"/>
                  </a:cubicBezTo>
                  <a:cubicBezTo>
                    <a:pt x="2680" y="265"/>
                    <a:pt x="2686" y="266"/>
                    <a:pt x="2684" y="259"/>
                  </a:cubicBezTo>
                  <a:cubicBezTo>
                    <a:pt x="2688" y="259"/>
                    <a:pt x="2691" y="259"/>
                    <a:pt x="2695" y="259"/>
                  </a:cubicBezTo>
                  <a:close/>
                  <a:moveTo>
                    <a:pt x="2687" y="252"/>
                  </a:moveTo>
                  <a:cubicBezTo>
                    <a:pt x="2687" y="254"/>
                    <a:pt x="2687" y="255"/>
                    <a:pt x="2687" y="257"/>
                  </a:cubicBezTo>
                  <a:cubicBezTo>
                    <a:pt x="2685" y="257"/>
                    <a:pt x="2683" y="257"/>
                    <a:pt x="2681" y="257"/>
                  </a:cubicBezTo>
                  <a:cubicBezTo>
                    <a:pt x="2681" y="255"/>
                    <a:pt x="2681" y="254"/>
                    <a:pt x="2681" y="252"/>
                  </a:cubicBezTo>
                  <a:cubicBezTo>
                    <a:pt x="2683" y="252"/>
                    <a:pt x="2685" y="252"/>
                    <a:pt x="2687" y="252"/>
                  </a:cubicBezTo>
                  <a:close/>
                  <a:moveTo>
                    <a:pt x="2679" y="271"/>
                  </a:moveTo>
                  <a:cubicBezTo>
                    <a:pt x="2676" y="275"/>
                    <a:pt x="2674" y="279"/>
                    <a:pt x="2665" y="278"/>
                  </a:cubicBezTo>
                  <a:cubicBezTo>
                    <a:pt x="2667" y="276"/>
                    <a:pt x="2668" y="274"/>
                    <a:pt x="2665" y="274"/>
                  </a:cubicBezTo>
                  <a:cubicBezTo>
                    <a:pt x="2664" y="269"/>
                    <a:pt x="2675" y="272"/>
                    <a:pt x="2679" y="271"/>
                  </a:cubicBezTo>
                  <a:close/>
                  <a:moveTo>
                    <a:pt x="2673" y="259"/>
                  </a:moveTo>
                  <a:cubicBezTo>
                    <a:pt x="2671" y="262"/>
                    <a:pt x="2667" y="268"/>
                    <a:pt x="2676" y="266"/>
                  </a:cubicBezTo>
                  <a:cubicBezTo>
                    <a:pt x="2669" y="276"/>
                    <a:pt x="2657" y="258"/>
                    <a:pt x="2673" y="259"/>
                  </a:cubicBezTo>
                  <a:close/>
                  <a:moveTo>
                    <a:pt x="2676" y="255"/>
                  </a:moveTo>
                  <a:cubicBezTo>
                    <a:pt x="2673" y="253"/>
                    <a:pt x="2669" y="252"/>
                    <a:pt x="2665" y="253"/>
                  </a:cubicBezTo>
                  <a:cubicBezTo>
                    <a:pt x="2669" y="245"/>
                    <a:pt x="2664" y="243"/>
                    <a:pt x="2667" y="238"/>
                  </a:cubicBezTo>
                  <a:cubicBezTo>
                    <a:pt x="2673" y="239"/>
                    <a:pt x="2674" y="245"/>
                    <a:pt x="2670" y="248"/>
                  </a:cubicBezTo>
                  <a:cubicBezTo>
                    <a:pt x="2672" y="250"/>
                    <a:pt x="2676" y="250"/>
                    <a:pt x="2676" y="255"/>
                  </a:cubicBezTo>
                  <a:close/>
                  <a:moveTo>
                    <a:pt x="2672" y="234"/>
                  </a:moveTo>
                  <a:cubicBezTo>
                    <a:pt x="2665" y="242"/>
                    <a:pt x="2655" y="229"/>
                    <a:pt x="2672" y="234"/>
                  </a:cubicBezTo>
                  <a:close/>
                  <a:moveTo>
                    <a:pt x="2653" y="234"/>
                  </a:moveTo>
                  <a:cubicBezTo>
                    <a:pt x="2647" y="242"/>
                    <a:pt x="2642" y="226"/>
                    <a:pt x="2653" y="234"/>
                  </a:cubicBezTo>
                  <a:close/>
                  <a:moveTo>
                    <a:pt x="2674" y="8"/>
                  </a:moveTo>
                  <a:cubicBezTo>
                    <a:pt x="2674" y="13"/>
                    <a:pt x="2662" y="10"/>
                    <a:pt x="2660" y="8"/>
                  </a:cubicBezTo>
                  <a:cubicBezTo>
                    <a:pt x="2663" y="1"/>
                    <a:pt x="2669" y="9"/>
                    <a:pt x="2674" y="8"/>
                  </a:cubicBezTo>
                  <a:close/>
                  <a:moveTo>
                    <a:pt x="2646" y="124"/>
                  </a:moveTo>
                  <a:cubicBezTo>
                    <a:pt x="2655" y="127"/>
                    <a:pt x="2636" y="126"/>
                    <a:pt x="2632" y="126"/>
                  </a:cubicBezTo>
                  <a:cubicBezTo>
                    <a:pt x="2632" y="124"/>
                    <a:pt x="2636" y="124"/>
                    <a:pt x="2638" y="124"/>
                  </a:cubicBezTo>
                  <a:cubicBezTo>
                    <a:pt x="2636" y="122"/>
                    <a:pt x="2635" y="120"/>
                    <a:pt x="2632" y="119"/>
                  </a:cubicBezTo>
                  <a:cubicBezTo>
                    <a:pt x="2633" y="116"/>
                    <a:pt x="2639" y="117"/>
                    <a:pt x="2643" y="117"/>
                  </a:cubicBezTo>
                  <a:cubicBezTo>
                    <a:pt x="2643" y="119"/>
                    <a:pt x="2640" y="119"/>
                    <a:pt x="2640" y="121"/>
                  </a:cubicBezTo>
                  <a:cubicBezTo>
                    <a:pt x="2641" y="124"/>
                    <a:pt x="2644" y="123"/>
                    <a:pt x="2646" y="124"/>
                  </a:cubicBezTo>
                  <a:close/>
                  <a:moveTo>
                    <a:pt x="2640" y="100"/>
                  </a:moveTo>
                  <a:cubicBezTo>
                    <a:pt x="2639" y="103"/>
                    <a:pt x="2635" y="104"/>
                    <a:pt x="2635" y="107"/>
                  </a:cubicBezTo>
                  <a:cubicBezTo>
                    <a:pt x="2628" y="107"/>
                    <a:pt x="2634" y="98"/>
                    <a:pt x="2640" y="100"/>
                  </a:cubicBezTo>
                  <a:close/>
                  <a:moveTo>
                    <a:pt x="2626" y="103"/>
                  </a:moveTo>
                  <a:cubicBezTo>
                    <a:pt x="2622" y="104"/>
                    <a:pt x="2623" y="105"/>
                    <a:pt x="2618" y="103"/>
                  </a:cubicBezTo>
                  <a:cubicBezTo>
                    <a:pt x="2615" y="101"/>
                    <a:pt x="2634" y="100"/>
                    <a:pt x="2626" y="103"/>
                  </a:cubicBezTo>
                  <a:close/>
                  <a:moveTo>
                    <a:pt x="2618" y="82"/>
                  </a:moveTo>
                  <a:cubicBezTo>
                    <a:pt x="2623" y="83"/>
                    <a:pt x="2618" y="86"/>
                    <a:pt x="2618" y="89"/>
                  </a:cubicBezTo>
                  <a:cubicBezTo>
                    <a:pt x="2613" y="87"/>
                    <a:pt x="2617" y="85"/>
                    <a:pt x="2618" y="82"/>
                  </a:cubicBezTo>
                  <a:close/>
                  <a:moveTo>
                    <a:pt x="2616" y="117"/>
                  </a:moveTo>
                  <a:cubicBezTo>
                    <a:pt x="2621" y="116"/>
                    <a:pt x="2621" y="119"/>
                    <a:pt x="2618" y="119"/>
                  </a:cubicBezTo>
                  <a:cubicBezTo>
                    <a:pt x="2615" y="117"/>
                    <a:pt x="2607" y="122"/>
                    <a:pt x="2608" y="122"/>
                  </a:cubicBezTo>
                  <a:cubicBezTo>
                    <a:pt x="2600" y="121"/>
                    <a:pt x="2606" y="115"/>
                    <a:pt x="2616" y="117"/>
                  </a:cubicBezTo>
                  <a:close/>
                  <a:moveTo>
                    <a:pt x="2588" y="99"/>
                  </a:moveTo>
                  <a:cubicBezTo>
                    <a:pt x="2592" y="99"/>
                    <a:pt x="2590" y="105"/>
                    <a:pt x="2591" y="108"/>
                  </a:cubicBezTo>
                  <a:cubicBezTo>
                    <a:pt x="2588" y="107"/>
                    <a:pt x="2586" y="105"/>
                    <a:pt x="2585" y="108"/>
                  </a:cubicBezTo>
                  <a:cubicBezTo>
                    <a:pt x="2577" y="106"/>
                    <a:pt x="2592" y="105"/>
                    <a:pt x="2588" y="99"/>
                  </a:cubicBezTo>
                  <a:close/>
                  <a:moveTo>
                    <a:pt x="2584" y="38"/>
                  </a:moveTo>
                  <a:cubicBezTo>
                    <a:pt x="2583" y="43"/>
                    <a:pt x="2577" y="43"/>
                    <a:pt x="2573" y="40"/>
                  </a:cubicBezTo>
                  <a:cubicBezTo>
                    <a:pt x="2574" y="37"/>
                    <a:pt x="2580" y="38"/>
                    <a:pt x="2584" y="38"/>
                  </a:cubicBezTo>
                  <a:close/>
                  <a:moveTo>
                    <a:pt x="2563" y="116"/>
                  </a:moveTo>
                  <a:cubicBezTo>
                    <a:pt x="2565" y="112"/>
                    <a:pt x="2561" y="107"/>
                    <a:pt x="2563" y="104"/>
                  </a:cubicBezTo>
                  <a:cubicBezTo>
                    <a:pt x="2564" y="102"/>
                    <a:pt x="2573" y="103"/>
                    <a:pt x="2571" y="99"/>
                  </a:cubicBezTo>
                  <a:cubicBezTo>
                    <a:pt x="2580" y="103"/>
                    <a:pt x="2563" y="104"/>
                    <a:pt x="2569" y="113"/>
                  </a:cubicBezTo>
                  <a:cubicBezTo>
                    <a:pt x="2569" y="118"/>
                    <a:pt x="2579" y="114"/>
                    <a:pt x="2583" y="115"/>
                  </a:cubicBezTo>
                  <a:cubicBezTo>
                    <a:pt x="2590" y="121"/>
                    <a:pt x="2556" y="112"/>
                    <a:pt x="2566" y="127"/>
                  </a:cubicBezTo>
                  <a:cubicBezTo>
                    <a:pt x="2562" y="128"/>
                    <a:pt x="2561" y="126"/>
                    <a:pt x="2561" y="123"/>
                  </a:cubicBezTo>
                  <a:cubicBezTo>
                    <a:pt x="2559" y="121"/>
                    <a:pt x="2556" y="119"/>
                    <a:pt x="2552" y="118"/>
                  </a:cubicBezTo>
                  <a:cubicBezTo>
                    <a:pt x="2553" y="115"/>
                    <a:pt x="2559" y="116"/>
                    <a:pt x="2563" y="116"/>
                  </a:cubicBezTo>
                  <a:close/>
                  <a:moveTo>
                    <a:pt x="2544" y="121"/>
                  </a:moveTo>
                  <a:cubicBezTo>
                    <a:pt x="2542" y="119"/>
                    <a:pt x="2540" y="118"/>
                    <a:pt x="2536" y="118"/>
                  </a:cubicBezTo>
                  <a:cubicBezTo>
                    <a:pt x="2537" y="112"/>
                    <a:pt x="2546" y="113"/>
                    <a:pt x="2544" y="121"/>
                  </a:cubicBezTo>
                  <a:close/>
                  <a:moveTo>
                    <a:pt x="2554" y="179"/>
                  </a:moveTo>
                  <a:cubicBezTo>
                    <a:pt x="2555" y="184"/>
                    <a:pt x="2552" y="186"/>
                    <a:pt x="2551" y="189"/>
                  </a:cubicBezTo>
                  <a:cubicBezTo>
                    <a:pt x="2548" y="186"/>
                    <a:pt x="2546" y="182"/>
                    <a:pt x="2537" y="184"/>
                  </a:cubicBezTo>
                  <a:cubicBezTo>
                    <a:pt x="2536" y="179"/>
                    <a:pt x="2542" y="179"/>
                    <a:pt x="2540" y="172"/>
                  </a:cubicBezTo>
                  <a:cubicBezTo>
                    <a:pt x="2538" y="172"/>
                    <a:pt x="2536" y="173"/>
                    <a:pt x="2534" y="173"/>
                  </a:cubicBezTo>
                  <a:cubicBezTo>
                    <a:pt x="2535" y="170"/>
                    <a:pt x="2539" y="170"/>
                    <a:pt x="2542" y="170"/>
                  </a:cubicBezTo>
                  <a:cubicBezTo>
                    <a:pt x="2540" y="178"/>
                    <a:pt x="2544" y="181"/>
                    <a:pt x="2554" y="179"/>
                  </a:cubicBezTo>
                  <a:close/>
                  <a:moveTo>
                    <a:pt x="2548" y="168"/>
                  </a:moveTo>
                  <a:cubicBezTo>
                    <a:pt x="2552" y="168"/>
                    <a:pt x="2552" y="172"/>
                    <a:pt x="2556" y="172"/>
                  </a:cubicBezTo>
                  <a:cubicBezTo>
                    <a:pt x="2556" y="175"/>
                    <a:pt x="2553" y="173"/>
                    <a:pt x="2553" y="172"/>
                  </a:cubicBezTo>
                  <a:cubicBezTo>
                    <a:pt x="2551" y="172"/>
                    <a:pt x="2551" y="173"/>
                    <a:pt x="2551" y="175"/>
                  </a:cubicBezTo>
                  <a:cubicBezTo>
                    <a:pt x="2548" y="174"/>
                    <a:pt x="2548" y="170"/>
                    <a:pt x="2548" y="168"/>
                  </a:cubicBezTo>
                  <a:close/>
                  <a:moveTo>
                    <a:pt x="2531" y="130"/>
                  </a:moveTo>
                  <a:cubicBezTo>
                    <a:pt x="2543" y="132"/>
                    <a:pt x="2529" y="145"/>
                    <a:pt x="2531" y="130"/>
                  </a:cubicBezTo>
                  <a:close/>
                  <a:moveTo>
                    <a:pt x="2519" y="72"/>
                  </a:moveTo>
                  <a:cubicBezTo>
                    <a:pt x="2522" y="73"/>
                    <a:pt x="2523" y="76"/>
                    <a:pt x="2527" y="76"/>
                  </a:cubicBezTo>
                  <a:cubicBezTo>
                    <a:pt x="2526" y="82"/>
                    <a:pt x="2517" y="77"/>
                    <a:pt x="2519" y="72"/>
                  </a:cubicBezTo>
                  <a:close/>
                  <a:moveTo>
                    <a:pt x="2517" y="131"/>
                  </a:moveTo>
                  <a:cubicBezTo>
                    <a:pt x="2520" y="133"/>
                    <a:pt x="2527" y="131"/>
                    <a:pt x="2525" y="137"/>
                  </a:cubicBezTo>
                  <a:cubicBezTo>
                    <a:pt x="2523" y="135"/>
                    <a:pt x="2515" y="137"/>
                    <a:pt x="2517" y="131"/>
                  </a:cubicBezTo>
                  <a:close/>
                  <a:moveTo>
                    <a:pt x="2520" y="166"/>
                  </a:moveTo>
                  <a:cubicBezTo>
                    <a:pt x="2520" y="169"/>
                    <a:pt x="2514" y="168"/>
                    <a:pt x="2510" y="168"/>
                  </a:cubicBezTo>
                  <a:cubicBezTo>
                    <a:pt x="2511" y="166"/>
                    <a:pt x="2516" y="166"/>
                    <a:pt x="2515" y="161"/>
                  </a:cubicBezTo>
                  <a:cubicBezTo>
                    <a:pt x="2518" y="162"/>
                    <a:pt x="2517" y="166"/>
                    <a:pt x="2520" y="166"/>
                  </a:cubicBezTo>
                  <a:close/>
                  <a:moveTo>
                    <a:pt x="2518" y="196"/>
                  </a:moveTo>
                  <a:cubicBezTo>
                    <a:pt x="2517" y="197"/>
                    <a:pt x="2515" y="191"/>
                    <a:pt x="2513" y="192"/>
                  </a:cubicBezTo>
                  <a:cubicBezTo>
                    <a:pt x="2517" y="184"/>
                    <a:pt x="2520" y="194"/>
                    <a:pt x="2518" y="196"/>
                  </a:cubicBezTo>
                  <a:close/>
                  <a:moveTo>
                    <a:pt x="2513" y="185"/>
                  </a:moveTo>
                  <a:cubicBezTo>
                    <a:pt x="2512" y="187"/>
                    <a:pt x="2507" y="186"/>
                    <a:pt x="2507" y="189"/>
                  </a:cubicBezTo>
                  <a:cubicBezTo>
                    <a:pt x="2507" y="198"/>
                    <a:pt x="2497" y="182"/>
                    <a:pt x="2513" y="185"/>
                  </a:cubicBezTo>
                  <a:close/>
                  <a:moveTo>
                    <a:pt x="2514" y="121"/>
                  </a:moveTo>
                  <a:cubicBezTo>
                    <a:pt x="2514" y="123"/>
                    <a:pt x="2514" y="124"/>
                    <a:pt x="2514" y="126"/>
                  </a:cubicBezTo>
                  <a:cubicBezTo>
                    <a:pt x="2512" y="126"/>
                    <a:pt x="2511" y="126"/>
                    <a:pt x="2509" y="126"/>
                  </a:cubicBezTo>
                  <a:cubicBezTo>
                    <a:pt x="2509" y="124"/>
                    <a:pt x="2509" y="123"/>
                    <a:pt x="2509" y="121"/>
                  </a:cubicBezTo>
                  <a:cubicBezTo>
                    <a:pt x="2510" y="121"/>
                    <a:pt x="2512" y="121"/>
                    <a:pt x="2514" y="121"/>
                  </a:cubicBezTo>
                  <a:close/>
                  <a:moveTo>
                    <a:pt x="2503" y="131"/>
                  </a:moveTo>
                  <a:cubicBezTo>
                    <a:pt x="2503" y="131"/>
                    <a:pt x="2505" y="135"/>
                    <a:pt x="2506" y="133"/>
                  </a:cubicBezTo>
                  <a:cubicBezTo>
                    <a:pt x="2508" y="131"/>
                    <a:pt x="2508" y="131"/>
                    <a:pt x="2509" y="133"/>
                  </a:cubicBezTo>
                  <a:cubicBezTo>
                    <a:pt x="2512" y="133"/>
                    <a:pt x="2511" y="137"/>
                    <a:pt x="2512" y="140"/>
                  </a:cubicBezTo>
                  <a:cubicBezTo>
                    <a:pt x="2506" y="136"/>
                    <a:pt x="2492" y="139"/>
                    <a:pt x="2482" y="138"/>
                  </a:cubicBezTo>
                  <a:cubicBezTo>
                    <a:pt x="2483" y="136"/>
                    <a:pt x="2485" y="134"/>
                    <a:pt x="2481" y="133"/>
                  </a:cubicBezTo>
                  <a:cubicBezTo>
                    <a:pt x="2485" y="130"/>
                    <a:pt x="2497" y="130"/>
                    <a:pt x="2503" y="131"/>
                  </a:cubicBezTo>
                  <a:close/>
                  <a:moveTo>
                    <a:pt x="2488" y="190"/>
                  </a:moveTo>
                  <a:cubicBezTo>
                    <a:pt x="2488" y="188"/>
                    <a:pt x="2488" y="187"/>
                    <a:pt x="2488" y="185"/>
                  </a:cubicBezTo>
                  <a:cubicBezTo>
                    <a:pt x="2492" y="185"/>
                    <a:pt x="2495" y="185"/>
                    <a:pt x="2499" y="185"/>
                  </a:cubicBezTo>
                  <a:cubicBezTo>
                    <a:pt x="2502" y="192"/>
                    <a:pt x="2493" y="189"/>
                    <a:pt x="2488" y="190"/>
                  </a:cubicBezTo>
                  <a:close/>
                  <a:moveTo>
                    <a:pt x="2480" y="185"/>
                  </a:moveTo>
                  <a:cubicBezTo>
                    <a:pt x="2485" y="187"/>
                    <a:pt x="2480" y="190"/>
                    <a:pt x="2480" y="192"/>
                  </a:cubicBezTo>
                  <a:cubicBezTo>
                    <a:pt x="2475" y="191"/>
                    <a:pt x="2479" y="188"/>
                    <a:pt x="2480" y="185"/>
                  </a:cubicBezTo>
                  <a:close/>
                  <a:moveTo>
                    <a:pt x="2465" y="115"/>
                  </a:moveTo>
                  <a:cubicBezTo>
                    <a:pt x="2474" y="111"/>
                    <a:pt x="2467" y="123"/>
                    <a:pt x="2473" y="122"/>
                  </a:cubicBezTo>
                  <a:cubicBezTo>
                    <a:pt x="2470" y="129"/>
                    <a:pt x="2464" y="119"/>
                    <a:pt x="2465" y="115"/>
                  </a:cubicBezTo>
                  <a:close/>
                  <a:moveTo>
                    <a:pt x="2432" y="134"/>
                  </a:moveTo>
                  <a:cubicBezTo>
                    <a:pt x="2436" y="128"/>
                    <a:pt x="2446" y="135"/>
                    <a:pt x="2449" y="136"/>
                  </a:cubicBezTo>
                  <a:cubicBezTo>
                    <a:pt x="2446" y="142"/>
                    <a:pt x="2440" y="131"/>
                    <a:pt x="2432" y="134"/>
                  </a:cubicBezTo>
                  <a:close/>
                  <a:moveTo>
                    <a:pt x="2427" y="170"/>
                  </a:moveTo>
                  <a:cubicBezTo>
                    <a:pt x="2428" y="166"/>
                    <a:pt x="2432" y="164"/>
                    <a:pt x="2438" y="165"/>
                  </a:cubicBezTo>
                  <a:cubicBezTo>
                    <a:pt x="2441" y="172"/>
                    <a:pt x="2432" y="169"/>
                    <a:pt x="2427" y="170"/>
                  </a:cubicBezTo>
                  <a:close/>
                  <a:moveTo>
                    <a:pt x="2454" y="160"/>
                  </a:moveTo>
                  <a:cubicBezTo>
                    <a:pt x="2454" y="160"/>
                    <a:pt x="2455" y="158"/>
                    <a:pt x="2454" y="158"/>
                  </a:cubicBezTo>
                  <a:cubicBezTo>
                    <a:pt x="2464" y="158"/>
                    <a:pt x="2450" y="165"/>
                    <a:pt x="2446" y="162"/>
                  </a:cubicBezTo>
                  <a:cubicBezTo>
                    <a:pt x="2444" y="161"/>
                    <a:pt x="2453" y="160"/>
                    <a:pt x="2454" y="160"/>
                  </a:cubicBezTo>
                  <a:close/>
                  <a:moveTo>
                    <a:pt x="2457" y="132"/>
                  </a:moveTo>
                  <a:cubicBezTo>
                    <a:pt x="2461" y="123"/>
                    <a:pt x="2462" y="136"/>
                    <a:pt x="2460" y="136"/>
                  </a:cubicBezTo>
                  <a:cubicBezTo>
                    <a:pt x="2458" y="137"/>
                    <a:pt x="2456" y="133"/>
                    <a:pt x="2457" y="132"/>
                  </a:cubicBezTo>
                  <a:close/>
                  <a:moveTo>
                    <a:pt x="2463" y="169"/>
                  </a:moveTo>
                  <a:cubicBezTo>
                    <a:pt x="2462" y="172"/>
                    <a:pt x="2456" y="171"/>
                    <a:pt x="2452" y="172"/>
                  </a:cubicBezTo>
                  <a:cubicBezTo>
                    <a:pt x="2453" y="166"/>
                    <a:pt x="2459" y="166"/>
                    <a:pt x="2463" y="169"/>
                  </a:cubicBezTo>
                  <a:close/>
                  <a:moveTo>
                    <a:pt x="2456" y="110"/>
                  </a:moveTo>
                  <a:cubicBezTo>
                    <a:pt x="2466" y="108"/>
                    <a:pt x="2464" y="125"/>
                    <a:pt x="2454" y="120"/>
                  </a:cubicBezTo>
                  <a:cubicBezTo>
                    <a:pt x="2456" y="118"/>
                    <a:pt x="2457" y="115"/>
                    <a:pt x="2456" y="110"/>
                  </a:cubicBezTo>
                  <a:close/>
                  <a:moveTo>
                    <a:pt x="2448" y="96"/>
                  </a:moveTo>
                  <a:cubicBezTo>
                    <a:pt x="2451" y="97"/>
                    <a:pt x="2450" y="101"/>
                    <a:pt x="2453" y="101"/>
                  </a:cubicBezTo>
                  <a:cubicBezTo>
                    <a:pt x="2452" y="108"/>
                    <a:pt x="2445" y="101"/>
                    <a:pt x="2448" y="96"/>
                  </a:cubicBezTo>
                  <a:close/>
                  <a:moveTo>
                    <a:pt x="2451" y="108"/>
                  </a:moveTo>
                  <a:cubicBezTo>
                    <a:pt x="2443" y="117"/>
                    <a:pt x="2441" y="101"/>
                    <a:pt x="2451" y="108"/>
                  </a:cubicBezTo>
                  <a:close/>
                  <a:moveTo>
                    <a:pt x="2440" y="101"/>
                  </a:moveTo>
                  <a:cubicBezTo>
                    <a:pt x="2435" y="103"/>
                    <a:pt x="2441" y="113"/>
                    <a:pt x="2432" y="111"/>
                  </a:cubicBezTo>
                  <a:cubicBezTo>
                    <a:pt x="2431" y="105"/>
                    <a:pt x="2433" y="101"/>
                    <a:pt x="2440" y="101"/>
                  </a:cubicBezTo>
                  <a:close/>
                  <a:moveTo>
                    <a:pt x="2419" y="149"/>
                  </a:moveTo>
                  <a:cubicBezTo>
                    <a:pt x="2419" y="143"/>
                    <a:pt x="2428" y="148"/>
                    <a:pt x="2430" y="149"/>
                  </a:cubicBezTo>
                  <a:cubicBezTo>
                    <a:pt x="2428" y="156"/>
                    <a:pt x="2424" y="146"/>
                    <a:pt x="2419" y="149"/>
                  </a:cubicBezTo>
                  <a:close/>
                  <a:moveTo>
                    <a:pt x="2427" y="139"/>
                  </a:moveTo>
                  <a:cubicBezTo>
                    <a:pt x="2423" y="139"/>
                    <a:pt x="2419" y="139"/>
                    <a:pt x="2416" y="139"/>
                  </a:cubicBezTo>
                  <a:cubicBezTo>
                    <a:pt x="2417" y="137"/>
                    <a:pt x="2419" y="135"/>
                    <a:pt x="2416" y="135"/>
                  </a:cubicBezTo>
                  <a:cubicBezTo>
                    <a:pt x="2416" y="131"/>
                    <a:pt x="2424" y="134"/>
                    <a:pt x="2424" y="130"/>
                  </a:cubicBezTo>
                  <a:cubicBezTo>
                    <a:pt x="2427" y="131"/>
                    <a:pt x="2426" y="136"/>
                    <a:pt x="2427" y="139"/>
                  </a:cubicBezTo>
                  <a:close/>
                  <a:moveTo>
                    <a:pt x="2410" y="114"/>
                  </a:moveTo>
                  <a:cubicBezTo>
                    <a:pt x="2413" y="116"/>
                    <a:pt x="2417" y="117"/>
                    <a:pt x="2424" y="116"/>
                  </a:cubicBezTo>
                  <a:cubicBezTo>
                    <a:pt x="2421" y="121"/>
                    <a:pt x="2408" y="123"/>
                    <a:pt x="2410" y="114"/>
                  </a:cubicBezTo>
                  <a:close/>
                  <a:moveTo>
                    <a:pt x="2413" y="130"/>
                  </a:moveTo>
                  <a:cubicBezTo>
                    <a:pt x="2414" y="140"/>
                    <a:pt x="2398" y="133"/>
                    <a:pt x="2394" y="133"/>
                  </a:cubicBezTo>
                  <a:cubicBezTo>
                    <a:pt x="2399" y="122"/>
                    <a:pt x="2404" y="136"/>
                    <a:pt x="2413" y="130"/>
                  </a:cubicBezTo>
                  <a:close/>
                  <a:moveTo>
                    <a:pt x="2405" y="151"/>
                  </a:moveTo>
                  <a:cubicBezTo>
                    <a:pt x="2402" y="159"/>
                    <a:pt x="2398" y="149"/>
                    <a:pt x="2394" y="149"/>
                  </a:cubicBezTo>
                  <a:cubicBezTo>
                    <a:pt x="2397" y="146"/>
                    <a:pt x="2404" y="144"/>
                    <a:pt x="2408" y="147"/>
                  </a:cubicBezTo>
                  <a:cubicBezTo>
                    <a:pt x="2408" y="149"/>
                    <a:pt x="2404" y="148"/>
                    <a:pt x="2402" y="149"/>
                  </a:cubicBezTo>
                  <a:cubicBezTo>
                    <a:pt x="2402" y="151"/>
                    <a:pt x="2403" y="151"/>
                    <a:pt x="2405" y="151"/>
                  </a:cubicBezTo>
                  <a:close/>
                  <a:moveTo>
                    <a:pt x="2393" y="116"/>
                  </a:moveTo>
                  <a:cubicBezTo>
                    <a:pt x="2392" y="119"/>
                    <a:pt x="2390" y="121"/>
                    <a:pt x="2385" y="121"/>
                  </a:cubicBezTo>
                  <a:cubicBezTo>
                    <a:pt x="2384" y="116"/>
                    <a:pt x="2389" y="117"/>
                    <a:pt x="2393" y="116"/>
                  </a:cubicBezTo>
                  <a:close/>
                  <a:moveTo>
                    <a:pt x="2374" y="100"/>
                  </a:moveTo>
                  <a:cubicBezTo>
                    <a:pt x="2374" y="100"/>
                    <a:pt x="2380" y="96"/>
                    <a:pt x="2382" y="98"/>
                  </a:cubicBezTo>
                  <a:cubicBezTo>
                    <a:pt x="2384" y="99"/>
                    <a:pt x="2371" y="105"/>
                    <a:pt x="2374" y="100"/>
                  </a:cubicBezTo>
                  <a:close/>
                  <a:moveTo>
                    <a:pt x="2360" y="100"/>
                  </a:moveTo>
                  <a:cubicBezTo>
                    <a:pt x="2366" y="100"/>
                    <a:pt x="2369" y="102"/>
                    <a:pt x="2368" y="107"/>
                  </a:cubicBezTo>
                  <a:cubicBezTo>
                    <a:pt x="2365" y="107"/>
                    <a:pt x="2361" y="107"/>
                    <a:pt x="2360" y="110"/>
                  </a:cubicBezTo>
                  <a:cubicBezTo>
                    <a:pt x="2352" y="108"/>
                    <a:pt x="2363" y="105"/>
                    <a:pt x="2360" y="100"/>
                  </a:cubicBezTo>
                  <a:close/>
                  <a:moveTo>
                    <a:pt x="2349" y="115"/>
                  </a:moveTo>
                  <a:cubicBezTo>
                    <a:pt x="2346" y="113"/>
                    <a:pt x="2344" y="110"/>
                    <a:pt x="2344" y="105"/>
                  </a:cubicBezTo>
                  <a:cubicBezTo>
                    <a:pt x="2347" y="106"/>
                    <a:pt x="2349" y="105"/>
                    <a:pt x="2349" y="103"/>
                  </a:cubicBezTo>
                  <a:cubicBezTo>
                    <a:pt x="2352" y="103"/>
                    <a:pt x="2351" y="105"/>
                    <a:pt x="2349" y="105"/>
                  </a:cubicBezTo>
                  <a:cubicBezTo>
                    <a:pt x="2349" y="112"/>
                    <a:pt x="2354" y="110"/>
                    <a:pt x="2349" y="115"/>
                  </a:cubicBezTo>
                  <a:close/>
                  <a:moveTo>
                    <a:pt x="2347" y="124"/>
                  </a:moveTo>
                  <a:cubicBezTo>
                    <a:pt x="2350" y="121"/>
                    <a:pt x="2352" y="122"/>
                    <a:pt x="2352" y="126"/>
                  </a:cubicBezTo>
                  <a:cubicBezTo>
                    <a:pt x="2346" y="127"/>
                    <a:pt x="2344" y="125"/>
                    <a:pt x="2344" y="119"/>
                  </a:cubicBezTo>
                  <a:cubicBezTo>
                    <a:pt x="2347" y="119"/>
                    <a:pt x="2346" y="122"/>
                    <a:pt x="2347" y="124"/>
                  </a:cubicBezTo>
                  <a:close/>
                  <a:moveTo>
                    <a:pt x="2349" y="86"/>
                  </a:moveTo>
                  <a:cubicBezTo>
                    <a:pt x="2357" y="88"/>
                    <a:pt x="2345" y="90"/>
                    <a:pt x="2346" y="94"/>
                  </a:cubicBezTo>
                  <a:cubicBezTo>
                    <a:pt x="2337" y="91"/>
                    <a:pt x="2349" y="89"/>
                    <a:pt x="2349" y="86"/>
                  </a:cubicBezTo>
                  <a:close/>
                  <a:moveTo>
                    <a:pt x="2327" y="94"/>
                  </a:moveTo>
                  <a:cubicBezTo>
                    <a:pt x="2330" y="94"/>
                    <a:pt x="2329" y="98"/>
                    <a:pt x="2330" y="101"/>
                  </a:cubicBezTo>
                  <a:cubicBezTo>
                    <a:pt x="2330" y="104"/>
                    <a:pt x="2335" y="103"/>
                    <a:pt x="2338" y="103"/>
                  </a:cubicBezTo>
                  <a:cubicBezTo>
                    <a:pt x="2336" y="105"/>
                    <a:pt x="2335" y="109"/>
                    <a:pt x="2336" y="113"/>
                  </a:cubicBezTo>
                  <a:cubicBezTo>
                    <a:pt x="2334" y="111"/>
                    <a:pt x="2331" y="110"/>
                    <a:pt x="2327" y="110"/>
                  </a:cubicBezTo>
                  <a:cubicBezTo>
                    <a:pt x="2328" y="106"/>
                    <a:pt x="2327" y="103"/>
                    <a:pt x="2322" y="103"/>
                  </a:cubicBezTo>
                  <a:cubicBezTo>
                    <a:pt x="2322" y="99"/>
                    <a:pt x="2329" y="100"/>
                    <a:pt x="2327" y="94"/>
                  </a:cubicBezTo>
                  <a:close/>
                  <a:moveTo>
                    <a:pt x="2322" y="125"/>
                  </a:moveTo>
                  <a:cubicBezTo>
                    <a:pt x="2327" y="125"/>
                    <a:pt x="2324" y="132"/>
                    <a:pt x="2328" y="134"/>
                  </a:cubicBezTo>
                  <a:cubicBezTo>
                    <a:pt x="2332" y="134"/>
                    <a:pt x="2338" y="135"/>
                    <a:pt x="2339" y="131"/>
                  </a:cubicBezTo>
                  <a:cubicBezTo>
                    <a:pt x="2343" y="132"/>
                    <a:pt x="2338" y="134"/>
                    <a:pt x="2339" y="138"/>
                  </a:cubicBezTo>
                  <a:cubicBezTo>
                    <a:pt x="2334" y="139"/>
                    <a:pt x="2334" y="136"/>
                    <a:pt x="2331" y="136"/>
                  </a:cubicBezTo>
                  <a:cubicBezTo>
                    <a:pt x="2327" y="139"/>
                    <a:pt x="2326" y="143"/>
                    <a:pt x="2317" y="141"/>
                  </a:cubicBezTo>
                  <a:cubicBezTo>
                    <a:pt x="2320" y="134"/>
                    <a:pt x="2320" y="134"/>
                    <a:pt x="2309" y="134"/>
                  </a:cubicBezTo>
                  <a:cubicBezTo>
                    <a:pt x="2299" y="129"/>
                    <a:pt x="2330" y="137"/>
                    <a:pt x="2322" y="125"/>
                  </a:cubicBezTo>
                  <a:close/>
                  <a:moveTo>
                    <a:pt x="2339" y="162"/>
                  </a:moveTo>
                  <a:cubicBezTo>
                    <a:pt x="2344" y="162"/>
                    <a:pt x="2341" y="170"/>
                    <a:pt x="2348" y="169"/>
                  </a:cubicBezTo>
                  <a:cubicBezTo>
                    <a:pt x="2345" y="175"/>
                    <a:pt x="2332" y="165"/>
                    <a:pt x="2339" y="162"/>
                  </a:cubicBezTo>
                  <a:close/>
                  <a:moveTo>
                    <a:pt x="2351" y="211"/>
                  </a:moveTo>
                  <a:cubicBezTo>
                    <a:pt x="2350" y="214"/>
                    <a:pt x="2348" y="216"/>
                    <a:pt x="2343" y="216"/>
                  </a:cubicBezTo>
                  <a:cubicBezTo>
                    <a:pt x="2342" y="211"/>
                    <a:pt x="2347" y="211"/>
                    <a:pt x="2351" y="211"/>
                  </a:cubicBezTo>
                  <a:close/>
                  <a:moveTo>
                    <a:pt x="2321" y="202"/>
                  </a:moveTo>
                  <a:cubicBezTo>
                    <a:pt x="2322" y="203"/>
                    <a:pt x="2331" y="208"/>
                    <a:pt x="2332" y="202"/>
                  </a:cubicBezTo>
                  <a:cubicBezTo>
                    <a:pt x="2337" y="205"/>
                    <a:pt x="2329" y="210"/>
                    <a:pt x="2335" y="216"/>
                  </a:cubicBezTo>
                  <a:cubicBezTo>
                    <a:pt x="2332" y="216"/>
                    <a:pt x="2330" y="217"/>
                    <a:pt x="2329" y="218"/>
                  </a:cubicBezTo>
                  <a:cubicBezTo>
                    <a:pt x="2326" y="218"/>
                    <a:pt x="2326" y="211"/>
                    <a:pt x="2329" y="211"/>
                  </a:cubicBezTo>
                  <a:cubicBezTo>
                    <a:pt x="2328" y="207"/>
                    <a:pt x="2319" y="210"/>
                    <a:pt x="2321" y="202"/>
                  </a:cubicBezTo>
                  <a:close/>
                  <a:moveTo>
                    <a:pt x="2309" y="141"/>
                  </a:moveTo>
                  <a:cubicBezTo>
                    <a:pt x="2304" y="142"/>
                    <a:pt x="2303" y="138"/>
                    <a:pt x="2298" y="139"/>
                  </a:cubicBezTo>
                  <a:cubicBezTo>
                    <a:pt x="2297" y="135"/>
                    <a:pt x="2313" y="135"/>
                    <a:pt x="2309" y="141"/>
                  </a:cubicBezTo>
                  <a:close/>
                  <a:moveTo>
                    <a:pt x="2287" y="132"/>
                  </a:moveTo>
                  <a:cubicBezTo>
                    <a:pt x="2289" y="132"/>
                    <a:pt x="2292" y="132"/>
                    <a:pt x="2295" y="132"/>
                  </a:cubicBezTo>
                  <a:cubicBezTo>
                    <a:pt x="2293" y="134"/>
                    <a:pt x="2294" y="140"/>
                    <a:pt x="2292" y="142"/>
                  </a:cubicBezTo>
                  <a:cubicBezTo>
                    <a:pt x="2292" y="142"/>
                    <a:pt x="2290" y="141"/>
                    <a:pt x="2290" y="142"/>
                  </a:cubicBezTo>
                  <a:cubicBezTo>
                    <a:pt x="2288" y="146"/>
                    <a:pt x="2294" y="155"/>
                    <a:pt x="2284" y="153"/>
                  </a:cubicBezTo>
                  <a:cubicBezTo>
                    <a:pt x="2289" y="149"/>
                    <a:pt x="2286" y="140"/>
                    <a:pt x="2287" y="132"/>
                  </a:cubicBezTo>
                  <a:close/>
                  <a:moveTo>
                    <a:pt x="2291" y="252"/>
                  </a:moveTo>
                  <a:cubicBezTo>
                    <a:pt x="2291" y="254"/>
                    <a:pt x="2291" y="255"/>
                    <a:pt x="2292" y="257"/>
                  </a:cubicBezTo>
                  <a:cubicBezTo>
                    <a:pt x="2290" y="257"/>
                    <a:pt x="2288" y="257"/>
                    <a:pt x="2286" y="257"/>
                  </a:cubicBezTo>
                  <a:cubicBezTo>
                    <a:pt x="2286" y="255"/>
                    <a:pt x="2286" y="254"/>
                    <a:pt x="2286" y="252"/>
                  </a:cubicBezTo>
                  <a:cubicBezTo>
                    <a:pt x="2288" y="252"/>
                    <a:pt x="2290" y="252"/>
                    <a:pt x="2291" y="252"/>
                  </a:cubicBezTo>
                  <a:close/>
                  <a:moveTo>
                    <a:pt x="2285" y="210"/>
                  </a:moveTo>
                  <a:cubicBezTo>
                    <a:pt x="2297" y="211"/>
                    <a:pt x="2283" y="223"/>
                    <a:pt x="2285" y="210"/>
                  </a:cubicBezTo>
                  <a:close/>
                  <a:moveTo>
                    <a:pt x="2278" y="283"/>
                  </a:moveTo>
                  <a:cubicBezTo>
                    <a:pt x="2279" y="280"/>
                    <a:pt x="2284" y="280"/>
                    <a:pt x="2284" y="283"/>
                  </a:cubicBezTo>
                  <a:cubicBezTo>
                    <a:pt x="2287" y="282"/>
                    <a:pt x="2286" y="278"/>
                    <a:pt x="2286" y="276"/>
                  </a:cubicBezTo>
                  <a:cubicBezTo>
                    <a:pt x="2289" y="277"/>
                    <a:pt x="2291" y="278"/>
                    <a:pt x="2292" y="275"/>
                  </a:cubicBezTo>
                  <a:cubicBezTo>
                    <a:pt x="2299" y="281"/>
                    <a:pt x="2284" y="287"/>
                    <a:pt x="2278" y="283"/>
                  </a:cubicBezTo>
                  <a:close/>
                  <a:moveTo>
                    <a:pt x="2303" y="282"/>
                  </a:moveTo>
                  <a:cubicBezTo>
                    <a:pt x="2303" y="281"/>
                    <a:pt x="2303" y="279"/>
                    <a:pt x="2303" y="278"/>
                  </a:cubicBezTo>
                  <a:cubicBezTo>
                    <a:pt x="2305" y="278"/>
                    <a:pt x="2307" y="278"/>
                    <a:pt x="2308" y="278"/>
                  </a:cubicBezTo>
                  <a:cubicBezTo>
                    <a:pt x="2308" y="279"/>
                    <a:pt x="2308" y="281"/>
                    <a:pt x="2308" y="282"/>
                  </a:cubicBezTo>
                  <a:cubicBezTo>
                    <a:pt x="2307" y="282"/>
                    <a:pt x="2305" y="282"/>
                    <a:pt x="2303" y="282"/>
                  </a:cubicBezTo>
                  <a:close/>
                  <a:moveTo>
                    <a:pt x="2311" y="278"/>
                  </a:moveTo>
                  <a:cubicBezTo>
                    <a:pt x="2316" y="277"/>
                    <a:pt x="2316" y="280"/>
                    <a:pt x="2319" y="280"/>
                  </a:cubicBezTo>
                  <a:cubicBezTo>
                    <a:pt x="2321" y="284"/>
                    <a:pt x="2307" y="283"/>
                    <a:pt x="2311" y="278"/>
                  </a:cubicBezTo>
                  <a:close/>
                  <a:moveTo>
                    <a:pt x="2311" y="254"/>
                  </a:moveTo>
                  <a:cubicBezTo>
                    <a:pt x="2313" y="254"/>
                    <a:pt x="2313" y="253"/>
                    <a:pt x="2313" y="252"/>
                  </a:cubicBezTo>
                  <a:cubicBezTo>
                    <a:pt x="2319" y="251"/>
                    <a:pt x="2318" y="262"/>
                    <a:pt x="2311" y="259"/>
                  </a:cubicBezTo>
                  <a:cubicBezTo>
                    <a:pt x="2311" y="257"/>
                    <a:pt x="2311" y="256"/>
                    <a:pt x="2311" y="254"/>
                  </a:cubicBezTo>
                  <a:close/>
                  <a:moveTo>
                    <a:pt x="2318" y="221"/>
                  </a:moveTo>
                  <a:cubicBezTo>
                    <a:pt x="2313" y="224"/>
                    <a:pt x="2314" y="217"/>
                    <a:pt x="2313" y="216"/>
                  </a:cubicBezTo>
                  <a:cubicBezTo>
                    <a:pt x="2307" y="216"/>
                    <a:pt x="2307" y="222"/>
                    <a:pt x="2308" y="231"/>
                  </a:cubicBezTo>
                  <a:cubicBezTo>
                    <a:pt x="2310" y="231"/>
                    <a:pt x="2310" y="230"/>
                    <a:pt x="2310" y="228"/>
                  </a:cubicBezTo>
                  <a:cubicBezTo>
                    <a:pt x="2319" y="229"/>
                    <a:pt x="2300" y="236"/>
                    <a:pt x="2310" y="238"/>
                  </a:cubicBezTo>
                  <a:cubicBezTo>
                    <a:pt x="2310" y="241"/>
                    <a:pt x="2303" y="239"/>
                    <a:pt x="2302" y="238"/>
                  </a:cubicBezTo>
                  <a:cubicBezTo>
                    <a:pt x="2301" y="234"/>
                    <a:pt x="2305" y="233"/>
                    <a:pt x="2305" y="231"/>
                  </a:cubicBezTo>
                  <a:cubicBezTo>
                    <a:pt x="2304" y="225"/>
                    <a:pt x="2302" y="221"/>
                    <a:pt x="2305" y="219"/>
                  </a:cubicBezTo>
                  <a:cubicBezTo>
                    <a:pt x="2306" y="211"/>
                    <a:pt x="2291" y="218"/>
                    <a:pt x="2293" y="210"/>
                  </a:cubicBezTo>
                  <a:cubicBezTo>
                    <a:pt x="2300" y="204"/>
                    <a:pt x="2307" y="219"/>
                    <a:pt x="2302" y="205"/>
                  </a:cubicBezTo>
                  <a:cubicBezTo>
                    <a:pt x="2307" y="205"/>
                    <a:pt x="2313" y="205"/>
                    <a:pt x="2318" y="205"/>
                  </a:cubicBezTo>
                  <a:cubicBezTo>
                    <a:pt x="2317" y="212"/>
                    <a:pt x="2325" y="216"/>
                    <a:pt x="2318" y="221"/>
                  </a:cubicBezTo>
                  <a:close/>
                  <a:moveTo>
                    <a:pt x="2321" y="228"/>
                  </a:moveTo>
                  <a:cubicBezTo>
                    <a:pt x="2321" y="226"/>
                    <a:pt x="2321" y="225"/>
                    <a:pt x="2321" y="223"/>
                  </a:cubicBezTo>
                  <a:cubicBezTo>
                    <a:pt x="2323" y="223"/>
                    <a:pt x="2325" y="223"/>
                    <a:pt x="2327" y="223"/>
                  </a:cubicBezTo>
                  <a:cubicBezTo>
                    <a:pt x="2327" y="225"/>
                    <a:pt x="2327" y="226"/>
                    <a:pt x="2327" y="228"/>
                  </a:cubicBezTo>
                  <a:cubicBezTo>
                    <a:pt x="2325" y="228"/>
                    <a:pt x="2323" y="228"/>
                    <a:pt x="2321" y="228"/>
                  </a:cubicBezTo>
                  <a:close/>
                  <a:moveTo>
                    <a:pt x="2327" y="258"/>
                  </a:moveTo>
                  <a:cubicBezTo>
                    <a:pt x="2339" y="259"/>
                    <a:pt x="2325" y="272"/>
                    <a:pt x="2327" y="258"/>
                  </a:cubicBezTo>
                  <a:close/>
                  <a:moveTo>
                    <a:pt x="2338" y="249"/>
                  </a:moveTo>
                  <a:cubicBezTo>
                    <a:pt x="2336" y="248"/>
                    <a:pt x="2335" y="247"/>
                    <a:pt x="2333" y="247"/>
                  </a:cubicBezTo>
                  <a:cubicBezTo>
                    <a:pt x="2333" y="245"/>
                    <a:pt x="2335" y="244"/>
                    <a:pt x="2335" y="242"/>
                  </a:cubicBezTo>
                  <a:cubicBezTo>
                    <a:pt x="2337" y="242"/>
                    <a:pt x="2338" y="244"/>
                    <a:pt x="2341" y="244"/>
                  </a:cubicBezTo>
                  <a:cubicBezTo>
                    <a:pt x="2340" y="246"/>
                    <a:pt x="2338" y="246"/>
                    <a:pt x="2338" y="249"/>
                  </a:cubicBezTo>
                  <a:close/>
                  <a:moveTo>
                    <a:pt x="2341" y="239"/>
                  </a:moveTo>
                  <a:cubicBezTo>
                    <a:pt x="2342" y="236"/>
                    <a:pt x="2349" y="237"/>
                    <a:pt x="2346" y="230"/>
                  </a:cubicBezTo>
                  <a:cubicBezTo>
                    <a:pt x="2351" y="234"/>
                    <a:pt x="2351" y="238"/>
                    <a:pt x="2349" y="244"/>
                  </a:cubicBezTo>
                  <a:cubicBezTo>
                    <a:pt x="2346" y="242"/>
                    <a:pt x="2346" y="239"/>
                    <a:pt x="2341" y="239"/>
                  </a:cubicBezTo>
                  <a:close/>
                  <a:moveTo>
                    <a:pt x="2352" y="282"/>
                  </a:moveTo>
                  <a:cubicBezTo>
                    <a:pt x="2351" y="286"/>
                    <a:pt x="2347" y="283"/>
                    <a:pt x="2349" y="274"/>
                  </a:cubicBezTo>
                  <a:cubicBezTo>
                    <a:pt x="2351" y="268"/>
                    <a:pt x="2353" y="280"/>
                    <a:pt x="2352" y="282"/>
                  </a:cubicBezTo>
                  <a:close/>
                  <a:moveTo>
                    <a:pt x="2347" y="138"/>
                  </a:moveTo>
                  <a:cubicBezTo>
                    <a:pt x="2345" y="138"/>
                    <a:pt x="2344" y="139"/>
                    <a:pt x="2344" y="141"/>
                  </a:cubicBezTo>
                  <a:cubicBezTo>
                    <a:pt x="2334" y="139"/>
                    <a:pt x="2360" y="133"/>
                    <a:pt x="2344" y="134"/>
                  </a:cubicBezTo>
                  <a:cubicBezTo>
                    <a:pt x="2344" y="126"/>
                    <a:pt x="2351" y="134"/>
                    <a:pt x="2355" y="133"/>
                  </a:cubicBezTo>
                  <a:cubicBezTo>
                    <a:pt x="2358" y="133"/>
                    <a:pt x="2389" y="124"/>
                    <a:pt x="2377" y="140"/>
                  </a:cubicBezTo>
                  <a:cubicBezTo>
                    <a:pt x="2371" y="141"/>
                    <a:pt x="2374" y="133"/>
                    <a:pt x="2369" y="133"/>
                  </a:cubicBezTo>
                  <a:cubicBezTo>
                    <a:pt x="2365" y="138"/>
                    <a:pt x="2354" y="143"/>
                    <a:pt x="2347" y="138"/>
                  </a:cubicBezTo>
                  <a:close/>
                  <a:moveTo>
                    <a:pt x="2354" y="213"/>
                  </a:moveTo>
                  <a:cubicBezTo>
                    <a:pt x="2356" y="211"/>
                    <a:pt x="2358" y="207"/>
                    <a:pt x="2354" y="206"/>
                  </a:cubicBezTo>
                  <a:cubicBezTo>
                    <a:pt x="2355" y="201"/>
                    <a:pt x="2367" y="205"/>
                    <a:pt x="2373" y="204"/>
                  </a:cubicBezTo>
                  <a:cubicBezTo>
                    <a:pt x="2382" y="205"/>
                    <a:pt x="2368" y="207"/>
                    <a:pt x="2365" y="206"/>
                  </a:cubicBezTo>
                  <a:cubicBezTo>
                    <a:pt x="2358" y="205"/>
                    <a:pt x="2363" y="215"/>
                    <a:pt x="2354" y="213"/>
                  </a:cubicBezTo>
                  <a:close/>
                  <a:moveTo>
                    <a:pt x="2373" y="218"/>
                  </a:moveTo>
                  <a:cubicBezTo>
                    <a:pt x="2371" y="215"/>
                    <a:pt x="2363" y="217"/>
                    <a:pt x="2365" y="211"/>
                  </a:cubicBezTo>
                  <a:cubicBezTo>
                    <a:pt x="2371" y="210"/>
                    <a:pt x="2374" y="213"/>
                    <a:pt x="2373" y="218"/>
                  </a:cubicBezTo>
                  <a:close/>
                  <a:moveTo>
                    <a:pt x="2363" y="263"/>
                  </a:moveTo>
                  <a:cubicBezTo>
                    <a:pt x="2362" y="262"/>
                    <a:pt x="2357" y="267"/>
                    <a:pt x="2358" y="267"/>
                  </a:cubicBezTo>
                  <a:cubicBezTo>
                    <a:pt x="2351" y="265"/>
                    <a:pt x="2366" y="255"/>
                    <a:pt x="2366" y="265"/>
                  </a:cubicBezTo>
                  <a:cubicBezTo>
                    <a:pt x="2363" y="266"/>
                    <a:pt x="2364" y="263"/>
                    <a:pt x="2363" y="263"/>
                  </a:cubicBezTo>
                  <a:close/>
                  <a:moveTo>
                    <a:pt x="2374" y="255"/>
                  </a:moveTo>
                  <a:cubicBezTo>
                    <a:pt x="2366" y="252"/>
                    <a:pt x="2360" y="247"/>
                    <a:pt x="2368" y="241"/>
                  </a:cubicBezTo>
                  <a:cubicBezTo>
                    <a:pt x="2367" y="238"/>
                    <a:pt x="2363" y="239"/>
                    <a:pt x="2363" y="241"/>
                  </a:cubicBezTo>
                  <a:cubicBezTo>
                    <a:pt x="2356" y="240"/>
                    <a:pt x="2361" y="230"/>
                    <a:pt x="2368" y="232"/>
                  </a:cubicBezTo>
                  <a:cubicBezTo>
                    <a:pt x="2367" y="229"/>
                    <a:pt x="2363" y="230"/>
                    <a:pt x="2360" y="230"/>
                  </a:cubicBezTo>
                  <a:cubicBezTo>
                    <a:pt x="2360" y="225"/>
                    <a:pt x="2367" y="227"/>
                    <a:pt x="2365" y="220"/>
                  </a:cubicBezTo>
                  <a:cubicBezTo>
                    <a:pt x="2369" y="223"/>
                    <a:pt x="2371" y="232"/>
                    <a:pt x="2368" y="234"/>
                  </a:cubicBezTo>
                  <a:cubicBezTo>
                    <a:pt x="2366" y="238"/>
                    <a:pt x="2381" y="238"/>
                    <a:pt x="2379" y="234"/>
                  </a:cubicBezTo>
                  <a:cubicBezTo>
                    <a:pt x="2385" y="235"/>
                    <a:pt x="2374" y="244"/>
                    <a:pt x="2371" y="239"/>
                  </a:cubicBezTo>
                  <a:cubicBezTo>
                    <a:pt x="2370" y="243"/>
                    <a:pt x="2373" y="243"/>
                    <a:pt x="2376" y="244"/>
                  </a:cubicBezTo>
                  <a:cubicBezTo>
                    <a:pt x="2378" y="249"/>
                    <a:pt x="2371" y="249"/>
                    <a:pt x="2374" y="255"/>
                  </a:cubicBezTo>
                  <a:close/>
                  <a:moveTo>
                    <a:pt x="2377" y="283"/>
                  </a:moveTo>
                  <a:cubicBezTo>
                    <a:pt x="2375" y="283"/>
                    <a:pt x="2375" y="284"/>
                    <a:pt x="2374" y="286"/>
                  </a:cubicBezTo>
                  <a:cubicBezTo>
                    <a:pt x="2367" y="283"/>
                    <a:pt x="2381" y="279"/>
                    <a:pt x="2388" y="281"/>
                  </a:cubicBezTo>
                  <a:cubicBezTo>
                    <a:pt x="2388" y="283"/>
                    <a:pt x="2388" y="286"/>
                    <a:pt x="2388" y="288"/>
                  </a:cubicBezTo>
                  <a:cubicBezTo>
                    <a:pt x="2380" y="291"/>
                    <a:pt x="2381" y="284"/>
                    <a:pt x="2377" y="283"/>
                  </a:cubicBezTo>
                  <a:close/>
                  <a:moveTo>
                    <a:pt x="2381" y="218"/>
                  </a:moveTo>
                  <a:cubicBezTo>
                    <a:pt x="2378" y="217"/>
                    <a:pt x="2379" y="213"/>
                    <a:pt x="2376" y="213"/>
                  </a:cubicBezTo>
                  <a:cubicBezTo>
                    <a:pt x="2377" y="205"/>
                    <a:pt x="2383" y="215"/>
                    <a:pt x="2387" y="215"/>
                  </a:cubicBezTo>
                  <a:cubicBezTo>
                    <a:pt x="2387" y="215"/>
                    <a:pt x="2390" y="215"/>
                    <a:pt x="2390" y="215"/>
                  </a:cubicBezTo>
                  <a:cubicBezTo>
                    <a:pt x="2392" y="221"/>
                    <a:pt x="2379" y="212"/>
                    <a:pt x="2381" y="218"/>
                  </a:cubicBezTo>
                  <a:close/>
                  <a:moveTo>
                    <a:pt x="2409" y="224"/>
                  </a:moveTo>
                  <a:cubicBezTo>
                    <a:pt x="2413" y="225"/>
                    <a:pt x="2416" y="227"/>
                    <a:pt x="2420" y="229"/>
                  </a:cubicBezTo>
                  <a:cubicBezTo>
                    <a:pt x="2419" y="234"/>
                    <a:pt x="2407" y="229"/>
                    <a:pt x="2409" y="224"/>
                  </a:cubicBezTo>
                  <a:close/>
                  <a:moveTo>
                    <a:pt x="2425" y="217"/>
                  </a:moveTo>
                  <a:cubicBezTo>
                    <a:pt x="2426" y="211"/>
                    <a:pt x="2435" y="216"/>
                    <a:pt x="2436" y="217"/>
                  </a:cubicBezTo>
                  <a:cubicBezTo>
                    <a:pt x="2435" y="224"/>
                    <a:pt x="2430" y="214"/>
                    <a:pt x="2425" y="217"/>
                  </a:cubicBezTo>
                  <a:close/>
                  <a:moveTo>
                    <a:pt x="2436" y="212"/>
                  </a:moveTo>
                  <a:cubicBezTo>
                    <a:pt x="2437" y="211"/>
                    <a:pt x="2442" y="208"/>
                    <a:pt x="2444" y="209"/>
                  </a:cubicBezTo>
                  <a:cubicBezTo>
                    <a:pt x="2451" y="214"/>
                    <a:pt x="2433" y="220"/>
                    <a:pt x="2436" y="212"/>
                  </a:cubicBezTo>
                  <a:close/>
                  <a:moveTo>
                    <a:pt x="2453" y="259"/>
                  </a:moveTo>
                  <a:cubicBezTo>
                    <a:pt x="2451" y="259"/>
                    <a:pt x="2448" y="259"/>
                    <a:pt x="2445" y="259"/>
                  </a:cubicBezTo>
                  <a:cubicBezTo>
                    <a:pt x="2447" y="252"/>
                    <a:pt x="2449" y="256"/>
                    <a:pt x="2456" y="256"/>
                  </a:cubicBezTo>
                  <a:cubicBezTo>
                    <a:pt x="2456" y="260"/>
                    <a:pt x="2456" y="263"/>
                    <a:pt x="2459" y="263"/>
                  </a:cubicBezTo>
                  <a:cubicBezTo>
                    <a:pt x="2458" y="270"/>
                    <a:pt x="2450" y="263"/>
                    <a:pt x="2453" y="259"/>
                  </a:cubicBezTo>
                  <a:close/>
                  <a:moveTo>
                    <a:pt x="2464" y="237"/>
                  </a:moveTo>
                  <a:cubicBezTo>
                    <a:pt x="2460" y="238"/>
                    <a:pt x="2463" y="244"/>
                    <a:pt x="2459" y="244"/>
                  </a:cubicBezTo>
                  <a:cubicBezTo>
                    <a:pt x="2457" y="240"/>
                    <a:pt x="2460" y="238"/>
                    <a:pt x="2461" y="235"/>
                  </a:cubicBezTo>
                  <a:cubicBezTo>
                    <a:pt x="2466" y="234"/>
                    <a:pt x="2467" y="237"/>
                    <a:pt x="2464" y="237"/>
                  </a:cubicBezTo>
                  <a:close/>
                  <a:moveTo>
                    <a:pt x="2478" y="246"/>
                  </a:moveTo>
                  <a:cubicBezTo>
                    <a:pt x="2484" y="241"/>
                    <a:pt x="2475" y="239"/>
                    <a:pt x="2481" y="235"/>
                  </a:cubicBezTo>
                  <a:cubicBezTo>
                    <a:pt x="2485" y="234"/>
                    <a:pt x="2486" y="250"/>
                    <a:pt x="2478" y="246"/>
                  </a:cubicBezTo>
                  <a:close/>
                  <a:moveTo>
                    <a:pt x="2497" y="253"/>
                  </a:moveTo>
                  <a:cubicBezTo>
                    <a:pt x="2497" y="251"/>
                    <a:pt x="2501" y="251"/>
                    <a:pt x="2503" y="251"/>
                  </a:cubicBezTo>
                  <a:cubicBezTo>
                    <a:pt x="2505" y="251"/>
                    <a:pt x="2508" y="251"/>
                    <a:pt x="2511" y="251"/>
                  </a:cubicBezTo>
                  <a:cubicBezTo>
                    <a:pt x="2512" y="256"/>
                    <a:pt x="2501" y="252"/>
                    <a:pt x="2497" y="253"/>
                  </a:cubicBezTo>
                  <a:close/>
                  <a:moveTo>
                    <a:pt x="2503" y="248"/>
                  </a:moveTo>
                  <a:cubicBezTo>
                    <a:pt x="2503" y="245"/>
                    <a:pt x="2503" y="242"/>
                    <a:pt x="2503" y="239"/>
                  </a:cubicBezTo>
                  <a:cubicBezTo>
                    <a:pt x="2505" y="239"/>
                    <a:pt x="2505" y="242"/>
                    <a:pt x="2505" y="244"/>
                  </a:cubicBezTo>
                  <a:cubicBezTo>
                    <a:pt x="2509" y="244"/>
                    <a:pt x="2510" y="243"/>
                    <a:pt x="2511" y="241"/>
                  </a:cubicBezTo>
                  <a:cubicBezTo>
                    <a:pt x="2519" y="244"/>
                    <a:pt x="2507" y="249"/>
                    <a:pt x="2503" y="248"/>
                  </a:cubicBezTo>
                  <a:close/>
                  <a:moveTo>
                    <a:pt x="2517" y="269"/>
                  </a:moveTo>
                  <a:cubicBezTo>
                    <a:pt x="2512" y="275"/>
                    <a:pt x="2517" y="268"/>
                    <a:pt x="2517" y="265"/>
                  </a:cubicBezTo>
                  <a:cubicBezTo>
                    <a:pt x="2517" y="256"/>
                    <a:pt x="2524" y="271"/>
                    <a:pt x="2517" y="269"/>
                  </a:cubicBezTo>
                  <a:close/>
                  <a:moveTo>
                    <a:pt x="2535" y="241"/>
                  </a:moveTo>
                  <a:cubicBezTo>
                    <a:pt x="2533" y="237"/>
                    <a:pt x="2522" y="241"/>
                    <a:pt x="2524" y="234"/>
                  </a:cubicBezTo>
                  <a:cubicBezTo>
                    <a:pt x="2527" y="232"/>
                    <a:pt x="2532" y="231"/>
                    <a:pt x="2538" y="231"/>
                  </a:cubicBezTo>
                  <a:cubicBezTo>
                    <a:pt x="2538" y="235"/>
                    <a:pt x="2535" y="236"/>
                    <a:pt x="2535" y="241"/>
                  </a:cubicBezTo>
                  <a:close/>
                  <a:moveTo>
                    <a:pt x="2543" y="219"/>
                  </a:moveTo>
                  <a:cubicBezTo>
                    <a:pt x="2538" y="215"/>
                    <a:pt x="2538" y="221"/>
                    <a:pt x="2530" y="220"/>
                  </a:cubicBezTo>
                  <a:cubicBezTo>
                    <a:pt x="2526" y="217"/>
                    <a:pt x="2529" y="216"/>
                    <a:pt x="2530" y="213"/>
                  </a:cubicBezTo>
                  <a:cubicBezTo>
                    <a:pt x="2524" y="212"/>
                    <a:pt x="2521" y="215"/>
                    <a:pt x="2521" y="220"/>
                  </a:cubicBezTo>
                  <a:cubicBezTo>
                    <a:pt x="2511" y="215"/>
                    <a:pt x="2520" y="208"/>
                    <a:pt x="2529" y="208"/>
                  </a:cubicBezTo>
                  <a:cubicBezTo>
                    <a:pt x="2529" y="203"/>
                    <a:pt x="2521" y="208"/>
                    <a:pt x="2521" y="208"/>
                  </a:cubicBezTo>
                  <a:cubicBezTo>
                    <a:pt x="2518" y="208"/>
                    <a:pt x="2517" y="204"/>
                    <a:pt x="2513" y="203"/>
                  </a:cubicBezTo>
                  <a:cubicBezTo>
                    <a:pt x="2513" y="209"/>
                    <a:pt x="2518" y="209"/>
                    <a:pt x="2513" y="213"/>
                  </a:cubicBezTo>
                  <a:cubicBezTo>
                    <a:pt x="2511" y="215"/>
                    <a:pt x="2519" y="239"/>
                    <a:pt x="2508" y="236"/>
                  </a:cubicBezTo>
                  <a:cubicBezTo>
                    <a:pt x="2507" y="233"/>
                    <a:pt x="2510" y="232"/>
                    <a:pt x="2511" y="229"/>
                  </a:cubicBezTo>
                  <a:cubicBezTo>
                    <a:pt x="2508" y="225"/>
                    <a:pt x="2504" y="222"/>
                    <a:pt x="2499" y="220"/>
                  </a:cubicBezTo>
                  <a:cubicBezTo>
                    <a:pt x="2499" y="216"/>
                    <a:pt x="2501" y="211"/>
                    <a:pt x="2497" y="211"/>
                  </a:cubicBezTo>
                  <a:cubicBezTo>
                    <a:pt x="2493" y="211"/>
                    <a:pt x="2496" y="214"/>
                    <a:pt x="2497" y="213"/>
                  </a:cubicBezTo>
                  <a:cubicBezTo>
                    <a:pt x="2492" y="219"/>
                    <a:pt x="2486" y="214"/>
                    <a:pt x="2483" y="220"/>
                  </a:cubicBezTo>
                  <a:cubicBezTo>
                    <a:pt x="2481" y="219"/>
                    <a:pt x="2479" y="218"/>
                    <a:pt x="2475" y="218"/>
                  </a:cubicBezTo>
                  <a:cubicBezTo>
                    <a:pt x="2474" y="226"/>
                    <a:pt x="2487" y="222"/>
                    <a:pt x="2483" y="232"/>
                  </a:cubicBezTo>
                  <a:cubicBezTo>
                    <a:pt x="2479" y="233"/>
                    <a:pt x="2478" y="230"/>
                    <a:pt x="2478" y="228"/>
                  </a:cubicBezTo>
                  <a:cubicBezTo>
                    <a:pt x="2478" y="225"/>
                    <a:pt x="2473" y="227"/>
                    <a:pt x="2472" y="225"/>
                  </a:cubicBezTo>
                  <a:cubicBezTo>
                    <a:pt x="2472" y="225"/>
                    <a:pt x="2472" y="216"/>
                    <a:pt x="2469" y="218"/>
                  </a:cubicBezTo>
                  <a:cubicBezTo>
                    <a:pt x="2467" y="220"/>
                    <a:pt x="2464" y="221"/>
                    <a:pt x="2464" y="211"/>
                  </a:cubicBezTo>
                  <a:cubicBezTo>
                    <a:pt x="2459" y="214"/>
                    <a:pt x="2460" y="221"/>
                    <a:pt x="2450" y="219"/>
                  </a:cubicBezTo>
                  <a:cubicBezTo>
                    <a:pt x="2450" y="216"/>
                    <a:pt x="2449" y="214"/>
                    <a:pt x="2447" y="214"/>
                  </a:cubicBezTo>
                  <a:cubicBezTo>
                    <a:pt x="2446" y="210"/>
                    <a:pt x="2449" y="210"/>
                    <a:pt x="2453" y="209"/>
                  </a:cubicBezTo>
                  <a:cubicBezTo>
                    <a:pt x="2452" y="207"/>
                    <a:pt x="2447" y="208"/>
                    <a:pt x="2447" y="205"/>
                  </a:cubicBezTo>
                  <a:cubicBezTo>
                    <a:pt x="2436" y="206"/>
                    <a:pt x="2426" y="206"/>
                    <a:pt x="2414" y="205"/>
                  </a:cubicBezTo>
                  <a:cubicBezTo>
                    <a:pt x="2406" y="208"/>
                    <a:pt x="2418" y="211"/>
                    <a:pt x="2412" y="215"/>
                  </a:cubicBezTo>
                  <a:cubicBezTo>
                    <a:pt x="2408" y="215"/>
                    <a:pt x="2404" y="215"/>
                    <a:pt x="2401" y="215"/>
                  </a:cubicBezTo>
                  <a:cubicBezTo>
                    <a:pt x="2400" y="211"/>
                    <a:pt x="2403" y="211"/>
                    <a:pt x="2403" y="208"/>
                  </a:cubicBezTo>
                  <a:cubicBezTo>
                    <a:pt x="2400" y="201"/>
                    <a:pt x="2389" y="208"/>
                    <a:pt x="2384" y="208"/>
                  </a:cubicBezTo>
                  <a:cubicBezTo>
                    <a:pt x="2378" y="197"/>
                    <a:pt x="2422" y="207"/>
                    <a:pt x="2411" y="201"/>
                  </a:cubicBezTo>
                  <a:cubicBezTo>
                    <a:pt x="2412" y="198"/>
                    <a:pt x="2414" y="199"/>
                    <a:pt x="2414" y="200"/>
                  </a:cubicBezTo>
                  <a:cubicBezTo>
                    <a:pt x="2421" y="203"/>
                    <a:pt x="2431" y="203"/>
                    <a:pt x="2442" y="202"/>
                  </a:cubicBezTo>
                  <a:cubicBezTo>
                    <a:pt x="2444" y="201"/>
                    <a:pt x="2446" y="200"/>
                    <a:pt x="2450" y="200"/>
                  </a:cubicBezTo>
                  <a:cubicBezTo>
                    <a:pt x="2450" y="198"/>
                    <a:pt x="2450" y="195"/>
                    <a:pt x="2450" y="193"/>
                  </a:cubicBezTo>
                  <a:cubicBezTo>
                    <a:pt x="2456" y="187"/>
                    <a:pt x="2447" y="202"/>
                    <a:pt x="2458" y="202"/>
                  </a:cubicBezTo>
                  <a:cubicBezTo>
                    <a:pt x="2463" y="202"/>
                    <a:pt x="2468" y="203"/>
                    <a:pt x="2463" y="204"/>
                  </a:cubicBezTo>
                  <a:cubicBezTo>
                    <a:pt x="2460" y="206"/>
                    <a:pt x="2455" y="203"/>
                    <a:pt x="2455" y="207"/>
                  </a:cubicBezTo>
                  <a:cubicBezTo>
                    <a:pt x="2453" y="211"/>
                    <a:pt x="2468" y="210"/>
                    <a:pt x="2466" y="207"/>
                  </a:cubicBezTo>
                  <a:cubicBezTo>
                    <a:pt x="2469" y="205"/>
                    <a:pt x="2469" y="201"/>
                    <a:pt x="2474" y="202"/>
                  </a:cubicBezTo>
                  <a:cubicBezTo>
                    <a:pt x="2474" y="198"/>
                    <a:pt x="2477" y="198"/>
                    <a:pt x="2477" y="195"/>
                  </a:cubicBezTo>
                  <a:cubicBezTo>
                    <a:pt x="2481" y="195"/>
                    <a:pt x="2478" y="202"/>
                    <a:pt x="2483" y="202"/>
                  </a:cubicBezTo>
                  <a:cubicBezTo>
                    <a:pt x="2490" y="202"/>
                    <a:pt x="2492" y="198"/>
                    <a:pt x="2491" y="192"/>
                  </a:cubicBezTo>
                  <a:cubicBezTo>
                    <a:pt x="2499" y="194"/>
                    <a:pt x="2494" y="196"/>
                    <a:pt x="2494" y="201"/>
                  </a:cubicBezTo>
                  <a:cubicBezTo>
                    <a:pt x="2500" y="202"/>
                    <a:pt x="2504" y="201"/>
                    <a:pt x="2505" y="197"/>
                  </a:cubicBezTo>
                  <a:cubicBezTo>
                    <a:pt x="2508" y="196"/>
                    <a:pt x="2506" y="200"/>
                    <a:pt x="2507" y="201"/>
                  </a:cubicBezTo>
                  <a:cubicBezTo>
                    <a:pt x="2511" y="203"/>
                    <a:pt x="2519" y="200"/>
                    <a:pt x="2524" y="201"/>
                  </a:cubicBezTo>
                  <a:cubicBezTo>
                    <a:pt x="2527" y="200"/>
                    <a:pt x="2529" y="198"/>
                    <a:pt x="2529" y="194"/>
                  </a:cubicBezTo>
                  <a:cubicBezTo>
                    <a:pt x="2540" y="192"/>
                    <a:pt x="2540" y="192"/>
                    <a:pt x="2551" y="193"/>
                  </a:cubicBezTo>
                  <a:cubicBezTo>
                    <a:pt x="2553" y="201"/>
                    <a:pt x="2548" y="202"/>
                    <a:pt x="2549" y="208"/>
                  </a:cubicBezTo>
                  <a:cubicBezTo>
                    <a:pt x="2546" y="206"/>
                    <a:pt x="2542" y="205"/>
                    <a:pt x="2538" y="205"/>
                  </a:cubicBezTo>
                  <a:cubicBezTo>
                    <a:pt x="2537" y="212"/>
                    <a:pt x="2544" y="213"/>
                    <a:pt x="2543" y="219"/>
                  </a:cubicBezTo>
                  <a:close/>
                  <a:moveTo>
                    <a:pt x="2549" y="212"/>
                  </a:moveTo>
                  <a:cubicBezTo>
                    <a:pt x="2550" y="209"/>
                    <a:pt x="2552" y="213"/>
                    <a:pt x="2557" y="212"/>
                  </a:cubicBezTo>
                  <a:cubicBezTo>
                    <a:pt x="2559" y="219"/>
                    <a:pt x="2547" y="215"/>
                    <a:pt x="2552" y="224"/>
                  </a:cubicBezTo>
                  <a:cubicBezTo>
                    <a:pt x="2539" y="223"/>
                    <a:pt x="2556" y="214"/>
                    <a:pt x="2549" y="212"/>
                  </a:cubicBezTo>
                  <a:close/>
                  <a:moveTo>
                    <a:pt x="2549" y="238"/>
                  </a:moveTo>
                  <a:cubicBezTo>
                    <a:pt x="2548" y="233"/>
                    <a:pt x="2554" y="235"/>
                    <a:pt x="2554" y="231"/>
                  </a:cubicBezTo>
                  <a:cubicBezTo>
                    <a:pt x="2558" y="231"/>
                    <a:pt x="2557" y="235"/>
                    <a:pt x="2557" y="238"/>
                  </a:cubicBezTo>
                  <a:cubicBezTo>
                    <a:pt x="2555" y="238"/>
                    <a:pt x="2552" y="238"/>
                    <a:pt x="2549" y="238"/>
                  </a:cubicBezTo>
                  <a:close/>
                  <a:moveTo>
                    <a:pt x="2553" y="146"/>
                  </a:moveTo>
                  <a:cubicBezTo>
                    <a:pt x="2555" y="146"/>
                    <a:pt x="2557" y="146"/>
                    <a:pt x="2559" y="146"/>
                  </a:cubicBezTo>
                  <a:cubicBezTo>
                    <a:pt x="2559" y="153"/>
                    <a:pt x="2538" y="146"/>
                    <a:pt x="2553" y="146"/>
                  </a:cubicBezTo>
                  <a:close/>
                  <a:moveTo>
                    <a:pt x="2570" y="167"/>
                  </a:moveTo>
                  <a:cubicBezTo>
                    <a:pt x="2567" y="175"/>
                    <a:pt x="2562" y="165"/>
                    <a:pt x="2564" y="160"/>
                  </a:cubicBezTo>
                  <a:cubicBezTo>
                    <a:pt x="2568" y="161"/>
                    <a:pt x="2565" y="167"/>
                    <a:pt x="2570" y="167"/>
                  </a:cubicBezTo>
                  <a:close/>
                  <a:moveTo>
                    <a:pt x="2567" y="137"/>
                  </a:moveTo>
                  <a:cubicBezTo>
                    <a:pt x="2570" y="138"/>
                    <a:pt x="2572" y="140"/>
                    <a:pt x="2572" y="144"/>
                  </a:cubicBezTo>
                  <a:cubicBezTo>
                    <a:pt x="2569" y="143"/>
                    <a:pt x="2566" y="141"/>
                    <a:pt x="2567" y="137"/>
                  </a:cubicBezTo>
                  <a:close/>
                  <a:moveTo>
                    <a:pt x="2568" y="191"/>
                  </a:moveTo>
                  <a:cubicBezTo>
                    <a:pt x="2570" y="191"/>
                    <a:pt x="2573" y="191"/>
                    <a:pt x="2576" y="191"/>
                  </a:cubicBezTo>
                  <a:cubicBezTo>
                    <a:pt x="2575" y="196"/>
                    <a:pt x="2564" y="192"/>
                    <a:pt x="2559" y="193"/>
                  </a:cubicBezTo>
                  <a:cubicBezTo>
                    <a:pt x="2560" y="190"/>
                    <a:pt x="2564" y="191"/>
                    <a:pt x="2568" y="191"/>
                  </a:cubicBezTo>
                  <a:close/>
                  <a:moveTo>
                    <a:pt x="2559" y="200"/>
                  </a:moveTo>
                  <a:cubicBezTo>
                    <a:pt x="2562" y="205"/>
                    <a:pt x="2573" y="201"/>
                    <a:pt x="2565" y="198"/>
                  </a:cubicBezTo>
                  <a:cubicBezTo>
                    <a:pt x="2567" y="194"/>
                    <a:pt x="2569" y="198"/>
                    <a:pt x="2576" y="195"/>
                  </a:cubicBezTo>
                  <a:cubicBezTo>
                    <a:pt x="2576" y="199"/>
                    <a:pt x="2564" y="203"/>
                    <a:pt x="2576" y="202"/>
                  </a:cubicBezTo>
                  <a:cubicBezTo>
                    <a:pt x="2586" y="207"/>
                    <a:pt x="2561" y="202"/>
                    <a:pt x="2562" y="207"/>
                  </a:cubicBezTo>
                  <a:cubicBezTo>
                    <a:pt x="2560" y="208"/>
                    <a:pt x="2560" y="206"/>
                    <a:pt x="2560" y="205"/>
                  </a:cubicBezTo>
                  <a:cubicBezTo>
                    <a:pt x="2560" y="203"/>
                    <a:pt x="2560" y="202"/>
                    <a:pt x="2559" y="200"/>
                  </a:cubicBezTo>
                  <a:close/>
                  <a:moveTo>
                    <a:pt x="2595" y="219"/>
                  </a:moveTo>
                  <a:cubicBezTo>
                    <a:pt x="2593" y="223"/>
                    <a:pt x="2594" y="216"/>
                    <a:pt x="2590" y="216"/>
                  </a:cubicBezTo>
                  <a:cubicBezTo>
                    <a:pt x="2587" y="216"/>
                    <a:pt x="2585" y="212"/>
                    <a:pt x="2584" y="207"/>
                  </a:cubicBezTo>
                  <a:cubicBezTo>
                    <a:pt x="2588" y="207"/>
                    <a:pt x="2592" y="207"/>
                    <a:pt x="2595" y="207"/>
                  </a:cubicBezTo>
                  <a:cubicBezTo>
                    <a:pt x="2597" y="214"/>
                    <a:pt x="2590" y="214"/>
                    <a:pt x="2595" y="219"/>
                  </a:cubicBezTo>
                  <a:close/>
                  <a:moveTo>
                    <a:pt x="2591" y="263"/>
                  </a:moveTo>
                  <a:cubicBezTo>
                    <a:pt x="2589" y="268"/>
                    <a:pt x="2586" y="265"/>
                    <a:pt x="2588" y="256"/>
                  </a:cubicBezTo>
                  <a:cubicBezTo>
                    <a:pt x="2590" y="250"/>
                    <a:pt x="2591" y="262"/>
                    <a:pt x="2591" y="263"/>
                  </a:cubicBezTo>
                  <a:close/>
                  <a:moveTo>
                    <a:pt x="2582" y="230"/>
                  </a:moveTo>
                  <a:cubicBezTo>
                    <a:pt x="2594" y="232"/>
                    <a:pt x="2580" y="245"/>
                    <a:pt x="2582" y="230"/>
                  </a:cubicBezTo>
                  <a:close/>
                  <a:moveTo>
                    <a:pt x="2571" y="228"/>
                  </a:moveTo>
                  <a:cubicBezTo>
                    <a:pt x="2572" y="226"/>
                    <a:pt x="2573" y="224"/>
                    <a:pt x="2576" y="224"/>
                  </a:cubicBezTo>
                  <a:cubicBezTo>
                    <a:pt x="2575" y="220"/>
                    <a:pt x="2568" y="222"/>
                    <a:pt x="2571" y="214"/>
                  </a:cubicBezTo>
                  <a:cubicBezTo>
                    <a:pt x="2579" y="214"/>
                    <a:pt x="2580" y="220"/>
                    <a:pt x="2582" y="226"/>
                  </a:cubicBezTo>
                  <a:cubicBezTo>
                    <a:pt x="2579" y="228"/>
                    <a:pt x="2576" y="228"/>
                    <a:pt x="2571" y="228"/>
                  </a:cubicBezTo>
                  <a:close/>
                  <a:moveTo>
                    <a:pt x="2560" y="221"/>
                  </a:moveTo>
                  <a:cubicBezTo>
                    <a:pt x="2560" y="219"/>
                    <a:pt x="2560" y="217"/>
                    <a:pt x="2560" y="214"/>
                  </a:cubicBezTo>
                  <a:cubicBezTo>
                    <a:pt x="2562" y="214"/>
                    <a:pt x="2565" y="214"/>
                    <a:pt x="2568" y="214"/>
                  </a:cubicBezTo>
                  <a:cubicBezTo>
                    <a:pt x="2565" y="217"/>
                    <a:pt x="2567" y="223"/>
                    <a:pt x="2560" y="221"/>
                  </a:cubicBezTo>
                  <a:close/>
                  <a:moveTo>
                    <a:pt x="2568" y="231"/>
                  </a:moveTo>
                  <a:cubicBezTo>
                    <a:pt x="2578" y="230"/>
                    <a:pt x="2572" y="243"/>
                    <a:pt x="2577" y="247"/>
                  </a:cubicBezTo>
                  <a:cubicBezTo>
                    <a:pt x="2566" y="249"/>
                    <a:pt x="2569" y="238"/>
                    <a:pt x="2568" y="231"/>
                  </a:cubicBezTo>
                  <a:close/>
                  <a:moveTo>
                    <a:pt x="2569" y="254"/>
                  </a:moveTo>
                  <a:cubicBezTo>
                    <a:pt x="2568" y="251"/>
                    <a:pt x="2576" y="246"/>
                    <a:pt x="2577" y="252"/>
                  </a:cubicBezTo>
                  <a:cubicBezTo>
                    <a:pt x="2576" y="254"/>
                    <a:pt x="2578" y="254"/>
                    <a:pt x="2580" y="254"/>
                  </a:cubicBezTo>
                  <a:cubicBezTo>
                    <a:pt x="2578" y="261"/>
                    <a:pt x="2574" y="252"/>
                    <a:pt x="2569" y="254"/>
                  </a:cubicBezTo>
                  <a:close/>
                  <a:moveTo>
                    <a:pt x="2579" y="242"/>
                  </a:moveTo>
                  <a:cubicBezTo>
                    <a:pt x="2578" y="238"/>
                    <a:pt x="2592" y="239"/>
                    <a:pt x="2588" y="244"/>
                  </a:cubicBezTo>
                  <a:cubicBezTo>
                    <a:pt x="2586" y="245"/>
                    <a:pt x="2584" y="245"/>
                    <a:pt x="2582" y="245"/>
                  </a:cubicBezTo>
                  <a:cubicBezTo>
                    <a:pt x="2583" y="243"/>
                    <a:pt x="2581" y="242"/>
                    <a:pt x="2579" y="242"/>
                  </a:cubicBezTo>
                  <a:close/>
                  <a:moveTo>
                    <a:pt x="2585" y="275"/>
                  </a:moveTo>
                  <a:cubicBezTo>
                    <a:pt x="2586" y="269"/>
                    <a:pt x="2596" y="271"/>
                    <a:pt x="2596" y="266"/>
                  </a:cubicBezTo>
                  <a:cubicBezTo>
                    <a:pt x="2603" y="268"/>
                    <a:pt x="2595" y="278"/>
                    <a:pt x="2585" y="275"/>
                  </a:cubicBezTo>
                  <a:close/>
                  <a:moveTo>
                    <a:pt x="2631" y="232"/>
                  </a:moveTo>
                  <a:cubicBezTo>
                    <a:pt x="2638" y="234"/>
                    <a:pt x="2643" y="237"/>
                    <a:pt x="2643" y="246"/>
                  </a:cubicBezTo>
                  <a:cubicBezTo>
                    <a:pt x="2637" y="247"/>
                    <a:pt x="2639" y="243"/>
                    <a:pt x="2637" y="241"/>
                  </a:cubicBezTo>
                  <a:cubicBezTo>
                    <a:pt x="2635" y="239"/>
                    <a:pt x="2630" y="235"/>
                    <a:pt x="2631" y="232"/>
                  </a:cubicBezTo>
                  <a:close/>
                  <a:moveTo>
                    <a:pt x="2613" y="263"/>
                  </a:moveTo>
                  <a:cubicBezTo>
                    <a:pt x="2615" y="262"/>
                    <a:pt x="2622" y="254"/>
                    <a:pt x="2615" y="253"/>
                  </a:cubicBezTo>
                  <a:cubicBezTo>
                    <a:pt x="2616" y="247"/>
                    <a:pt x="2624" y="253"/>
                    <a:pt x="2621" y="258"/>
                  </a:cubicBezTo>
                  <a:cubicBezTo>
                    <a:pt x="2630" y="261"/>
                    <a:pt x="2623" y="250"/>
                    <a:pt x="2632" y="253"/>
                  </a:cubicBezTo>
                  <a:cubicBezTo>
                    <a:pt x="2632" y="255"/>
                    <a:pt x="2631" y="255"/>
                    <a:pt x="2629" y="255"/>
                  </a:cubicBezTo>
                  <a:cubicBezTo>
                    <a:pt x="2629" y="262"/>
                    <a:pt x="2633" y="260"/>
                    <a:pt x="2629" y="267"/>
                  </a:cubicBezTo>
                  <a:cubicBezTo>
                    <a:pt x="2628" y="270"/>
                    <a:pt x="2629" y="272"/>
                    <a:pt x="2624" y="272"/>
                  </a:cubicBezTo>
                  <a:cubicBezTo>
                    <a:pt x="2621" y="265"/>
                    <a:pt x="2628" y="266"/>
                    <a:pt x="2626" y="260"/>
                  </a:cubicBezTo>
                  <a:cubicBezTo>
                    <a:pt x="2620" y="259"/>
                    <a:pt x="2621" y="264"/>
                    <a:pt x="2621" y="267"/>
                  </a:cubicBezTo>
                  <a:cubicBezTo>
                    <a:pt x="2611" y="266"/>
                    <a:pt x="2598" y="263"/>
                    <a:pt x="2604" y="254"/>
                  </a:cubicBezTo>
                  <a:cubicBezTo>
                    <a:pt x="2600" y="253"/>
                    <a:pt x="2599" y="255"/>
                    <a:pt x="2599" y="258"/>
                  </a:cubicBezTo>
                  <a:cubicBezTo>
                    <a:pt x="2591" y="257"/>
                    <a:pt x="2601" y="253"/>
                    <a:pt x="2599" y="249"/>
                  </a:cubicBezTo>
                  <a:cubicBezTo>
                    <a:pt x="2604" y="251"/>
                    <a:pt x="2608" y="253"/>
                    <a:pt x="2607" y="261"/>
                  </a:cubicBezTo>
                  <a:cubicBezTo>
                    <a:pt x="2610" y="260"/>
                    <a:pt x="2612" y="261"/>
                    <a:pt x="2613" y="263"/>
                  </a:cubicBezTo>
                  <a:close/>
                  <a:moveTo>
                    <a:pt x="2607" y="232"/>
                  </a:moveTo>
                  <a:cubicBezTo>
                    <a:pt x="2605" y="239"/>
                    <a:pt x="2611" y="238"/>
                    <a:pt x="2610" y="244"/>
                  </a:cubicBezTo>
                  <a:cubicBezTo>
                    <a:pt x="2607" y="244"/>
                    <a:pt x="2604" y="244"/>
                    <a:pt x="2601" y="244"/>
                  </a:cubicBezTo>
                  <a:cubicBezTo>
                    <a:pt x="2601" y="240"/>
                    <a:pt x="2605" y="239"/>
                    <a:pt x="2604" y="235"/>
                  </a:cubicBezTo>
                  <a:cubicBezTo>
                    <a:pt x="2601" y="236"/>
                    <a:pt x="2598" y="238"/>
                    <a:pt x="2599" y="242"/>
                  </a:cubicBezTo>
                  <a:cubicBezTo>
                    <a:pt x="2594" y="240"/>
                    <a:pt x="2594" y="234"/>
                    <a:pt x="2593" y="230"/>
                  </a:cubicBezTo>
                  <a:cubicBezTo>
                    <a:pt x="2596" y="232"/>
                    <a:pt x="2600" y="233"/>
                    <a:pt x="2607" y="232"/>
                  </a:cubicBezTo>
                  <a:close/>
                  <a:moveTo>
                    <a:pt x="2584" y="198"/>
                  </a:moveTo>
                  <a:cubicBezTo>
                    <a:pt x="2586" y="194"/>
                    <a:pt x="2591" y="196"/>
                    <a:pt x="2592" y="197"/>
                  </a:cubicBezTo>
                  <a:cubicBezTo>
                    <a:pt x="2593" y="198"/>
                    <a:pt x="2597" y="197"/>
                    <a:pt x="2598" y="197"/>
                  </a:cubicBezTo>
                  <a:cubicBezTo>
                    <a:pt x="2599" y="198"/>
                    <a:pt x="2598" y="204"/>
                    <a:pt x="2603" y="202"/>
                  </a:cubicBezTo>
                  <a:cubicBezTo>
                    <a:pt x="2596" y="210"/>
                    <a:pt x="2590" y="198"/>
                    <a:pt x="2584" y="198"/>
                  </a:cubicBezTo>
                  <a:close/>
                  <a:moveTo>
                    <a:pt x="2586" y="146"/>
                  </a:moveTo>
                  <a:cubicBezTo>
                    <a:pt x="2591" y="147"/>
                    <a:pt x="2598" y="146"/>
                    <a:pt x="2597" y="153"/>
                  </a:cubicBezTo>
                  <a:cubicBezTo>
                    <a:pt x="2591" y="149"/>
                    <a:pt x="2594" y="153"/>
                    <a:pt x="2586" y="153"/>
                  </a:cubicBezTo>
                  <a:cubicBezTo>
                    <a:pt x="2586" y="151"/>
                    <a:pt x="2586" y="148"/>
                    <a:pt x="2586" y="146"/>
                  </a:cubicBezTo>
                  <a:close/>
                  <a:moveTo>
                    <a:pt x="2625" y="171"/>
                  </a:moveTo>
                  <a:cubicBezTo>
                    <a:pt x="2625" y="167"/>
                    <a:pt x="2625" y="163"/>
                    <a:pt x="2625" y="159"/>
                  </a:cubicBezTo>
                  <a:cubicBezTo>
                    <a:pt x="2633" y="155"/>
                    <a:pt x="2633" y="174"/>
                    <a:pt x="2625" y="171"/>
                  </a:cubicBezTo>
                  <a:close/>
                  <a:moveTo>
                    <a:pt x="2639" y="182"/>
                  </a:moveTo>
                  <a:cubicBezTo>
                    <a:pt x="2631" y="179"/>
                    <a:pt x="2636" y="177"/>
                    <a:pt x="2633" y="168"/>
                  </a:cubicBezTo>
                  <a:cubicBezTo>
                    <a:pt x="2636" y="168"/>
                    <a:pt x="2638" y="168"/>
                    <a:pt x="2641" y="168"/>
                  </a:cubicBezTo>
                  <a:cubicBezTo>
                    <a:pt x="2638" y="171"/>
                    <a:pt x="2638" y="177"/>
                    <a:pt x="2639" y="182"/>
                  </a:cubicBezTo>
                  <a:close/>
                  <a:moveTo>
                    <a:pt x="2655" y="173"/>
                  </a:moveTo>
                  <a:cubicBezTo>
                    <a:pt x="2662" y="173"/>
                    <a:pt x="2656" y="181"/>
                    <a:pt x="2655" y="182"/>
                  </a:cubicBezTo>
                  <a:cubicBezTo>
                    <a:pt x="2647" y="181"/>
                    <a:pt x="2658" y="177"/>
                    <a:pt x="2655" y="173"/>
                  </a:cubicBezTo>
                  <a:close/>
                  <a:moveTo>
                    <a:pt x="2663" y="189"/>
                  </a:moveTo>
                  <a:cubicBezTo>
                    <a:pt x="2661" y="187"/>
                    <a:pt x="2657" y="187"/>
                    <a:pt x="2652" y="187"/>
                  </a:cubicBezTo>
                  <a:cubicBezTo>
                    <a:pt x="2652" y="183"/>
                    <a:pt x="2668" y="182"/>
                    <a:pt x="2663" y="189"/>
                  </a:cubicBezTo>
                  <a:close/>
                  <a:moveTo>
                    <a:pt x="2660" y="154"/>
                  </a:moveTo>
                  <a:cubicBezTo>
                    <a:pt x="2656" y="157"/>
                    <a:pt x="2653" y="157"/>
                    <a:pt x="2649" y="154"/>
                  </a:cubicBezTo>
                  <a:cubicBezTo>
                    <a:pt x="2651" y="146"/>
                    <a:pt x="2656" y="154"/>
                    <a:pt x="2666" y="151"/>
                  </a:cubicBezTo>
                  <a:cubicBezTo>
                    <a:pt x="2668" y="150"/>
                    <a:pt x="2668" y="146"/>
                    <a:pt x="2674" y="147"/>
                  </a:cubicBezTo>
                  <a:cubicBezTo>
                    <a:pt x="2675" y="151"/>
                    <a:pt x="2672" y="151"/>
                    <a:pt x="2668" y="151"/>
                  </a:cubicBezTo>
                  <a:cubicBezTo>
                    <a:pt x="2668" y="154"/>
                    <a:pt x="2669" y="156"/>
                    <a:pt x="2671" y="156"/>
                  </a:cubicBezTo>
                  <a:cubicBezTo>
                    <a:pt x="2671" y="162"/>
                    <a:pt x="2661" y="156"/>
                    <a:pt x="2660" y="154"/>
                  </a:cubicBezTo>
                  <a:close/>
                  <a:moveTo>
                    <a:pt x="2669" y="168"/>
                  </a:moveTo>
                  <a:cubicBezTo>
                    <a:pt x="2669" y="166"/>
                    <a:pt x="2669" y="165"/>
                    <a:pt x="2669" y="163"/>
                  </a:cubicBezTo>
                  <a:cubicBezTo>
                    <a:pt x="2670" y="163"/>
                    <a:pt x="2672" y="163"/>
                    <a:pt x="2674" y="163"/>
                  </a:cubicBezTo>
                  <a:cubicBezTo>
                    <a:pt x="2674" y="165"/>
                    <a:pt x="2674" y="166"/>
                    <a:pt x="2674" y="168"/>
                  </a:cubicBezTo>
                  <a:cubicBezTo>
                    <a:pt x="2672" y="168"/>
                    <a:pt x="2670" y="168"/>
                    <a:pt x="2669" y="168"/>
                  </a:cubicBezTo>
                  <a:close/>
                  <a:moveTo>
                    <a:pt x="2685" y="184"/>
                  </a:moveTo>
                  <a:cubicBezTo>
                    <a:pt x="2679" y="185"/>
                    <a:pt x="2681" y="180"/>
                    <a:pt x="2677" y="179"/>
                  </a:cubicBezTo>
                  <a:cubicBezTo>
                    <a:pt x="2678" y="174"/>
                    <a:pt x="2688" y="179"/>
                    <a:pt x="2685" y="184"/>
                  </a:cubicBezTo>
                  <a:close/>
                  <a:moveTo>
                    <a:pt x="2682" y="135"/>
                  </a:moveTo>
                  <a:cubicBezTo>
                    <a:pt x="2682" y="141"/>
                    <a:pt x="2671" y="138"/>
                    <a:pt x="2671" y="144"/>
                  </a:cubicBezTo>
                  <a:cubicBezTo>
                    <a:pt x="2669" y="142"/>
                    <a:pt x="2661" y="135"/>
                    <a:pt x="2663" y="147"/>
                  </a:cubicBezTo>
                  <a:cubicBezTo>
                    <a:pt x="2659" y="148"/>
                    <a:pt x="2661" y="140"/>
                    <a:pt x="2660" y="140"/>
                  </a:cubicBezTo>
                  <a:cubicBezTo>
                    <a:pt x="2657" y="139"/>
                    <a:pt x="2654" y="144"/>
                    <a:pt x="2649" y="140"/>
                  </a:cubicBezTo>
                  <a:cubicBezTo>
                    <a:pt x="2647" y="139"/>
                    <a:pt x="2630" y="144"/>
                    <a:pt x="2632" y="136"/>
                  </a:cubicBezTo>
                  <a:cubicBezTo>
                    <a:pt x="2628" y="135"/>
                    <a:pt x="2627" y="137"/>
                    <a:pt x="2627" y="140"/>
                  </a:cubicBezTo>
                  <a:cubicBezTo>
                    <a:pt x="2620" y="142"/>
                    <a:pt x="2621" y="136"/>
                    <a:pt x="2616" y="136"/>
                  </a:cubicBezTo>
                  <a:cubicBezTo>
                    <a:pt x="2613" y="137"/>
                    <a:pt x="2614" y="141"/>
                    <a:pt x="2610" y="141"/>
                  </a:cubicBezTo>
                  <a:cubicBezTo>
                    <a:pt x="2606" y="142"/>
                    <a:pt x="2605" y="139"/>
                    <a:pt x="2605" y="136"/>
                  </a:cubicBezTo>
                  <a:cubicBezTo>
                    <a:pt x="2593" y="134"/>
                    <a:pt x="2592" y="141"/>
                    <a:pt x="2583" y="141"/>
                  </a:cubicBezTo>
                  <a:cubicBezTo>
                    <a:pt x="2583" y="139"/>
                    <a:pt x="2583" y="136"/>
                    <a:pt x="2583" y="134"/>
                  </a:cubicBezTo>
                  <a:cubicBezTo>
                    <a:pt x="2573" y="133"/>
                    <a:pt x="2581" y="141"/>
                    <a:pt x="2572" y="137"/>
                  </a:cubicBezTo>
                  <a:cubicBezTo>
                    <a:pt x="2572" y="137"/>
                    <a:pt x="2568" y="134"/>
                    <a:pt x="2569" y="134"/>
                  </a:cubicBezTo>
                  <a:cubicBezTo>
                    <a:pt x="2568" y="134"/>
                    <a:pt x="2561" y="140"/>
                    <a:pt x="2561" y="134"/>
                  </a:cubicBezTo>
                  <a:cubicBezTo>
                    <a:pt x="2558" y="135"/>
                    <a:pt x="2560" y="137"/>
                    <a:pt x="2561" y="137"/>
                  </a:cubicBezTo>
                  <a:cubicBezTo>
                    <a:pt x="2562" y="142"/>
                    <a:pt x="2551" y="138"/>
                    <a:pt x="2547" y="139"/>
                  </a:cubicBezTo>
                  <a:cubicBezTo>
                    <a:pt x="2547" y="137"/>
                    <a:pt x="2551" y="138"/>
                    <a:pt x="2553" y="137"/>
                  </a:cubicBezTo>
                  <a:cubicBezTo>
                    <a:pt x="2561" y="132"/>
                    <a:pt x="2569" y="128"/>
                    <a:pt x="2577" y="127"/>
                  </a:cubicBezTo>
                  <a:cubicBezTo>
                    <a:pt x="2578" y="127"/>
                    <a:pt x="2577" y="132"/>
                    <a:pt x="2578" y="132"/>
                  </a:cubicBezTo>
                  <a:cubicBezTo>
                    <a:pt x="2580" y="134"/>
                    <a:pt x="2586" y="128"/>
                    <a:pt x="2586" y="127"/>
                  </a:cubicBezTo>
                  <a:cubicBezTo>
                    <a:pt x="2587" y="128"/>
                    <a:pt x="2589" y="128"/>
                    <a:pt x="2591" y="129"/>
                  </a:cubicBezTo>
                  <a:cubicBezTo>
                    <a:pt x="2594" y="131"/>
                    <a:pt x="2595" y="131"/>
                    <a:pt x="2599" y="131"/>
                  </a:cubicBezTo>
                  <a:cubicBezTo>
                    <a:pt x="2601" y="132"/>
                    <a:pt x="2603" y="134"/>
                    <a:pt x="2602" y="134"/>
                  </a:cubicBezTo>
                  <a:cubicBezTo>
                    <a:pt x="2606" y="134"/>
                    <a:pt x="2608" y="130"/>
                    <a:pt x="2616" y="131"/>
                  </a:cubicBezTo>
                  <a:cubicBezTo>
                    <a:pt x="2617" y="131"/>
                    <a:pt x="2619" y="133"/>
                    <a:pt x="2619" y="133"/>
                  </a:cubicBezTo>
                  <a:cubicBezTo>
                    <a:pt x="2621" y="134"/>
                    <a:pt x="2623" y="131"/>
                    <a:pt x="2627" y="131"/>
                  </a:cubicBezTo>
                  <a:cubicBezTo>
                    <a:pt x="2626" y="131"/>
                    <a:pt x="2631" y="135"/>
                    <a:pt x="2632" y="133"/>
                  </a:cubicBezTo>
                  <a:cubicBezTo>
                    <a:pt x="2635" y="130"/>
                    <a:pt x="2634" y="133"/>
                    <a:pt x="2638" y="133"/>
                  </a:cubicBezTo>
                  <a:cubicBezTo>
                    <a:pt x="2642" y="133"/>
                    <a:pt x="2643" y="131"/>
                    <a:pt x="2646" y="131"/>
                  </a:cubicBezTo>
                  <a:cubicBezTo>
                    <a:pt x="2657" y="131"/>
                    <a:pt x="2670" y="132"/>
                    <a:pt x="2682" y="135"/>
                  </a:cubicBezTo>
                  <a:close/>
                  <a:moveTo>
                    <a:pt x="2665" y="116"/>
                  </a:moveTo>
                  <a:cubicBezTo>
                    <a:pt x="2665" y="119"/>
                    <a:pt x="2662" y="118"/>
                    <a:pt x="2660" y="119"/>
                  </a:cubicBezTo>
                  <a:cubicBezTo>
                    <a:pt x="2657" y="120"/>
                    <a:pt x="2657" y="124"/>
                    <a:pt x="2651" y="124"/>
                  </a:cubicBezTo>
                  <a:cubicBezTo>
                    <a:pt x="2653" y="122"/>
                    <a:pt x="2654" y="120"/>
                    <a:pt x="2654" y="116"/>
                  </a:cubicBezTo>
                  <a:cubicBezTo>
                    <a:pt x="2650" y="116"/>
                    <a:pt x="2645" y="126"/>
                    <a:pt x="2646" y="117"/>
                  </a:cubicBezTo>
                  <a:cubicBezTo>
                    <a:pt x="2650" y="117"/>
                    <a:pt x="2651" y="115"/>
                    <a:pt x="2651" y="112"/>
                  </a:cubicBezTo>
                  <a:cubicBezTo>
                    <a:pt x="2660" y="110"/>
                    <a:pt x="2657" y="118"/>
                    <a:pt x="2665" y="116"/>
                  </a:cubicBezTo>
                  <a:close/>
                  <a:moveTo>
                    <a:pt x="2673" y="107"/>
                  </a:moveTo>
                  <a:cubicBezTo>
                    <a:pt x="2664" y="110"/>
                    <a:pt x="2671" y="99"/>
                    <a:pt x="2662" y="102"/>
                  </a:cubicBezTo>
                  <a:cubicBezTo>
                    <a:pt x="2664" y="92"/>
                    <a:pt x="2681" y="102"/>
                    <a:pt x="2673" y="107"/>
                  </a:cubicBezTo>
                  <a:close/>
                  <a:moveTo>
                    <a:pt x="2724" y="24"/>
                  </a:moveTo>
                  <a:cubicBezTo>
                    <a:pt x="2718" y="17"/>
                    <a:pt x="2716" y="33"/>
                    <a:pt x="2715" y="19"/>
                  </a:cubicBezTo>
                  <a:cubicBezTo>
                    <a:pt x="2721" y="18"/>
                    <a:pt x="2724" y="19"/>
                    <a:pt x="2724" y="24"/>
                  </a:cubicBezTo>
                  <a:close/>
                  <a:moveTo>
                    <a:pt x="2694" y="71"/>
                  </a:moveTo>
                  <a:cubicBezTo>
                    <a:pt x="2697" y="71"/>
                    <a:pt x="2697" y="74"/>
                    <a:pt x="2697" y="76"/>
                  </a:cubicBezTo>
                  <a:cubicBezTo>
                    <a:pt x="2700" y="76"/>
                    <a:pt x="2702" y="75"/>
                    <a:pt x="2703" y="73"/>
                  </a:cubicBezTo>
                  <a:cubicBezTo>
                    <a:pt x="2706" y="75"/>
                    <a:pt x="2708" y="78"/>
                    <a:pt x="2708" y="83"/>
                  </a:cubicBezTo>
                  <a:cubicBezTo>
                    <a:pt x="2703" y="77"/>
                    <a:pt x="2689" y="81"/>
                    <a:pt x="2694" y="71"/>
                  </a:cubicBezTo>
                  <a:close/>
                  <a:moveTo>
                    <a:pt x="2700" y="106"/>
                  </a:moveTo>
                  <a:cubicBezTo>
                    <a:pt x="2698" y="104"/>
                    <a:pt x="2690" y="106"/>
                    <a:pt x="2692" y="99"/>
                  </a:cubicBezTo>
                  <a:cubicBezTo>
                    <a:pt x="2698" y="99"/>
                    <a:pt x="2701" y="101"/>
                    <a:pt x="2700" y="106"/>
                  </a:cubicBezTo>
                  <a:close/>
                  <a:moveTo>
                    <a:pt x="2698" y="97"/>
                  </a:moveTo>
                  <a:cubicBezTo>
                    <a:pt x="2698" y="95"/>
                    <a:pt x="2701" y="95"/>
                    <a:pt x="2703" y="94"/>
                  </a:cubicBezTo>
                  <a:cubicBezTo>
                    <a:pt x="2705" y="94"/>
                    <a:pt x="2707" y="94"/>
                    <a:pt x="2708" y="94"/>
                  </a:cubicBezTo>
                  <a:cubicBezTo>
                    <a:pt x="2708" y="98"/>
                    <a:pt x="2702" y="96"/>
                    <a:pt x="2698" y="97"/>
                  </a:cubicBezTo>
                  <a:close/>
                  <a:moveTo>
                    <a:pt x="2722" y="99"/>
                  </a:moveTo>
                  <a:cubicBezTo>
                    <a:pt x="2722" y="101"/>
                    <a:pt x="2725" y="101"/>
                    <a:pt x="2725" y="101"/>
                  </a:cubicBezTo>
                  <a:cubicBezTo>
                    <a:pt x="2725" y="105"/>
                    <a:pt x="2721" y="107"/>
                    <a:pt x="2725" y="108"/>
                  </a:cubicBezTo>
                  <a:cubicBezTo>
                    <a:pt x="2726" y="109"/>
                    <a:pt x="2720" y="111"/>
                    <a:pt x="2720" y="111"/>
                  </a:cubicBezTo>
                  <a:cubicBezTo>
                    <a:pt x="2717" y="108"/>
                    <a:pt x="2722" y="104"/>
                    <a:pt x="2717" y="104"/>
                  </a:cubicBezTo>
                  <a:cubicBezTo>
                    <a:pt x="2713" y="103"/>
                    <a:pt x="2717" y="101"/>
                    <a:pt x="2717" y="99"/>
                  </a:cubicBezTo>
                  <a:cubicBezTo>
                    <a:pt x="2717" y="97"/>
                    <a:pt x="2716" y="97"/>
                    <a:pt x="2714" y="97"/>
                  </a:cubicBezTo>
                  <a:cubicBezTo>
                    <a:pt x="2707" y="92"/>
                    <a:pt x="2720" y="98"/>
                    <a:pt x="2725" y="96"/>
                  </a:cubicBezTo>
                  <a:cubicBezTo>
                    <a:pt x="2727" y="99"/>
                    <a:pt x="2722" y="98"/>
                    <a:pt x="2722" y="99"/>
                  </a:cubicBezTo>
                  <a:close/>
                  <a:moveTo>
                    <a:pt x="2733" y="99"/>
                  </a:moveTo>
                  <a:cubicBezTo>
                    <a:pt x="2732" y="91"/>
                    <a:pt x="2741" y="92"/>
                    <a:pt x="2741" y="87"/>
                  </a:cubicBezTo>
                  <a:cubicBezTo>
                    <a:pt x="2744" y="79"/>
                    <a:pt x="2745" y="104"/>
                    <a:pt x="2733" y="99"/>
                  </a:cubicBezTo>
                  <a:close/>
                  <a:moveTo>
                    <a:pt x="2736" y="106"/>
                  </a:moveTo>
                  <a:cubicBezTo>
                    <a:pt x="2736" y="102"/>
                    <a:pt x="2748" y="108"/>
                    <a:pt x="2747" y="112"/>
                  </a:cubicBezTo>
                  <a:cubicBezTo>
                    <a:pt x="2738" y="115"/>
                    <a:pt x="2741" y="106"/>
                    <a:pt x="2736" y="106"/>
                  </a:cubicBezTo>
                  <a:close/>
                  <a:moveTo>
                    <a:pt x="2766" y="79"/>
                  </a:moveTo>
                  <a:cubicBezTo>
                    <a:pt x="2767" y="75"/>
                    <a:pt x="2769" y="81"/>
                    <a:pt x="2769" y="84"/>
                  </a:cubicBezTo>
                  <a:cubicBezTo>
                    <a:pt x="2768" y="88"/>
                    <a:pt x="2765" y="82"/>
                    <a:pt x="2766" y="79"/>
                  </a:cubicBezTo>
                  <a:close/>
                  <a:moveTo>
                    <a:pt x="2762" y="23"/>
                  </a:moveTo>
                  <a:cubicBezTo>
                    <a:pt x="2767" y="22"/>
                    <a:pt x="2766" y="33"/>
                    <a:pt x="2759" y="30"/>
                  </a:cubicBezTo>
                  <a:cubicBezTo>
                    <a:pt x="2759" y="28"/>
                    <a:pt x="2759" y="27"/>
                    <a:pt x="2759" y="25"/>
                  </a:cubicBezTo>
                  <a:cubicBezTo>
                    <a:pt x="2762" y="26"/>
                    <a:pt x="2762" y="24"/>
                    <a:pt x="2762" y="23"/>
                  </a:cubicBezTo>
                  <a:close/>
                  <a:moveTo>
                    <a:pt x="2757" y="35"/>
                  </a:moveTo>
                  <a:cubicBezTo>
                    <a:pt x="2761" y="35"/>
                    <a:pt x="2758" y="42"/>
                    <a:pt x="2762" y="42"/>
                  </a:cubicBezTo>
                  <a:cubicBezTo>
                    <a:pt x="2759" y="49"/>
                    <a:pt x="2751" y="37"/>
                    <a:pt x="2757" y="35"/>
                  </a:cubicBezTo>
                  <a:close/>
                  <a:moveTo>
                    <a:pt x="2761" y="100"/>
                  </a:moveTo>
                  <a:cubicBezTo>
                    <a:pt x="2757" y="99"/>
                    <a:pt x="2756" y="96"/>
                    <a:pt x="2755" y="91"/>
                  </a:cubicBezTo>
                  <a:cubicBezTo>
                    <a:pt x="2763" y="89"/>
                    <a:pt x="2760" y="96"/>
                    <a:pt x="2761" y="100"/>
                  </a:cubicBezTo>
                  <a:close/>
                  <a:moveTo>
                    <a:pt x="2769" y="112"/>
                  </a:moveTo>
                  <a:cubicBezTo>
                    <a:pt x="2767" y="112"/>
                    <a:pt x="2765" y="112"/>
                    <a:pt x="2764" y="112"/>
                  </a:cubicBezTo>
                  <a:cubicBezTo>
                    <a:pt x="2764" y="110"/>
                    <a:pt x="2763" y="110"/>
                    <a:pt x="2761" y="110"/>
                  </a:cubicBezTo>
                  <a:cubicBezTo>
                    <a:pt x="2760" y="105"/>
                    <a:pt x="2773" y="106"/>
                    <a:pt x="2769" y="112"/>
                  </a:cubicBezTo>
                  <a:close/>
                  <a:moveTo>
                    <a:pt x="2780" y="86"/>
                  </a:moveTo>
                  <a:cubicBezTo>
                    <a:pt x="2775" y="84"/>
                    <a:pt x="2779" y="82"/>
                    <a:pt x="2780" y="79"/>
                  </a:cubicBezTo>
                  <a:cubicBezTo>
                    <a:pt x="2785" y="81"/>
                    <a:pt x="2780" y="83"/>
                    <a:pt x="2780" y="86"/>
                  </a:cubicBezTo>
                  <a:close/>
                  <a:moveTo>
                    <a:pt x="2787" y="11"/>
                  </a:moveTo>
                  <a:cubicBezTo>
                    <a:pt x="2783" y="10"/>
                    <a:pt x="2784" y="5"/>
                    <a:pt x="2784" y="1"/>
                  </a:cubicBezTo>
                  <a:cubicBezTo>
                    <a:pt x="2795" y="0"/>
                    <a:pt x="2785" y="6"/>
                    <a:pt x="2787" y="11"/>
                  </a:cubicBezTo>
                  <a:close/>
                  <a:moveTo>
                    <a:pt x="2795" y="43"/>
                  </a:moveTo>
                  <a:cubicBezTo>
                    <a:pt x="2792" y="43"/>
                    <a:pt x="2793" y="39"/>
                    <a:pt x="2793" y="36"/>
                  </a:cubicBezTo>
                  <a:cubicBezTo>
                    <a:pt x="2797" y="35"/>
                    <a:pt x="2798" y="38"/>
                    <a:pt x="2798" y="41"/>
                  </a:cubicBezTo>
                  <a:cubicBezTo>
                    <a:pt x="2796" y="41"/>
                    <a:pt x="2795" y="42"/>
                    <a:pt x="2795" y="43"/>
                  </a:cubicBezTo>
                  <a:close/>
                  <a:moveTo>
                    <a:pt x="2791" y="123"/>
                  </a:moveTo>
                  <a:cubicBezTo>
                    <a:pt x="2792" y="121"/>
                    <a:pt x="2794" y="121"/>
                    <a:pt x="2794" y="119"/>
                  </a:cubicBezTo>
                  <a:cubicBezTo>
                    <a:pt x="2796" y="119"/>
                    <a:pt x="2798" y="119"/>
                    <a:pt x="2799" y="119"/>
                  </a:cubicBezTo>
                  <a:cubicBezTo>
                    <a:pt x="2801" y="124"/>
                    <a:pt x="2796" y="123"/>
                    <a:pt x="2791" y="123"/>
                  </a:cubicBezTo>
                  <a:close/>
                  <a:moveTo>
                    <a:pt x="2808" y="126"/>
                  </a:moveTo>
                  <a:cubicBezTo>
                    <a:pt x="2802" y="125"/>
                    <a:pt x="2802" y="120"/>
                    <a:pt x="2802" y="114"/>
                  </a:cubicBezTo>
                  <a:cubicBezTo>
                    <a:pt x="2805" y="118"/>
                    <a:pt x="2813" y="121"/>
                    <a:pt x="2808" y="126"/>
                  </a:cubicBezTo>
                  <a:close/>
                  <a:moveTo>
                    <a:pt x="2819" y="114"/>
                  </a:moveTo>
                  <a:cubicBezTo>
                    <a:pt x="2815" y="114"/>
                    <a:pt x="2817" y="116"/>
                    <a:pt x="2819" y="116"/>
                  </a:cubicBezTo>
                  <a:cubicBezTo>
                    <a:pt x="2812" y="124"/>
                    <a:pt x="2808" y="109"/>
                    <a:pt x="2810" y="102"/>
                  </a:cubicBezTo>
                  <a:cubicBezTo>
                    <a:pt x="2814" y="103"/>
                    <a:pt x="2816" y="105"/>
                    <a:pt x="2816" y="109"/>
                  </a:cubicBezTo>
                  <a:cubicBezTo>
                    <a:pt x="2823" y="106"/>
                    <a:pt x="2821" y="98"/>
                    <a:pt x="2827" y="109"/>
                  </a:cubicBezTo>
                  <a:cubicBezTo>
                    <a:pt x="2827" y="110"/>
                    <a:pt x="2829" y="108"/>
                    <a:pt x="2830" y="111"/>
                  </a:cubicBezTo>
                  <a:cubicBezTo>
                    <a:pt x="2830" y="113"/>
                    <a:pt x="2829" y="116"/>
                    <a:pt x="2830" y="118"/>
                  </a:cubicBezTo>
                  <a:cubicBezTo>
                    <a:pt x="2822" y="120"/>
                    <a:pt x="2824" y="113"/>
                    <a:pt x="2819" y="114"/>
                  </a:cubicBezTo>
                  <a:close/>
                  <a:moveTo>
                    <a:pt x="2846" y="111"/>
                  </a:moveTo>
                  <a:cubicBezTo>
                    <a:pt x="2845" y="114"/>
                    <a:pt x="2843" y="116"/>
                    <a:pt x="2838" y="116"/>
                  </a:cubicBezTo>
                  <a:cubicBezTo>
                    <a:pt x="2839" y="113"/>
                    <a:pt x="2841" y="111"/>
                    <a:pt x="2846" y="111"/>
                  </a:cubicBezTo>
                  <a:close/>
                  <a:moveTo>
                    <a:pt x="2851" y="64"/>
                  </a:moveTo>
                  <a:cubicBezTo>
                    <a:pt x="2860" y="64"/>
                    <a:pt x="2850" y="70"/>
                    <a:pt x="2856" y="71"/>
                  </a:cubicBezTo>
                  <a:cubicBezTo>
                    <a:pt x="2853" y="78"/>
                    <a:pt x="2848" y="68"/>
                    <a:pt x="2851" y="64"/>
                  </a:cubicBezTo>
                  <a:close/>
                  <a:moveTo>
                    <a:pt x="2862" y="87"/>
                  </a:moveTo>
                  <a:cubicBezTo>
                    <a:pt x="2860" y="80"/>
                    <a:pt x="2866" y="81"/>
                    <a:pt x="2865" y="75"/>
                  </a:cubicBezTo>
                  <a:cubicBezTo>
                    <a:pt x="2868" y="75"/>
                    <a:pt x="2866" y="78"/>
                    <a:pt x="2867" y="80"/>
                  </a:cubicBezTo>
                  <a:cubicBezTo>
                    <a:pt x="2867" y="80"/>
                    <a:pt x="2873" y="84"/>
                    <a:pt x="2873" y="82"/>
                  </a:cubicBezTo>
                  <a:cubicBezTo>
                    <a:pt x="2872" y="86"/>
                    <a:pt x="2868" y="85"/>
                    <a:pt x="2862" y="87"/>
                  </a:cubicBezTo>
                  <a:close/>
                  <a:moveTo>
                    <a:pt x="2867" y="54"/>
                  </a:moveTo>
                  <a:cubicBezTo>
                    <a:pt x="2868" y="53"/>
                    <a:pt x="2871" y="54"/>
                    <a:pt x="2870" y="52"/>
                  </a:cubicBezTo>
                  <a:cubicBezTo>
                    <a:pt x="2883" y="60"/>
                    <a:pt x="2857" y="64"/>
                    <a:pt x="2867" y="54"/>
                  </a:cubicBezTo>
                  <a:close/>
                  <a:moveTo>
                    <a:pt x="2875" y="40"/>
                  </a:moveTo>
                  <a:cubicBezTo>
                    <a:pt x="2876" y="34"/>
                    <a:pt x="2879" y="29"/>
                    <a:pt x="2869" y="28"/>
                  </a:cubicBezTo>
                  <a:cubicBezTo>
                    <a:pt x="2875" y="17"/>
                    <a:pt x="2888" y="40"/>
                    <a:pt x="2875" y="40"/>
                  </a:cubicBezTo>
                  <a:close/>
                  <a:moveTo>
                    <a:pt x="2881" y="91"/>
                  </a:moveTo>
                  <a:cubicBezTo>
                    <a:pt x="2881" y="90"/>
                    <a:pt x="2881" y="88"/>
                    <a:pt x="2881" y="87"/>
                  </a:cubicBezTo>
                  <a:cubicBezTo>
                    <a:pt x="2883" y="87"/>
                    <a:pt x="2885" y="87"/>
                    <a:pt x="2887" y="87"/>
                  </a:cubicBezTo>
                  <a:cubicBezTo>
                    <a:pt x="2887" y="88"/>
                    <a:pt x="2887" y="90"/>
                    <a:pt x="2887" y="91"/>
                  </a:cubicBezTo>
                  <a:cubicBezTo>
                    <a:pt x="2885" y="91"/>
                    <a:pt x="2883" y="91"/>
                    <a:pt x="288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9" name="Freeform 20"/>
            <p:cNvSpPr>
              <a:spLocks/>
            </p:cNvSpPr>
            <p:nvPr userDrawn="1"/>
          </p:nvSpPr>
          <p:spPr bwMode="auto">
            <a:xfrm>
              <a:off x="5827" y="2112"/>
              <a:ext cx="11" cy="12"/>
            </a:xfrm>
            <a:custGeom>
              <a:avLst/>
              <a:gdLst>
                <a:gd name="T0" fmla="*/ 0 w 5"/>
                <a:gd name="T1" fmla="*/ 5 h 5"/>
                <a:gd name="T2" fmla="*/ 5 w 5"/>
                <a:gd name="T3" fmla="*/ 5 h 5"/>
                <a:gd name="T4" fmla="*/ 5 w 5"/>
                <a:gd name="T5" fmla="*/ 0 h 5"/>
                <a:gd name="T6" fmla="*/ 0 w 5"/>
                <a:gd name="T7" fmla="*/ 0 h 5"/>
                <a:gd name="T8" fmla="*/ 0 w 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cubicBezTo>
                    <a:pt x="1" y="5"/>
                    <a:pt x="3" y="5"/>
                    <a:pt x="5" y="5"/>
                  </a:cubicBezTo>
                  <a:cubicBezTo>
                    <a:pt x="5" y="3"/>
                    <a:pt x="5" y="2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2"/>
                    <a:pt x="0" y="3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0" name="Freeform 21"/>
            <p:cNvSpPr>
              <a:spLocks/>
            </p:cNvSpPr>
            <p:nvPr userDrawn="1"/>
          </p:nvSpPr>
          <p:spPr bwMode="auto">
            <a:xfrm>
              <a:off x="5373" y="2207"/>
              <a:ext cx="33" cy="47"/>
            </a:xfrm>
            <a:custGeom>
              <a:avLst/>
              <a:gdLst>
                <a:gd name="T0" fmla="*/ 11 w 14"/>
                <a:gd name="T1" fmla="*/ 1 h 20"/>
                <a:gd name="T2" fmla="*/ 12 w 14"/>
                <a:gd name="T3" fmla="*/ 20 h 20"/>
                <a:gd name="T4" fmla="*/ 11 w 14"/>
                <a:gd name="T5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0">
                  <a:moveTo>
                    <a:pt x="11" y="1"/>
                  </a:moveTo>
                  <a:cubicBezTo>
                    <a:pt x="0" y="0"/>
                    <a:pt x="6" y="19"/>
                    <a:pt x="12" y="20"/>
                  </a:cubicBezTo>
                  <a:cubicBezTo>
                    <a:pt x="14" y="10"/>
                    <a:pt x="5" y="6"/>
                    <a:pt x="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1" name="Freeform 22"/>
            <p:cNvSpPr>
              <a:spLocks/>
            </p:cNvSpPr>
            <p:nvPr userDrawn="1"/>
          </p:nvSpPr>
          <p:spPr bwMode="auto">
            <a:xfrm>
              <a:off x="6280" y="2349"/>
              <a:ext cx="12" cy="12"/>
            </a:xfrm>
            <a:custGeom>
              <a:avLst/>
              <a:gdLst>
                <a:gd name="T0" fmla="*/ 1 w 5"/>
                <a:gd name="T1" fmla="*/ 5 h 5"/>
                <a:gd name="T2" fmla="*/ 5 w 5"/>
                <a:gd name="T3" fmla="*/ 4 h 5"/>
                <a:gd name="T4" fmla="*/ 5 w 5"/>
                <a:gd name="T5" fmla="*/ 0 h 5"/>
                <a:gd name="T6" fmla="*/ 1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1" y="5"/>
                  </a:moveTo>
                  <a:cubicBezTo>
                    <a:pt x="3" y="4"/>
                    <a:pt x="4" y="4"/>
                    <a:pt x="5" y="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2" name="Freeform 23"/>
            <p:cNvSpPr>
              <a:spLocks/>
            </p:cNvSpPr>
            <p:nvPr userDrawn="1"/>
          </p:nvSpPr>
          <p:spPr bwMode="auto">
            <a:xfrm>
              <a:off x="4920" y="2209"/>
              <a:ext cx="21" cy="14"/>
            </a:xfrm>
            <a:custGeom>
              <a:avLst/>
              <a:gdLst>
                <a:gd name="T0" fmla="*/ 0 w 9"/>
                <a:gd name="T1" fmla="*/ 1 h 6"/>
                <a:gd name="T2" fmla="*/ 0 w 9"/>
                <a:gd name="T3" fmla="*/ 6 h 6"/>
                <a:gd name="T4" fmla="*/ 8 w 9"/>
                <a:gd name="T5" fmla="*/ 6 h 6"/>
                <a:gd name="T6" fmla="*/ 0 w 9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6">
                  <a:moveTo>
                    <a:pt x="0" y="1"/>
                  </a:moveTo>
                  <a:cubicBezTo>
                    <a:pt x="0" y="3"/>
                    <a:pt x="0" y="4"/>
                    <a:pt x="0" y="6"/>
                  </a:cubicBezTo>
                  <a:cubicBezTo>
                    <a:pt x="3" y="6"/>
                    <a:pt x="6" y="6"/>
                    <a:pt x="8" y="6"/>
                  </a:cubicBezTo>
                  <a:cubicBezTo>
                    <a:pt x="9" y="1"/>
                    <a:pt x="6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3" name="Freeform 24"/>
            <p:cNvSpPr>
              <a:spLocks/>
            </p:cNvSpPr>
            <p:nvPr userDrawn="1"/>
          </p:nvSpPr>
          <p:spPr bwMode="auto">
            <a:xfrm>
              <a:off x="5647" y="2205"/>
              <a:ext cx="31" cy="16"/>
            </a:xfrm>
            <a:custGeom>
              <a:avLst/>
              <a:gdLst>
                <a:gd name="T0" fmla="*/ 13 w 13"/>
                <a:gd name="T1" fmla="*/ 2 h 7"/>
                <a:gd name="T2" fmla="*/ 8 w 13"/>
                <a:gd name="T3" fmla="*/ 0 h 7"/>
                <a:gd name="T4" fmla="*/ 13 w 13"/>
                <a:gd name="T5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7">
                  <a:moveTo>
                    <a:pt x="13" y="2"/>
                  </a:moveTo>
                  <a:cubicBezTo>
                    <a:pt x="10" y="2"/>
                    <a:pt x="10" y="0"/>
                    <a:pt x="8" y="0"/>
                  </a:cubicBezTo>
                  <a:cubicBezTo>
                    <a:pt x="0" y="5"/>
                    <a:pt x="13" y="7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4" name="Freeform 25"/>
            <p:cNvSpPr>
              <a:spLocks/>
            </p:cNvSpPr>
            <p:nvPr userDrawn="1"/>
          </p:nvSpPr>
          <p:spPr bwMode="auto">
            <a:xfrm>
              <a:off x="5928" y="2372"/>
              <a:ext cx="31" cy="36"/>
            </a:xfrm>
            <a:custGeom>
              <a:avLst/>
              <a:gdLst>
                <a:gd name="T0" fmla="*/ 0 w 13"/>
                <a:gd name="T1" fmla="*/ 7 h 15"/>
                <a:gd name="T2" fmla="*/ 8 w 13"/>
                <a:gd name="T3" fmla="*/ 4 h 15"/>
                <a:gd name="T4" fmla="*/ 13 w 13"/>
                <a:gd name="T5" fmla="*/ 9 h 15"/>
                <a:gd name="T6" fmla="*/ 11 w 13"/>
                <a:gd name="T7" fmla="*/ 7 h 15"/>
                <a:gd name="T8" fmla="*/ 13 w 13"/>
                <a:gd name="T9" fmla="*/ 0 h 15"/>
                <a:gd name="T10" fmla="*/ 0 w 13"/>
                <a:gd name="T1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cubicBezTo>
                    <a:pt x="3" y="7"/>
                    <a:pt x="6" y="6"/>
                    <a:pt x="8" y="4"/>
                  </a:cubicBezTo>
                  <a:cubicBezTo>
                    <a:pt x="5" y="9"/>
                    <a:pt x="12" y="15"/>
                    <a:pt x="13" y="9"/>
                  </a:cubicBezTo>
                  <a:cubicBezTo>
                    <a:pt x="12" y="9"/>
                    <a:pt x="10" y="8"/>
                    <a:pt x="11" y="7"/>
                  </a:cubicBezTo>
                  <a:cubicBezTo>
                    <a:pt x="11" y="6"/>
                    <a:pt x="12" y="0"/>
                    <a:pt x="13" y="0"/>
                  </a:cubicBezTo>
                  <a:cubicBezTo>
                    <a:pt x="10" y="3"/>
                    <a:pt x="0" y="1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5" name="Freeform 26"/>
            <p:cNvSpPr>
              <a:spLocks/>
            </p:cNvSpPr>
            <p:nvPr userDrawn="1"/>
          </p:nvSpPr>
          <p:spPr bwMode="auto">
            <a:xfrm>
              <a:off x="5361" y="2202"/>
              <a:ext cx="19" cy="14"/>
            </a:xfrm>
            <a:custGeom>
              <a:avLst/>
              <a:gdLst>
                <a:gd name="T0" fmla="*/ 0 w 8"/>
                <a:gd name="T1" fmla="*/ 1 h 6"/>
                <a:gd name="T2" fmla="*/ 0 w 8"/>
                <a:gd name="T3" fmla="*/ 6 h 6"/>
                <a:gd name="T4" fmla="*/ 8 w 8"/>
                <a:gd name="T5" fmla="*/ 5 h 6"/>
                <a:gd name="T6" fmla="*/ 0 w 8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6">
                  <a:moveTo>
                    <a:pt x="0" y="1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2" y="5"/>
                    <a:pt x="5" y="5"/>
                    <a:pt x="8" y="5"/>
                  </a:cubicBezTo>
                  <a:cubicBezTo>
                    <a:pt x="8" y="1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6" name="Freeform 27"/>
            <p:cNvSpPr>
              <a:spLocks/>
            </p:cNvSpPr>
            <p:nvPr userDrawn="1"/>
          </p:nvSpPr>
          <p:spPr bwMode="auto">
            <a:xfrm>
              <a:off x="5990" y="2375"/>
              <a:ext cx="21" cy="33"/>
            </a:xfrm>
            <a:custGeom>
              <a:avLst/>
              <a:gdLst>
                <a:gd name="T0" fmla="*/ 4 w 9"/>
                <a:gd name="T1" fmla="*/ 1 h 14"/>
                <a:gd name="T2" fmla="*/ 1 w 9"/>
                <a:gd name="T3" fmla="*/ 10 h 14"/>
                <a:gd name="T4" fmla="*/ 4 w 9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4" y="1"/>
                  </a:moveTo>
                  <a:cubicBezTo>
                    <a:pt x="3" y="4"/>
                    <a:pt x="0" y="5"/>
                    <a:pt x="1" y="10"/>
                  </a:cubicBezTo>
                  <a:cubicBezTo>
                    <a:pt x="9" y="14"/>
                    <a:pt x="9" y="0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</p:grp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46618" y="1930400"/>
            <a:ext cx="11169649" cy="38703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buNone/>
              <a:defRPr sz="2000"/>
            </a:lvl1pPr>
            <a:lvl2pPr marL="179388" indent="-179388">
              <a:lnSpc>
                <a:spcPct val="95000"/>
              </a:lnSpc>
              <a:spcBef>
                <a:spcPts val="1000"/>
              </a:spcBef>
              <a:buClr>
                <a:srgbClr val="C25327"/>
              </a:buClr>
              <a:buFont typeface="Arial" panose="020B0604020202020204" pitchFamily="34" charset="0"/>
              <a:buChar char="•"/>
              <a:defRPr sz="2000"/>
            </a:lvl2pPr>
            <a:lvl3pPr marL="358775" indent="-179388">
              <a:lnSpc>
                <a:spcPct val="95000"/>
              </a:lnSpc>
              <a:spcBef>
                <a:spcPts val="400"/>
              </a:spcBef>
              <a:buClr>
                <a:srgbClr val="C25327"/>
              </a:buClr>
              <a:buFont typeface="Arial" panose="020B0604020202020204" pitchFamily="34" charset="0"/>
              <a:buChar char="–"/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46618" y="1440000"/>
            <a:ext cx="11169649" cy="381000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2400" b="0">
                <a:solidFill>
                  <a:srgbClr val="C25327"/>
                </a:solidFill>
                <a:latin typeface="Fungo" pitchFamily="50" charset="0"/>
              </a:defRPr>
            </a:lvl1pPr>
          </a:lstStyle>
          <a:p>
            <a:pPr lvl="0"/>
            <a:r>
              <a:rPr lang="en-US"/>
              <a:t>Sub heading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5767914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"/>
          <p:cNvGrpSpPr>
            <a:grpSpLocks noChangeAspect="1"/>
          </p:cNvGrpSpPr>
          <p:nvPr userDrawn="1"/>
        </p:nvGrpSpPr>
        <p:grpSpPr bwMode="auto">
          <a:xfrm>
            <a:off x="-12000" y="0"/>
            <a:ext cx="12216000" cy="1178432"/>
            <a:chOff x="-530" y="1723"/>
            <a:chExt cx="6834" cy="879"/>
          </a:xfrm>
          <a:solidFill>
            <a:schemeClr val="accent4"/>
          </a:solidFill>
        </p:grpSpPr>
        <p:sp>
          <p:nvSpPr>
            <p:cNvPr id="56" name="Freeform 6"/>
            <p:cNvSpPr>
              <a:spLocks/>
            </p:cNvSpPr>
            <p:nvPr userDrawn="1"/>
          </p:nvSpPr>
          <p:spPr bwMode="auto">
            <a:xfrm>
              <a:off x="4076" y="2427"/>
              <a:ext cx="45" cy="49"/>
            </a:xfrm>
            <a:custGeom>
              <a:avLst/>
              <a:gdLst>
                <a:gd name="T0" fmla="*/ 8 w 19"/>
                <a:gd name="T1" fmla="*/ 14 h 21"/>
                <a:gd name="T2" fmla="*/ 11 w 19"/>
                <a:gd name="T3" fmla="*/ 21 h 21"/>
                <a:gd name="T4" fmla="*/ 16 w 19"/>
                <a:gd name="T5" fmla="*/ 2 h 21"/>
                <a:gd name="T6" fmla="*/ 8 w 19"/>
                <a:gd name="T7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8" y="14"/>
                  </a:moveTo>
                  <a:cubicBezTo>
                    <a:pt x="9" y="17"/>
                    <a:pt x="7" y="21"/>
                    <a:pt x="11" y="21"/>
                  </a:cubicBezTo>
                  <a:cubicBezTo>
                    <a:pt x="16" y="14"/>
                    <a:pt x="19" y="12"/>
                    <a:pt x="16" y="2"/>
                  </a:cubicBezTo>
                  <a:cubicBezTo>
                    <a:pt x="0" y="0"/>
                    <a:pt x="7" y="11"/>
                    <a:pt x="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6" name="Freeform 7"/>
            <p:cNvSpPr>
              <a:spLocks/>
            </p:cNvSpPr>
            <p:nvPr userDrawn="1"/>
          </p:nvSpPr>
          <p:spPr bwMode="auto">
            <a:xfrm>
              <a:off x="5264" y="2389"/>
              <a:ext cx="22" cy="12"/>
            </a:xfrm>
            <a:custGeom>
              <a:avLst/>
              <a:gdLst>
                <a:gd name="T0" fmla="*/ 1 w 9"/>
                <a:gd name="T1" fmla="*/ 5 h 5"/>
                <a:gd name="T2" fmla="*/ 9 w 9"/>
                <a:gd name="T3" fmla="*/ 0 h 5"/>
                <a:gd name="T4" fmla="*/ 1 w 9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5">
                  <a:moveTo>
                    <a:pt x="1" y="5"/>
                  </a:moveTo>
                  <a:cubicBezTo>
                    <a:pt x="6" y="5"/>
                    <a:pt x="8" y="3"/>
                    <a:pt x="9" y="0"/>
                  </a:cubicBezTo>
                  <a:cubicBezTo>
                    <a:pt x="5" y="0"/>
                    <a:pt x="0" y="0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7" name="Freeform 8"/>
            <p:cNvSpPr>
              <a:spLocks/>
            </p:cNvSpPr>
            <p:nvPr userDrawn="1"/>
          </p:nvSpPr>
          <p:spPr bwMode="auto">
            <a:xfrm>
              <a:off x="5659" y="2375"/>
              <a:ext cx="28" cy="35"/>
            </a:xfrm>
            <a:custGeom>
              <a:avLst/>
              <a:gdLst>
                <a:gd name="T0" fmla="*/ 7 w 12"/>
                <a:gd name="T1" fmla="*/ 5 h 15"/>
                <a:gd name="T2" fmla="*/ 4 w 12"/>
                <a:gd name="T3" fmla="*/ 8 h 15"/>
                <a:gd name="T4" fmla="*/ 1 w 12"/>
                <a:gd name="T5" fmla="*/ 6 h 15"/>
                <a:gd name="T6" fmla="*/ 4 w 12"/>
                <a:gd name="T7" fmla="*/ 15 h 15"/>
                <a:gd name="T8" fmla="*/ 7 w 12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7" y="5"/>
                  </a:moveTo>
                  <a:cubicBezTo>
                    <a:pt x="7" y="7"/>
                    <a:pt x="6" y="8"/>
                    <a:pt x="4" y="8"/>
                  </a:cubicBezTo>
                  <a:cubicBezTo>
                    <a:pt x="4" y="6"/>
                    <a:pt x="4" y="5"/>
                    <a:pt x="1" y="6"/>
                  </a:cubicBezTo>
                  <a:cubicBezTo>
                    <a:pt x="2" y="9"/>
                    <a:pt x="0" y="14"/>
                    <a:pt x="4" y="15"/>
                  </a:cubicBezTo>
                  <a:cubicBezTo>
                    <a:pt x="6" y="13"/>
                    <a:pt x="12" y="0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8" name="Freeform 9"/>
            <p:cNvSpPr>
              <a:spLocks/>
            </p:cNvSpPr>
            <p:nvPr userDrawn="1"/>
          </p:nvSpPr>
          <p:spPr bwMode="auto">
            <a:xfrm>
              <a:off x="6155" y="2018"/>
              <a:ext cx="68" cy="35"/>
            </a:xfrm>
            <a:custGeom>
              <a:avLst/>
              <a:gdLst>
                <a:gd name="T0" fmla="*/ 16 w 29"/>
                <a:gd name="T1" fmla="*/ 12 h 15"/>
                <a:gd name="T2" fmla="*/ 27 w 29"/>
                <a:gd name="T3" fmla="*/ 7 h 15"/>
                <a:gd name="T4" fmla="*/ 5 w 29"/>
                <a:gd name="T5" fmla="*/ 0 h 15"/>
                <a:gd name="T6" fmla="*/ 3 w 29"/>
                <a:gd name="T7" fmla="*/ 12 h 15"/>
                <a:gd name="T8" fmla="*/ 16 w 29"/>
                <a:gd name="T9" fmla="*/ 7 h 15"/>
                <a:gd name="T10" fmla="*/ 16 w 29"/>
                <a:gd name="T11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5">
                  <a:moveTo>
                    <a:pt x="16" y="12"/>
                  </a:moveTo>
                  <a:cubicBezTo>
                    <a:pt x="21" y="15"/>
                    <a:pt x="29" y="8"/>
                    <a:pt x="27" y="7"/>
                  </a:cubicBezTo>
                  <a:cubicBezTo>
                    <a:pt x="24" y="1"/>
                    <a:pt x="11" y="3"/>
                    <a:pt x="5" y="0"/>
                  </a:cubicBezTo>
                  <a:cubicBezTo>
                    <a:pt x="6" y="6"/>
                    <a:pt x="0" y="5"/>
                    <a:pt x="3" y="12"/>
                  </a:cubicBezTo>
                  <a:cubicBezTo>
                    <a:pt x="11" y="15"/>
                    <a:pt x="10" y="8"/>
                    <a:pt x="16" y="7"/>
                  </a:cubicBezTo>
                  <a:cubicBezTo>
                    <a:pt x="16" y="7"/>
                    <a:pt x="16" y="11"/>
                    <a:pt x="1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9" name="Freeform 10"/>
            <p:cNvSpPr>
              <a:spLocks/>
            </p:cNvSpPr>
            <p:nvPr userDrawn="1"/>
          </p:nvSpPr>
          <p:spPr bwMode="auto">
            <a:xfrm>
              <a:off x="5633" y="2365"/>
              <a:ext cx="24" cy="29"/>
            </a:xfrm>
            <a:custGeom>
              <a:avLst/>
              <a:gdLst>
                <a:gd name="T0" fmla="*/ 4 w 10"/>
                <a:gd name="T1" fmla="*/ 0 h 12"/>
                <a:gd name="T2" fmla="*/ 7 w 10"/>
                <a:gd name="T3" fmla="*/ 12 h 12"/>
                <a:gd name="T4" fmla="*/ 4 w 10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4" y="0"/>
                  </a:moveTo>
                  <a:cubicBezTo>
                    <a:pt x="0" y="3"/>
                    <a:pt x="3" y="9"/>
                    <a:pt x="7" y="12"/>
                  </a:cubicBezTo>
                  <a:cubicBezTo>
                    <a:pt x="10" y="9"/>
                    <a:pt x="8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0" name="Freeform 11"/>
            <p:cNvSpPr>
              <a:spLocks/>
            </p:cNvSpPr>
            <p:nvPr userDrawn="1"/>
          </p:nvSpPr>
          <p:spPr bwMode="auto">
            <a:xfrm>
              <a:off x="4187" y="2453"/>
              <a:ext cx="33" cy="21"/>
            </a:xfrm>
            <a:custGeom>
              <a:avLst/>
              <a:gdLst>
                <a:gd name="T0" fmla="*/ 7 w 14"/>
                <a:gd name="T1" fmla="*/ 0 h 9"/>
                <a:gd name="T2" fmla="*/ 2 w 14"/>
                <a:gd name="T3" fmla="*/ 7 h 9"/>
                <a:gd name="T4" fmla="*/ 7 w 14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9">
                  <a:moveTo>
                    <a:pt x="7" y="0"/>
                  </a:moveTo>
                  <a:cubicBezTo>
                    <a:pt x="7" y="3"/>
                    <a:pt x="0" y="2"/>
                    <a:pt x="2" y="7"/>
                  </a:cubicBezTo>
                  <a:cubicBezTo>
                    <a:pt x="8" y="9"/>
                    <a:pt x="14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1" name="Freeform 12"/>
            <p:cNvSpPr>
              <a:spLocks/>
            </p:cNvSpPr>
            <p:nvPr userDrawn="1"/>
          </p:nvSpPr>
          <p:spPr bwMode="auto">
            <a:xfrm>
              <a:off x="5678" y="2379"/>
              <a:ext cx="40" cy="31"/>
            </a:xfrm>
            <a:custGeom>
              <a:avLst/>
              <a:gdLst>
                <a:gd name="T0" fmla="*/ 7 w 17"/>
                <a:gd name="T1" fmla="*/ 6 h 13"/>
                <a:gd name="T2" fmla="*/ 4 w 17"/>
                <a:gd name="T3" fmla="*/ 6 h 13"/>
                <a:gd name="T4" fmla="*/ 7 w 17"/>
                <a:gd name="T5" fmla="*/ 8 h 13"/>
                <a:gd name="T6" fmla="*/ 15 w 17"/>
                <a:gd name="T7" fmla="*/ 1 h 13"/>
                <a:gd name="T8" fmla="*/ 7 w 17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3">
                  <a:moveTo>
                    <a:pt x="7" y="6"/>
                  </a:moveTo>
                  <a:cubicBezTo>
                    <a:pt x="7" y="4"/>
                    <a:pt x="5" y="3"/>
                    <a:pt x="4" y="6"/>
                  </a:cubicBezTo>
                  <a:cubicBezTo>
                    <a:pt x="6" y="6"/>
                    <a:pt x="8" y="6"/>
                    <a:pt x="7" y="8"/>
                  </a:cubicBezTo>
                  <a:cubicBezTo>
                    <a:pt x="0" y="13"/>
                    <a:pt x="17" y="6"/>
                    <a:pt x="15" y="1"/>
                  </a:cubicBezTo>
                  <a:cubicBezTo>
                    <a:pt x="10" y="0"/>
                    <a:pt x="10" y="4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2" name="Freeform 13"/>
            <p:cNvSpPr>
              <a:spLocks/>
            </p:cNvSpPr>
            <p:nvPr userDrawn="1"/>
          </p:nvSpPr>
          <p:spPr bwMode="auto">
            <a:xfrm>
              <a:off x="6219" y="2016"/>
              <a:ext cx="73" cy="35"/>
            </a:xfrm>
            <a:custGeom>
              <a:avLst/>
              <a:gdLst>
                <a:gd name="T0" fmla="*/ 20 w 31"/>
                <a:gd name="T1" fmla="*/ 10 h 15"/>
                <a:gd name="T2" fmla="*/ 19 w 31"/>
                <a:gd name="T3" fmla="*/ 0 h 15"/>
                <a:gd name="T4" fmla="*/ 11 w 31"/>
                <a:gd name="T5" fmla="*/ 5 h 15"/>
                <a:gd name="T6" fmla="*/ 0 w 31"/>
                <a:gd name="T7" fmla="*/ 1 h 15"/>
                <a:gd name="T8" fmla="*/ 9 w 31"/>
                <a:gd name="T9" fmla="*/ 15 h 15"/>
                <a:gd name="T10" fmla="*/ 11 w 31"/>
                <a:gd name="T11" fmla="*/ 7 h 15"/>
                <a:gd name="T12" fmla="*/ 11 w 31"/>
                <a:gd name="T13" fmla="*/ 12 h 15"/>
                <a:gd name="T14" fmla="*/ 31 w 31"/>
                <a:gd name="T15" fmla="*/ 11 h 15"/>
                <a:gd name="T16" fmla="*/ 31 w 31"/>
                <a:gd name="T17" fmla="*/ 2 h 15"/>
                <a:gd name="T18" fmla="*/ 20 w 31"/>
                <a:gd name="T1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15">
                  <a:moveTo>
                    <a:pt x="20" y="10"/>
                  </a:moveTo>
                  <a:cubicBezTo>
                    <a:pt x="15" y="5"/>
                    <a:pt x="20" y="7"/>
                    <a:pt x="19" y="0"/>
                  </a:cubicBezTo>
                  <a:cubicBezTo>
                    <a:pt x="14" y="0"/>
                    <a:pt x="14" y="4"/>
                    <a:pt x="11" y="5"/>
                  </a:cubicBezTo>
                  <a:cubicBezTo>
                    <a:pt x="9" y="2"/>
                    <a:pt x="5" y="1"/>
                    <a:pt x="0" y="1"/>
                  </a:cubicBezTo>
                  <a:cubicBezTo>
                    <a:pt x="2" y="6"/>
                    <a:pt x="2" y="13"/>
                    <a:pt x="9" y="15"/>
                  </a:cubicBezTo>
                  <a:cubicBezTo>
                    <a:pt x="9" y="12"/>
                    <a:pt x="8" y="8"/>
                    <a:pt x="11" y="7"/>
                  </a:cubicBezTo>
                  <a:cubicBezTo>
                    <a:pt x="11" y="9"/>
                    <a:pt x="11" y="11"/>
                    <a:pt x="11" y="12"/>
                  </a:cubicBezTo>
                  <a:cubicBezTo>
                    <a:pt x="19" y="12"/>
                    <a:pt x="26" y="12"/>
                    <a:pt x="31" y="1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6" y="3"/>
                    <a:pt x="28" y="11"/>
                    <a:pt x="2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3" name="Freeform 14"/>
            <p:cNvSpPr>
              <a:spLocks/>
            </p:cNvSpPr>
            <p:nvPr userDrawn="1"/>
          </p:nvSpPr>
          <p:spPr bwMode="auto">
            <a:xfrm>
              <a:off x="4256" y="2441"/>
              <a:ext cx="24" cy="21"/>
            </a:xfrm>
            <a:custGeom>
              <a:avLst/>
              <a:gdLst>
                <a:gd name="T0" fmla="*/ 0 w 10"/>
                <a:gd name="T1" fmla="*/ 7 h 9"/>
                <a:gd name="T2" fmla="*/ 9 w 10"/>
                <a:gd name="T3" fmla="*/ 9 h 9"/>
                <a:gd name="T4" fmla="*/ 0 w 10"/>
                <a:gd name="T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7"/>
                  </a:moveTo>
                  <a:cubicBezTo>
                    <a:pt x="4" y="6"/>
                    <a:pt x="6" y="8"/>
                    <a:pt x="9" y="9"/>
                  </a:cubicBezTo>
                  <a:cubicBezTo>
                    <a:pt x="10" y="2"/>
                    <a:pt x="1" y="0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4" name="Freeform 15"/>
            <p:cNvSpPr>
              <a:spLocks/>
            </p:cNvSpPr>
            <p:nvPr userDrawn="1"/>
          </p:nvSpPr>
          <p:spPr bwMode="auto">
            <a:xfrm>
              <a:off x="3859" y="2455"/>
              <a:ext cx="14" cy="31"/>
            </a:xfrm>
            <a:custGeom>
              <a:avLst/>
              <a:gdLst>
                <a:gd name="T0" fmla="*/ 1 w 6"/>
                <a:gd name="T1" fmla="*/ 8 h 13"/>
                <a:gd name="T2" fmla="*/ 4 w 6"/>
                <a:gd name="T3" fmla="*/ 13 h 13"/>
                <a:gd name="T4" fmla="*/ 1 w 6"/>
                <a:gd name="T5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3">
                  <a:moveTo>
                    <a:pt x="1" y="8"/>
                  </a:moveTo>
                  <a:cubicBezTo>
                    <a:pt x="0" y="10"/>
                    <a:pt x="2" y="13"/>
                    <a:pt x="4" y="13"/>
                  </a:cubicBezTo>
                  <a:cubicBezTo>
                    <a:pt x="6" y="13"/>
                    <a:pt x="5" y="0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5" name="Freeform 16"/>
            <p:cNvSpPr>
              <a:spLocks/>
            </p:cNvSpPr>
            <p:nvPr userDrawn="1"/>
          </p:nvSpPr>
          <p:spPr bwMode="auto">
            <a:xfrm>
              <a:off x="3982" y="2455"/>
              <a:ext cx="38" cy="31"/>
            </a:xfrm>
            <a:custGeom>
              <a:avLst/>
              <a:gdLst>
                <a:gd name="T0" fmla="*/ 10 w 16"/>
                <a:gd name="T1" fmla="*/ 12 h 13"/>
                <a:gd name="T2" fmla="*/ 15 w 16"/>
                <a:gd name="T3" fmla="*/ 2 h 13"/>
                <a:gd name="T4" fmla="*/ 10 w 16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10" y="12"/>
                  </a:moveTo>
                  <a:cubicBezTo>
                    <a:pt x="11" y="12"/>
                    <a:pt x="16" y="5"/>
                    <a:pt x="15" y="2"/>
                  </a:cubicBezTo>
                  <a:cubicBezTo>
                    <a:pt x="0" y="0"/>
                    <a:pt x="4" y="13"/>
                    <a:pt x="1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6" name="Freeform 17"/>
            <p:cNvSpPr>
              <a:spLocks/>
            </p:cNvSpPr>
            <p:nvPr userDrawn="1"/>
          </p:nvSpPr>
          <p:spPr bwMode="auto">
            <a:xfrm>
              <a:off x="5872" y="2004"/>
              <a:ext cx="56" cy="54"/>
            </a:xfrm>
            <a:custGeom>
              <a:avLst/>
              <a:gdLst>
                <a:gd name="T0" fmla="*/ 18 w 24"/>
                <a:gd name="T1" fmla="*/ 13 h 23"/>
                <a:gd name="T2" fmla="*/ 24 w 24"/>
                <a:gd name="T3" fmla="*/ 15 h 23"/>
                <a:gd name="T4" fmla="*/ 18 w 24"/>
                <a:gd name="T5" fmla="*/ 8 h 23"/>
                <a:gd name="T6" fmla="*/ 16 w 24"/>
                <a:gd name="T7" fmla="*/ 10 h 23"/>
                <a:gd name="T8" fmla="*/ 2 w 24"/>
                <a:gd name="T9" fmla="*/ 1 h 23"/>
                <a:gd name="T10" fmla="*/ 5 w 24"/>
                <a:gd name="T11" fmla="*/ 8 h 23"/>
                <a:gd name="T12" fmla="*/ 5 w 24"/>
                <a:gd name="T13" fmla="*/ 15 h 23"/>
                <a:gd name="T14" fmla="*/ 10 w 24"/>
                <a:gd name="T15" fmla="*/ 20 h 23"/>
                <a:gd name="T16" fmla="*/ 18 w 24"/>
                <a:gd name="T17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3">
                  <a:moveTo>
                    <a:pt x="18" y="13"/>
                  </a:moveTo>
                  <a:cubicBezTo>
                    <a:pt x="19" y="14"/>
                    <a:pt x="21" y="15"/>
                    <a:pt x="24" y="15"/>
                  </a:cubicBezTo>
                  <a:cubicBezTo>
                    <a:pt x="24" y="12"/>
                    <a:pt x="21" y="7"/>
                    <a:pt x="18" y="8"/>
                  </a:cubicBezTo>
                  <a:cubicBezTo>
                    <a:pt x="18" y="8"/>
                    <a:pt x="18" y="12"/>
                    <a:pt x="16" y="10"/>
                  </a:cubicBezTo>
                  <a:cubicBezTo>
                    <a:pt x="13" y="9"/>
                    <a:pt x="12" y="0"/>
                    <a:pt x="2" y="1"/>
                  </a:cubicBezTo>
                  <a:cubicBezTo>
                    <a:pt x="2" y="4"/>
                    <a:pt x="3" y="6"/>
                    <a:pt x="5" y="8"/>
                  </a:cubicBezTo>
                  <a:cubicBezTo>
                    <a:pt x="4" y="11"/>
                    <a:pt x="0" y="14"/>
                    <a:pt x="5" y="15"/>
                  </a:cubicBezTo>
                  <a:cubicBezTo>
                    <a:pt x="7" y="5"/>
                    <a:pt x="16" y="16"/>
                    <a:pt x="10" y="20"/>
                  </a:cubicBezTo>
                  <a:cubicBezTo>
                    <a:pt x="20" y="23"/>
                    <a:pt x="12" y="12"/>
                    <a:pt x="1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7" name="Freeform 18"/>
            <p:cNvSpPr>
              <a:spLocks/>
            </p:cNvSpPr>
            <p:nvPr userDrawn="1"/>
          </p:nvSpPr>
          <p:spPr bwMode="auto">
            <a:xfrm>
              <a:off x="6129" y="2051"/>
              <a:ext cx="26" cy="31"/>
            </a:xfrm>
            <a:custGeom>
              <a:avLst/>
              <a:gdLst>
                <a:gd name="T0" fmla="*/ 3 w 11"/>
                <a:gd name="T1" fmla="*/ 5 h 13"/>
                <a:gd name="T2" fmla="*/ 0 w 11"/>
                <a:gd name="T3" fmla="*/ 0 h 13"/>
                <a:gd name="T4" fmla="*/ 0 w 11"/>
                <a:gd name="T5" fmla="*/ 12 h 13"/>
                <a:gd name="T6" fmla="*/ 11 w 11"/>
                <a:gd name="T7" fmla="*/ 7 h 13"/>
                <a:gd name="T8" fmla="*/ 3 w 11"/>
                <a:gd name="T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3" y="5"/>
                  </a:moveTo>
                  <a:cubicBezTo>
                    <a:pt x="2" y="3"/>
                    <a:pt x="3" y="0"/>
                    <a:pt x="0" y="0"/>
                  </a:cubicBezTo>
                  <a:cubicBezTo>
                    <a:pt x="0" y="4"/>
                    <a:pt x="0" y="8"/>
                    <a:pt x="0" y="12"/>
                  </a:cubicBezTo>
                  <a:cubicBezTo>
                    <a:pt x="6" y="13"/>
                    <a:pt x="11" y="11"/>
                    <a:pt x="11" y="7"/>
                  </a:cubicBezTo>
                  <a:cubicBezTo>
                    <a:pt x="8" y="7"/>
                    <a:pt x="3" y="8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8" name="Freeform 19"/>
            <p:cNvSpPr>
              <a:spLocks noEditPoints="1"/>
            </p:cNvSpPr>
            <p:nvPr userDrawn="1"/>
          </p:nvSpPr>
          <p:spPr bwMode="auto">
            <a:xfrm>
              <a:off x="-530" y="1723"/>
              <a:ext cx="6834" cy="879"/>
            </a:xfrm>
            <a:custGeom>
              <a:avLst/>
              <a:gdLst>
                <a:gd name="T0" fmla="*/ 389 w 2893"/>
                <a:gd name="T1" fmla="*/ 342 h 372"/>
                <a:gd name="T2" fmla="*/ 740 w 2893"/>
                <a:gd name="T3" fmla="*/ 359 h 372"/>
                <a:gd name="T4" fmla="*/ 1103 w 2893"/>
                <a:gd name="T5" fmla="*/ 367 h 372"/>
                <a:gd name="T6" fmla="*/ 1426 w 2893"/>
                <a:gd name="T7" fmla="*/ 356 h 372"/>
                <a:gd name="T8" fmla="*/ 1695 w 2893"/>
                <a:gd name="T9" fmla="*/ 331 h 372"/>
                <a:gd name="T10" fmla="*/ 1895 w 2893"/>
                <a:gd name="T11" fmla="*/ 320 h 372"/>
                <a:gd name="T12" fmla="*/ 2114 w 2893"/>
                <a:gd name="T13" fmla="*/ 302 h 372"/>
                <a:gd name="T14" fmla="*/ 2309 w 2893"/>
                <a:gd name="T15" fmla="*/ 287 h 372"/>
                <a:gd name="T16" fmla="*/ 2459 w 2893"/>
                <a:gd name="T17" fmla="*/ 275 h 372"/>
                <a:gd name="T18" fmla="*/ 2597 w 2893"/>
                <a:gd name="T19" fmla="*/ 289 h 372"/>
                <a:gd name="T20" fmla="*/ 2723 w 2893"/>
                <a:gd name="T21" fmla="*/ 280 h 372"/>
                <a:gd name="T22" fmla="*/ 2838 w 2893"/>
                <a:gd name="T23" fmla="*/ 287 h 372"/>
                <a:gd name="T24" fmla="*/ 2866 w 2893"/>
                <a:gd name="T25" fmla="*/ 183 h 372"/>
                <a:gd name="T26" fmla="*/ 2808 w 2893"/>
                <a:gd name="T27" fmla="*/ 147 h 372"/>
                <a:gd name="T28" fmla="*/ 2631 w 2893"/>
                <a:gd name="T29" fmla="*/ 218 h 372"/>
                <a:gd name="T30" fmla="*/ 2665 w 2893"/>
                <a:gd name="T31" fmla="*/ 112 h 372"/>
                <a:gd name="T32" fmla="*/ 2857 w 2893"/>
                <a:gd name="T33" fmla="*/ 113 h 372"/>
                <a:gd name="T34" fmla="*/ 485 w 2893"/>
                <a:gd name="T35" fmla="*/ 201 h 372"/>
                <a:gd name="T36" fmla="*/ 777 w 2893"/>
                <a:gd name="T37" fmla="*/ 267 h 372"/>
                <a:gd name="T38" fmla="*/ 1016 w 2893"/>
                <a:gd name="T39" fmla="*/ 272 h 372"/>
                <a:gd name="T40" fmla="*/ 1266 w 2893"/>
                <a:gd name="T41" fmla="*/ 265 h 372"/>
                <a:gd name="T42" fmla="*/ 1356 w 2893"/>
                <a:gd name="T43" fmla="*/ 252 h 372"/>
                <a:gd name="T44" fmla="*/ 1456 w 2893"/>
                <a:gd name="T45" fmla="*/ 330 h 372"/>
                <a:gd name="T46" fmla="*/ 1548 w 2893"/>
                <a:gd name="T47" fmla="*/ 241 h 372"/>
                <a:gd name="T48" fmla="*/ 1656 w 2893"/>
                <a:gd name="T49" fmla="*/ 331 h 372"/>
                <a:gd name="T50" fmla="*/ 1709 w 2893"/>
                <a:gd name="T51" fmla="*/ 232 h 372"/>
                <a:gd name="T52" fmla="*/ 1779 w 2893"/>
                <a:gd name="T53" fmla="*/ 259 h 372"/>
                <a:gd name="T54" fmla="*/ 1829 w 2893"/>
                <a:gd name="T55" fmla="*/ 147 h 372"/>
                <a:gd name="T56" fmla="*/ 1920 w 2893"/>
                <a:gd name="T57" fmla="*/ 193 h 372"/>
                <a:gd name="T58" fmla="*/ 1900 w 2893"/>
                <a:gd name="T59" fmla="*/ 151 h 372"/>
                <a:gd name="T60" fmla="*/ 1948 w 2893"/>
                <a:gd name="T61" fmla="*/ 220 h 372"/>
                <a:gd name="T62" fmla="*/ 2044 w 2893"/>
                <a:gd name="T63" fmla="*/ 214 h 372"/>
                <a:gd name="T64" fmla="*/ 2069 w 2893"/>
                <a:gd name="T65" fmla="*/ 218 h 372"/>
                <a:gd name="T66" fmla="*/ 2172 w 2893"/>
                <a:gd name="T67" fmla="*/ 167 h 372"/>
                <a:gd name="T68" fmla="*/ 2111 w 2893"/>
                <a:gd name="T69" fmla="*/ 107 h 372"/>
                <a:gd name="T70" fmla="*/ 2115 w 2893"/>
                <a:gd name="T71" fmla="*/ 217 h 372"/>
                <a:gd name="T72" fmla="*/ 2157 w 2893"/>
                <a:gd name="T73" fmla="*/ 236 h 372"/>
                <a:gd name="T74" fmla="*/ 2191 w 2893"/>
                <a:gd name="T75" fmla="*/ 148 h 372"/>
                <a:gd name="T76" fmla="*/ 2262 w 2893"/>
                <a:gd name="T77" fmla="*/ 135 h 372"/>
                <a:gd name="T78" fmla="*/ 2862 w 2893"/>
                <a:gd name="T79" fmla="*/ 247 h 372"/>
                <a:gd name="T80" fmla="*/ 2740 w 2893"/>
                <a:gd name="T81" fmla="*/ 190 h 372"/>
                <a:gd name="T82" fmla="*/ 2824 w 2893"/>
                <a:gd name="T83" fmla="*/ 259 h 372"/>
                <a:gd name="T84" fmla="*/ 2831 w 2893"/>
                <a:gd name="T85" fmla="*/ 198 h 372"/>
                <a:gd name="T86" fmla="*/ 2792 w 2893"/>
                <a:gd name="T87" fmla="*/ 177 h 372"/>
                <a:gd name="T88" fmla="*/ 2732 w 2893"/>
                <a:gd name="T89" fmla="*/ 181 h 372"/>
                <a:gd name="T90" fmla="*/ 2702 w 2893"/>
                <a:gd name="T91" fmla="*/ 207 h 372"/>
                <a:gd name="T92" fmla="*/ 2674 w 2893"/>
                <a:gd name="T93" fmla="*/ 8 h 372"/>
                <a:gd name="T94" fmla="*/ 2563 w 2893"/>
                <a:gd name="T95" fmla="*/ 116 h 372"/>
                <a:gd name="T96" fmla="*/ 2514 w 2893"/>
                <a:gd name="T97" fmla="*/ 121 h 372"/>
                <a:gd name="T98" fmla="*/ 2453 w 2893"/>
                <a:gd name="T99" fmla="*/ 101 h 372"/>
                <a:gd name="T100" fmla="*/ 2349 w 2893"/>
                <a:gd name="T101" fmla="*/ 103 h 372"/>
                <a:gd name="T102" fmla="*/ 2298 w 2893"/>
                <a:gd name="T103" fmla="*/ 139 h 372"/>
                <a:gd name="T104" fmla="*/ 2305 w 2893"/>
                <a:gd name="T105" fmla="*/ 231 h 372"/>
                <a:gd name="T106" fmla="*/ 2365 w 2893"/>
                <a:gd name="T107" fmla="*/ 211 h 372"/>
                <a:gd name="T108" fmla="*/ 2456 w 2893"/>
                <a:gd name="T109" fmla="*/ 256 h 372"/>
                <a:gd name="T110" fmla="*/ 2497 w 2893"/>
                <a:gd name="T111" fmla="*/ 213 h 372"/>
                <a:gd name="T112" fmla="*/ 2543 w 2893"/>
                <a:gd name="T113" fmla="*/ 219 h 372"/>
                <a:gd name="T114" fmla="*/ 2582 w 2893"/>
                <a:gd name="T115" fmla="*/ 230 h 372"/>
                <a:gd name="T116" fmla="*/ 2599 w 2893"/>
                <a:gd name="T117" fmla="*/ 258 h 372"/>
                <a:gd name="T118" fmla="*/ 2671 w 2893"/>
                <a:gd name="T119" fmla="*/ 156 h 372"/>
                <a:gd name="T120" fmla="*/ 2638 w 2893"/>
                <a:gd name="T121" fmla="*/ 133 h 372"/>
                <a:gd name="T122" fmla="*/ 2741 w 2893"/>
                <a:gd name="T123" fmla="*/ 87 h 372"/>
                <a:gd name="T124" fmla="*/ 2808 w 2893"/>
                <a:gd name="T125" fmla="*/ 12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93" h="372">
                  <a:moveTo>
                    <a:pt x="288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1"/>
                    <a:pt x="1" y="320"/>
                    <a:pt x="2" y="320"/>
                  </a:cubicBezTo>
                  <a:cubicBezTo>
                    <a:pt x="1" y="331"/>
                    <a:pt x="12" y="320"/>
                    <a:pt x="15" y="320"/>
                  </a:cubicBezTo>
                  <a:cubicBezTo>
                    <a:pt x="16" y="328"/>
                    <a:pt x="25" y="329"/>
                    <a:pt x="35" y="329"/>
                  </a:cubicBezTo>
                  <a:cubicBezTo>
                    <a:pt x="35" y="327"/>
                    <a:pt x="35" y="324"/>
                    <a:pt x="37" y="324"/>
                  </a:cubicBezTo>
                  <a:cubicBezTo>
                    <a:pt x="39" y="331"/>
                    <a:pt x="43" y="322"/>
                    <a:pt x="48" y="324"/>
                  </a:cubicBezTo>
                  <a:cubicBezTo>
                    <a:pt x="50" y="329"/>
                    <a:pt x="56" y="325"/>
                    <a:pt x="62" y="326"/>
                  </a:cubicBezTo>
                  <a:cubicBezTo>
                    <a:pt x="70" y="328"/>
                    <a:pt x="66" y="332"/>
                    <a:pt x="70" y="328"/>
                  </a:cubicBezTo>
                  <a:cubicBezTo>
                    <a:pt x="77" y="323"/>
                    <a:pt x="90" y="333"/>
                    <a:pt x="87" y="333"/>
                  </a:cubicBezTo>
                  <a:cubicBezTo>
                    <a:pt x="102" y="336"/>
                    <a:pt x="117" y="327"/>
                    <a:pt x="136" y="330"/>
                  </a:cubicBezTo>
                  <a:cubicBezTo>
                    <a:pt x="139" y="338"/>
                    <a:pt x="156" y="332"/>
                    <a:pt x="167" y="334"/>
                  </a:cubicBezTo>
                  <a:cubicBezTo>
                    <a:pt x="170" y="334"/>
                    <a:pt x="170" y="336"/>
                    <a:pt x="175" y="336"/>
                  </a:cubicBezTo>
                  <a:cubicBezTo>
                    <a:pt x="178" y="336"/>
                    <a:pt x="179" y="334"/>
                    <a:pt x="183" y="333"/>
                  </a:cubicBezTo>
                  <a:cubicBezTo>
                    <a:pt x="190" y="333"/>
                    <a:pt x="194" y="335"/>
                    <a:pt x="200" y="336"/>
                  </a:cubicBezTo>
                  <a:cubicBezTo>
                    <a:pt x="202" y="332"/>
                    <a:pt x="204" y="328"/>
                    <a:pt x="210" y="328"/>
                  </a:cubicBezTo>
                  <a:cubicBezTo>
                    <a:pt x="211" y="331"/>
                    <a:pt x="210" y="335"/>
                    <a:pt x="213" y="335"/>
                  </a:cubicBezTo>
                  <a:cubicBezTo>
                    <a:pt x="216" y="328"/>
                    <a:pt x="221" y="337"/>
                    <a:pt x="222" y="337"/>
                  </a:cubicBezTo>
                  <a:cubicBezTo>
                    <a:pt x="225" y="339"/>
                    <a:pt x="233" y="339"/>
                    <a:pt x="238" y="340"/>
                  </a:cubicBezTo>
                  <a:cubicBezTo>
                    <a:pt x="246" y="340"/>
                    <a:pt x="240" y="332"/>
                    <a:pt x="246" y="337"/>
                  </a:cubicBezTo>
                  <a:cubicBezTo>
                    <a:pt x="248" y="338"/>
                    <a:pt x="255" y="336"/>
                    <a:pt x="257" y="337"/>
                  </a:cubicBezTo>
                  <a:cubicBezTo>
                    <a:pt x="259" y="338"/>
                    <a:pt x="260" y="343"/>
                    <a:pt x="266" y="341"/>
                  </a:cubicBezTo>
                  <a:cubicBezTo>
                    <a:pt x="275" y="336"/>
                    <a:pt x="294" y="346"/>
                    <a:pt x="307" y="341"/>
                  </a:cubicBezTo>
                  <a:cubicBezTo>
                    <a:pt x="309" y="340"/>
                    <a:pt x="309" y="334"/>
                    <a:pt x="312" y="334"/>
                  </a:cubicBezTo>
                  <a:cubicBezTo>
                    <a:pt x="312" y="335"/>
                    <a:pt x="312" y="337"/>
                    <a:pt x="312" y="338"/>
                  </a:cubicBezTo>
                  <a:cubicBezTo>
                    <a:pt x="315" y="339"/>
                    <a:pt x="321" y="337"/>
                    <a:pt x="323" y="338"/>
                  </a:cubicBezTo>
                  <a:cubicBezTo>
                    <a:pt x="323" y="338"/>
                    <a:pt x="323" y="340"/>
                    <a:pt x="323" y="340"/>
                  </a:cubicBezTo>
                  <a:cubicBezTo>
                    <a:pt x="327" y="341"/>
                    <a:pt x="334" y="339"/>
                    <a:pt x="340" y="340"/>
                  </a:cubicBezTo>
                  <a:cubicBezTo>
                    <a:pt x="342" y="341"/>
                    <a:pt x="343" y="342"/>
                    <a:pt x="345" y="342"/>
                  </a:cubicBezTo>
                  <a:cubicBezTo>
                    <a:pt x="345" y="342"/>
                    <a:pt x="345" y="340"/>
                    <a:pt x="348" y="340"/>
                  </a:cubicBezTo>
                  <a:cubicBezTo>
                    <a:pt x="349" y="340"/>
                    <a:pt x="347" y="343"/>
                    <a:pt x="351" y="342"/>
                  </a:cubicBezTo>
                  <a:cubicBezTo>
                    <a:pt x="352" y="342"/>
                    <a:pt x="354" y="338"/>
                    <a:pt x="356" y="338"/>
                  </a:cubicBezTo>
                  <a:cubicBezTo>
                    <a:pt x="355" y="338"/>
                    <a:pt x="360" y="341"/>
                    <a:pt x="361" y="337"/>
                  </a:cubicBezTo>
                  <a:cubicBezTo>
                    <a:pt x="361" y="339"/>
                    <a:pt x="361" y="341"/>
                    <a:pt x="362" y="342"/>
                  </a:cubicBezTo>
                  <a:cubicBezTo>
                    <a:pt x="370" y="341"/>
                    <a:pt x="374" y="337"/>
                    <a:pt x="381" y="335"/>
                  </a:cubicBezTo>
                  <a:cubicBezTo>
                    <a:pt x="381" y="341"/>
                    <a:pt x="376" y="340"/>
                    <a:pt x="381" y="344"/>
                  </a:cubicBezTo>
                  <a:cubicBezTo>
                    <a:pt x="387" y="347"/>
                    <a:pt x="389" y="333"/>
                    <a:pt x="389" y="342"/>
                  </a:cubicBezTo>
                  <a:cubicBezTo>
                    <a:pt x="389" y="345"/>
                    <a:pt x="400" y="345"/>
                    <a:pt x="403" y="346"/>
                  </a:cubicBezTo>
                  <a:cubicBezTo>
                    <a:pt x="403" y="344"/>
                    <a:pt x="403" y="341"/>
                    <a:pt x="405" y="341"/>
                  </a:cubicBezTo>
                  <a:cubicBezTo>
                    <a:pt x="405" y="345"/>
                    <a:pt x="407" y="346"/>
                    <a:pt x="408" y="348"/>
                  </a:cubicBezTo>
                  <a:cubicBezTo>
                    <a:pt x="423" y="348"/>
                    <a:pt x="437" y="348"/>
                    <a:pt x="452" y="348"/>
                  </a:cubicBezTo>
                  <a:cubicBezTo>
                    <a:pt x="453" y="346"/>
                    <a:pt x="452" y="343"/>
                    <a:pt x="455" y="343"/>
                  </a:cubicBezTo>
                  <a:cubicBezTo>
                    <a:pt x="453" y="352"/>
                    <a:pt x="461" y="345"/>
                    <a:pt x="463" y="345"/>
                  </a:cubicBezTo>
                  <a:cubicBezTo>
                    <a:pt x="465" y="345"/>
                    <a:pt x="466" y="349"/>
                    <a:pt x="469" y="350"/>
                  </a:cubicBezTo>
                  <a:cubicBezTo>
                    <a:pt x="469" y="350"/>
                    <a:pt x="471" y="345"/>
                    <a:pt x="474" y="347"/>
                  </a:cubicBezTo>
                  <a:cubicBezTo>
                    <a:pt x="475" y="351"/>
                    <a:pt x="481" y="349"/>
                    <a:pt x="485" y="349"/>
                  </a:cubicBezTo>
                  <a:cubicBezTo>
                    <a:pt x="485" y="345"/>
                    <a:pt x="487" y="341"/>
                    <a:pt x="490" y="340"/>
                  </a:cubicBezTo>
                  <a:cubicBezTo>
                    <a:pt x="491" y="343"/>
                    <a:pt x="490" y="349"/>
                    <a:pt x="493" y="349"/>
                  </a:cubicBezTo>
                  <a:cubicBezTo>
                    <a:pt x="494" y="345"/>
                    <a:pt x="503" y="348"/>
                    <a:pt x="504" y="344"/>
                  </a:cubicBezTo>
                  <a:cubicBezTo>
                    <a:pt x="506" y="341"/>
                    <a:pt x="501" y="332"/>
                    <a:pt x="507" y="332"/>
                  </a:cubicBezTo>
                  <a:cubicBezTo>
                    <a:pt x="506" y="340"/>
                    <a:pt x="512" y="341"/>
                    <a:pt x="510" y="349"/>
                  </a:cubicBezTo>
                  <a:cubicBezTo>
                    <a:pt x="515" y="350"/>
                    <a:pt x="515" y="346"/>
                    <a:pt x="518" y="344"/>
                  </a:cubicBezTo>
                  <a:cubicBezTo>
                    <a:pt x="518" y="356"/>
                    <a:pt x="541" y="354"/>
                    <a:pt x="551" y="351"/>
                  </a:cubicBezTo>
                  <a:cubicBezTo>
                    <a:pt x="552" y="346"/>
                    <a:pt x="547" y="345"/>
                    <a:pt x="551" y="343"/>
                  </a:cubicBezTo>
                  <a:cubicBezTo>
                    <a:pt x="555" y="344"/>
                    <a:pt x="553" y="349"/>
                    <a:pt x="554" y="353"/>
                  </a:cubicBezTo>
                  <a:cubicBezTo>
                    <a:pt x="563" y="352"/>
                    <a:pt x="578" y="356"/>
                    <a:pt x="578" y="348"/>
                  </a:cubicBezTo>
                  <a:cubicBezTo>
                    <a:pt x="576" y="347"/>
                    <a:pt x="573" y="348"/>
                    <a:pt x="573" y="345"/>
                  </a:cubicBezTo>
                  <a:cubicBezTo>
                    <a:pt x="575" y="346"/>
                    <a:pt x="577" y="345"/>
                    <a:pt x="578" y="345"/>
                  </a:cubicBezTo>
                  <a:cubicBezTo>
                    <a:pt x="582" y="346"/>
                    <a:pt x="579" y="348"/>
                    <a:pt x="581" y="350"/>
                  </a:cubicBezTo>
                  <a:cubicBezTo>
                    <a:pt x="583" y="351"/>
                    <a:pt x="587" y="349"/>
                    <a:pt x="587" y="352"/>
                  </a:cubicBezTo>
                  <a:cubicBezTo>
                    <a:pt x="601" y="349"/>
                    <a:pt x="614" y="358"/>
                    <a:pt x="622" y="352"/>
                  </a:cubicBezTo>
                  <a:cubicBezTo>
                    <a:pt x="619" y="351"/>
                    <a:pt x="616" y="348"/>
                    <a:pt x="620" y="347"/>
                  </a:cubicBezTo>
                  <a:cubicBezTo>
                    <a:pt x="623" y="348"/>
                    <a:pt x="625" y="350"/>
                    <a:pt x="625" y="354"/>
                  </a:cubicBezTo>
                  <a:cubicBezTo>
                    <a:pt x="630" y="356"/>
                    <a:pt x="634" y="351"/>
                    <a:pt x="636" y="351"/>
                  </a:cubicBezTo>
                  <a:cubicBezTo>
                    <a:pt x="636" y="351"/>
                    <a:pt x="638" y="356"/>
                    <a:pt x="639" y="356"/>
                  </a:cubicBezTo>
                  <a:cubicBezTo>
                    <a:pt x="641" y="357"/>
                    <a:pt x="645" y="356"/>
                    <a:pt x="647" y="356"/>
                  </a:cubicBezTo>
                  <a:cubicBezTo>
                    <a:pt x="649" y="356"/>
                    <a:pt x="649" y="358"/>
                    <a:pt x="650" y="358"/>
                  </a:cubicBezTo>
                  <a:cubicBezTo>
                    <a:pt x="656" y="359"/>
                    <a:pt x="655" y="355"/>
                    <a:pt x="658" y="358"/>
                  </a:cubicBezTo>
                  <a:cubicBezTo>
                    <a:pt x="659" y="359"/>
                    <a:pt x="663" y="358"/>
                    <a:pt x="664" y="358"/>
                  </a:cubicBezTo>
                  <a:cubicBezTo>
                    <a:pt x="673" y="359"/>
                    <a:pt x="674" y="359"/>
                    <a:pt x="680" y="360"/>
                  </a:cubicBezTo>
                  <a:cubicBezTo>
                    <a:pt x="690" y="350"/>
                    <a:pt x="712" y="364"/>
                    <a:pt x="721" y="355"/>
                  </a:cubicBezTo>
                  <a:cubicBezTo>
                    <a:pt x="720" y="356"/>
                    <a:pt x="716" y="350"/>
                    <a:pt x="721" y="350"/>
                  </a:cubicBezTo>
                  <a:cubicBezTo>
                    <a:pt x="724" y="355"/>
                    <a:pt x="726" y="361"/>
                    <a:pt x="738" y="359"/>
                  </a:cubicBezTo>
                  <a:cubicBezTo>
                    <a:pt x="741" y="353"/>
                    <a:pt x="727" y="352"/>
                    <a:pt x="735" y="350"/>
                  </a:cubicBezTo>
                  <a:cubicBezTo>
                    <a:pt x="740" y="350"/>
                    <a:pt x="741" y="354"/>
                    <a:pt x="740" y="359"/>
                  </a:cubicBezTo>
                  <a:cubicBezTo>
                    <a:pt x="750" y="362"/>
                    <a:pt x="742" y="351"/>
                    <a:pt x="749" y="352"/>
                  </a:cubicBezTo>
                  <a:cubicBezTo>
                    <a:pt x="749" y="356"/>
                    <a:pt x="756" y="355"/>
                    <a:pt x="754" y="361"/>
                  </a:cubicBezTo>
                  <a:cubicBezTo>
                    <a:pt x="785" y="357"/>
                    <a:pt x="804" y="370"/>
                    <a:pt x="820" y="360"/>
                  </a:cubicBezTo>
                  <a:cubicBezTo>
                    <a:pt x="821" y="363"/>
                    <a:pt x="826" y="363"/>
                    <a:pt x="828" y="364"/>
                  </a:cubicBezTo>
                  <a:cubicBezTo>
                    <a:pt x="833" y="360"/>
                    <a:pt x="828" y="362"/>
                    <a:pt x="828" y="355"/>
                  </a:cubicBezTo>
                  <a:cubicBezTo>
                    <a:pt x="837" y="363"/>
                    <a:pt x="829" y="348"/>
                    <a:pt x="839" y="350"/>
                  </a:cubicBezTo>
                  <a:cubicBezTo>
                    <a:pt x="838" y="356"/>
                    <a:pt x="834" y="360"/>
                    <a:pt x="839" y="364"/>
                  </a:cubicBezTo>
                  <a:cubicBezTo>
                    <a:pt x="851" y="363"/>
                    <a:pt x="864" y="362"/>
                    <a:pt x="875" y="364"/>
                  </a:cubicBezTo>
                  <a:cubicBezTo>
                    <a:pt x="873" y="357"/>
                    <a:pt x="881" y="359"/>
                    <a:pt x="883" y="356"/>
                  </a:cubicBezTo>
                  <a:cubicBezTo>
                    <a:pt x="884" y="362"/>
                    <a:pt x="887" y="366"/>
                    <a:pt x="894" y="366"/>
                  </a:cubicBezTo>
                  <a:cubicBezTo>
                    <a:pt x="894" y="365"/>
                    <a:pt x="895" y="360"/>
                    <a:pt x="897" y="361"/>
                  </a:cubicBezTo>
                  <a:cubicBezTo>
                    <a:pt x="898" y="361"/>
                    <a:pt x="896" y="365"/>
                    <a:pt x="897" y="366"/>
                  </a:cubicBezTo>
                  <a:cubicBezTo>
                    <a:pt x="900" y="367"/>
                    <a:pt x="905" y="364"/>
                    <a:pt x="908" y="365"/>
                  </a:cubicBezTo>
                  <a:cubicBezTo>
                    <a:pt x="908" y="366"/>
                    <a:pt x="908" y="368"/>
                    <a:pt x="908" y="368"/>
                  </a:cubicBezTo>
                  <a:cubicBezTo>
                    <a:pt x="915" y="368"/>
                    <a:pt x="927" y="366"/>
                    <a:pt x="935" y="367"/>
                  </a:cubicBezTo>
                  <a:cubicBezTo>
                    <a:pt x="939" y="368"/>
                    <a:pt x="939" y="370"/>
                    <a:pt x="941" y="367"/>
                  </a:cubicBezTo>
                  <a:cubicBezTo>
                    <a:pt x="943" y="365"/>
                    <a:pt x="958" y="367"/>
                    <a:pt x="960" y="367"/>
                  </a:cubicBezTo>
                  <a:cubicBezTo>
                    <a:pt x="964" y="366"/>
                    <a:pt x="963" y="364"/>
                    <a:pt x="966" y="367"/>
                  </a:cubicBezTo>
                  <a:cubicBezTo>
                    <a:pt x="968" y="370"/>
                    <a:pt x="980" y="364"/>
                    <a:pt x="982" y="367"/>
                  </a:cubicBezTo>
                  <a:cubicBezTo>
                    <a:pt x="986" y="361"/>
                    <a:pt x="975" y="358"/>
                    <a:pt x="982" y="357"/>
                  </a:cubicBezTo>
                  <a:cubicBezTo>
                    <a:pt x="988" y="362"/>
                    <a:pt x="987" y="365"/>
                    <a:pt x="990" y="366"/>
                  </a:cubicBezTo>
                  <a:cubicBezTo>
                    <a:pt x="988" y="365"/>
                    <a:pt x="995" y="358"/>
                    <a:pt x="993" y="366"/>
                  </a:cubicBezTo>
                  <a:cubicBezTo>
                    <a:pt x="1002" y="368"/>
                    <a:pt x="1002" y="363"/>
                    <a:pt x="1007" y="361"/>
                  </a:cubicBezTo>
                  <a:cubicBezTo>
                    <a:pt x="1006" y="361"/>
                    <a:pt x="1009" y="364"/>
                    <a:pt x="1011" y="362"/>
                  </a:cubicBezTo>
                  <a:cubicBezTo>
                    <a:pt x="1008" y="367"/>
                    <a:pt x="1012" y="366"/>
                    <a:pt x="1018" y="366"/>
                  </a:cubicBezTo>
                  <a:cubicBezTo>
                    <a:pt x="1020" y="366"/>
                    <a:pt x="1020" y="368"/>
                    <a:pt x="1020" y="368"/>
                  </a:cubicBezTo>
                  <a:cubicBezTo>
                    <a:pt x="1028" y="369"/>
                    <a:pt x="1040" y="368"/>
                    <a:pt x="1042" y="365"/>
                  </a:cubicBezTo>
                  <a:cubicBezTo>
                    <a:pt x="1042" y="368"/>
                    <a:pt x="1044" y="367"/>
                    <a:pt x="1045" y="368"/>
                  </a:cubicBezTo>
                  <a:cubicBezTo>
                    <a:pt x="1045" y="368"/>
                    <a:pt x="1049" y="370"/>
                    <a:pt x="1048" y="370"/>
                  </a:cubicBezTo>
                  <a:cubicBezTo>
                    <a:pt x="1058" y="372"/>
                    <a:pt x="1076" y="367"/>
                    <a:pt x="1078" y="367"/>
                  </a:cubicBezTo>
                  <a:cubicBezTo>
                    <a:pt x="1081" y="367"/>
                    <a:pt x="1082" y="369"/>
                    <a:pt x="1086" y="369"/>
                  </a:cubicBezTo>
                  <a:cubicBezTo>
                    <a:pt x="1087" y="369"/>
                    <a:pt x="1086" y="367"/>
                    <a:pt x="1089" y="367"/>
                  </a:cubicBezTo>
                  <a:cubicBezTo>
                    <a:pt x="1090" y="367"/>
                    <a:pt x="1089" y="370"/>
                    <a:pt x="1092" y="369"/>
                  </a:cubicBezTo>
                  <a:cubicBezTo>
                    <a:pt x="1091" y="369"/>
                    <a:pt x="1094" y="367"/>
                    <a:pt x="1095" y="367"/>
                  </a:cubicBezTo>
                  <a:cubicBezTo>
                    <a:pt x="1097" y="366"/>
                    <a:pt x="1099" y="365"/>
                    <a:pt x="1100" y="362"/>
                  </a:cubicBezTo>
                  <a:cubicBezTo>
                    <a:pt x="1097" y="362"/>
                    <a:pt x="1096" y="360"/>
                    <a:pt x="1094" y="357"/>
                  </a:cubicBezTo>
                  <a:cubicBezTo>
                    <a:pt x="1098" y="357"/>
                    <a:pt x="1100" y="356"/>
                    <a:pt x="1103" y="355"/>
                  </a:cubicBezTo>
                  <a:cubicBezTo>
                    <a:pt x="1105" y="362"/>
                    <a:pt x="1105" y="359"/>
                    <a:pt x="1103" y="367"/>
                  </a:cubicBezTo>
                  <a:cubicBezTo>
                    <a:pt x="1112" y="371"/>
                    <a:pt x="1115" y="365"/>
                    <a:pt x="1127" y="366"/>
                  </a:cubicBezTo>
                  <a:cubicBezTo>
                    <a:pt x="1131" y="365"/>
                    <a:pt x="1128" y="357"/>
                    <a:pt x="1133" y="357"/>
                  </a:cubicBezTo>
                  <a:cubicBezTo>
                    <a:pt x="1132" y="364"/>
                    <a:pt x="1133" y="370"/>
                    <a:pt x="1141" y="368"/>
                  </a:cubicBezTo>
                  <a:cubicBezTo>
                    <a:pt x="1143" y="364"/>
                    <a:pt x="1133" y="359"/>
                    <a:pt x="1141" y="357"/>
                  </a:cubicBezTo>
                  <a:cubicBezTo>
                    <a:pt x="1145" y="359"/>
                    <a:pt x="1144" y="366"/>
                    <a:pt x="1152" y="366"/>
                  </a:cubicBezTo>
                  <a:cubicBezTo>
                    <a:pt x="1152" y="363"/>
                    <a:pt x="1153" y="360"/>
                    <a:pt x="1158" y="361"/>
                  </a:cubicBezTo>
                  <a:cubicBezTo>
                    <a:pt x="1158" y="357"/>
                    <a:pt x="1157" y="353"/>
                    <a:pt x="1163" y="354"/>
                  </a:cubicBezTo>
                  <a:cubicBezTo>
                    <a:pt x="1167" y="363"/>
                    <a:pt x="1155" y="359"/>
                    <a:pt x="1158" y="366"/>
                  </a:cubicBezTo>
                  <a:cubicBezTo>
                    <a:pt x="1172" y="369"/>
                    <a:pt x="1165" y="355"/>
                    <a:pt x="1174" y="354"/>
                  </a:cubicBezTo>
                  <a:cubicBezTo>
                    <a:pt x="1182" y="360"/>
                    <a:pt x="1176" y="360"/>
                    <a:pt x="1174" y="368"/>
                  </a:cubicBezTo>
                  <a:cubicBezTo>
                    <a:pt x="1185" y="370"/>
                    <a:pt x="1191" y="370"/>
                    <a:pt x="1199" y="365"/>
                  </a:cubicBezTo>
                  <a:cubicBezTo>
                    <a:pt x="1202" y="369"/>
                    <a:pt x="1216" y="362"/>
                    <a:pt x="1221" y="367"/>
                  </a:cubicBezTo>
                  <a:cubicBezTo>
                    <a:pt x="1221" y="365"/>
                    <a:pt x="1221" y="362"/>
                    <a:pt x="1223" y="362"/>
                  </a:cubicBezTo>
                  <a:cubicBezTo>
                    <a:pt x="1223" y="364"/>
                    <a:pt x="1223" y="365"/>
                    <a:pt x="1223" y="367"/>
                  </a:cubicBezTo>
                  <a:cubicBezTo>
                    <a:pt x="1233" y="362"/>
                    <a:pt x="1233" y="372"/>
                    <a:pt x="1240" y="367"/>
                  </a:cubicBezTo>
                  <a:cubicBezTo>
                    <a:pt x="1240" y="363"/>
                    <a:pt x="1239" y="359"/>
                    <a:pt x="1237" y="357"/>
                  </a:cubicBezTo>
                  <a:cubicBezTo>
                    <a:pt x="1242" y="358"/>
                    <a:pt x="1243" y="355"/>
                    <a:pt x="1248" y="355"/>
                  </a:cubicBezTo>
                  <a:cubicBezTo>
                    <a:pt x="1247" y="358"/>
                    <a:pt x="1244" y="359"/>
                    <a:pt x="1243" y="362"/>
                  </a:cubicBezTo>
                  <a:cubicBezTo>
                    <a:pt x="1252" y="364"/>
                    <a:pt x="1246" y="352"/>
                    <a:pt x="1256" y="355"/>
                  </a:cubicBezTo>
                  <a:cubicBezTo>
                    <a:pt x="1255" y="359"/>
                    <a:pt x="1250" y="361"/>
                    <a:pt x="1251" y="367"/>
                  </a:cubicBezTo>
                  <a:cubicBezTo>
                    <a:pt x="1261" y="366"/>
                    <a:pt x="1261" y="363"/>
                    <a:pt x="1270" y="366"/>
                  </a:cubicBezTo>
                  <a:cubicBezTo>
                    <a:pt x="1284" y="364"/>
                    <a:pt x="1292" y="371"/>
                    <a:pt x="1298" y="363"/>
                  </a:cubicBezTo>
                  <a:cubicBezTo>
                    <a:pt x="1302" y="371"/>
                    <a:pt x="1312" y="359"/>
                    <a:pt x="1317" y="365"/>
                  </a:cubicBezTo>
                  <a:cubicBezTo>
                    <a:pt x="1315" y="360"/>
                    <a:pt x="1314" y="356"/>
                    <a:pt x="1319" y="351"/>
                  </a:cubicBezTo>
                  <a:cubicBezTo>
                    <a:pt x="1324" y="356"/>
                    <a:pt x="1318" y="356"/>
                    <a:pt x="1319" y="363"/>
                  </a:cubicBezTo>
                  <a:cubicBezTo>
                    <a:pt x="1328" y="365"/>
                    <a:pt x="1324" y="358"/>
                    <a:pt x="1325" y="353"/>
                  </a:cubicBezTo>
                  <a:cubicBezTo>
                    <a:pt x="1329" y="353"/>
                    <a:pt x="1336" y="345"/>
                    <a:pt x="1338" y="351"/>
                  </a:cubicBezTo>
                  <a:cubicBezTo>
                    <a:pt x="1334" y="351"/>
                    <a:pt x="1331" y="353"/>
                    <a:pt x="1330" y="356"/>
                  </a:cubicBezTo>
                  <a:cubicBezTo>
                    <a:pt x="1340" y="356"/>
                    <a:pt x="1325" y="364"/>
                    <a:pt x="1333" y="363"/>
                  </a:cubicBezTo>
                  <a:cubicBezTo>
                    <a:pt x="1337" y="358"/>
                    <a:pt x="1343" y="365"/>
                    <a:pt x="1350" y="360"/>
                  </a:cubicBezTo>
                  <a:cubicBezTo>
                    <a:pt x="1353" y="365"/>
                    <a:pt x="1369" y="361"/>
                    <a:pt x="1377" y="362"/>
                  </a:cubicBezTo>
                  <a:cubicBezTo>
                    <a:pt x="1378" y="358"/>
                    <a:pt x="1374" y="348"/>
                    <a:pt x="1379" y="348"/>
                  </a:cubicBezTo>
                  <a:cubicBezTo>
                    <a:pt x="1389" y="350"/>
                    <a:pt x="1381" y="352"/>
                    <a:pt x="1382" y="360"/>
                  </a:cubicBezTo>
                  <a:cubicBezTo>
                    <a:pt x="1388" y="358"/>
                    <a:pt x="1401" y="362"/>
                    <a:pt x="1402" y="357"/>
                  </a:cubicBezTo>
                  <a:cubicBezTo>
                    <a:pt x="1399" y="356"/>
                    <a:pt x="1395" y="353"/>
                    <a:pt x="1399" y="352"/>
                  </a:cubicBezTo>
                  <a:cubicBezTo>
                    <a:pt x="1401" y="355"/>
                    <a:pt x="1409" y="353"/>
                    <a:pt x="1407" y="359"/>
                  </a:cubicBezTo>
                  <a:cubicBezTo>
                    <a:pt x="1418" y="359"/>
                    <a:pt x="1409" y="352"/>
                    <a:pt x="1415" y="357"/>
                  </a:cubicBezTo>
                  <a:cubicBezTo>
                    <a:pt x="1421" y="361"/>
                    <a:pt x="1422" y="357"/>
                    <a:pt x="1426" y="356"/>
                  </a:cubicBezTo>
                  <a:cubicBezTo>
                    <a:pt x="1438" y="354"/>
                    <a:pt x="1439" y="354"/>
                    <a:pt x="1446" y="358"/>
                  </a:cubicBezTo>
                  <a:cubicBezTo>
                    <a:pt x="1446" y="355"/>
                    <a:pt x="1445" y="350"/>
                    <a:pt x="1451" y="351"/>
                  </a:cubicBezTo>
                  <a:cubicBezTo>
                    <a:pt x="1451" y="347"/>
                    <a:pt x="1448" y="346"/>
                    <a:pt x="1448" y="342"/>
                  </a:cubicBezTo>
                  <a:cubicBezTo>
                    <a:pt x="1451" y="342"/>
                    <a:pt x="1454" y="342"/>
                    <a:pt x="1456" y="342"/>
                  </a:cubicBezTo>
                  <a:cubicBezTo>
                    <a:pt x="1457" y="346"/>
                    <a:pt x="1453" y="347"/>
                    <a:pt x="1454" y="351"/>
                  </a:cubicBezTo>
                  <a:cubicBezTo>
                    <a:pt x="1460" y="350"/>
                    <a:pt x="1464" y="352"/>
                    <a:pt x="1465" y="356"/>
                  </a:cubicBezTo>
                  <a:cubicBezTo>
                    <a:pt x="1473" y="356"/>
                    <a:pt x="1481" y="355"/>
                    <a:pt x="1489" y="355"/>
                  </a:cubicBezTo>
                  <a:cubicBezTo>
                    <a:pt x="1492" y="353"/>
                    <a:pt x="1494" y="347"/>
                    <a:pt x="1497" y="346"/>
                  </a:cubicBezTo>
                  <a:cubicBezTo>
                    <a:pt x="1502" y="345"/>
                    <a:pt x="1504" y="349"/>
                    <a:pt x="1508" y="348"/>
                  </a:cubicBezTo>
                  <a:cubicBezTo>
                    <a:pt x="1508" y="343"/>
                    <a:pt x="1509" y="339"/>
                    <a:pt x="1514" y="338"/>
                  </a:cubicBezTo>
                  <a:cubicBezTo>
                    <a:pt x="1515" y="346"/>
                    <a:pt x="1508" y="348"/>
                    <a:pt x="1514" y="352"/>
                  </a:cubicBezTo>
                  <a:cubicBezTo>
                    <a:pt x="1526" y="355"/>
                    <a:pt x="1523" y="344"/>
                    <a:pt x="1533" y="345"/>
                  </a:cubicBezTo>
                  <a:cubicBezTo>
                    <a:pt x="1534" y="347"/>
                    <a:pt x="1533" y="350"/>
                    <a:pt x="1536" y="350"/>
                  </a:cubicBezTo>
                  <a:cubicBezTo>
                    <a:pt x="1539" y="350"/>
                    <a:pt x="1540" y="353"/>
                    <a:pt x="1541" y="350"/>
                  </a:cubicBezTo>
                  <a:cubicBezTo>
                    <a:pt x="1537" y="349"/>
                    <a:pt x="1543" y="344"/>
                    <a:pt x="1541" y="340"/>
                  </a:cubicBezTo>
                  <a:cubicBezTo>
                    <a:pt x="1541" y="339"/>
                    <a:pt x="1533" y="341"/>
                    <a:pt x="1536" y="336"/>
                  </a:cubicBezTo>
                  <a:cubicBezTo>
                    <a:pt x="1540" y="336"/>
                    <a:pt x="1545" y="336"/>
                    <a:pt x="1549" y="335"/>
                  </a:cubicBezTo>
                  <a:cubicBezTo>
                    <a:pt x="1553" y="343"/>
                    <a:pt x="1552" y="345"/>
                    <a:pt x="1547" y="350"/>
                  </a:cubicBezTo>
                  <a:cubicBezTo>
                    <a:pt x="1555" y="349"/>
                    <a:pt x="1563" y="349"/>
                    <a:pt x="1572" y="349"/>
                  </a:cubicBezTo>
                  <a:cubicBezTo>
                    <a:pt x="1573" y="346"/>
                    <a:pt x="1574" y="344"/>
                    <a:pt x="1577" y="342"/>
                  </a:cubicBezTo>
                  <a:cubicBezTo>
                    <a:pt x="1579" y="353"/>
                    <a:pt x="1592" y="340"/>
                    <a:pt x="1599" y="346"/>
                  </a:cubicBezTo>
                  <a:cubicBezTo>
                    <a:pt x="1600" y="345"/>
                    <a:pt x="1599" y="342"/>
                    <a:pt x="1602" y="342"/>
                  </a:cubicBezTo>
                  <a:cubicBezTo>
                    <a:pt x="1604" y="345"/>
                    <a:pt x="1609" y="340"/>
                    <a:pt x="1615" y="344"/>
                  </a:cubicBezTo>
                  <a:cubicBezTo>
                    <a:pt x="1619" y="338"/>
                    <a:pt x="1617" y="328"/>
                    <a:pt x="1626" y="327"/>
                  </a:cubicBezTo>
                  <a:cubicBezTo>
                    <a:pt x="1629" y="330"/>
                    <a:pt x="1629" y="336"/>
                    <a:pt x="1632" y="339"/>
                  </a:cubicBezTo>
                  <a:cubicBezTo>
                    <a:pt x="1628" y="339"/>
                    <a:pt x="1623" y="329"/>
                    <a:pt x="1624" y="339"/>
                  </a:cubicBezTo>
                  <a:cubicBezTo>
                    <a:pt x="1627" y="342"/>
                    <a:pt x="1633" y="343"/>
                    <a:pt x="1640" y="343"/>
                  </a:cubicBezTo>
                  <a:cubicBezTo>
                    <a:pt x="1640" y="340"/>
                    <a:pt x="1639" y="335"/>
                    <a:pt x="1643" y="334"/>
                  </a:cubicBezTo>
                  <a:cubicBezTo>
                    <a:pt x="1642" y="340"/>
                    <a:pt x="1647" y="341"/>
                    <a:pt x="1651" y="343"/>
                  </a:cubicBezTo>
                  <a:cubicBezTo>
                    <a:pt x="1651" y="340"/>
                    <a:pt x="1656" y="341"/>
                    <a:pt x="1656" y="338"/>
                  </a:cubicBezTo>
                  <a:cubicBezTo>
                    <a:pt x="1655" y="338"/>
                    <a:pt x="1653" y="336"/>
                    <a:pt x="1656" y="336"/>
                  </a:cubicBezTo>
                  <a:cubicBezTo>
                    <a:pt x="1662" y="335"/>
                    <a:pt x="1663" y="338"/>
                    <a:pt x="1667" y="338"/>
                  </a:cubicBezTo>
                  <a:cubicBezTo>
                    <a:pt x="1667" y="338"/>
                    <a:pt x="1669" y="334"/>
                    <a:pt x="1670" y="333"/>
                  </a:cubicBezTo>
                  <a:cubicBezTo>
                    <a:pt x="1670" y="333"/>
                    <a:pt x="1678" y="338"/>
                    <a:pt x="1681" y="336"/>
                  </a:cubicBezTo>
                  <a:cubicBezTo>
                    <a:pt x="1682" y="330"/>
                    <a:pt x="1676" y="330"/>
                    <a:pt x="1678" y="324"/>
                  </a:cubicBezTo>
                  <a:cubicBezTo>
                    <a:pt x="1682" y="323"/>
                    <a:pt x="1683" y="320"/>
                    <a:pt x="1686" y="319"/>
                  </a:cubicBezTo>
                  <a:cubicBezTo>
                    <a:pt x="1686" y="322"/>
                    <a:pt x="1691" y="321"/>
                    <a:pt x="1692" y="324"/>
                  </a:cubicBezTo>
                  <a:cubicBezTo>
                    <a:pt x="1681" y="324"/>
                    <a:pt x="1694" y="328"/>
                    <a:pt x="1695" y="331"/>
                  </a:cubicBezTo>
                  <a:cubicBezTo>
                    <a:pt x="1695" y="330"/>
                    <a:pt x="1687" y="343"/>
                    <a:pt x="1695" y="340"/>
                  </a:cubicBezTo>
                  <a:cubicBezTo>
                    <a:pt x="1694" y="335"/>
                    <a:pt x="1705" y="339"/>
                    <a:pt x="1709" y="337"/>
                  </a:cubicBezTo>
                  <a:cubicBezTo>
                    <a:pt x="1709" y="335"/>
                    <a:pt x="1712" y="334"/>
                    <a:pt x="1714" y="333"/>
                  </a:cubicBezTo>
                  <a:cubicBezTo>
                    <a:pt x="1714" y="335"/>
                    <a:pt x="1715" y="338"/>
                    <a:pt x="1720" y="337"/>
                  </a:cubicBezTo>
                  <a:cubicBezTo>
                    <a:pt x="1716" y="330"/>
                    <a:pt x="1728" y="335"/>
                    <a:pt x="1725" y="328"/>
                  </a:cubicBezTo>
                  <a:cubicBezTo>
                    <a:pt x="1721" y="327"/>
                    <a:pt x="1715" y="329"/>
                    <a:pt x="1714" y="326"/>
                  </a:cubicBezTo>
                  <a:cubicBezTo>
                    <a:pt x="1717" y="322"/>
                    <a:pt x="1718" y="318"/>
                    <a:pt x="1722" y="316"/>
                  </a:cubicBezTo>
                  <a:cubicBezTo>
                    <a:pt x="1718" y="324"/>
                    <a:pt x="1731" y="317"/>
                    <a:pt x="1730" y="323"/>
                  </a:cubicBezTo>
                  <a:cubicBezTo>
                    <a:pt x="1727" y="323"/>
                    <a:pt x="1727" y="329"/>
                    <a:pt x="1730" y="330"/>
                  </a:cubicBezTo>
                  <a:cubicBezTo>
                    <a:pt x="1734" y="325"/>
                    <a:pt x="1735" y="318"/>
                    <a:pt x="1744" y="318"/>
                  </a:cubicBezTo>
                  <a:cubicBezTo>
                    <a:pt x="1741" y="323"/>
                    <a:pt x="1735" y="326"/>
                    <a:pt x="1733" y="332"/>
                  </a:cubicBezTo>
                  <a:cubicBezTo>
                    <a:pt x="1748" y="334"/>
                    <a:pt x="1742" y="318"/>
                    <a:pt x="1760" y="322"/>
                  </a:cubicBezTo>
                  <a:cubicBezTo>
                    <a:pt x="1767" y="320"/>
                    <a:pt x="1754" y="312"/>
                    <a:pt x="1763" y="308"/>
                  </a:cubicBezTo>
                  <a:cubicBezTo>
                    <a:pt x="1759" y="319"/>
                    <a:pt x="1769" y="319"/>
                    <a:pt x="1774" y="322"/>
                  </a:cubicBezTo>
                  <a:cubicBezTo>
                    <a:pt x="1773" y="327"/>
                    <a:pt x="1760" y="323"/>
                    <a:pt x="1763" y="332"/>
                  </a:cubicBezTo>
                  <a:cubicBezTo>
                    <a:pt x="1770" y="333"/>
                    <a:pt x="1769" y="327"/>
                    <a:pt x="1777" y="329"/>
                  </a:cubicBezTo>
                  <a:cubicBezTo>
                    <a:pt x="1776" y="324"/>
                    <a:pt x="1779" y="322"/>
                    <a:pt x="1785" y="322"/>
                  </a:cubicBezTo>
                  <a:cubicBezTo>
                    <a:pt x="1783" y="330"/>
                    <a:pt x="1790" y="330"/>
                    <a:pt x="1796" y="331"/>
                  </a:cubicBezTo>
                  <a:cubicBezTo>
                    <a:pt x="1793" y="321"/>
                    <a:pt x="1802" y="324"/>
                    <a:pt x="1807" y="322"/>
                  </a:cubicBezTo>
                  <a:cubicBezTo>
                    <a:pt x="1809" y="320"/>
                    <a:pt x="1810" y="315"/>
                    <a:pt x="1815" y="317"/>
                  </a:cubicBezTo>
                  <a:cubicBezTo>
                    <a:pt x="1818" y="323"/>
                    <a:pt x="1811" y="323"/>
                    <a:pt x="1813" y="329"/>
                  </a:cubicBezTo>
                  <a:cubicBezTo>
                    <a:pt x="1818" y="329"/>
                    <a:pt x="1817" y="327"/>
                    <a:pt x="1818" y="324"/>
                  </a:cubicBezTo>
                  <a:cubicBezTo>
                    <a:pt x="1818" y="323"/>
                    <a:pt x="1821" y="324"/>
                    <a:pt x="1821" y="324"/>
                  </a:cubicBezTo>
                  <a:cubicBezTo>
                    <a:pt x="1822" y="321"/>
                    <a:pt x="1820" y="317"/>
                    <a:pt x="1821" y="314"/>
                  </a:cubicBezTo>
                  <a:cubicBezTo>
                    <a:pt x="1822" y="303"/>
                    <a:pt x="1828" y="308"/>
                    <a:pt x="1823" y="314"/>
                  </a:cubicBezTo>
                  <a:cubicBezTo>
                    <a:pt x="1834" y="316"/>
                    <a:pt x="1825" y="302"/>
                    <a:pt x="1837" y="305"/>
                  </a:cubicBezTo>
                  <a:cubicBezTo>
                    <a:pt x="1834" y="311"/>
                    <a:pt x="1833" y="322"/>
                    <a:pt x="1843" y="323"/>
                  </a:cubicBezTo>
                  <a:cubicBezTo>
                    <a:pt x="1849" y="318"/>
                    <a:pt x="1839" y="319"/>
                    <a:pt x="1840" y="312"/>
                  </a:cubicBezTo>
                  <a:cubicBezTo>
                    <a:pt x="1843" y="312"/>
                    <a:pt x="1844" y="315"/>
                    <a:pt x="1848" y="314"/>
                  </a:cubicBezTo>
                  <a:cubicBezTo>
                    <a:pt x="1853" y="308"/>
                    <a:pt x="1844" y="304"/>
                    <a:pt x="1851" y="300"/>
                  </a:cubicBezTo>
                  <a:cubicBezTo>
                    <a:pt x="1858" y="309"/>
                    <a:pt x="1841" y="322"/>
                    <a:pt x="1854" y="328"/>
                  </a:cubicBezTo>
                  <a:cubicBezTo>
                    <a:pt x="1853" y="321"/>
                    <a:pt x="1854" y="316"/>
                    <a:pt x="1859" y="314"/>
                  </a:cubicBezTo>
                  <a:cubicBezTo>
                    <a:pt x="1868" y="315"/>
                    <a:pt x="1866" y="307"/>
                    <a:pt x="1873" y="306"/>
                  </a:cubicBezTo>
                  <a:cubicBezTo>
                    <a:pt x="1875" y="314"/>
                    <a:pt x="1870" y="316"/>
                    <a:pt x="1867" y="320"/>
                  </a:cubicBezTo>
                  <a:cubicBezTo>
                    <a:pt x="1878" y="323"/>
                    <a:pt x="1872" y="312"/>
                    <a:pt x="1881" y="313"/>
                  </a:cubicBezTo>
                  <a:cubicBezTo>
                    <a:pt x="1881" y="316"/>
                    <a:pt x="1878" y="317"/>
                    <a:pt x="1878" y="320"/>
                  </a:cubicBezTo>
                  <a:cubicBezTo>
                    <a:pt x="1884" y="321"/>
                    <a:pt x="1884" y="317"/>
                    <a:pt x="1886" y="315"/>
                  </a:cubicBezTo>
                  <a:cubicBezTo>
                    <a:pt x="1891" y="316"/>
                    <a:pt x="1889" y="321"/>
                    <a:pt x="1895" y="320"/>
                  </a:cubicBezTo>
                  <a:cubicBezTo>
                    <a:pt x="1897" y="315"/>
                    <a:pt x="1895" y="308"/>
                    <a:pt x="1903" y="303"/>
                  </a:cubicBezTo>
                  <a:cubicBezTo>
                    <a:pt x="1903" y="307"/>
                    <a:pt x="1904" y="309"/>
                    <a:pt x="1906" y="310"/>
                  </a:cubicBezTo>
                  <a:cubicBezTo>
                    <a:pt x="1895" y="307"/>
                    <a:pt x="1905" y="325"/>
                    <a:pt x="1906" y="325"/>
                  </a:cubicBezTo>
                  <a:cubicBezTo>
                    <a:pt x="1909" y="319"/>
                    <a:pt x="1905" y="320"/>
                    <a:pt x="1908" y="313"/>
                  </a:cubicBezTo>
                  <a:cubicBezTo>
                    <a:pt x="1919" y="315"/>
                    <a:pt x="1916" y="307"/>
                    <a:pt x="1925" y="308"/>
                  </a:cubicBezTo>
                  <a:cubicBezTo>
                    <a:pt x="1929" y="309"/>
                    <a:pt x="1925" y="317"/>
                    <a:pt x="1930" y="317"/>
                  </a:cubicBezTo>
                  <a:cubicBezTo>
                    <a:pt x="1936" y="311"/>
                    <a:pt x="1927" y="306"/>
                    <a:pt x="1933" y="303"/>
                  </a:cubicBezTo>
                  <a:cubicBezTo>
                    <a:pt x="1937" y="303"/>
                    <a:pt x="1935" y="309"/>
                    <a:pt x="1939" y="310"/>
                  </a:cubicBezTo>
                  <a:cubicBezTo>
                    <a:pt x="1939" y="308"/>
                    <a:pt x="1941" y="307"/>
                    <a:pt x="1944" y="307"/>
                  </a:cubicBezTo>
                  <a:cubicBezTo>
                    <a:pt x="1948" y="307"/>
                    <a:pt x="1955" y="298"/>
                    <a:pt x="1949" y="298"/>
                  </a:cubicBezTo>
                  <a:cubicBezTo>
                    <a:pt x="1950" y="303"/>
                    <a:pt x="1941" y="298"/>
                    <a:pt x="1941" y="296"/>
                  </a:cubicBezTo>
                  <a:cubicBezTo>
                    <a:pt x="1952" y="300"/>
                    <a:pt x="1950" y="292"/>
                    <a:pt x="1955" y="295"/>
                  </a:cubicBezTo>
                  <a:cubicBezTo>
                    <a:pt x="1957" y="297"/>
                    <a:pt x="1963" y="294"/>
                    <a:pt x="1966" y="295"/>
                  </a:cubicBezTo>
                  <a:cubicBezTo>
                    <a:pt x="1966" y="293"/>
                    <a:pt x="1966" y="291"/>
                    <a:pt x="1968" y="291"/>
                  </a:cubicBezTo>
                  <a:cubicBezTo>
                    <a:pt x="1968" y="295"/>
                    <a:pt x="1972" y="295"/>
                    <a:pt x="1974" y="297"/>
                  </a:cubicBezTo>
                  <a:cubicBezTo>
                    <a:pt x="1975" y="302"/>
                    <a:pt x="1971" y="303"/>
                    <a:pt x="1971" y="307"/>
                  </a:cubicBezTo>
                  <a:cubicBezTo>
                    <a:pt x="1978" y="311"/>
                    <a:pt x="1992" y="309"/>
                    <a:pt x="1999" y="306"/>
                  </a:cubicBezTo>
                  <a:cubicBezTo>
                    <a:pt x="1999" y="304"/>
                    <a:pt x="1998" y="300"/>
                    <a:pt x="2001" y="299"/>
                  </a:cubicBezTo>
                  <a:cubicBezTo>
                    <a:pt x="2004" y="301"/>
                    <a:pt x="2011" y="310"/>
                    <a:pt x="2013" y="304"/>
                  </a:cubicBezTo>
                  <a:cubicBezTo>
                    <a:pt x="2011" y="304"/>
                    <a:pt x="2009" y="302"/>
                    <a:pt x="2012" y="301"/>
                  </a:cubicBezTo>
                  <a:cubicBezTo>
                    <a:pt x="2013" y="298"/>
                    <a:pt x="2011" y="296"/>
                    <a:pt x="2010" y="295"/>
                  </a:cubicBezTo>
                  <a:cubicBezTo>
                    <a:pt x="2017" y="296"/>
                    <a:pt x="2017" y="291"/>
                    <a:pt x="2023" y="292"/>
                  </a:cubicBezTo>
                  <a:cubicBezTo>
                    <a:pt x="2024" y="298"/>
                    <a:pt x="2019" y="297"/>
                    <a:pt x="2023" y="301"/>
                  </a:cubicBezTo>
                  <a:cubicBezTo>
                    <a:pt x="2021" y="301"/>
                    <a:pt x="2020" y="305"/>
                    <a:pt x="2024" y="306"/>
                  </a:cubicBezTo>
                  <a:cubicBezTo>
                    <a:pt x="2025" y="297"/>
                    <a:pt x="2032" y="305"/>
                    <a:pt x="2034" y="303"/>
                  </a:cubicBezTo>
                  <a:cubicBezTo>
                    <a:pt x="2036" y="303"/>
                    <a:pt x="2034" y="298"/>
                    <a:pt x="2037" y="299"/>
                  </a:cubicBezTo>
                  <a:cubicBezTo>
                    <a:pt x="2037" y="303"/>
                    <a:pt x="2045" y="300"/>
                    <a:pt x="2045" y="303"/>
                  </a:cubicBezTo>
                  <a:cubicBezTo>
                    <a:pt x="2038" y="300"/>
                    <a:pt x="2033" y="310"/>
                    <a:pt x="2040" y="310"/>
                  </a:cubicBezTo>
                  <a:cubicBezTo>
                    <a:pt x="2040" y="304"/>
                    <a:pt x="2048" y="306"/>
                    <a:pt x="2051" y="303"/>
                  </a:cubicBezTo>
                  <a:cubicBezTo>
                    <a:pt x="2053" y="301"/>
                    <a:pt x="2050" y="291"/>
                    <a:pt x="2059" y="294"/>
                  </a:cubicBezTo>
                  <a:cubicBezTo>
                    <a:pt x="2057" y="299"/>
                    <a:pt x="2051" y="301"/>
                    <a:pt x="2051" y="308"/>
                  </a:cubicBezTo>
                  <a:cubicBezTo>
                    <a:pt x="2061" y="307"/>
                    <a:pt x="2062" y="299"/>
                    <a:pt x="2073" y="298"/>
                  </a:cubicBezTo>
                  <a:cubicBezTo>
                    <a:pt x="2072" y="294"/>
                    <a:pt x="2064" y="279"/>
                    <a:pt x="2075" y="279"/>
                  </a:cubicBezTo>
                  <a:cubicBezTo>
                    <a:pt x="2072" y="288"/>
                    <a:pt x="2072" y="298"/>
                    <a:pt x="2084" y="303"/>
                  </a:cubicBezTo>
                  <a:cubicBezTo>
                    <a:pt x="2085" y="299"/>
                    <a:pt x="2080" y="297"/>
                    <a:pt x="2084" y="296"/>
                  </a:cubicBezTo>
                  <a:cubicBezTo>
                    <a:pt x="2090" y="299"/>
                    <a:pt x="2088" y="301"/>
                    <a:pt x="2087" y="307"/>
                  </a:cubicBezTo>
                  <a:cubicBezTo>
                    <a:pt x="2095" y="308"/>
                    <a:pt x="2096" y="298"/>
                    <a:pt x="2103" y="305"/>
                  </a:cubicBezTo>
                  <a:cubicBezTo>
                    <a:pt x="2102" y="295"/>
                    <a:pt x="2109" y="303"/>
                    <a:pt x="2114" y="302"/>
                  </a:cubicBezTo>
                  <a:cubicBezTo>
                    <a:pt x="2115" y="299"/>
                    <a:pt x="2118" y="298"/>
                    <a:pt x="2117" y="293"/>
                  </a:cubicBezTo>
                  <a:cubicBezTo>
                    <a:pt x="2122" y="293"/>
                    <a:pt x="2122" y="289"/>
                    <a:pt x="2125" y="288"/>
                  </a:cubicBezTo>
                  <a:cubicBezTo>
                    <a:pt x="2124" y="293"/>
                    <a:pt x="2119" y="301"/>
                    <a:pt x="2128" y="302"/>
                  </a:cubicBezTo>
                  <a:cubicBezTo>
                    <a:pt x="2128" y="300"/>
                    <a:pt x="2128" y="297"/>
                    <a:pt x="2130" y="297"/>
                  </a:cubicBezTo>
                  <a:cubicBezTo>
                    <a:pt x="2127" y="305"/>
                    <a:pt x="2139" y="299"/>
                    <a:pt x="2136" y="306"/>
                  </a:cubicBezTo>
                  <a:cubicBezTo>
                    <a:pt x="2135" y="306"/>
                    <a:pt x="2133" y="308"/>
                    <a:pt x="2136" y="309"/>
                  </a:cubicBezTo>
                  <a:cubicBezTo>
                    <a:pt x="2137" y="306"/>
                    <a:pt x="2140" y="304"/>
                    <a:pt x="2139" y="299"/>
                  </a:cubicBezTo>
                  <a:cubicBezTo>
                    <a:pt x="2146" y="298"/>
                    <a:pt x="2149" y="288"/>
                    <a:pt x="2152" y="285"/>
                  </a:cubicBezTo>
                  <a:cubicBezTo>
                    <a:pt x="2154" y="292"/>
                    <a:pt x="2154" y="289"/>
                    <a:pt x="2152" y="297"/>
                  </a:cubicBezTo>
                  <a:cubicBezTo>
                    <a:pt x="2166" y="292"/>
                    <a:pt x="2160" y="304"/>
                    <a:pt x="2169" y="303"/>
                  </a:cubicBezTo>
                  <a:cubicBezTo>
                    <a:pt x="2175" y="311"/>
                    <a:pt x="2170" y="295"/>
                    <a:pt x="2174" y="294"/>
                  </a:cubicBezTo>
                  <a:cubicBezTo>
                    <a:pt x="2176" y="294"/>
                    <a:pt x="2179" y="297"/>
                    <a:pt x="2180" y="296"/>
                  </a:cubicBezTo>
                  <a:cubicBezTo>
                    <a:pt x="2182" y="294"/>
                    <a:pt x="2177" y="287"/>
                    <a:pt x="2182" y="287"/>
                  </a:cubicBezTo>
                  <a:cubicBezTo>
                    <a:pt x="2187" y="286"/>
                    <a:pt x="2184" y="294"/>
                    <a:pt x="2188" y="294"/>
                  </a:cubicBezTo>
                  <a:cubicBezTo>
                    <a:pt x="2189" y="285"/>
                    <a:pt x="2188" y="282"/>
                    <a:pt x="2190" y="280"/>
                  </a:cubicBezTo>
                  <a:cubicBezTo>
                    <a:pt x="2201" y="287"/>
                    <a:pt x="2186" y="293"/>
                    <a:pt x="2193" y="294"/>
                  </a:cubicBezTo>
                  <a:cubicBezTo>
                    <a:pt x="2200" y="294"/>
                    <a:pt x="2195" y="303"/>
                    <a:pt x="2196" y="305"/>
                  </a:cubicBezTo>
                  <a:cubicBezTo>
                    <a:pt x="2208" y="306"/>
                    <a:pt x="2196" y="302"/>
                    <a:pt x="2199" y="296"/>
                  </a:cubicBezTo>
                  <a:cubicBezTo>
                    <a:pt x="2205" y="293"/>
                    <a:pt x="2206" y="296"/>
                    <a:pt x="2213" y="291"/>
                  </a:cubicBezTo>
                  <a:cubicBezTo>
                    <a:pt x="2218" y="293"/>
                    <a:pt x="2212" y="304"/>
                    <a:pt x="2218" y="305"/>
                  </a:cubicBezTo>
                  <a:cubicBezTo>
                    <a:pt x="2219" y="299"/>
                    <a:pt x="2223" y="297"/>
                    <a:pt x="2226" y="293"/>
                  </a:cubicBezTo>
                  <a:cubicBezTo>
                    <a:pt x="2227" y="299"/>
                    <a:pt x="2231" y="290"/>
                    <a:pt x="2237" y="293"/>
                  </a:cubicBezTo>
                  <a:cubicBezTo>
                    <a:pt x="2244" y="290"/>
                    <a:pt x="2232" y="284"/>
                    <a:pt x="2240" y="281"/>
                  </a:cubicBezTo>
                  <a:cubicBezTo>
                    <a:pt x="2243" y="281"/>
                    <a:pt x="2242" y="285"/>
                    <a:pt x="2245" y="286"/>
                  </a:cubicBezTo>
                  <a:cubicBezTo>
                    <a:pt x="2253" y="281"/>
                    <a:pt x="2242" y="274"/>
                    <a:pt x="2248" y="274"/>
                  </a:cubicBezTo>
                  <a:cubicBezTo>
                    <a:pt x="2250" y="274"/>
                    <a:pt x="2252" y="274"/>
                    <a:pt x="2253" y="274"/>
                  </a:cubicBezTo>
                  <a:cubicBezTo>
                    <a:pt x="2250" y="277"/>
                    <a:pt x="2250" y="280"/>
                    <a:pt x="2254" y="283"/>
                  </a:cubicBezTo>
                  <a:cubicBezTo>
                    <a:pt x="2250" y="286"/>
                    <a:pt x="2245" y="287"/>
                    <a:pt x="2243" y="290"/>
                  </a:cubicBezTo>
                  <a:cubicBezTo>
                    <a:pt x="2247" y="290"/>
                    <a:pt x="2252" y="290"/>
                    <a:pt x="2257" y="290"/>
                  </a:cubicBezTo>
                  <a:cubicBezTo>
                    <a:pt x="2256" y="296"/>
                    <a:pt x="2257" y="299"/>
                    <a:pt x="2262" y="300"/>
                  </a:cubicBezTo>
                  <a:cubicBezTo>
                    <a:pt x="2263" y="295"/>
                    <a:pt x="2259" y="288"/>
                    <a:pt x="2267" y="290"/>
                  </a:cubicBezTo>
                  <a:cubicBezTo>
                    <a:pt x="2268" y="293"/>
                    <a:pt x="2264" y="294"/>
                    <a:pt x="2268" y="295"/>
                  </a:cubicBezTo>
                  <a:cubicBezTo>
                    <a:pt x="2272" y="288"/>
                    <a:pt x="2276" y="301"/>
                    <a:pt x="2281" y="302"/>
                  </a:cubicBezTo>
                  <a:cubicBezTo>
                    <a:pt x="2281" y="295"/>
                    <a:pt x="2280" y="288"/>
                    <a:pt x="2287" y="287"/>
                  </a:cubicBezTo>
                  <a:cubicBezTo>
                    <a:pt x="2287" y="292"/>
                    <a:pt x="2289" y="295"/>
                    <a:pt x="2292" y="297"/>
                  </a:cubicBezTo>
                  <a:cubicBezTo>
                    <a:pt x="2293" y="294"/>
                    <a:pt x="2295" y="295"/>
                    <a:pt x="2298" y="297"/>
                  </a:cubicBezTo>
                  <a:cubicBezTo>
                    <a:pt x="2298" y="294"/>
                    <a:pt x="2297" y="290"/>
                    <a:pt x="2300" y="289"/>
                  </a:cubicBezTo>
                  <a:cubicBezTo>
                    <a:pt x="2303" y="298"/>
                    <a:pt x="2306" y="286"/>
                    <a:pt x="2309" y="287"/>
                  </a:cubicBezTo>
                  <a:cubicBezTo>
                    <a:pt x="2311" y="288"/>
                    <a:pt x="2311" y="294"/>
                    <a:pt x="2314" y="294"/>
                  </a:cubicBezTo>
                  <a:cubicBezTo>
                    <a:pt x="2318" y="288"/>
                    <a:pt x="2307" y="285"/>
                    <a:pt x="2314" y="284"/>
                  </a:cubicBezTo>
                  <a:cubicBezTo>
                    <a:pt x="2321" y="283"/>
                    <a:pt x="2319" y="289"/>
                    <a:pt x="2322" y="291"/>
                  </a:cubicBezTo>
                  <a:cubicBezTo>
                    <a:pt x="2319" y="291"/>
                    <a:pt x="2313" y="298"/>
                    <a:pt x="2320" y="299"/>
                  </a:cubicBezTo>
                  <a:cubicBezTo>
                    <a:pt x="2320" y="296"/>
                    <a:pt x="2323" y="295"/>
                    <a:pt x="2325" y="294"/>
                  </a:cubicBezTo>
                  <a:cubicBezTo>
                    <a:pt x="2326" y="290"/>
                    <a:pt x="2317" y="282"/>
                    <a:pt x="2325" y="280"/>
                  </a:cubicBezTo>
                  <a:cubicBezTo>
                    <a:pt x="2330" y="280"/>
                    <a:pt x="2326" y="301"/>
                    <a:pt x="2331" y="294"/>
                  </a:cubicBezTo>
                  <a:cubicBezTo>
                    <a:pt x="2331" y="284"/>
                    <a:pt x="2328" y="271"/>
                    <a:pt x="2338" y="270"/>
                  </a:cubicBezTo>
                  <a:cubicBezTo>
                    <a:pt x="2332" y="275"/>
                    <a:pt x="2338" y="281"/>
                    <a:pt x="2339" y="286"/>
                  </a:cubicBezTo>
                  <a:cubicBezTo>
                    <a:pt x="2339" y="289"/>
                    <a:pt x="2336" y="289"/>
                    <a:pt x="2336" y="291"/>
                  </a:cubicBezTo>
                  <a:cubicBezTo>
                    <a:pt x="2336" y="294"/>
                    <a:pt x="2340" y="295"/>
                    <a:pt x="2342" y="296"/>
                  </a:cubicBezTo>
                  <a:cubicBezTo>
                    <a:pt x="2342" y="292"/>
                    <a:pt x="2340" y="287"/>
                    <a:pt x="2344" y="286"/>
                  </a:cubicBezTo>
                  <a:cubicBezTo>
                    <a:pt x="2348" y="286"/>
                    <a:pt x="2347" y="290"/>
                    <a:pt x="2350" y="291"/>
                  </a:cubicBezTo>
                  <a:cubicBezTo>
                    <a:pt x="2352" y="278"/>
                    <a:pt x="2350" y="297"/>
                    <a:pt x="2358" y="293"/>
                  </a:cubicBezTo>
                  <a:cubicBezTo>
                    <a:pt x="2362" y="286"/>
                    <a:pt x="2357" y="286"/>
                    <a:pt x="2358" y="277"/>
                  </a:cubicBezTo>
                  <a:cubicBezTo>
                    <a:pt x="2363" y="278"/>
                    <a:pt x="2361" y="271"/>
                    <a:pt x="2366" y="270"/>
                  </a:cubicBezTo>
                  <a:cubicBezTo>
                    <a:pt x="2369" y="269"/>
                    <a:pt x="2374" y="270"/>
                    <a:pt x="2374" y="272"/>
                  </a:cubicBezTo>
                  <a:cubicBezTo>
                    <a:pt x="2371" y="273"/>
                    <a:pt x="2367" y="274"/>
                    <a:pt x="2366" y="277"/>
                  </a:cubicBezTo>
                  <a:cubicBezTo>
                    <a:pt x="2366" y="276"/>
                    <a:pt x="2371" y="279"/>
                    <a:pt x="2369" y="281"/>
                  </a:cubicBezTo>
                  <a:cubicBezTo>
                    <a:pt x="2365" y="285"/>
                    <a:pt x="2368" y="284"/>
                    <a:pt x="2369" y="288"/>
                  </a:cubicBezTo>
                  <a:cubicBezTo>
                    <a:pt x="2369" y="288"/>
                    <a:pt x="2363" y="293"/>
                    <a:pt x="2369" y="293"/>
                  </a:cubicBezTo>
                  <a:cubicBezTo>
                    <a:pt x="2374" y="285"/>
                    <a:pt x="2379" y="296"/>
                    <a:pt x="2386" y="295"/>
                  </a:cubicBezTo>
                  <a:cubicBezTo>
                    <a:pt x="2387" y="295"/>
                    <a:pt x="2385" y="289"/>
                    <a:pt x="2388" y="290"/>
                  </a:cubicBezTo>
                  <a:cubicBezTo>
                    <a:pt x="2389" y="296"/>
                    <a:pt x="2397" y="291"/>
                    <a:pt x="2399" y="290"/>
                  </a:cubicBezTo>
                  <a:cubicBezTo>
                    <a:pt x="2399" y="282"/>
                    <a:pt x="2392" y="273"/>
                    <a:pt x="2401" y="267"/>
                  </a:cubicBezTo>
                  <a:cubicBezTo>
                    <a:pt x="2397" y="274"/>
                    <a:pt x="2403" y="277"/>
                    <a:pt x="2402" y="288"/>
                  </a:cubicBezTo>
                  <a:cubicBezTo>
                    <a:pt x="2407" y="288"/>
                    <a:pt x="2409" y="292"/>
                    <a:pt x="2413" y="294"/>
                  </a:cubicBezTo>
                  <a:cubicBezTo>
                    <a:pt x="2411" y="288"/>
                    <a:pt x="2417" y="288"/>
                    <a:pt x="2415" y="283"/>
                  </a:cubicBezTo>
                  <a:cubicBezTo>
                    <a:pt x="2412" y="282"/>
                    <a:pt x="2408" y="283"/>
                    <a:pt x="2407" y="281"/>
                  </a:cubicBezTo>
                  <a:cubicBezTo>
                    <a:pt x="2420" y="283"/>
                    <a:pt x="2414" y="269"/>
                    <a:pt x="2423" y="269"/>
                  </a:cubicBezTo>
                  <a:cubicBezTo>
                    <a:pt x="2419" y="274"/>
                    <a:pt x="2426" y="278"/>
                    <a:pt x="2426" y="283"/>
                  </a:cubicBezTo>
                  <a:cubicBezTo>
                    <a:pt x="2427" y="285"/>
                    <a:pt x="2421" y="288"/>
                    <a:pt x="2427" y="290"/>
                  </a:cubicBezTo>
                  <a:cubicBezTo>
                    <a:pt x="2428" y="286"/>
                    <a:pt x="2430" y="290"/>
                    <a:pt x="2435" y="289"/>
                  </a:cubicBezTo>
                  <a:cubicBezTo>
                    <a:pt x="2438" y="284"/>
                    <a:pt x="2424" y="282"/>
                    <a:pt x="2432" y="280"/>
                  </a:cubicBezTo>
                  <a:cubicBezTo>
                    <a:pt x="2441" y="278"/>
                    <a:pt x="2436" y="288"/>
                    <a:pt x="2443" y="287"/>
                  </a:cubicBezTo>
                  <a:cubicBezTo>
                    <a:pt x="2441" y="278"/>
                    <a:pt x="2434" y="268"/>
                    <a:pt x="2443" y="261"/>
                  </a:cubicBezTo>
                  <a:cubicBezTo>
                    <a:pt x="2448" y="268"/>
                    <a:pt x="2439" y="284"/>
                    <a:pt x="2451" y="289"/>
                  </a:cubicBezTo>
                  <a:cubicBezTo>
                    <a:pt x="2449" y="280"/>
                    <a:pt x="2456" y="279"/>
                    <a:pt x="2459" y="275"/>
                  </a:cubicBezTo>
                  <a:cubicBezTo>
                    <a:pt x="2458" y="280"/>
                    <a:pt x="2467" y="277"/>
                    <a:pt x="2468" y="282"/>
                  </a:cubicBezTo>
                  <a:cubicBezTo>
                    <a:pt x="2459" y="285"/>
                    <a:pt x="2472" y="291"/>
                    <a:pt x="2465" y="294"/>
                  </a:cubicBezTo>
                  <a:cubicBezTo>
                    <a:pt x="2473" y="295"/>
                    <a:pt x="2470" y="289"/>
                    <a:pt x="2476" y="289"/>
                  </a:cubicBezTo>
                  <a:cubicBezTo>
                    <a:pt x="2476" y="292"/>
                    <a:pt x="2477" y="294"/>
                    <a:pt x="2482" y="293"/>
                  </a:cubicBezTo>
                  <a:cubicBezTo>
                    <a:pt x="2479" y="288"/>
                    <a:pt x="2479" y="284"/>
                    <a:pt x="2484" y="279"/>
                  </a:cubicBezTo>
                  <a:cubicBezTo>
                    <a:pt x="2489" y="278"/>
                    <a:pt x="2500" y="282"/>
                    <a:pt x="2500" y="277"/>
                  </a:cubicBezTo>
                  <a:cubicBezTo>
                    <a:pt x="2499" y="277"/>
                    <a:pt x="2497" y="275"/>
                    <a:pt x="2500" y="274"/>
                  </a:cubicBezTo>
                  <a:cubicBezTo>
                    <a:pt x="2501" y="277"/>
                    <a:pt x="2504" y="279"/>
                    <a:pt x="2503" y="284"/>
                  </a:cubicBezTo>
                  <a:cubicBezTo>
                    <a:pt x="2500" y="281"/>
                    <a:pt x="2479" y="277"/>
                    <a:pt x="2484" y="289"/>
                  </a:cubicBezTo>
                  <a:cubicBezTo>
                    <a:pt x="2493" y="290"/>
                    <a:pt x="2493" y="285"/>
                    <a:pt x="2498" y="284"/>
                  </a:cubicBezTo>
                  <a:cubicBezTo>
                    <a:pt x="2496" y="288"/>
                    <a:pt x="2502" y="287"/>
                    <a:pt x="2503" y="288"/>
                  </a:cubicBezTo>
                  <a:cubicBezTo>
                    <a:pt x="2505" y="290"/>
                    <a:pt x="2503" y="295"/>
                    <a:pt x="2509" y="293"/>
                  </a:cubicBezTo>
                  <a:cubicBezTo>
                    <a:pt x="2507" y="284"/>
                    <a:pt x="2508" y="287"/>
                    <a:pt x="2506" y="276"/>
                  </a:cubicBezTo>
                  <a:cubicBezTo>
                    <a:pt x="2512" y="282"/>
                    <a:pt x="2523" y="270"/>
                    <a:pt x="2525" y="281"/>
                  </a:cubicBezTo>
                  <a:cubicBezTo>
                    <a:pt x="2522" y="278"/>
                    <a:pt x="2515" y="278"/>
                    <a:pt x="2511" y="281"/>
                  </a:cubicBezTo>
                  <a:cubicBezTo>
                    <a:pt x="2512" y="287"/>
                    <a:pt x="2514" y="291"/>
                    <a:pt x="2520" y="293"/>
                  </a:cubicBezTo>
                  <a:cubicBezTo>
                    <a:pt x="2522" y="289"/>
                    <a:pt x="2526" y="288"/>
                    <a:pt x="2531" y="288"/>
                  </a:cubicBezTo>
                  <a:cubicBezTo>
                    <a:pt x="2531" y="290"/>
                    <a:pt x="2531" y="292"/>
                    <a:pt x="2534" y="292"/>
                  </a:cubicBezTo>
                  <a:cubicBezTo>
                    <a:pt x="2531" y="284"/>
                    <a:pt x="2533" y="284"/>
                    <a:pt x="2528" y="276"/>
                  </a:cubicBezTo>
                  <a:cubicBezTo>
                    <a:pt x="2531" y="274"/>
                    <a:pt x="2535" y="273"/>
                    <a:pt x="2542" y="273"/>
                  </a:cubicBezTo>
                  <a:cubicBezTo>
                    <a:pt x="2540" y="277"/>
                    <a:pt x="2538" y="278"/>
                    <a:pt x="2542" y="281"/>
                  </a:cubicBezTo>
                  <a:cubicBezTo>
                    <a:pt x="2544" y="282"/>
                    <a:pt x="2539" y="291"/>
                    <a:pt x="2545" y="290"/>
                  </a:cubicBezTo>
                  <a:cubicBezTo>
                    <a:pt x="2549" y="285"/>
                    <a:pt x="2551" y="283"/>
                    <a:pt x="2547" y="276"/>
                  </a:cubicBezTo>
                  <a:cubicBezTo>
                    <a:pt x="2558" y="280"/>
                    <a:pt x="2550" y="270"/>
                    <a:pt x="2555" y="269"/>
                  </a:cubicBezTo>
                  <a:cubicBezTo>
                    <a:pt x="2554" y="269"/>
                    <a:pt x="2564" y="276"/>
                    <a:pt x="2572" y="273"/>
                  </a:cubicBezTo>
                  <a:cubicBezTo>
                    <a:pt x="2573" y="272"/>
                    <a:pt x="2571" y="266"/>
                    <a:pt x="2577" y="268"/>
                  </a:cubicBezTo>
                  <a:cubicBezTo>
                    <a:pt x="2578" y="274"/>
                    <a:pt x="2576" y="278"/>
                    <a:pt x="2572" y="280"/>
                  </a:cubicBezTo>
                  <a:cubicBezTo>
                    <a:pt x="2571" y="277"/>
                    <a:pt x="2569" y="276"/>
                    <a:pt x="2566" y="275"/>
                  </a:cubicBezTo>
                  <a:cubicBezTo>
                    <a:pt x="2567" y="286"/>
                    <a:pt x="2558" y="276"/>
                    <a:pt x="2555" y="276"/>
                  </a:cubicBezTo>
                  <a:cubicBezTo>
                    <a:pt x="2552" y="281"/>
                    <a:pt x="2562" y="284"/>
                    <a:pt x="2555" y="285"/>
                  </a:cubicBezTo>
                  <a:cubicBezTo>
                    <a:pt x="2554" y="285"/>
                    <a:pt x="2552" y="285"/>
                    <a:pt x="2553" y="287"/>
                  </a:cubicBezTo>
                  <a:cubicBezTo>
                    <a:pt x="2560" y="288"/>
                    <a:pt x="2561" y="284"/>
                    <a:pt x="2566" y="282"/>
                  </a:cubicBezTo>
                  <a:cubicBezTo>
                    <a:pt x="2571" y="290"/>
                    <a:pt x="2578" y="281"/>
                    <a:pt x="2580" y="289"/>
                  </a:cubicBezTo>
                  <a:cubicBezTo>
                    <a:pt x="2580" y="291"/>
                    <a:pt x="2581" y="292"/>
                    <a:pt x="2583" y="292"/>
                  </a:cubicBezTo>
                  <a:cubicBezTo>
                    <a:pt x="2583" y="287"/>
                    <a:pt x="2580" y="286"/>
                    <a:pt x="2580" y="282"/>
                  </a:cubicBezTo>
                  <a:cubicBezTo>
                    <a:pt x="2583" y="282"/>
                    <a:pt x="2583" y="280"/>
                    <a:pt x="2585" y="280"/>
                  </a:cubicBezTo>
                  <a:cubicBezTo>
                    <a:pt x="2586" y="290"/>
                    <a:pt x="2587" y="280"/>
                    <a:pt x="2591" y="280"/>
                  </a:cubicBezTo>
                  <a:cubicBezTo>
                    <a:pt x="2589" y="285"/>
                    <a:pt x="2594" y="295"/>
                    <a:pt x="2597" y="289"/>
                  </a:cubicBezTo>
                  <a:cubicBezTo>
                    <a:pt x="2594" y="289"/>
                    <a:pt x="2593" y="285"/>
                    <a:pt x="2597" y="284"/>
                  </a:cubicBezTo>
                  <a:cubicBezTo>
                    <a:pt x="2600" y="284"/>
                    <a:pt x="2599" y="288"/>
                    <a:pt x="2602" y="289"/>
                  </a:cubicBezTo>
                  <a:cubicBezTo>
                    <a:pt x="2606" y="287"/>
                    <a:pt x="2602" y="283"/>
                    <a:pt x="2602" y="279"/>
                  </a:cubicBezTo>
                  <a:cubicBezTo>
                    <a:pt x="2602" y="277"/>
                    <a:pt x="2605" y="278"/>
                    <a:pt x="2605" y="277"/>
                  </a:cubicBezTo>
                  <a:cubicBezTo>
                    <a:pt x="2606" y="274"/>
                    <a:pt x="2601" y="266"/>
                    <a:pt x="2607" y="265"/>
                  </a:cubicBezTo>
                  <a:cubicBezTo>
                    <a:pt x="2614" y="270"/>
                    <a:pt x="2618" y="277"/>
                    <a:pt x="2629" y="277"/>
                  </a:cubicBezTo>
                  <a:cubicBezTo>
                    <a:pt x="2633" y="277"/>
                    <a:pt x="2632" y="272"/>
                    <a:pt x="2635" y="272"/>
                  </a:cubicBezTo>
                  <a:cubicBezTo>
                    <a:pt x="2638" y="271"/>
                    <a:pt x="2643" y="272"/>
                    <a:pt x="2643" y="269"/>
                  </a:cubicBezTo>
                  <a:cubicBezTo>
                    <a:pt x="2628" y="273"/>
                    <a:pt x="2637" y="256"/>
                    <a:pt x="2637" y="255"/>
                  </a:cubicBezTo>
                  <a:cubicBezTo>
                    <a:pt x="2642" y="248"/>
                    <a:pt x="2636" y="253"/>
                    <a:pt x="2634" y="248"/>
                  </a:cubicBezTo>
                  <a:cubicBezTo>
                    <a:pt x="2639" y="249"/>
                    <a:pt x="2644" y="250"/>
                    <a:pt x="2645" y="253"/>
                  </a:cubicBezTo>
                  <a:cubicBezTo>
                    <a:pt x="2641" y="253"/>
                    <a:pt x="2639" y="255"/>
                    <a:pt x="2640" y="260"/>
                  </a:cubicBezTo>
                  <a:cubicBezTo>
                    <a:pt x="2650" y="264"/>
                    <a:pt x="2655" y="257"/>
                    <a:pt x="2662" y="262"/>
                  </a:cubicBezTo>
                  <a:cubicBezTo>
                    <a:pt x="2658" y="265"/>
                    <a:pt x="2661" y="274"/>
                    <a:pt x="2654" y="274"/>
                  </a:cubicBezTo>
                  <a:cubicBezTo>
                    <a:pt x="2649" y="268"/>
                    <a:pt x="2658" y="265"/>
                    <a:pt x="2648" y="265"/>
                  </a:cubicBezTo>
                  <a:cubicBezTo>
                    <a:pt x="2646" y="276"/>
                    <a:pt x="2650" y="280"/>
                    <a:pt x="2646" y="290"/>
                  </a:cubicBezTo>
                  <a:cubicBezTo>
                    <a:pt x="2654" y="292"/>
                    <a:pt x="2649" y="286"/>
                    <a:pt x="2651" y="283"/>
                  </a:cubicBezTo>
                  <a:cubicBezTo>
                    <a:pt x="2653" y="282"/>
                    <a:pt x="2658" y="284"/>
                    <a:pt x="2657" y="281"/>
                  </a:cubicBezTo>
                  <a:cubicBezTo>
                    <a:pt x="2654" y="280"/>
                    <a:pt x="2650" y="277"/>
                    <a:pt x="2654" y="276"/>
                  </a:cubicBezTo>
                  <a:cubicBezTo>
                    <a:pt x="2661" y="278"/>
                    <a:pt x="2660" y="287"/>
                    <a:pt x="2668" y="288"/>
                  </a:cubicBezTo>
                  <a:cubicBezTo>
                    <a:pt x="2669" y="285"/>
                    <a:pt x="2672" y="282"/>
                    <a:pt x="2673" y="285"/>
                  </a:cubicBezTo>
                  <a:cubicBezTo>
                    <a:pt x="2674" y="287"/>
                    <a:pt x="2674" y="290"/>
                    <a:pt x="2676" y="290"/>
                  </a:cubicBezTo>
                  <a:cubicBezTo>
                    <a:pt x="2676" y="283"/>
                    <a:pt x="2677" y="278"/>
                    <a:pt x="2681" y="276"/>
                  </a:cubicBezTo>
                  <a:cubicBezTo>
                    <a:pt x="2684" y="283"/>
                    <a:pt x="2687" y="273"/>
                    <a:pt x="2690" y="273"/>
                  </a:cubicBezTo>
                  <a:cubicBezTo>
                    <a:pt x="2690" y="276"/>
                    <a:pt x="2692" y="276"/>
                    <a:pt x="2692" y="278"/>
                  </a:cubicBezTo>
                  <a:cubicBezTo>
                    <a:pt x="2690" y="281"/>
                    <a:pt x="2690" y="287"/>
                    <a:pt x="2684" y="287"/>
                  </a:cubicBezTo>
                  <a:cubicBezTo>
                    <a:pt x="2684" y="286"/>
                    <a:pt x="2682" y="285"/>
                    <a:pt x="2682" y="287"/>
                  </a:cubicBezTo>
                  <a:cubicBezTo>
                    <a:pt x="2689" y="293"/>
                    <a:pt x="2699" y="287"/>
                    <a:pt x="2701" y="287"/>
                  </a:cubicBezTo>
                  <a:cubicBezTo>
                    <a:pt x="2704" y="287"/>
                    <a:pt x="2703" y="283"/>
                    <a:pt x="2706" y="282"/>
                  </a:cubicBezTo>
                  <a:cubicBezTo>
                    <a:pt x="2709" y="282"/>
                    <a:pt x="2710" y="284"/>
                    <a:pt x="2712" y="285"/>
                  </a:cubicBezTo>
                  <a:cubicBezTo>
                    <a:pt x="2715" y="275"/>
                    <a:pt x="2700" y="281"/>
                    <a:pt x="2698" y="275"/>
                  </a:cubicBezTo>
                  <a:cubicBezTo>
                    <a:pt x="2702" y="275"/>
                    <a:pt x="2708" y="276"/>
                    <a:pt x="2709" y="273"/>
                  </a:cubicBezTo>
                  <a:cubicBezTo>
                    <a:pt x="2696" y="273"/>
                    <a:pt x="2699" y="251"/>
                    <a:pt x="2711" y="252"/>
                  </a:cubicBezTo>
                  <a:cubicBezTo>
                    <a:pt x="2712" y="255"/>
                    <a:pt x="2710" y="260"/>
                    <a:pt x="2714" y="261"/>
                  </a:cubicBezTo>
                  <a:cubicBezTo>
                    <a:pt x="2720" y="259"/>
                    <a:pt x="2713" y="248"/>
                    <a:pt x="2719" y="247"/>
                  </a:cubicBezTo>
                  <a:cubicBezTo>
                    <a:pt x="2715" y="256"/>
                    <a:pt x="2725" y="258"/>
                    <a:pt x="2725" y="263"/>
                  </a:cubicBezTo>
                  <a:cubicBezTo>
                    <a:pt x="2725" y="263"/>
                    <a:pt x="2720" y="263"/>
                    <a:pt x="2720" y="263"/>
                  </a:cubicBezTo>
                  <a:cubicBezTo>
                    <a:pt x="2719" y="264"/>
                    <a:pt x="2719" y="272"/>
                    <a:pt x="2723" y="280"/>
                  </a:cubicBezTo>
                  <a:cubicBezTo>
                    <a:pt x="2719" y="280"/>
                    <a:pt x="2717" y="279"/>
                    <a:pt x="2714" y="277"/>
                  </a:cubicBezTo>
                  <a:cubicBezTo>
                    <a:pt x="2714" y="281"/>
                    <a:pt x="2716" y="283"/>
                    <a:pt x="2717" y="285"/>
                  </a:cubicBezTo>
                  <a:cubicBezTo>
                    <a:pt x="2723" y="284"/>
                    <a:pt x="2723" y="288"/>
                    <a:pt x="2726" y="289"/>
                  </a:cubicBezTo>
                  <a:cubicBezTo>
                    <a:pt x="2726" y="284"/>
                    <a:pt x="2731" y="273"/>
                    <a:pt x="2731" y="275"/>
                  </a:cubicBezTo>
                  <a:cubicBezTo>
                    <a:pt x="2731" y="273"/>
                    <a:pt x="2728" y="268"/>
                    <a:pt x="2728" y="268"/>
                  </a:cubicBezTo>
                  <a:cubicBezTo>
                    <a:pt x="2729" y="266"/>
                    <a:pt x="2735" y="265"/>
                    <a:pt x="2736" y="263"/>
                  </a:cubicBezTo>
                  <a:cubicBezTo>
                    <a:pt x="2739" y="259"/>
                    <a:pt x="2735" y="255"/>
                    <a:pt x="2741" y="254"/>
                  </a:cubicBezTo>
                  <a:cubicBezTo>
                    <a:pt x="2745" y="254"/>
                    <a:pt x="2747" y="256"/>
                    <a:pt x="2747" y="260"/>
                  </a:cubicBezTo>
                  <a:cubicBezTo>
                    <a:pt x="2742" y="260"/>
                    <a:pt x="2741" y="263"/>
                    <a:pt x="2736" y="263"/>
                  </a:cubicBezTo>
                  <a:cubicBezTo>
                    <a:pt x="2738" y="266"/>
                    <a:pt x="2733" y="275"/>
                    <a:pt x="2739" y="275"/>
                  </a:cubicBezTo>
                  <a:cubicBezTo>
                    <a:pt x="2742" y="270"/>
                    <a:pt x="2738" y="264"/>
                    <a:pt x="2750" y="263"/>
                  </a:cubicBezTo>
                  <a:cubicBezTo>
                    <a:pt x="2751" y="268"/>
                    <a:pt x="2745" y="268"/>
                    <a:pt x="2747" y="275"/>
                  </a:cubicBezTo>
                  <a:cubicBezTo>
                    <a:pt x="2748" y="274"/>
                    <a:pt x="2752" y="275"/>
                    <a:pt x="2753" y="275"/>
                  </a:cubicBezTo>
                  <a:cubicBezTo>
                    <a:pt x="2753" y="273"/>
                    <a:pt x="2752" y="271"/>
                    <a:pt x="2753" y="270"/>
                  </a:cubicBezTo>
                  <a:cubicBezTo>
                    <a:pt x="2754" y="265"/>
                    <a:pt x="2759" y="256"/>
                    <a:pt x="2755" y="251"/>
                  </a:cubicBezTo>
                  <a:cubicBezTo>
                    <a:pt x="2764" y="252"/>
                    <a:pt x="2766" y="250"/>
                    <a:pt x="2769" y="253"/>
                  </a:cubicBezTo>
                  <a:cubicBezTo>
                    <a:pt x="2768" y="255"/>
                    <a:pt x="2767" y="256"/>
                    <a:pt x="2763" y="256"/>
                  </a:cubicBezTo>
                  <a:cubicBezTo>
                    <a:pt x="2763" y="257"/>
                    <a:pt x="2763" y="260"/>
                    <a:pt x="2761" y="260"/>
                  </a:cubicBezTo>
                  <a:cubicBezTo>
                    <a:pt x="2763" y="264"/>
                    <a:pt x="2762" y="272"/>
                    <a:pt x="2767" y="274"/>
                  </a:cubicBezTo>
                  <a:cubicBezTo>
                    <a:pt x="2769" y="266"/>
                    <a:pt x="2780" y="274"/>
                    <a:pt x="2783" y="269"/>
                  </a:cubicBezTo>
                  <a:cubicBezTo>
                    <a:pt x="2779" y="269"/>
                    <a:pt x="2783" y="260"/>
                    <a:pt x="2783" y="260"/>
                  </a:cubicBezTo>
                  <a:cubicBezTo>
                    <a:pt x="2784" y="259"/>
                    <a:pt x="2788" y="262"/>
                    <a:pt x="2788" y="262"/>
                  </a:cubicBezTo>
                  <a:cubicBezTo>
                    <a:pt x="2789" y="257"/>
                    <a:pt x="2783" y="255"/>
                    <a:pt x="2785" y="246"/>
                  </a:cubicBezTo>
                  <a:cubicBezTo>
                    <a:pt x="2789" y="246"/>
                    <a:pt x="2789" y="243"/>
                    <a:pt x="2793" y="243"/>
                  </a:cubicBezTo>
                  <a:cubicBezTo>
                    <a:pt x="2796" y="252"/>
                    <a:pt x="2787" y="256"/>
                    <a:pt x="2794" y="262"/>
                  </a:cubicBezTo>
                  <a:cubicBezTo>
                    <a:pt x="2789" y="262"/>
                    <a:pt x="2787" y="264"/>
                    <a:pt x="2786" y="267"/>
                  </a:cubicBezTo>
                  <a:cubicBezTo>
                    <a:pt x="2792" y="267"/>
                    <a:pt x="2789" y="268"/>
                    <a:pt x="2788" y="272"/>
                  </a:cubicBezTo>
                  <a:cubicBezTo>
                    <a:pt x="2787" y="278"/>
                    <a:pt x="2792" y="281"/>
                    <a:pt x="2791" y="283"/>
                  </a:cubicBezTo>
                  <a:cubicBezTo>
                    <a:pt x="2791" y="283"/>
                    <a:pt x="2781" y="286"/>
                    <a:pt x="2789" y="288"/>
                  </a:cubicBezTo>
                  <a:cubicBezTo>
                    <a:pt x="2792" y="284"/>
                    <a:pt x="2797" y="279"/>
                    <a:pt x="2791" y="274"/>
                  </a:cubicBezTo>
                  <a:cubicBezTo>
                    <a:pt x="2795" y="274"/>
                    <a:pt x="2797" y="273"/>
                    <a:pt x="2799" y="271"/>
                  </a:cubicBezTo>
                  <a:cubicBezTo>
                    <a:pt x="2799" y="274"/>
                    <a:pt x="2800" y="286"/>
                    <a:pt x="2802" y="278"/>
                  </a:cubicBezTo>
                  <a:cubicBezTo>
                    <a:pt x="2799" y="266"/>
                    <a:pt x="2808" y="278"/>
                    <a:pt x="2810" y="271"/>
                  </a:cubicBezTo>
                  <a:cubicBezTo>
                    <a:pt x="2805" y="272"/>
                    <a:pt x="2806" y="260"/>
                    <a:pt x="2813" y="264"/>
                  </a:cubicBezTo>
                  <a:cubicBezTo>
                    <a:pt x="2811" y="266"/>
                    <a:pt x="2807" y="273"/>
                    <a:pt x="2816" y="271"/>
                  </a:cubicBezTo>
                  <a:cubicBezTo>
                    <a:pt x="2817" y="268"/>
                    <a:pt x="2812" y="259"/>
                    <a:pt x="2818" y="259"/>
                  </a:cubicBezTo>
                  <a:cubicBezTo>
                    <a:pt x="2817" y="267"/>
                    <a:pt x="2826" y="270"/>
                    <a:pt x="2830" y="275"/>
                  </a:cubicBezTo>
                  <a:cubicBezTo>
                    <a:pt x="2832" y="279"/>
                    <a:pt x="2829" y="288"/>
                    <a:pt x="2838" y="287"/>
                  </a:cubicBezTo>
                  <a:cubicBezTo>
                    <a:pt x="2838" y="283"/>
                    <a:pt x="2830" y="274"/>
                    <a:pt x="2838" y="271"/>
                  </a:cubicBezTo>
                  <a:cubicBezTo>
                    <a:pt x="2842" y="271"/>
                    <a:pt x="2841" y="276"/>
                    <a:pt x="2843" y="278"/>
                  </a:cubicBezTo>
                  <a:cubicBezTo>
                    <a:pt x="2836" y="272"/>
                    <a:pt x="2837" y="282"/>
                    <a:pt x="2841" y="285"/>
                  </a:cubicBezTo>
                  <a:cubicBezTo>
                    <a:pt x="2861" y="284"/>
                    <a:pt x="2841" y="259"/>
                    <a:pt x="2859" y="254"/>
                  </a:cubicBezTo>
                  <a:cubicBezTo>
                    <a:pt x="2859" y="257"/>
                    <a:pt x="2861" y="259"/>
                    <a:pt x="2862" y="261"/>
                  </a:cubicBezTo>
                  <a:cubicBezTo>
                    <a:pt x="2856" y="261"/>
                    <a:pt x="2861" y="269"/>
                    <a:pt x="2860" y="273"/>
                  </a:cubicBezTo>
                  <a:cubicBezTo>
                    <a:pt x="2855" y="271"/>
                    <a:pt x="2855" y="284"/>
                    <a:pt x="2860" y="282"/>
                  </a:cubicBezTo>
                  <a:cubicBezTo>
                    <a:pt x="2860" y="279"/>
                    <a:pt x="2863" y="278"/>
                    <a:pt x="2865" y="277"/>
                  </a:cubicBezTo>
                  <a:cubicBezTo>
                    <a:pt x="2870" y="283"/>
                    <a:pt x="2861" y="286"/>
                    <a:pt x="2871" y="287"/>
                  </a:cubicBezTo>
                  <a:cubicBezTo>
                    <a:pt x="2873" y="278"/>
                    <a:pt x="2862" y="271"/>
                    <a:pt x="2876" y="270"/>
                  </a:cubicBezTo>
                  <a:cubicBezTo>
                    <a:pt x="2879" y="277"/>
                    <a:pt x="2872" y="276"/>
                    <a:pt x="2874" y="282"/>
                  </a:cubicBezTo>
                  <a:cubicBezTo>
                    <a:pt x="2885" y="280"/>
                    <a:pt x="2879" y="273"/>
                    <a:pt x="2879" y="265"/>
                  </a:cubicBezTo>
                  <a:cubicBezTo>
                    <a:pt x="2881" y="265"/>
                    <a:pt x="2884" y="265"/>
                    <a:pt x="2884" y="263"/>
                  </a:cubicBezTo>
                  <a:cubicBezTo>
                    <a:pt x="2886" y="263"/>
                    <a:pt x="2887" y="261"/>
                    <a:pt x="2884" y="260"/>
                  </a:cubicBezTo>
                  <a:cubicBezTo>
                    <a:pt x="2884" y="264"/>
                    <a:pt x="2880" y="261"/>
                    <a:pt x="2879" y="258"/>
                  </a:cubicBezTo>
                  <a:cubicBezTo>
                    <a:pt x="2884" y="259"/>
                    <a:pt x="2884" y="255"/>
                    <a:pt x="2887" y="253"/>
                  </a:cubicBezTo>
                  <a:cubicBezTo>
                    <a:pt x="2887" y="255"/>
                    <a:pt x="2887" y="256"/>
                    <a:pt x="2888" y="257"/>
                  </a:cubicBezTo>
                  <a:cubicBezTo>
                    <a:pt x="2888" y="244"/>
                    <a:pt x="2888" y="244"/>
                    <a:pt x="2888" y="244"/>
                  </a:cubicBezTo>
                  <a:cubicBezTo>
                    <a:pt x="2887" y="244"/>
                    <a:pt x="2885" y="244"/>
                    <a:pt x="2884" y="244"/>
                  </a:cubicBezTo>
                  <a:cubicBezTo>
                    <a:pt x="2884" y="242"/>
                    <a:pt x="2884" y="239"/>
                    <a:pt x="2884" y="237"/>
                  </a:cubicBezTo>
                  <a:cubicBezTo>
                    <a:pt x="2886" y="237"/>
                    <a:pt x="2887" y="238"/>
                    <a:pt x="2888" y="239"/>
                  </a:cubicBezTo>
                  <a:cubicBezTo>
                    <a:pt x="2888" y="205"/>
                    <a:pt x="2888" y="205"/>
                    <a:pt x="2888" y="205"/>
                  </a:cubicBezTo>
                  <a:cubicBezTo>
                    <a:pt x="2885" y="205"/>
                    <a:pt x="2883" y="205"/>
                    <a:pt x="2881" y="209"/>
                  </a:cubicBezTo>
                  <a:cubicBezTo>
                    <a:pt x="2884" y="211"/>
                    <a:pt x="2893" y="228"/>
                    <a:pt x="2881" y="228"/>
                  </a:cubicBezTo>
                  <a:cubicBezTo>
                    <a:pt x="2886" y="223"/>
                    <a:pt x="2880" y="220"/>
                    <a:pt x="2875" y="218"/>
                  </a:cubicBezTo>
                  <a:cubicBezTo>
                    <a:pt x="2875" y="222"/>
                    <a:pt x="2876" y="227"/>
                    <a:pt x="2873" y="228"/>
                  </a:cubicBezTo>
                  <a:cubicBezTo>
                    <a:pt x="2872" y="222"/>
                    <a:pt x="2871" y="217"/>
                    <a:pt x="2862" y="219"/>
                  </a:cubicBezTo>
                  <a:cubicBezTo>
                    <a:pt x="2860" y="224"/>
                    <a:pt x="2865" y="236"/>
                    <a:pt x="2859" y="237"/>
                  </a:cubicBezTo>
                  <a:cubicBezTo>
                    <a:pt x="2855" y="232"/>
                    <a:pt x="2852" y="240"/>
                    <a:pt x="2851" y="235"/>
                  </a:cubicBezTo>
                  <a:cubicBezTo>
                    <a:pt x="2851" y="231"/>
                    <a:pt x="2851" y="228"/>
                    <a:pt x="2853" y="226"/>
                  </a:cubicBezTo>
                  <a:cubicBezTo>
                    <a:pt x="2851" y="225"/>
                    <a:pt x="2848" y="226"/>
                    <a:pt x="2848" y="223"/>
                  </a:cubicBezTo>
                  <a:cubicBezTo>
                    <a:pt x="2857" y="221"/>
                    <a:pt x="2854" y="229"/>
                    <a:pt x="2859" y="230"/>
                  </a:cubicBezTo>
                  <a:cubicBezTo>
                    <a:pt x="2857" y="227"/>
                    <a:pt x="2862" y="218"/>
                    <a:pt x="2856" y="219"/>
                  </a:cubicBezTo>
                  <a:cubicBezTo>
                    <a:pt x="2856" y="221"/>
                    <a:pt x="2851" y="222"/>
                    <a:pt x="2851" y="219"/>
                  </a:cubicBezTo>
                  <a:cubicBezTo>
                    <a:pt x="2851" y="209"/>
                    <a:pt x="2859" y="220"/>
                    <a:pt x="2861" y="214"/>
                  </a:cubicBezTo>
                  <a:cubicBezTo>
                    <a:pt x="2857" y="213"/>
                    <a:pt x="2859" y="209"/>
                    <a:pt x="2861" y="207"/>
                  </a:cubicBezTo>
                  <a:cubicBezTo>
                    <a:pt x="2855" y="204"/>
                    <a:pt x="2860" y="192"/>
                    <a:pt x="2858" y="186"/>
                  </a:cubicBezTo>
                  <a:cubicBezTo>
                    <a:pt x="2862" y="185"/>
                    <a:pt x="2862" y="183"/>
                    <a:pt x="2866" y="183"/>
                  </a:cubicBezTo>
                  <a:cubicBezTo>
                    <a:pt x="2860" y="196"/>
                    <a:pt x="2870" y="207"/>
                    <a:pt x="2864" y="216"/>
                  </a:cubicBezTo>
                  <a:cubicBezTo>
                    <a:pt x="2867" y="216"/>
                    <a:pt x="2870" y="216"/>
                    <a:pt x="2873" y="216"/>
                  </a:cubicBezTo>
                  <a:cubicBezTo>
                    <a:pt x="2869" y="209"/>
                    <a:pt x="2873" y="210"/>
                    <a:pt x="2870" y="204"/>
                  </a:cubicBezTo>
                  <a:cubicBezTo>
                    <a:pt x="2874" y="204"/>
                    <a:pt x="2871" y="198"/>
                    <a:pt x="2875" y="197"/>
                  </a:cubicBezTo>
                  <a:cubicBezTo>
                    <a:pt x="2876" y="200"/>
                    <a:pt x="2878" y="202"/>
                    <a:pt x="2881" y="204"/>
                  </a:cubicBezTo>
                  <a:cubicBezTo>
                    <a:pt x="2877" y="196"/>
                    <a:pt x="2884" y="198"/>
                    <a:pt x="2888" y="197"/>
                  </a:cubicBezTo>
                  <a:cubicBezTo>
                    <a:pt x="2888" y="191"/>
                    <a:pt x="2888" y="191"/>
                    <a:pt x="2888" y="191"/>
                  </a:cubicBezTo>
                  <a:cubicBezTo>
                    <a:pt x="2888" y="190"/>
                    <a:pt x="2888" y="189"/>
                    <a:pt x="2888" y="188"/>
                  </a:cubicBezTo>
                  <a:cubicBezTo>
                    <a:pt x="2888" y="159"/>
                    <a:pt x="2888" y="159"/>
                    <a:pt x="2888" y="159"/>
                  </a:cubicBezTo>
                  <a:cubicBezTo>
                    <a:pt x="2885" y="158"/>
                    <a:pt x="2882" y="158"/>
                    <a:pt x="2877" y="160"/>
                  </a:cubicBezTo>
                  <a:cubicBezTo>
                    <a:pt x="2877" y="157"/>
                    <a:pt x="2880" y="158"/>
                    <a:pt x="2882" y="157"/>
                  </a:cubicBezTo>
                  <a:cubicBezTo>
                    <a:pt x="2883" y="155"/>
                    <a:pt x="2881" y="155"/>
                    <a:pt x="2880" y="155"/>
                  </a:cubicBezTo>
                  <a:cubicBezTo>
                    <a:pt x="2879" y="151"/>
                    <a:pt x="2884" y="152"/>
                    <a:pt x="2888" y="152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2" y="148"/>
                    <a:pt x="2884" y="141"/>
                    <a:pt x="2877" y="143"/>
                  </a:cubicBezTo>
                  <a:cubicBezTo>
                    <a:pt x="2876" y="145"/>
                    <a:pt x="2877" y="148"/>
                    <a:pt x="2874" y="148"/>
                  </a:cubicBezTo>
                  <a:cubicBezTo>
                    <a:pt x="2874" y="140"/>
                    <a:pt x="2871" y="146"/>
                    <a:pt x="2866" y="146"/>
                  </a:cubicBezTo>
                  <a:cubicBezTo>
                    <a:pt x="2866" y="146"/>
                    <a:pt x="2866" y="143"/>
                    <a:pt x="2866" y="143"/>
                  </a:cubicBezTo>
                  <a:cubicBezTo>
                    <a:pt x="2863" y="142"/>
                    <a:pt x="2859" y="146"/>
                    <a:pt x="2858" y="146"/>
                  </a:cubicBezTo>
                  <a:cubicBezTo>
                    <a:pt x="2855" y="145"/>
                    <a:pt x="2855" y="141"/>
                    <a:pt x="2849" y="141"/>
                  </a:cubicBezTo>
                  <a:cubicBezTo>
                    <a:pt x="2848" y="141"/>
                    <a:pt x="2849" y="147"/>
                    <a:pt x="2847" y="146"/>
                  </a:cubicBezTo>
                  <a:cubicBezTo>
                    <a:pt x="2849" y="138"/>
                    <a:pt x="2838" y="143"/>
                    <a:pt x="2835" y="139"/>
                  </a:cubicBezTo>
                  <a:cubicBezTo>
                    <a:pt x="2829" y="145"/>
                    <a:pt x="2836" y="151"/>
                    <a:pt x="2836" y="158"/>
                  </a:cubicBezTo>
                  <a:cubicBezTo>
                    <a:pt x="2832" y="157"/>
                    <a:pt x="2826" y="160"/>
                    <a:pt x="2822" y="158"/>
                  </a:cubicBezTo>
                  <a:cubicBezTo>
                    <a:pt x="2821" y="158"/>
                    <a:pt x="2822" y="151"/>
                    <a:pt x="2816" y="153"/>
                  </a:cubicBezTo>
                  <a:cubicBezTo>
                    <a:pt x="2818" y="161"/>
                    <a:pt x="2815" y="164"/>
                    <a:pt x="2814" y="170"/>
                  </a:cubicBezTo>
                  <a:cubicBezTo>
                    <a:pt x="2823" y="172"/>
                    <a:pt x="2818" y="162"/>
                    <a:pt x="2825" y="163"/>
                  </a:cubicBezTo>
                  <a:cubicBezTo>
                    <a:pt x="2825" y="166"/>
                    <a:pt x="2826" y="168"/>
                    <a:pt x="2828" y="170"/>
                  </a:cubicBezTo>
                  <a:cubicBezTo>
                    <a:pt x="2821" y="171"/>
                    <a:pt x="2822" y="177"/>
                    <a:pt x="2817" y="179"/>
                  </a:cubicBezTo>
                  <a:cubicBezTo>
                    <a:pt x="2818" y="174"/>
                    <a:pt x="2816" y="171"/>
                    <a:pt x="2811" y="170"/>
                  </a:cubicBezTo>
                  <a:cubicBezTo>
                    <a:pt x="2811" y="173"/>
                    <a:pt x="2812" y="177"/>
                    <a:pt x="2809" y="177"/>
                  </a:cubicBezTo>
                  <a:cubicBezTo>
                    <a:pt x="2810" y="171"/>
                    <a:pt x="2798" y="175"/>
                    <a:pt x="2798" y="170"/>
                  </a:cubicBezTo>
                  <a:cubicBezTo>
                    <a:pt x="2805" y="172"/>
                    <a:pt x="2795" y="159"/>
                    <a:pt x="2803" y="161"/>
                  </a:cubicBezTo>
                  <a:cubicBezTo>
                    <a:pt x="2803" y="164"/>
                    <a:pt x="2802" y="169"/>
                    <a:pt x="2806" y="170"/>
                  </a:cubicBezTo>
                  <a:cubicBezTo>
                    <a:pt x="2808" y="158"/>
                    <a:pt x="2819" y="154"/>
                    <a:pt x="2814" y="142"/>
                  </a:cubicBezTo>
                  <a:cubicBezTo>
                    <a:pt x="2815" y="142"/>
                    <a:pt x="2817" y="140"/>
                    <a:pt x="2814" y="139"/>
                  </a:cubicBezTo>
                  <a:cubicBezTo>
                    <a:pt x="2812" y="142"/>
                    <a:pt x="2811" y="145"/>
                    <a:pt x="2808" y="147"/>
                  </a:cubicBezTo>
                  <a:cubicBezTo>
                    <a:pt x="2803" y="140"/>
                    <a:pt x="2792" y="144"/>
                    <a:pt x="2784" y="147"/>
                  </a:cubicBezTo>
                  <a:cubicBezTo>
                    <a:pt x="2787" y="139"/>
                    <a:pt x="2775" y="145"/>
                    <a:pt x="2778" y="138"/>
                  </a:cubicBezTo>
                  <a:cubicBezTo>
                    <a:pt x="2768" y="138"/>
                    <a:pt x="2772" y="150"/>
                    <a:pt x="2759" y="147"/>
                  </a:cubicBezTo>
                  <a:cubicBezTo>
                    <a:pt x="2759" y="144"/>
                    <a:pt x="2759" y="141"/>
                    <a:pt x="2759" y="138"/>
                  </a:cubicBezTo>
                  <a:cubicBezTo>
                    <a:pt x="2749" y="139"/>
                    <a:pt x="2748" y="142"/>
                    <a:pt x="2739" y="138"/>
                  </a:cubicBezTo>
                  <a:cubicBezTo>
                    <a:pt x="2739" y="143"/>
                    <a:pt x="2738" y="146"/>
                    <a:pt x="2734" y="148"/>
                  </a:cubicBezTo>
                  <a:cubicBezTo>
                    <a:pt x="2736" y="143"/>
                    <a:pt x="2733" y="130"/>
                    <a:pt x="2728" y="139"/>
                  </a:cubicBezTo>
                  <a:cubicBezTo>
                    <a:pt x="2733" y="139"/>
                    <a:pt x="2729" y="142"/>
                    <a:pt x="2729" y="146"/>
                  </a:cubicBezTo>
                  <a:cubicBezTo>
                    <a:pt x="2729" y="148"/>
                    <a:pt x="2731" y="148"/>
                    <a:pt x="2731" y="150"/>
                  </a:cubicBezTo>
                  <a:cubicBezTo>
                    <a:pt x="2731" y="150"/>
                    <a:pt x="2728" y="151"/>
                    <a:pt x="2729" y="153"/>
                  </a:cubicBezTo>
                  <a:cubicBezTo>
                    <a:pt x="2729" y="153"/>
                    <a:pt x="2733" y="153"/>
                    <a:pt x="2731" y="155"/>
                  </a:cubicBezTo>
                  <a:cubicBezTo>
                    <a:pt x="2727" y="155"/>
                    <a:pt x="2721" y="156"/>
                    <a:pt x="2720" y="153"/>
                  </a:cubicBezTo>
                  <a:cubicBezTo>
                    <a:pt x="2722" y="148"/>
                    <a:pt x="2728" y="148"/>
                    <a:pt x="2726" y="141"/>
                  </a:cubicBezTo>
                  <a:cubicBezTo>
                    <a:pt x="2717" y="144"/>
                    <a:pt x="2716" y="140"/>
                    <a:pt x="2707" y="144"/>
                  </a:cubicBezTo>
                  <a:cubicBezTo>
                    <a:pt x="2710" y="139"/>
                    <a:pt x="2702" y="133"/>
                    <a:pt x="2701" y="139"/>
                  </a:cubicBezTo>
                  <a:cubicBezTo>
                    <a:pt x="2710" y="142"/>
                    <a:pt x="2694" y="142"/>
                    <a:pt x="2690" y="142"/>
                  </a:cubicBezTo>
                  <a:cubicBezTo>
                    <a:pt x="2688" y="149"/>
                    <a:pt x="2697" y="146"/>
                    <a:pt x="2698" y="151"/>
                  </a:cubicBezTo>
                  <a:cubicBezTo>
                    <a:pt x="2693" y="152"/>
                    <a:pt x="2698" y="161"/>
                    <a:pt x="2693" y="163"/>
                  </a:cubicBezTo>
                  <a:cubicBezTo>
                    <a:pt x="2696" y="164"/>
                    <a:pt x="2699" y="165"/>
                    <a:pt x="2702" y="167"/>
                  </a:cubicBezTo>
                  <a:cubicBezTo>
                    <a:pt x="2701" y="172"/>
                    <a:pt x="2696" y="174"/>
                    <a:pt x="2693" y="177"/>
                  </a:cubicBezTo>
                  <a:cubicBezTo>
                    <a:pt x="2699" y="182"/>
                    <a:pt x="2691" y="188"/>
                    <a:pt x="2699" y="193"/>
                  </a:cubicBezTo>
                  <a:cubicBezTo>
                    <a:pt x="2696" y="194"/>
                    <a:pt x="2694" y="196"/>
                    <a:pt x="2694" y="200"/>
                  </a:cubicBezTo>
                  <a:cubicBezTo>
                    <a:pt x="2697" y="207"/>
                    <a:pt x="2694" y="206"/>
                    <a:pt x="2700" y="210"/>
                  </a:cubicBezTo>
                  <a:cubicBezTo>
                    <a:pt x="2698" y="213"/>
                    <a:pt x="2695" y="215"/>
                    <a:pt x="2691" y="217"/>
                  </a:cubicBezTo>
                  <a:cubicBezTo>
                    <a:pt x="2689" y="215"/>
                    <a:pt x="2688" y="202"/>
                    <a:pt x="2683" y="210"/>
                  </a:cubicBezTo>
                  <a:cubicBezTo>
                    <a:pt x="2690" y="213"/>
                    <a:pt x="2683" y="220"/>
                    <a:pt x="2683" y="224"/>
                  </a:cubicBezTo>
                  <a:cubicBezTo>
                    <a:pt x="2683" y="226"/>
                    <a:pt x="2681" y="227"/>
                    <a:pt x="2681" y="226"/>
                  </a:cubicBezTo>
                  <a:cubicBezTo>
                    <a:pt x="2680" y="231"/>
                    <a:pt x="2684" y="232"/>
                    <a:pt x="2683" y="236"/>
                  </a:cubicBezTo>
                  <a:cubicBezTo>
                    <a:pt x="2680" y="233"/>
                    <a:pt x="2673" y="234"/>
                    <a:pt x="2672" y="229"/>
                  </a:cubicBezTo>
                  <a:cubicBezTo>
                    <a:pt x="2677" y="224"/>
                    <a:pt x="2676" y="212"/>
                    <a:pt x="2669" y="210"/>
                  </a:cubicBezTo>
                  <a:cubicBezTo>
                    <a:pt x="2668" y="216"/>
                    <a:pt x="2673" y="227"/>
                    <a:pt x="2667" y="229"/>
                  </a:cubicBezTo>
                  <a:cubicBezTo>
                    <a:pt x="2662" y="229"/>
                    <a:pt x="2665" y="222"/>
                    <a:pt x="2661" y="222"/>
                  </a:cubicBezTo>
                  <a:cubicBezTo>
                    <a:pt x="2662" y="222"/>
                    <a:pt x="2658" y="231"/>
                    <a:pt x="2653" y="227"/>
                  </a:cubicBezTo>
                  <a:cubicBezTo>
                    <a:pt x="2653" y="222"/>
                    <a:pt x="2661" y="224"/>
                    <a:pt x="2658" y="217"/>
                  </a:cubicBezTo>
                  <a:cubicBezTo>
                    <a:pt x="2650" y="215"/>
                    <a:pt x="2652" y="221"/>
                    <a:pt x="2648" y="222"/>
                  </a:cubicBezTo>
                  <a:cubicBezTo>
                    <a:pt x="2647" y="213"/>
                    <a:pt x="2640" y="222"/>
                    <a:pt x="2634" y="218"/>
                  </a:cubicBezTo>
                  <a:cubicBezTo>
                    <a:pt x="2634" y="224"/>
                    <a:pt x="2635" y="229"/>
                    <a:pt x="2629" y="230"/>
                  </a:cubicBezTo>
                  <a:cubicBezTo>
                    <a:pt x="2627" y="224"/>
                    <a:pt x="2633" y="224"/>
                    <a:pt x="2631" y="218"/>
                  </a:cubicBezTo>
                  <a:cubicBezTo>
                    <a:pt x="2627" y="216"/>
                    <a:pt x="2622" y="221"/>
                    <a:pt x="2620" y="220"/>
                  </a:cubicBezTo>
                  <a:cubicBezTo>
                    <a:pt x="2616" y="219"/>
                    <a:pt x="2619" y="205"/>
                    <a:pt x="2612" y="214"/>
                  </a:cubicBezTo>
                  <a:cubicBezTo>
                    <a:pt x="2616" y="212"/>
                    <a:pt x="2616" y="225"/>
                    <a:pt x="2612" y="223"/>
                  </a:cubicBezTo>
                  <a:cubicBezTo>
                    <a:pt x="2614" y="212"/>
                    <a:pt x="2603" y="213"/>
                    <a:pt x="2598" y="209"/>
                  </a:cubicBezTo>
                  <a:cubicBezTo>
                    <a:pt x="2609" y="212"/>
                    <a:pt x="2608" y="205"/>
                    <a:pt x="2612" y="202"/>
                  </a:cubicBezTo>
                  <a:cubicBezTo>
                    <a:pt x="2621" y="200"/>
                    <a:pt x="2637" y="204"/>
                    <a:pt x="2642" y="199"/>
                  </a:cubicBezTo>
                  <a:cubicBezTo>
                    <a:pt x="2638" y="193"/>
                    <a:pt x="2634" y="203"/>
                    <a:pt x="2631" y="197"/>
                  </a:cubicBezTo>
                  <a:cubicBezTo>
                    <a:pt x="2635" y="196"/>
                    <a:pt x="2635" y="193"/>
                    <a:pt x="2639" y="192"/>
                  </a:cubicBezTo>
                  <a:cubicBezTo>
                    <a:pt x="2643" y="195"/>
                    <a:pt x="2642" y="202"/>
                    <a:pt x="2650" y="201"/>
                  </a:cubicBezTo>
                  <a:cubicBezTo>
                    <a:pt x="2647" y="194"/>
                    <a:pt x="2659" y="198"/>
                    <a:pt x="2661" y="194"/>
                  </a:cubicBezTo>
                  <a:cubicBezTo>
                    <a:pt x="2662" y="199"/>
                    <a:pt x="2666" y="200"/>
                    <a:pt x="2669" y="203"/>
                  </a:cubicBezTo>
                  <a:cubicBezTo>
                    <a:pt x="2665" y="203"/>
                    <a:pt x="2662" y="205"/>
                    <a:pt x="2661" y="208"/>
                  </a:cubicBezTo>
                  <a:cubicBezTo>
                    <a:pt x="2669" y="206"/>
                    <a:pt x="2671" y="210"/>
                    <a:pt x="2678" y="210"/>
                  </a:cubicBezTo>
                  <a:cubicBezTo>
                    <a:pt x="2678" y="205"/>
                    <a:pt x="2674" y="205"/>
                    <a:pt x="2672" y="203"/>
                  </a:cubicBezTo>
                  <a:cubicBezTo>
                    <a:pt x="2679" y="199"/>
                    <a:pt x="2680" y="204"/>
                    <a:pt x="2683" y="203"/>
                  </a:cubicBezTo>
                  <a:cubicBezTo>
                    <a:pt x="2684" y="202"/>
                    <a:pt x="2682" y="197"/>
                    <a:pt x="2683" y="196"/>
                  </a:cubicBezTo>
                  <a:cubicBezTo>
                    <a:pt x="2685" y="194"/>
                    <a:pt x="2686" y="198"/>
                    <a:pt x="2686" y="198"/>
                  </a:cubicBezTo>
                  <a:cubicBezTo>
                    <a:pt x="2690" y="199"/>
                    <a:pt x="2695" y="192"/>
                    <a:pt x="2694" y="189"/>
                  </a:cubicBezTo>
                  <a:cubicBezTo>
                    <a:pt x="2687" y="186"/>
                    <a:pt x="2684" y="199"/>
                    <a:pt x="2680" y="191"/>
                  </a:cubicBezTo>
                  <a:cubicBezTo>
                    <a:pt x="2682" y="188"/>
                    <a:pt x="2686" y="187"/>
                    <a:pt x="2691" y="186"/>
                  </a:cubicBezTo>
                  <a:cubicBezTo>
                    <a:pt x="2691" y="182"/>
                    <a:pt x="2691" y="179"/>
                    <a:pt x="2693" y="177"/>
                  </a:cubicBezTo>
                  <a:cubicBezTo>
                    <a:pt x="2690" y="175"/>
                    <a:pt x="2688" y="172"/>
                    <a:pt x="2688" y="167"/>
                  </a:cubicBezTo>
                  <a:cubicBezTo>
                    <a:pt x="2684" y="167"/>
                    <a:pt x="2681" y="167"/>
                    <a:pt x="2682" y="163"/>
                  </a:cubicBezTo>
                  <a:cubicBezTo>
                    <a:pt x="2688" y="168"/>
                    <a:pt x="2689" y="159"/>
                    <a:pt x="2693" y="156"/>
                  </a:cubicBezTo>
                  <a:cubicBezTo>
                    <a:pt x="2690" y="155"/>
                    <a:pt x="2685" y="156"/>
                    <a:pt x="2685" y="154"/>
                  </a:cubicBezTo>
                  <a:cubicBezTo>
                    <a:pt x="2688" y="147"/>
                    <a:pt x="2688" y="141"/>
                    <a:pt x="2685" y="135"/>
                  </a:cubicBezTo>
                  <a:cubicBezTo>
                    <a:pt x="2694" y="138"/>
                    <a:pt x="2686" y="127"/>
                    <a:pt x="2693" y="128"/>
                  </a:cubicBezTo>
                  <a:cubicBezTo>
                    <a:pt x="2696" y="128"/>
                    <a:pt x="2696" y="131"/>
                    <a:pt x="2695" y="134"/>
                  </a:cubicBezTo>
                  <a:cubicBezTo>
                    <a:pt x="2702" y="130"/>
                    <a:pt x="2705" y="137"/>
                    <a:pt x="2709" y="132"/>
                  </a:cubicBezTo>
                  <a:cubicBezTo>
                    <a:pt x="2706" y="130"/>
                    <a:pt x="2704" y="127"/>
                    <a:pt x="2701" y="125"/>
                  </a:cubicBezTo>
                  <a:cubicBezTo>
                    <a:pt x="2705" y="125"/>
                    <a:pt x="2710" y="125"/>
                    <a:pt x="2709" y="120"/>
                  </a:cubicBezTo>
                  <a:cubicBezTo>
                    <a:pt x="2701" y="123"/>
                    <a:pt x="2701" y="120"/>
                    <a:pt x="2690" y="121"/>
                  </a:cubicBezTo>
                  <a:cubicBezTo>
                    <a:pt x="2690" y="126"/>
                    <a:pt x="2688" y="128"/>
                    <a:pt x="2682" y="128"/>
                  </a:cubicBezTo>
                  <a:cubicBezTo>
                    <a:pt x="2682" y="125"/>
                    <a:pt x="2685" y="124"/>
                    <a:pt x="2684" y="121"/>
                  </a:cubicBezTo>
                  <a:cubicBezTo>
                    <a:pt x="2672" y="118"/>
                    <a:pt x="2679" y="130"/>
                    <a:pt x="2668" y="128"/>
                  </a:cubicBezTo>
                  <a:cubicBezTo>
                    <a:pt x="2674" y="124"/>
                    <a:pt x="2667" y="121"/>
                    <a:pt x="2668" y="119"/>
                  </a:cubicBezTo>
                  <a:cubicBezTo>
                    <a:pt x="2668" y="118"/>
                    <a:pt x="2673" y="117"/>
                    <a:pt x="2670" y="114"/>
                  </a:cubicBezTo>
                  <a:cubicBezTo>
                    <a:pt x="2670" y="113"/>
                    <a:pt x="2664" y="114"/>
                    <a:pt x="2665" y="112"/>
                  </a:cubicBezTo>
                  <a:cubicBezTo>
                    <a:pt x="2678" y="107"/>
                    <a:pt x="2672" y="119"/>
                    <a:pt x="2681" y="118"/>
                  </a:cubicBezTo>
                  <a:cubicBezTo>
                    <a:pt x="2691" y="118"/>
                    <a:pt x="2676" y="111"/>
                    <a:pt x="2684" y="111"/>
                  </a:cubicBezTo>
                  <a:cubicBezTo>
                    <a:pt x="2687" y="112"/>
                    <a:pt x="2687" y="115"/>
                    <a:pt x="2687" y="118"/>
                  </a:cubicBezTo>
                  <a:cubicBezTo>
                    <a:pt x="2699" y="117"/>
                    <a:pt x="2715" y="120"/>
                    <a:pt x="2723" y="115"/>
                  </a:cubicBezTo>
                  <a:cubicBezTo>
                    <a:pt x="2727" y="117"/>
                    <a:pt x="2722" y="127"/>
                    <a:pt x="2731" y="124"/>
                  </a:cubicBezTo>
                  <a:cubicBezTo>
                    <a:pt x="2731" y="122"/>
                    <a:pt x="2730" y="118"/>
                    <a:pt x="2734" y="117"/>
                  </a:cubicBezTo>
                  <a:cubicBezTo>
                    <a:pt x="2737" y="117"/>
                    <a:pt x="2741" y="117"/>
                    <a:pt x="2745" y="117"/>
                  </a:cubicBezTo>
                  <a:cubicBezTo>
                    <a:pt x="2744" y="123"/>
                    <a:pt x="2745" y="126"/>
                    <a:pt x="2747" y="129"/>
                  </a:cubicBezTo>
                  <a:cubicBezTo>
                    <a:pt x="2739" y="126"/>
                    <a:pt x="2740" y="128"/>
                    <a:pt x="2737" y="134"/>
                  </a:cubicBezTo>
                  <a:cubicBezTo>
                    <a:pt x="2748" y="138"/>
                    <a:pt x="2756" y="128"/>
                    <a:pt x="2758" y="129"/>
                  </a:cubicBezTo>
                  <a:cubicBezTo>
                    <a:pt x="2762" y="129"/>
                    <a:pt x="2763" y="138"/>
                    <a:pt x="2767" y="136"/>
                  </a:cubicBezTo>
                  <a:cubicBezTo>
                    <a:pt x="2764" y="127"/>
                    <a:pt x="2779" y="132"/>
                    <a:pt x="2775" y="121"/>
                  </a:cubicBezTo>
                  <a:cubicBezTo>
                    <a:pt x="2765" y="119"/>
                    <a:pt x="2771" y="130"/>
                    <a:pt x="2761" y="129"/>
                  </a:cubicBezTo>
                  <a:cubicBezTo>
                    <a:pt x="2770" y="121"/>
                    <a:pt x="2751" y="126"/>
                    <a:pt x="2753" y="117"/>
                  </a:cubicBezTo>
                  <a:cubicBezTo>
                    <a:pt x="2759" y="122"/>
                    <a:pt x="2765" y="117"/>
                    <a:pt x="2769" y="114"/>
                  </a:cubicBezTo>
                  <a:cubicBezTo>
                    <a:pt x="2770" y="117"/>
                    <a:pt x="2772" y="118"/>
                    <a:pt x="2775" y="119"/>
                  </a:cubicBezTo>
                  <a:cubicBezTo>
                    <a:pt x="2778" y="115"/>
                    <a:pt x="2772" y="107"/>
                    <a:pt x="2780" y="102"/>
                  </a:cubicBezTo>
                  <a:cubicBezTo>
                    <a:pt x="2779" y="108"/>
                    <a:pt x="2781" y="112"/>
                    <a:pt x="2783" y="114"/>
                  </a:cubicBezTo>
                  <a:cubicBezTo>
                    <a:pt x="2780" y="114"/>
                    <a:pt x="2780" y="118"/>
                    <a:pt x="2783" y="119"/>
                  </a:cubicBezTo>
                  <a:cubicBezTo>
                    <a:pt x="2784" y="117"/>
                    <a:pt x="2785" y="116"/>
                    <a:pt x="2788" y="116"/>
                  </a:cubicBezTo>
                  <a:cubicBezTo>
                    <a:pt x="2789" y="112"/>
                    <a:pt x="2785" y="111"/>
                    <a:pt x="2786" y="107"/>
                  </a:cubicBezTo>
                  <a:cubicBezTo>
                    <a:pt x="2790" y="107"/>
                    <a:pt x="2796" y="106"/>
                    <a:pt x="2797" y="109"/>
                  </a:cubicBezTo>
                  <a:cubicBezTo>
                    <a:pt x="2797" y="114"/>
                    <a:pt x="2794" y="117"/>
                    <a:pt x="2788" y="116"/>
                  </a:cubicBezTo>
                  <a:cubicBezTo>
                    <a:pt x="2791" y="124"/>
                    <a:pt x="2785" y="124"/>
                    <a:pt x="2778" y="124"/>
                  </a:cubicBezTo>
                  <a:cubicBezTo>
                    <a:pt x="2775" y="129"/>
                    <a:pt x="2782" y="137"/>
                    <a:pt x="2783" y="131"/>
                  </a:cubicBezTo>
                  <a:cubicBezTo>
                    <a:pt x="2780" y="131"/>
                    <a:pt x="2780" y="127"/>
                    <a:pt x="2783" y="126"/>
                  </a:cubicBezTo>
                  <a:cubicBezTo>
                    <a:pt x="2790" y="133"/>
                    <a:pt x="2785" y="127"/>
                    <a:pt x="2794" y="126"/>
                  </a:cubicBezTo>
                  <a:cubicBezTo>
                    <a:pt x="2794" y="130"/>
                    <a:pt x="2797" y="131"/>
                    <a:pt x="2797" y="135"/>
                  </a:cubicBezTo>
                  <a:cubicBezTo>
                    <a:pt x="2806" y="138"/>
                    <a:pt x="2799" y="127"/>
                    <a:pt x="2808" y="130"/>
                  </a:cubicBezTo>
                  <a:cubicBezTo>
                    <a:pt x="2808" y="133"/>
                    <a:pt x="2804" y="133"/>
                    <a:pt x="2805" y="137"/>
                  </a:cubicBezTo>
                  <a:cubicBezTo>
                    <a:pt x="2816" y="140"/>
                    <a:pt x="2809" y="128"/>
                    <a:pt x="2819" y="130"/>
                  </a:cubicBezTo>
                  <a:cubicBezTo>
                    <a:pt x="2817" y="132"/>
                    <a:pt x="2813" y="139"/>
                    <a:pt x="2822" y="137"/>
                  </a:cubicBezTo>
                  <a:cubicBezTo>
                    <a:pt x="2822" y="128"/>
                    <a:pt x="2825" y="128"/>
                    <a:pt x="2821" y="121"/>
                  </a:cubicBezTo>
                  <a:cubicBezTo>
                    <a:pt x="2830" y="123"/>
                    <a:pt x="2842" y="119"/>
                    <a:pt x="2854" y="122"/>
                  </a:cubicBezTo>
                  <a:cubicBezTo>
                    <a:pt x="2855" y="118"/>
                    <a:pt x="2851" y="118"/>
                    <a:pt x="2849" y="115"/>
                  </a:cubicBezTo>
                  <a:cubicBezTo>
                    <a:pt x="2852" y="109"/>
                    <a:pt x="2840" y="104"/>
                    <a:pt x="2849" y="101"/>
                  </a:cubicBezTo>
                  <a:cubicBezTo>
                    <a:pt x="2850" y="101"/>
                    <a:pt x="2852" y="101"/>
                    <a:pt x="2854" y="101"/>
                  </a:cubicBezTo>
                  <a:cubicBezTo>
                    <a:pt x="2856" y="105"/>
                    <a:pt x="2851" y="113"/>
                    <a:pt x="2857" y="113"/>
                  </a:cubicBezTo>
                  <a:cubicBezTo>
                    <a:pt x="2856" y="103"/>
                    <a:pt x="2863" y="111"/>
                    <a:pt x="2868" y="110"/>
                  </a:cubicBezTo>
                  <a:cubicBezTo>
                    <a:pt x="2868" y="107"/>
                    <a:pt x="2867" y="102"/>
                    <a:pt x="2871" y="101"/>
                  </a:cubicBezTo>
                  <a:cubicBezTo>
                    <a:pt x="2869" y="104"/>
                    <a:pt x="2874" y="113"/>
                    <a:pt x="2868" y="113"/>
                  </a:cubicBezTo>
                  <a:cubicBezTo>
                    <a:pt x="2858" y="108"/>
                    <a:pt x="2860" y="115"/>
                    <a:pt x="2857" y="122"/>
                  </a:cubicBezTo>
                  <a:cubicBezTo>
                    <a:pt x="2862" y="124"/>
                    <a:pt x="2866" y="120"/>
                    <a:pt x="2868" y="120"/>
                  </a:cubicBezTo>
                  <a:cubicBezTo>
                    <a:pt x="2871" y="120"/>
                    <a:pt x="2873" y="123"/>
                    <a:pt x="2876" y="122"/>
                  </a:cubicBezTo>
                  <a:cubicBezTo>
                    <a:pt x="2878" y="121"/>
                    <a:pt x="2876" y="116"/>
                    <a:pt x="2879" y="117"/>
                  </a:cubicBezTo>
                  <a:cubicBezTo>
                    <a:pt x="2877" y="123"/>
                    <a:pt x="2883" y="122"/>
                    <a:pt x="2888" y="122"/>
                  </a:cubicBezTo>
                  <a:cubicBezTo>
                    <a:pt x="2888" y="114"/>
                    <a:pt x="2888" y="114"/>
                    <a:pt x="2888" y="114"/>
                  </a:cubicBezTo>
                  <a:cubicBezTo>
                    <a:pt x="2885" y="113"/>
                    <a:pt x="2882" y="111"/>
                    <a:pt x="2876" y="113"/>
                  </a:cubicBezTo>
                  <a:cubicBezTo>
                    <a:pt x="2877" y="110"/>
                    <a:pt x="2881" y="110"/>
                    <a:pt x="2884" y="110"/>
                  </a:cubicBezTo>
                  <a:cubicBezTo>
                    <a:pt x="2887" y="110"/>
                    <a:pt x="2886" y="107"/>
                    <a:pt x="2887" y="105"/>
                  </a:cubicBezTo>
                  <a:cubicBezTo>
                    <a:pt x="2887" y="105"/>
                    <a:pt x="2888" y="105"/>
                    <a:pt x="2888" y="105"/>
                  </a:cubicBezTo>
                  <a:cubicBezTo>
                    <a:pt x="2888" y="74"/>
                    <a:pt x="2888" y="74"/>
                    <a:pt x="2888" y="74"/>
                  </a:cubicBezTo>
                  <a:cubicBezTo>
                    <a:pt x="2887" y="73"/>
                    <a:pt x="2887" y="72"/>
                    <a:pt x="2888" y="70"/>
                  </a:cubicBezTo>
                  <a:lnTo>
                    <a:pt x="2888" y="0"/>
                  </a:lnTo>
                  <a:close/>
                  <a:moveTo>
                    <a:pt x="220" y="274"/>
                  </a:moveTo>
                  <a:cubicBezTo>
                    <a:pt x="213" y="274"/>
                    <a:pt x="214" y="263"/>
                    <a:pt x="217" y="260"/>
                  </a:cubicBezTo>
                  <a:cubicBezTo>
                    <a:pt x="224" y="260"/>
                    <a:pt x="219" y="270"/>
                    <a:pt x="220" y="274"/>
                  </a:cubicBezTo>
                  <a:close/>
                  <a:moveTo>
                    <a:pt x="227" y="203"/>
                  </a:moveTo>
                  <a:cubicBezTo>
                    <a:pt x="224" y="203"/>
                    <a:pt x="225" y="199"/>
                    <a:pt x="225" y="196"/>
                  </a:cubicBezTo>
                  <a:cubicBezTo>
                    <a:pt x="229" y="195"/>
                    <a:pt x="230" y="198"/>
                    <a:pt x="230" y="201"/>
                  </a:cubicBezTo>
                  <a:cubicBezTo>
                    <a:pt x="228" y="201"/>
                    <a:pt x="228" y="202"/>
                    <a:pt x="227" y="203"/>
                  </a:cubicBezTo>
                  <a:close/>
                  <a:moveTo>
                    <a:pt x="305" y="256"/>
                  </a:moveTo>
                  <a:cubicBezTo>
                    <a:pt x="297" y="258"/>
                    <a:pt x="298" y="253"/>
                    <a:pt x="291" y="254"/>
                  </a:cubicBezTo>
                  <a:cubicBezTo>
                    <a:pt x="292" y="247"/>
                    <a:pt x="306" y="249"/>
                    <a:pt x="305" y="256"/>
                  </a:cubicBezTo>
                  <a:close/>
                  <a:moveTo>
                    <a:pt x="340" y="197"/>
                  </a:moveTo>
                  <a:cubicBezTo>
                    <a:pt x="342" y="197"/>
                    <a:pt x="343" y="197"/>
                    <a:pt x="345" y="197"/>
                  </a:cubicBezTo>
                  <a:cubicBezTo>
                    <a:pt x="346" y="203"/>
                    <a:pt x="325" y="196"/>
                    <a:pt x="340" y="197"/>
                  </a:cubicBezTo>
                  <a:close/>
                  <a:moveTo>
                    <a:pt x="357" y="258"/>
                  </a:moveTo>
                  <a:cubicBezTo>
                    <a:pt x="359" y="255"/>
                    <a:pt x="361" y="253"/>
                    <a:pt x="357" y="253"/>
                  </a:cubicBezTo>
                  <a:cubicBezTo>
                    <a:pt x="361" y="245"/>
                    <a:pt x="364" y="258"/>
                    <a:pt x="371" y="255"/>
                  </a:cubicBezTo>
                  <a:cubicBezTo>
                    <a:pt x="372" y="260"/>
                    <a:pt x="361" y="256"/>
                    <a:pt x="357" y="258"/>
                  </a:cubicBezTo>
                  <a:close/>
                  <a:moveTo>
                    <a:pt x="415" y="259"/>
                  </a:moveTo>
                  <a:cubicBezTo>
                    <a:pt x="409" y="260"/>
                    <a:pt x="405" y="259"/>
                    <a:pt x="401" y="257"/>
                  </a:cubicBezTo>
                  <a:cubicBezTo>
                    <a:pt x="401" y="253"/>
                    <a:pt x="419" y="252"/>
                    <a:pt x="415" y="259"/>
                  </a:cubicBezTo>
                  <a:close/>
                  <a:moveTo>
                    <a:pt x="480" y="201"/>
                  </a:moveTo>
                  <a:cubicBezTo>
                    <a:pt x="482" y="201"/>
                    <a:pt x="484" y="201"/>
                    <a:pt x="485" y="201"/>
                  </a:cubicBezTo>
                  <a:cubicBezTo>
                    <a:pt x="486" y="208"/>
                    <a:pt x="465" y="201"/>
                    <a:pt x="480" y="201"/>
                  </a:cubicBezTo>
                  <a:close/>
                  <a:moveTo>
                    <a:pt x="502" y="201"/>
                  </a:moveTo>
                  <a:cubicBezTo>
                    <a:pt x="514" y="202"/>
                    <a:pt x="499" y="215"/>
                    <a:pt x="502" y="201"/>
                  </a:cubicBezTo>
                  <a:close/>
                  <a:moveTo>
                    <a:pt x="538" y="205"/>
                  </a:moveTo>
                  <a:cubicBezTo>
                    <a:pt x="538" y="200"/>
                    <a:pt x="545" y="200"/>
                    <a:pt x="548" y="203"/>
                  </a:cubicBezTo>
                  <a:cubicBezTo>
                    <a:pt x="548" y="206"/>
                    <a:pt x="542" y="205"/>
                    <a:pt x="538" y="205"/>
                  </a:cubicBezTo>
                  <a:close/>
                  <a:moveTo>
                    <a:pt x="552" y="264"/>
                  </a:moveTo>
                  <a:cubicBezTo>
                    <a:pt x="551" y="259"/>
                    <a:pt x="554" y="257"/>
                    <a:pt x="555" y="254"/>
                  </a:cubicBezTo>
                  <a:cubicBezTo>
                    <a:pt x="561" y="256"/>
                    <a:pt x="563" y="264"/>
                    <a:pt x="552" y="264"/>
                  </a:cubicBezTo>
                  <a:close/>
                  <a:moveTo>
                    <a:pt x="573" y="204"/>
                  </a:moveTo>
                  <a:cubicBezTo>
                    <a:pt x="574" y="199"/>
                    <a:pt x="587" y="203"/>
                    <a:pt x="592" y="202"/>
                  </a:cubicBezTo>
                  <a:cubicBezTo>
                    <a:pt x="591" y="207"/>
                    <a:pt x="579" y="203"/>
                    <a:pt x="573" y="204"/>
                  </a:cubicBezTo>
                  <a:close/>
                  <a:moveTo>
                    <a:pt x="592" y="199"/>
                  </a:moveTo>
                  <a:cubicBezTo>
                    <a:pt x="587" y="198"/>
                    <a:pt x="592" y="195"/>
                    <a:pt x="592" y="192"/>
                  </a:cubicBezTo>
                  <a:cubicBezTo>
                    <a:pt x="597" y="194"/>
                    <a:pt x="593" y="197"/>
                    <a:pt x="592" y="199"/>
                  </a:cubicBezTo>
                  <a:close/>
                  <a:moveTo>
                    <a:pt x="624" y="265"/>
                  </a:moveTo>
                  <a:cubicBezTo>
                    <a:pt x="625" y="262"/>
                    <a:pt x="627" y="260"/>
                    <a:pt x="632" y="260"/>
                  </a:cubicBezTo>
                  <a:cubicBezTo>
                    <a:pt x="631" y="263"/>
                    <a:pt x="628" y="265"/>
                    <a:pt x="624" y="265"/>
                  </a:cubicBezTo>
                  <a:close/>
                  <a:moveTo>
                    <a:pt x="653" y="203"/>
                  </a:moveTo>
                  <a:cubicBezTo>
                    <a:pt x="655" y="203"/>
                    <a:pt x="658" y="203"/>
                    <a:pt x="661" y="203"/>
                  </a:cubicBezTo>
                  <a:cubicBezTo>
                    <a:pt x="661" y="208"/>
                    <a:pt x="651" y="204"/>
                    <a:pt x="647" y="205"/>
                  </a:cubicBezTo>
                  <a:cubicBezTo>
                    <a:pt x="647" y="203"/>
                    <a:pt x="651" y="204"/>
                    <a:pt x="653" y="203"/>
                  </a:cubicBezTo>
                  <a:close/>
                  <a:moveTo>
                    <a:pt x="656" y="264"/>
                  </a:moveTo>
                  <a:cubicBezTo>
                    <a:pt x="650" y="263"/>
                    <a:pt x="639" y="267"/>
                    <a:pt x="643" y="260"/>
                  </a:cubicBezTo>
                  <a:cubicBezTo>
                    <a:pt x="652" y="263"/>
                    <a:pt x="661" y="258"/>
                    <a:pt x="667" y="264"/>
                  </a:cubicBezTo>
                  <a:cubicBezTo>
                    <a:pt x="676" y="266"/>
                    <a:pt x="663" y="265"/>
                    <a:pt x="656" y="264"/>
                  </a:cubicBezTo>
                  <a:close/>
                  <a:moveTo>
                    <a:pt x="690" y="266"/>
                  </a:moveTo>
                  <a:cubicBezTo>
                    <a:pt x="697" y="257"/>
                    <a:pt x="707" y="271"/>
                    <a:pt x="690" y="266"/>
                  </a:cubicBezTo>
                  <a:close/>
                  <a:moveTo>
                    <a:pt x="714" y="263"/>
                  </a:moveTo>
                  <a:cubicBezTo>
                    <a:pt x="716" y="263"/>
                    <a:pt x="718" y="263"/>
                    <a:pt x="720" y="263"/>
                  </a:cubicBezTo>
                  <a:cubicBezTo>
                    <a:pt x="720" y="270"/>
                    <a:pt x="699" y="263"/>
                    <a:pt x="714" y="263"/>
                  </a:cubicBezTo>
                  <a:close/>
                  <a:moveTo>
                    <a:pt x="738" y="209"/>
                  </a:moveTo>
                  <a:cubicBezTo>
                    <a:pt x="737" y="208"/>
                    <a:pt x="745" y="206"/>
                    <a:pt x="743" y="204"/>
                  </a:cubicBezTo>
                  <a:cubicBezTo>
                    <a:pt x="753" y="208"/>
                    <a:pt x="740" y="210"/>
                    <a:pt x="738" y="209"/>
                  </a:cubicBezTo>
                  <a:close/>
                  <a:moveTo>
                    <a:pt x="777" y="267"/>
                  </a:moveTo>
                  <a:cubicBezTo>
                    <a:pt x="773" y="266"/>
                    <a:pt x="763" y="269"/>
                    <a:pt x="766" y="262"/>
                  </a:cubicBezTo>
                  <a:cubicBezTo>
                    <a:pt x="773" y="263"/>
                    <a:pt x="779" y="265"/>
                    <a:pt x="788" y="264"/>
                  </a:cubicBezTo>
                  <a:cubicBezTo>
                    <a:pt x="788" y="270"/>
                    <a:pt x="782" y="267"/>
                    <a:pt x="777" y="267"/>
                  </a:cubicBezTo>
                  <a:close/>
                  <a:moveTo>
                    <a:pt x="791" y="269"/>
                  </a:moveTo>
                  <a:cubicBezTo>
                    <a:pt x="793" y="266"/>
                    <a:pt x="797" y="264"/>
                    <a:pt x="802" y="264"/>
                  </a:cubicBezTo>
                  <a:cubicBezTo>
                    <a:pt x="801" y="268"/>
                    <a:pt x="797" y="269"/>
                    <a:pt x="791" y="269"/>
                  </a:cubicBezTo>
                  <a:close/>
                  <a:moveTo>
                    <a:pt x="810" y="261"/>
                  </a:moveTo>
                  <a:cubicBezTo>
                    <a:pt x="814" y="263"/>
                    <a:pt x="815" y="266"/>
                    <a:pt x="816" y="271"/>
                  </a:cubicBezTo>
                  <a:cubicBezTo>
                    <a:pt x="807" y="272"/>
                    <a:pt x="806" y="265"/>
                    <a:pt x="810" y="261"/>
                  </a:cubicBezTo>
                  <a:close/>
                  <a:moveTo>
                    <a:pt x="824" y="264"/>
                  </a:moveTo>
                  <a:cubicBezTo>
                    <a:pt x="830" y="269"/>
                    <a:pt x="836" y="261"/>
                    <a:pt x="840" y="266"/>
                  </a:cubicBezTo>
                  <a:cubicBezTo>
                    <a:pt x="836" y="270"/>
                    <a:pt x="824" y="273"/>
                    <a:pt x="824" y="264"/>
                  </a:cubicBezTo>
                  <a:close/>
                  <a:moveTo>
                    <a:pt x="865" y="268"/>
                  </a:moveTo>
                  <a:cubicBezTo>
                    <a:pt x="867" y="267"/>
                    <a:pt x="869" y="267"/>
                    <a:pt x="871" y="267"/>
                  </a:cubicBezTo>
                  <a:cubicBezTo>
                    <a:pt x="871" y="274"/>
                    <a:pt x="850" y="267"/>
                    <a:pt x="865" y="268"/>
                  </a:cubicBezTo>
                  <a:close/>
                  <a:moveTo>
                    <a:pt x="866" y="326"/>
                  </a:moveTo>
                  <a:cubicBezTo>
                    <a:pt x="866" y="325"/>
                    <a:pt x="866" y="323"/>
                    <a:pt x="866" y="321"/>
                  </a:cubicBezTo>
                  <a:cubicBezTo>
                    <a:pt x="868" y="321"/>
                    <a:pt x="870" y="321"/>
                    <a:pt x="871" y="321"/>
                  </a:cubicBezTo>
                  <a:cubicBezTo>
                    <a:pt x="872" y="323"/>
                    <a:pt x="872" y="325"/>
                    <a:pt x="872" y="326"/>
                  </a:cubicBezTo>
                  <a:cubicBezTo>
                    <a:pt x="870" y="326"/>
                    <a:pt x="868" y="326"/>
                    <a:pt x="866" y="326"/>
                  </a:cubicBezTo>
                  <a:close/>
                  <a:moveTo>
                    <a:pt x="903" y="269"/>
                  </a:moveTo>
                  <a:cubicBezTo>
                    <a:pt x="912" y="260"/>
                    <a:pt x="913" y="276"/>
                    <a:pt x="903" y="269"/>
                  </a:cubicBezTo>
                  <a:close/>
                  <a:moveTo>
                    <a:pt x="925" y="266"/>
                  </a:moveTo>
                  <a:cubicBezTo>
                    <a:pt x="930" y="266"/>
                    <a:pt x="931" y="269"/>
                    <a:pt x="936" y="269"/>
                  </a:cubicBezTo>
                  <a:cubicBezTo>
                    <a:pt x="937" y="273"/>
                    <a:pt x="921" y="273"/>
                    <a:pt x="925" y="266"/>
                  </a:cubicBezTo>
                  <a:close/>
                  <a:moveTo>
                    <a:pt x="947" y="271"/>
                  </a:moveTo>
                  <a:cubicBezTo>
                    <a:pt x="945" y="264"/>
                    <a:pt x="953" y="266"/>
                    <a:pt x="958" y="266"/>
                  </a:cubicBezTo>
                  <a:cubicBezTo>
                    <a:pt x="958" y="270"/>
                    <a:pt x="954" y="271"/>
                    <a:pt x="947" y="271"/>
                  </a:cubicBezTo>
                  <a:close/>
                  <a:moveTo>
                    <a:pt x="961" y="271"/>
                  </a:moveTo>
                  <a:cubicBezTo>
                    <a:pt x="963" y="269"/>
                    <a:pt x="964" y="267"/>
                    <a:pt x="964" y="263"/>
                  </a:cubicBezTo>
                  <a:cubicBezTo>
                    <a:pt x="971" y="263"/>
                    <a:pt x="972" y="267"/>
                    <a:pt x="978" y="268"/>
                  </a:cubicBezTo>
                  <a:cubicBezTo>
                    <a:pt x="977" y="273"/>
                    <a:pt x="966" y="269"/>
                    <a:pt x="961" y="271"/>
                  </a:cubicBezTo>
                  <a:close/>
                  <a:moveTo>
                    <a:pt x="986" y="275"/>
                  </a:moveTo>
                  <a:cubicBezTo>
                    <a:pt x="985" y="273"/>
                    <a:pt x="987" y="273"/>
                    <a:pt x="989" y="272"/>
                  </a:cubicBezTo>
                  <a:cubicBezTo>
                    <a:pt x="985" y="269"/>
                    <a:pt x="980" y="268"/>
                    <a:pt x="986" y="263"/>
                  </a:cubicBezTo>
                  <a:cubicBezTo>
                    <a:pt x="994" y="261"/>
                    <a:pt x="989" y="271"/>
                    <a:pt x="1000" y="268"/>
                  </a:cubicBezTo>
                  <a:cubicBezTo>
                    <a:pt x="995" y="270"/>
                    <a:pt x="993" y="274"/>
                    <a:pt x="986" y="275"/>
                  </a:cubicBezTo>
                  <a:close/>
                  <a:moveTo>
                    <a:pt x="1011" y="272"/>
                  </a:moveTo>
                  <a:cubicBezTo>
                    <a:pt x="1011" y="270"/>
                    <a:pt x="1011" y="269"/>
                    <a:pt x="1010" y="267"/>
                  </a:cubicBezTo>
                  <a:cubicBezTo>
                    <a:pt x="1012" y="267"/>
                    <a:pt x="1014" y="267"/>
                    <a:pt x="1016" y="267"/>
                  </a:cubicBezTo>
                  <a:cubicBezTo>
                    <a:pt x="1016" y="269"/>
                    <a:pt x="1016" y="270"/>
                    <a:pt x="1016" y="272"/>
                  </a:cubicBezTo>
                  <a:cubicBezTo>
                    <a:pt x="1014" y="272"/>
                    <a:pt x="1012" y="272"/>
                    <a:pt x="1011" y="272"/>
                  </a:cubicBezTo>
                  <a:close/>
                  <a:moveTo>
                    <a:pt x="1150" y="270"/>
                  </a:moveTo>
                  <a:cubicBezTo>
                    <a:pt x="1150" y="268"/>
                    <a:pt x="1150" y="266"/>
                    <a:pt x="1150" y="265"/>
                  </a:cubicBezTo>
                  <a:cubicBezTo>
                    <a:pt x="1152" y="265"/>
                    <a:pt x="1154" y="265"/>
                    <a:pt x="1156" y="265"/>
                  </a:cubicBezTo>
                  <a:cubicBezTo>
                    <a:pt x="1156" y="266"/>
                    <a:pt x="1156" y="268"/>
                    <a:pt x="1156" y="269"/>
                  </a:cubicBezTo>
                  <a:cubicBezTo>
                    <a:pt x="1154" y="270"/>
                    <a:pt x="1152" y="270"/>
                    <a:pt x="1150" y="270"/>
                  </a:cubicBezTo>
                  <a:close/>
                  <a:moveTo>
                    <a:pt x="1170" y="269"/>
                  </a:moveTo>
                  <a:cubicBezTo>
                    <a:pt x="1170" y="268"/>
                    <a:pt x="1170" y="266"/>
                    <a:pt x="1170" y="265"/>
                  </a:cubicBezTo>
                  <a:cubicBezTo>
                    <a:pt x="1171" y="265"/>
                    <a:pt x="1173" y="265"/>
                    <a:pt x="1175" y="264"/>
                  </a:cubicBezTo>
                  <a:cubicBezTo>
                    <a:pt x="1175" y="266"/>
                    <a:pt x="1175" y="268"/>
                    <a:pt x="1175" y="269"/>
                  </a:cubicBezTo>
                  <a:cubicBezTo>
                    <a:pt x="1173" y="269"/>
                    <a:pt x="1171" y="269"/>
                    <a:pt x="1170" y="269"/>
                  </a:cubicBezTo>
                  <a:close/>
                  <a:moveTo>
                    <a:pt x="1194" y="271"/>
                  </a:moveTo>
                  <a:cubicBezTo>
                    <a:pt x="1195" y="263"/>
                    <a:pt x="1187" y="272"/>
                    <a:pt x="1181" y="267"/>
                  </a:cubicBezTo>
                  <a:cubicBezTo>
                    <a:pt x="1179" y="261"/>
                    <a:pt x="1191" y="267"/>
                    <a:pt x="1194" y="264"/>
                  </a:cubicBezTo>
                  <a:cubicBezTo>
                    <a:pt x="1194" y="264"/>
                    <a:pt x="1194" y="262"/>
                    <a:pt x="1194" y="262"/>
                  </a:cubicBezTo>
                  <a:cubicBezTo>
                    <a:pt x="1200" y="261"/>
                    <a:pt x="1208" y="268"/>
                    <a:pt x="1211" y="261"/>
                  </a:cubicBezTo>
                  <a:cubicBezTo>
                    <a:pt x="1221" y="266"/>
                    <a:pt x="1208" y="265"/>
                    <a:pt x="1205" y="266"/>
                  </a:cubicBezTo>
                  <a:cubicBezTo>
                    <a:pt x="1201" y="268"/>
                    <a:pt x="1198" y="272"/>
                    <a:pt x="1194" y="271"/>
                  </a:cubicBezTo>
                  <a:close/>
                  <a:moveTo>
                    <a:pt x="1199" y="353"/>
                  </a:moveTo>
                  <a:cubicBezTo>
                    <a:pt x="1207" y="350"/>
                    <a:pt x="1205" y="357"/>
                    <a:pt x="1210" y="358"/>
                  </a:cubicBezTo>
                  <a:cubicBezTo>
                    <a:pt x="1209" y="363"/>
                    <a:pt x="1194" y="361"/>
                    <a:pt x="1199" y="353"/>
                  </a:cubicBezTo>
                  <a:close/>
                  <a:moveTo>
                    <a:pt x="1212" y="355"/>
                  </a:moveTo>
                  <a:cubicBezTo>
                    <a:pt x="1215" y="349"/>
                    <a:pt x="1216" y="353"/>
                    <a:pt x="1223" y="353"/>
                  </a:cubicBezTo>
                  <a:cubicBezTo>
                    <a:pt x="1223" y="358"/>
                    <a:pt x="1216" y="358"/>
                    <a:pt x="1212" y="355"/>
                  </a:cubicBezTo>
                  <a:close/>
                  <a:moveTo>
                    <a:pt x="1227" y="261"/>
                  </a:moveTo>
                  <a:cubicBezTo>
                    <a:pt x="1232" y="261"/>
                    <a:pt x="1234" y="265"/>
                    <a:pt x="1235" y="261"/>
                  </a:cubicBezTo>
                  <a:cubicBezTo>
                    <a:pt x="1247" y="264"/>
                    <a:pt x="1223" y="271"/>
                    <a:pt x="1227" y="261"/>
                  </a:cubicBezTo>
                  <a:close/>
                  <a:moveTo>
                    <a:pt x="1237" y="195"/>
                  </a:moveTo>
                  <a:cubicBezTo>
                    <a:pt x="1237" y="194"/>
                    <a:pt x="1237" y="192"/>
                    <a:pt x="1237" y="191"/>
                  </a:cubicBezTo>
                  <a:cubicBezTo>
                    <a:pt x="1239" y="190"/>
                    <a:pt x="1240" y="190"/>
                    <a:pt x="1242" y="190"/>
                  </a:cubicBezTo>
                  <a:cubicBezTo>
                    <a:pt x="1242" y="192"/>
                    <a:pt x="1242" y="194"/>
                    <a:pt x="1242" y="195"/>
                  </a:cubicBezTo>
                  <a:cubicBezTo>
                    <a:pt x="1241" y="195"/>
                    <a:pt x="1239" y="195"/>
                    <a:pt x="1237" y="195"/>
                  </a:cubicBezTo>
                  <a:close/>
                  <a:moveTo>
                    <a:pt x="1259" y="195"/>
                  </a:moveTo>
                  <a:cubicBezTo>
                    <a:pt x="1252" y="196"/>
                    <a:pt x="1252" y="190"/>
                    <a:pt x="1250" y="186"/>
                  </a:cubicBezTo>
                  <a:cubicBezTo>
                    <a:pt x="1258" y="185"/>
                    <a:pt x="1258" y="190"/>
                    <a:pt x="1259" y="195"/>
                  </a:cubicBezTo>
                  <a:close/>
                  <a:moveTo>
                    <a:pt x="1252" y="261"/>
                  </a:moveTo>
                  <a:cubicBezTo>
                    <a:pt x="1256" y="260"/>
                    <a:pt x="1262" y="262"/>
                    <a:pt x="1263" y="258"/>
                  </a:cubicBezTo>
                  <a:cubicBezTo>
                    <a:pt x="1266" y="259"/>
                    <a:pt x="1265" y="262"/>
                    <a:pt x="1266" y="265"/>
                  </a:cubicBezTo>
                  <a:cubicBezTo>
                    <a:pt x="1263" y="268"/>
                    <a:pt x="1252" y="268"/>
                    <a:pt x="1252" y="261"/>
                  </a:cubicBezTo>
                  <a:close/>
                  <a:moveTo>
                    <a:pt x="1279" y="267"/>
                  </a:moveTo>
                  <a:cubicBezTo>
                    <a:pt x="1271" y="269"/>
                    <a:pt x="1269" y="262"/>
                    <a:pt x="1274" y="258"/>
                  </a:cubicBezTo>
                  <a:cubicBezTo>
                    <a:pt x="1279" y="259"/>
                    <a:pt x="1280" y="262"/>
                    <a:pt x="1279" y="267"/>
                  </a:cubicBezTo>
                  <a:close/>
                  <a:moveTo>
                    <a:pt x="1282" y="260"/>
                  </a:moveTo>
                  <a:cubicBezTo>
                    <a:pt x="1283" y="254"/>
                    <a:pt x="1287" y="263"/>
                    <a:pt x="1293" y="260"/>
                  </a:cubicBezTo>
                  <a:cubicBezTo>
                    <a:pt x="1291" y="268"/>
                    <a:pt x="1287" y="262"/>
                    <a:pt x="1282" y="260"/>
                  </a:cubicBezTo>
                  <a:close/>
                  <a:moveTo>
                    <a:pt x="1312" y="257"/>
                  </a:moveTo>
                  <a:cubicBezTo>
                    <a:pt x="1308" y="258"/>
                    <a:pt x="1310" y="265"/>
                    <a:pt x="1301" y="262"/>
                  </a:cubicBezTo>
                  <a:cubicBezTo>
                    <a:pt x="1300" y="255"/>
                    <a:pt x="1310" y="257"/>
                    <a:pt x="1315" y="255"/>
                  </a:cubicBezTo>
                  <a:cubicBezTo>
                    <a:pt x="1316" y="259"/>
                    <a:pt x="1312" y="260"/>
                    <a:pt x="1312" y="257"/>
                  </a:cubicBezTo>
                  <a:close/>
                  <a:moveTo>
                    <a:pt x="1479" y="238"/>
                  </a:moveTo>
                  <a:cubicBezTo>
                    <a:pt x="1478" y="239"/>
                    <a:pt x="1476" y="232"/>
                    <a:pt x="1474" y="233"/>
                  </a:cubicBezTo>
                  <a:cubicBezTo>
                    <a:pt x="1478" y="225"/>
                    <a:pt x="1481" y="236"/>
                    <a:pt x="1479" y="238"/>
                  </a:cubicBezTo>
                  <a:close/>
                  <a:moveTo>
                    <a:pt x="1448" y="177"/>
                  </a:moveTo>
                  <a:cubicBezTo>
                    <a:pt x="1447" y="180"/>
                    <a:pt x="1445" y="182"/>
                    <a:pt x="1440" y="182"/>
                  </a:cubicBezTo>
                  <a:cubicBezTo>
                    <a:pt x="1438" y="177"/>
                    <a:pt x="1444" y="178"/>
                    <a:pt x="1448" y="177"/>
                  </a:cubicBezTo>
                  <a:close/>
                  <a:moveTo>
                    <a:pt x="1424" y="248"/>
                  </a:moveTo>
                  <a:cubicBezTo>
                    <a:pt x="1429" y="248"/>
                    <a:pt x="1429" y="250"/>
                    <a:pt x="1433" y="251"/>
                  </a:cubicBezTo>
                  <a:cubicBezTo>
                    <a:pt x="1434" y="255"/>
                    <a:pt x="1420" y="254"/>
                    <a:pt x="1424" y="248"/>
                  </a:cubicBezTo>
                  <a:close/>
                  <a:moveTo>
                    <a:pt x="1334" y="259"/>
                  </a:moveTo>
                  <a:cubicBezTo>
                    <a:pt x="1334" y="257"/>
                    <a:pt x="1331" y="258"/>
                    <a:pt x="1329" y="257"/>
                  </a:cubicBezTo>
                  <a:cubicBezTo>
                    <a:pt x="1331" y="252"/>
                    <a:pt x="1344" y="256"/>
                    <a:pt x="1350" y="254"/>
                  </a:cubicBezTo>
                  <a:cubicBezTo>
                    <a:pt x="1347" y="261"/>
                    <a:pt x="1344" y="256"/>
                    <a:pt x="1334" y="259"/>
                  </a:cubicBezTo>
                  <a:close/>
                  <a:moveTo>
                    <a:pt x="1392" y="279"/>
                  </a:moveTo>
                  <a:cubicBezTo>
                    <a:pt x="1392" y="278"/>
                    <a:pt x="1392" y="276"/>
                    <a:pt x="1392" y="275"/>
                  </a:cubicBezTo>
                  <a:cubicBezTo>
                    <a:pt x="1394" y="275"/>
                    <a:pt x="1396" y="275"/>
                    <a:pt x="1397" y="275"/>
                  </a:cubicBezTo>
                  <a:cubicBezTo>
                    <a:pt x="1398" y="276"/>
                    <a:pt x="1398" y="278"/>
                    <a:pt x="1398" y="279"/>
                  </a:cubicBezTo>
                  <a:cubicBezTo>
                    <a:pt x="1396" y="279"/>
                    <a:pt x="1394" y="279"/>
                    <a:pt x="1392" y="279"/>
                  </a:cubicBezTo>
                  <a:close/>
                  <a:moveTo>
                    <a:pt x="1394" y="258"/>
                  </a:moveTo>
                  <a:cubicBezTo>
                    <a:pt x="1394" y="261"/>
                    <a:pt x="1392" y="260"/>
                    <a:pt x="1392" y="258"/>
                  </a:cubicBezTo>
                  <a:cubicBezTo>
                    <a:pt x="1388" y="259"/>
                    <a:pt x="1384" y="259"/>
                    <a:pt x="1383" y="256"/>
                  </a:cubicBezTo>
                  <a:cubicBezTo>
                    <a:pt x="1381" y="258"/>
                    <a:pt x="1376" y="260"/>
                    <a:pt x="1375" y="256"/>
                  </a:cubicBezTo>
                  <a:cubicBezTo>
                    <a:pt x="1373" y="257"/>
                    <a:pt x="1372" y="259"/>
                    <a:pt x="1370" y="259"/>
                  </a:cubicBezTo>
                  <a:cubicBezTo>
                    <a:pt x="1369" y="261"/>
                    <a:pt x="1371" y="261"/>
                    <a:pt x="1373" y="261"/>
                  </a:cubicBezTo>
                  <a:cubicBezTo>
                    <a:pt x="1373" y="267"/>
                    <a:pt x="1365" y="260"/>
                    <a:pt x="1367" y="256"/>
                  </a:cubicBezTo>
                  <a:cubicBezTo>
                    <a:pt x="1362" y="257"/>
                    <a:pt x="1365" y="266"/>
                    <a:pt x="1356" y="264"/>
                  </a:cubicBezTo>
                  <a:cubicBezTo>
                    <a:pt x="1358" y="256"/>
                    <a:pt x="1351" y="256"/>
                    <a:pt x="1356" y="252"/>
                  </a:cubicBezTo>
                  <a:cubicBezTo>
                    <a:pt x="1360" y="249"/>
                    <a:pt x="1366" y="255"/>
                    <a:pt x="1367" y="254"/>
                  </a:cubicBezTo>
                  <a:cubicBezTo>
                    <a:pt x="1367" y="254"/>
                    <a:pt x="1367" y="252"/>
                    <a:pt x="1367" y="252"/>
                  </a:cubicBezTo>
                  <a:cubicBezTo>
                    <a:pt x="1370" y="251"/>
                    <a:pt x="1372" y="254"/>
                    <a:pt x="1372" y="254"/>
                  </a:cubicBezTo>
                  <a:cubicBezTo>
                    <a:pt x="1379" y="253"/>
                    <a:pt x="1377" y="249"/>
                    <a:pt x="1383" y="249"/>
                  </a:cubicBezTo>
                  <a:cubicBezTo>
                    <a:pt x="1383" y="249"/>
                    <a:pt x="1384" y="255"/>
                    <a:pt x="1386" y="254"/>
                  </a:cubicBezTo>
                  <a:cubicBezTo>
                    <a:pt x="1392" y="254"/>
                    <a:pt x="1387" y="245"/>
                    <a:pt x="1389" y="242"/>
                  </a:cubicBezTo>
                  <a:cubicBezTo>
                    <a:pt x="1391" y="243"/>
                    <a:pt x="1393" y="244"/>
                    <a:pt x="1397" y="244"/>
                  </a:cubicBezTo>
                  <a:cubicBezTo>
                    <a:pt x="1396" y="246"/>
                    <a:pt x="1395" y="248"/>
                    <a:pt x="1392" y="249"/>
                  </a:cubicBezTo>
                  <a:cubicBezTo>
                    <a:pt x="1391" y="255"/>
                    <a:pt x="1404" y="247"/>
                    <a:pt x="1400" y="256"/>
                  </a:cubicBezTo>
                  <a:cubicBezTo>
                    <a:pt x="1395" y="255"/>
                    <a:pt x="1390" y="258"/>
                    <a:pt x="1394" y="258"/>
                  </a:cubicBezTo>
                  <a:close/>
                  <a:moveTo>
                    <a:pt x="1405" y="258"/>
                  </a:moveTo>
                  <a:cubicBezTo>
                    <a:pt x="1407" y="258"/>
                    <a:pt x="1409" y="258"/>
                    <a:pt x="1411" y="258"/>
                  </a:cubicBezTo>
                  <a:cubicBezTo>
                    <a:pt x="1412" y="265"/>
                    <a:pt x="1390" y="258"/>
                    <a:pt x="1405" y="258"/>
                  </a:cubicBezTo>
                  <a:close/>
                  <a:moveTo>
                    <a:pt x="1403" y="279"/>
                  </a:moveTo>
                  <a:cubicBezTo>
                    <a:pt x="1403" y="277"/>
                    <a:pt x="1406" y="277"/>
                    <a:pt x="1408" y="277"/>
                  </a:cubicBezTo>
                  <a:cubicBezTo>
                    <a:pt x="1410" y="277"/>
                    <a:pt x="1412" y="277"/>
                    <a:pt x="1414" y="277"/>
                  </a:cubicBezTo>
                  <a:cubicBezTo>
                    <a:pt x="1413" y="280"/>
                    <a:pt x="1407" y="279"/>
                    <a:pt x="1403" y="279"/>
                  </a:cubicBezTo>
                  <a:close/>
                  <a:moveTo>
                    <a:pt x="1416" y="256"/>
                  </a:moveTo>
                  <a:cubicBezTo>
                    <a:pt x="1412" y="256"/>
                    <a:pt x="1407" y="256"/>
                    <a:pt x="1403" y="256"/>
                  </a:cubicBezTo>
                  <a:cubicBezTo>
                    <a:pt x="1401" y="247"/>
                    <a:pt x="1411" y="248"/>
                    <a:pt x="1419" y="248"/>
                  </a:cubicBezTo>
                  <a:cubicBezTo>
                    <a:pt x="1419" y="254"/>
                    <a:pt x="1424" y="256"/>
                    <a:pt x="1419" y="260"/>
                  </a:cubicBezTo>
                  <a:cubicBezTo>
                    <a:pt x="1416" y="260"/>
                    <a:pt x="1417" y="257"/>
                    <a:pt x="1416" y="256"/>
                  </a:cubicBezTo>
                  <a:close/>
                  <a:moveTo>
                    <a:pt x="1418" y="352"/>
                  </a:moveTo>
                  <a:cubicBezTo>
                    <a:pt x="1417" y="348"/>
                    <a:pt x="1423" y="346"/>
                    <a:pt x="1418" y="345"/>
                  </a:cubicBezTo>
                  <a:cubicBezTo>
                    <a:pt x="1420" y="342"/>
                    <a:pt x="1424" y="342"/>
                    <a:pt x="1423" y="338"/>
                  </a:cubicBezTo>
                  <a:cubicBezTo>
                    <a:pt x="1428" y="340"/>
                    <a:pt x="1430" y="344"/>
                    <a:pt x="1426" y="347"/>
                  </a:cubicBezTo>
                  <a:cubicBezTo>
                    <a:pt x="1427" y="352"/>
                    <a:pt x="1433" y="344"/>
                    <a:pt x="1440" y="347"/>
                  </a:cubicBezTo>
                  <a:cubicBezTo>
                    <a:pt x="1439" y="354"/>
                    <a:pt x="1426" y="351"/>
                    <a:pt x="1418" y="352"/>
                  </a:cubicBezTo>
                  <a:close/>
                  <a:moveTo>
                    <a:pt x="1433" y="281"/>
                  </a:moveTo>
                  <a:cubicBezTo>
                    <a:pt x="1435" y="277"/>
                    <a:pt x="1438" y="281"/>
                    <a:pt x="1441" y="281"/>
                  </a:cubicBezTo>
                  <a:cubicBezTo>
                    <a:pt x="1440" y="285"/>
                    <a:pt x="1437" y="281"/>
                    <a:pt x="1433" y="281"/>
                  </a:cubicBezTo>
                  <a:close/>
                  <a:moveTo>
                    <a:pt x="1438" y="250"/>
                  </a:moveTo>
                  <a:cubicBezTo>
                    <a:pt x="1435" y="241"/>
                    <a:pt x="1455" y="254"/>
                    <a:pt x="1452" y="241"/>
                  </a:cubicBezTo>
                  <a:cubicBezTo>
                    <a:pt x="1457" y="241"/>
                    <a:pt x="1454" y="249"/>
                    <a:pt x="1460" y="248"/>
                  </a:cubicBezTo>
                  <a:cubicBezTo>
                    <a:pt x="1459" y="250"/>
                    <a:pt x="1439" y="253"/>
                    <a:pt x="1438" y="250"/>
                  </a:cubicBezTo>
                  <a:close/>
                  <a:moveTo>
                    <a:pt x="1456" y="330"/>
                  </a:moveTo>
                  <a:cubicBezTo>
                    <a:pt x="1459" y="331"/>
                    <a:pt x="1462" y="333"/>
                    <a:pt x="1462" y="337"/>
                  </a:cubicBezTo>
                  <a:cubicBezTo>
                    <a:pt x="1458" y="336"/>
                    <a:pt x="1456" y="334"/>
                    <a:pt x="1456" y="330"/>
                  </a:cubicBezTo>
                  <a:close/>
                  <a:moveTo>
                    <a:pt x="1485" y="250"/>
                  </a:moveTo>
                  <a:cubicBezTo>
                    <a:pt x="1485" y="251"/>
                    <a:pt x="1485" y="253"/>
                    <a:pt x="1485" y="254"/>
                  </a:cubicBezTo>
                  <a:cubicBezTo>
                    <a:pt x="1482" y="254"/>
                    <a:pt x="1483" y="251"/>
                    <a:pt x="1482" y="250"/>
                  </a:cubicBezTo>
                  <a:cubicBezTo>
                    <a:pt x="1477" y="251"/>
                    <a:pt x="1466" y="247"/>
                    <a:pt x="1466" y="252"/>
                  </a:cubicBezTo>
                  <a:cubicBezTo>
                    <a:pt x="1462" y="252"/>
                    <a:pt x="1463" y="246"/>
                    <a:pt x="1463" y="243"/>
                  </a:cubicBezTo>
                  <a:cubicBezTo>
                    <a:pt x="1468" y="244"/>
                    <a:pt x="1471" y="242"/>
                    <a:pt x="1471" y="238"/>
                  </a:cubicBezTo>
                  <a:cubicBezTo>
                    <a:pt x="1476" y="242"/>
                    <a:pt x="1478" y="248"/>
                    <a:pt x="1487" y="247"/>
                  </a:cubicBezTo>
                  <a:cubicBezTo>
                    <a:pt x="1488" y="249"/>
                    <a:pt x="1486" y="249"/>
                    <a:pt x="1485" y="250"/>
                  </a:cubicBezTo>
                  <a:close/>
                  <a:moveTo>
                    <a:pt x="1493" y="233"/>
                  </a:moveTo>
                  <a:cubicBezTo>
                    <a:pt x="1505" y="234"/>
                    <a:pt x="1490" y="247"/>
                    <a:pt x="1493" y="233"/>
                  </a:cubicBezTo>
                  <a:close/>
                  <a:moveTo>
                    <a:pt x="1529" y="251"/>
                  </a:moveTo>
                  <a:cubicBezTo>
                    <a:pt x="1523" y="254"/>
                    <a:pt x="1525" y="247"/>
                    <a:pt x="1523" y="247"/>
                  </a:cubicBezTo>
                  <a:cubicBezTo>
                    <a:pt x="1516" y="244"/>
                    <a:pt x="1502" y="249"/>
                    <a:pt x="1493" y="247"/>
                  </a:cubicBezTo>
                  <a:cubicBezTo>
                    <a:pt x="1492" y="243"/>
                    <a:pt x="1499" y="246"/>
                    <a:pt x="1501" y="245"/>
                  </a:cubicBezTo>
                  <a:cubicBezTo>
                    <a:pt x="1504" y="242"/>
                    <a:pt x="1505" y="245"/>
                    <a:pt x="1512" y="242"/>
                  </a:cubicBezTo>
                  <a:cubicBezTo>
                    <a:pt x="1513" y="242"/>
                    <a:pt x="1517" y="243"/>
                    <a:pt x="1518" y="242"/>
                  </a:cubicBezTo>
                  <a:cubicBezTo>
                    <a:pt x="1519" y="240"/>
                    <a:pt x="1519" y="240"/>
                    <a:pt x="1520" y="242"/>
                  </a:cubicBezTo>
                  <a:cubicBezTo>
                    <a:pt x="1525" y="242"/>
                    <a:pt x="1526" y="239"/>
                    <a:pt x="1531" y="239"/>
                  </a:cubicBezTo>
                  <a:cubicBezTo>
                    <a:pt x="1532" y="245"/>
                    <a:pt x="1526" y="245"/>
                    <a:pt x="1529" y="251"/>
                  </a:cubicBezTo>
                  <a:close/>
                  <a:moveTo>
                    <a:pt x="1606" y="125"/>
                  </a:moveTo>
                  <a:cubicBezTo>
                    <a:pt x="1608" y="119"/>
                    <a:pt x="1609" y="131"/>
                    <a:pt x="1609" y="132"/>
                  </a:cubicBezTo>
                  <a:cubicBezTo>
                    <a:pt x="1608" y="137"/>
                    <a:pt x="1604" y="134"/>
                    <a:pt x="1606" y="125"/>
                  </a:cubicBezTo>
                  <a:close/>
                  <a:moveTo>
                    <a:pt x="1536" y="181"/>
                  </a:moveTo>
                  <a:cubicBezTo>
                    <a:pt x="1539" y="181"/>
                    <a:pt x="1541" y="180"/>
                    <a:pt x="1544" y="180"/>
                  </a:cubicBezTo>
                  <a:cubicBezTo>
                    <a:pt x="1546" y="182"/>
                    <a:pt x="1547" y="178"/>
                    <a:pt x="1547" y="178"/>
                  </a:cubicBezTo>
                  <a:cubicBezTo>
                    <a:pt x="1560" y="181"/>
                    <a:pt x="1525" y="188"/>
                    <a:pt x="1536" y="181"/>
                  </a:cubicBezTo>
                  <a:close/>
                  <a:moveTo>
                    <a:pt x="1566" y="340"/>
                  </a:moveTo>
                  <a:cubicBezTo>
                    <a:pt x="1566" y="338"/>
                    <a:pt x="1566" y="337"/>
                    <a:pt x="1566" y="335"/>
                  </a:cubicBezTo>
                  <a:cubicBezTo>
                    <a:pt x="1571" y="334"/>
                    <a:pt x="1574" y="335"/>
                    <a:pt x="1574" y="340"/>
                  </a:cubicBezTo>
                  <a:cubicBezTo>
                    <a:pt x="1571" y="340"/>
                    <a:pt x="1569" y="340"/>
                    <a:pt x="1566" y="340"/>
                  </a:cubicBezTo>
                  <a:close/>
                  <a:moveTo>
                    <a:pt x="1582" y="342"/>
                  </a:moveTo>
                  <a:cubicBezTo>
                    <a:pt x="1581" y="343"/>
                    <a:pt x="1574" y="336"/>
                    <a:pt x="1580" y="333"/>
                  </a:cubicBezTo>
                  <a:cubicBezTo>
                    <a:pt x="1582" y="332"/>
                    <a:pt x="1584" y="340"/>
                    <a:pt x="1582" y="342"/>
                  </a:cubicBezTo>
                  <a:close/>
                  <a:moveTo>
                    <a:pt x="1573" y="248"/>
                  </a:moveTo>
                  <a:cubicBezTo>
                    <a:pt x="1569" y="250"/>
                    <a:pt x="1569" y="237"/>
                    <a:pt x="1564" y="241"/>
                  </a:cubicBezTo>
                  <a:cubicBezTo>
                    <a:pt x="1564" y="241"/>
                    <a:pt x="1565" y="243"/>
                    <a:pt x="1564" y="244"/>
                  </a:cubicBezTo>
                  <a:cubicBezTo>
                    <a:pt x="1559" y="245"/>
                    <a:pt x="1545" y="243"/>
                    <a:pt x="1537" y="244"/>
                  </a:cubicBezTo>
                  <a:cubicBezTo>
                    <a:pt x="1537" y="236"/>
                    <a:pt x="1545" y="242"/>
                    <a:pt x="1548" y="241"/>
                  </a:cubicBezTo>
                  <a:cubicBezTo>
                    <a:pt x="1550" y="241"/>
                    <a:pt x="1550" y="239"/>
                    <a:pt x="1551" y="239"/>
                  </a:cubicBezTo>
                  <a:cubicBezTo>
                    <a:pt x="1553" y="239"/>
                    <a:pt x="1557" y="243"/>
                    <a:pt x="1556" y="237"/>
                  </a:cubicBezTo>
                  <a:cubicBezTo>
                    <a:pt x="1558" y="238"/>
                    <a:pt x="1559" y="238"/>
                    <a:pt x="1561" y="239"/>
                  </a:cubicBezTo>
                  <a:cubicBezTo>
                    <a:pt x="1562" y="239"/>
                    <a:pt x="1566" y="238"/>
                    <a:pt x="1567" y="239"/>
                  </a:cubicBezTo>
                  <a:cubicBezTo>
                    <a:pt x="1569" y="241"/>
                    <a:pt x="1568" y="240"/>
                    <a:pt x="1578" y="239"/>
                  </a:cubicBezTo>
                  <a:cubicBezTo>
                    <a:pt x="1580" y="238"/>
                    <a:pt x="1588" y="240"/>
                    <a:pt x="1589" y="238"/>
                  </a:cubicBezTo>
                  <a:cubicBezTo>
                    <a:pt x="1592" y="235"/>
                    <a:pt x="1589" y="239"/>
                    <a:pt x="1600" y="238"/>
                  </a:cubicBezTo>
                  <a:cubicBezTo>
                    <a:pt x="1605" y="238"/>
                    <a:pt x="1606" y="236"/>
                    <a:pt x="1611" y="236"/>
                  </a:cubicBezTo>
                  <a:cubicBezTo>
                    <a:pt x="1613" y="249"/>
                    <a:pt x="1568" y="231"/>
                    <a:pt x="1573" y="248"/>
                  </a:cubicBezTo>
                  <a:close/>
                  <a:moveTo>
                    <a:pt x="1593" y="337"/>
                  </a:moveTo>
                  <a:cubicBezTo>
                    <a:pt x="1596" y="328"/>
                    <a:pt x="1599" y="337"/>
                    <a:pt x="1604" y="337"/>
                  </a:cubicBezTo>
                  <a:cubicBezTo>
                    <a:pt x="1606" y="337"/>
                    <a:pt x="1609" y="333"/>
                    <a:pt x="1612" y="334"/>
                  </a:cubicBezTo>
                  <a:cubicBezTo>
                    <a:pt x="1610" y="343"/>
                    <a:pt x="1601" y="336"/>
                    <a:pt x="1593" y="337"/>
                  </a:cubicBezTo>
                  <a:close/>
                  <a:moveTo>
                    <a:pt x="1619" y="238"/>
                  </a:moveTo>
                  <a:cubicBezTo>
                    <a:pt x="1618" y="242"/>
                    <a:pt x="1626" y="239"/>
                    <a:pt x="1627" y="240"/>
                  </a:cubicBezTo>
                  <a:cubicBezTo>
                    <a:pt x="1630" y="244"/>
                    <a:pt x="1618" y="241"/>
                    <a:pt x="1619" y="247"/>
                  </a:cubicBezTo>
                  <a:cubicBezTo>
                    <a:pt x="1615" y="245"/>
                    <a:pt x="1616" y="237"/>
                    <a:pt x="1613" y="233"/>
                  </a:cubicBezTo>
                  <a:cubicBezTo>
                    <a:pt x="1618" y="237"/>
                    <a:pt x="1623" y="231"/>
                    <a:pt x="1633" y="233"/>
                  </a:cubicBezTo>
                  <a:cubicBezTo>
                    <a:pt x="1636" y="241"/>
                    <a:pt x="1624" y="237"/>
                    <a:pt x="1619" y="238"/>
                  </a:cubicBezTo>
                  <a:close/>
                  <a:moveTo>
                    <a:pt x="1642" y="320"/>
                  </a:moveTo>
                  <a:cubicBezTo>
                    <a:pt x="1644" y="319"/>
                    <a:pt x="1647" y="313"/>
                    <a:pt x="1648" y="313"/>
                  </a:cubicBezTo>
                  <a:cubicBezTo>
                    <a:pt x="1651" y="312"/>
                    <a:pt x="1651" y="320"/>
                    <a:pt x="1642" y="320"/>
                  </a:cubicBezTo>
                  <a:close/>
                  <a:moveTo>
                    <a:pt x="1644" y="249"/>
                  </a:moveTo>
                  <a:cubicBezTo>
                    <a:pt x="1652" y="240"/>
                    <a:pt x="1653" y="256"/>
                    <a:pt x="1644" y="249"/>
                  </a:cubicBezTo>
                  <a:close/>
                  <a:moveTo>
                    <a:pt x="1638" y="245"/>
                  </a:moveTo>
                  <a:cubicBezTo>
                    <a:pt x="1634" y="243"/>
                    <a:pt x="1638" y="242"/>
                    <a:pt x="1641" y="242"/>
                  </a:cubicBezTo>
                  <a:cubicBezTo>
                    <a:pt x="1642" y="238"/>
                    <a:pt x="1638" y="237"/>
                    <a:pt x="1638" y="240"/>
                  </a:cubicBezTo>
                  <a:cubicBezTo>
                    <a:pt x="1637" y="241"/>
                    <a:pt x="1635" y="236"/>
                    <a:pt x="1635" y="235"/>
                  </a:cubicBezTo>
                  <a:cubicBezTo>
                    <a:pt x="1636" y="234"/>
                    <a:pt x="1640" y="236"/>
                    <a:pt x="1641" y="235"/>
                  </a:cubicBezTo>
                  <a:cubicBezTo>
                    <a:pt x="1642" y="235"/>
                    <a:pt x="1640" y="231"/>
                    <a:pt x="1641" y="230"/>
                  </a:cubicBezTo>
                  <a:cubicBezTo>
                    <a:pt x="1644" y="229"/>
                    <a:pt x="1643" y="235"/>
                    <a:pt x="1644" y="235"/>
                  </a:cubicBezTo>
                  <a:cubicBezTo>
                    <a:pt x="1644" y="236"/>
                    <a:pt x="1650" y="232"/>
                    <a:pt x="1652" y="235"/>
                  </a:cubicBezTo>
                  <a:cubicBezTo>
                    <a:pt x="1649" y="238"/>
                    <a:pt x="1637" y="240"/>
                    <a:pt x="1652" y="240"/>
                  </a:cubicBezTo>
                  <a:cubicBezTo>
                    <a:pt x="1648" y="247"/>
                    <a:pt x="1643" y="241"/>
                    <a:pt x="1638" y="245"/>
                  </a:cubicBezTo>
                  <a:close/>
                  <a:moveTo>
                    <a:pt x="1739" y="203"/>
                  </a:moveTo>
                  <a:cubicBezTo>
                    <a:pt x="1739" y="206"/>
                    <a:pt x="1731" y="204"/>
                    <a:pt x="1731" y="208"/>
                  </a:cubicBezTo>
                  <a:cubicBezTo>
                    <a:pt x="1722" y="205"/>
                    <a:pt x="1734" y="201"/>
                    <a:pt x="1739" y="203"/>
                  </a:cubicBezTo>
                  <a:close/>
                  <a:moveTo>
                    <a:pt x="1656" y="331"/>
                  </a:moveTo>
                  <a:cubicBezTo>
                    <a:pt x="1656" y="330"/>
                    <a:pt x="1656" y="328"/>
                    <a:pt x="1656" y="327"/>
                  </a:cubicBezTo>
                  <a:cubicBezTo>
                    <a:pt x="1660" y="326"/>
                    <a:pt x="1664" y="326"/>
                    <a:pt x="1667" y="326"/>
                  </a:cubicBezTo>
                  <a:cubicBezTo>
                    <a:pt x="1670" y="333"/>
                    <a:pt x="1661" y="331"/>
                    <a:pt x="1656" y="331"/>
                  </a:cubicBezTo>
                  <a:close/>
                  <a:moveTo>
                    <a:pt x="1662" y="315"/>
                  </a:moveTo>
                  <a:cubicBezTo>
                    <a:pt x="1663" y="315"/>
                    <a:pt x="1665" y="315"/>
                    <a:pt x="1667" y="315"/>
                  </a:cubicBezTo>
                  <a:cubicBezTo>
                    <a:pt x="1668" y="321"/>
                    <a:pt x="1647" y="314"/>
                    <a:pt x="1662" y="315"/>
                  </a:cubicBezTo>
                  <a:close/>
                  <a:moveTo>
                    <a:pt x="1669" y="289"/>
                  </a:moveTo>
                  <a:cubicBezTo>
                    <a:pt x="1662" y="297"/>
                    <a:pt x="1652" y="284"/>
                    <a:pt x="1669" y="289"/>
                  </a:cubicBezTo>
                  <a:close/>
                  <a:moveTo>
                    <a:pt x="1663" y="268"/>
                  </a:moveTo>
                  <a:cubicBezTo>
                    <a:pt x="1664" y="268"/>
                    <a:pt x="1666" y="263"/>
                    <a:pt x="1666" y="263"/>
                  </a:cubicBezTo>
                  <a:cubicBezTo>
                    <a:pt x="1666" y="263"/>
                    <a:pt x="1666" y="261"/>
                    <a:pt x="1666" y="261"/>
                  </a:cubicBezTo>
                  <a:cubicBezTo>
                    <a:pt x="1676" y="259"/>
                    <a:pt x="1667" y="271"/>
                    <a:pt x="1663" y="268"/>
                  </a:cubicBezTo>
                  <a:close/>
                  <a:moveTo>
                    <a:pt x="1697" y="293"/>
                  </a:moveTo>
                  <a:cubicBezTo>
                    <a:pt x="1695" y="297"/>
                    <a:pt x="1694" y="292"/>
                    <a:pt x="1694" y="288"/>
                  </a:cubicBezTo>
                  <a:cubicBezTo>
                    <a:pt x="1686" y="285"/>
                    <a:pt x="1700" y="286"/>
                    <a:pt x="1697" y="293"/>
                  </a:cubicBezTo>
                  <a:close/>
                  <a:moveTo>
                    <a:pt x="1705" y="269"/>
                  </a:moveTo>
                  <a:cubicBezTo>
                    <a:pt x="1700" y="269"/>
                    <a:pt x="1698" y="265"/>
                    <a:pt x="1699" y="260"/>
                  </a:cubicBezTo>
                  <a:cubicBezTo>
                    <a:pt x="1704" y="260"/>
                    <a:pt x="1705" y="264"/>
                    <a:pt x="1705" y="269"/>
                  </a:cubicBezTo>
                  <a:close/>
                  <a:moveTo>
                    <a:pt x="1718" y="269"/>
                  </a:moveTo>
                  <a:cubicBezTo>
                    <a:pt x="1713" y="268"/>
                    <a:pt x="1716" y="260"/>
                    <a:pt x="1710" y="260"/>
                  </a:cubicBezTo>
                  <a:cubicBezTo>
                    <a:pt x="1710" y="257"/>
                    <a:pt x="1715" y="258"/>
                    <a:pt x="1718" y="257"/>
                  </a:cubicBezTo>
                  <a:cubicBezTo>
                    <a:pt x="1717" y="265"/>
                    <a:pt x="1723" y="264"/>
                    <a:pt x="1718" y="269"/>
                  </a:cubicBezTo>
                  <a:close/>
                  <a:moveTo>
                    <a:pt x="1718" y="238"/>
                  </a:moveTo>
                  <a:cubicBezTo>
                    <a:pt x="1720" y="234"/>
                    <a:pt x="1726" y="233"/>
                    <a:pt x="1734" y="234"/>
                  </a:cubicBezTo>
                  <a:cubicBezTo>
                    <a:pt x="1731" y="237"/>
                    <a:pt x="1725" y="238"/>
                    <a:pt x="1718" y="238"/>
                  </a:cubicBezTo>
                  <a:close/>
                  <a:moveTo>
                    <a:pt x="1738" y="309"/>
                  </a:moveTo>
                  <a:cubicBezTo>
                    <a:pt x="1739" y="306"/>
                    <a:pt x="1742" y="304"/>
                    <a:pt x="1746" y="304"/>
                  </a:cubicBezTo>
                  <a:cubicBezTo>
                    <a:pt x="1745" y="307"/>
                    <a:pt x="1743" y="309"/>
                    <a:pt x="1738" y="309"/>
                  </a:cubicBezTo>
                  <a:close/>
                  <a:moveTo>
                    <a:pt x="1747" y="318"/>
                  </a:moveTo>
                  <a:cubicBezTo>
                    <a:pt x="1747" y="316"/>
                    <a:pt x="1747" y="315"/>
                    <a:pt x="1747" y="313"/>
                  </a:cubicBezTo>
                  <a:cubicBezTo>
                    <a:pt x="1748" y="313"/>
                    <a:pt x="1750" y="313"/>
                    <a:pt x="1752" y="313"/>
                  </a:cubicBezTo>
                  <a:cubicBezTo>
                    <a:pt x="1752" y="315"/>
                    <a:pt x="1752" y="316"/>
                    <a:pt x="1752" y="318"/>
                  </a:cubicBezTo>
                  <a:cubicBezTo>
                    <a:pt x="1750" y="318"/>
                    <a:pt x="1748" y="318"/>
                    <a:pt x="1747" y="318"/>
                  </a:cubicBezTo>
                  <a:close/>
                  <a:moveTo>
                    <a:pt x="1745" y="236"/>
                  </a:moveTo>
                  <a:cubicBezTo>
                    <a:pt x="1752" y="231"/>
                    <a:pt x="1741" y="225"/>
                    <a:pt x="1740" y="233"/>
                  </a:cubicBezTo>
                  <a:cubicBezTo>
                    <a:pt x="1733" y="231"/>
                    <a:pt x="1714" y="229"/>
                    <a:pt x="1712" y="234"/>
                  </a:cubicBezTo>
                  <a:cubicBezTo>
                    <a:pt x="1712" y="234"/>
                    <a:pt x="1713" y="239"/>
                    <a:pt x="1712" y="239"/>
                  </a:cubicBezTo>
                  <a:cubicBezTo>
                    <a:pt x="1708" y="239"/>
                    <a:pt x="1712" y="233"/>
                    <a:pt x="1709" y="232"/>
                  </a:cubicBezTo>
                  <a:cubicBezTo>
                    <a:pt x="1705" y="230"/>
                    <a:pt x="1701" y="234"/>
                    <a:pt x="1699" y="234"/>
                  </a:cubicBezTo>
                  <a:cubicBezTo>
                    <a:pt x="1694" y="235"/>
                    <a:pt x="1683" y="231"/>
                    <a:pt x="1685" y="239"/>
                  </a:cubicBezTo>
                  <a:cubicBezTo>
                    <a:pt x="1683" y="237"/>
                    <a:pt x="1677" y="236"/>
                    <a:pt x="1677" y="239"/>
                  </a:cubicBezTo>
                  <a:cubicBezTo>
                    <a:pt x="1674" y="239"/>
                    <a:pt x="1675" y="237"/>
                    <a:pt x="1677" y="237"/>
                  </a:cubicBezTo>
                  <a:cubicBezTo>
                    <a:pt x="1678" y="235"/>
                    <a:pt x="1670" y="233"/>
                    <a:pt x="1668" y="235"/>
                  </a:cubicBezTo>
                  <a:cubicBezTo>
                    <a:pt x="1665" y="237"/>
                    <a:pt x="1667" y="234"/>
                    <a:pt x="1663" y="235"/>
                  </a:cubicBezTo>
                  <a:cubicBezTo>
                    <a:pt x="1660" y="235"/>
                    <a:pt x="1658" y="235"/>
                    <a:pt x="1657" y="237"/>
                  </a:cubicBezTo>
                  <a:cubicBezTo>
                    <a:pt x="1653" y="236"/>
                    <a:pt x="1659" y="234"/>
                    <a:pt x="1657" y="230"/>
                  </a:cubicBezTo>
                  <a:cubicBezTo>
                    <a:pt x="1660" y="229"/>
                    <a:pt x="1660" y="232"/>
                    <a:pt x="1660" y="232"/>
                  </a:cubicBezTo>
                  <a:cubicBezTo>
                    <a:pt x="1663" y="233"/>
                    <a:pt x="1663" y="230"/>
                    <a:pt x="1663" y="230"/>
                  </a:cubicBezTo>
                  <a:cubicBezTo>
                    <a:pt x="1666" y="230"/>
                    <a:pt x="1669" y="233"/>
                    <a:pt x="1671" y="232"/>
                  </a:cubicBezTo>
                  <a:cubicBezTo>
                    <a:pt x="1675" y="231"/>
                    <a:pt x="1680" y="223"/>
                    <a:pt x="1687" y="230"/>
                  </a:cubicBezTo>
                  <a:cubicBezTo>
                    <a:pt x="1691" y="229"/>
                    <a:pt x="1690" y="225"/>
                    <a:pt x="1690" y="223"/>
                  </a:cubicBezTo>
                  <a:cubicBezTo>
                    <a:pt x="1696" y="223"/>
                    <a:pt x="1699" y="222"/>
                    <a:pt x="1698" y="218"/>
                  </a:cubicBezTo>
                  <a:cubicBezTo>
                    <a:pt x="1707" y="219"/>
                    <a:pt x="1704" y="228"/>
                    <a:pt x="1693" y="225"/>
                  </a:cubicBezTo>
                  <a:cubicBezTo>
                    <a:pt x="1692" y="229"/>
                    <a:pt x="1696" y="229"/>
                    <a:pt x="1696" y="232"/>
                  </a:cubicBezTo>
                  <a:cubicBezTo>
                    <a:pt x="1699" y="233"/>
                    <a:pt x="1697" y="228"/>
                    <a:pt x="1698" y="227"/>
                  </a:cubicBezTo>
                  <a:cubicBezTo>
                    <a:pt x="1701" y="226"/>
                    <a:pt x="1701" y="229"/>
                    <a:pt x="1701" y="229"/>
                  </a:cubicBezTo>
                  <a:cubicBezTo>
                    <a:pt x="1701" y="229"/>
                    <a:pt x="1710" y="227"/>
                    <a:pt x="1712" y="227"/>
                  </a:cubicBezTo>
                  <a:cubicBezTo>
                    <a:pt x="1714" y="226"/>
                    <a:pt x="1719" y="222"/>
                    <a:pt x="1720" y="229"/>
                  </a:cubicBezTo>
                  <a:cubicBezTo>
                    <a:pt x="1723" y="230"/>
                    <a:pt x="1722" y="225"/>
                    <a:pt x="1723" y="224"/>
                  </a:cubicBezTo>
                  <a:cubicBezTo>
                    <a:pt x="1734" y="222"/>
                    <a:pt x="1746" y="228"/>
                    <a:pt x="1756" y="224"/>
                  </a:cubicBezTo>
                  <a:cubicBezTo>
                    <a:pt x="1754" y="229"/>
                    <a:pt x="1753" y="235"/>
                    <a:pt x="1745" y="236"/>
                  </a:cubicBezTo>
                  <a:close/>
                  <a:moveTo>
                    <a:pt x="1753" y="186"/>
                  </a:moveTo>
                  <a:cubicBezTo>
                    <a:pt x="1755" y="187"/>
                    <a:pt x="1755" y="189"/>
                    <a:pt x="1758" y="188"/>
                  </a:cubicBezTo>
                  <a:cubicBezTo>
                    <a:pt x="1758" y="194"/>
                    <a:pt x="1745" y="191"/>
                    <a:pt x="1753" y="186"/>
                  </a:cubicBezTo>
                  <a:close/>
                  <a:moveTo>
                    <a:pt x="1831" y="110"/>
                  </a:moveTo>
                  <a:cubicBezTo>
                    <a:pt x="1831" y="108"/>
                    <a:pt x="1831" y="107"/>
                    <a:pt x="1831" y="105"/>
                  </a:cubicBezTo>
                  <a:cubicBezTo>
                    <a:pt x="1837" y="104"/>
                    <a:pt x="1832" y="113"/>
                    <a:pt x="1834" y="117"/>
                  </a:cubicBezTo>
                  <a:cubicBezTo>
                    <a:pt x="1831" y="115"/>
                    <a:pt x="1829" y="114"/>
                    <a:pt x="1828" y="117"/>
                  </a:cubicBezTo>
                  <a:cubicBezTo>
                    <a:pt x="1819" y="115"/>
                    <a:pt x="1831" y="112"/>
                    <a:pt x="1831" y="110"/>
                  </a:cubicBezTo>
                  <a:close/>
                  <a:moveTo>
                    <a:pt x="1792" y="230"/>
                  </a:moveTo>
                  <a:cubicBezTo>
                    <a:pt x="1789" y="237"/>
                    <a:pt x="1781" y="233"/>
                    <a:pt x="1775" y="233"/>
                  </a:cubicBezTo>
                  <a:cubicBezTo>
                    <a:pt x="1776" y="228"/>
                    <a:pt x="1787" y="232"/>
                    <a:pt x="1792" y="230"/>
                  </a:cubicBezTo>
                  <a:close/>
                  <a:moveTo>
                    <a:pt x="1779" y="259"/>
                  </a:moveTo>
                  <a:cubicBezTo>
                    <a:pt x="1776" y="258"/>
                    <a:pt x="1776" y="256"/>
                    <a:pt x="1773" y="256"/>
                  </a:cubicBezTo>
                  <a:cubicBezTo>
                    <a:pt x="1773" y="255"/>
                    <a:pt x="1773" y="253"/>
                    <a:pt x="1773" y="252"/>
                  </a:cubicBezTo>
                  <a:cubicBezTo>
                    <a:pt x="1779" y="250"/>
                    <a:pt x="1778" y="255"/>
                    <a:pt x="1779" y="259"/>
                  </a:cubicBezTo>
                  <a:close/>
                  <a:moveTo>
                    <a:pt x="1771" y="310"/>
                  </a:moveTo>
                  <a:cubicBezTo>
                    <a:pt x="1777" y="309"/>
                    <a:pt x="1775" y="315"/>
                    <a:pt x="1780" y="315"/>
                  </a:cubicBezTo>
                  <a:cubicBezTo>
                    <a:pt x="1780" y="319"/>
                    <a:pt x="1769" y="315"/>
                    <a:pt x="1771" y="310"/>
                  </a:cubicBezTo>
                  <a:close/>
                  <a:moveTo>
                    <a:pt x="1790" y="280"/>
                  </a:moveTo>
                  <a:cubicBezTo>
                    <a:pt x="1788" y="283"/>
                    <a:pt x="1792" y="288"/>
                    <a:pt x="1785" y="287"/>
                  </a:cubicBezTo>
                  <a:cubicBezTo>
                    <a:pt x="1789" y="283"/>
                    <a:pt x="1786" y="274"/>
                    <a:pt x="1795" y="275"/>
                  </a:cubicBezTo>
                  <a:cubicBezTo>
                    <a:pt x="1796" y="278"/>
                    <a:pt x="1791" y="278"/>
                    <a:pt x="1790" y="280"/>
                  </a:cubicBezTo>
                  <a:close/>
                  <a:moveTo>
                    <a:pt x="1789" y="226"/>
                  </a:moveTo>
                  <a:cubicBezTo>
                    <a:pt x="1787" y="225"/>
                    <a:pt x="1786" y="226"/>
                    <a:pt x="1786" y="228"/>
                  </a:cubicBezTo>
                  <a:cubicBezTo>
                    <a:pt x="1784" y="228"/>
                    <a:pt x="1784" y="225"/>
                    <a:pt x="1783" y="223"/>
                  </a:cubicBezTo>
                  <a:cubicBezTo>
                    <a:pt x="1785" y="223"/>
                    <a:pt x="1787" y="223"/>
                    <a:pt x="1789" y="223"/>
                  </a:cubicBezTo>
                  <a:cubicBezTo>
                    <a:pt x="1787" y="218"/>
                    <a:pt x="1781" y="219"/>
                    <a:pt x="1786" y="214"/>
                  </a:cubicBezTo>
                  <a:cubicBezTo>
                    <a:pt x="1791" y="214"/>
                    <a:pt x="1792" y="218"/>
                    <a:pt x="1792" y="223"/>
                  </a:cubicBezTo>
                  <a:cubicBezTo>
                    <a:pt x="1798" y="219"/>
                    <a:pt x="1803" y="224"/>
                    <a:pt x="1805" y="221"/>
                  </a:cubicBezTo>
                  <a:cubicBezTo>
                    <a:pt x="1809" y="222"/>
                    <a:pt x="1807" y="224"/>
                    <a:pt x="1805" y="225"/>
                  </a:cubicBezTo>
                  <a:cubicBezTo>
                    <a:pt x="1799" y="229"/>
                    <a:pt x="1799" y="225"/>
                    <a:pt x="1789" y="226"/>
                  </a:cubicBezTo>
                  <a:close/>
                  <a:moveTo>
                    <a:pt x="1800" y="235"/>
                  </a:moveTo>
                  <a:cubicBezTo>
                    <a:pt x="1792" y="232"/>
                    <a:pt x="1806" y="225"/>
                    <a:pt x="1808" y="230"/>
                  </a:cubicBezTo>
                  <a:cubicBezTo>
                    <a:pt x="1808" y="233"/>
                    <a:pt x="1800" y="231"/>
                    <a:pt x="1800" y="235"/>
                  </a:cubicBezTo>
                  <a:close/>
                  <a:moveTo>
                    <a:pt x="1812" y="314"/>
                  </a:moveTo>
                  <a:cubicBezTo>
                    <a:pt x="1808" y="312"/>
                    <a:pt x="1806" y="308"/>
                    <a:pt x="1810" y="305"/>
                  </a:cubicBezTo>
                  <a:cubicBezTo>
                    <a:pt x="1814" y="307"/>
                    <a:pt x="1816" y="311"/>
                    <a:pt x="1812" y="314"/>
                  </a:cubicBezTo>
                  <a:close/>
                  <a:moveTo>
                    <a:pt x="1811" y="258"/>
                  </a:moveTo>
                  <a:cubicBezTo>
                    <a:pt x="1811" y="256"/>
                    <a:pt x="1811" y="255"/>
                    <a:pt x="1811" y="253"/>
                  </a:cubicBezTo>
                  <a:cubicBezTo>
                    <a:pt x="1817" y="252"/>
                    <a:pt x="1817" y="257"/>
                    <a:pt x="1817" y="260"/>
                  </a:cubicBezTo>
                  <a:cubicBezTo>
                    <a:pt x="1815" y="260"/>
                    <a:pt x="1814" y="258"/>
                    <a:pt x="1811" y="258"/>
                  </a:cubicBezTo>
                  <a:close/>
                  <a:moveTo>
                    <a:pt x="1822" y="225"/>
                  </a:moveTo>
                  <a:cubicBezTo>
                    <a:pt x="1819" y="225"/>
                    <a:pt x="1816" y="225"/>
                    <a:pt x="1814" y="225"/>
                  </a:cubicBezTo>
                  <a:cubicBezTo>
                    <a:pt x="1816" y="218"/>
                    <a:pt x="1810" y="219"/>
                    <a:pt x="1811" y="213"/>
                  </a:cubicBezTo>
                  <a:cubicBezTo>
                    <a:pt x="1815" y="212"/>
                    <a:pt x="1823" y="218"/>
                    <a:pt x="1816" y="218"/>
                  </a:cubicBezTo>
                  <a:cubicBezTo>
                    <a:pt x="1818" y="220"/>
                    <a:pt x="1823" y="220"/>
                    <a:pt x="1822" y="225"/>
                  </a:cubicBezTo>
                  <a:close/>
                  <a:moveTo>
                    <a:pt x="1815" y="155"/>
                  </a:moveTo>
                  <a:cubicBezTo>
                    <a:pt x="1817" y="153"/>
                    <a:pt x="1818" y="151"/>
                    <a:pt x="1818" y="147"/>
                  </a:cubicBezTo>
                  <a:cubicBezTo>
                    <a:pt x="1821" y="148"/>
                    <a:pt x="1822" y="152"/>
                    <a:pt x="1826" y="152"/>
                  </a:cubicBezTo>
                  <a:cubicBezTo>
                    <a:pt x="1825" y="155"/>
                    <a:pt x="1819" y="154"/>
                    <a:pt x="1815" y="155"/>
                  </a:cubicBezTo>
                  <a:close/>
                  <a:moveTo>
                    <a:pt x="1829" y="147"/>
                  </a:moveTo>
                  <a:cubicBezTo>
                    <a:pt x="1832" y="148"/>
                    <a:pt x="1831" y="152"/>
                    <a:pt x="1834" y="152"/>
                  </a:cubicBezTo>
                  <a:cubicBezTo>
                    <a:pt x="1833" y="158"/>
                    <a:pt x="1826" y="152"/>
                    <a:pt x="1829" y="147"/>
                  </a:cubicBezTo>
                  <a:close/>
                  <a:moveTo>
                    <a:pt x="1830" y="229"/>
                  </a:moveTo>
                  <a:cubicBezTo>
                    <a:pt x="1826" y="225"/>
                    <a:pt x="1830" y="226"/>
                    <a:pt x="1830" y="220"/>
                  </a:cubicBezTo>
                  <a:cubicBezTo>
                    <a:pt x="1835" y="220"/>
                    <a:pt x="1837" y="224"/>
                    <a:pt x="1838" y="220"/>
                  </a:cubicBezTo>
                  <a:cubicBezTo>
                    <a:pt x="1843" y="220"/>
                    <a:pt x="1836" y="230"/>
                    <a:pt x="1830" y="229"/>
                  </a:cubicBezTo>
                  <a:close/>
                  <a:moveTo>
                    <a:pt x="1850" y="137"/>
                  </a:moveTo>
                  <a:cubicBezTo>
                    <a:pt x="1850" y="140"/>
                    <a:pt x="1845" y="139"/>
                    <a:pt x="1845" y="142"/>
                  </a:cubicBezTo>
                  <a:cubicBezTo>
                    <a:pt x="1842" y="142"/>
                    <a:pt x="1843" y="139"/>
                    <a:pt x="1842" y="138"/>
                  </a:cubicBezTo>
                  <a:cubicBezTo>
                    <a:pt x="1846" y="135"/>
                    <a:pt x="1847" y="137"/>
                    <a:pt x="1850" y="137"/>
                  </a:cubicBezTo>
                  <a:close/>
                  <a:moveTo>
                    <a:pt x="1845" y="154"/>
                  </a:moveTo>
                  <a:cubicBezTo>
                    <a:pt x="1844" y="154"/>
                    <a:pt x="1842" y="151"/>
                    <a:pt x="1843" y="149"/>
                  </a:cubicBezTo>
                  <a:cubicBezTo>
                    <a:pt x="1846" y="141"/>
                    <a:pt x="1848" y="154"/>
                    <a:pt x="1845" y="154"/>
                  </a:cubicBezTo>
                  <a:close/>
                  <a:moveTo>
                    <a:pt x="1841" y="227"/>
                  </a:moveTo>
                  <a:cubicBezTo>
                    <a:pt x="1840" y="223"/>
                    <a:pt x="1847" y="224"/>
                    <a:pt x="1849" y="222"/>
                  </a:cubicBezTo>
                  <a:cubicBezTo>
                    <a:pt x="1855" y="217"/>
                    <a:pt x="1850" y="226"/>
                    <a:pt x="1841" y="227"/>
                  </a:cubicBezTo>
                  <a:close/>
                  <a:moveTo>
                    <a:pt x="1855" y="220"/>
                  </a:moveTo>
                  <a:cubicBezTo>
                    <a:pt x="1864" y="221"/>
                    <a:pt x="1851" y="235"/>
                    <a:pt x="1858" y="234"/>
                  </a:cubicBezTo>
                  <a:cubicBezTo>
                    <a:pt x="1848" y="244"/>
                    <a:pt x="1856" y="220"/>
                    <a:pt x="1852" y="229"/>
                  </a:cubicBezTo>
                  <a:cubicBezTo>
                    <a:pt x="1844" y="227"/>
                    <a:pt x="1858" y="225"/>
                    <a:pt x="1855" y="220"/>
                  </a:cubicBezTo>
                  <a:close/>
                  <a:moveTo>
                    <a:pt x="1853" y="255"/>
                  </a:moveTo>
                  <a:cubicBezTo>
                    <a:pt x="1849" y="254"/>
                    <a:pt x="1850" y="249"/>
                    <a:pt x="1850" y="246"/>
                  </a:cubicBezTo>
                  <a:cubicBezTo>
                    <a:pt x="1856" y="246"/>
                    <a:pt x="1856" y="252"/>
                    <a:pt x="1853" y="255"/>
                  </a:cubicBezTo>
                  <a:close/>
                  <a:moveTo>
                    <a:pt x="1859" y="309"/>
                  </a:moveTo>
                  <a:cubicBezTo>
                    <a:pt x="1856" y="308"/>
                    <a:pt x="1857" y="304"/>
                    <a:pt x="1853" y="304"/>
                  </a:cubicBezTo>
                  <a:cubicBezTo>
                    <a:pt x="1854" y="302"/>
                    <a:pt x="1858" y="302"/>
                    <a:pt x="1862" y="302"/>
                  </a:cubicBezTo>
                  <a:cubicBezTo>
                    <a:pt x="1862" y="306"/>
                    <a:pt x="1859" y="306"/>
                    <a:pt x="1859" y="309"/>
                  </a:cubicBezTo>
                  <a:close/>
                  <a:moveTo>
                    <a:pt x="1848" y="154"/>
                  </a:moveTo>
                  <a:cubicBezTo>
                    <a:pt x="1849" y="150"/>
                    <a:pt x="1852" y="148"/>
                    <a:pt x="1853" y="144"/>
                  </a:cubicBezTo>
                  <a:cubicBezTo>
                    <a:pt x="1857" y="145"/>
                    <a:pt x="1860" y="149"/>
                    <a:pt x="1856" y="149"/>
                  </a:cubicBezTo>
                  <a:cubicBezTo>
                    <a:pt x="1856" y="151"/>
                    <a:pt x="1860" y="151"/>
                    <a:pt x="1862" y="151"/>
                  </a:cubicBezTo>
                  <a:cubicBezTo>
                    <a:pt x="1871" y="154"/>
                    <a:pt x="1852" y="154"/>
                    <a:pt x="1848" y="154"/>
                  </a:cubicBezTo>
                  <a:close/>
                  <a:moveTo>
                    <a:pt x="1928" y="178"/>
                  </a:moveTo>
                  <a:cubicBezTo>
                    <a:pt x="1929" y="177"/>
                    <a:pt x="1931" y="176"/>
                    <a:pt x="1931" y="174"/>
                  </a:cubicBezTo>
                  <a:cubicBezTo>
                    <a:pt x="1933" y="174"/>
                    <a:pt x="1934" y="174"/>
                    <a:pt x="1936" y="174"/>
                  </a:cubicBezTo>
                  <a:cubicBezTo>
                    <a:pt x="1938" y="179"/>
                    <a:pt x="1932" y="178"/>
                    <a:pt x="1928" y="178"/>
                  </a:cubicBezTo>
                  <a:close/>
                  <a:moveTo>
                    <a:pt x="1930" y="138"/>
                  </a:moveTo>
                  <a:cubicBezTo>
                    <a:pt x="1937" y="141"/>
                    <a:pt x="1932" y="154"/>
                    <a:pt x="1922" y="150"/>
                  </a:cubicBezTo>
                  <a:cubicBezTo>
                    <a:pt x="1919" y="142"/>
                    <a:pt x="1928" y="143"/>
                    <a:pt x="1930" y="138"/>
                  </a:cubicBezTo>
                  <a:close/>
                  <a:moveTo>
                    <a:pt x="1920" y="193"/>
                  </a:moveTo>
                  <a:cubicBezTo>
                    <a:pt x="1929" y="190"/>
                    <a:pt x="1922" y="200"/>
                    <a:pt x="1931" y="197"/>
                  </a:cubicBezTo>
                  <a:cubicBezTo>
                    <a:pt x="1930" y="202"/>
                    <a:pt x="1918" y="198"/>
                    <a:pt x="1920" y="193"/>
                  </a:cubicBezTo>
                  <a:close/>
                  <a:moveTo>
                    <a:pt x="1892" y="144"/>
                  </a:moveTo>
                  <a:cubicBezTo>
                    <a:pt x="1896" y="145"/>
                    <a:pt x="1894" y="147"/>
                    <a:pt x="1892" y="149"/>
                  </a:cubicBezTo>
                  <a:cubicBezTo>
                    <a:pt x="1887" y="152"/>
                    <a:pt x="1885" y="151"/>
                    <a:pt x="1892" y="144"/>
                  </a:cubicBezTo>
                  <a:close/>
                  <a:moveTo>
                    <a:pt x="1875" y="123"/>
                  </a:moveTo>
                  <a:cubicBezTo>
                    <a:pt x="1878" y="124"/>
                    <a:pt x="1877" y="128"/>
                    <a:pt x="1881" y="128"/>
                  </a:cubicBezTo>
                  <a:cubicBezTo>
                    <a:pt x="1880" y="130"/>
                    <a:pt x="1877" y="129"/>
                    <a:pt x="1875" y="130"/>
                  </a:cubicBezTo>
                  <a:cubicBezTo>
                    <a:pt x="1872" y="127"/>
                    <a:pt x="1874" y="126"/>
                    <a:pt x="1875" y="123"/>
                  </a:cubicBezTo>
                  <a:close/>
                  <a:moveTo>
                    <a:pt x="1867" y="147"/>
                  </a:moveTo>
                  <a:cubicBezTo>
                    <a:pt x="1869" y="138"/>
                    <a:pt x="1883" y="151"/>
                    <a:pt x="1883" y="144"/>
                  </a:cubicBezTo>
                  <a:cubicBezTo>
                    <a:pt x="1880" y="141"/>
                    <a:pt x="1883" y="143"/>
                    <a:pt x="1886" y="144"/>
                  </a:cubicBezTo>
                  <a:cubicBezTo>
                    <a:pt x="1882" y="147"/>
                    <a:pt x="1883" y="155"/>
                    <a:pt x="1873" y="154"/>
                  </a:cubicBezTo>
                  <a:cubicBezTo>
                    <a:pt x="1874" y="149"/>
                    <a:pt x="1872" y="146"/>
                    <a:pt x="1867" y="147"/>
                  </a:cubicBezTo>
                  <a:close/>
                  <a:moveTo>
                    <a:pt x="1877" y="229"/>
                  </a:moveTo>
                  <a:cubicBezTo>
                    <a:pt x="1878" y="231"/>
                    <a:pt x="1880" y="232"/>
                    <a:pt x="1880" y="236"/>
                  </a:cubicBezTo>
                  <a:cubicBezTo>
                    <a:pt x="1877" y="236"/>
                    <a:pt x="1874" y="236"/>
                    <a:pt x="1871" y="236"/>
                  </a:cubicBezTo>
                  <a:cubicBezTo>
                    <a:pt x="1874" y="234"/>
                    <a:pt x="1874" y="230"/>
                    <a:pt x="1874" y="226"/>
                  </a:cubicBezTo>
                  <a:cubicBezTo>
                    <a:pt x="1877" y="226"/>
                    <a:pt x="1879" y="226"/>
                    <a:pt x="1882" y="226"/>
                  </a:cubicBezTo>
                  <a:cubicBezTo>
                    <a:pt x="1887" y="228"/>
                    <a:pt x="1881" y="229"/>
                    <a:pt x="1877" y="229"/>
                  </a:cubicBezTo>
                  <a:close/>
                  <a:moveTo>
                    <a:pt x="1884" y="182"/>
                  </a:moveTo>
                  <a:cubicBezTo>
                    <a:pt x="1881" y="170"/>
                    <a:pt x="1883" y="167"/>
                    <a:pt x="1881" y="156"/>
                  </a:cubicBezTo>
                  <a:cubicBezTo>
                    <a:pt x="1884" y="155"/>
                    <a:pt x="1886" y="156"/>
                    <a:pt x="1886" y="158"/>
                  </a:cubicBezTo>
                  <a:cubicBezTo>
                    <a:pt x="1887" y="161"/>
                    <a:pt x="1892" y="160"/>
                    <a:pt x="1892" y="163"/>
                  </a:cubicBezTo>
                  <a:cubicBezTo>
                    <a:pt x="1894" y="168"/>
                    <a:pt x="1887" y="166"/>
                    <a:pt x="1887" y="170"/>
                  </a:cubicBezTo>
                  <a:cubicBezTo>
                    <a:pt x="1886" y="174"/>
                    <a:pt x="1889" y="174"/>
                    <a:pt x="1892" y="174"/>
                  </a:cubicBezTo>
                  <a:cubicBezTo>
                    <a:pt x="1892" y="178"/>
                    <a:pt x="1881" y="179"/>
                    <a:pt x="1892" y="179"/>
                  </a:cubicBezTo>
                  <a:cubicBezTo>
                    <a:pt x="1893" y="181"/>
                    <a:pt x="1891" y="181"/>
                    <a:pt x="1890" y="181"/>
                  </a:cubicBezTo>
                  <a:cubicBezTo>
                    <a:pt x="1888" y="181"/>
                    <a:pt x="1886" y="181"/>
                    <a:pt x="1884" y="182"/>
                  </a:cubicBezTo>
                  <a:close/>
                  <a:moveTo>
                    <a:pt x="1888" y="238"/>
                  </a:moveTo>
                  <a:cubicBezTo>
                    <a:pt x="1888" y="236"/>
                    <a:pt x="1888" y="235"/>
                    <a:pt x="1888" y="233"/>
                  </a:cubicBezTo>
                  <a:cubicBezTo>
                    <a:pt x="1890" y="233"/>
                    <a:pt x="1892" y="233"/>
                    <a:pt x="1893" y="233"/>
                  </a:cubicBezTo>
                  <a:cubicBezTo>
                    <a:pt x="1893" y="235"/>
                    <a:pt x="1893" y="236"/>
                    <a:pt x="1893" y="238"/>
                  </a:cubicBezTo>
                  <a:cubicBezTo>
                    <a:pt x="1892" y="238"/>
                    <a:pt x="1890" y="238"/>
                    <a:pt x="1888" y="238"/>
                  </a:cubicBezTo>
                  <a:close/>
                  <a:moveTo>
                    <a:pt x="1888" y="228"/>
                  </a:moveTo>
                  <a:cubicBezTo>
                    <a:pt x="1889" y="225"/>
                    <a:pt x="1894" y="224"/>
                    <a:pt x="1899" y="224"/>
                  </a:cubicBezTo>
                  <a:cubicBezTo>
                    <a:pt x="1901" y="231"/>
                    <a:pt x="1893" y="228"/>
                    <a:pt x="1888" y="228"/>
                  </a:cubicBezTo>
                  <a:close/>
                  <a:moveTo>
                    <a:pt x="1900" y="151"/>
                  </a:moveTo>
                  <a:cubicBezTo>
                    <a:pt x="1896" y="152"/>
                    <a:pt x="1898" y="157"/>
                    <a:pt x="1897" y="160"/>
                  </a:cubicBezTo>
                  <a:cubicBezTo>
                    <a:pt x="1890" y="154"/>
                    <a:pt x="1894" y="148"/>
                    <a:pt x="1900" y="144"/>
                  </a:cubicBezTo>
                  <a:cubicBezTo>
                    <a:pt x="1905" y="143"/>
                    <a:pt x="1905" y="145"/>
                    <a:pt x="1906" y="148"/>
                  </a:cubicBezTo>
                  <a:cubicBezTo>
                    <a:pt x="1910" y="146"/>
                    <a:pt x="1911" y="141"/>
                    <a:pt x="1919" y="141"/>
                  </a:cubicBezTo>
                  <a:cubicBezTo>
                    <a:pt x="1921" y="148"/>
                    <a:pt x="1912" y="147"/>
                    <a:pt x="1911" y="153"/>
                  </a:cubicBezTo>
                  <a:cubicBezTo>
                    <a:pt x="1914" y="155"/>
                    <a:pt x="1912" y="162"/>
                    <a:pt x="1919" y="160"/>
                  </a:cubicBezTo>
                  <a:cubicBezTo>
                    <a:pt x="1919" y="168"/>
                    <a:pt x="1910" y="155"/>
                    <a:pt x="1911" y="162"/>
                  </a:cubicBezTo>
                  <a:cubicBezTo>
                    <a:pt x="1900" y="162"/>
                    <a:pt x="1915" y="150"/>
                    <a:pt x="1900" y="151"/>
                  </a:cubicBezTo>
                  <a:close/>
                  <a:moveTo>
                    <a:pt x="1908" y="310"/>
                  </a:moveTo>
                  <a:cubicBezTo>
                    <a:pt x="1909" y="307"/>
                    <a:pt x="1913" y="307"/>
                    <a:pt x="1914" y="303"/>
                  </a:cubicBezTo>
                  <a:cubicBezTo>
                    <a:pt x="1921" y="304"/>
                    <a:pt x="1914" y="312"/>
                    <a:pt x="1908" y="310"/>
                  </a:cubicBezTo>
                  <a:close/>
                  <a:moveTo>
                    <a:pt x="1915" y="235"/>
                  </a:moveTo>
                  <a:cubicBezTo>
                    <a:pt x="1917" y="233"/>
                    <a:pt x="1920" y="231"/>
                    <a:pt x="1923" y="230"/>
                  </a:cubicBezTo>
                  <a:cubicBezTo>
                    <a:pt x="1923" y="227"/>
                    <a:pt x="1917" y="228"/>
                    <a:pt x="1912" y="228"/>
                  </a:cubicBezTo>
                  <a:cubicBezTo>
                    <a:pt x="1919" y="222"/>
                    <a:pt x="1906" y="222"/>
                    <a:pt x="1909" y="212"/>
                  </a:cubicBezTo>
                  <a:cubicBezTo>
                    <a:pt x="1918" y="212"/>
                    <a:pt x="1913" y="223"/>
                    <a:pt x="1918" y="226"/>
                  </a:cubicBezTo>
                  <a:cubicBezTo>
                    <a:pt x="1923" y="224"/>
                    <a:pt x="1923" y="218"/>
                    <a:pt x="1929" y="223"/>
                  </a:cubicBezTo>
                  <a:cubicBezTo>
                    <a:pt x="1928" y="232"/>
                    <a:pt x="1922" y="232"/>
                    <a:pt x="1926" y="240"/>
                  </a:cubicBezTo>
                  <a:cubicBezTo>
                    <a:pt x="1922" y="239"/>
                    <a:pt x="1924" y="232"/>
                    <a:pt x="1915" y="235"/>
                  </a:cubicBezTo>
                  <a:close/>
                  <a:moveTo>
                    <a:pt x="1930" y="287"/>
                  </a:moveTo>
                  <a:cubicBezTo>
                    <a:pt x="1923" y="294"/>
                    <a:pt x="1917" y="280"/>
                    <a:pt x="1930" y="287"/>
                  </a:cubicBezTo>
                  <a:close/>
                  <a:moveTo>
                    <a:pt x="1918" y="219"/>
                  </a:moveTo>
                  <a:cubicBezTo>
                    <a:pt x="1915" y="212"/>
                    <a:pt x="1924" y="214"/>
                    <a:pt x="1929" y="214"/>
                  </a:cubicBezTo>
                  <a:cubicBezTo>
                    <a:pt x="1929" y="210"/>
                    <a:pt x="1926" y="208"/>
                    <a:pt x="1923" y="207"/>
                  </a:cubicBezTo>
                  <a:cubicBezTo>
                    <a:pt x="1923" y="204"/>
                    <a:pt x="1928" y="205"/>
                    <a:pt x="1931" y="204"/>
                  </a:cubicBezTo>
                  <a:cubicBezTo>
                    <a:pt x="1930" y="209"/>
                    <a:pt x="1933" y="210"/>
                    <a:pt x="1934" y="214"/>
                  </a:cubicBezTo>
                  <a:cubicBezTo>
                    <a:pt x="1936" y="216"/>
                    <a:pt x="1940" y="216"/>
                    <a:pt x="1940" y="221"/>
                  </a:cubicBezTo>
                  <a:cubicBezTo>
                    <a:pt x="1936" y="217"/>
                    <a:pt x="1926" y="219"/>
                    <a:pt x="1918" y="219"/>
                  </a:cubicBezTo>
                  <a:close/>
                  <a:moveTo>
                    <a:pt x="1943" y="258"/>
                  </a:moveTo>
                  <a:cubicBezTo>
                    <a:pt x="1938" y="258"/>
                    <a:pt x="1937" y="254"/>
                    <a:pt x="1937" y="249"/>
                  </a:cubicBezTo>
                  <a:cubicBezTo>
                    <a:pt x="1946" y="246"/>
                    <a:pt x="1942" y="254"/>
                    <a:pt x="1943" y="258"/>
                  </a:cubicBezTo>
                  <a:close/>
                  <a:moveTo>
                    <a:pt x="1945" y="216"/>
                  </a:moveTo>
                  <a:cubicBezTo>
                    <a:pt x="1947" y="214"/>
                    <a:pt x="1948" y="212"/>
                    <a:pt x="1948" y="209"/>
                  </a:cubicBezTo>
                  <a:cubicBezTo>
                    <a:pt x="1951" y="209"/>
                    <a:pt x="1950" y="213"/>
                    <a:pt x="1953" y="213"/>
                  </a:cubicBezTo>
                  <a:cubicBezTo>
                    <a:pt x="1954" y="215"/>
                    <a:pt x="1952" y="215"/>
                    <a:pt x="1951" y="216"/>
                  </a:cubicBezTo>
                  <a:cubicBezTo>
                    <a:pt x="1949" y="216"/>
                    <a:pt x="1947" y="216"/>
                    <a:pt x="1945" y="216"/>
                  </a:cubicBezTo>
                  <a:close/>
                  <a:moveTo>
                    <a:pt x="1948" y="225"/>
                  </a:moveTo>
                  <a:cubicBezTo>
                    <a:pt x="1948" y="224"/>
                    <a:pt x="1948" y="222"/>
                    <a:pt x="1948" y="220"/>
                  </a:cubicBezTo>
                  <a:cubicBezTo>
                    <a:pt x="1953" y="220"/>
                    <a:pt x="1957" y="221"/>
                    <a:pt x="1956" y="225"/>
                  </a:cubicBezTo>
                  <a:cubicBezTo>
                    <a:pt x="1954" y="225"/>
                    <a:pt x="1951" y="225"/>
                    <a:pt x="1948" y="225"/>
                  </a:cubicBezTo>
                  <a:close/>
                  <a:moveTo>
                    <a:pt x="2054" y="169"/>
                  </a:moveTo>
                  <a:cubicBezTo>
                    <a:pt x="2050" y="171"/>
                    <a:pt x="2055" y="181"/>
                    <a:pt x="2046" y="179"/>
                  </a:cubicBezTo>
                  <a:cubicBezTo>
                    <a:pt x="2045" y="173"/>
                    <a:pt x="2047" y="169"/>
                    <a:pt x="2054" y="169"/>
                  </a:cubicBezTo>
                  <a:close/>
                  <a:moveTo>
                    <a:pt x="1985" y="145"/>
                  </a:moveTo>
                  <a:cubicBezTo>
                    <a:pt x="1984" y="151"/>
                    <a:pt x="1981" y="141"/>
                    <a:pt x="1977" y="142"/>
                  </a:cubicBezTo>
                  <a:cubicBezTo>
                    <a:pt x="1979" y="135"/>
                    <a:pt x="1982" y="145"/>
                    <a:pt x="1985" y="145"/>
                  </a:cubicBezTo>
                  <a:close/>
                  <a:moveTo>
                    <a:pt x="1985" y="274"/>
                  </a:moveTo>
                  <a:cubicBezTo>
                    <a:pt x="1984" y="278"/>
                    <a:pt x="1981" y="272"/>
                    <a:pt x="1982" y="269"/>
                  </a:cubicBezTo>
                  <a:cubicBezTo>
                    <a:pt x="1983" y="265"/>
                    <a:pt x="1985" y="271"/>
                    <a:pt x="1985" y="274"/>
                  </a:cubicBezTo>
                  <a:close/>
                  <a:moveTo>
                    <a:pt x="1979" y="255"/>
                  </a:moveTo>
                  <a:cubicBezTo>
                    <a:pt x="1978" y="250"/>
                    <a:pt x="1981" y="248"/>
                    <a:pt x="1987" y="248"/>
                  </a:cubicBezTo>
                  <a:cubicBezTo>
                    <a:pt x="1984" y="250"/>
                    <a:pt x="1986" y="257"/>
                    <a:pt x="1979" y="255"/>
                  </a:cubicBezTo>
                  <a:close/>
                  <a:moveTo>
                    <a:pt x="1998" y="252"/>
                  </a:moveTo>
                  <a:cubicBezTo>
                    <a:pt x="1993" y="260"/>
                    <a:pt x="1990" y="247"/>
                    <a:pt x="1990" y="243"/>
                  </a:cubicBezTo>
                  <a:cubicBezTo>
                    <a:pt x="1993" y="243"/>
                    <a:pt x="1991" y="241"/>
                    <a:pt x="1989" y="241"/>
                  </a:cubicBezTo>
                  <a:cubicBezTo>
                    <a:pt x="1989" y="239"/>
                    <a:pt x="1991" y="239"/>
                    <a:pt x="1992" y="238"/>
                  </a:cubicBezTo>
                  <a:cubicBezTo>
                    <a:pt x="1994" y="238"/>
                    <a:pt x="1996" y="238"/>
                    <a:pt x="1998" y="238"/>
                  </a:cubicBezTo>
                  <a:cubicBezTo>
                    <a:pt x="2001" y="245"/>
                    <a:pt x="1993" y="252"/>
                    <a:pt x="1998" y="252"/>
                  </a:cubicBezTo>
                  <a:close/>
                  <a:moveTo>
                    <a:pt x="1999" y="285"/>
                  </a:moveTo>
                  <a:cubicBezTo>
                    <a:pt x="2002" y="279"/>
                    <a:pt x="2005" y="276"/>
                    <a:pt x="2001" y="269"/>
                  </a:cubicBezTo>
                  <a:cubicBezTo>
                    <a:pt x="2009" y="268"/>
                    <a:pt x="2004" y="278"/>
                    <a:pt x="2009" y="278"/>
                  </a:cubicBezTo>
                  <a:cubicBezTo>
                    <a:pt x="2009" y="281"/>
                    <a:pt x="2007" y="279"/>
                    <a:pt x="2007" y="278"/>
                  </a:cubicBezTo>
                  <a:cubicBezTo>
                    <a:pt x="2000" y="277"/>
                    <a:pt x="2008" y="289"/>
                    <a:pt x="1999" y="285"/>
                  </a:cubicBezTo>
                  <a:close/>
                  <a:moveTo>
                    <a:pt x="2001" y="297"/>
                  </a:moveTo>
                  <a:cubicBezTo>
                    <a:pt x="2005" y="293"/>
                    <a:pt x="2007" y="288"/>
                    <a:pt x="2015" y="287"/>
                  </a:cubicBezTo>
                  <a:cubicBezTo>
                    <a:pt x="2012" y="291"/>
                    <a:pt x="2009" y="297"/>
                    <a:pt x="2001" y="297"/>
                  </a:cubicBezTo>
                  <a:close/>
                  <a:moveTo>
                    <a:pt x="2017" y="266"/>
                  </a:moveTo>
                  <a:cubicBezTo>
                    <a:pt x="2018" y="261"/>
                    <a:pt x="2025" y="261"/>
                    <a:pt x="2028" y="264"/>
                  </a:cubicBezTo>
                  <a:cubicBezTo>
                    <a:pt x="2028" y="267"/>
                    <a:pt x="2021" y="266"/>
                    <a:pt x="2017" y="266"/>
                  </a:cubicBezTo>
                  <a:close/>
                  <a:moveTo>
                    <a:pt x="2042" y="254"/>
                  </a:moveTo>
                  <a:cubicBezTo>
                    <a:pt x="2042" y="252"/>
                    <a:pt x="2042" y="251"/>
                    <a:pt x="2042" y="249"/>
                  </a:cubicBezTo>
                  <a:cubicBezTo>
                    <a:pt x="2044" y="249"/>
                    <a:pt x="2045" y="249"/>
                    <a:pt x="2047" y="249"/>
                  </a:cubicBezTo>
                  <a:cubicBezTo>
                    <a:pt x="2047" y="251"/>
                    <a:pt x="2047" y="252"/>
                    <a:pt x="2047" y="254"/>
                  </a:cubicBezTo>
                  <a:cubicBezTo>
                    <a:pt x="2046" y="254"/>
                    <a:pt x="2044" y="254"/>
                    <a:pt x="2042" y="254"/>
                  </a:cubicBezTo>
                  <a:close/>
                  <a:moveTo>
                    <a:pt x="2044" y="221"/>
                  </a:moveTo>
                  <a:cubicBezTo>
                    <a:pt x="2044" y="219"/>
                    <a:pt x="2044" y="216"/>
                    <a:pt x="2044" y="214"/>
                  </a:cubicBezTo>
                  <a:cubicBezTo>
                    <a:pt x="2038" y="213"/>
                    <a:pt x="2039" y="217"/>
                    <a:pt x="2039" y="221"/>
                  </a:cubicBezTo>
                  <a:cubicBezTo>
                    <a:pt x="2034" y="222"/>
                    <a:pt x="2025" y="219"/>
                    <a:pt x="2028" y="226"/>
                  </a:cubicBezTo>
                  <a:cubicBezTo>
                    <a:pt x="2018" y="222"/>
                    <a:pt x="2031" y="219"/>
                    <a:pt x="2033" y="217"/>
                  </a:cubicBezTo>
                  <a:cubicBezTo>
                    <a:pt x="2032" y="211"/>
                    <a:pt x="2021" y="216"/>
                    <a:pt x="2016" y="214"/>
                  </a:cubicBezTo>
                  <a:cubicBezTo>
                    <a:pt x="2013" y="222"/>
                    <a:pt x="2025" y="216"/>
                    <a:pt x="2022" y="224"/>
                  </a:cubicBezTo>
                  <a:cubicBezTo>
                    <a:pt x="2018" y="224"/>
                    <a:pt x="2014" y="224"/>
                    <a:pt x="2014" y="226"/>
                  </a:cubicBezTo>
                  <a:cubicBezTo>
                    <a:pt x="2011" y="226"/>
                    <a:pt x="2012" y="222"/>
                    <a:pt x="2008" y="222"/>
                  </a:cubicBezTo>
                  <a:cubicBezTo>
                    <a:pt x="2001" y="221"/>
                    <a:pt x="2016" y="231"/>
                    <a:pt x="2003" y="229"/>
                  </a:cubicBezTo>
                  <a:cubicBezTo>
                    <a:pt x="2001" y="236"/>
                    <a:pt x="2007" y="235"/>
                    <a:pt x="2006" y="241"/>
                  </a:cubicBezTo>
                  <a:cubicBezTo>
                    <a:pt x="1999" y="239"/>
                    <a:pt x="1997" y="231"/>
                    <a:pt x="2000" y="227"/>
                  </a:cubicBezTo>
                  <a:cubicBezTo>
                    <a:pt x="2001" y="226"/>
                    <a:pt x="2006" y="227"/>
                    <a:pt x="2006" y="226"/>
                  </a:cubicBezTo>
                  <a:cubicBezTo>
                    <a:pt x="2006" y="224"/>
                    <a:pt x="1999" y="222"/>
                    <a:pt x="2006" y="217"/>
                  </a:cubicBezTo>
                  <a:cubicBezTo>
                    <a:pt x="2005" y="214"/>
                    <a:pt x="1999" y="215"/>
                    <a:pt x="1994" y="215"/>
                  </a:cubicBezTo>
                  <a:cubicBezTo>
                    <a:pt x="1987" y="217"/>
                    <a:pt x="1992" y="218"/>
                    <a:pt x="1992" y="224"/>
                  </a:cubicBezTo>
                  <a:cubicBezTo>
                    <a:pt x="1983" y="227"/>
                    <a:pt x="1988" y="217"/>
                    <a:pt x="1984" y="215"/>
                  </a:cubicBezTo>
                  <a:cubicBezTo>
                    <a:pt x="1976" y="215"/>
                    <a:pt x="1980" y="222"/>
                    <a:pt x="1978" y="225"/>
                  </a:cubicBezTo>
                  <a:cubicBezTo>
                    <a:pt x="1978" y="225"/>
                    <a:pt x="1973" y="224"/>
                    <a:pt x="1973" y="225"/>
                  </a:cubicBezTo>
                  <a:cubicBezTo>
                    <a:pt x="1971" y="226"/>
                    <a:pt x="1974" y="230"/>
                    <a:pt x="1973" y="232"/>
                  </a:cubicBezTo>
                  <a:cubicBezTo>
                    <a:pt x="1967" y="230"/>
                    <a:pt x="1967" y="228"/>
                    <a:pt x="1970" y="225"/>
                  </a:cubicBezTo>
                  <a:cubicBezTo>
                    <a:pt x="1965" y="224"/>
                    <a:pt x="1965" y="227"/>
                    <a:pt x="1965" y="230"/>
                  </a:cubicBezTo>
                  <a:cubicBezTo>
                    <a:pt x="1961" y="229"/>
                    <a:pt x="1962" y="224"/>
                    <a:pt x="1962" y="220"/>
                  </a:cubicBezTo>
                  <a:cubicBezTo>
                    <a:pt x="1966" y="220"/>
                    <a:pt x="1971" y="220"/>
                    <a:pt x="1975" y="220"/>
                  </a:cubicBezTo>
                  <a:cubicBezTo>
                    <a:pt x="1976" y="214"/>
                    <a:pt x="1960" y="222"/>
                    <a:pt x="1964" y="213"/>
                  </a:cubicBezTo>
                  <a:cubicBezTo>
                    <a:pt x="1974" y="212"/>
                    <a:pt x="1988" y="216"/>
                    <a:pt x="1986" y="206"/>
                  </a:cubicBezTo>
                  <a:cubicBezTo>
                    <a:pt x="1992" y="205"/>
                    <a:pt x="1995" y="207"/>
                    <a:pt x="1994" y="213"/>
                  </a:cubicBezTo>
                  <a:cubicBezTo>
                    <a:pt x="2004" y="211"/>
                    <a:pt x="2003" y="210"/>
                    <a:pt x="2011" y="212"/>
                  </a:cubicBezTo>
                  <a:cubicBezTo>
                    <a:pt x="2015" y="211"/>
                    <a:pt x="2010" y="209"/>
                    <a:pt x="2011" y="205"/>
                  </a:cubicBezTo>
                  <a:cubicBezTo>
                    <a:pt x="2018" y="204"/>
                    <a:pt x="2021" y="206"/>
                    <a:pt x="2019" y="212"/>
                  </a:cubicBezTo>
                  <a:cubicBezTo>
                    <a:pt x="2024" y="212"/>
                    <a:pt x="2026" y="210"/>
                    <a:pt x="2027" y="207"/>
                  </a:cubicBezTo>
                  <a:cubicBezTo>
                    <a:pt x="2031" y="208"/>
                    <a:pt x="2032" y="211"/>
                    <a:pt x="2036" y="212"/>
                  </a:cubicBezTo>
                  <a:cubicBezTo>
                    <a:pt x="2039" y="212"/>
                    <a:pt x="2037" y="210"/>
                    <a:pt x="2038" y="209"/>
                  </a:cubicBezTo>
                  <a:cubicBezTo>
                    <a:pt x="2041" y="209"/>
                    <a:pt x="2045" y="214"/>
                    <a:pt x="2047" y="207"/>
                  </a:cubicBezTo>
                  <a:cubicBezTo>
                    <a:pt x="2051" y="208"/>
                    <a:pt x="2049" y="214"/>
                    <a:pt x="2058" y="211"/>
                  </a:cubicBezTo>
                  <a:cubicBezTo>
                    <a:pt x="2066" y="214"/>
                    <a:pt x="2050" y="214"/>
                    <a:pt x="2047" y="214"/>
                  </a:cubicBezTo>
                  <a:cubicBezTo>
                    <a:pt x="2047" y="220"/>
                    <a:pt x="2057" y="218"/>
                    <a:pt x="2060" y="221"/>
                  </a:cubicBezTo>
                  <a:cubicBezTo>
                    <a:pt x="2057" y="225"/>
                    <a:pt x="2054" y="221"/>
                    <a:pt x="2044" y="221"/>
                  </a:cubicBezTo>
                  <a:close/>
                  <a:moveTo>
                    <a:pt x="2063" y="221"/>
                  </a:moveTo>
                  <a:cubicBezTo>
                    <a:pt x="2063" y="218"/>
                    <a:pt x="2067" y="219"/>
                    <a:pt x="2069" y="218"/>
                  </a:cubicBezTo>
                  <a:cubicBezTo>
                    <a:pt x="2069" y="214"/>
                    <a:pt x="2069" y="210"/>
                    <a:pt x="2068" y="207"/>
                  </a:cubicBezTo>
                  <a:cubicBezTo>
                    <a:pt x="2080" y="203"/>
                    <a:pt x="2069" y="219"/>
                    <a:pt x="2077" y="218"/>
                  </a:cubicBezTo>
                  <a:cubicBezTo>
                    <a:pt x="2077" y="223"/>
                    <a:pt x="2067" y="219"/>
                    <a:pt x="2063" y="221"/>
                  </a:cubicBezTo>
                  <a:close/>
                  <a:moveTo>
                    <a:pt x="2074" y="239"/>
                  </a:moveTo>
                  <a:cubicBezTo>
                    <a:pt x="2073" y="239"/>
                    <a:pt x="2071" y="239"/>
                    <a:pt x="2069" y="239"/>
                  </a:cubicBezTo>
                  <a:cubicBezTo>
                    <a:pt x="2069" y="237"/>
                    <a:pt x="2069" y="235"/>
                    <a:pt x="2069" y="232"/>
                  </a:cubicBezTo>
                  <a:cubicBezTo>
                    <a:pt x="2073" y="232"/>
                    <a:pt x="2074" y="235"/>
                    <a:pt x="2077" y="235"/>
                  </a:cubicBezTo>
                  <a:cubicBezTo>
                    <a:pt x="2077" y="237"/>
                    <a:pt x="2074" y="237"/>
                    <a:pt x="2074" y="239"/>
                  </a:cubicBezTo>
                  <a:close/>
                  <a:moveTo>
                    <a:pt x="2200" y="66"/>
                  </a:moveTo>
                  <a:cubicBezTo>
                    <a:pt x="2203" y="68"/>
                    <a:pt x="2211" y="66"/>
                    <a:pt x="2209" y="72"/>
                  </a:cubicBezTo>
                  <a:cubicBezTo>
                    <a:pt x="2206" y="70"/>
                    <a:pt x="2199" y="72"/>
                    <a:pt x="2200" y="66"/>
                  </a:cubicBezTo>
                  <a:close/>
                  <a:moveTo>
                    <a:pt x="2184" y="71"/>
                  </a:moveTo>
                  <a:cubicBezTo>
                    <a:pt x="2184" y="72"/>
                    <a:pt x="2184" y="74"/>
                    <a:pt x="2184" y="75"/>
                  </a:cubicBezTo>
                  <a:cubicBezTo>
                    <a:pt x="2182" y="75"/>
                    <a:pt x="2180" y="75"/>
                    <a:pt x="2179" y="75"/>
                  </a:cubicBezTo>
                  <a:cubicBezTo>
                    <a:pt x="2179" y="74"/>
                    <a:pt x="2179" y="72"/>
                    <a:pt x="2179" y="71"/>
                  </a:cubicBezTo>
                  <a:cubicBezTo>
                    <a:pt x="2180" y="71"/>
                    <a:pt x="2182" y="71"/>
                    <a:pt x="2184" y="71"/>
                  </a:cubicBezTo>
                  <a:close/>
                  <a:moveTo>
                    <a:pt x="2180" y="132"/>
                  </a:moveTo>
                  <a:cubicBezTo>
                    <a:pt x="2179" y="136"/>
                    <a:pt x="2175" y="141"/>
                    <a:pt x="2174" y="144"/>
                  </a:cubicBezTo>
                  <a:cubicBezTo>
                    <a:pt x="2172" y="142"/>
                    <a:pt x="2170" y="141"/>
                    <a:pt x="2166" y="141"/>
                  </a:cubicBezTo>
                  <a:cubicBezTo>
                    <a:pt x="2162" y="135"/>
                    <a:pt x="2171" y="136"/>
                    <a:pt x="2171" y="132"/>
                  </a:cubicBezTo>
                  <a:cubicBezTo>
                    <a:pt x="2172" y="129"/>
                    <a:pt x="2177" y="130"/>
                    <a:pt x="2180" y="129"/>
                  </a:cubicBezTo>
                  <a:cubicBezTo>
                    <a:pt x="2180" y="127"/>
                    <a:pt x="2178" y="127"/>
                    <a:pt x="2177" y="127"/>
                  </a:cubicBezTo>
                  <a:cubicBezTo>
                    <a:pt x="2185" y="120"/>
                    <a:pt x="2181" y="128"/>
                    <a:pt x="2180" y="132"/>
                  </a:cubicBezTo>
                  <a:close/>
                  <a:moveTo>
                    <a:pt x="2183" y="174"/>
                  </a:moveTo>
                  <a:cubicBezTo>
                    <a:pt x="2180" y="173"/>
                    <a:pt x="2179" y="170"/>
                    <a:pt x="2175" y="169"/>
                  </a:cubicBezTo>
                  <a:cubicBezTo>
                    <a:pt x="2175" y="167"/>
                    <a:pt x="2178" y="168"/>
                    <a:pt x="2178" y="169"/>
                  </a:cubicBezTo>
                  <a:cubicBezTo>
                    <a:pt x="2180" y="169"/>
                    <a:pt x="2180" y="166"/>
                    <a:pt x="2180" y="165"/>
                  </a:cubicBezTo>
                  <a:cubicBezTo>
                    <a:pt x="2184" y="165"/>
                    <a:pt x="2183" y="170"/>
                    <a:pt x="2183" y="174"/>
                  </a:cubicBezTo>
                  <a:close/>
                  <a:moveTo>
                    <a:pt x="2177" y="120"/>
                  </a:moveTo>
                  <a:cubicBezTo>
                    <a:pt x="2176" y="125"/>
                    <a:pt x="2164" y="121"/>
                    <a:pt x="2166" y="116"/>
                  </a:cubicBezTo>
                  <a:cubicBezTo>
                    <a:pt x="2173" y="114"/>
                    <a:pt x="2171" y="120"/>
                    <a:pt x="2177" y="120"/>
                  </a:cubicBezTo>
                  <a:close/>
                  <a:moveTo>
                    <a:pt x="2166" y="108"/>
                  </a:moveTo>
                  <a:cubicBezTo>
                    <a:pt x="2166" y="108"/>
                    <a:pt x="2168" y="109"/>
                    <a:pt x="2168" y="108"/>
                  </a:cubicBezTo>
                  <a:cubicBezTo>
                    <a:pt x="2169" y="108"/>
                    <a:pt x="2169" y="102"/>
                    <a:pt x="2171" y="104"/>
                  </a:cubicBezTo>
                  <a:cubicBezTo>
                    <a:pt x="2179" y="111"/>
                    <a:pt x="2155" y="110"/>
                    <a:pt x="2166" y="108"/>
                  </a:cubicBezTo>
                  <a:close/>
                  <a:moveTo>
                    <a:pt x="2177" y="146"/>
                  </a:moveTo>
                  <a:cubicBezTo>
                    <a:pt x="2172" y="149"/>
                    <a:pt x="2177" y="160"/>
                    <a:pt x="2169" y="160"/>
                  </a:cubicBezTo>
                  <a:cubicBezTo>
                    <a:pt x="2171" y="162"/>
                    <a:pt x="2172" y="164"/>
                    <a:pt x="2172" y="167"/>
                  </a:cubicBezTo>
                  <a:cubicBezTo>
                    <a:pt x="2164" y="171"/>
                    <a:pt x="2163" y="152"/>
                    <a:pt x="2172" y="155"/>
                  </a:cubicBezTo>
                  <a:cubicBezTo>
                    <a:pt x="2171" y="151"/>
                    <a:pt x="2167" y="150"/>
                    <a:pt x="2161" y="151"/>
                  </a:cubicBezTo>
                  <a:cubicBezTo>
                    <a:pt x="2164" y="147"/>
                    <a:pt x="2170" y="146"/>
                    <a:pt x="2177" y="146"/>
                  </a:cubicBezTo>
                  <a:close/>
                  <a:moveTo>
                    <a:pt x="2164" y="205"/>
                  </a:moveTo>
                  <a:cubicBezTo>
                    <a:pt x="2165" y="200"/>
                    <a:pt x="2174" y="207"/>
                    <a:pt x="2173" y="212"/>
                  </a:cubicBezTo>
                  <a:cubicBezTo>
                    <a:pt x="2170" y="212"/>
                    <a:pt x="2167" y="212"/>
                    <a:pt x="2165" y="212"/>
                  </a:cubicBezTo>
                  <a:cubicBezTo>
                    <a:pt x="2166" y="210"/>
                    <a:pt x="2169" y="205"/>
                    <a:pt x="2164" y="205"/>
                  </a:cubicBezTo>
                  <a:close/>
                  <a:moveTo>
                    <a:pt x="2164" y="186"/>
                  </a:moveTo>
                  <a:cubicBezTo>
                    <a:pt x="2166" y="173"/>
                    <a:pt x="2181" y="193"/>
                    <a:pt x="2167" y="193"/>
                  </a:cubicBezTo>
                  <a:cubicBezTo>
                    <a:pt x="2167" y="191"/>
                    <a:pt x="2170" y="191"/>
                    <a:pt x="2170" y="188"/>
                  </a:cubicBezTo>
                  <a:cubicBezTo>
                    <a:pt x="2170" y="186"/>
                    <a:pt x="2166" y="187"/>
                    <a:pt x="2164" y="186"/>
                  </a:cubicBezTo>
                  <a:close/>
                  <a:moveTo>
                    <a:pt x="2154" y="99"/>
                  </a:moveTo>
                  <a:cubicBezTo>
                    <a:pt x="2166" y="98"/>
                    <a:pt x="2156" y="104"/>
                    <a:pt x="2157" y="109"/>
                  </a:cubicBezTo>
                  <a:cubicBezTo>
                    <a:pt x="2149" y="108"/>
                    <a:pt x="2150" y="117"/>
                    <a:pt x="2144" y="111"/>
                  </a:cubicBezTo>
                  <a:cubicBezTo>
                    <a:pt x="2145" y="106"/>
                    <a:pt x="2158" y="109"/>
                    <a:pt x="2154" y="99"/>
                  </a:cubicBezTo>
                  <a:close/>
                  <a:moveTo>
                    <a:pt x="2159" y="207"/>
                  </a:moveTo>
                  <a:cubicBezTo>
                    <a:pt x="2146" y="210"/>
                    <a:pt x="2154" y="195"/>
                    <a:pt x="2159" y="203"/>
                  </a:cubicBezTo>
                  <a:cubicBezTo>
                    <a:pt x="2159" y="204"/>
                    <a:pt x="2159" y="206"/>
                    <a:pt x="2159" y="207"/>
                  </a:cubicBezTo>
                  <a:close/>
                  <a:moveTo>
                    <a:pt x="2141" y="130"/>
                  </a:moveTo>
                  <a:cubicBezTo>
                    <a:pt x="2150" y="127"/>
                    <a:pt x="2143" y="138"/>
                    <a:pt x="2152" y="135"/>
                  </a:cubicBezTo>
                  <a:cubicBezTo>
                    <a:pt x="2150" y="139"/>
                    <a:pt x="2147" y="143"/>
                    <a:pt x="2139" y="142"/>
                  </a:cubicBezTo>
                  <a:cubicBezTo>
                    <a:pt x="2137" y="136"/>
                    <a:pt x="2144" y="137"/>
                    <a:pt x="2141" y="130"/>
                  </a:cubicBezTo>
                  <a:close/>
                  <a:moveTo>
                    <a:pt x="2115" y="189"/>
                  </a:moveTo>
                  <a:cubicBezTo>
                    <a:pt x="2120" y="183"/>
                    <a:pt x="2127" y="192"/>
                    <a:pt x="2134" y="187"/>
                  </a:cubicBezTo>
                  <a:cubicBezTo>
                    <a:pt x="2135" y="195"/>
                    <a:pt x="2119" y="190"/>
                    <a:pt x="2115" y="194"/>
                  </a:cubicBezTo>
                  <a:cubicBezTo>
                    <a:pt x="2117" y="192"/>
                    <a:pt x="2118" y="190"/>
                    <a:pt x="2115" y="189"/>
                  </a:cubicBezTo>
                  <a:close/>
                  <a:moveTo>
                    <a:pt x="2128" y="140"/>
                  </a:moveTo>
                  <a:cubicBezTo>
                    <a:pt x="2125" y="148"/>
                    <a:pt x="2122" y="137"/>
                    <a:pt x="2119" y="138"/>
                  </a:cubicBezTo>
                  <a:cubicBezTo>
                    <a:pt x="2114" y="135"/>
                    <a:pt x="2116" y="142"/>
                    <a:pt x="2114" y="142"/>
                  </a:cubicBezTo>
                  <a:cubicBezTo>
                    <a:pt x="2112" y="143"/>
                    <a:pt x="2108" y="139"/>
                    <a:pt x="2103" y="142"/>
                  </a:cubicBezTo>
                  <a:cubicBezTo>
                    <a:pt x="2103" y="140"/>
                    <a:pt x="2103" y="138"/>
                    <a:pt x="2103" y="135"/>
                  </a:cubicBezTo>
                  <a:cubicBezTo>
                    <a:pt x="2114" y="137"/>
                    <a:pt x="2112" y="136"/>
                    <a:pt x="2125" y="135"/>
                  </a:cubicBezTo>
                  <a:cubicBezTo>
                    <a:pt x="2124" y="138"/>
                    <a:pt x="2126" y="139"/>
                    <a:pt x="2128" y="140"/>
                  </a:cubicBezTo>
                  <a:close/>
                  <a:moveTo>
                    <a:pt x="2130" y="107"/>
                  </a:moveTo>
                  <a:cubicBezTo>
                    <a:pt x="2124" y="116"/>
                    <a:pt x="2136" y="115"/>
                    <a:pt x="2133" y="128"/>
                  </a:cubicBezTo>
                  <a:cubicBezTo>
                    <a:pt x="2130" y="128"/>
                    <a:pt x="2131" y="124"/>
                    <a:pt x="2130" y="121"/>
                  </a:cubicBezTo>
                  <a:cubicBezTo>
                    <a:pt x="2129" y="118"/>
                    <a:pt x="2117" y="107"/>
                    <a:pt x="2130" y="107"/>
                  </a:cubicBezTo>
                  <a:close/>
                  <a:moveTo>
                    <a:pt x="2111" y="107"/>
                  </a:moveTo>
                  <a:cubicBezTo>
                    <a:pt x="2110" y="110"/>
                    <a:pt x="2099" y="112"/>
                    <a:pt x="2111" y="112"/>
                  </a:cubicBezTo>
                  <a:cubicBezTo>
                    <a:pt x="2110" y="115"/>
                    <a:pt x="2106" y="114"/>
                    <a:pt x="2102" y="114"/>
                  </a:cubicBezTo>
                  <a:cubicBezTo>
                    <a:pt x="2098" y="107"/>
                    <a:pt x="2103" y="102"/>
                    <a:pt x="2111" y="107"/>
                  </a:cubicBezTo>
                  <a:close/>
                  <a:moveTo>
                    <a:pt x="2088" y="251"/>
                  </a:moveTo>
                  <a:cubicBezTo>
                    <a:pt x="2084" y="249"/>
                    <a:pt x="2081" y="243"/>
                    <a:pt x="2085" y="239"/>
                  </a:cubicBezTo>
                  <a:cubicBezTo>
                    <a:pt x="2091" y="239"/>
                    <a:pt x="2087" y="247"/>
                    <a:pt x="2088" y="251"/>
                  </a:cubicBezTo>
                  <a:close/>
                  <a:moveTo>
                    <a:pt x="2085" y="227"/>
                  </a:moveTo>
                  <a:cubicBezTo>
                    <a:pt x="2075" y="221"/>
                    <a:pt x="2088" y="214"/>
                    <a:pt x="2082" y="204"/>
                  </a:cubicBezTo>
                  <a:cubicBezTo>
                    <a:pt x="2085" y="205"/>
                    <a:pt x="2085" y="209"/>
                    <a:pt x="2090" y="209"/>
                  </a:cubicBezTo>
                  <a:cubicBezTo>
                    <a:pt x="2090" y="216"/>
                    <a:pt x="2083" y="218"/>
                    <a:pt x="2085" y="227"/>
                  </a:cubicBezTo>
                  <a:close/>
                  <a:moveTo>
                    <a:pt x="2103" y="168"/>
                  </a:moveTo>
                  <a:cubicBezTo>
                    <a:pt x="2105" y="169"/>
                    <a:pt x="2096" y="175"/>
                    <a:pt x="2093" y="171"/>
                  </a:cubicBezTo>
                  <a:cubicBezTo>
                    <a:pt x="2092" y="169"/>
                    <a:pt x="2102" y="167"/>
                    <a:pt x="2103" y="168"/>
                  </a:cubicBezTo>
                  <a:close/>
                  <a:moveTo>
                    <a:pt x="2095" y="293"/>
                  </a:moveTo>
                  <a:cubicBezTo>
                    <a:pt x="2095" y="289"/>
                    <a:pt x="2104" y="291"/>
                    <a:pt x="2103" y="286"/>
                  </a:cubicBezTo>
                  <a:cubicBezTo>
                    <a:pt x="2107" y="287"/>
                    <a:pt x="2105" y="293"/>
                    <a:pt x="2114" y="290"/>
                  </a:cubicBezTo>
                  <a:cubicBezTo>
                    <a:pt x="2108" y="295"/>
                    <a:pt x="2101" y="295"/>
                    <a:pt x="2095" y="293"/>
                  </a:cubicBezTo>
                  <a:close/>
                  <a:moveTo>
                    <a:pt x="2094" y="270"/>
                  </a:moveTo>
                  <a:cubicBezTo>
                    <a:pt x="2095" y="265"/>
                    <a:pt x="2098" y="271"/>
                    <a:pt x="2097" y="274"/>
                  </a:cubicBezTo>
                  <a:cubicBezTo>
                    <a:pt x="2096" y="279"/>
                    <a:pt x="2094" y="273"/>
                    <a:pt x="2094" y="270"/>
                  </a:cubicBezTo>
                  <a:close/>
                  <a:moveTo>
                    <a:pt x="2102" y="225"/>
                  </a:moveTo>
                  <a:cubicBezTo>
                    <a:pt x="2094" y="222"/>
                    <a:pt x="2109" y="208"/>
                    <a:pt x="2102" y="225"/>
                  </a:cubicBezTo>
                  <a:close/>
                  <a:moveTo>
                    <a:pt x="2110" y="218"/>
                  </a:moveTo>
                  <a:cubicBezTo>
                    <a:pt x="2117" y="218"/>
                    <a:pt x="2111" y="226"/>
                    <a:pt x="2110" y="227"/>
                  </a:cubicBezTo>
                  <a:cubicBezTo>
                    <a:pt x="2102" y="226"/>
                    <a:pt x="2112" y="222"/>
                    <a:pt x="2110" y="218"/>
                  </a:cubicBezTo>
                  <a:close/>
                  <a:moveTo>
                    <a:pt x="2119" y="281"/>
                  </a:moveTo>
                  <a:cubicBezTo>
                    <a:pt x="2117" y="288"/>
                    <a:pt x="2115" y="277"/>
                    <a:pt x="2116" y="274"/>
                  </a:cubicBezTo>
                  <a:cubicBezTo>
                    <a:pt x="2113" y="277"/>
                    <a:pt x="2112" y="275"/>
                    <a:pt x="2108" y="274"/>
                  </a:cubicBezTo>
                  <a:cubicBezTo>
                    <a:pt x="2110" y="272"/>
                    <a:pt x="2114" y="271"/>
                    <a:pt x="2113" y="267"/>
                  </a:cubicBezTo>
                  <a:cubicBezTo>
                    <a:pt x="2118" y="269"/>
                    <a:pt x="2120" y="274"/>
                    <a:pt x="2119" y="281"/>
                  </a:cubicBezTo>
                  <a:close/>
                  <a:moveTo>
                    <a:pt x="2121" y="246"/>
                  </a:moveTo>
                  <a:cubicBezTo>
                    <a:pt x="2121" y="246"/>
                    <a:pt x="2116" y="243"/>
                    <a:pt x="2116" y="243"/>
                  </a:cubicBezTo>
                  <a:cubicBezTo>
                    <a:pt x="2116" y="240"/>
                    <a:pt x="2120" y="243"/>
                    <a:pt x="2121" y="241"/>
                  </a:cubicBezTo>
                  <a:cubicBezTo>
                    <a:pt x="2121" y="240"/>
                    <a:pt x="2122" y="234"/>
                    <a:pt x="2124" y="236"/>
                  </a:cubicBezTo>
                  <a:cubicBezTo>
                    <a:pt x="2124" y="237"/>
                    <a:pt x="2121" y="245"/>
                    <a:pt x="2121" y="246"/>
                  </a:cubicBezTo>
                  <a:close/>
                  <a:moveTo>
                    <a:pt x="2115" y="217"/>
                  </a:moveTo>
                  <a:cubicBezTo>
                    <a:pt x="2117" y="212"/>
                    <a:pt x="2129" y="216"/>
                    <a:pt x="2126" y="222"/>
                  </a:cubicBezTo>
                  <a:cubicBezTo>
                    <a:pt x="2122" y="221"/>
                    <a:pt x="2119" y="219"/>
                    <a:pt x="2115" y="217"/>
                  </a:cubicBezTo>
                  <a:close/>
                  <a:moveTo>
                    <a:pt x="2122" y="276"/>
                  </a:moveTo>
                  <a:cubicBezTo>
                    <a:pt x="2122" y="272"/>
                    <a:pt x="2126" y="271"/>
                    <a:pt x="2133" y="271"/>
                  </a:cubicBezTo>
                  <a:cubicBezTo>
                    <a:pt x="2132" y="275"/>
                    <a:pt x="2128" y="277"/>
                    <a:pt x="2122" y="276"/>
                  </a:cubicBezTo>
                  <a:close/>
                  <a:moveTo>
                    <a:pt x="2129" y="243"/>
                  </a:moveTo>
                  <a:cubicBezTo>
                    <a:pt x="2129" y="241"/>
                    <a:pt x="2129" y="240"/>
                    <a:pt x="2129" y="238"/>
                  </a:cubicBezTo>
                  <a:cubicBezTo>
                    <a:pt x="2131" y="238"/>
                    <a:pt x="2133" y="238"/>
                    <a:pt x="2135" y="238"/>
                  </a:cubicBezTo>
                  <a:cubicBezTo>
                    <a:pt x="2135" y="240"/>
                    <a:pt x="2135" y="241"/>
                    <a:pt x="2135" y="243"/>
                  </a:cubicBezTo>
                  <a:cubicBezTo>
                    <a:pt x="2133" y="243"/>
                    <a:pt x="2131" y="243"/>
                    <a:pt x="2129" y="243"/>
                  </a:cubicBezTo>
                  <a:close/>
                  <a:moveTo>
                    <a:pt x="2134" y="210"/>
                  </a:moveTo>
                  <a:cubicBezTo>
                    <a:pt x="2132" y="212"/>
                    <a:pt x="2130" y="212"/>
                    <a:pt x="2126" y="213"/>
                  </a:cubicBezTo>
                  <a:cubicBezTo>
                    <a:pt x="2126" y="213"/>
                    <a:pt x="2126" y="210"/>
                    <a:pt x="2126" y="210"/>
                  </a:cubicBezTo>
                  <a:cubicBezTo>
                    <a:pt x="2124" y="211"/>
                    <a:pt x="2124" y="213"/>
                    <a:pt x="2123" y="213"/>
                  </a:cubicBezTo>
                  <a:cubicBezTo>
                    <a:pt x="2121" y="213"/>
                    <a:pt x="2120" y="210"/>
                    <a:pt x="2121" y="210"/>
                  </a:cubicBezTo>
                  <a:cubicBezTo>
                    <a:pt x="2121" y="210"/>
                    <a:pt x="2113" y="212"/>
                    <a:pt x="2112" y="213"/>
                  </a:cubicBezTo>
                  <a:cubicBezTo>
                    <a:pt x="2110" y="215"/>
                    <a:pt x="2112" y="213"/>
                    <a:pt x="2101" y="213"/>
                  </a:cubicBezTo>
                  <a:cubicBezTo>
                    <a:pt x="2103" y="207"/>
                    <a:pt x="2100" y="205"/>
                    <a:pt x="2093" y="206"/>
                  </a:cubicBezTo>
                  <a:cubicBezTo>
                    <a:pt x="2092" y="203"/>
                    <a:pt x="2097" y="205"/>
                    <a:pt x="2099" y="204"/>
                  </a:cubicBezTo>
                  <a:cubicBezTo>
                    <a:pt x="2103" y="199"/>
                    <a:pt x="2097" y="191"/>
                    <a:pt x="2107" y="192"/>
                  </a:cubicBezTo>
                  <a:cubicBezTo>
                    <a:pt x="2101" y="197"/>
                    <a:pt x="2105" y="205"/>
                    <a:pt x="2107" y="211"/>
                  </a:cubicBezTo>
                  <a:cubicBezTo>
                    <a:pt x="2112" y="208"/>
                    <a:pt x="2122" y="210"/>
                    <a:pt x="2121" y="203"/>
                  </a:cubicBezTo>
                  <a:cubicBezTo>
                    <a:pt x="2123" y="205"/>
                    <a:pt x="2125" y="207"/>
                    <a:pt x="2126" y="210"/>
                  </a:cubicBezTo>
                  <a:cubicBezTo>
                    <a:pt x="2130" y="206"/>
                    <a:pt x="2135" y="204"/>
                    <a:pt x="2134" y="196"/>
                  </a:cubicBezTo>
                  <a:cubicBezTo>
                    <a:pt x="2138" y="196"/>
                    <a:pt x="2135" y="203"/>
                    <a:pt x="2140" y="203"/>
                  </a:cubicBezTo>
                  <a:cubicBezTo>
                    <a:pt x="2138" y="205"/>
                    <a:pt x="2133" y="206"/>
                    <a:pt x="2134" y="210"/>
                  </a:cubicBezTo>
                  <a:close/>
                  <a:moveTo>
                    <a:pt x="2144" y="285"/>
                  </a:moveTo>
                  <a:cubicBezTo>
                    <a:pt x="2139" y="283"/>
                    <a:pt x="2136" y="275"/>
                    <a:pt x="2141" y="271"/>
                  </a:cubicBezTo>
                  <a:cubicBezTo>
                    <a:pt x="2147" y="271"/>
                    <a:pt x="2142" y="281"/>
                    <a:pt x="2144" y="285"/>
                  </a:cubicBezTo>
                  <a:close/>
                  <a:moveTo>
                    <a:pt x="2143" y="215"/>
                  </a:moveTo>
                  <a:cubicBezTo>
                    <a:pt x="2146" y="216"/>
                    <a:pt x="2148" y="218"/>
                    <a:pt x="2148" y="222"/>
                  </a:cubicBezTo>
                  <a:cubicBezTo>
                    <a:pt x="2145" y="221"/>
                    <a:pt x="2143" y="219"/>
                    <a:pt x="2143" y="215"/>
                  </a:cubicBezTo>
                  <a:close/>
                  <a:moveTo>
                    <a:pt x="2147" y="156"/>
                  </a:moveTo>
                  <a:cubicBezTo>
                    <a:pt x="2143" y="154"/>
                    <a:pt x="2148" y="152"/>
                    <a:pt x="2144" y="146"/>
                  </a:cubicBezTo>
                  <a:cubicBezTo>
                    <a:pt x="2154" y="144"/>
                    <a:pt x="2150" y="154"/>
                    <a:pt x="2155" y="156"/>
                  </a:cubicBezTo>
                  <a:cubicBezTo>
                    <a:pt x="2154" y="159"/>
                    <a:pt x="2151" y="156"/>
                    <a:pt x="2150" y="153"/>
                  </a:cubicBezTo>
                  <a:cubicBezTo>
                    <a:pt x="2147" y="153"/>
                    <a:pt x="2147" y="154"/>
                    <a:pt x="2147" y="156"/>
                  </a:cubicBezTo>
                  <a:close/>
                  <a:moveTo>
                    <a:pt x="2157" y="250"/>
                  </a:moveTo>
                  <a:cubicBezTo>
                    <a:pt x="2153" y="249"/>
                    <a:pt x="2156" y="243"/>
                    <a:pt x="2151" y="243"/>
                  </a:cubicBezTo>
                  <a:cubicBezTo>
                    <a:pt x="2153" y="240"/>
                    <a:pt x="2158" y="240"/>
                    <a:pt x="2157" y="236"/>
                  </a:cubicBezTo>
                  <a:cubicBezTo>
                    <a:pt x="2164" y="238"/>
                    <a:pt x="2156" y="246"/>
                    <a:pt x="2157" y="250"/>
                  </a:cubicBezTo>
                  <a:close/>
                  <a:moveTo>
                    <a:pt x="2159" y="221"/>
                  </a:moveTo>
                  <a:cubicBezTo>
                    <a:pt x="2160" y="224"/>
                    <a:pt x="2159" y="236"/>
                    <a:pt x="2157" y="228"/>
                  </a:cubicBezTo>
                  <a:cubicBezTo>
                    <a:pt x="2157" y="224"/>
                    <a:pt x="2156" y="219"/>
                    <a:pt x="2156" y="214"/>
                  </a:cubicBezTo>
                  <a:cubicBezTo>
                    <a:pt x="2160" y="214"/>
                    <a:pt x="2164" y="214"/>
                    <a:pt x="2167" y="214"/>
                  </a:cubicBezTo>
                  <a:cubicBezTo>
                    <a:pt x="2168" y="219"/>
                    <a:pt x="2165" y="222"/>
                    <a:pt x="2159" y="221"/>
                  </a:cubicBezTo>
                  <a:close/>
                  <a:moveTo>
                    <a:pt x="2168" y="273"/>
                  </a:moveTo>
                  <a:cubicBezTo>
                    <a:pt x="2171" y="274"/>
                    <a:pt x="2173" y="275"/>
                    <a:pt x="2177" y="275"/>
                  </a:cubicBezTo>
                  <a:cubicBezTo>
                    <a:pt x="2176" y="284"/>
                    <a:pt x="2173" y="284"/>
                    <a:pt x="2177" y="292"/>
                  </a:cubicBezTo>
                  <a:cubicBezTo>
                    <a:pt x="2165" y="293"/>
                    <a:pt x="2169" y="281"/>
                    <a:pt x="2168" y="273"/>
                  </a:cubicBezTo>
                  <a:close/>
                  <a:moveTo>
                    <a:pt x="2174" y="273"/>
                  </a:moveTo>
                  <a:cubicBezTo>
                    <a:pt x="2174" y="271"/>
                    <a:pt x="2174" y="270"/>
                    <a:pt x="2174" y="268"/>
                  </a:cubicBezTo>
                  <a:cubicBezTo>
                    <a:pt x="2176" y="268"/>
                    <a:pt x="2177" y="268"/>
                    <a:pt x="2179" y="268"/>
                  </a:cubicBezTo>
                  <a:cubicBezTo>
                    <a:pt x="2179" y="270"/>
                    <a:pt x="2179" y="271"/>
                    <a:pt x="2179" y="273"/>
                  </a:cubicBezTo>
                  <a:cubicBezTo>
                    <a:pt x="2177" y="273"/>
                    <a:pt x="2176" y="273"/>
                    <a:pt x="2174" y="273"/>
                  </a:cubicBezTo>
                  <a:close/>
                  <a:moveTo>
                    <a:pt x="2170" y="217"/>
                  </a:moveTo>
                  <a:cubicBezTo>
                    <a:pt x="2171" y="213"/>
                    <a:pt x="2177" y="214"/>
                    <a:pt x="2181" y="214"/>
                  </a:cubicBezTo>
                  <a:cubicBezTo>
                    <a:pt x="2180" y="219"/>
                    <a:pt x="2174" y="220"/>
                    <a:pt x="2170" y="217"/>
                  </a:cubicBezTo>
                  <a:close/>
                  <a:moveTo>
                    <a:pt x="2181" y="197"/>
                  </a:moveTo>
                  <a:cubicBezTo>
                    <a:pt x="2173" y="193"/>
                    <a:pt x="2182" y="183"/>
                    <a:pt x="2183" y="179"/>
                  </a:cubicBezTo>
                  <a:cubicBezTo>
                    <a:pt x="2189" y="182"/>
                    <a:pt x="2180" y="191"/>
                    <a:pt x="2181" y="197"/>
                  </a:cubicBezTo>
                  <a:close/>
                  <a:moveTo>
                    <a:pt x="2188" y="136"/>
                  </a:moveTo>
                  <a:cubicBezTo>
                    <a:pt x="2190" y="136"/>
                    <a:pt x="2192" y="136"/>
                    <a:pt x="2193" y="136"/>
                  </a:cubicBezTo>
                  <a:cubicBezTo>
                    <a:pt x="2195" y="141"/>
                    <a:pt x="2190" y="141"/>
                    <a:pt x="2185" y="141"/>
                  </a:cubicBezTo>
                  <a:cubicBezTo>
                    <a:pt x="2186" y="139"/>
                    <a:pt x="2188" y="139"/>
                    <a:pt x="2188" y="136"/>
                  </a:cubicBezTo>
                  <a:close/>
                  <a:moveTo>
                    <a:pt x="2189" y="204"/>
                  </a:moveTo>
                  <a:cubicBezTo>
                    <a:pt x="2188" y="209"/>
                    <a:pt x="2186" y="203"/>
                    <a:pt x="2186" y="200"/>
                  </a:cubicBezTo>
                  <a:cubicBezTo>
                    <a:pt x="2187" y="195"/>
                    <a:pt x="2190" y="201"/>
                    <a:pt x="2189" y="204"/>
                  </a:cubicBezTo>
                  <a:close/>
                  <a:moveTo>
                    <a:pt x="2189" y="214"/>
                  </a:moveTo>
                  <a:cubicBezTo>
                    <a:pt x="2194" y="213"/>
                    <a:pt x="2194" y="216"/>
                    <a:pt x="2198" y="216"/>
                  </a:cubicBezTo>
                  <a:cubicBezTo>
                    <a:pt x="2195" y="223"/>
                    <a:pt x="2195" y="223"/>
                    <a:pt x="2198" y="230"/>
                  </a:cubicBezTo>
                  <a:cubicBezTo>
                    <a:pt x="2190" y="229"/>
                    <a:pt x="2193" y="219"/>
                    <a:pt x="2189" y="214"/>
                  </a:cubicBezTo>
                  <a:close/>
                  <a:moveTo>
                    <a:pt x="2191" y="148"/>
                  </a:moveTo>
                  <a:cubicBezTo>
                    <a:pt x="2192" y="145"/>
                    <a:pt x="2198" y="146"/>
                    <a:pt x="2202" y="145"/>
                  </a:cubicBezTo>
                  <a:cubicBezTo>
                    <a:pt x="2201" y="137"/>
                    <a:pt x="2204" y="132"/>
                    <a:pt x="2213" y="131"/>
                  </a:cubicBezTo>
                  <a:cubicBezTo>
                    <a:pt x="2207" y="140"/>
                    <a:pt x="2204" y="142"/>
                    <a:pt x="2207" y="155"/>
                  </a:cubicBezTo>
                  <a:cubicBezTo>
                    <a:pt x="2200" y="155"/>
                    <a:pt x="2204" y="153"/>
                    <a:pt x="2205" y="150"/>
                  </a:cubicBezTo>
                  <a:cubicBezTo>
                    <a:pt x="2200" y="145"/>
                    <a:pt x="2198" y="152"/>
                    <a:pt x="2191" y="148"/>
                  </a:cubicBezTo>
                  <a:close/>
                  <a:moveTo>
                    <a:pt x="2214" y="220"/>
                  </a:moveTo>
                  <a:cubicBezTo>
                    <a:pt x="2205" y="222"/>
                    <a:pt x="2213" y="209"/>
                    <a:pt x="2203" y="211"/>
                  </a:cubicBezTo>
                  <a:cubicBezTo>
                    <a:pt x="2203" y="208"/>
                    <a:pt x="2208" y="209"/>
                    <a:pt x="2211" y="209"/>
                  </a:cubicBezTo>
                  <a:cubicBezTo>
                    <a:pt x="2209" y="215"/>
                    <a:pt x="2215" y="215"/>
                    <a:pt x="2214" y="220"/>
                  </a:cubicBezTo>
                  <a:close/>
                  <a:moveTo>
                    <a:pt x="2211" y="202"/>
                  </a:moveTo>
                  <a:cubicBezTo>
                    <a:pt x="2208" y="201"/>
                    <a:pt x="2206" y="202"/>
                    <a:pt x="2206" y="204"/>
                  </a:cubicBezTo>
                  <a:cubicBezTo>
                    <a:pt x="2201" y="203"/>
                    <a:pt x="2207" y="201"/>
                    <a:pt x="2206" y="197"/>
                  </a:cubicBezTo>
                  <a:cubicBezTo>
                    <a:pt x="2209" y="201"/>
                    <a:pt x="2217" y="200"/>
                    <a:pt x="2217" y="206"/>
                  </a:cubicBezTo>
                  <a:cubicBezTo>
                    <a:pt x="2214" y="205"/>
                    <a:pt x="2212" y="204"/>
                    <a:pt x="2211" y="202"/>
                  </a:cubicBezTo>
                  <a:close/>
                  <a:moveTo>
                    <a:pt x="2222" y="223"/>
                  </a:moveTo>
                  <a:cubicBezTo>
                    <a:pt x="2219" y="222"/>
                    <a:pt x="2220" y="217"/>
                    <a:pt x="2219" y="213"/>
                  </a:cubicBezTo>
                  <a:cubicBezTo>
                    <a:pt x="2222" y="213"/>
                    <a:pt x="2225" y="213"/>
                    <a:pt x="2228" y="213"/>
                  </a:cubicBezTo>
                  <a:cubicBezTo>
                    <a:pt x="2231" y="221"/>
                    <a:pt x="2219" y="215"/>
                    <a:pt x="2222" y="223"/>
                  </a:cubicBezTo>
                  <a:close/>
                  <a:moveTo>
                    <a:pt x="2233" y="187"/>
                  </a:moveTo>
                  <a:cubicBezTo>
                    <a:pt x="2235" y="187"/>
                    <a:pt x="2236" y="187"/>
                    <a:pt x="2238" y="187"/>
                  </a:cubicBezTo>
                  <a:cubicBezTo>
                    <a:pt x="2240" y="192"/>
                    <a:pt x="2234" y="192"/>
                    <a:pt x="2230" y="192"/>
                  </a:cubicBezTo>
                  <a:cubicBezTo>
                    <a:pt x="2231" y="190"/>
                    <a:pt x="2233" y="190"/>
                    <a:pt x="2233" y="187"/>
                  </a:cubicBezTo>
                  <a:close/>
                  <a:moveTo>
                    <a:pt x="2236" y="225"/>
                  </a:moveTo>
                  <a:cubicBezTo>
                    <a:pt x="2234" y="223"/>
                    <a:pt x="2230" y="215"/>
                    <a:pt x="2230" y="208"/>
                  </a:cubicBezTo>
                  <a:cubicBezTo>
                    <a:pt x="2230" y="207"/>
                    <a:pt x="2235" y="207"/>
                    <a:pt x="2236" y="206"/>
                  </a:cubicBezTo>
                  <a:cubicBezTo>
                    <a:pt x="2237" y="205"/>
                    <a:pt x="2232" y="201"/>
                    <a:pt x="2236" y="199"/>
                  </a:cubicBezTo>
                  <a:cubicBezTo>
                    <a:pt x="2244" y="199"/>
                    <a:pt x="2230" y="217"/>
                    <a:pt x="2239" y="211"/>
                  </a:cubicBezTo>
                  <a:cubicBezTo>
                    <a:pt x="2247" y="214"/>
                    <a:pt x="2234" y="219"/>
                    <a:pt x="2236" y="225"/>
                  </a:cubicBezTo>
                  <a:close/>
                  <a:moveTo>
                    <a:pt x="2264" y="104"/>
                  </a:moveTo>
                  <a:cubicBezTo>
                    <a:pt x="2271" y="105"/>
                    <a:pt x="2267" y="115"/>
                    <a:pt x="2259" y="112"/>
                  </a:cubicBezTo>
                  <a:cubicBezTo>
                    <a:pt x="2261" y="109"/>
                    <a:pt x="2265" y="109"/>
                    <a:pt x="2264" y="104"/>
                  </a:cubicBezTo>
                  <a:close/>
                  <a:moveTo>
                    <a:pt x="2267" y="128"/>
                  </a:moveTo>
                  <a:cubicBezTo>
                    <a:pt x="2277" y="126"/>
                    <a:pt x="2268" y="138"/>
                    <a:pt x="2265" y="135"/>
                  </a:cubicBezTo>
                  <a:cubicBezTo>
                    <a:pt x="2265" y="135"/>
                    <a:pt x="2267" y="130"/>
                    <a:pt x="2267" y="130"/>
                  </a:cubicBezTo>
                  <a:cubicBezTo>
                    <a:pt x="2268" y="130"/>
                    <a:pt x="2267" y="128"/>
                    <a:pt x="2267" y="128"/>
                  </a:cubicBezTo>
                  <a:close/>
                  <a:moveTo>
                    <a:pt x="2265" y="121"/>
                  </a:moveTo>
                  <a:cubicBezTo>
                    <a:pt x="2266" y="120"/>
                    <a:pt x="2256" y="119"/>
                    <a:pt x="2256" y="119"/>
                  </a:cubicBezTo>
                  <a:cubicBezTo>
                    <a:pt x="2255" y="115"/>
                    <a:pt x="2271" y="115"/>
                    <a:pt x="2265" y="121"/>
                  </a:cubicBezTo>
                  <a:close/>
                  <a:moveTo>
                    <a:pt x="2243" y="135"/>
                  </a:moveTo>
                  <a:cubicBezTo>
                    <a:pt x="2245" y="134"/>
                    <a:pt x="2245" y="138"/>
                    <a:pt x="2246" y="138"/>
                  </a:cubicBezTo>
                  <a:cubicBezTo>
                    <a:pt x="2248" y="138"/>
                    <a:pt x="2248" y="135"/>
                    <a:pt x="2248" y="135"/>
                  </a:cubicBezTo>
                  <a:cubicBezTo>
                    <a:pt x="2252" y="135"/>
                    <a:pt x="2258" y="140"/>
                    <a:pt x="2259" y="135"/>
                  </a:cubicBezTo>
                  <a:cubicBezTo>
                    <a:pt x="2255" y="132"/>
                    <a:pt x="2259" y="134"/>
                    <a:pt x="2262" y="135"/>
                  </a:cubicBezTo>
                  <a:cubicBezTo>
                    <a:pt x="2261" y="135"/>
                    <a:pt x="2260" y="139"/>
                    <a:pt x="2259" y="140"/>
                  </a:cubicBezTo>
                  <a:cubicBezTo>
                    <a:pt x="2256" y="141"/>
                    <a:pt x="2255" y="137"/>
                    <a:pt x="2254" y="137"/>
                  </a:cubicBezTo>
                  <a:cubicBezTo>
                    <a:pt x="2249" y="138"/>
                    <a:pt x="2241" y="144"/>
                    <a:pt x="2243" y="135"/>
                  </a:cubicBezTo>
                  <a:close/>
                  <a:moveTo>
                    <a:pt x="2247" y="220"/>
                  </a:moveTo>
                  <a:cubicBezTo>
                    <a:pt x="2252" y="215"/>
                    <a:pt x="2247" y="217"/>
                    <a:pt x="2247" y="210"/>
                  </a:cubicBezTo>
                  <a:cubicBezTo>
                    <a:pt x="2256" y="210"/>
                    <a:pt x="2258" y="221"/>
                    <a:pt x="2247" y="220"/>
                  </a:cubicBezTo>
                  <a:close/>
                  <a:moveTo>
                    <a:pt x="2244" y="192"/>
                  </a:moveTo>
                  <a:cubicBezTo>
                    <a:pt x="2237" y="190"/>
                    <a:pt x="2252" y="187"/>
                    <a:pt x="2257" y="187"/>
                  </a:cubicBezTo>
                  <a:cubicBezTo>
                    <a:pt x="2255" y="190"/>
                    <a:pt x="2249" y="190"/>
                    <a:pt x="2244" y="192"/>
                  </a:cubicBezTo>
                  <a:close/>
                  <a:moveTo>
                    <a:pt x="2249" y="182"/>
                  </a:moveTo>
                  <a:cubicBezTo>
                    <a:pt x="2251" y="180"/>
                    <a:pt x="2252" y="178"/>
                    <a:pt x="2252" y="175"/>
                  </a:cubicBezTo>
                  <a:cubicBezTo>
                    <a:pt x="2255" y="175"/>
                    <a:pt x="2257" y="175"/>
                    <a:pt x="2260" y="175"/>
                  </a:cubicBezTo>
                  <a:cubicBezTo>
                    <a:pt x="2258" y="178"/>
                    <a:pt x="2256" y="183"/>
                    <a:pt x="2249" y="182"/>
                  </a:cubicBezTo>
                  <a:close/>
                  <a:moveTo>
                    <a:pt x="2261" y="227"/>
                  </a:moveTo>
                  <a:cubicBezTo>
                    <a:pt x="2261" y="221"/>
                    <a:pt x="2266" y="230"/>
                    <a:pt x="2272" y="226"/>
                  </a:cubicBezTo>
                  <a:cubicBezTo>
                    <a:pt x="2272" y="232"/>
                    <a:pt x="2263" y="227"/>
                    <a:pt x="2261" y="227"/>
                  </a:cubicBezTo>
                  <a:close/>
                  <a:moveTo>
                    <a:pt x="2269" y="234"/>
                  </a:moveTo>
                  <a:cubicBezTo>
                    <a:pt x="2281" y="234"/>
                    <a:pt x="2267" y="247"/>
                    <a:pt x="2269" y="234"/>
                  </a:cubicBezTo>
                  <a:close/>
                  <a:moveTo>
                    <a:pt x="2273" y="109"/>
                  </a:moveTo>
                  <a:cubicBezTo>
                    <a:pt x="2269" y="106"/>
                    <a:pt x="2266" y="97"/>
                    <a:pt x="2269" y="95"/>
                  </a:cubicBezTo>
                  <a:cubicBezTo>
                    <a:pt x="2273" y="98"/>
                    <a:pt x="2276" y="106"/>
                    <a:pt x="2273" y="109"/>
                  </a:cubicBezTo>
                  <a:close/>
                  <a:moveTo>
                    <a:pt x="2886" y="232"/>
                  </a:moveTo>
                  <a:cubicBezTo>
                    <a:pt x="2880" y="240"/>
                    <a:pt x="2873" y="226"/>
                    <a:pt x="2886" y="232"/>
                  </a:cubicBezTo>
                  <a:close/>
                  <a:moveTo>
                    <a:pt x="2865" y="263"/>
                  </a:moveTo>
                  <a:cubicBezTo>
                    <a:pt x="2870" y="263"/>
                    <a:pt x="2871" y="266"/>
                    <a:pt x="2876" y="265"/>
                  </a:cubicBezTo>
                  <a:cubicBezTo>
                    <a:pt x="2877" y="269"/>
                    <a:pt x="2861" y="270"/>
                    <a:pt x="2865" y="263"/>
                  </a:cubicBezTo>
                  <a:close/>
                  <a:moveTo>
                    <a:pt x="2865" y="230"/>
                  </a:moveTo>
                  <a:cubicBezTo>
                    <a:pt x="2876" y="227"/>
                    <a:pt x="2872" y="238"/>
                    <a:pt x="2878" y="239"/>
                  </a:cubicBezTo>
                  <a:cubicBezTo>
                    <a:pt x="2877" y="243"/>
                    <a:pt x="2872" y="241"/>
                    <a:pt x="2873" y="237"/>
                  </a:cubicBezTo>
                  <a:cubicBezTo>
                    <a:pt x="2865" y="239"/>
                    <a:pt x="2875" y="246"/>
                    <a:pt x="2879" y="246"/>
                  </a:cubicBezTo>
                  <a:cubicBezTo>
                    <a:pt x="2876" y="250"/>
                    <a:pt x="2877" y="256"/>
                    <a:pt x="2868" y="254"/>
                  </a:cubicBezTo>
                  <a:cubicBezTo>
                    <a:pt x="2866" y="252"/>
                    <a:pt x="2873" y="249"/>
                    <a:pt x="2873" y="249"/>
                  </a:cubicBezTo>
                  <a:cubicBezTo>
                    <a:pt x="2873" y="246"/>
                    <a:pt x="2869" y="248"/>
                    <a:pt x="2867" y="247"/>
                  </a:cubicBezTo>
                  <a:cubicBezTo>
                    <a:pt x="2867" y="246"/>
                    <a:pt x="2868" y="243"/>
                    <a:pt x="2867" y="242"/>
                  </a:cubicBezTo>
                  <a:cubicBezTo>
                    <a:pt x="2866" y="241"/>
                    <a:pt x="2863" y="237"/>
                    <a:pt x="2865" y="230"/>
                  </a:cubicBezTo>
                  <a:close/>
                  <a:moveTo>
                    <a:pt x="2862" y="247"/>
                  </a:moveTo>
                  <a:cubicBezTo>
                    <a:pt x="2860" y="251"/>
                    <a:pt x="2859" y="245"/>
                    <a:pt x="2859" y="242"/>
                  </a:cubicBezTo>
                  <a:cubicBezTo>
                    <a:pt x="2851" y="239"/>
                    <a:pt x="2866" y="240"/>
                    <a:pt x="2862" y="247"/>
                  </a:cubicBezTo>
                  <a:close/>
                  <a:moveTo>
                    <a:pt x="2869" y="193"/>
                  </a:moveTo>
                  <a:cubicBezTo>
                    <a:pt x="2871" y="190"/>
                    <a:pt x="2873" y="188"/>
                    <a:pt x="2869" y="188"/>
                  </a:cubicBezTo>
                  <a:cubicBezTo>
                    <a:pt x="2872" y="178"/>
                    <a:pt x="2881" y="196"/>
                    <a:pt x="2869" y="193"/>
                  </a:cubicBezTo>
                  <a:close/>
                  <a:moveTo>
                    <a:pt x="2872" y="160"/>
                  </a:moveTo>
                  <a:cubicBezTo>
                    <a:pt x="2866" y="156"/>
                    <a:pt x="2868" y="160"/>
                    <a:pt x="2861" y="160"/>
                  </a:cubicBezTo>
                  <a:cubicBezTo>
                    <a:pt x="2860" y="158"/>
                    <a:pt x="2862" y="158"/>
                    <a:pt x="2863" y="157"/>
                  </a:cubicBezTo>
                  <a:cubicBezTo>
                    <a:pt x="2863" y="155"/>
                    <a:pt x="2860" y="156"/>
                    <a:pt x="2858" y="155"/>
                  </a:cubicBezTo>
                  <a:cubicBezTo>
                    <a:pt x="2859" y="147"/>
                    <a:pt x="2872" y="152"/>
                    <a:pt x="2872" y="160"/>
                  </a:cubicBezTo>
                  <a:close/>
                  <a:moveTo>
                    <a:pt x="2705" y="221"/>
                  </a:moveTo>
                  <a:cubicBezTo>
                    <a:pt x="2707" y="221"/>
                    <a:pt x="2709" y="221"/>
                    <a:pt x="2711" y="221"/>
                  </a:cubicBezTo>
                  <a:cubicBezTo>
                    <a:pt x="2711" y="223"/>
                    <a:pt x="2711" y="224"/>
                    <a:pt x="2711" y="226"/>
                  </a:cubicBezTo>
                  <a:cubicBezTo>
                    <a:pt x="2709" y="226"/>
                    <a:pt x="2707" y="226"/>
                    <a:pt x="2705" y="226"/>
                  </a:cubicBezTo>
                  <a:cubicBezTo>
                    <a:pt x="2705" y="224"/>
                    <a:pt x="2705" y="223"/>
                    <a:pt x="2705" y="221"/>
                  </a:cubicBezTo>
                  <a:close/>
                  <a:moveTo>
                    <a:pt x="2714" y="245"/>
                  </a:moveTo>
                  <a:cubicBezTo>
                    <a:pt x="2718" y="236"/>
                    <a:pt x="2706" y="240"/>
                    <a:pt x="2708" y="233"/>
                  </a:cubicBezTo>
                  <a:cubicBezTo>
                    <a:pt x="2713" y="233"/>
                    <a:pt x="2714" y="230"/>
                    <a:pt x="2719" y="230"/>
                  </a:cubicBezTo>
                  <a:cubicBezTo>
                    <a:pt x="2725" y="236"/>
                    <a:pt x="2714" y="241"/>
                    <a:pt x="2725" y="242"/>
                  </a:cubicBezTo>
                  <a:cubicBezTo>
                    <a:pt x="2724" y="245"/>
                    <a:pt x="2718" y="244"/>
                    <a:pt x="2714" y="245"/>
                  </a:cubicBezTo>
                  <a:close/>
                  <a:moveTo>
                    <a:pt x="2727" y="237"/>
                  </a:moveTo>
                  <a:cubicBezTo>
                    <a:pt x="2730" y="232"/>
                    <a:pt x="2734" y="229"/>
                    <a:pt x="2733" y="221"/>
                  </a:cubicBezTo>
                  <a:cubicBezTo>
                    <a:pt x="2743" y="224"/>
                    <a:pt x="2734" y="228"/>
                    <a:pt x="2738" y="235"/>
                  </a:cubicBezTo>
                  <a:cubicBezTo>
                    <a:pt x="2733" y="235"/>
                    <a:pt x="2733" y="238"/>
                    <a:pt x="2727" y="237"/>
                  </a:cubicBezTo>
                  <a:close/>
                  <a:moveTo>
                    <a:pt x="2733" y="242"/>
                  </a:moveTo>
                  <a:cubicBezTo>
                    <a:pt x="2735" y="244"/>
                    <a:pt x="2739" y="244"/>
                    <a:pt x="2739" y="249"/>
                  </a:cubicBezTo>
                  <a:cubicBezTo>
                    <a:pt x="2731" y="250"/>
                    <a:pt x="2731" y="244"/>
                    <a:pt x="2730" y="240"/>
                  </a:cubicBezTo>
                  <a:cubicBezTo>
                    <a:pt x="2735" y="240"/>
                    <a:pt x="2736" y="237"/>
                    <a:pt x="2741" y="237"/>
                  </a:cubicBezTo>
                  <a:cubicBezTo>
                    <a:pt x="2743" y="242"/>
                    <a:pt x="2737" y="242"/>
                    <a:pt x="2733" y="242"/>
                  </a:cubicBezTo>
                  <a:close/>
                  <a:moveTo>
                    <a:pt x="2730" y="218"/>
                  </a:moveTo>
                  <a:cubicBezTo>
                    <a:pt x="2727" y="211"/>
                    <a:pt x="2747" y="206"/>
                    <a:pt x="2730" y="207"/>
                  </a:cubicBezTo>
                  <a:cubicBezTo>
                    <a:pt x="2729" y="198"/>
                    <a:pt x="2749" y="206"/>
                    <a:pt x="2751" y="199"/>
                  </a:cubicBezTo>
                  <a:cubicBezTo>
                    <a:pt x="2758" y="201"/>
                    <a:pt x="2748" y="208"/>
                    <a:pt x="2752" y="216"/>
                  </a:cubicBezTo>
                  <a:cubicBezTo>
                    <a:pt x="2746" y="217"/>
                    <a:pt x="2748" y="211"/>
                    <a:pt x="2743" y="211"/>
                  </a:cubicBezTo>
                  <a:cubicBezTo>
                    <a:pt x="2735" y="213"/>
                    <a:pt x="2750" y="215"/>
                    <a:pt x="2746" y="221"/>
                  </a:cubicBezTo>
                  <a:cubicBezTo>
                    <a:pt x="2741" y="218"/>
                    <a:pt x="2738" y="222"/>
                    <a:pt x="2730" y="218"/>
                  </a:cubicBezTo>
                  <a:close/>
                  <a:moveTo>
                    <a:pt x="2740" y="185"/>
                  </a:moveTo>
                  <a:cubicBezTo>
                    <a:pt x="2742" y="185"/>
                    <a:pt x="2744" y="185"/>
                    <a:pt x="2746" y="185"/>
                  </a:cubicBezTo>
                  <a:cubicBezTo>
                    <a:pt x="2746" y="187"/>
                    <a:pt x="2746" y="188"/>
                    <a:pt x="2746" y="190"/>
                  </a:cubicBezTo>
                  <a:cubicBezTo>
                    <a:pt x="2744" y="190"/>
                    <a:pt x="2742" y="190"/>
                    <a:pt x="2740" y="190"/>
                  </a:cubicBezTo>
                  <a:cubicBezTo>
                    <a:pt x="2740" y="189"/>
                    <a:pt x="2740" y="187"/>
                    <a:pt x="2740" y="185"/>
                  </a:cubicBezTo>
                  <a:close/>
                  <a:moveTo>
                    <a:pt x="2755" y="242"/>
                  </a:moveTo>
                  <a:cubicBezTo>
                    <a:pt x="2751" y="242"/>
                    <a:pt x="2748" y="242"/>
                    <a:pt x="2744" y="242"/>
                  </a:cubicBezTo>
                  <a:cubicBezTo>
                    <a:pt x="2743" y="237"/>
                    <a:pt x="2751" y="238"/>
                    <a:pt x="2749" y="239"/>
                  </a:cubicBezTo>
                  <a:cubicBezTo>
                    <a:pt x="2755" y="235"/>
                    <a:pt x="2752" y="229"/>
                    <a:pt x="2763" y="230"/>
                  </a:cubicBezTo>
                  <a:cubicBezTo>
                    <a:pt x="2766" y="238"/>
                    <a:pt x="2750" y="231"/>
                    <a:pt x="2755" y="242"/>
                  </a:cubicBezTo>
                  <a:close/>
                  <a:moveTo>
                    <a:pt x="2763" y="248"/>
                  </a:moveTo>
                  <a:cubicBezTo>
                    <a:pt x="2760" y="248"/>
                    <a:pt x="2761" y="244"/>
                    <a:pt x="2760" y="241"/>
                  </a:cubicBezTo>
                  <a:cubicBezTo>
                    <a:pt x="2763" y="241"/>
                    <a:pt x="2766" y="241"/>
                    <a:pt x="2769" y="241"/>
                  </a:cubicBezTo>
                  <a:cubicBezTo>
                    <a:pt x="2768" y="244"/>
                    <a:pt x="2764" y="245"/>
                    <a:pt x="2763" y="248"/>
                  </a:cubicBezTo>
                  <a:close/>
                  <a:moveTo>
                    <a:pt x="2771" y="222"/>
                  </a:moveTo>
                  <a:cubicBezTo>
                    <a:pt x="2784" y="224"/>
                    <a:pt x="2769" y="237"/>
                    <a:pt x="2771" y="222"/>
                  </a:cubicBezTo>
                  <a:close/>
                  <a:moveTo>
                    <a:pt x="2777" y="262"/>
                  </a:moveTo>
                  <a:cubicBezTo>
                    <a:pt x="2771" y="261"/>
                    <a:pt x="2775" y="250"/>
                    <a:pt x="2777" y="248"/>
                  </a:cubicBezTo>
                  <a:cubicBezTo>
                    <a:pt x="2783" y="249"/>
                    <a:pt x="2779" y="261"/>
                    <a:pt x="2777" y="262"/>
                  </a:cubicBezTo>
                  <a:close/>
                  <a:moveTo>
                    <a:pt x="2782" y="236"/>
                  </a:moveTo>
                  <a:cubicBezTo>
                    <a:pt x="2781" y="236"/>
                    <a:pt x="2779" y="236"/>
                    <a:pt x="2777" y="237"/>
                  </a:cubicBezTo>
                  <a:cubicBezTo>
                    <a:pt x="2777" y="234"/>
                    <a:pt x="2776" y="234"/>
                    <a:pt x="2774" y="234"/>
                  </a:cubicBezTo>
                  <a:cubicBezTo>
                    <a:pt x="2773" y="230"/>
                    <a:pt x="2786" y="231"/>
                    <a:pt x="2782" y="236"/>
                  </a:cubicBezTo>
                  <a:close/>
                  <a:moveTo>
                    <a:pt x="2794" y="269"/>
                  </a:moveTo>
                  <a:cubicBezTo>
                    <a:pt x="2794" y="268"/>
                    <a:pt x="2794" y="266"/>
                    <a:pt x="2794" y="264"/>
                  </a:cubicBezTo>
                  <a:cubicBezTo>
                    <a:pt x="2796" y="264"/>
                    <a:pt x="2797" y="264"/>
                    <a:pt x="2799" y="264"/>
                  </a:cubicBezTo>
                  <a:cubicBezTo>
                    <a:pt x="2799" y="266"/>
                    <a:pt x="2799" y="267"/>
                    <a:pt x="2799" y="269"/>
                  </a:cubicBezTo>
                  <a:cubicBezTo>
                    <a:pt x="2798" y="269"/>
                    <a:pt x="2796" y="269"/>
                    <a:pt x="2794" y="269"/>
                  </a:cubicBezTo>
                  <a:close/>
                  <a:moveTo>
                    <a:pt x="2807" y="259"/>
                  </a:moveTo>
                  <a:cubicBezTo>
                    <a:pt x="2804" y="256"/>
                    <a:pt x="2796" y="257"/>
                    <a:pt x="2796" y="250"/>
                  </a:cubicBezTo>
                  <a:cubicBezTo>
                    <a:pt x="2804" y="253"/>
                    <a:pt x="2809" y="244"/>
                    <a:pt x="2799" y="245"/>
                  </a:cubicBezTo>
                  <a:cubicBezTo>
                    <a:pt x="2799" y="242"/>
                    <a:pt x="2806" y="238"/>
                    <a:pt x="2804" y="245"/>
                  </a:cubicBezTo>
                  <a:cubicBezTo>
                    <a:pt x="2808" y="245"/>
                    <a:pt x="2809" y="246"/>
                    <a:pt x="2810" y="248"/>
                  </a:cubicBezTo>
                  <a:cubicBezTo>
                    <a:pt x="2819" y="247"/>
                    <a:pt x="2802" y="239"/>
                    <a:pt x="2815" y="241"/>
                  </a:cubicBezTo>
                  <a:cubicBezTo>
                    <a:pt x="2815" y="245"/>
                    <a:pt x="2815" y="250"/>
                    <a:pt x="2816" y="255"/>
                  </a:cubicBezTo>
                  <a:cubicBezTo>
                    <a:pt x="2810" y="254"/>
                    <a:pt x="2807" y="255"/>
                    <a:pt x="2807" y="259"/>
                  </a:cubicBezTo>
                  <a:close/>
                  <a:moveTo>
                    <a:pt x="2810" y="231"/>
                  </a:moveTo>
                  <a:cubicBezTo>
                    <a:pt x="2809" y="234"/>
                    <a:pt x="2806" y="236"/>
                    <a:pt x="2801" y="236"/>
                  </a:cubicBezTo>
                  <a:cubicBezTo>
                    <a:pt x="2800" y="231"/>
                    <a:pt x="2805" y="232"/>
                    <a:pt x="2810" y="231"/>
                  </a:cubicBezTo>
                  <a:close/>
                  <a:moveTo>
                    <a:pt x="2824" y="259"/>
                  </a:moveTo>
                  <a:cubicBezTo>
                    <a:pt x="2834" y="255"/>
                    <a:pt x="2826" y="267"/>
                    <a:pt x="2832" y="266"/>
                  </a:cubicBezTo>
                  <a:cubicBezTo>
                    <a:pt x="2830" y="272"/>
                    <a:pt x="2821" y="265"/>
                    <a:pt x="2824" y="259"/>
                  </a:cubicBezTo>
                  <a:close/>
                  <a:moveTo>
                    <a:pt x="2838" y="268"/>
                  </a:moveTo>
                  <a:cubicBezTo>
                    <a:pt x="2838" y="267"/>
                    <a:pt x="2838" y="265"/>
                    <a:pt x="2838" y="264"/>
                  </a:cubicBezTo>
                  <a:cubicBezTo>
                    <a:pt x="2840" y="264"/>
                    <a:pt x="2841" y="264"/>
                    <a:pt x="2843" y="264"/>
                  </a:cubicBezTo>
                  <a:cubicBezTo>
                    <a:pt x="2843" y="265"/>
                    <a:pt x="2843" y="267"/>
                    <a:pt x="2843" y="268"/>
                  </a:cubicBezTo>
                  <a:cubicBezTo>
                    <a:pt x="2841" y="268"/>
                    <a:pt x="2840" y="268"/>
                    <a:pt x="2838" y="268"/>
                  </a:cubicBezTo>
                  <a:close/>
                  <a:moveTo>
                    <a:pt x="2833" y="163"/>
                  </a:moveTo>
                  <a:cubicBezTo>
                    <a:pt x="2839" y="163"/>
                    <a:pt x="2835" y="173"/>
                    <a:pt x="2836" y="177"/>
                  </a:cubicBezTo>
                  <a:cubicBezTo>
                    <a:pt x="2840" y="176"/>
                    <a:pt x="2838" y="171"/>
                    <a:pt x="2839" y="167"/>
                  </a:cubicBezTo>
                  <a:cubicBezTo>
                    <a:pt x="2849" y="167"/>
                    <a:pt x="2846" y="180"/>
                    <a:pt x="2850" y="186"/>
                  </a:cubicBezTo>
                  <a:cubicBezTo>
                    <a:pt x="2845" y="186"/>
                    <a:pt x="2847" y="192"/>
                    <a:pt x="2839" y="191"/>
                  </a:cubicBezTo>
                  <a:cubicBezTo>
                    <a:pt x="2838" y="181"/>
                    <a:pt x="2852" y="178"/>
                    <a:pt x="2833" y="179"/>
                  </a:cubicBezTo>
                  <a:cubicBezTo>
                    <a:pt x="2836" y="171"/>
                    <a:pt x="2827" y="168"/>
                    <a:pt x="2833" y="163"/>
                  </a:cubicBezTo>
                  <a:close/>
                  <a:moveTo>
                    <a:pt x="2850" y="198"/>
                  </a:moveTo>
                  <a:cubicBezTo>
                    <a:pt x="2847" y="202"/>
                    <a:pt x="2834" y="210"/>
                    <a:pt x="2834" y="198"/>
                  </a:cubicBezTo>
                  <a:cubicBezTo>
                    <a:pt x="2843" y="200"/>
                    <a:pt x="2845" y="193"/>
                    <a:pt x="2850" y="198"/>
                  </a:cubicBezTo>
                  <a:close/>
                  <a:moveTo>
                    <a:pt x="2836" y="191"/>
                  </a:moveTo>
                  <a:cubicBezTo>
                    <a:pt x="2834" y="190"/>
                    <a:pt x="2834" y="192"/>
                    <a:pt x="2834" y="193"/>
                  </a:cubicBezTo>
                  <a:cubicBezTo>
                    <a:pt x="2830" y="193"/>
                    <a:pt x="2831" y="189"/>
                    <a:pt x="2831" y="186"/>
                  </a:cubicBezTo>
                  <a:cubicBezTo>
                    <a:pt x="2835" y="185"/>
                    <a:pt x="2836" y="188"/>
                    <a:pt x="2836" y="191"/>
                  </a:cubicBezTo>
                  <a:close/>
                  <a:moveTo>
                    <a:pt x="2825" y="175"/>
                  </a:moveTo>
                  <a:cubicBezTo>
                    <a:pt x="2831" y="176"/>
                    <a:pt x="2831" y="178"/>
                    <a:pt x="2828" y="182"/>
                  </a:cubicBezTo>
                  <a:cubicBezTo>
                    <a:pt x="2826" y="182"/>
                    <a:pt x="2824" y="182"/>
                    <a:pt x="2822" y="182"/>
                  </a:cubicBezTo>
                  <a:cubicBezTo>
                    <a:pt x="2822" y="178"/>
                    <a:pt x="2825" y="178"/>
                    <a:pt x="2825" y="175"/>
                  </a:cubicBezTo>
                  <a:close/>
                  <a:moveTo>
                    <a:pt x="2812" y="184"/>
                  </a:moveTo>
                  <a:cubicBezTo>
                    <a:pt x="2823" y="185"/>
                    <a:pt x="2812" y="190"/>
                    <a:pt x="2817" y="196"/>
                  </a:cubicBezTo>
                  <a:cubicBezTo>
                    <a:pt x="2808" y="198"/>
                    <a:pt x="2813" y="189"/>
                    <a:pt x="2812" y="184"/>
                  </a:cubicBezTo>
                  <a:close/>
                  <a:moveTo>
                    <a:pt x="2801" y="182"/>
                  </a:moveTo>
                  <a:cubicBezTo>
                    <a:pt x="2802" y="182"/>
                    <a:pt x="2804" y="182"/>
                    <a:pt x="2806" y="182"/>
                  </a:cubicBezTo>
                  <a:cubicBezTo>
                    <a:pt x="2806" y="184"/>
                    <a:pt x="2807" y="184"/>
                    <a:pt x="2809" y="184"/>
                  </a:cubicBezTo>
                  <a:cubicBezTo>
                    <a:pt x="2809" y="187"/>
                    <a:pt x="2805" y="186"/>
                    <a:pt x="2803" y="187"/>
                  </a:cubicBezTo>
                  <a:cubicBezTo>
                    <a:pt x="2805" y="189"/>
                    <a:pt x="2806" y="190"/>
                    <a:pt x="2806" y="194"/>
                  </a:cubicBezTo>
                  <a:cubicBezTo>
                    <a:pt x="2795" y="194"/>
                    <a:pt x="2799" y="188"/>
                    <a:pt x="2801" y="182"/>
                  </a:cubicBezTo>
                  <a:close/>
                  <a:moveTo>
                    <a:pt x="2801" y="215"/>
                  </a:moveTo>
                  <a:cubicBezTo>
                    <a:pt x="2811" y="212"/>
                    <a:pt x="2811" y="209"/>
                    <a:pt x="2820" y="215"/>
                  </a:cubicBezTo>
                  <a:cubicBezTo>
                    <a:pt x="2823" y="214"/>
                    <a:pt x="2822" y="212"/>
                    <a:pt x="2823" y="210"/>
                  </a:cubicBezTo>
                  <a:cubicBezTo>
                    <a:pt x="2822" y="208"/>
                    <a:pt x="2811" y="204"/>
                    <a:pt x="2812" y="208"/>
                  </a:cubicBezTo>
                  <a:cubicBezTo>
                    <a:pt x="2803" y="206"/>
                    <a:pt x="2815" y="203"/>
                    <a:pt x="2815" y="201"/>
                  </a:cubicBezTo>
                  <a:cubicBezTo>
                    <a:pt x="2815" y="197"/>
                    <a:pt x="2827" y="197"/>
                    <a:pt x="2831" y="198"/>
                  </a:cubicBezTo>
                  <a:cubicBezTo>
                    <a:pt x="2830" y="200"/>
                    <a:pt x="2826" y="200"/>
                    <a:pt x="2826" y="203"/>
                  </a:cubicBezTo>
                  <a:cubicBezTo>
                    <a:pt x="2825" y="206"/>
                    <a:pt x="2831" y="204"/>
                    <a:pt x="2831" y="205"/>
                  </a:cubicBezTo>
                  <a:cubicBezTo>
                    <a:pt x="2832" y="206"/>
                    <a:pt x="2825" y="218"/>
                    <a:pt x="2840" y="214"/>
                  </a:cubicBezTo>
                  <a:cubicBezTo>
                    <a:pt x="2843" y="212"/>
                    <a:pt x="2844" y="207"/>
                    <a:pt x="2853" y="209"/>
                  </a:cubicBezTo>
                  <a:cubicBezTo>
                    <a:pt x="2846" y="218"/>
                    <a:pt x="2842" y="225"/>
                    <a:pt x="2845" y="238"/>
                  </a:cubicBezTo>
                  <a:cubicBezTo>
                    <a:pt x="2842" y="238"/>
                    <a:pt x="2838" y="238"/>
                    <a:pt x="2834" y="238"/>
                  </a:cubicBezTo>
                  <a:cubicBezTo>
                    <a:pt x="2835" y="235"/>
                    <a:pt x="2839" y="236"/>
                    <a:pt x="2843" y="235"/>
                  </a:cubicBezTo>
                  <a:cubicBezTo>
                    <a:pt x="2844" y="230"/>
                    <a:pt x="2837" y="232"/>
                    <a:pt x="2837" y="228"/>
                  </a:cubicBezTo>
                  <a:cubicBezTo>
                    <a:pt x="2835" y="223"/>
                    <a:pt x="2841" y="225"/>
                    <a:pt x="2842" y="224"/>
                  </a:cubicBezTo>
                  <a:cubicBezTo>
                    <a:pt x="2844" y="222"/>
                    <a:pt x="2842" y="218"/>
                    <a:pt x="2845" y="219"/>
                  </a:cubicBezTo>
                  <a:cubicBezTo>
                    <a:pt x="2844" y="215"/>
                    <a:pt x="2842" y="220"/>
                    <a:pt x="2837" y="219"/>
                  </a:cubicBezTo>
                  <a:cubicBezTo>
                    <a:pt x="2838" y="215"/>
                    <a:pt x="2821" y="215"/>
                    <a:pt x="2826" y="222"/>
                  </a:cubicBezTo>
                  <a:cubicBezTo>
                    <a:pt x="2820" y="218"/>
                    <a:pt x="2816" y="223"/>
                    <a:pt x="2812" y="222"/>
                  </a:cubicBezTo>
                  <a:cubicBezTo>
                    <a:pt x="2811" y="221"/>
                    <a:pt x="2813" y="216"/>
                    <a:pt x="2809" y="217"/>
                  </a:cubicBezTo>
                  <a:cubicBezTo>
                    <a:pt x="2806" y="218"/>
                    <a:pt x="2807" y="221"/>
                    <a:pt x="2807" y="224"/>
                  </a:cubicBezTo>
                  <a:cubicBezTo>
                    <a:pt x="2800" y="225"/>
                    <a:pt x="2804" y="217"/>
                    <a:pt x="2798" y="217"/>
                  </a:cubicBezTo>
                  <a:cubicBezTo>
                    <a:pt x="2788" y="223"/>
                    <a:pt x="2807" y="240"/>
                    <a:pt x="2791" y="239"/>
                  </a:cubicBezTo>
                  <a:cubicBezTo>
                    <a:pt x="2791" y="237"/>
                    <a:pt x="2787" y="236"/>
                    <a:pt x="2788" y="234"/>
                  </a:cubicBezTo>
                  <a:cubicBezTo>
                    <a:pt x="2788" y="233"/>
                    <a:pt x="2793" y="232"/>
                    <a:pt x="2793" y="231"/>
                  </a:cubicBezTo>
                  <a:cubicBezTo>
                    <a:pt x="2793" y="227"/>
                    <a:pt x="2787" y="225"/>
                    <a:pt x="2790" y="217"/>
                  </a:cubicBezTo>
                  <a:cubicBezTo>
                    <a:pt x="2788" y="219"/>
                    <a:pt x="2783" y="219"/>
                    <a:pt x="2782" y="222"/>
                  </a:cubicBezTo>
                  <a:cubicBezTo>
                    <a:pt x="2777" y="220"/>
                    <a:pt x="2776" y="213"/>
                    <a:pt x="2771" y="211"/>
                  </a:cubicBezTo>
                  <a:cubicBezTo>
                    <a:pt x="2773" y="206"/>
                    <a:pt x="2776" y="210"/>
                    <a:pt x="2779" y="211"/>
                  </a:cubicBezTo>
                  <a:cubicBezTo>
                    <a:pt x="2776" y="203"/>
                    <a:pt x="2777" y="201"/>
                    <a:pt x="2782" y="196"/>
                  </a:cubicBezTo>
                  <a:cubicBezTo>
                    <a:pt x="2789" y="200"/>
                    <a:pt x="2782" y="211"/>
                    <a:pt x="2779" y="213"/>
                  </a:cubicBezTo>
                  <a:cubicBezTo>
                    <a:pt x="2780" y="219"/>
                    <a:pt x="2801" y="204"/>
                    <a:pt x="2793" y="215"/>
                  </a:cubicBezTo>
                  <a:cubicBezTo>
                    <a:pt x="2795" y="214"/>
                    <a:pt x="2798" y="213"/>
                    <a:pt x="2798" y="210"/>
                  </a:cubicBezTo>
                  <a:cubicBezTo>
                    <a:pt x="2798" y="208"/>
                    <a:pt x="2793" y="208"/>
                    <a:pt x="2790" y="208"/>
                  </a:cubicBezTo>
                  <a:cubicBezTo>
                    <a:pt x="2790" y="204"/>
                    <a:pt x="2790" y="200"/>
                    <a:pt x="2790" y="196"/>
                  </a:cubicBezTo>
                  <a:cubicBezTo>
                    <a:pt x="2807" y="195"/>
                    <a:pt x="2808" y="206"/>
                    <a:pt x="2801" y="215"/>
                  </a:cubicBezTo>
                  <a:close/>
                  <a:moveTo>
                    <a:pt x="2781" y="180"/>
                  </a:moveTo>
                  <a:cubicBezTo>
                    <a:pt x="2794" y="180"/>
                    <a:pt x="2782" y="188"/>
                    <a:pt x="2784" y="194"/>
                  </a:cubicBezTo>
                  <a:cubicBezTo>
                    <a:pt x="2778" y="194"/>
                    <a:pt x="2783" y="184"/>
                    <a:pt x="2781" y="180"/>
                  </a:cubicBezTo>
                  <a:close/>
                  <a:moveTo>
                    <a:pt x="2797" y="159"/>
                  </a:moveTo>
                  <a:cubicBezTo>
                    <a:pt x="2802" y="154"/>
                    <a:pt x="2797" y="156"/>
                    <a:pt x="2797" y="149"/>
                  </a:cubicBezTo>
                  <a:cubicBezTo>
                    <a:pt x="2803" y="148"/>
                    <a:pt x="2807" y="161"/>
                    <a:pt x="2797" y="159"/>
                  </a:cubicBezTo>
                  <a:close/>
                  <a:moveTo>
                    <a:pt x="2792" y="177"/>
                  </a:moveTo>
                  <a:cubicBezTo>
                    <a:pt x="2805" y="179"/>
                    <a:pt x="2790" y="192"/>
                    <a:pt x="2792" y="177"/>
                  </a:cubicBezTo>
                  <a:close/>
                  <a:moveTo>
                    <a:pt x="2784" y="149"/>
                  </a:moveTo>
                  <a:cubicBezTo>
                    <a:pt x="2786" y="149"/>
                    <a:pt x="2786" y="152"/>
                    <a:pt x="2786" y="154"/>
                  </a:cubicBezTo>
                  <a:cubicBezTo>
                    <a:pt x="2790" y="154"/>
                    <a:pt x="2791" y="153"/>
                    <a:pt x="2792" y="152"/>
                  </a:cubicBezTo>
                  <a:cubicBezTo>
                    <a:pt x="2802" y="156"/>
                    <a:pt x="2784" y="157"/>
                    <a:pt x="2778" y="157"/>
                  </a:cubicBezTo>
                  <a:cubicBezTo>
                    <a:pt x="2779" y="153"/>
                    <a:pt x="2783" y="153"/>
                    <a:pt x="2784" y="149"/>
                  </a:cubicBezTo>
                  <a:close/>
                  <a:moveTo>
                    <a:pt x="2776" y="166"/>
                  </a:moveTo>
                  <a:cubicBezTo>
                    <a:pt x="2779" y="167"/>
                    <a:pt x="2778" y="171"/>
                    <a:pt x="2781" y="171"/>
                  </a:cubicBezTo>
                  <a:cubicBezTo>
                    <a:pt x="2780" y="177"/>
                    <a:pt x="2772" y="171"/>
                    <a:pt x="2776" y="166"/>
                  </a:cubicBezTo>
                  <a:close/>
                  <a:moveTo>
                    <a:pt x="2770" y="175"/>
                  </a:moveTo>
                  <a:cubicBezTo>
                    <a:pt x="2770" y="178"/>
                    <a:pt x="2774" y="177"/>
                    <a:pt x="2776" y="178"/>
                  </a:cubicBezTo>
                  <a:cubicBezTo>
                    <a:pt x="2774" y="181"/>
                    <a:pt x="2779" y="190"/>
                    <a:pt x="2773" y="190"/>
                  </a:cubicBezTo>
                  <a:cubicBezTo>
                    <a:pt x="2773" y="203"/>
                    <a:pt x="2772" y="201"/>
                    <a:pt x="2768" y="211"/>
                  </a:cubicBezTo>
                  <a:cubicBezTo>
                    <a:pt x="2769" y="213"/>
                    <a:pt x="2771" y="215"/>
                    <a:pt x="2774" y="215"/>
                  </a:cubicBezTo>
                  <a:cubicBezTo>
                    <a:pt x="2773" y="218"/>
                    <a:pt x="2768" y="217"/>
                    <a:pt x="2768" y="220"/>
                  </a:cubicBezTo>
                  <a:cubicBezTo>
                    <a:pt x="2764" y="220"/>
                    <a:pt x="2767" y="213"/>
                    <a:pt x="2763" y="213"/>
                  </a:cubicBezTo>
                  <a:cubicBezTo>
                    <a:pt x="2753" y="215"/>
                    <a:pt x="2764" y="220"/>
                    <a:pt x="2757" y="225"/>
                  </a:cubicBezTo>
                  <a:cubicBezTo>
                    <a:pt x="2755" y="224"/>
                    <a:pt x="2752" y="223"/>
                    <a:pt x="2752" y="220"/>
                  </a:cubicBezTo>
                  <a:cubicBezTo>
                    <a:pt x="2752" y="218"/>
                    <a:pt x="2757" y="217"/>
                    <a:pt x="2757" y="216"/>
                  </a:cubicBezTo>
                  <a:cubicBezTo>
                    <a:pt x="2759" y="209"/>
                    <a:pt x="2756" y="199"/>
                    <a:pt x="2768" y="201"/>
                  </a:cubicBezTo>
                  <a:cubicBezTo>
                    <a:pt x="2762" y="195"/>
                    <a:pt x="2768" y="193"/>
                    <a:pt x="2768" y="183"/>
                  </a:cubicBezTo>
                  <a:cubicBezTo>
                    <a:pt x="2768" y="182"/>
                    <a:pt x="2768" y="178"/>
                    <a:pt x="2768" y="178"/>
                  </a:cubicBezTo>
                  <a:cubicBezTo>
                    <a:pt x="2767" y="178"/>
                    <a:pt x="2765" y="178"/>
                    <a:pt x="2765" y="178"/>
                  </a:cubicBezTo>
                  <a:cubicBezTo>
                    <a:pt x="2765" y="177"/>
                    <a:pt x="2767" y="175"/>
                    <a:pt x="2768" y="176"/>
                  </a:cubicBezTo>
                  <a:cubicBezTo>
                    <a:pt x="2767" y="174"/>
                    <a:pt x="2762" y="171"/>
                    <a:pt x="2762" y="171"/>
                  </a:cubicBezTo>
                  <a:cubicBezTo>
                    <a:pt x="2761" y="167"/>
                    <a:pt x="2764" y="167"/>
                    <a:pt x="2765" y="164"/>
                  </a:cubicBezTo>
                  <a:cubicBezTo>
                    <a:pt x="2765" y="159"/>
                    <a:pt x="2762" y="157"/>
                    <a:pt x="2762" y="152"/>
                  </a:cubicBezTo>
                  <a:cubicBezTo>
                    <a:pt x="2775" y="151"/>
                    <a:pt x="2768" y="167"/>
                    <a:pt x="2770" y="175"/>
                  </a:cubicBezTo>
                  <a:close/>
                  <a:moveTo>
                    <a:pt x="2757" y="185"/>
                  </a:moveTo>
                  <a:cubicBezTo>
                    <a:pt x="2768" y="184"/>
                    <a:pt x="2759" y="193"/>
                    <a:pt x="2760" y="197"/>
                  </a:cubicBezTo>
                  <a:cubicBezTo>
                    <a:pt x="2754" y="197"/>
                    <a:pt x="2758" y="189"/>
                    <a:pt x="2757" y="185"/>
                  </a:cubicBezTo>
                  <a:close/>
                  <a:moveTo>
                    <a:pt x="2734" y="153"/>
                  </a:moveTo>
                  <a:cubicBezTo>
                    <a:pt x="2748" y="151"/>
                    <a:pt x="2748" y="152"/>
                    <a:pt x="2759" y="150"/>
                  </a:cubicBezTo>
                  <a:cubicBezTo>
                    <a:pt x="2757" y="157"/>
                    <a:pt x="2761" y="159"/>
                    <a:pt x="2759" y="164"/>
                  </a:cubicBezTo>
                  <a:cubicBezTo>
                    <a:pt x="2759" y="164"/>
                    <a:pt x="2755" y="161"/>
                    <a:pt x="2754" y="162"/>
                  </a:cubicBezTo>
                  <a:cubicBezTo>
                    <a:pt x="2752" y="162"/>
                    <a:pt x="2749" y="168"/>
                    <a:pt x="2756" y="169"/>
                  </a:cubicBezTo>
                  <a:cubicBezTo>
                    <a:pt x="2754" y="171"/>
                    <a:pt x="2739" y="181"/>
                    <a:pt x="2751" y="181"/>
                  </a:cubicBezTo>
                  <a:cubicBezTo>
                    <a:pt x="2761" y="181"/>
                    <a:pt x="2743" y="187"/>
                    <a:pt x="2746" y="181"/>
                  </a:cubicBezTo>
                  <a:cubicBezTo>
                    <a:pt x="2739" y="181"/>
                    <a:pt x="2737" y="185"/>
                    <a:pt x="2732" y="181"/>
                  </a:cubicBezTo>
                  <a:cubicBezTo>
                    <a:pt x="2734" y="177"/>
                    <a:pt x="2741" y="177"/>
                    <a:pt x="2746" y="176"/>
                  </a:cubicBezTo>
                  <a:cubicBezTo>
                    <a:pt x="2743" y="172"/>
                    <a:pt x="2754" y="168"/>
                    <a:pt x="2745" y="166"/>
                  </a:cubicBezTo>
                  <a:cubicBezTo>
                    <a:pt x="2748" y="164"/>
                    <a:pt x="2751" y="162"/>
                    <a:pt x="2754" y="159"/>
                  </a:cubicBezTo>
                  <a:cubicBezTo>
                    <a:pt x="2751" y="151"/>
                    <a:pt x="2737" y="166"/>
                    <a:pt x="2740" y="155"/>
                  </a:cubicBezTo>
                  <a:cubicBezTo>
                    <a:pt x="2736" y="156"/>
                    <a:pt x="2733" y="159"/>
                    <a:pt x="2732" y="162"/>
                  </a:cubicBezTo>
                  <a:cubicBezTo>
                    <a:pt x="2723" y="160"/>
                    <a:pt x="2735" y="156"/>
                    <a:pt x="2734" y="153"/>
                  </a:cubicBezTo>
                  <a:close/>
                  <a:moveTo>
                    <a:pt x="2724" y="169"/>
                  </a:moveTo>
                  <a:cubicBezTo>
                    <a:pt x="2728" y="170"/>
                    <a:pt x="2729" y="167"/>
                    <a:pt x="2729" y="164"/>
                  </a:cubicBezTo>
                  <a:cubicBezTo>
                    <a:pt x="2734" y="165"/>
                    <a:pt x="2735" y="161"/>
                    <a:pt x="2740" y="162"/>
                  </a:cubicBezTo>
                  <a:cubicBezTo>
                    <a:pt x="2739" y="165"/>
                    <a:pt x="2741" y="166"/>
                    <a:pt x="2743" y="167"/>
                  </a:cubicBezTo>
                  <a:cubicBezTo>
                    <a:pt x="2740" y="170"/>
                    <a:pt x="2735" y="173"/>
                    <a:pt x="2732" y="176"/>
                  </a:cubicBezTo>
                  <a:cubicBezTo>
                    <a:pt x="2729" y="177"/>
                    <a:pt x="2730" y="172"/>
                    <a:pt x="2729" y="171"/>
                  </a:cubicBezTo>
                  <a:cubicBezTo>
                    <a:pt x="2725" y="170"/>
                    <a:pt x="2721" y="176"/>
                    <a:pt x="2715" y="172"/>
                  </a:cubicBezTo>
                  <a:cubicBezTo>
                    <a:pt x="2708" y="172"/>
                    <a:pt x="2719" y="176"/>
                    <a:pt x="2716" y="181"/>
                  </a:cubicBezTo>
                  <a:cubicBezTo>
                    <a:pt x="2705" y="180"/>
                    <a:pt x="2718" y="171"/>
                    <a:pt x="2704" y="172"/>
                  </a:cubicBezTo>
                  <a:cubicBezTo>
                    <a:pt x="2711" y="167"/>
                    <a:pt x="2699" y="160"/>
                    <a:pt x="2712" y="160"/>
                  </a:cubicBezTo>
                  <a:cubicBezTo>
                    <a:pt x="2711" y="166"/>
                    <a:pt x="2708" y="169"/>
                    <a:pt x="2718" y="169"/>
                  </a:cubicBezTo>
                  <a:cubicBezTo>
                    <a:pt x="2722" y="169"/>
                    <a:pt x="2722" y="149"/>
                    <a:pt x="2724" y="169"/>
                  </a:cubicBezTo>
                  <a:close/>
                  <a:moveTo>
                    <a:pt x="2701" y="151"/>
                  </a:moveTo>
                  <a:cubicBezTo>
                    <a:pt x="2704" y="148"/>
                    <a:pt x="2711" y="148"/>
                    <a:pt x="2718" y="148"/>
                  </a:cubicBezTo>
                  <a:cubicBezTo>
                    <a:pt x="2722" y="156"/>
                    <a:pt x="2700" y="160"/>
                    <a:pt x="2701" y="151"/>
                  </a:cubicBezTo>
                  <a:close/>
                  <a:moveTo>
                    <a:pt x="2699" y="203"/>
                  </a:moveTo>
                  <a:cubicBezTo>
                    <a:pt x="2699" y="198"/>
                    <a:pt x="2704" y="198"/>
                    <a:pt x="2705" y="193"/>
                  </a:cubicBezTo>
                  <a:cubicBezTo>
                    <a:pt x="2706" y="187"/>
                    <a:pt x="2702" y="187"/>
                    <a:pt x="2702" y="181"/>
                  </a:cubicBezTo>
                  <a:cubicBezTo>
                    <a:pt x="2717" y="180"/>
                    <a:pt x="2702" y="192"/>
                    <a:pt x="2710" y="195"/>
                  </a:cubicBezTo>
                  <a:cubicBezTo>
                    <a:pt x="2713" y="195"/>
                    <a:pt x="2712" y="193"/>
                    <a:pt x="2710" y="193"/>
                  </a:cubicBezTo>
                  <a:cubicBezTo>
                    <a:pt x="2712" y="190"/>
                    <a:pt x="2716" y="189"/>
                    <a:pt x="2721" y="188"/>
                  </a:cubicBezTo>
                  <a:cubicBezTo>
                    <a:pt x="2722" y="184"/>
                    <a:pt x="2718" y="176"/>
                    <a:pt x="2726" y="179"/>
                  </a:cubicBezTo>
                  <a:cubicBezTo>
                    <a:pt x="2723" y="186"/>
                    <a:pt x="2728" y="187"/>
                    <a:pt x="2727" y="197"/>
                  </a:cubicBezTo>
                  <a:cubicBezTo>
                    <a:pt x="2724" y="196"/>
                    <a:pt x="2723" y="193"/>
                    <a:pt x="2721" y="190"/>
                  </a:cubicBezTo>
                  <a:cubicBezTo>
                    <a:pt x="2713" y="192"/>
                    <a:pt x="2724" y="208"/>
                    <a:pt x="2727" y="200"/>
                  </a:cubicBezTo>
                  <a:cubicBezTo>
                    <a:pt x="2733" y="201"/>
                    <a:pt x="2724" y="203"/>
                    <a:pt x="2724" y="205"/>
                  </a:cubicBezTo>
                  <a:cubicBezTo>
                    <a:pt x="2723" y="210"/>
                    <a:pt x="2726" y="213"/>
                    <a:pt x="2727" y="219"/>
                  </a:cubicBezTo>
                  <a:cubicBezTo>
                    <a:pt x="2714" y="218"/>
                    <a:pt x="2724" y="222"/>
                    <a:pt x="2719" y="226"/>
                  </a:cubicBezTo>
                  <a:cubicBezTo>
                    <a:pt x="2711" y="223"/>
                    <a:pt x="2722" y="218"/>
                    <a:pt x="2719" y="212"/>
                  </a:cubicBezTo>
                  <a:cubicBezTo>
                    <a:pt x="2716" y="212"/>
                    <a:pt x="2717" y="215"/>
                    <a:pt x="2716" y="216"/>
                  </a:cubicBezTo>
                  <a:cubicBezTo>
                    <a:pt x="2714" y="215"/>
                    <a:pt x="2709" y="213"/>
                    <a:pt x="2708" y="217"/>
                  </a:cubicBezTo>
                  <a:cubicBezTo>
                    <a:pt x="2701" y="216"/>
                    <a:pt x="2703" y="210"/>
                    <a:pt x="2702" y="207"/>
                  </a:cubicBezTo>
                  <a:cubicBezTo>
                    <a:pt x="2702" y="205"/>
                    <a:pt x="2700" y="205"/>
                    <a:pt x="2699" y="203"/>
                  </a:cubicBezTo>
                  <a:close/>
                  <a:moveTo>
                    <a:pt x="2698" y="280"/>
                  </a:moveTo>
                  <a:cubicBezTo>
                    <a:pt x="2698" y="282"/>
                    <a:pt x="2698" y="283"/>
                    <a:pt x="2698" y="285"/>
                  </a:cubicBezTo>
                  <a:cubicBezTo>
                    <a:pt x="2696" y="285"/>
                    <a:pt x="2694" y="285"/>
                    <a:pt x="2693" y="285"/>
                  </a:cubicBezTo>
                  <a:cubicBezTo>
                    <a:pt x="2693" y="283"/>
                    <a:pt x="2693" y="282"/>
                    <a:pt x="2693" y="280"/>
                  </a:cubicBezTo>
                  <a:cubicBezTo>
                    <a:pt x="2694" y="280"/>
                    <a:pt x="2696" y="280"/>
                    <a:pt x="2698" y="280"/>
                  </a:cubicBezTo>
                  <a:close/>
                  <a:moveTo>
                    <a:pt x="2694" y="226"/>
                  </a:moveTo>
                  <a:cubicBezTo>
                    <a:pt x="2689" y="233"/>
                    <a:pt x="2695" y="245"/>
                    <a:pt x="2698" y="252"/>
                  </a:cubicBezTo>
                  <a:cubicBezTo>
                    <a:pt x="2695" y="259"/>
                    <a:pt x="2695" y="245"/>
                    <a:pt x="2689" y="247"/>
                  </a:cubicBezTo>
                  <a:cubicBezTo>
                    <a:pt x="2692" y="241"/>
                    <a:pt x="2683" y="225"/>
                    <a:pt x="2694" y="226"/>
                  </a:cubicBezTo>
                  <a:close/>
                  <a:moveTo>
                    <a:pt x="2695" y="259"/>
                  </a:moveTo>
                  <a:cubicBezTo>
                    <a:pt x="2695" y="264"/>
                    <a:pt x="2695" y="268"/>
                    <a:pt x="2695" y="273"/>
                  </a:cubicBezTo>
                  <a:cubicBezTo>
                    <a:pt x="2691" y="271"/>
                    <a:pt x="2689" y="267"/>
                    <a:pt x="2692" y="264"/>
                  </a:cubicBezTo>
                  <a:cubicBezTo>
                    <a:pt x="2682" y="261"/>
                    <a:pt x="2692" y="274"/>
                    <a:pt x="2681" y="271"/>
                  </a:cubicBezTo>
                  <a:cubicBezTo>
                    <a:pt x="2680" y="265"/>
                    <a:pt x="2686" y="266"/>
                    <a:pt x="2684" y="259"/>
                  </a:cubicBezTo>
                  <a:cubicBezTo>
                    <a:pt x="2688" y="259"/>
                    <a:pt x="2691" y="259"/>
                    <a:pt x="2695" y="259"/>
                  </a:cubicBezTo>
                  <a:close/>
                  <a:moveTo>
                    <a:pt x="2687" y="252"/>
                  </a:moveTo>
                  <a:cubicBezTo>
                    <a:pt x="2687" y="254"/>
                    <a:pt x="2687" y="255"/>
                    <a:pt x="2687" y="257"/>
                  </a:cubicBezTo>
                  <a:cubicBezTo>
                    <a:pt x="2685" y="257"/>
                    <a:pt x="2683" y="257"/>
                    <a:pt x="2681" y="257"/>
                  </a:cubicBezTo>
                  <a:cubicBezTo>
                    <a:pt x="2681" y="255"/>
                    <a:pt x="2681" y="254"/>
                    <a:pt x="2681" y="252"/>
                  </a:cubicBezTo>
                  <a:cubicBezTo>
                    <a:pt x="2683" y="252"/>
                    <a:pt x="2685" y="252"/>
                    <a:pt x="2687" y="252"/>
                  </a:cubicBezTo>
                  <a:close/>
                  <a:moveTo>
                    <a:pt x="2679" y="271"/>
                  </a:moveTo>
                  <a:cubicBezTo>
                    <a:pt x="2676" y="275"/>
                    <a:pt x="2674" y="279"/>
                    <a:pt x="2665" y="278"/>
                  </a:cubicBezTo>
                  <a:cubicBezTo>
                    <a:pt x="2667" y="276"/>
                    <a:pt x="2668" y="274"/>
                    <a:pt x="2665" y="274"/>
                  </a:cubicBezTo>
                  <a:cubicBezTo>
                    <a:pt x="2664" y="269"/>
                    <a:pt x="2675" y="272"/>
                    <a:pt x="2679" y="271"/>
                  </a:cubicBezTo>
                  <a:close/>
                  <a:moveTo>
                    <a:pt x="2673" y="259"/>
                  </a:moveTo>
                  <a:cubicBezTo>
                    <a:pt x="2671" y="262"/>
                    <a:pt x="2667" y="268"/>
                    <a:pt x="2676" y="266"/>
                  </a:cubicBezTo>
                  <a:cubicBezTo>
                    <a:pt x="2669" y="276"/>
                    <a:pt x="2657" y="258"/>
                    <a:pt x="2673" y="259"/>
                  </a:cubicBezTo>
                  <a:close/>
                  <a:moveTo>
                    <a:pt x="2676" y="255"/>
                  </a:moveTo>
                  <a:cubicBezTo>
                    <a:pt x="2673" y="253"/>
                    <a:pt x="2669" y="252"/>
                    <a:pt x="2665" y="253"/>
                  </a:cubicBezTo>
                  <a:cubicBezTo>
                    <a:pt x="2669" y="245"/>
                    <a:pt x="2664" y="243"/>
                    <a:pt x="2667" y="238"/>
                  </a:cubicBezTo>
                  <a:cubicBezTo>
                    <a:pt x="2673" y="239"/>
                    <a:pt x="2674" y="245"/>
                    <a:pt x="2670" y="248"/>
                  </a:cubicBezTo>
                  <a:cubicBezTo>
                    <a:pt x="2672" y="250"/>
                    <a:pt x="2676" y="250"/>
                    <a:pt x="2676" y="255"/>
                  </a:cubicBezTo>
                  <a:close/>
                  <a:moveTo>
                    <a:pt x="2672" y="234"/>
                  </a:moveTo>
                  <a:cubicBezTo>
                    <a:pt x="2665" y="242"/>
                    <a:pt x="2655" y="229"/>
                    <a:pt x="2672" y="234"/>
                  </a:cubicBezTo>
                  <a:close/>
                  <a:moveTo>
                    <a:pt x="2653" y="234"/>
                  </a:moveTo>
                  <a:cubicBezTo>
                    <a:pt x="2647" y="242"/>
                    <a:pt x="2642" y="226"/>
                    <a:pt x="2653" y="234"/>
                  </a:cubicBezTo>
                  <a:close/>
                  <a:moveTo>
                    <a:pt x="2674" y="8"/>
                  </a:moveTo>
                  <a:cubicBezTo>
                    <a:pt x="2674" y="13"/>
                    <a:pt x="2662" y="10"/>
                    <a:pt x="2660" y="8"/>
                  </a:cubicBezTo>
                  <a:cubicBezTo>
                    <a:pt x="2663" y="1"/>
                    <a:pt x="2669" y="9"/>
                    <a:pt x="2674" y="8"/>
                  </a:cubicBezTo>
                  <a:close/>
                  <a:moveTo>
                    <a:pt x="2646" y="124"/>
                  </a:moveTo>
                  <a:cubicBezTo>
                    <a:pt x="2655" y="127"/>
                    <a:pt x="2636" y="126"/>
                    <a:pt x="2632" y="126"/>
                  </a:cubicBezTo>
                  <a:cubicBezTo>
                    <a:pt x="2632" y="124"/>
                    <a:pt x="2636" y="124"/>
                    <a:pt x="2638" y="124"/>
                  </a:cubicBezTo>
                  <a:cubicBezTo>
                    <a:pt x="2636" y="122"/>
                    <a:pt x="2635" y="120"/>
                    <a:pt x="2632" y="119"/>
                  </a:cubicBezTo>
                  <a:cubicBezTo>
                    <a:pt x="2633" y="116"/>
                    <a:pt x="2639" y="117"/>
                    <a:pt x="2643" y="117"/>
                  </a:cubicBezTo>
                  <a:cubicBezTo>
                    <a:pt x="2643" y="119"/>
                    <a:pt x="2640" y="119"/>
                    <a:pt x="2640" y="121"/>
                  </a:cubicBezTo>
                  <a:cubicBezTo>
                    <a:pt x="2641" y="124"/>
                    <a:pt x="2644" y="123"/>
                    <a:pt x="2646" y="124"/>
                  </a:cubicBezTo>
                  <a:close/>
                  <a:moveTo>
                    <a:pt x="2640" y="100"/>
                  </a:moveTo>
                  <a:cubicBezTo>
                    <a:pt x="2639" y="103"/>
                    <a:pt x="2635" y="104"/>
                    <a:pt x="2635" y="107"/>
                  </a:cubicBezTo>
                  <a:cubicBezTo>
                    <a:pt x="2628" y="107"/>
                    <a:pt x="2634" y="98"/>
                    <a:pt x="2640" y="100"/>
                  </a:cubicBezTo>
                  <a:close/>
                  <a:moveTo>
                    <a:pt x="2626" y="103"/>
                  </a:moveTo>
                  <a:cubicBezTo>
                    <a:pt x="2622" y="104"/>
                    <a:pt x="2623" y="105"/>
                    <a:pt x="2618" y="103"/>
                  </a:cubicBezTo>
                  <a:cubicBezTo>
                    <a:pt x="2615" y="101"/>
                    <a:pt x="2634" y="100"/>
                    <a:pt x="2626" y="103"/>
                  </a:cubicBezTo>
                  <a:close/>
                  <a:moveTo>
                    <a:pt x="2618" y="82"/>
                  </a:moveTo>
                  <a:cubicBezTo>
                    <a:pt x="2623" y="83"/>
                    <a:pt x="2618" y="86"/>
                    <a:pt x="2618" y="89"/>
                  </a:cubicBezTo>
                  <a:cubicBezTo>
                    <a:pt x="2613" y="87"/>
                    <a:pt x="2617" y="85"/>
                    <a:pt x="2618" y="82"/>
                  </a:cubicBezTo>
                  <a:close/>
                  <a:moveTo>
                    <a:pt x="2616" y="117"/>
                  </a:moveTo>
                  <a:cubicBezTo>
                    <a:pt x="2621" y="116"/>
                    <a:pt x="2621" y="119"/>
                    <a:pt x="2618" y="119"/>
                  </a:cubicBezTo>
                  <a:cubicBezTo>
                    <a:pt x="2615" y="117"/>
                    <a:pt x="2607" y="122"/>
                    <a:pt x="2608" y="122"/>
                  </a:cubicBezTo>
                  <a:cubicBezTo>
                    <a:pt x="2600" y="121"/>
                    <a:pt x="2606" y="115"/>
                    <a:pt x="2616" y="117"/>
                  </a:cubicBezTo>
                  <a:close/>
                  <a:moveTo>
                    <a:pt x="2588" y="99"/>
                  </a:moveTo>
                  <a:cubicBezTo>
                    <a:pt x="2592" y="99"/>
                    <a:pt x="2590" y="105"/>
                    <a:pt x="2591" y="108"/>
                  </a:cubicBezTo>
                  <a:cubicBezTo>
                    <a:pt x="2588" y="107"/>
                    <a:pt x="2586" y="105"/>
                    <a:pt x="2585" y="108"/>
                  </a:cubicBezTo>
                  <a:cubicBezTo>
                    <a:pt x="2577" y="106"/>
                    <a:pt x="2592" y="105"/>
                    <a:pt x="2588" y="99"/>
                  </a:cubicBezTo>
                  <a:close/>
                  <a:moveTo>
                    <a:pt x="2584" y="38"/>
                  </a:moveTo>
                  <a:cubicBezTo>
                    <a:pt x="2583" y="43"/>
                    <a:pt x="2577" y="43"/>
                    <a:pt x="2573" y="40"/>
                  </a:cubicBezTo>
                  <a:cubicBezTo>
                    <a:pt x="2574" y="37"/>
                    <a:pt x="2580" y="38"/>
                    <a:pt x="2584" y="38"/>
                  </a:cubicBezTo>
                  <a:close/>
                  <a:moveTo>
                    <a:pt x="2563" y="116"/>
                  </a:moveTo>
                  <a:cubicBezTo>
                    <a:pt x="2565" y="112"/>
                    <a:pt x="2561" y="107"/>
                    <a:pt x="2563" y="104"/>
                  </a:cubicBezTo>
                  <a:cubicBezTo>
                    <a:pt x="2564" y="102"/>
                    <a:pt x="2573" y="103"/>
                    <a:pt x="2571" y="99"/>
                  </a:cubicBezTo>
                  <a:cubicBezTo>
                    <a:pt x="2580" y="103"/>
                    <a:pt x="2563" y="104"/>
                    <a:pt x="2569" y="113"/>
                  </a:cubicBezTo>
                  <a:cubicBezTo>
                    <a:pt x="2569" y="118"/>
                    <a:pt x="2579" y="114"/>
                    <a:pt x="2583" y="115"/>
                  </a:cubicBezTo>
                  <a:cubicBezTo>
                    <a:pt x="2590" y="121"/>
                    <a:pt x="2556" y="112"/>
                    <a:pt x="2566" y="127"/>
                  </a:cubicBezTo>
                  <a:cubicBezTo>
                    <a:pt x="2562" y="128"/>
                    <a:pt x="2561" y="126"/>
                    <a:pt x="2561" y="123"/>
                  </a:cubicBezTo>
                  <a:cubicBezTo>
                    <a:pt x="2559" y="121"/>
                    <a:pt x="2556" y="119"/>
                    <a:pt x="2552" y="118"/>
                  </a:cubicBezTo>
                  <a:cubicBezTo>
                    <a:pt x="2553" y="115"/>
                    <a:pt x="2559" y="116"/>
                    <a:pt x="2563" y="116"/>
                  </a:cubicBezTo>
                  <a:close/>
                  <a:moveTo>
                    <a:pt x="2544" y="121"/>
                  </a:moveTo>
                  <a:cubicBezTo>
                    <a:pt x="2542" y="119"/>
                    <a:pt x="2540" y="118"/>
                    <a:pt x="2536" y="118"/>
                  </a:cubicBezTo>
                  <a:cubicBezTo>
                    <a:pt x="2537" y="112"/>
                    <a:pt x="2546" y="113"/>
                    <a:pt x="2544" y="121"/>
                  </a:cubicBezTo>
                  <a:close/>
                  <a:moveTo>
                    <a:pt x="2554" y="179"/>
                  </a:moveTo>
                  <a:cubicBezTo>
                    <a:pt x="2555" y="184"/>
                    <a:pt x="2552" y="186"/>
                    <a:pt x="2551" y="189"/>
                  </a:cubicBezTo>
                  <a:cubicBezTo>
                    <a:pt x="2548" y="186"/>
                    <a:pt x="2546" y="182"/>
                    <a:pt x="2537" y="184"/>
                  </a:cubicBezTo>
                  <a:cubicBezTo>
                    <a:pt x="2536" y="179"/>
                    <a:pt x="2542" y="179"/>
                    <a:pt x="2540" y="172"/>
                  </a:cubicBezTo>
                  <a:cubicBezTo>
                    <a:pt x="2538" y="172"/>
                    <a:pt x="2536" y="173"/>
                    <a:pt x="2534" y="173"/>
                  </a:cubicBezTo>
                  <a:cubicBezTo>
                    <a:pt x="2535" y="170"/>
                    <a:pt x="2539" y="170"/>
                    <a:pt x="2542" y="170"/>
                  </a:cubicBezTo>
                  <a:cubicBezTo>
                    <a:pt x="2540" y="178"/>
                    <a:pt x="2544" y="181"/>
                    <a:pt x="2554" y="179"/>
                  </a:cubicBezTo>
                  <a:close/>
                  <a:moveTo>
                    <a:pt x="2548" y="168"/>
                  </a:moveTo>
                  <a:cubicBezTo>
                    <a:pt x="2552" y="168"/>
                    <a:pt x="2552" y="172"/>
                    <a:pt x="2556" y="172"/>
                  </a:cubicBezTo>
                  <a:cubicBezTo>
                    <a:pt x="2556" y="175"/>
                    <a:pt x="2553" y="173"/>
                    <a:pt x="2553" y="172"/>
                  </a:cubicBezTo>
                  <a:cubicBezTo>
                    <a:pt x="2551" y="172"/>
                    <a:pt x="2551" y="173"/>
                    <a:pt x="2551" y="175"/>
                  </a:cubicBezTo>
                  <a:cubicBezTo>
                    <a:pt x="2548" y="174"/>
                    <a:pt x="2548" y="170"/>
                    <a:pt x="2548" y="168"/>
                  </a:cubicBezTo>
                  <a:close/>
                  <a:moveTo>
                    <a:pt x="2531" y="130"/>
                  </a:moveTo>
                  <a:cubicBezTo>
                    <a:pt x="2543" y="132"/>
                    <a:pt x="2529" y="145"/>
                    <a:pt x="2531" y="130"/>
                  </a:cubicBezTo>
                  <a:close/>
                  <a:moveTo>
                    <a:pt x="2519" y="72"/>
                  </a:moveTo>
                  <a:cubicBezTo>
                    <a:pt x="2522" y="73"/>
                    <a:pt x="2523" y="76"/>
                    <a:pt x="2527" y="76"/>
                  </a:cubicBezTo>
                  <a:cubicBezTo>
                    <a:pt x="2526" y="82"/>
                    <a:pt x="2517" y="77"/>
                    <a:pt x="2519" y="72"/>
                  </a:cubicBezTo>
                  <a:close/>
                  <a:moveTo>
                    <a:pt x="2517" y="131"/>
                  </a:moveTo>
                  <a:cubicBezTo>
                    <a:pt x="2520" y="133"/>
                    <a:pt x="2527" y="131"/>
                    <a:pt x="2525" y="137"/>
                  </a:cubicBezTo>
                  <a:cubicBezTo>
                    <a:pt x="2523" y="135"/>
                    <a:pt x="2515" y="137"/>
                    <a:pt x="2517" y="131"/>
                  </a:cubicBezTo>
                  <a:close/>
                  <a:moveTo>
                    <a:pt x="2520" y="166"/>
                  </a:moveTo>
                  <a:cubicBezTo>
                    <a:pt x="2520" y="169"/>
                    <a:pt x="2514" y="168"/>
                    <a:pt x="2510" y="168"/>
                  </a:cubicBezTo>
                  <a:cubicBezTo>
                    <a:pt x="2511" y="166"/>
                    <a:pt x="2516" y="166"/>
                    <a:pt x="2515" y="161"/>
                  </a:cubicBezTo>
                  <a:cubicBezTo>
                    <a:pt x="2518" y="162"/>
                    <a:pt x="2517" y="166"/>
                    <a:pt x="2520" y="166"/>
                  </a:cubicBezTo>
                  <a:close/>
                  <a:moveTo>
                    <a:pt x="2518" y="196"/>
                  </a:moveTo>
                  <a:cubicBezTo>
                    <a:pt x="2517" y="197"/>
                    <a:pt x="2515" y="191"/>
                    <a:pt x="2513" y="192"/>
                  </a:cubicBezTo>
                  <a:cubicBezTo>
                    <a:pt x="2517" y="184"/>
                    <a:pt x="2520" y="194"/>
                    <a:pt x="2518" y="196"/>
                  </a:cubicBezTo>
                  <a:close/>
                  <a:moveTo>
                    <a:pt x="2513" y="185"/>
                  </a:moveTo>
                  <a:cubicBezTo>
                    <a:pt x="2512" y="187"/>
                    <a:pt x="2507" y="186"/>
                    <a:pt x="2507" y="189"/>
                  </a:cubicBezTo>
                  <a:cubicBezTo>
                    <a:pt x="2507" y="198"/>
                    <a:pt x="2497" y="182"/>
                    <a:pt x="2513" y="185"/>
                  </a:cubicBezTo>
                  <a:close/>
                  <a:moveTo>
                    <a:pt x="2514" y="121"/>
                  </a:moveTo>
                  <a:cubicBezTo>
                    <a:pt x="2514" y="123"/>
                    <a:pt x="2514" y="124"/>
                    <a:pt x="2514" y="126"/>
                  </a:cubicBezTo>
                  <a:cubicBezTo>
                    <a:pt x="2512" y="126"/>
                    <a:pt x="2511" y="126"/>
                    <a:pt x="2509" y="126"/>
                  </a:cubicBezTo>
                  <a:cubicBezTo>
                    <a:pt x="2509" y="124"/>
                    <a:pt x="2509" y="123"/>
                    <a:pt x="2509" y="121"/>
                  </a:cubicBezTo>
                  <a:cubicBezTo>
                    <a:pt x="2510" y="121"/>
                    <a:pt x="2512" y="121"/>
                    <a:pt x="2514" y="121"/>
                  </a:cubicBezTo>
                  <a:close/>
                  <a:moveTo>
                    <a:pt x="2503" y="131"/>
                  </a:moveTo>
                  <a:cubicBezTo>
                    <a:pt x="2503" y="131"/>
                    <a:pt x="2505" y="135"/>
                    <a:pt x="2506" y="133"/>
                  </a:cubicBezTo>
                  <a:cubicBezTo>
                    <a:pt x="2508" y="131"/>
                    <a:pt x="2508" y="131"/>
                    <a:pt x="2509" y="133"/>
                  </a:cubicBezTo>
                  <a:cubicBezTo>
                    <a:pt x="2512" y="133"/>
                    <a:pt x="2511" y="137"/>
                    <a:pt x="2512" y="140"/>
                  </a:cubicBezTo>
                  <a:cubicBezTo>
                    <a:pt x="2506" y="136"/>
                    <a:pt x="2492" y="139"/>
                    <a:pt x="2482" y="138"/>
                  </a:cubicBezTo>
                  <a:cubicBezTo>
                    <a:pt x="2483" y="136"/>
                    <a:pt x="2485" y="134"/>
                    <a:pt x="2481" y="133"/>
                  </a:cubicBezTo>
                  <a:cubicBezTo>
                    <a:pt x="2485" y="130"/>
                    <a:pt x="2497" y="130"/>
                    <a:pt x="2503" y="131"/>
                  </a:cubicBezTo>
                  <a:close/>
                  <a:moveTo>
                    <a:pt x="2488" y="190"/>
                  </a:moveTo>
                  <a:cubicBezTo>
                    <a:pt x="2488" y="188"/>
                    <a:pt x="2488" y="187"/>
                    <a:pt x="2488" y="185"/>
                  </a:cubicBezTo>
                  <a:cubicBezTo>
                    <a:pt x="2492" y="185"/>
                    <a:pt x="2495" y="185"/>
                    <a:pt x="2499" y="185"/>
                  </a:cubicBezTo>
                  <a:cubicBezTo>
                    <a:pt x="2502" y="192"/>
                    <a:pt x="2493" y="189"/>
                    <a:pt x="2488" y="190"/>
                  </a:cubicBezTo>
                  <a:close/>
                  <a:moveTo>
                    <a:pt x="2480" y="185"/>
                  </a:moveTo>
                  <a:cubicBezTo>
                    <a:pt x="2485" y="187"/>
                    <a:pt x="2480" y="190"/>
                    <a:pt x="2480" y="192"/>
                  </a:cubicBezTo>
                  <a:cubicBezTo>
                    <a:pt x="2475" y="191"/>
                    <a:pt x="2479" y="188"/>
                    <a:pt x="2480" y="185"/>
                  </a:cubicBezTo>
                  <a:close/>
                  <a:moveTo>
                    <a:pt x="2465" y="115"/>
                  </a:moveTo>
                  <a:cubicBezTo>
                    <a:pt x="2474" y="111"/>
                    <a:pt x="2467" y="123"/>
                    <a:pt x="2473" y="122"/>
                  </a:cubicBezTo>
                  <a:cubicBezTo>
                    <a:pt x="2470" y="129"/>
                    <a:pt x="2464" y="119"/>
                    <a:pt x="2465" y="115"/>
                  </a:cubicBezTo>
                  <a:close/>
                  <a:moveTo>
                    <a:pt x="2432" y="134"/>
                  </a:moveTo>
                  <a:cubicBezTo>
                    <a:pt x="2436" y="128"/>
                    <a:pt x="2446" y="135"/>
                    <a:pt x="2449" y="136"/>
                  </a:cubicBezTo>
                  <a:cubicBezTo>
                    <a:pt x="2446" y="142"/>
                    <a:pt x="2440" y="131"/>
                    <a:pt x="2432" y="134"/>
                  </a:cubicBezTo>
                  <a:close/>
                  <a:moveTo>
                    <a:pt x="2427" y="170"/>
                  </a:moveTo>
                  <a:cubicBezTo>
                    <a:pt x="2428" y="166"/>
                    <a:pt x="2432" y="164"/>
                    <a:pt x="2438" y="165"/>
                  </a:cubicBezTo>
                  <a:cubicBezTo>
                    <a:pt x="2441" y="172"/>
                    <a:pt x="2432" y="169"/>
                    <a:pt x="2427" y="170"/>
                  </a:cubicBezTo>
                  <a:close/>
                  <a:moveTo>
                    <a:pt x="2454" y="160"/>
                  </a:moveTo>
                  <a:cubicBezTo>
                    <a:pt x="2454" y="160"/>
                    <a:pt x="2455" y="158"/>
                    <a:pt x="2454" y="158"/>
                  </a:cubicBezTo>
                  <a:cubicBezTo>
                    <a:pt x="2464" y="158"/>
                    <a:pt x="2450" y="165"/>
                    <a:pt x="2446" y="162"/>
                  </a:cubicBezTo>
                  <a:cubicBezTo>
                    <a:pt x="2444" y="161"/>
                    <a:pt x="2453" y="160"/>
                    <a:pt x="2454" y="160"/>
                  </a:cubicBezTo>
                  <a:close/>
                  <a:moveTo>
                    <a:pt x="2457" y="132"/>
                  </a:moveTo>
                  <a:cubicBezTo>
                    <a:pt x="2461" y="123"/>
                    <a:pt x="2462" y="136"/>
                    <a:pt x="2460" y="136"/>
                  </a:cubicBezTo>
                  <a:cubicBezTo>
                    <a:pt x="2458" y="137"/>
                    <a:pt x="2456" y="133"/>
                    <a:pt x="2457" y="132"/>
                  </a:cubicBezTo>
                  <a:close/>
                  <a:moveTo>
                    <a:pt x="2463" y="169"/>
                  </a:moveTo>
                  <a:cubicBezTo>
                    <a:pt x="2462" y="172"/>
                    <a:pt x="2456" y="171"/>
                    <a:pt x="2452" y="172"/>
                  </a:cubicBezTo>
                  <a:cubicBezTo>
                    <a:pt x="2453" y="166"/>
                    <a:pt x="2459" y="166"/>
                    <a:pt x="2463" y="169"/>
                  </a:cubicBezTo>
                  <a:close/>
                  <a:moveTo>
                    <a:pt x="2456" y="110"/>
                  </a:moveTo>
                  <a:cubicBezTo>
                    <a:pt x="2466" y="108"/>
                    <a:pt x="2464" y="125"/>
                    <a:pt x="2454" y="120"/>
                  </a:cubicBezTo>
                  <a:cubicBezTo>
                    <a:pt x="2456" y="118"/>
                    <a:pt x="2457" y="115"/>
                    <a:pt x="2456" y="110"/>
                  </a:cubicBezTo>
                  <a:close/>
                  <a:moveTo>
                    <a:pt x="2448" y="96"/>
                  </a:moveTo>
                  <a:cubicBezTo>
                    <a:pt x="2451" y="97"/>
                    <a:pt x="2450" y="101"/>
                    <a:pt x="2453" y="101"/>
                  </a:cubicBezTo>
                  <a:cubicBezTo>
                    <a:pt x="2452" y="108"/>
                    <a:pt x="2445" y="101"/>
                    <a:pt x="2448" y="96"/>
                  </a:cubicBezTo>
                  <a:close/>
                  <a:moveTo>
                    <a:pt x="2451" y="108"/>
                  </a:moveTo>
                  <a:cubicBezTo>
                    <a:pt x="2443" y="117"/>
                    <a:pt x="2441" y="101"/>
                    <a:pt x="2451" y="108"/>
                  </a:cubicBezTo>
                  <a:close/>
                  <a:moveTo>
                    <a:pt x="2440" y="101"/>
                  </a:moveTo>
                  <a:cubicBezTo>
                    <a:pt x="2435" y="103"/>
                    <a:pt x="2441" y="113"/>
                    <a:pt x="2432" y="111"/>
                  </a:cubicBezTo>
                  <a:cubicBezTo>
                    <a:pt x="2431" y="105"/>
                    <a:pt x="2433" y="101"/>
                    <a:pt x="2440" y="101"/>
                  </a:cubicBezTo>
                  <a:close/>
                  <a:moveTo>
                    <a:pt x="2419" y="149"/>
                  </a:moveTo>
                  <a:cubicBezTo>
                    <a:pt x="2419" y="143"/>
                    <a:pt x="2428" y="148"/>
                    <a:pt x="2430" y="149"/>
                  </a:cubicBezTo>
                  <a:cubicBezTo>
                    <a:pt x="2428" y="156"/>
                    <a:pt x="2424" y="146"/>
                    <a:pt x="2419" y="149"/>
                  </a:cubicBezTo>
                  <a:close/>
                  <a:moveTo>
                    <a:pt x="2427" y="139"/>
                  </a:moveTo>
                  <a:cubicBezTo>
                    <a:pt x="2423" y="139"/>
                    <a:pt x="2419" y="139"/>
                    <a:pt x="2416" y="139"/>
                  </a:cubicBezTo>
                  <a:cubicBezTo>
                    <a:pt x="2417" y="137"/>
                    <a:pt x="2419" y="135"/>
                    <a:pt x="2416" y="135"/>
                  </a:cubicBezTo>
                  <a:cubicBezTo>
                    <a:pt x="2416" y="131"/>
                    <a:pt x="2424" y="134"/>
                    <a:pt x="2424" y="130"/>
                  </a:cubicBezTo>
                  <a:cubicBezTo>
                    <a:pt x="2427" y="131"/>
                    <a:pt x="2426" y="136"/>
                    <a:pt x="2427" y="139"/>
                  </a:cubicBezTo>
                  <a:close/>
                  <a:moveTo>
                    <a:pt x="2410" y="114"/>
                  </a:moveTo>
                  <a:cubicBezTo>
                    <a:pt x="2413" y="116"/>
                    <a:pt x="2417" y="117"/>
                    <a:pt x="2424" y="116"/>
                  </a:cubicBezTo>
                  <a:cubicBezTo>
                    <a:pt x="2421" y="121"/>
                    <a:pt x="2408" y="123"/>
                    <a:pt x="2410" y="114"/>
                  </a:cubicBezTo>
                  <a:close/>
                  <a:moveTo>
                    <a:pt x="2413" y="130"/>
                  </a:moveTo>
                  <a:cubicBezTo>
                    <a:pt x="2414" y="140"/>
                    <a:pt x="2398" y="133"/>
                    <a:pt x="2394" y="133"/>
                  </a:cubicBezTo>
                  <a:cubicBezTo>
                    <a:pt x="2399" y="122"/>
                    <a:pt x="2404" y="136"/>
                    <a:pt x="2413" y="130"/>
                  </a:cubicBezTo>
                  <a:close/>
                  <a:moveTo>
                    <a:pt x="2405" y="151"/>
                  </a:moveTo>
                  <a:cubicBezTo>
                    <a:pt x="2402" y="159"/>
                    <a:pt x="2398" y="149"/>
                    <a:pt x="2394" y="149"/>
                  </a:cubicBezTo>
                  <a:cubicBezTo>
                    <a:pt x="2397" y="146"/>
                    <a:pt x="2404" y="144"/>
                    <a:pt x="2408" y="147"/>
                  </a:cubicBezTo>
                  <a:cubicBezTo>
                    <a:pt x="2408" y="149"/>
                    <a:pt x="2404" y="148"/>
                    <a:pt x="2402" y="149"/>
                  </a:cubicBezTo>
                  <a:cubicBezTo>
                    <a:pt x="2402" y="151"/>
                    <a:pt x="2403" y="151"/>
                    <a:pt x="2405" y="151"/>
                  </a:cubicBezTo>
                  <a:close/>
                  <a:moveTo>
                    <a:pt x="2393" y="116"/>
                  </a:moveTo>
                  <a:cubicBezTo>
                    <a:pt x="2392" y="119"/>
                    <a:pt x="2390" y="121"/>
                    <a:pt x="2385" y="121"/>
                  </a:cubicBezTo>
                  <a:cubicBezTo>
                    <a:pt x="2384" y="116"/>
                    <a:pt x="2389" y="117"/>
                    <a:pt x="2393" y="116"/>
                  </a:cubicBezTo>
                  <a:close/>
                  <a:moveTo>
                    <a:pt x="2374" y="100"/>
                  </a:moveTo>
                  <a:cubicBezTo>
                    <a:pt x="2374" y="100"/>
                    <a:pt x="2380" y="96"/>
                    <a:pt x="2382" y="98"/>
                  </a:cubicBezTo>
                  <a:cubicBezTo>
                    <a:pt x="2384" y="99"/>
                    <a:pt x="2371" y="105"/>
                    <a:pt x="2374" y="100"/>
                  </a:cubicBezTo>
                  <a:close/>
                  <a:moveTo>
                    <a:pt x="2360" y="100"/>
                  </a:moveTo>
                  <a:cubicBezTo>
                    <a:pt x="2366" y="100"/>
                    <a:pt x="2369" y="102"/>
                    <a:pt x="2368" y="107"/>
                  </a:cubicBezTo>
                  <a:cubicBezTo>
                    <a:pt x="2365" y="107"/>
                    <a:pt x="2361" y="107"/>
                    <a:pt x="2360" y="110"/>
                  </a:cubicBezTo>
                  <a:cubicBezTo>
                    <a:pt x="2352" y="108"/>
                    <a:pt x="2363" y="105"/>
                    <a:pt x="2360" y="100"/>
                  </a:cubicBezTo>
                  <a:close/>
                  <a:moveTo>
                    <a:pt x="2349" y="115"/>
                  </a:moveTo>
                  <a:cubicBezTo>
                    <a:pt x="2346" y="113"/>
                    <a:pt x="2344" y="110"/>
                    <a:pt x="2344" y="105"/>
                  </a:cubicBezTo>
                  <a:cubicBezTo>
                    <a:pt x="2347" y="106"/>
                    <a:pt x="2349" y="105"/>
                    <a:pt x="2349" y="103"/>
                  </a:cubicBezTo>
                  <a:cubicBezTo>
                    <a:pt x="2352" y="103"/>
                    <a:pt x="2351" y="105"/>
                    <a:pt x="2349" y="105"/>
                  </a:cubicBezTo>
                  <a:cubicBezTo>
                    <a:pt x="2349" y="112"/>
                    <a:pt x="2354" y="110"/>
                    <a:pt x="2349" y="115"/>
                  </a:cubicBezTo>
                  <a:close/>
                  <a:moveTo>
                    <a:pt x="2347" y="124"/>
                  </a:moveTo>
                  <a:cubicBezTo>
                    <a:pt x="2350" y="121"/>
                    <a:pt x="2352" y="122"/>
                    <a:pt x="2352" y="126"/>
                  </a:cubicBezTo>
                  <a:cubicBezTo>
                    <a:pt x="2346" y="127"/>
                    <a:pt x="2344" y="125"/>
                    <a:pt x="2344" y="119"/>
                  </a:cubicBezTo>
                  <a:cubicBezTo>
                    <a:pt x="2347" y="119"/>
                    <a:pt x="2346" y="122"/>
                    <a:pt x="2347" y="124"/>
                  </a:cubicBezTo>
                  <a:close/>
                  <a:moveTo>
                    <a:pt x="2349" y="86"/>
                  </a:moveTo>
                  <a:cubicBezTo>
                    <a:pt x="2357" y="88"/>
                    <a:pt x="2345" y="90"/>
                    <a:pt x="2346" y="94"/>
                  </a:cubicBezTo>
                  <a:cubicBezTo>
                    <a:pt x="2337" y="91"/>
                    <a:pt x="2349" y="89"/>
                    <a:pt x="2349" y="86"/>
                  </a:cubicBezTo>
                  <a:close/>
                  <a:moveTo>
                    <a:pt x="2327" y="94"/>
                  </a:moveTo>
                  <a:cubicBezTo>
                    <a:pt x="2330" y="94"/>
                    <a:pt x="2329" y="98"/>
                    <a:pt x="2330" y="101"/>
                  </a:cubicBezTo>
                  <a:cubicBezTo>
                    <a:pt x="2330" y="104"/>
                    <a:pt x="2335" y="103"/>
                    <a:pt x="2338" y="103"/>
                  </a:cubicBezTo>
                  <a:cubicBezTo>
                    <a:pt x="2336" y="105"/>
                    <a:pt x="2335" y="109"/>
                    <a:pt x="2336" y="113"/>
                  </a:cubicBezTo>
                  <a:cubicBezTo>
                    <a:pt x="2334" y="111"/>
                    <a:pt x="2331" y="110"/>
                    <a:pt x="2327" y="110"/>
                  </a:cubicBezTo>
                  <a:cubicBezTo>
                    <a:pt x="2328" y="106"/>
                    <a:pt x="2327" y="103"/>
                    <a:pt x="2322" y="103"/>
                  </a:cubicBezTo>
                  <a:cubicBezTo>
                    <a:pt x="2322" y="99"/>
                    <a:pt x="2329" y="100"/>
                    <a:pt x="2327" y="94"/>
                  </a:cubicBezTo>
                  <a:close/>
                  <a:moveTo>
                    <a:pt x="2322" y="125"/>
                  </a:moveTo>
                  <a:cubicBezTo>
                    <a:pt x="2327" y="125"/>
                    <a:pt x="2324" y="132"/>
                    <a:pt x="2328" y="134"/>
                  </a:cubicBezTo>
                  <a:cubicBezTo>
                    <a:pt x="2332" y="134"/>
                    <a:pt x="2338" y="135"/>
                    <a:pt x="2339" y="131"/>
                  </a:cubicBezTo>
                  <a:cubicBezTo>
                    <a:pt x="2343" y="132"/>
                    <a:pt x="2338" y="134"/>
                    <a:pt x="2339" y="138"/>
                  </a:cubicBezTo>
                  <a:cubicBezTo>
                    <a:pt x="2334" y="139"/>
                    <a:pt x="2334" y="136"/>
                    <a:pt x="2331" y="136"/>
                  </a:cubicBezTo>
                  <a:cubicBezTo>
                    <a:pt x="2327" y="139"/>
                    <a:pt x="2326" y="143"/>
                    <a:pt x="2317" y="141"/>
                  </a:cubicBezTo>
                  <a:cubicBezTo>
                    <a:pt x="2320" y="134"/>
                    <a:pt x="2320" y="134"/>
                    <a:pt x="2309" y="134"/>
                  </a:cubicBezTo>
                  <a:cubicBezTo>
                    <a:pt x="2299" y="129"/>
                    <a:pt x="2330" y="137"/>
                    <a:pt x="2322" y="125"/>
                  </a:cubicBezTo>
                  <a:close/>
                  <a:moveTo>
                    <a:pt x="2339" y="162"/>
                  </a:moveTo>
                  <a:cubicBezTo>
                    <a:pt x="2344" y="162"/>
                    <a:pt x="2341" y="170"/>
                    <a:pt x="2348" y="169"/>
                  </a:cubicBezTo>
                  <a:cubicBezTo>
                    <a:pt x="2345" y="175"/>
                    <a:pt x="2332" y="165"/>
                    <a:pt x="2339" y="162"/>
                  </a:cubicBezTo>
                  <a:close/>
                  <a:moveTo>
                    <a:pt x="2351" y="211"/>
                  </a:moveTo>
                  <a:cubicBezTo>
                    <a:pt x="2350" y="214"/>
                    <a:pt x="2348" y="216"/>
                    <a:pt x="2343" y="216"/>
                  </a:cubicBezTo>
                  <a:cubicBezTo>
                    <a:pt x="2342" y="211"/>
                    <a:pt x="2347" y="211"/>
                    <a:pt x="2351" y="211"/>
                  </a:cubicBezTo>
                  <a:close/>
                  <a:moveTo>
                    <a:pt x="2321" y="202"/>
                  </a:moveTo>
                  <a:cubicBezTo>
                    <a:pt x="2322" y="203"/>
                    <a:pt x="2331" y="208"/>
                    <a:pt x="2332" y="202"/>
                  </a:cubicBezTo>
                  <a:cubicBezTo>
                    <a:pt x="2337" y="205"/>
                    <a:pt x="2329" y="210"/>
                    <a:pt x="2335" y="216"/>
                  </a:cubicBezTo>
                  <a:cubicBezTo>
                    <a:pt x="2332" y="216"/>
                    <a:pt x="2330" y="217"/>
                    <a:pt x="2329" y="218"/>
                  </a:cubicBezTo>
                  <a:cubicBezTo>
                    <a:pt x="2326" y="218"/>
                    <a:pt x="2326" y="211"/>
                    <a:pt x="2329" y="211"/>
                  </a:cubicBezTo>
                  <a:cubicBezTo>
                    <a:pt x="2328" y="207"/>
                    <a:pt x="2319" y="210"/>
                    <a:pt x="2321" y="202"/>
                  </a:cubicBezTo>
                  <a:close/>
                  <a:moveTo>
                    <a:pt x="2309" y="141"/>
                  </a:moveTo>
                  <a:cubicBezTo>
                    <a:pt x="2304" y="142"/>
                    <a:pt x="2303" y="138"/>
                    <a:pt x="2298" y="139"/>
                  </a:cubicBezTo>
                  <a:cubicBezTo>
                    <a:pt x="2297" y="135"/>
                    <a:pt x="2313" y="135"/>
                    <a:pt x="2309" y="141"/>
                  </a:cubicBezTo>
                  <a:close/>
                  <a:moveTo>
                    <a:pt x="2287" y="132"/>
                  </a:moveTo>
                  <a:cubicBezTo>
                    <a:pt x="2289" y="132"/>
                    <a:pt x="2292" y="132"/>
                    <a:pt x="2295" y="132"/>
                  </a:cubicBezTo>
                  <a:cubicBezTo>
                    <a:pt x="2293" y="134"/>
                    <a:pt x="2294" y="140"/>
                    <a:pt x="2292" y="142"/>
                  </a:cubicBezTo>
                  <a:cubicBezTo>
                    <a:pt x="2292" y="142"/>
                    <a:pt x="2290" y="141"/>
                    <a:pt x="2290" y="142"/>
                  </a:cubicBezTo>
                  <a:cubicBezTo>
                    <a:pt x="2288" y="146"/>
                    <a:pt x="2294" y="155"/>
                    <a:pt x="2284" y="153"/>
                  </a:cubicBezTo>
                  <a:cubicBezTo>
                    <a:pt x="2289" y="149"/>
                    <a:pt x="2286" y="140"/>
                    <a:pt x="2287" y="132"/>
                  </a:cubicBezTo>
                  <a:close/>
                  <a:moveTo>
                    <a:pt x="2291" y="252"/>
                  </a:moveTo>
                  <a:cubicBezTo>
                    <a:pt x="2291" y="254"/>
                    <a:pt x="2291" y="255"/>
                    <a:pt x="2292" y="257"/>
                  </a:cubicBezTo>
                  <a:cubicBezTo>
                    <a:pt x="2290" y="257"/>
                    <a:pt x="2288" y="257"/>
                    <a:pt x="2286" y="257"/>
                  </a:cubicBezTo>
                  <a:cubicBezTo>
                    <a:pt x="2286" y="255"/>
                    <a:pt x="2286" y="254"/>
                    <a:pt x="2286" y="252"/>
                  </a:cubicBezTo>
                  <a:cubicBezTo>
                    <a:pt x="2288" y="252"/>
                    <a:pt x="2290" y="252"/>
                    <a:pt x="2291" y="252"/>
                  </a:cubicBezTo>
                  <a:close/>
                  <a:moveTo>
                    <a:pt x="2285" y="210"/>
                  </a:moveTo>
                  <a:cubicBezTo>
                    <a:pt x="2297" y="211"/>
                    <a:pt x="2283" y="223"/>
                    <a:pt x="2285" y="210"/>
                  </a:cubicBezTo>
                  <a:close/>
                  <a:moveTo>
                    <a:pt x="2278" y="283"/>
                  </a:moveTo>
                  <a:cubicBezTo>
                    <a:pt x="2279" y="280"/>
                    <a:pt x="2284" y="280"/>
                    <a:pt x="2284" y="283"/>
                  </a:cubicBezTo>
                  <a:cubicBezTo>
                    <a:pt x="2287" y="282"/>
                    <a:pt x="2286" y="278"/>
                    <a:pt x="2286" y="276"/>
                  </a:cubicBezTo>
                  <a:cubicBezTo>
                    <a:pt x="2289" y="277"/>
                    <a:pt x="2291" y="278"/>
                    <a:pt x="2292" y="275"/>
                  </a:cubicBezTo>
                  <a:cubicBezTo>
                    <a:pt x="2299" y="281"/>
                    <a:pt x="2284" y="287"/>
                    <a:pt x="2278" y="283"/>
                  </a:cubicBezTo>
                  <a:close/>
                  <a:moveTo>
                    <a:pt x="2303" y="282"/>
                  </a:moveTo>
                  <a:cubicBezTo>
                    <a:pt x="2303" y="281"/>
                    <a:pt x="2303" y="279"/>
                    <a:pt x="2303" y="278"/>
                  </a:cubicBezTo>
                  <a:cubicBezTo>
                    <a:pt x="2305" y="278"/>
                    <a:pt x="2307" y="278"/>
                    <a:pt x="2308" y="278"/>
                  </a:cubicBezTo>
                  <a:cubicBezTo>
                    <a:pt x="2308" y="279"/>
                    <a:pt x="2308" y="281"/>
                    <a:pt x="2308" y="282"/>
                  </a:cubicBezTo>
                  <a:cubicBezTo>
                    <a:pt x="2307" y="282"/>
                    <a:pt x="2305" y="282"/>
                    <a:pt x="2303" y="282"/>
                  </a:cubicBezTo>
                  <a:close/>
                  <a:moveTo>
                    <a:pt x="2311" y="278"/>
                  </a:moveTo>
                  <a:cubicBezTo>
                    <a:pt x="2316" y="277"/>
                    <a:pt x="2316" y="280"/>
                    <a:pt x="2319" y="280"/>
                  </a:cubicBezTo>
                  <a:cubicBezTo>
                    <a:pt x="2321" y="284"/>
                    <a:pt x="2307" y="283"/>
                    <a:pt x="2311" y="278"/>
                  </a:cubicBezTo>
                  <a:close/>
                  <a:moveTo>
                    <a:pt x="2311" y="254"/>
                  </a:moveTo>
                  <a:cubicBezTo>
                    <a:pt x="2313" y="254"/>
                    <a:pt x="2313" y="253"/>
                    <a:pt x="2313" y="252"/>
                  </a:cubicBezTo>
                  <a:cubicBezTo>
                    <a:pt x="2319" y="251"/>
                    <a:pt x="2318" y="262"/>
                    <a:pt x="2311" y="259"/>
                  </a:cubicBezTo>
                  <a:cubicBezTo>
                    <a:pt x="2311" y="257"/>
                    <a:pt x="2311" y="256"/>
                    <a:pt x="2311" y="254"/>
                  </a:cubicBezTo>
                  <a:close/>
                  <a:moveTo>
                    <a:pt x="2318" y="221"/>
                  </a:moveTo>
                  <a:cubicBezTo>
                    <a:pt x="2313" y="224"/>
                    <a:pt x="2314" y="217"/>
                    <a:pt x="2313" y="216"/>
                  </a:cubicBezTo>
                  <a:cubicBezTo>
                    <a:pt x="2307" y="216"/>
                    <a:pt x="2307" y="222"/>
                    <a:pt x="2308" y="231"/>
                  </a:cubicBezTo>
                  <a:cubicBezTo>
                    <a:pt x="2310" y="231"/>
                    <a:pt x="2310" y="230"/>
                    <a:pt x="2310" y="228"/>
                  </a:cubicBezTo>
                  <a:cubicBezTo>
                    <a:pt x="2319" y="229"/>
                    <a:pt x="2300" y="236"/>
                    <a:pt x="2310" y="238"/>
                  </a:cubicBezTo>
                  <a:cubicBezTo>
                    <a:pt x="2310" y="241"/>
                    <a:pt x="2303" y="239"/>
                    <a:pt x="2302" y="238"/>
                  </a:cubicBezTo>
                  <a:cubicBezTo>
                    <a:pt x="2301" y="234"/>
                    <a:pt x="2305" y="233"/>
                    <a:pt x="2305" y="231"/>
                  </a:cubicBezTo>
                  <a:cubicBezTo>
                    <a:pt x="2304" y="225"/>
                    <a:pt x="2302" y="221"/>
                    <a:pt x="2305" y="219"/>
                  </a:cubicBezTo>
                  <a:cubicBezTo>
                    <a:pt x="2306" y="211"/>
                    <a:pt x="2291" y="218"/>
                    <a:pt x="2293" y="210"/>
                  </a:cubicBezTo>
                  <a:cubicBezTo>
                    <a:pt x="2300" y="204"/>
                    <a:pt x="2307" y="219"/>
                    <a:pt x="2302" y="205"/>
                  </a:cubicBezTo>
                  <a:cubicBezTo>
                    <a:pt x="2307" y="205"/>
                    <a:pt x="2313" y="205"/>
                    <a:pt x="2318" y="205"/>
                  </a:cubicBezTo>
                  <a:cubicBezTo>
                    <a:pt x="2317" y="212"/>
                    <a:pt x="2325" y="216"/>
                    <a:pt x="2318" y="221"/>
                  </a:cubicBezTo>
                  <a:close/>
                  <a:moveTo>
                    <a:pt x="2321" y="228"/>
                  </a:moveTo>
                  <a:cubicBezTo>
                    <a:pt x="2321" y="226"/>
                    <a:pt x="2321" y="225"/>
                    <a:pt x="2321" y="223"/>
                  </a:cubicBezTo>
                  <a:cubicBezTo>
                    <a:pt x="2323" y="223"/>
                    <a:pt x="2325" y="223"/>
                    <a:pt x="2327" y="223"/>
                  </a:cubicBezTo>
                  <a:cubicBezTo>
                    <a:pt x="2327" y="225"/>
                    <a:pt x="2327" y="226"/>
                    <a:pt x="2327" y="228"/>
                  </a:cubicBezTo>
                  <a:cubicBezTo>
                    <a:pt x="2325" y="228"/>
                    <a:pt x="2323" y="228"/>
                    <a:pt x="2321" y="228"/>
                  </a:cubicBezTo>
                  <a:close/>
                  <a:moveTo>
                    <a:pt x="2327" y="258"/>
                  </a:moveTo>
                  <a:cubicBezTo>
                    <a:pt x="2339" y="259"/>
                    <a:pt x="2325" y="272"/>
                    <a:pt x="2327" y="258"/>
                  </a:cubicBezTo>
                  <a:close/>
                  <a:moveTo>
                    <a:pt x="2338" y="249"/>
                  </a:moveTo>
                  <a:cubicBezTo>
                    <a:pt x="2336" y="248"/>
                    <a:pt x="2335" y="247"/>
                    <a:pt x="2333" y="247"/>
                  </a:cubicBezTo>
                  <a:cubicBezTo>
                    <a:pt x="2333" y="245"/>
                    <a:pt x="2335" y="244"/>
                    <a:pt x="2335" y="242"/>
                  </a:cubicBezTo>
                  <a:cubicBezTo>
                    <a:pt x="2337" y="242"/>
                    <a:pt x="2338" y="244"/>
                    <a:pt x="2341" y="244"/>
                  </a:cubicBezTo>
                  <a:cubicBezTo>
                    <a:pt x="2340" y="246"/>
                    <a:pt x="2338" y="246"/>
                    <a:pt x="2338" y="249"/>
                  </a:cubicBezTo>
                  <a:close/>
                  <a:moveTo>
                    <a:pt x="2341" y="239"/>
                  </a:moveTo>
                  <a:cubicBezTo>
                    <a:pt x="2342" y="236"/>
                    <a:pt x="2349" y="237"/>
                    <a:pt x="2346" y="230"/>
                  </a:cubicBezTo>
                  <a:cubicBezTo>
                    <a:pt x="2351" y="234"/>
                    <a:pt x="2351" y="238"/>
                    <a:pt x="2349" y="244"/>
                  </a:cubicBezTo>
                  <a:cubicBezTo>
                    <a:pt x="2346" y="242"/>
                    <a:pt x="2346" y="239"/>
                    <a:pt x="2341" y="239"/>
                  </a:cubicBezTo>
                  <a:close/>
                  <a:moveTo>
                    <a:pt x="2352" y="282"/>
                  </a:moveTo>
                  <a:cubicBezTo>
                    <a:pt x="2351" y="286"/>
                    <a:pt x="2347" y="283"/>
                    <a:pt x="2349" y="274"/>
                  </a:cubicBezTo>
                  <a:cubicBezTo>
                    <a:pt x="2351" y="268"/>
                    <a:pt x="2353" y="280"/>
                    <a:pt x="2352" y="282"/>
                  </a:cubicBezTo>
                  <a:close/>
                  <a:moveTo>
                    <a:pt x="2347" y="138"/>
                  </a:moveTo>
                  <a:cubicBezTo>
                    <a:pt x="2345" y="138"/>
                    <a:pt x="2344" y="139"/>
                    <a:pt x="2344" y="141"/>
                  </a:cubicBezTo>
                  <a:cubicBezTo>
                    <a:pt x="2334" y="139"/>
                    <a:pt x="2360" y="133"/>
                    <a:pt x="2344" y="134"/>
                  </a:cubicBezTo>
                  <a:cubicBezTo>
                    <a:pt x="2344" y="126"/>
                    <a:pt x="2351" y="134"/>
                    <a:pt x="2355" y="133"/>
                  </a:cubicBezTo>
                  <a:cubicBezTo>
                    <a:pt x="2358" y="133"/>
                    <a:pt x="2389" y="124"/>
                    <a:pt x="2377" y="140"/>
                  </a:cubicBezTo>
                  <a:cubicBezTo>
                    <a:pt x="2371" y="141"/>
                    <a:pt x="2374" y="133"/>
                    <a:pt x="2369" y="133"/>
                  </a:cubicBezTo>
                  <a:cubicBezTo>
                    <a:pt x="2365" y="138"/>
                    <a:pt x="2354" y="143"/>
                    <a:pt x="2347" y="138"/>
                  </a:cubicBezTo>
                  <a:close/>
                  <a:moveTo>
                    <a:pt x="2354" y="213"/>
                  </a:moveTo>
                  <a:cubicBezTo>
                    <a:pt x="2356" y="211"/>
                    <a:pt x="2358" y="207"/>
                    <a:pt x="2354" y="206"/>
                  </a:cubicBezTo>
                  <a:cubicBezTo>
                    <a:pt x="2355" y="201"/>
                    <a:pt x="2367" y="205"/>
                    <a:pt x="2373" y="204"/>
                  </a:cubicBezTo>
                  <a:cubicBezTo>
                    <a:pt x="2382" y="205"/>
                    <a:pt x="2368" y="207"/>
                    <a:pt x="2365" y="206"/>
                  </a:cubicBezTo>
                  <a:cubicBezTo>
                    <a:pt x="2358" y="205"/>
                    <a:pt x="2363" y="215"/>
                    <a:pt x="2354" y="213"/>
                  </a:cubicBezTo>
                  <a:close/>
                  <a:moveTo>
                    <a:pt x="2373" y="218"/>
                  </a:moveTo>
                  <a:cubicBezTo>
                    <a:pt x="2371" y="215"/>
                    <a:pt x="2363" y="217"/>
                    <a:pt x="2365" y="211"/>
                  </a:cubicBezTo>
                  <a:cubicBezTo>
                    <a:pt x="2371" y="210"/>
                    <a:pt x="2374" y="213"/>
                    <a:pt x="2373" y="218"/>
                  </a:cubicBezTo>
                  <a:close/>
                  <a:moveTo>
                    <a:pt x="2363" y="263"/>
                  </a:moveTo>
                  <a:cubicBezTo>
                    <a:pt x="2362" y="262"/>
                    <a:pt x="2357" y="267"/>
                    <a:pt x="2358" y="267"/>
                  </a:cubicBezTo>
                  <a:cubicBezTo>
                    <a:pt x="2351" y="265"/>
                    <a:pt x="2366" y="255"/>
                    <a:pt x="2366" y="265"/>
                  </a:cubicBezTo>
                  <a:cubicBezTo>
                    <a:pt x="2363" y="266"/>
                    <a:pt x="2364" y="263"/>
                    <a:pt x="2363" y="263"/>
                  </a:cubicBezTo>
                  <a:close/>
                  <a:moveTo>
                    <a:pt x="2374" y="255"/>
                  </a:moveTo>
                  <a:cubicBezTo>
                    <a:pt x="2366" y="252"/>
                    <a:pt x="2360" y="247"/>
                    <a:pt x="2368" y="241"/>
                  </a:cubicBezTo>
                  <a:cubicBezTo>
                    <a:pt x="2367" y="238"/>
                    <a:pt x="2363" y="239"/>
                    <a:pt x="2363" y="241"/>
                  </a:cubicBezTo>
                  <a:cubicBezTo>
                    <a:pt x="2356" y="240"/>
                    <a:pt x="2361" y="230"/>
                    <a:pt x="2368" y="232"/>
                  </a:cubicBezTo>
                  <a:cubicBezTo>
                    <a:pt x="2367" y="229"/>
                    <a:pt x="2363" y="230"/>
                    <a:pt x="2360" y="230"/>
                  </a:cubicBezTo>
                  <a:cubicBezTo>
                    <a:pt x="2360" y="225"/>
                    <a:pt x="2367" y="227"/>
                    <a:pt x="2365" y="220"/>
                  </a:cubicBezTo>
                  <a:cubicBezTo>
                    <a:pt x="2369" y="223"/>
                    <a:pt x="2371" y="232"/>
                    <a:pt x="2368" y="234"/>
                  </a:cubicBezTo>
                  <a:cubicBezTo>
                    <a:pt x="2366" y="238"/>
                    <a:pt x="2381" y="238"/>
                    <a:pt x="2379" y="234"/>
                  </a:cubicBezTo>
                  <a:cubicBezTo>
                    <a:pt x="2385" y="235"/>
                    <a:pt x="2374" y="244"/>
                    <a:pt x="2371" y="239"/>
                  </a:cubicBezTo>
                  <a:cubicBezTo>
                    <a:pt x="2370" y="243"/>
                    <a:pt x="2373" y="243"/>
                    <a:pt x="2376" y="244"/>
                  </a:cubicBezTo>
                  <a:cubicBezTo>
                    <a:pt x="2378" y="249"/>
                    <a:pt x="2371" y="249"/>
                    <a:pt x="2374" y="255"/>
                  </a:cubicBezTo>
                  <a:close/>
                  <a:moveTo>
                    <a:pt x="2377" y="283"/>
                  </a:moveTo>
                  <a:cubicBezTo>
                    <a:pt x="2375" y="283"/>
                    <a:pt x="2375" y="284"/>
                    <a:pt x="2374" y="286"/>
                  </a:cubicBezTo>
                  <a:cubicBezTo>
                    <a:pt x="2367" y="283"/>
                    <a:pt x="2381" y="279"/>
                    <a:pt x="2388" y="281"/>
                  </a:cubicBezTo>
                  <a:cubicBezTo>
                    <a:pt x="2388" y="283"/>
                    <a:pt x="2388" y="286"/>
                    <a:pt x="2388" y="288"/>
                  </a:cubicBezTo>
                  <a:cubicBezTo>
                    <a:pt x="2380" y="291"/>
                    <a:pt x="2381" y="284"/>
                    <a:pt x="2377" y="283"/>
                  </a:cubicBezTo>
                  <a:close/>
                  <a:moveTo>
                    <a:pt x="2381" y="218"/>
                  </a:moveTo>
                  <a:cubicBezTo>
                    <a:pt x="2378" y="217"/>
                    <a:pt x="2379" y="213"/>
                    <a:pt x="2376" y="213"/>
                  </a:cubicBezTo>
                  <a:cubicBezTo>
                    <a:pt x="2377" y="205"/>
                    <a:pt x="2383" y="215"/>
                    <a:pt x="2387" y="215"/>
                  </a:cubicBezTo>
                  <a:cubicBezTo>
                    <a:pt x="2387" y="215"/>
                    <a:pt x="2390" y="215"/>
                    <a:pt x="2390" y="215"/>
                  </a:cubicBezTo>
                  <a:cubicBezTo>
                    <a:pt x="2392" y="221"/>
                    <a:pt x="2379" y="212"/>
                    <a:pt x="2381" y="218"/>
                  </a:cubicBezTo>
                  <a:close/>
                  <a:moveTo>
                    <a:pt x="2409" y="224"/>
                  </a:moveTo>
                  <a:cubicBezTo>
                    <a:pt x="2413" y="225"/>
                    <a:pt x="2416" y="227"/>
                    <a:pt x="2420" y="229"/>
                  </a:cubicBezTo>
                  <a:cubicBezTo>
                    <a:pt x="2419" y="234"/>
                    <a:pt x="2407" y="229"/>
                    <a:pt x="2409" y="224"/>
                  </a:cubicBezTo>
                  <a:close/>
                  <a:moveTo>
                    <a:pt x="2425" y="217"/>
                  </a:moveTo>
                  <a:cubicBezTo>
                    <a:pt x="2426" y="211"/>
                    <a:pt x="2435" y="216"/>
                    <a:pt x="2436" y="217"/>
                  </a:cubicBezTo>
                  <a:cubicBezTo>
                    <a:pt x="2435" y="224"/>
                    <a:pt x="2430" y="214"/>
                    <a:pt x="2425" y="217"/>
                  </a:cubicBezTo>
                  <a:close/>
                  <a:moveTo>
                    <a:pt x="2436" y="212"/>
                  </a:moveTo>
                  <a:cubicBezTo>
                    <a:pt x="2437" y="211"/>
                    <a:pt x="2442" y="208"/>
                    <a:pt x="2444" y="209"/>
                  </a:cubicBezTo>
                  <a:cubicBezTo>
                    <a:pt x="2451" y="214"/>
                    <a:pt x="2433" y="220"/>
                    <a:pt x="2436" y="212"/>
                  </a:cubicBezTo>
                  <a:close/>
                  <a:moveTo>
                    <a:pt x="2453" y="259"/>
                  </a:moveTo>
                  <a:cubicBezTo>
                    <a:pt x="2451" y="259"/>
                    <a:pt x="2448" y="259"/>
                    <a:pt x="2445" y="259"/>
                  </a:cubicBezTo>
                  <a:cubicBezTo>
                    <a:pt x="2447" y="252"/>
                    <a:pt x="2449" y="256"/>
                    <a:pt x="2456" y="256"/>
                  </a:cubicBezTo>
                  <a:cubicBezTo>
                    <a:pt x="2456" y="260"/>
                    <a:pt x="2456" y="263"/>
                    <a:pt x="2459" y="263"/>
                  </a:cubicBezTo>
                  <a:cubicBezTo>
                    <a:pt x="2458" y="270"/>
                    <a:pt x="2450" y="263"/>
                    <a:pt x="2453" y="259"/>
                  </a:cubicBezTo>
                  <a:close/>
                  <a:moveTo>
                    <a:pt x="2464" y="237"/>
                  </a:moveTo>
                  <a:cubicBezTo>
                    <a:pt x="2460" y="238"/>
                    <a:pt x="2463" y="244"/>
                    <a:pt x="2459" y="244"/>
                  </a:cubicBezTo>
                  <a:cubicBezTo>
                    <a:pt x="2457" y="240"/>
                    <a:pt x="2460" y="238"/>
                    <a:pt x="2461" y="235"/>
                  </a:cubicBezTo>
                  <a:cubicBezTo>
                    <a:pt x="2466" y="234"/>
                    <a:pt x="2467" y="237"/>
                    <a:pt x="2464" y="237"/>
                  </a:cubicBezTo>
                  <a:close/>
                  <a:moveTo>
                    <a:pt x="2478" y="246"/>
                  </a:moveTo>
                  <a:cubicBezTo>
                    <a:pt x="2484" y="241"/>
                    <a:pt x="2475" y="239"/>
                    <a:pt x="2481" y="235"/>
                  </a:cubicBezTo>
                  <a:cubicBezTo>
                    <a:pt x="2485" y="234"/>
                    <a:pt x="2486" y="250"/>
                    <a:pt x="2478" y="246"/>
                  </a:cubicBezTo>
                  <a:close/>
                  <a:moveTo>
                    <a:pt x="2497" y="253"/>
                  </a:moveTo>
                  <a:cubicBezTo>
                    <a:pt x="2497" y="251"/>
                    <a:pt x="2501" y="251"/>
                    <a:pt x="2503" y="251"/>
                  </a:cubicBezTo>
                  <a:cubicBezTo>
                    <a:pt x="2505" y="251"/>
                    <a:pt x="2508" y="251"/>
                    <a:pt x="2511" y="251"/>
                  </a:cubicBezTo>
                  <a:cubicBezTo>
                    <a:pt x="2512" y="256"/>
                    <a:pt x="2501" y="252"/>
                    <a:pt x="2497" y="253"/>
                  </a:cubicBezTo>
                  <a:close/>
                  <a:moveTo>
                    <a:pt x="2503" y="248"/>
                  </a:moveTo>
                  <a:cubicBezTo>
                    <a:pt x="2503" y="245"/>
                    <a:pt x="2503" y="242"/>
                    <a:pt x="2503" y="239"/>
                  </a:cubicBezTo>
                  <a:cubicBezTo>
                    <a:pt x="2505" y="239"/>
                    <a:pt x="2505" y="242"/>
                    <a:pt x="2505" y="244"/>
                  </a:cubicBezTo>
                  <a:cubicBezTo>
                    <a:pt x="2509" y="244"/>
                    <a:pt x="2510" y="243"/>
                    <a:pt x="2511" y="241"/>
                  </a:cubicBezTo>
                  <a:cubicBezTo>
                    <a:pt x="2519" y="244"/>
                    <a:pt x="2507" y="249"/>
                    <a:pt x="2503" y="248"/>
                  </a:cubicBezTo>
                  <a:close/>
                  <a:moveTo>
                    <a:pt x="2517" y="269"/>
                  </a:moveTo>
                  <a:cubicBezTo>
                    <a:pt x="2512" y="275"/>
                    <a:pt x="2517" y="268"/>
                    <a:pt x="2517" y="265"/>
                  </a:cubicBezTo>
                  <a:cubicBezTo>
                    <a:pt x="2517" y="256"/>
                    <a:pt x="2524" y="271"/>
                    <a:pt x="2517" y="269"/>
                  </a:cubicBezTo>
                  <a:close/>
                  <a:moveTo>
                    <a:pt x="2535" y="241"/>
                  </a:moveTo>
                  <a:cubicBezTo>
                    <a:pt x="2533" y="237"/>
                    <a:pt x="2522" y="241"/>
                    <a:pt x="2524" y="234"/>
                  </a:cubicBezTo>
                  <a:cubicBezTo>
                    <a:pt x="2527" y="232"/>
                    <a:pt x="2532" y="231"/>
                    <a:pt x="2538" y="231"/>
                  </a:cubicBezTo>
                  <a:cubicBezTo>
                    <a:pt x="2538" y="235"/>
                    <a:pt x="2535" y="236"/>
                    <a:pt x="2535" y="241"/>
                  </a:cubicBezTo>
                  <a:close/>
                  <a:moveTo>
                    <a:pt x="2543" y="219"/>
                  </a:moveTo>
                  <a:cubicBezTo>
                    <a:pt x="2538" y="215"/>
                    <a:pt x="2538" y="221"/>
                    <a:pt x="2530" y="220"/>
                  </a:cubicBezTo>
                  <a:cubicBezTo>
                    <a:pt x="2526" y="217"/>
                    <a:pt x="2529" y="216"/>
                    <a:pt x="2530" y="213"/>
                  </a:cubicBezTo>
                  <a:cubicBezTo>
                    <a:pt x="2524" y="212"/>
                    <a:pt x="2521" y="215"/>
                    <a:pt x="2521" y="220"/>
                  </a:cubicBezTo>
                  <a:cubicBezTo>
                    <a:pt x="2511" y="215"/>
                    <a:pt x="2520" y="208"/>
                    <a:pt x="2529" y="208"/>
                  </a:cubicBezTo>
                  <a:cubicBezTo>
                    <a:pt x="2529" y="203"/>
                    <a:pt x="2521" y="208"/>
                    <a:pt x="2521" y="208"/>
                  </a:cubicBezTo>
                  <a:cubicBezTo>
                    <a:pt x="2518" y="208"/>
                    <a:pt x="2517" y="204"/>
                    <a:pt x="2513" y="203"/>
                  </a:cubicBezTo>
                  <a:cubicBezTo>
                    <a:pt x="2513" y="209"/>
                    <a:pt x="2518" y="209"/>
                    <a:pt x="2513" y="213"/>
                  </a:cubicBezTo>
                  <a:cubicBezTo>
                    <a:pt x="2511" y="215"/>
                    <a:pt x="2519" y="239"/>
                    <a:pt x="2508" y="236"/>
                  </a:cubicBezTo>
                  <a:cubicBezTo>
                    <a:pt x="2507" y="233"/>
                    <a:pt x="2510" y="232"/>
                    <a:pt x="2511" y="229"/>
                  </a:cubicBezTo>
                  <a:cubicBezTo>
                    <a:pt x="2508" y="225"/>
                    <a:pt x="2504" y="222"/>
                    <a:pt x="2499" y="220"/>
                  </a:cubicBezTo>
                  <a:cubicBezTo>
                    <a:pt x="2499" y="216"/>
                    <a:pt x="2501" y="211"/>
                    <a:pt x="2497" y="211"/>
                  </a:cubicBezTo>
                  <a:cubicBezTo>
                    <a:pt x="2493" y="211"/>
                    <a:pt x="2496" y="214"/>
                    <a:pt x="2497" y="213"/>
                  </a:cubicBezTo>
                  <a:cubicBezTo>
                    <a:pt x="2492" y="219"/>
                    <a:pt x="2486" y="214"/>
                    <a:pt x="2483" y="220"/>
                  </a:cubicBezTo>
                  <a:cubicBezTo>
                    <a:pt x="2481" y="219"/>
                    <a:pt x="2479" y="218"/>
                    <a:pt x="2475" y="218"/>
                  </a:cubicBezTo>
                  <a:cubicBezTo>
                    <a:pt x="2474" y="226"/>
                    <a:pt x="2487" y="222"/>
                    <a:pt x="2483" y="232"/>
                  </a:cubicBezTo>
                  <a:cubicBezTo>
                    <a:pt x="2479" y="233"/>
                    <a:pt x="2478" y="230"/>
                    <a:pt x="2478" y="228"/>
                  </a:cubicBezTo>
                  <a:cubicBezTo>
                    <a:pt x="2478" y="225"/>
                    <a:pt x="2473" y="227"/>
                    <a:pt x="2472" y="225"/>
                  </a:cubicBezTo>
                  <a:cubicBezTo>
                    <a:pt x="2472" y="225"/>
                    <a:pt x="2472" y="216"/>
                    <a:pt x="2469" y="218"/>
                  </a:cubicBezTo>
                  <a:cubicBezTo>
                    <a:pt x="2467" y="220"/>
                    <a:pt x="2464" y="221"/>
                    <a:pt x="2464" y="211"/>
                  </a:cubicBezTo>
                  <a:cubicBezTo>
                    <a:pt x="2459" y="214"/>
                    <a:pt x="2460" y="221"/>
                    <a:pt x="2450" y="219"/>
                  </a:cubicBezTo>
                  <a:cubicBezTo>
                    <a:pt x="2450" y="216"/>
                    <a:pt x="2449" y="214"/>
                    <a:pt x="2447" y="214"/>
                  </a:cubicBezTo>
                  <a:cubicBezTo>
                    <a:pt x="2446" y="210"/>
                    <a:pt x="2449" y="210"/>
                    <a:pt x="2453" y="209"/>
                  </a:cubicBezTo>
                  <a:cubicBezTo>
                    <a:pt x="2452" y="207"/>
                    <a:pt x="2447" y="208"/>
                    <a:pt x="2447" y="205"/>
                  </a:cubicBezTo>
                  <a:cubicBezTo>
                    <a:pt x="2436" y="206"/>
                    <a:pt x="2426" y="206"/>
                    <a:pt x="2414" y="205"/>
                  </a:cubicBezTo>
                  <a:cubicBezTo>
                    <a:pt x="2406" y="208"/>
                    <a:pt x="2418" y="211"/>
                    <a:pt x="2412" y="215"/>
                  </a:cubicBezTo>
                  <a:cubicBezTo>
                    <a:pt x="2408" y="215"/>
                    <a:pt x="2404" y="215"/>
                    <a:pt x="2401" y="215"/>
                  </a:cubicBezTo>
                  <a:cubicBezTo>
                    <a:pt x="2400" y="211"/>
                    <a:pt x="2403" y="211"/>
                    <a:pt x="2403" y="208"/>
                  </a:cubicBezTo>
                  <a:cubicBezTo>
                    <a:pt x="2400" y="201"/>
                    <a:pt x="2389" y="208"/>
                    <a:pt x="2384" y="208"/>
                  </a:cubicBezTo>
                  <a:cubicBezTo>
                    <a:pt x="2378" y="197"/>
                    <a:pt x="2422" y="207"/>
                    <a:pt x="2411" y="201"/>
                  </a:cubicBezTo>
                  <a:cubicBezTo>
                    <a:pt x="2412" y="198"/>
                    <a:pt x="2414" y="199"/>
                    <a:pt x="2414" y="200"/>
                  </a:cubicBezTo>
                  <a:cubicBezTo>
                    <a:pt x="2421" y="203"/>
                    <a:pt x="2431" y="203"/>
                    <a:pt x="2442" y="202"/>
                  </a:cubicBezTo>
                  <a:cubicBezTo>
                    <a:pt x="2444" y="201"/>
                    <a:pt x="2446" y="200"/>
                    <a:pt x="2450" y="200"/>
                  </a:cubicBezTo>
                  <a:cubicBezTo>
                    <a:pt x="2450" y="198"/>
                    <a:pt x="2450" y="195"/>
                    <a:pt x="2450" y="193"/>
                  </a:cubicBezTo>
                  <a:cubicBezTo>
                    <a:pt x="2456" y="187"/>
                    <a:pt x="2447" y="202"/>
                    <a:pt x="2458" y="202"/>
                  </a:cubicBezTo>
                  <a:cubicBezTo>
                    <a:pt x="2463" y="202"/>
                    <a:pt x="2468" y="203"/>
                    <a:pt x="2463" y="204"/>
                  </a:cubicBezTo>
                  <a:cubicBezTo>
                    <a:pt x="2460" y="206"/>
                    <a:pt x="2455" y="203"/>
                    <a:pt x="2455" y="207"/>
                  </a:cubicBezTo>
                  <a:cubicBezTo>
                    <a:pt x="2453" y="211"/>
                    <a:pt x="2468" y="210"/>
                    <a:pt x="2466" y="207"/>
                  </a:cubicBezTo>
                  <a:cubicBezTo>
                    <a:pt x="2469" y="205"/>
                    <a:pt x="2469" y="201"/>
                    <a:pt x="2474" y="202"/>
                  </a:cubicBezTo>
                  <a:cubicBezTo>
                    <a:pt x="2474" y="198"/>
                    <a:pt x="2477" y="198"/>
                    <a:pt x="2477" y="195"/>
                  </a:cubicBezTo>
                  <a:cubicBezTo>
                    <a:pt x="2481" y="195"/>
                    <a:pt x="2478" y="202"/>
                    <a:pt x="2483" y="202"/>
                  </a:cubicBezTo>
                  <a:cubicBezTo>
                    <a:pt x="2490" y="202"/>
                    <a:pt x="2492" y="198"/>
                    <a:pt x="2491" y="192"/>
                  </a:cubicBezTo>
                  <a:cubicBezTo>
                    <a:pt x="2499" y="194"/>
                    <a:pt x="2494" y="196"/>
                    <a:pt x="2494" y="201"/>
                  </a:cubicBezTo>
                  <a:cubicBezTo>
                    <a:pt x="2500" y="202"/>
                    <a:pt x="2504" y="201"/>
                    <a:pt x="2505" y="197"/>
                  </a:cubicBezTo>
                  <a:cubicBezTo>
                    <a:pt x="2508" y="196"/>
                    <a:pt x="2506" y="200"/>
                    <a:pt x="2507" y="201"/>
                  </a:cubicBezTo>
                  <a:cubicBezTo>
                    <a:pt x="2511" y="203"/>
                    <a:pt x="2519" y="200"/>
                    <a:pt x="2524" y="201"/>
                  </a:cubicBezTo>
                  <a:cubicBezTo>
                    <a:pt x="2527" y="200"/>
                    <a:pt x="2529" y="198"/>
                    <a:pt x="2529" y="194"/>
                  </a:cubicBezTo>
                  <a:cubicBezTo>
                    <a:pt x="2540" y="192"/>
                    <a:pt x="2540" y="192"/>
                    <a:pt x="2551" y="193"/>
                  </a:cubicBezTo>
                  <a:cubicBezTo>
                    <a:pt x="2553" y="201"/>
                    <a:pt x="2548" y="202"/>
                    <a:pt x="2549" y="208"/>
                  </a:cubicBezTo>
                  <a:cubicBezTo>
                    <a:pt x="2546" y="206"/>
                    <a:pt x="2542" y="205"/>
                    <a:pt x="2538" y="205"/>
                  </a:cubicBezTo>
                  <a:cubicBezTo>
                    <a:pt x="2537" y="212"/>
                    <a:pt x="2544" y="213"/>
                    <a:pt x="2543" y="219"/>
                  </a:cubicBezTo>
                  <a:close/>
                  <a:moveTo>
                    <a:pt x="2549" y="212"/>
                  </a:moveTo>
                  <a:cubicBezTo>
                    <a:pt x="2550" y="209"/>
                    <a:pt x="2552" y="213"/>
                    <a:pt x="2557" y="212"/>
                  </a:cubicBezTo>
                  <a:cubicBezTo>
                    <a:pt x="2559" y="219"/>
                    <a:pt x="2547" y="215"/>
                    <a:pt x="2552" y="224"/>
                  </a:cubicBezTo>
                  <a:cubicBezTo>
                    <a:pt x="2539" y="223"/>
                    <a:pt x="2556" y="214"/>
                    <a:pt x="2549" y="212"/>
                  </a:cubicBezTo>
                  <a:close/>
                  <a:moveTo>
                    <a:pt x="2549" y="238"/>
                  </a:moveTo>
                  <a:cubicBezTo>
                    <a:pt x="2548" y="233"/>
                    <a:pt x="2554" y="235"/>
                    <a:pt x="2554" y="231"/>
                  </a:cubicBezTo>
                  <a:cubicBezTo>
                    <a:pt x="2558" y="231"/>
                    <a:pt x="2557" y="235"/>
                    <a:pt x="2557" y="238"/>
                  </a:cubicBezTo>
                  <a:cubicBezTo>
                    <a:pt x="2555" y="238"/>
                    <a:pt x="2552" y="238"/>
                    <a:pt x="2549" y="238"/>
                  </a:cubicBezTo>
                  <a:close/>
                  <a:moveTo>
                    <a:pt x="2553" y="146"/>
                  </a:moveTo>
                  <a:cubicBezTo>
                    <a:pt x="2555" y="146"/>
                    <a:pt x="2557" y="146"/>
                    <a:pt x="2559" y="146"/>
                  </a:cubicBezTo>
                  <a:cubicBezTo>
                    <a:pt x="2559" y="153"/>
                    <a:pt x="2538" y="146"/>
                    <a:pt x="2553" y="146"/>
                  </a:cubicBezTo>
                  <a:close/>
                  <a:moveTo>
                    <a:pt x="2570" y="167"/>
                  </a:moveTo>
                  <a:cubicBezTo>
                    <a:pt x="2567" y="175"/>
                    <a:pt x="2562" y="165"/>
                    <a:pt x="2564" y="160"/>
                  </a:cubicBezTo>
                  <a:cubicBezTo>
                    <a:pt x="2568" y="161"/>
                    <a:pt x="2565" y="167"/>
                    <a:pt x="2570" y="167"/>
                  </a:cubicBezTo>
                  <a:close/>
                  <a:moveTo>
                    <a:pt x="2567" y="137"/>
                  </a:moveTo>
                  <a:cubicBezTo>
                    <a:pt x="2570" y="138"/>
                    <a:pt x="2572" y="140"/>
                    <a:pt x="2572" y="144"/>
                  </a:cubicBezTo>
                  <a:cubicBezTo>
                    <a:pt x="2569" y="143"/>
                    <a:pt x="2566" y="141"/>
                    <a:pt x="2567" y="137"/>
                  </a:cubicBezTo>
                  <a:close/>
                  <a:moveTo>
                    <a:pt x="2568" y="191"/>
                  </a:moveTo>
                  <a:cubicBezTo>
                    <a:pt x="2570" y="191"/>
                    <a:pt x="2573" y="191"/>
                    <a:pt x="2576" y="191"/>
                  </a:cubicBezTo>
                  <a:cubicBezTo>
                    <a:pt x="2575" y="196"/>
                    <a:pt x="2564" y="192"/>
                    <a:pt x="2559" y="193"/>
                  </a:cubicBezTo>
                  <a:cubicBezTo>
                    <a:pt x="2560" y="190"/>
                    <a:pt x="2564" y="191"/>
                    <a:pt x="2568" y="191"/>
                  </a:cubicBezTo>
                  <a:close/>
                  <a:moveTo>
                    <a:pt x="2559" y="200"/>
                  </a:moveTo>
                  <a:cubicBezTo>
                    <a:pt x="2562" y="205"/>
                    <a:pt x="2573" y="201"/>
                    <a:pt x="2565" y="198"/>
                  </a:cubicBezTo>
                  <a:cubicBezTo>
                    <a:pt x="2567" y="194"/>
                    <a:pt x="2569" y="198"/>
                    <a:pt x="2576" y="195"/>
                  </a:cubicBezTo>
                  <a:cubicBezTo>
                    <a:pt x="2576" y="199"/>
                    <a:pt x="2564" y="203"/>
                    <a:pt x="2576" y="202"/>
                  </a:cubicBezTo>
                  <a:cubicBezTo>
                    <a:pt x="2586" y="207"/>
                    <a:pt x="2561" y="202"/>
                    <a:pt x="2562" y="207"/>
                  </a:cubicBezTo>
                  <a:cubicBezTo>
                    <a:pt x="2560" y="208"/>
                    <a:pt x="2560" y="206"/>
                    <a:pt x="2560" y="205"/>
                  </a:cubicBezTo>
                  <a:cubicBezTo>
                    <a:pt x="2560" y="203"/>
                    <a:pt x="2560" y="202"/>
                    <a:pt x="2559" y="200"/>
                  </a:cubicBezTo>
                  <a:close/>
                  <a:moveTo>
                    <a:pt x="2595" y="219"/>
                  </a:moveTo>
                  <a:cubicBezTo>
                    <a:pt x="2593" y="223"/>
                    <a:pt x="2594" y="216"/>
                    <a:pt x="2590" y="216"/>
                  </a:cubicBezTo>
                  <a:cubicBezTo>
                    <a:pt x="2587" y="216"/>
                    <a:pt x="2585" y="212"/>
                    <a:pt x="2584" y="207"/>
                  </a:cubicBezTo>
                  <a:cubicBezTo>
                    <a:pt x="2588" y="207"/>
                    <a:pt x="2592" y="207"/>
                    <a:pt x="2595" y="207"/>
                  </a:cubicBezTo>
                  <a:cubicBezTo>
                    <a:pt x="2597" y="214"/>
                    <a:pt x="2590" y="214"/>
                    <a:pt x="2595" y="219"/>
                  </a:cubicBezTo>
                  <a:close/>
                  <a:moveTo>
                    <a:pt x="2591" y="263"/>
                  </a:moveTo>
                  <a:cubicBezTo>
                    <a:pt x="2589" y="268"/>
                    <a:pt x="2586" y="265"/>
                    <a:pt x="2588" y="256"/>
                  </a:cubicBezTo>
                  <a:cubicBezTo>
                    <a:pt x="2590" y="250"/>
                    <a:pt x="2591" y="262"/>
                    <a:pt x="2591" y="263"/>
                  </a:cubicBezTo>
                  <a:close/>
                  <a:moveTo>
                    <a:pt x="2582" y="230"/>
                  </a:moveTo>
                  <a:cubicBezTo>
                    <a:pt x="2594" y="232"/>
                    <a:pt x="2580" y="245"/>
                    <a:pt x="2582" y="230"/>
                  </a:cubicBezTo>
                  <a:close/>
                  <a:moveTo>
                    <a:pt x="2571" y="228"/>
                  </a:moveTo>
                  <a:cubicBezTo>
                    <a:pt x="2572" y="226"/>
                    <a:pt x="2573" y="224"/>
                    <a:pt x="2576" y="224"/>
                  </a:cubicBezTo>
                  <a:cubicBezTo>
                    <a:pt x="2575" y="220"/>
                    <a:pt x="2568" y="222"/>
                    <a:pt x="2571" y="214"/>
                  </a:cubicBezTo>
                  <a:cubicBezTo>
                    <a:pt x="2579" y="214"/>
                    <a:pt x="2580" y="220"/>
                    <a:pt x="2582" y="226"/>
                  </a:cubicBezTo>
                  <a:cubicBezTo>
                    <a:pt x="2579" y="228"/>
                    <a:pt x="2576" y="228"/>
                    <a:pt x="2571" y="228"/>
                  </a:cubicBezTo>
                  <a:close/>
                  <a:moveTo>
                    <a:pt x="2560" y="221"/>
                  </a:moveTo>
                  <a:cubicBezTo>
                    <a:pt x="2560" y="219"/>
                    <a:pt x="2560" y="217"/>
                    <a:pt x="2560" y="214"/>
                  </a:cubicBezTo>
                  <a:cubicBezTo>
                    <a:pt x="2562" y="214"/>
                    <a:pt x="2565" y="214"/>
                    <a:pt x="2568" y="214"/>
                  </a:cubicBezTo>
                  <a:cubicBezTo>
                    <a:pt x="2565" y="217"/>
                    <a:pt x="2567" y="223"/>
                    <a:pt x="2560" y="221"/>
                  </a:cubicBezTo>
                  <a:close/>
                  <a:moveTo>
                    <a:pt x="2568" y="231"/>
                  </a:moveTo>
                  <a:cubicBezTo>
                    <a:pt x="2578" y="230"/>
                    <a:pt x="2572" y="243"/>
                    <a:pt x="2577" y="247"/>
                  </a:cubicBezTo>
                  <a:cubicBezTo>
                    <a:pt x="2566" y="249"/>
                    <a:pt x="2569" y="238"/>
                    <a:pt x="2568" y="231"/>
                  </a:cubicBezTo>
                  <a:close/>
                  <a:moveTo>
                    <a:pt x="2569" y="254"/>
                  </a:moveTo>
                  <a:cubicBezTo>
                    <a:pt x="2568" y="251"/>
                    <a:pt x="2576" y="246"/>
                    <a:pt x="2577" y="252"/>
                  </a:cubicBezTo>
                  <a:cubicBezTo>
                    <a:pt x="2576" y="254"/>
                    <a:pt x="2578" y="254"/>
                    <a:pt x="2580" y="254"/>
                  </a:cubicBezTo>
                  <a:cubicBezTo>
                    <a:pt x="2578" y="261"/>
                    <a:pt x="2574" y="252"/>
                    <a:pt x="2569" y="254"/>
                  </a:cubicBezTo>
                  <a:close/>
                  <a:moveTo>
                    <a:pt x="2579" y="242"/>
                  </a:moveTo>
                  <a:cubicBezTo>
                    <a:pt x="2578" y="238"/>
                    <a:pt x="2592" y="239"/>
                    <a:pt x="2588" y="244"/>
                  </a:cubicBezTo>
                  <a:cubicBezTo>
                    <a:pt x="2586" y="245"/>
                    <a:pt x="2584" y="245"/>
                    <a:pt x="2582" y="245"/>
                  </a:cubicBezTo>
                  <a:cubicBezTo>
                    <a:pt x="2583" y="243"/>
                    <a:pt x="2581" y="242"/>
                    <a:pt x="2579" y="242"/>
                  </a:cubicBezTo>
                  <a:close/>
                  <a:moveTo>
                    <a:pt x="2585" y="275"/>
                  </a:moveTo>
                  <a:cubicBezTo>
                    <a:pt x="2586" y="269"/>
                    <a:pt x="2596" y="271"/>
                    <a:pt x="2596" y="266"/>
                  </a:cubicBezTo>
                  <a:cubicBezTo>
                    <a:pt x="2603" y="268"/>
                    <a:pt x="2595" y="278"/>
                    <a:pt x="2585" y="275"/>
                  </a:cubicBezTo>
                  <a:close/>
                  <a:moveTo>
                    <a:pt x="2631" y="232"/>
                  </a:moveTo>
                  <a:cubicBezTo>
                    <a:pt x="2638" y="234"/>
                    <a:pt x="2643" y="237"/>
                    <a:pt x="2643" y="246"/>
                  </a:cubicBezTo>
                  <a:cubicBezTo>
                    <a:pt x="2637" y="247"/>
                    <a:pt x="2639" y="243"/>
                    <a:pt x="2637" y="241"/>
                  </a:cubicBezTo>
                  <a:cubicBezTo>
                    <a:pt x="2635" y="239"/>
                    <a:pt x="2630" y="235"/>
                    <a:pt x="2631" y="232"/>
                  </a:cubicBezTo>
                  <a:close/>
                  <a:moveTo>
                    <a:pt x="2613" y="263"/>
                  </a:moveTo>
                  <a:cubicBezTo>
                    <a:pt x="2615" y="262"/>
                    <a:pt x="2622" y="254"/>
                    <a:pt x="2615" y="253"/>
                  </a:cubicBezTo>
                  <a:cubicBezTo>
                    <a:pt x="2616" y="247"/>
                    <a:pt x="2624" y="253"/>
                    <a:pt x="2621" y="258"/>
                  </a:cubicBezTo>
                  <a:cubicBezTo>
                    <a:pt x="2630" y="261"/>
                    <a:pt x="2623" y="250"/>
                    <a:pt x="2632" y="253"/>
                  </a:cubicBezTo>
                  <a:cubicBezTo>
                    <a:pt x="2632" y="255"/>
                    <a:pt x="2631" y="255"/>
                    <a:pt x="2629" y="255"/>
                  </a:cubicBezTo>
                  <a:cubicBezTo>
                    <a:pt x="2629" y="262"/>
                    <a:pt x="2633" y="260"/>
                    <a:pt x="2629" y="267"/>
                  </a:cubicBezTo>
                  <a:cubicBezTo>
                    <a:pt x="2628" y="270"/>
                    <a:pt x="2629" y="272"/>
                    <a:pt x="2624" y="272"/>
                  </a:cubicBezTo>
                  <a:cubicBezTo>
                    <a:pt x="2621" y="265"/>
                    <a:pt x="2628" y="266"/>
                    <a:pt x="2626" y="260"/>
                  </a:cubicBezTo>
                  <a:cubicBezTo>
                    <a:pt x="2620" y="259"/>
                    <a:pt x="2621" y="264"/>
                    <a:pt x="2621" y="267"/>
                  </a:cubicBezTo>
                  <a:cubicBezTo>
                    <a:pt x="2611" y="266"/>
                    <a:pt x="2598" y="263"/>
                    <a:pt x="2604" y="254"/>
                  </a:cubicBezTo>
                  <a:cubicBezTo>
                    <a:pt x="2600" y="253"/>
                    <a:pt x="2599" y="255"/>
                    <a:pt x="2599" y="258"/>
                  </a:cubicBezTo>
                  <a:cubicBezTo>
                    <a:pt x="2591" y="257"/>
                    <a:pt x="2601" y="253"/>
                    <a:pt x="2599" y="249"/>
                  </a:cubicBezTo>
                  <a:cubicBezTo>
                    <a:pt x="2604" y="251"/>
                    <a:pt x="2608" y="253"/>
                    <a:pt x="2607" y="261"/>
                  </a:cubicBezTo>
                  <a:cubicBezTo>
                    <a:pt x="2610" y="260"/>
                    <a:pt x="2612" y="261"/>
                    <a:pt x="2613" y="263"/>
                  </a:cubicBezTo>
                  <a:close/>
                  <a:moveTo>
                    <a:pt x="2607" y="232"/>
                  </a:moveTo>
                  <a:cubicBezTo>
                    <a:pt x="2605" y="239"/>
                    <a:pt x="2611" y="238"/>
                    <a:pt x="2610" y="244"/>
                  </a:cubicBezTo>
                  <a:cubicBezTo>
                    <a:pt x="2607" y="244"/>
                    <a:pt x="2604" y="244"/>
                    <a:pt x="2601" y="244"/>
                  </a:cubicBezTo>
                  <a:cubicBezTo>
                    <a:pt x="2601" y="240"/>
                    <a:pt x="2605" y="239"/>
                    <a:pt x="2604" y="235"/>
                  </a:cubicBezTo>
                  <a:cubicBezTo>
                    <a:pt x="2601" y="236"/>
                    <a:pt x="2598" y="238"/>
                    <a:pt x="2599" y="242"/>
                  </a:cubicBezTo>
                  <a:cubicBezTo>
                    <a:pt x="2594" y="240"/>
                    <a:pt x="2594" y="234"/>
                    <a:pt x="2593" y="230"/>
                  </a:cubicBezTo>
                  <a:cubicBezTo>
                    <a:pt x="2596" y="232"/>
                    <a:pt x="2600" y="233"/>
                    <a:pt x="2607" y="232"/>
                  </a:cubicBezTo>
                  <a:close/>
                  <a:moveTo>
                    <a:pt x="2584" y="198"/>
                  </a:moveTo>
                  <a:cubicBezTo>
                    <a:pt x="2586" y="194"/>
                    <a:pt x="2591" y="196"/>
                    <a:pt x="2592" y="197"/>
                  </a:cubicBezTo>
                  <a:cubicBezTo>
                    <a:pt x="2593" y="198"/>
                    <a:pt x="2597" y="197"/>
                    <a:pt x="2598" y="197"/>
                  </a:cubicBezTo>
                  <a:cubicBezTo>
                    <a:pt x="2599" y="198"/>
                    <a:pt x="2598" y="204"/>
                    <a:pt x="2603" y="202"/>
                  </a:cubicBezTo>
                  <a:cubicBezTo>
                    <a:pt x="2596" y="210"/>
                    <a:pt x="2590" y="198"/>
                    <a:pt x="2584" y="198"/>
                  </a:cubicBezTo>
                  <a:close/>
                  <a:moveTo>
                    <a:pt x="2586" y="146"/>
                  </a:moveTo>
                  <a:cubicBezTo>
                    <a:pt x="2591" y="147"/>
                    <a:pt x="2598" y="146"/>
                    <a:pt x="2597" y="153"/>
                  </a:cubicBezTo>
                  <a:cubicBezTo>
                    <a:pt x="2591" y="149"/>
                    <a:pt x="2594" y="153"/>
                    <a:pt x="2586" y="153"/>
                  </a:cubicBezTo>
                  <a:cubicBezTo>
                    <a:pt x="2586" y="151"/>
                    <a:pt x="2586" y="148"/>
                    <a:pt x="2586" y="146"/>
                  </a:cubicBezTo>
                  <a:close/>
                  <a:moveTo>
                    <a:pt x="2625" y="171"/>
                  </a:moveTo>
                  <a:cubicBezTo>
                    <a:pt x="2625" y="167"/>
                    <a:pt x="2625" y="163"/>
                    <a:pt x="2625" y="159"/>
                  </a:cubicBezTo>
                  <a:cubicBezTo>
                    <a:pt x="2633" y="155"/>
                    <a:pt x="2633" y="174"/>
                    <a:pt x="2625" y="171"/>
                  </a:cubicBezTo>
                  <a:close/>
                  <a:moveTo>
                    <a:pt x="2639" y="182"/>
                  </a:moveTo>
                  <a:cubicBezTo>
                    <a:pt x="2631" y="179"/>
                    <a:pt x="2636" y="177"/>
                    <a:pt x="2633" y="168"/>
                  </a:cubicBezTo>
                  <a:cubicBezTo>
                    <a:pt x="2636" y="168"/>
                    <a:pt x="2638" y="168"/>
                    <a:pt x="2641" y="168"/>
                  </a:cubicBezTo>
                  <a:cubicBezTo>
                    <a:pt x="2638" y="171"/>
                    <a:pt x="2638" y="177"/>
                    <a:pt x="2639" y="182"/>
                  </a:cubicBezTo>
                  <a:close/>
                  <a:moveTo>
                    <a:pt x="2655" y="173"/>
                  </a:moveTo>
                  <a:cubicBezTo>
                    <a:pt x="2662" y="173"/>
                    <a:pt x="2656" y="181"/>
                    <a:pt x="2655" y="182"/>
                  </a:cubicBezTo>
                  <a:cubicBezTo>
                    <a:pt x="2647" y="181"/>
                    <a:pt x="2658" y="177"/>
                    <a:pt x="2655" y="173"/>
                  </a:cubicBezTo>
                  <a:close/>
                  <a:moveTo>
                    <a:pt x="2663" y="189"/>
                  </a:moveTo>
                  <a:cubicBezTo>
                    <a:pt x="2661" y="187"/>
                    <a:pt x="2657" y="187"/>
                    <a:pt x="2652" y="187"/>
                  </a:cubicBezTo>
                  <a:cubicBezTo>
                    <a:pt x="2652" y="183"/>
                    <a:pt x="2668" y="182"/>
                    <a:pt x="2663" y="189"/>
                  </a:cubicBezTo>
                  <a:close/>
                  <a:moveTo>
                    <a:pt x="2660" y="154"/>
                  </a:moveTo>
                  <a:cubicBezTo>
                    <a:pt x="2656" y="157"/>
                    <a:pt x="2653" y="157"/>
                    <a:pt x="2649" y="154"/>
                  </a:cubicBezTo>
                  <a:cubicBezTo>
                    <a:pt x="2651" y="146"/>
                    <a:pt x="2656" y="154"/>
                    <a:pt x="2666" y="151"/>
                  </a:cubicBezTo>
                  <a:cubicBezTo>
                    <a:pt x="2668" y="150"/>
                    <a:pt x="2668" y="146"/>
                    <a:pt x="2674" y="147"/>
                  </a:cubicBezTo>
                  <a:cubicBezTo>
                    <a:pt x="2675" y="151"/>
                    <a:pt x="2672" y="151"/>
                    <a:pt x="2668" y="151"/>
                  </a:cubicBezTo>
                  <a:cubicBezTo>
                    <a:pt x="2668" y="154"/>
                    <a:pt x="2669" y="156"/>
                    <a:pt x="2671" y="156"/>
                  </a:cubicBezTo>
                  <a:cubicBezTo>
                    <a:pt x="2671" y="162"/>
                    <a:pt x="2661" y="156"/>
                    <a:pt x="2660" y="154"/>
                  </a:cubicBezTo>
                  <a:close/>
                  <a:moveTo>
                    <a:pt x="2669" y="168"/>
                  </a:moveTo>
                  <a:cubicBezTo>
                    <a:pt x="2669" y="166"/>
                    <a:pt x="2669" y="165"/>
                    <a:pt x="2669" y="163"/>
                  </a:cubicBezTo>
                  <a:cubicBezTo>
                    <a:pt x="2670" y="163"/>
                    <a:pt x="2672" y="163"/>
                    <a:pt x="2674" y="163"/>
                  </a:cubicBezTo>
                  <a:cubicBezTo>
                    <a:pt x="2674" y="165"/>
                    <a:pt x="2674" y="166"/>
                    <a:pt x="2674" y="168"/>
                  </a:cubicBezTo>
                  <a:cubicBezTo>
                    <a:pt x="2672" y="168"/>
                    <a:pt x="2670" y="168"/>
                    <a:pt x="2669" y="168"/>
                  </a:cubicBezTo>
                  <a:close/>
                  <a:moveTo>
                    <a:pt x="2685" y="184"/>
                  </a:moveTo>
                  <a:cubicBezTo>
                    <a:pt x="2679" y="185"/>
                    <a:pt x="2681" y="180"/>
                    <a:pt x="2677" y="179"/>
                  </a:cubicBezTo>
                  <a:cubicBezTo>
                    <a:pt x="2678" y="174"/>
                    <a:pt x="2688" y="179"/>
                    <a:pt x="2685" y="184"/>
                  </a:cubicBezTo>
                  <a:close/>
                  <a:moveTo>
                    <a:pt x="2682" y="135"/>
                  </a:moveTo>
                  <a:cubicBezTo>
                    <a:pt x="2682" y="141"/>
                    <a:pt x="2671" y="138"/>
                    <a:pt x="2671" y="144"/>
                  </a:cubicBezTo>
                  <a:cubicBezTo>
                    <a:pt x="2669" y="142"/>
                    <a:pt x="2661" y="135"/>
                    <a:pt x="2663" y="147"/>
                  </a:cubicBezTo>
                  <a:cubicBezTo>
                    <a:pt x="2659" y="148"/>
                    <a:pt x="2661" y="140"/>
                    <a:pt x="2660" y="140"/>
                  </a:cubicBezTo>
                  <a:cubicBezTo>
                    <a:pt x="2657" y="139"/>
                    <a:pt x="2654" y="144"/>
                    <a:pt x="2649" y="140"/>
                  </a:cubicBezTo>
                  <a:cubicBezTo>
                    <a:pt x="2647" y="139"/>
                    <a:pt x="2630" y="144"/>
                    <a:pt x="2632" y="136"/>
                  </a:cubicBezTo>
                  <a:cubicBezTo>
                    <a:pt x="2628" y="135"/>
                    <a:pt x="2627" y="137"/>
                    <a:pt x="2627" y="140"/>
                  </a:cubicBezTo>
                  <a:cubicBezTo>
                    <a:pt x="2620" y="142"/>
                    <a:pt x="2621" y="136"/>
                    <a:pt x="2616" y="136"/>
                  </a:cubicBezTo>
                  <a:cubicBezTo>
                    <a:pt x="2613" y="137"/>
                    <a:pt x="2614" y="141"/>
                    <a:pt x="2610" y="141"/>
                  </a:cubicBezTo>
                  <a:cubicBezTo>
                    <a:pt x="2606" y="142"/>
                    <a:pt x="2605" y="139"/>
                    <a:pt x="2605" y="136"/>
                  </a:cubicBezTo>
                  <a:cubicBezTo>
                    <a:pt x="2593" y="134"/>
                    <a:pt x="2592" y="141"/>
                    <a:pt x="2583" y="141"/>
                  </a:cubicBezTo>
                  <a:cubicBezTo>
                    <a:pt x="2583" y="139"/>
                    <a:pt x="2583" y="136"/>
                    <a:pt x="2583" y="134"/>
                  </a:cubicBezTo>
                  <a:cubicBezTo>
                    <a:pt x="2573" y="133"/>
                    <a:pt x="2581" y="141"/>
                    <a:pt x="2572" y="137"/>
                  </a:cubicBezTo>
                  <a:cubicBezTo>
                    <a:pt x="2572" y="137"/>
                    <a:pt x="2568" y="134"/>
                    <a:pt x="2569" y="134"/>
                  </a:cubicBezTo>
                  <a:cubicBezTo>
                    <a:pt x="2568" y="134"/>
                    <a:pt x="2561" y="140"/>
                    <a:pt x="2561" y="134"/>
                  </a:cubicBezTo>
                  <a:cubicBezTo>
                    <a:pt x="2558" y="135"/>
                    <a:pt x="2560" y="137"/>
                    <a:pt x="2561" y="137"/>
                  </a:cubicBezTo>
                  <a:cubicBezTo>
                    <a:pt x="2562" y="142"/>
                    <a:pt x="2551" y="138"/>
                    <a:pt x="2547" y="139"/>
                  </a:cubicBezTo>
                  <a:cubicBezTo>
                    <a:pt x="2547" y="137"/>
                    <a:pt x="2551" y="138"/>
                    <a:pt x="2553" y="137"/>
                  </a:cubicBezTo>
                  <a:cubicBezTo>
                    <a:pt x="2561" y="132"/>
                    <a:pt x="2569" y="128"/>
                    <a:pt x="2577" y="127"/>
                  </a:cubicBezTo>
                  <a:cubicBezTo>
                    <a:pt x="2578" y="127"/>
                    <a:pt x="2577" y="132"/>
                    <a:pt x="2578" y="132"/>
                  </a:cubicBezTo>
                  <a:cubicBezTo>
                    <a:pt x="2580" y="134"/>
                    <a:pt x="2586" y="128"/>
                    <a:pt x="2586" y="127"/>
                  </a:cubicBezTo>
                  <a:cubicBezTo>
                    <a:pt x="2587" y="128"/>
                    <a:pt x="2589" y="128"/>
                    <a:pt x="2591" y="129"/>
                  </a:cubicBezTo>
                  <a:cubicBezTo>
                    <a:pt x="2594" y="131"/>
                    <a:pt x="2595" y="131"/>
                    <a:pt x="2599" y="131"/>
                  </a:cubicBezTo>
                  <a:cubicBezTo>
                    <a:pt x="2601" y="132"/>
                    <a:pt x="2603" y="134"/>
                    <a:pt x="2602" y="134"/>
                  </a:cubicBezTo>
                  <a:cubicBezTo>
                    <a:pt x="2606" y="134"/>
                    <a:pt x="2608" y="130"/>
                    <a:pt x="2616" y="131"/>
                  </a:cubicBezTo>
                  <a:cubicBezTo>
                    <a:pt x="2617" y="131"/>
                    <a:pt x="2619" y="133"/>
                    <a:pt x="2619" y="133"/>
                  </a:cubicBezTo>
                  <a:cubicBezTo>
                    <a:pt x="2621" y="134"/>
                    <a:pt x="2623" y="131"/>
                    <a:pt x="2627" y="131"/>
                  </a:cubicBezTo>
                  <a:cubicBezTo>
                    <a:pt x="2626" y="131"/>
                    <a:pt x="2631" y="135"/>
                    <a:pt x="2632" y="133"/>
                  </a:cubicBezTo>
                  <a:cubicBezTo>
                    <a:pt x="2635" y="130"/>
                    <a:pt x="2634" y="133"/>
                    <a:pt x="2638" y="133"/>
                  </a:cubicBezTo>
                  <a:cubicBezTo>
                    <a:pt x="2642" y="133"/>
                    <a:pt x="2643" y="131"/>
                    <a:pt x="2646" y="131"/>
                  </a:cubicBezTo>
                  <a:cubicBezTo>
                    <a:pt x="2657" y="131"/>
                    <a:pt x="2670" y="132"/>
                    <a:pt x="2682" y="135"/>
                  </a:cubicBezTo>
                  <a:close/>
                  <a:moveTo>
                    <a:pt x="2665" y="116"/>
                  </a:moveTo>
                  <a:cubicBezTo>
                    <a:pt x="2665" y="119"/>
                    <a:pt x="2662" y="118"/>
                    <a:pt x="2660" y="119"/>
                  </a:cubicBezTo>
                  <a:cubicBezTo>
                    <a:pt x="2657" y="120"/>
                    <a:pt x="2657" y="124"/>
                    <a:pt x="2651" y="124"/>
                  </a:cubicBezTo>
                  <a:cubicBezTo>
                    <a:pt x="2653" y="122"/>
                    <a:pt x="2654" y="120"/>
                    <a:pt x="2654" y="116"/>
                  </a:cubicBezTo>
                  <a:cubicBezTo>
                    <a:pt x="2650" y="116"/>
                    <a:pt x="2645" y="126"/>
                    <a:pt x="2646" y="117"/>
                  </a:cubicBezTo>
                  <a:cubicBezTo>
                    <a:pt x="2650" y="117"/>
                    <a:pt x="2651" y="115"/>
                    <a:pt x="2651" y="112"/>
                  </a:cubicBezTo>
                  <a:cubicBezTo>
                    <a:pt x="2660" y="110"/>
                    <a:pt x="2657" y="118"/>
                    <a:pt x="2665" y="116"/>
                  </a:cubicBezTo>
                  <a:close/>
                  <a:moveTo>
                    <a:pt x="2673" y="107"/>
                  </a:moveTo>
                  <a:cubicBezTo>
                    <a:pt x="2664" y="110"/>
                    <a:pt x="2671" y="99"/>
                    <a:pt x="2662" y="102"/>
                  </a:cubicBezTo>
                  <a:cubicBezTo>
                    <a:pt x="2664" y="92"/>
                    <a:pt x="2681" y="102"/>
                    <a:pt x="2673" y="107"/>
                  </a:cubicBezTo>
                  <a:close/>
                  <a:moveTo>
                    <a:pt x="2724" y="24"/>
                  </a:moveTo>
                  <a:cubicBezTo>
                    <a:pt x="2718" y="17"/>
                    <a:pt x="2716" y="33"/>
                    <a:pt x="2715" y="19"/>
                  </a:cubicBezTo>
                  <a:cubicBezTo>
                    <a:pt x="2721" y="18"/>
                    <a:pt x="2724" y="19"/>
                    <a:pt x="2724" y="24"/>
                  </a:cubicBezTo>
                  <a:close/>
                  <a:moveTo>
                    <a:pt x="2694" y="71"/>
                  </a:moveTo>
                  <a:cubicBezTo>
                    <a:pt x="2697" y="71"/>
                    <a:pt x="2697" y="74"/>
                    <a:pt x="2697" y="76"/>
                  </a:cubicBezTo>
                  <a:cubicBezTo>
                    <a:pt x="2700" y="76"/>
                    <a:pt x="2702" y="75"/>
                    <a:pt x="2703" y="73"/>
                  </a:cubicBezTo>
                  <a:cubicBezTo>
                    <a:pt x="2706" y="75"/>
                    <a:pt x="2708" y="78"/>
                    <a:pt x="2708" y="83"/>
                  </a:cubicBezTo>
                  <a:cubicBezTo>
                    <a:pt x="2703" y="77"/>
                    <a:pt x="2689" y="81"/>
                    <a:pt x="2694" y="71"/>
                  </a:cubicBezTo>
                  <a:close/>
                  <a:moveTo>
                    <a:pt x="2700" y="106"/>
                  </a:moveTo>
                  <a:cubicBezTo>
                    <a:pt x="2698" y="104"/>
                    <a:pt x="2690" y="106"/>
                    <a:pt x="2692" y="99"/>
                  </a:cubicBezTo>
                  <a:cubicBezTo>
                    <a:pt x="2698" y="99"/>
                    <a:pt x="2701" y="101"/>
                    <a:pt x="2700" y="106"/>
                  </a:cubicBezTo>
                  <a:close/>
                  <a:moveTo>
                    <a:pt x="2698" y="97"/>
                  </a:moveTo>
                  <a:cubicBezTo>
                    <a:pt x="2698" y="95"/>
                    <a:pt x="2701" y="95"/>
                    <a:pt x="2703" y="94"/>
                  </a:cubicBezTo>
                  <a:cubicBezTo>
                    <a:pt x="2705" y="94"/>
                    <a:pt x="2707" y="94"/>
                    <a:pt x="2708" y="94"/>
                  </a:cubicBezTo>
                  <a:cubicBezTo>
                    <a:pt x="2708" y="98"/>
                    <a:pt x="2702" y="96"/>
                    <a:pt x="2698" y="97"/>
                  </a:cubicBezTo>
                  <a:close/>
                  <a:moveTo>
                    <a:pt x="2722" y="99"/>
                  </a:moveTo>
                  <a:cubicBezTo>
                    <a:pt x="2722" y="101"/>
                    <a:pt x="2725" y="101"/>
                    <a:pt x="2725" y="101"/>
                  </a:cubicBezTo>
                  <a:cubicBezTo>
                    <a:pt x="2725" y="105"/>
                    <a:pt x="2721" y="107"/>
                    <a:pt x="2725" y="108"/>
                  </a:cubicBezTo>
                  <a:cubicBezTo>
                    <a:pt x="2726" y="109"/>
                    <a:pt x="2720" y="111"/>
                    <a:pt x="2720" y="111"/>
                  </a:cubicBezTo>
                  <a:cubicBezTo>
                    <a:pt x="2717" y="108"/>
                    <a:pt x="2722" y="104"/>
                    <a:pt x="2717" y="104"/>
                  </a:cubicBezTo>
                  <a:cubicBezTo>
                    <a:pt x="2713" y="103"/>
                    <a:pt x="2717" y="101"/>
                    <a:pt x="2717" y="99"/>
                  </a:cubicBezTo>
                  <a:cubicBezTo>
                    <a:pt x="2717" y="97"/>
                    <a:pt x="2716" y="97"/>
                    <a:pt x="2714" y="97"/>
                  </a:cubicBezTo>
                  <a:cubicBezTo>
                    <a:pt x="2707" y="92"/>
                    <a:pt x="2720" y="98"/>
                    <a:pt x="2725" y="96"/>
                  </a:cubicBezTo>
                  <a:cubicBezTo>
                    <a:pt x="2727" y="99"/>
                    <a:pt x="2722" y="98"/>
                    <a:pt x="2722" y="99"/>
                  </a:cubicBezTo>
                  <a:close/>
                  <a:moveTo>
                    <a:pt x="2733" y="99"/>
                  </a:moveTo>
                  <a:cubicBezTo>
                    <a:pt x="2732" y="91"/>
                    <a:pt x="2741" y="92"/>
                    <a:pt x="2741" y="87"/>
                  </a:cubicBezTo>
                  <a:cubicBezTo>
                    <a:pt x="2744" y="79"/>
                    <a:pt x="2745" y="104"/>
                    <a:pt x="2733" y="99"/>
                  </a:cubicBezTo>
                  <a:close/>
                  <a:moveTo>
                    <a:pt x="2736" y="106"/>
                  </a:moveTo>
                  <a:cubicBezTo>
                    <a:pt x="2736" y="102"/>
                    <a:pt x="2748" y="108"/>
                    <a:pt x="2747" y="112"/>
                  </a:cubicBezTo>
                  <a:cubicBezTo>
                    <a:pt x="2738" y="115"/>
                    <a:pt x="2741" y="106"/>
                    <a:pt x="2736" y="106"/>
                  </a:cubicBezTo>
                  <a:close/>
                  <a:moveTo>
                    <a:pt x="2766" y="79"/>
                  </a:moveTo>
                  <a:cubicBezTo>
                    <a:pt x="2767" y="75"/>
                    <a:pt x="2769" y="81"/>
                    <a:pt x="2769" y="84"/>
                  </a:cubicBezTo>
                  <a:cubicBezTo>
                    <a:pt x="2768" y="88"/>
                    <a:pt x="2765" y="82"/>
                    <a:pt x="2766" y="79"/>
                  </a:cubicBezTo>
                  <a:close/>
                  <a:moveTo>
                    <a:pt x="2762" y="23"/>
                  </a:moveTo>
                  <a:cubicBezTo>
                    <a:pt x="2767" y="22"/>
                    <a:pt x="2766" y="33"/>
                    <a:pt x="2759" y="30"/>
                  </a:cubicBezTo>
                  <a:cubicBezTo>
                    <a:pt x="2759" y="28"/>
                    <a:pt x="2759" y="27"/>
                    <a:pt x="2759" y="25"/>
                  </a:cubicBezTo>
                  <a:cubicBezTo>
                    <a:pt x="2762" y="26"/>
                    <a:pt x="2762" y="24"/>
                    <a:pt x="2762" y="23"/>
                  </a:cubicBezTo>
                  <a:close/>
                  <a:moveTo>
                    <a:pt x="2757" y="35"/>
                  </a:moveTo>
                  <a:cubicBezTo>
                    <a:pt x="2761" y="35"/>
                    <a:pt x="2758" y="42"/>
                    <a:pt x="2762" y="42"/>
                  </a:cubicBezTo>
                  <a:cubicBezTo>
                    <a:pt x="2759" y="49"/>
                    <a:pt x="2751" y="37"/>
                    <a:pt x="2757" y="35"/>
                  </a:cubicBezTo>
                  <a:close/>
                  <a:moveTo>
                    <a:pt x="2761" y="100"/>
                  </a:moveTo>
                  <a:cubicBezTo>
                    <a:pt x="2757" y="99"/>
                    <a:pt x="2756" y="96"/>
                    <a:pt x="2755" y="91"/>
                  </a:cubicBezTo>
                  <a:cubicBezTo>
                    <a:pt x="2763" y="89"/>
                    <a:pt x="2760" y="96"/>
                    <a:pt x="2761" y="100"/>
                  </a:cubicBezTo>
                  <a:close/>
                  <a:moveTo>
                    <a:pt x="2769" y="112"/>
                  </a:moveTo>
                  <a:cubicBezTo>
                    <a:pt x="2767" y="112"/>
                    <a:pt x="2765" y="112"/>
                    <a:pt x="2764" y="112"/>
                  </a:cubicBezTo>
                  <a:cubicBezTo>
                    <a:pt x="2764" y="110"/>
                    <a:pt x="2763" y="110"/>
                    <a:pt x="2761" y="110"/>
                  </a:cubicBezTo>
                  <a:cubicBezTo>
                    <a:pt x="2760" y="105"/>
                    <a:pt x="2773" y="106"/>
                    <a:pt x="2769" y="112"/>
                  </a:cubicBezTo>
                  <a:close/>
                  <a:moveTo>
                    <a:pt x="2780" y="86"/>
                  </a:moveTo>
                  <a:cubicBezTo>
                    <a:pt x="2775" y="84"/>
                    <a:pt x="2779" y="82"/>
                    <a:pt x="2780" y="79"/>
                  </a:cubicBezTo>
                  <a:cubicBezTo>
                    <a:pt x="2785" y="81"/>
                    <a:pt x="2780" y="83"/>
                    <a:pt x="2780" y="86"/>
                  </a:cubicBezTo>
                  <a:close/>
                  <a:moveTo>
                    <a:pt x="2787" y="11"/>
                  </a:moveTo>
                  <a:cubicBezTo>
                    <a:pt x="2783" y="10"/>
                    <a:pt x="2784" y="5"/>
                    <a:pt x="2784" y="1"/>
                  </a:cubicBezTo>
                  <a:cubicBezTo>
                    <a:pt x="2795" y="0"/>
                    <a:pt x="2785" y="6"/>
                    <a:pt x="2787" y="11"/>
                  </a:cubicBezTo>
                  <a:close/>
                  <a:moveTo>
                    <a:pt x="2795" y="43"/>
                  </a:moveTo>
                  <a:cubicBezTo>
                    <a:pt x="2792" y="43"/>
                    <a:pt x="2793" y="39"/>
                    <a:pt x="2793" y="36"/>
                  </a:cubicBezTo>
                  <a:cubicBezTo>
                    <a:pt x="2797" y="35"/>
                    <a:pt x="2798" y="38"/>
                    <a:pt x="2798" y="41"/>
                  </a:cubicBezTo>
                  <a:cubicBezTo>
                    <a:pt x="2796" y="41"/>
                    <a:pt x="2795" y="42"/>
                    <a:pt x="2795" y="43"/>
                  </a:cubicBezTo>
                  <a:close/>
                  <a:moveTo>
                    <a:pt x="2791" y="123"/>
                  </a:moveTo>
                  <a:cubicBezTo>
                    <a:pt x="2792" y="121"/>
                    <a:pt x="2794" y="121"/>
                    <a:pt x="2794" y="119"/>
                  </a:cubicBezTo>
                  <a:cubicBezTo>
                    <a:pt x="2796" y="119"/>
                    <a:pt x="2798" y="119"/>
                    <a:pt x="2799" y="119"/>
                  </a:cubicBezTo>
                  <a:cubicBezTo>
                    <a:pt x="2801" y="124"/>
                    <a:pt x="2796" y="123"/>
                    <a:pt x="2791" y="123"/>
                  </a:cubicBezTo>
                  <a:close/>
                  <a:moveTo>
                    <a:pt x="2808" y="126"/>
                  </a:moveTo>
                  <a:cubicBezTo>
                    <a:pt x="2802" y="125"/>
                    <a:pt x="2802" y="120"/>
                    <a:pt x="2802" y="114"/>
                  </a:cubicBezTo>
                  <a:cubicBezTo>
                    <a:pt x="2805" y="118"/>
                    <a:pt x="2813" y="121"/>
                    <a:pt x="2808" y="126"/>
                  </a:cubicBezTo>
                  <a:close/>
                  <a:moveTo>
                    <a:pt x="2819" y="114"/>
                  </a:moveTo>
                  <a:cubicBezTo>
                    <a:pt x="2815" y="114"/>
                    <a:pt x="2817" y="116"/>
                    <a:pt x="2819" y="116"/>
                  </a:cubicBezTo>
                  <a:cubicBezTo>
                    <a:pt x="2812" y="124"/>
                    <a:pt x="2808" y="109"/>
                    <a:pt x="2810" y="102"/>
                  </a:cubicBezTo>
                  <a:cubicBezTo>
                    <a:pt x="2814" y="103"/>
                    <a:pt x="2816" y="105"/>
                    <a:pt x="2816" y="109"/>
                  </a:cubicBezTo>
                  <a:cubicBezTo>
                    <a:pt x="2823" y="106"/>
                    <a:pt x="2821" y="98"/>
                    <a:pt x="2827" y="109"/>
                  </a:cubicBezTo>
                  <a:cubicBezTo>
                    <a:pt x="2827" y="110"/>
                    <a:pt x="2829" y="108"/>
                    <a:pt x="2830" y="111"/>
                  </a:cubicBezTo>
                  <a:cubicBezTo>
                    <a:pt x="2830" y="113"/>
                    <a:pt x="2829" y="116"/>
                    <a:pt x="2830" y="118"/>
                  </a:cubicBezTo>
                  <a:cubicBezTo>
                    <a:pt x="2822" y="120"/>
                    <a:pt x="2824" y="113"/>
                    <a:pt x="2819" y="114"/>
                  </a:cubicBezTo>
                  <a:close/>
                  <a:moveTo>
                    <a:pt x="2846" y="111"/>
                  </a:moveTo>
                  <a:cubicBezTo>
                    <a:pt x="2845" y="114"/>
                    <a:pt x="2843" y="116"/>
                    <a:pt x="2838" y="116"/>
                  </a:cubicBezTo>
                  <a:cubicBezTo>
                    <a:pt x="2839" y="113"/>
                    <a:pt x="2841" y="111"/>
                    <a:pt x="2846" y="111"/>
                  </a:cubicBezTo>
                  <a:close/>
                  <a:moveTo>
                    <a:pt x="2851" y="64"/>
                  </a:moveTo>
                  <a:cubicBezTo>
                    <a:pt x="2860" y="64"/>
                    <a:pt x="2850" y="70"/>
                    <a:pt x="2856" y="71"/>
                  </a:cubicBezTo>
                  <a:cubicBezTo>
                    <a:pt x="2853" y="78"/>
                    <a:pt x="2848" y="68"/>
                    <a:pt x="2851" y="64"/>
                  </a:cubicBezTo>
                  <a:close/>
                  <a:moveTo>
                    <a:pt x="2862" y="87"/>
                  </a:moveTo>
                  <a:cubicBezTo>
                    <a:pt x="2860" y="80"/>
                    <a:pt x="2866" y="81"/>
                    <a:pt x="2865" y="75"/>
                  </a:cubicBezTo>
                  <a:cubicBezTo>
                    <a:pt x="2868" y="75"/>
                    <a:pt x="2866" y="78"/>
                    <a:pt x="2867" y="80"/>
                  </a:cubicBezTo>
                  <a:cubicBezTo>
                    <a:pt x="2867" y="80"/>
                    <a:pt x="2873" y="84"/>
                    <a:pt x="2873" y="82"/>
                  </a:cubicBezTo>
                  <a:cubicBezTo>
                    <a:pt x="2872" y="86"/>
                    <a:pt x="2868" y="85"/>
                    <a:pt x="2862" y="87"/>
                  </a:cubicBezTo>
                  <a:close/>
                  <a:moveTo>
                    <a:pt x="2867" y="54"/>
                  </a:moveTo>
                  <a:cubicBezTo>
                    <a:pt x="2868" y="53"/>
                    <a:pt x="2871" y="54"/>
                    <a:pt x="2870" y="52"/>
                  </a:cubicBezTo>
                  <a:cubicBezTo>
                    <a:pt x="2883" y="60"/>
                    <a:pt x="2857" y="64"/>
                    <a:pt x="2867" y="54"/>
                  </a:cubicBezTo>
                  <a:close/>
                  <a:moveTo>
                    <a:pt x="2875" y="40"/>
                  </a:moveTo>
                  <a:cubicBezTo>
                    <a:pt x="2876" y="34"/>
                    <a:pt x="2879" y="29"/>
                    <a:pt x="2869" y="28"/>
                  </a:cubicBezTo>
                  <a:cubicBezTo>
                    <a:pt x="2875" y="17"/>
                    <a:pt x="2888" y="40"/>
                    <a:pt x="2875" y="40"/>
                  </a:cubicBezTo>
                  <a:close/>
                  <a:moveTo>
                    <a:pt x="2881" y="91"/>
                  </a:moveTo>
                  <a:cubicBezTo>
                    <a:pt x="2881" y="90"/>
                    <a:pt x="2881" y="88"/>
                    <a:pt x="2881" y="87"/>
                  </a:cubicBezTo>
                  <a:cubicBezTo>
                    <a:pt x="2883" y="87"/>
                    <a:pt x="2885" y="87"/>
                    <a:pt x="2887" y="87"/>
                  </a:cubicBezTo>
                  <a:cubicBezTo>
                    <a:pt x="2887" y="88"/>
                    <a:pt x="2887" y="90"/>
                    <a:pt x="2887" y="91"/>
                  </a:cubicBezTo>
                  <a:cubicBezTo>
                    <a:pt x="2885" y="91"/>
                    <a:pt x="2883" y="91"/>
                    <a:pt x="288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9" name="Freeform 20"/>
            <p:cNvSpPr>
              <a:spLocks/>
            </p:cNvSpPr>
            <p:nvPr userDrawn="1"/>
          </p:nvSpPr>
          <p:spPr bwMode="auto">
            <a:xfrm>
              <a:off x="5827" y="2112"/>
              <a:ext cx="11" cy="12"/>
            </a:xfrm>
            <a:custGeom>
              <a:avLst/>
              <a:gdLst>
                <a:gd name="T0" fmla="*/ 0 w 5"/>
                <a:gd name="T1" fmla="*/ 5 h 5"/>
                <a:gd name="T2" fmla="*/ 5 w 5"/>
                <a:gd name="T3" fmla="*/ 5 h 5"/>
                <a:gd name="T4" fmla="*/ 5 w 5"/>
                <a:gd name="T5" fmla="*/ 0 h 5"/>
                <a:gd name="T6" fmla="*/ 0 w 5"/>
                <a:gd name="T7" fmla="*/ 0 h 5"/>
                <a:gd name="T8" fmla="*/ 0 w 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cubicBezTo>
                    <a:pt x="1" y="5"/>
                    <a:pt x="3" y="5"/>
                    <a:pt x="5" y="5"/>
                  </a:cubicBezTo>
                  <a:cubicBezTo>
                    <a:pt x="5" y="3"/>
                    <a:pt x="5" y="2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2"/>
                    <a:pt x="0" y="3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0" name="Freeform 21"/>
            <p:cNvSpPr>
              <a:spLocks/>
            </p:cNvSpPr>
            <p:nvPr userDrawn="1"/>
          </p:nvSpPr>
          <p:spPr bwMode="auto">
            <a:xfrm>
              <a:off x="5373" y="2207"/>
              <a:ext cx="33" cy="47"/>
            </a:xfrm>
            <a:custGeom>
              <a:avLst/>
              <a:gdLst>
                <a:gd name="T0" fmla="*/ 11 w 14"/>
                <a:gd name="T1" fmla="*/ 1 h 20"/>
                <a:gd name="T2" fmla="*/ 12 w 14"/>
                <a:gd name="T3" fmla="*/ 20 h 20"/>
                <a:gd name="T4" fmla="*/ 11 w 14"/>
                <a:gd name="T5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0">
                  <a:moveTo>
                    <a:pt x="11" y="1"/>
                  </a:moveTo>
                  <a:cubicBezTo>
                    <a:pt x="0" y="0"/>
                    <a:pt x="6" y="19"/>
                    <a:pt x="12" y="20"/>
                  </a:cubicBezTo>
                  <a:cubicBezTo>
                    <a:pt x="14" y="10"/>
                    <a:pt x="5" y="6"/>
                    <a:pt x="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1" name="Freeform 22"/>
            <p:cNvSpPr>
              <a:spLocks/>
            </p:cNvSpPr>
            <p:nvPr userDrawn="1"/>
          </p:nvSpPr>
          <p:spPr bwMode="auto">
            <a:xfrm>
              <a:off x="6280" y="2349"/>
              <a:ext cx="12" cy="12"/>
            </a:xfrm>
            <a:custGeom>
              <a:avLst/>
              <a:gdLst>
                <a:gd name="T0" fmla="*/ 1 w 5"/>
                <a:gd name="T1" fmla="*/ 5 h 5"/>
                <a:gd name="T2" fmla="*/ 5 w 5"/>
                <a:gd name="T3" fmla="*/ 4 h 5"/>
                <a:gd name="T4" fmla="*/ 5 w 5"/>
                <a:gd name="T5" fmla="*/ 0 h 5"/>
                <a:gd name="T6" fmla="*/ 1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1" y="5"/>
                  </a:moveTo>
                  <a:cubicBezTo>
                    <a:pt x="3" y="4"/>
                    <a:pt x="4" y="4"/>
                    <a:pt x="5" y="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2" name="Freeform 23"/>
            <p:cNvSpPr>
              <a:spLocks/>
            </p:cNvSpPr>
            <p:nvPr userDrawn="1"/>
          </p:nvSpPr>
          <p:spPr bwMode="auto">
            <a:xfrm>
              <a:off x="4920" y="2209"/>
              <a:ext cx="21" cy="14"/>
            </a:xfrm>
            <a:custGeom>
              <a:avLst/>
              <a:gdLst>
                <a:gd name="T0" fmla="*/ 0 w 9"/>
                <a:gd name="T1" fmla="*/ 1 h 6"/>
                <a:gd name="T2" fmla="*/ 0 w 9"/>
                <a:gd name="T3" fmla="*/ 6 h 6"/>
                <a:gd name="T4" fmla="*/ 8 w 9"/>
                <a:gd name="T5" fmla="*/ 6 h 6"/>
                <a:gd name="T6" fmla="*/ 0 w 9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6">
                  <a:moveTo>
                    <a:pt x="0" y="1"/>
                  </a:moveTo>
                  <a:cubicBezTo>
                    <a:pt x="0" y="3"/>
                    <a:pt x="0" y="4"/>
                    <a:pt x="0" y="6"/>
                  </a:cubicBezTo>
                  <a:cubicBezTo>
                    <a:pt x="3" y="6"/>
                    <a:pt x="6" y="6"/>
                    <a:pt x="8" y="6"/>
                  </a:cubicBezTo>
                  <a:cubicBezTo>
                    <a:pt x="9" y="1"/>
                    <a:pt x="6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3" name="Freeform 24"/>
            <p:cNvSpPr>
              <a:spLocks/>
            </p:cNvSpPr>
            <p:nvPr userDrawn="1"/>
          </p:nvSpPr>
          <p:spPr bwMode="auto">
            <a:xfrm>
              <a:off x="5647" y="2205"/>
              <a:ext cx="31" cy="16"/>
            </a:xfrm>
            <a:custGeom>
              <a:avLst/>
              <a:gdLst>
                <a:gd name="T0" fmla="*/ 13 w 13"/>
                <a:gd name="T1" fmla="*/ 2 h 7"/>
                <a:gd name="T2" fmla="*/ 8 w 13"/>
                <a:gd name="T3" fmla="*/ 0 h 7"/>
                <a:gd name="T4" fmla="*/ 13 w 13"/>
                <a:gd name="T5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7">
                  <a:moveTo>
                    <a:pt x="13" y="2"/>
                  </a:moveTo>
                  <a:cubicBezTo>
                    <a:pt x="10" y="2"/>
                    <a:pt x="10" y="0"/>
                    <a:pt x="8" y="0"/>
                  </a:cubicBezTo>
                  <a:cubicBezTo>
                    <a:pt x="0" y="5"/>
                    <a:pt x="13" y="7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4" name="Freeform 25"/>
            <p:cNvSpPr>
              <a:spLocks/>
            </p:cNvSpPr>
            <p:nvPr userDrawn="1"/>
          </p:nvSpPr>
          <p:spPr bwMode="auto">
            <a:xfrm>
              <a:off x="5928" y="2372"/>
              <a:ext cx="31" cy="36"/>
            </a:xfrm>
            <a:custGeom>
              <a:avLst/>
              <a:gdLst>
                <a:gd name="T0" fmla="*/ 0 w 13"/>
                <a:gd name="T1" fmla="*/ 7 h 15"/>
                <a:gd name="T2" fmla="*/ 8 w 13"/>
                <a:gd name="T3" fmla="*/ 4 h 15"/>
                <a:gd name="T4" fmla="*/ 13 w 13"/>
                <a:gd name="T5" fmla="*/ 9 h 15"/>
                <a:gd name="T6" fmla="*/ 11 w 13"/>
                <a:gd name="T7" fmla="*/ 7 h 15"/>
                <a:gd name="T8" fmla="*/ 13 w 13"/>
                <a:gd name="T9" fmla="*/ 0 h 15"/>
                <a:gd name="T10" fmla="*/ 0 w 13"/>
                <a:gd name="T1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cubicBezTo>
                    <a:pt x="3" y="7"/>
                    <a:pt x="6" y="6"/>
                    <a:pt x="8" y="4"/>
                  </a:cubicBezTo>
                  <a:cubicBezTo>
                    <a:pt x="5" y="9"/>
                    <a:pt x="12" y="15"/>
                    <a:pt x="13" y="9"/>
                  </a:cubicBezTo>
                  <a:cubicBezTo>
                    <a:pt x="12" y="9"/>
                    <a:pt x="10" y="8"/>
                    <a:pt x="11" y="7"/>
                  </a:cubicBezTo>
                  <a:cubicBezTo>
                    <a:pt x="11" y="6"/>
                    <a:pt x="12" y="0"/>
                    <a:pt x="13" y="0"/>
                  </a:cubicBezTo>
                  <a:cubicBezTo>
                    <a:pt x="10" y="3"/>
                    <a:pt x="0" y="1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5" name="Freeform 26"/>
            <p:cNvSpPr>
              <a:spLocks/>
            </p:cNvSpPr>
            <p:nvPr userDrawn="1"/>
          </p:nvSpPr>
          <p:spPr bwMode="auto">
            <a:xfrm>
              <a:off x="5361" y="2202"/>
              <a:ext cx="19" cy="14"/>
            </a:xfrm>
            <a:custGeom>
              <a:avLst/>
              <a:gdLst>
                <a:gd name="T0" fmla="*/ 0 w 8"/>
                <a:gd name="T1" fmla="*/ 1 h 6"/>
                <a:gd name="T2" fmla="*/ 0 w 8"/>
                <a:gd name="T3" fmla="*/ 6 h 6"/>
                <a:gd name="T4" fmla="*/ 8 w 8"/>
                <a:gd name="T5" fmla="*/ 5 h 6"/>
                <a:gd name="T6" fmla="*/ 0 w 8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6">
                  <a:moveTo>
                    <a:pt x="0" y="1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2" y="5"/>
                    <a:pt x="5" y="5"/>
                    <a:pt x="8" y="5"/>
                  </a:cubicBezTo>
                  <a:cubicBezTo>
                    <a:pt x="8" y="1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6" name="Freeform 27"/>
            <p:cNvSpPr>
              <a:spLocks/>
            </p:cNvSpPr>
            <p:nvPr userDrawn="1"/>
          </p:nvSpPr>
          <p:spPr bwMode="auto">
            <a:xfrm>
              <a:off x="5990" y="2375"/>
              <a:ext cx="21" cy="33"/>
            </a:xfrm>
            <a:custGeom>
              <a:avLst/>
              <a:gdLst>
                <a:gd name="T0" fmla="*/ 4 w 9"/>
                <a:gd name="T1" fmla="*/ 1 h 14"/>
                <a:gd name="T2" fmla="*/ 1 w 9"/>
                <a:gd name="T3" fmla="*/ 10 h 14"/>
                <a:gd name="T4" fmla="*/ 4 w 9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4" y="1"/>
                  </a:moveTo>
                  <a:cubicBezTo>
                    <a:pt x="3" y="4"/>
                    <a:pt x="0" y="5"/>
                    <a:pt x="1" y="10"/>
                  </a:cubicBezTo>
                  <a:cubicBezTo>
                    <a:pt x="9" y="14"/>
                    <a:pt x="9" y="0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</p:grp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46618" y="1930400"/>
            <a:ext cx="11169649" cy="38703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buClr>
                <a:srgbClr val="49853E"/>
              </a:buClr>
              <a:buNone/>
              <a:defRPr sz="2000"/>
            </a:lvl1pPr>
            <a:lvl2pPr marL="179388" indent="-179388">
              <a:lnSpc>
                <a:spcPct val="95000"/>
              </a:lnSpc>
              <a:spcBef>
                <a:spcPts val="1000"/>
              </a:spcBef>
              <a:buClr>
                <a:srgbClr val="442E54"/>
              </a:buClr>
              <a:buFont typeface="Arial" panose="020B0604020202020204" pitchFamily="34" charset="0"/>
              <a:buChar char="•"/>
              <a:defRPr sz="2000"/>
            </a:lvl2pPr>
            <a:lvl3pPr marL="358775" indent="-179388">
              <a:lnSpc>
                <a:spcPct val="95000"/>
              </a:lnSpc>
              <a:spcBef>
                <a:spcPts val="400"/>
              </a:spcBef>
              <a:buClr>
                <a:srgbClr val="442E54"/>
              </a:buClr>
              <a:buFont typeface="Arial" panose="020B0604020202020204" pitchFamily="34" charset="0"/>
              <a:buChar char="–"/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46618" y="1440000"/>
            <a:ext cx="11169649" cy="381000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2400" b="0">
                <a:solidFill>
                  <a:srgbClr val="442E54"/>
                </a:solidFill>
                <a:latin typeface="Fungo" pitchFamily="50" charset="0"/>
              </a:defRPr>
            </a:lvl1pPr>
          </a:lstStyle>
          <a:p>
            <a:pPr lvl="0"/>
            <a:r>
              <a:rPr lang="en-US"/>
              <a:t>Sub heading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4777080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Group 5"/>
          <p:cNvGrpSpPr>
            <a:grpSpLocks noChangeAspect="1"/>
          </p:cNvGrpSpPr>
          <p:nvPr userDrawn="1"/>
        </p:nvGrpSpPr>
        <p:grpSpPr bwMode="auto">
          <a:xfrm>
            <a:off x="-12000" y="0"/>
            <a:ext cx="12216000" cy="1178432"/>
            <a:chOff x="-530" y="1723"/>
            <a:chExt cx="6834" cy="879"/>
          </a:xfrm>
          <a:solidFill>
            <a:schemeClr val="accent5"/>
          </a:solidFill>
        </p:grpSpPr>
        <p:sp>
          <p:nvSpPr>
            <p:cNvPr id="58" name="Freeform 6"/>
            <p:cNvSpPr>
              <a:spLocks/>
            </p:cNvSpPr>
            <p:nvPr userDrawn="1"/>
          </p:nvSpPr>
          <p:spPr bwMode="auto">
            <a:xfrm>
              <a:off x="4076" y="2427"/>
              <a:ext cx="45" cy="49"/>
            </a:xfrm>
            <a:custGeom>
              <a:avLst/>
              <a:gdLst>
                <a:gd name="T0" fmla="*/ 8 w 19"/>
                <a:gd name="T1" fmla="*/ 14 h 21"/>
                <a:gd name="T2" fmla="*/ 11 w 19"/>
                <a:gd name="T3" fmla="*/ 21 h 21"/>
                <a:gd name="T4" fmla="*/ 16 w 19"/>
                <a:gd name="T5" fmla="*/ 2 h 21"/>
                <a:gd name="T6" fmla="*/ 8 w 19"/>
                <a:gd name="T7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8" y="14"/>
                  </a:moveTo>
                  <a:cubicBezTo>
                    <a:pt x="9" y="17"/>
                    <a:pt x="7" y="21"/>
                    <a:pt x="11" y="21"/>
                  </a:cubicBezTo>
                  <a:cubicBezTo>
                    <a:pt x="16" y="14"/>
                    <a:pt x="19" y="12"/>
                    <a:pt x="16" y="2"/>
                  </a:cubicBezTo>
                  <a:cubicBezTo>
                    <a:pt x="0" y="0"/>
                    <a:pt x="7" y="11"/>
                    <a:pt x="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9" name="Freeform 7"/>
            <p:cNvSpPr>
              <a:spLocks/>
            </p:cNvSpPr>
            <p:nvPr userDrawn="1"/>
          </p:nvSpPr>
          <p:spPr bwMode="auto">
            <a:xfrm>
              <a:off x="5264" y="2389"/>
              <a:ext cx="22" cy="12"/>
            </a:xfrm>
            <a:custGeom>
              <a:avLst/>
              <a:gdLst>
                <a:gd name="T0" fmla="*/ 1 w 9"/>
                <a:gd name="T1" fmla="*/ 5 h 5"/>
                <a:gd name="T2" fmla="*/ 9 w 9"/>
                <a:gd name="T3" fmla="*/ 0 h 5"/>
                <a:gd name="T4" fmla="*/ 1 w 9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5">
                  <a:moveTo>
                    <a:pt x="1" y="5"/>
                  </a:moveTo>
                  <a:cubicBezTo>
                    <a:pt x="6" y="5"/>
                    <a:pt x="8" y="3"/>
                    <a:pt x="9" y="0"/>
                  </a:cubicBezTo>
                  <a:cubicBezTo>
                    <a:pt x="5" y="0"/>
                    <a:pt x="0" y="0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0" name="Freeform 8"/>
            <p:cNvSpPr>
              <a:spLocks/>
            </p:cNvSpPr>
            <p:nvPr userDrawn="1"/>
          </p:nvSpPr>
          <p:spPr bwMode="auto">
            <a:xfrm>
              <a:off x="5659" y="2375"/>
              <a:ext cx="28" cy="35"/>
            </a:xfrm>
            <a:custGeom>
              <a:avLst/>
              <a:gdLst>
                <a:gd name="T0" fmla="*/ 7 w 12"/>
                <a:gd name="T1" fmla="*/ 5 h 15"/>
                <a:gd name="T2" fmla="*/ 4 w 12"/>
                <a:gd name="T3" fmla="*/ 8 h 15"/>
                <a:gd name="T4" fmla="*/ 1 w 12"/>
                <a:gd name="T5" fmla="*/ 6 h 15"/>
                <a:gd name="T6" fmla="*/ 4 w 12"/>
                <a:gd name="T7" fmla="*/ 15 h 15"/>
                <a:gd name="T8" fmla="*/ 7 w 12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7" y="5"/>
                  </a:moveTo>
                  <a:cubicBezTo>
                    <a:pt x="7" y="7"/>
                    <a:pt x="6" y="8"/>
                    <a:pt x="4" y="8"/>
                  </a:cubicBezTo>
                  <a:cubicBezTo>
                    <a:pt x="4" y="6"/>
                    <a:pt x="4" y="5"/>
                    <a:pt x="1" y="6"/>
                  </a:cubicBezTo>
                  <a:cubicBezTo>
                    <a:pt x="2" y="9"/>
                    <a:pt x="0" y="14"/>
                    <a:pt x="4" y="15"/>
                  </a:cubicBezTo>
                  <a:cubicBezTo>
                    <a:pt x="6" y="13"/>
                    <a:pt x="12" y="0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1" name="Freeform 9"/>
            <p:cNvSpPr>
              <a:spLocks/>
            </p:cNvSpPr>
            <p:nvPr userDrawn="1"/>
          </p:nvSpPr>
          <p:spPr bwMode="auto">
            <a:xfrm>
              <a:off x="6155" y="2018"/>
              <a:ext cx="68" cy="35"/>
            </a:xfrm>
            <a:custGeom>
              <a:avLst/>
              <a:gdLst>
                <a:gd name="T0" fmla="*/ 16 w 29"/>
                <a:gd name="T1" fmla="*/ 12 h 15"/>
                <a:gd name="T2" fmla="*/ 27 w 29"/>
                <a:gd name="T3" fmla="*/ 7 h 15"/>
                <a:gd name="T4" fmla="*/ 5 w 29"/>
                <a:gd name="T5" fmla="*/ 0 h 15"/>
                <a:gd name="T6" fmla="*/ 3 w 29"/>
                <a:gd name="T7" fmla="*/ 12 h 15"/>
                <a:gd name="T8" fmla="*/ 16 w 29"/>
                <a:gd name="T9" fmla="*/ 7 h 15"/>
                <a:gd name="T10" fmla="*/ 16 w 29"/>
                <a:gd name="T11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5">
                  <a:moveTo>
                    <a:pt x="16" y="12"/>
                  </a:moveTo>
                  <a:cubicBezTo>
                    <a:pt x="21" y="15"/>
                    <a:pt x="29" y="8"/>
                    <a:pt x="27" y="7"/>
                  </a:cubicBezTo>
                  <a:cubicBezTo>
                    <a:pt x="24" y="1"/>
                    <a:pt x="11" y="3"/>
                    <a:pt x="5" y="0"/>
                  </a:cubicBezTo>
                  <a:cubicBezTo>
                    <a:pt x="6" y="6"/>
                    <a:pt x="0" y="5"/>
                    <a:pt x="3" y="12"/>
                  </a:cubicBezTo>
                  <a:cubicBezTo>
                    <a:pt x="11" y="15"/>
                    <a:pt x="10" y="8"/>
                    <a:pt x="16" y="7"/>
                  </a:cubicBezTo>
                  <a:cubicBezTo>
                    <a:pt x="16" y="7"/>
                    <a:pt x="16" y="11"/>
                    <a:pt x="1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2" name="Freeform 10"/>
            <p:cNvSpPr>
              <a:spLocks/>
            </p:cNvSpPr>
            <p:nvPr userDrawn="1"/>
          </p:nvSpPr>
          <p:spPr bwMode="auto">
            <a:xfrm>
              <a:off x="5633" y="2365"/>
              <a:ext cx="24" cy="29"/>
            </a:xfrm>
            <a:custGeom>
              <a:avLst/>
              <a:gdLst>
                <a:gd name="T0" fmla="*/ 4 w 10"/>
                <a:gd name="T1" fmla="*/ 0 h 12"/>
                <a:gd name="T2" fmla="*/ 7 w 10"/>
                <a:gd name="T3" fmla="*/ 12 h 12"/>
                <a:gd name="T4" fmla="*/ 4 w 10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4" y="0"/>
                  </a:moveTo>
                  <a:cubicBezTo>
                    <a:pt x="0" y="3"/>
                    <a:pt x="3" y="9"/>
                    <a:pt x="7" y="12"/>
                  </a:cubicBezTo>
                  <a:cubicBezTo>
                    <a:pt x="10" y="9"/>
                    <a:pt x="8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3" name="Freeform 11"/>
            <p:cNvSpPr>
              <a:spLocks/>
            </p:cNvSpPr>
            <p:nvPr userDrawn="1"/>
          </p:nvSpPr>
          <p:spPr bwMode="auto">
            <a:xfrm>
              <a:off x="4187" y="2453"/>
              <a:ext cx="33" cy="21"/>
            </a:xfrm>
            <a:custGeom>
              <a:avLst/>
              <a:gdLst>
                <a:gd name="T0" fmla="*/ 7 w 14"/>
                <a:gd name="T1" fmla="*/ 0 h 9"/>
                <a:gd name="T2" fmla="*/ 2 w 14"/>
                <a:gd name="T3" fmla="*/ 7 h 9"/>
                <a:gd name="T4" fmla="*/ 7 w 14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9">
                  <a:moveTo>
                    <a:pt x="7" y="0"/>
                  </a:moveTo>
                  <a:cubicBezTo>
                    <a:pt x="7" y="3"/>
                    <a:pt x="0" y="2"/>
                    <a:pt x="2" y="7"/>
                  </a:cubicBezTo>
                  <a:cubicBezTo>
                    <a:pt x="8" y="9"/>
                    <a:pt x="14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4" name="Freeform 12"/>
            <p:cNvSpPr>
              <a:spLocks/>
            </p:cNvSpPr>
            <p:nvPr userDrawn="1"/>
          </p:nvSpPr>
          <p:spPr bwMode="auto">
            <a:xfrm>
              <a:off x="5678" y="2379"/>
              <a:ext cx="40" cy="31"/>
            </a:xfrm>
            <a:custGeom>
              <a:avLst/>
              <a:gdLst>
                <a:gd name="T0" fmla="*/ 7 w 17"/>
                <a:gd name="T1" fmla="*/ 6 h 13"/>
                <a:gd name="T2" fmla="*/ 4 w 17"/>
                <a:gd name="T3" fmla="*/ 6 h 13"/>
                <a:gd name="T4" fmla="*/ 7 w 17"/>
                <a:gd name="T5" fmla="*/ 8 h 13"/>
                <a:gd name="T6" fmla="*/ 15 w 17"/>
                <a:gd name="T7" fmla="*/ 1 h 13"/>
                <a:gd name="T8" fmla="*/ 7 w 17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3">
                  <a:moveTo>
                    <a:pt x="7" y="6"/>
                  </a:moveTo>
                  <a:cubicBezTo>
                    <a:pt x="7" y="4"/>
                    <a:pt x="5" y="3"/>
                    <a:pt x="4" y="6"/>
                  </a:cubicBezTo>
                  <a:cubicBezTo>
                    <a:pt x="6" y="6"/>
                    <a:pt x="8" y="6"/>
                    <a:pt x="7" y="8"/>
                  </a:cubicBezTo>
                  <a:cubicBezTo>
                    <a:pt x="0" y="13"/>
                    <a:pt x="17" y="6"/>
                    <a:pt x="15" y="1"/>
                  </a:cubicBezTo>
                  <a:cubicBezTo>
                    <a:pt x="10" y="0"/>
                    <a:pt x="10" y="4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5" name="Freeform 13"/>
            <p:cNvSpPr>
              <a:spLocks/>
            </p:cNvSpPr>
            <p:nvPr userDrawn="1"/>
          </p:nvSpPr>
          <p:spPr bwMode="auto">
            <a:xfrm>
              <a:off x="6219" y="2016"/>
              <a:ext cx="73" cy="35"/>
            </a:xfrm>
            <a:custGeom>
              <a:avLst/>
              <a:gdLst>
                <a:gd name="T0" fmla="*/ 20 w 31"/>
                <a:gd name="T1" fmla="*/ 10 h 15"/>
                <a:gd name="T2" fmla="*/ 19 w 31"/>
                <a:gd name="T3" fmla="*/ 0 h 15"/>
                <a:gd name="T4" fmla="*/ 11 w 31"/>
                <a:gd name="T5" fmla="*/ 5 h 15"/>
                <a:gd name="T6" fmla="*/ 0 w 31"/>
                <a:gd name="T7" fmla="*/ 1 h 15"/>
                <a:gd name="T8" fmla="*/ 9 w 31"/>
                <a:gd name="T9" fmla="*/ 15 h 15"/>
                <a:gd name="T10" fmla="*/ 11 w 31"/>
                <a:gd name="T11" fmla="*/ 7 h 15"/>
                <a:gd name="T12" fmla="*/ 11 w 31"/>
                <a:gd name="T13" fmla="*/ 12 h 15"/>
                <a:gd name="T14" fmla="*/ 31 w 31"/>
                <a:gd name="T15" fmla="*/ 11 h 15"/>
                <a:gd name="T16" fmla="*/ 31 w 31"/>
                <a:gd name="T17" fmla="*/ 2 h 15"/>
                <a:gd name="T18" fmla="*/ 20 w 31"/>
                <a:gd name="T1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15">
                  <a:moveTo>
                    <a:pt x="20" y="10"/>
                  </a:moveTo>
                  <a:cubicBezTo>
                    <a:pt x="15" y="5"/>
                    <a:pt x="20" y="7"/>
                    <a:pt x="19" y="0"/>
                  </a:cubicBezTo>
                  <a:cubicBezTo>
                    <a:pt x="14" y="0"/>
                    <a:pt x="14" y="4"/>
                    <a:pt x="11" y="5"/>
                  </a:cubicBezTo>
                  <a:cubicBezTo>
                    <a:pt x="9" y="2"/>
                    <a:pt x="5" y="1"/>
                    <a:pt x="0" y="1"/>
                  </a:cubicBezTo>
                  <a:cubicBezTo>
                    <a:pt x="2" y="6"/>
                    <a:pt x="2" y="13"/>
                    <a:pt x="9" y="15"/>
                  </a:cubicBezTo>
                  <a:cubicBezTo>
                    <a:pt x="9" y="12"/>
                    <a:pt x="8" y="8"/>
                    <a:pt x="11" y="7"/>
                  </a:cubicBezTo>
                  <a:cubicBezTo>
                    <a:pt x="11" y="9"/>
                    <a:pt x="11" y="11"/>
                    <a:pt x="11" y="12"/>
                  </a:cubicBezTo>
                  <a:cubicBezTo>
                    <a:pt x="19" y="12"/>
                    <a:pt x="26" y="12"/>
                    <a:pt x="31" y="1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6" y="3"/>
                    <a:pt x="28" y="11"/>
                    <a:pt x="2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6" name="Freeform 14"/>
            <p:cNvSpPr>
              <a:spLocks/>
            </p:cNvSpPr>
            <p:nvPr userDrawn="1"/>
          </p:nvSpPr>
          <p:spPr bwMode="auto">
            <a:xfrm>
              <a:off x="4256" y="2441"/>
              <a:ext cx="24" cy="21"/>
            </a:xfrm>
            <a:custGeom>
              <a:avLst/>
              <a:gdLst>
                <a:gd name="T0" fmla="*/ 0 w 10"/>
                <a:gd name="T1" fmla="*/ 7 h 9"/>
                <a:gd name="T2" fmla="*/ 9 w 10"/>
                <a:gd name="T3" fmla="*/ 9 h 9"/>
                <a:gd name="T4" fmla="*/ 0 w 10"/>
                <a:gd name="T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7"/>
                  </a:moveTo>
                  <a:cubicBezTo>
                    <a:pt x="4" y="6"/>
                    <a:pt x="6" y="8"/>
                    <a:pt x="9" y="9"/>
                  </a:cubicBezTo>
                  <a:cubicBezTo>
                    <a:pt x="10" y="2"/>
                    <a:pt x="1" y="0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7" name="Freeform 15"/>
            <p:cNvSpPr>
              <a:spLocks/>
            </p:cNvSpPr>
            <p:nvPr userDrawn="1"/>
          </p:nvSpPr>
          <p:spPr bwMode="auto">
            <a:xfrm>
              <a:off x="3859" y="2455"/>
              <a:ext cx="14" cy="31"/>
            </a:xfrm>
            <a:custGeom>
              <a:avLst/>
              <a:gdLst>
                <a:gd name="T0" fmla="*/ 1 w 6"/>
                <a:gd name="T1" fmla="*/ 8 h 13"/>
                <a:gd name="T2" fmla="*/ 4 w 6"/>
                <a:gd name="T3" fmla="*/ 13 h 13"/>
                <a:gd name="T4" fmla="*/ 1 w 6"/>
                <a:gd name="T5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3">
                  <a:moveTo>
                    <a:pt x="1" y="8"/>
                  </a:moveTo>
                  <a:cubicBezTo>
                    <a:pt x="0" y="10"/>
                    <a:pt x="2" y="13"/>
                    <a:pt x="4" y="13"/>
                  </a:cubicBezTo>
                  <a:cubicBezTo>
                    <a:pt x="6" y="13"/>
                    <a:pt x="5" y="0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8" name="Freeform 16"/>
            <p:cNvSpPr>
              <a:spLocks/>
            </p:cNvSpPr>
            <p:nvPr userDrawn="1"/>
          </p:nvSpPr>
          <p:spPr bwMode="auto">
            <a:xfrm>
              <a:off x="3982" y="2455"/>
              <a:ext cx="38" cy="31"/>
            </a:xfrm>
            <a:custGeom>
              <a:avLst/>
              <a:gdLst>
                <a:gd name="T0" fmla="*/ 10 w 16"/>
                <a:gd name="T1" fmla="*/ 12 h 13"/>
                <a:gd name="T2" fmla="*/ 15 w 16"/>
                <a:gd name="T3" fmla="*/ 2 h 13"/>
                <a:gd name="T4" fmla="*/ 10 w 16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10" y="12"/>
                  </a:moveTo>
                  <a:cubicBezTo>
                    <a:pt x="11" y="12"/>
                    <a:pt x="16" y="5"/>
                    <a:pt x="15" y="2"/>
                  </a:cubicBezTo>
                  <a:cubicBezTo>
                    <a:pt x="0" y="0"/>
                    <a:pt x="4" y="13"/>
                    <a:pt x="1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9" name="Freeform 17"/>
            <p:cNvSpPr>
              <a:spLocks/>
            </p:cNvSpPr>
            <p:nvPr userDrawn="1"/>
          </p:nvSpPr>
          <p:spPr bwMode="auto">
            <a:xfrm>
              <a:off x="5872" y="2004"/>
              <a:ext cx="56" cy="54"/>
            </a:xfrm>
            <a:custGeom>
              <a:avLst/>
              <a:gdLst>
                <a:gd name="T0" fmla="*/ 18 w 24"/>
                <a:gd name="T1" fmla="*/ 13 h 23"/>
                <a:gd name="T2" fmla="*/ 24 w 24"/>
                <a:gd name="T3" fmla="*/ 15 h 23"/>
                <a:gd name="T4" fmla="*/ 18 w 24"/>
                <a:gd name="T5" fmla="*/ 8 h 23"/>
                <a:gd name="T6" fmla="*/ 16 w 24"/>
                <a:gd name="T7" fmla="*/ 10 h 23"/>
                <a:gd name="T8" fmla="*/ 2 w 24"/>
                <a:gd name="T9" fmla="*/ 1 h 23"/>
                <a:gd name="T10" fmla="*/ 5 w 24"/>
                <a:gd name="T11" fmla="*/ 8 h 23"/>
                <a:gd name="T12" fmla="*/ 5 w 24"/>
                <a:gd name="T13" fmla="*/ 15 h 23"/>
                <a:gd name="T14" fmla="*/ 10 w 24"/>
                <a:gd name="T15" fmla="*/ 20 h 23"/>
                <a:gd name="T16" fmla="*/ 18 w 24"/>
                <a:gd name="T17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3">
                  <a:moveTo>
                    <a:pt x="18" y="13"/>
                  </a:moveTo>
                  <a:cubicBezTo>
                    <a:pt x="19" y="14"/>
                    <a:pt x="21" y="15"/>
                    <a:pt x="24" y="15"/>
                  </a:cubicBezTo>
                  <a:cubicBezTo>
                    <a:pt x="24" y="12"/>
                    <a:pt x="21" y="7"/>
                    <a:pt x="18" y="8"/>
                  </a:cubicBezTo>
                  <a:cubicBezTo>
                    <a:pt x="18" y="8"/>
                    <a:pt x="18" y="12"/>
                    <a:pt x="16" y="10"/>
                  </a:cubicBezTo>
                  <a:cubicBezTo>
                    <a:pt x="13" y="9"/>
                    <a:pt x="12" y="0"/>
                    <a:pt x="2" y="1"/>
                  </a:cubicBezTo>
                  <a:cubicBezTo>
                    <a:pt x="2" y="4"/>
                    <a:pt x="3" y="6"/>
                    <a:pt x="5" y="8"/>
                  </a:cubicBezTo>
                  <a:cubicBezTo>
                    <a:pt x="4" y="11"/>
                    <a:pt x="0" y="14"/>
                    <a:pt x="5" y="15"/>
                  </a:cubicBezTo>
                  <a:cubicBezTo>
                    <a:pt x="7" y="5"/>
                    <a:pt x="16" y="16"/>
                    <a:pt x="10" y="20"/>
                  </a:cubicBezTo>
                  <a:cubicBezTo>
                    <a:pt x="20" y="23"/>
                    <a:pt x="12" y="12"/>
                    <a:pt x="1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0" name="Freeform 18"/>
            <p:cNvSpPr>
              <a:spLocks/>
            </p:cNvSpPr>
            <p:nvPr userDrawn="1"/>
          </p:nvSpPr>
          <p:spPr bwMode="auto">
            <a:xfrm>
              <a:off x="6129" y="2051"/>
              <a:ext cx="26" cy="31"/>
            </a:xfrm>
            <a:custGeom>
              <a:avLst/>
              <a:gdLst>
                <a:gd name="T0" fmla="*/ 3 w 11"/>
                <a:gd name="T1" fmla="*/ 5 h 13"/>
                <a:gd name="T2" fmla="*/ 0 w 11"/>
                <a:gd name="T3" fmla="*/ 0 h 13"/>
                <a:gd name="T4" fmla="*/ 0 w 11"/>
                <a:gd name="T5" fmla="*/ 12 h 13"/>
                <a:gd name="T6" fmla="*/ 11 w 11"/>
                <a:gd name="T7" fmla="*/ 7 h 13"/>
                <a:gd name="T8" fmla="*/ 3 w 11"/>
                <a:gd name="T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3" y="5"/>
                  </a:moveTo>
                  <a:cubicBezTo>
                    <a:pt x="2" y="3"/>
                    <a:pt x="3" y="0"/>
                    <a:pt x="0" y="0"/>
                  </a:cubicBezTo>
                  <a:cubicBezTo>
                    <a:pt x="0" y="4"/>
                    <a:pt x="0" y="8"/>
                    <a:pt x="0" y="12"/>
                  </a:cubicBezTo>
                  <a:cubicBezTo>
                    <a:pt x="6" y="13"/>
                    <a:pt x="11" y="11"/>
                    <a:pt x="11" y="7"/>
                  </a:cubicBezTo>
                  <a:cubicBezTo>
                    <a:pt x="8" y="7"/>
                    <a:pt x="3" y="8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1" name="Freeform 19"/>
            <p:cNvSpPr>
              <a:spLocks noEditPoints="1"/>
            </p:cNvSpPr>
            <p:nvPr userDrawn="1"/>
          </p:nvSpPr>
          <p:spPr bwMode="auto">
            <a:xfrm>
              <a:off x="-530" y="1723"/>
              <a:ext cx="6834" cy="879"/>
            </a:xfrm>
            <a:custGeom>
              <a:avLst/>
              <a:gdLst>
                <a:gd name="T0" fmla="*/ 389 w 2893"/>
                <a:gd name="T1" fmla="*/ 342 h 372"/>
                <a:gd name="T2" fmla="*/ 740 w 2893"/>
                <a:gd name="T3" fmla="*/ 359 h 372"/>
                <a:gd name="T4" fmla="*/ 1103 w 2893"/>
                <a:gd name="T5" fmla="*/ 367 h 372"/>
                <a:gd name="T6" fmla="*/ 1426 w 2893"/>
                <a:gd name="T7" fmla="*/ 356 h 372"/>
                <a:gd name="T8" fmla="*/ 1695 w 2893"/>
                <a:gd name="T9" fmla="*/ 331 h 372"/>
                <a:gd name="T10" fmla="*/ 1895 w 2893"/>
                <a:gd name="T11" fmla="*/ 320 h 372"/>
                <a:gd name="T12" fmla="*/ 2114 w 2893"/>
                <a:gd name="T13" fmla="*/ 302 h 372"/>
                <a:gd name="T14" fmla="*/ 2309 w 2893"/>
                <a:gd name="T15" fmla="*/ 287 h 372"/>
                <a:gd name="T16" fmla="*/ 2459 w 2893"/>
                <a:gd name="T17" fmla="*/ 275 h 372"/>
                <a:gd name="T18" fmla="*/ 2597 w 2893"/>
                <a:gd name="T19" fmla="*/ 289 h 372"/>
                <a:gd name="T20" fmla="*/ 2723 w 2893"/>
                <a:gd name="T21" fmla="*/ 280 h 372"/>
                <a:gd name="T22" fmla="*/ 2838 w 2893"/>
                <a:gd name="T23" fmla="*/ 287 h 372"/>
                <a:gd name="T24" fmla="*/ 2866 w 2893"/>
                <a:gd name="T25" fmla="*/ 183 h 372"/>
                <a:gd name="T26" fmla="*/ 2808 w 2893"/>
                <a:gd name="T27" fmla="*/ 147 h 372"/>
                <a:gd name="T28" fmla="*/ 2631 w 2893"/>
                <a:gd name="T29" fmla="*/ 218 h 372"/>
                <a:gd name="T30" fmla="*/ 2665 w 2893"/>
                <a:gd name="T31" fmla="*/ 112 h 372"/>
                <a:gd name="T32" fmla="*/ 2857 w 2893"/>
                <a:gd name="T33" fmla="*/ 113 h 372"/>
                <a:gd name="T34" fmla="*/ 485 w 2893"/>
                <a:gd name="T35" fmla="*/ 201 h 372"/>
                <a:gd name="T36" fmla="*/ 777 w 2893"/>
                <a:gd name="T37" fmla="*/ 267 h 372"/>
                <a:gd name="T38" fmla="*/ 1016 w 2893"/>
                <a:gd name="T39" fmla="*/ 272 h 372"/>
                <a:gd name="T40" fmla="*/ 1266 w 2893"/>
                <a:gd name="T41" fmla="*/ 265 h 372"/>
                <a:gd name="T42" fmla="*/ 1356 w 2893"/>
                <a:gd name="T43" fmla="*/ 252 h 372"/>
                <a:gd name="T44" fmla="*/ 1456 w 2893"/>
                <a:gd name="T45" fmla="*/ 330 h 372"/>
                <a:gd name="T46" fmla="*/ 1548 w 2893"/>
                <a:gd name="T47" fmla="*/ 241 h 372"/>
                <a:gd name="T48" fmla="*/ 1656 w 2893"/>
                <a:gd name="T49" fmla="*/ 331 h 372"/>
                <a:gd name="T50" fmla="*/ 1709 w 2893"/>
                <a:gd name="T51" fmla="*/ 232 h 372"/>
                <a:gd name="T52" fmla="*/ 1779 w 2893"/>
                <a:gd name="T53" fmla="*/ 259 h 372"/>
                <a:gd name="T54" fmla="*/ 1829 w 2893"/>
                <a:gd name="T55" fmla="*/ 147 h 372"/>
                <a:gd name="T56" fmla="*/ 1920 w 2893"/>
                <a:gd name="T57" fmla="*/ 193 h 372"/>
                <a:gd name="T58" fmla="*/ 1900 w 2893"/>
                <a:gd name="T59" fmla="*/ 151 h 372"/>
                <a:gd name="T60" fmla="*/ 1948 w 2893"/>
                <a:gd name="T61" fmla="*/ 220 h 372"/>
                <a:gd name="T62" fmla="*/ 2044 w 2893"/>
                <a:gd name="T63" fmla="*/ 214 h 372"/>
                <a:gd name="T64" fmla="*/ 2069 w 2893"/>
                <a:gd name="T65" fmla="*/ 218 h 372"/>
                <a:gd name="T66" fmla="*/ 2172 w 2893"/>
                <a:gd name="T67" fmla="*/ 167 h 372"/>
                <a:gd name="T68" fmla="*/ 2111 w 2893"/>
                <a:gd name="T69" fmla="*/ 107 h 372"/>
                <a:gd name="T70" fmla="*/ 2115 w 2893"/>
                <a:gd name="T71" fmla="*/ 217 h 372"/>
                <a:gd name="T72" fmla="*/ 2157 w 2893"/>
                <a:gd name="T73" fmla="*/ 236 h 372"/>
                <a:gd name="T74" fmla="*/ 2191 w 2893"/>
                <a:gd name="T75" fmla="*/ 148 h 372"/>
                <a:gd name="T76" fmla="*/ 2262 w 2893"/>
                <a:gd name="T77" fmla="*/ 135 h 372"/>
                <a:gd name="T78" fmla="*/ 2862 w 2893"/>
                <a:gd name="T79" fmla="*/ 247 h 372"/>
                <a:gd name="T80" fmla="*/ 2740 w 2893"/>
                <a:gd name="T81" fmla="*/ 190 h 372"/>
                <a:gd name="T82" fmla="*/ 2824 w 2893"/>
                <a:gd name="T83" fmla="*/ 259 h 372"/>
                <a:gd name="T84" fmla="*/ 2831 w 2893"/>
                <a:gd name="T85" fmla="*/ 198 h 372"/>
                <a:gd name="T86" fmla="*/ 2792 w 2893"/>
                <a:gd name="T87" fmla="*/ 177 h 372"/>
                <a:gd name="T88" fmla="*/ 2732 w 2893"/>
                <a:gd name="T89" fmla="*/ 181 h 372"/>
                <a:gd name="T90" fmla="*/ 2702 w 2893"/>
                <a:gd name="T91" fmla="*/ 207 h 372"/>
                <a:gd name="T92" fmla="*/ 2674 w 2893"/>
                <a:gd name="T93" fmla="*/ 8 h 372"/>
                <a:gd name="T94" fmla="*/ 2563 w 2893"/>
                <a:gd name="T95" fmla="*/ 116 h 372"/>
                <a:gd name="T96" fmla="*/ 2514 w 2893"/>
                <a:gd name="T97" fmla="*/ 121 h 372"/>
                <a:gd name="T98" fmla="*/ 2453 w 2893"/>
                <a:gd name="T99" fmla="*/ 101 h 372"/>
                <a:gd name="T100" fmla="*/ 2349 w 2893"/>
                <a:gd name="T101" fmla="*/ 103 h 372"/>
                <a:gd name="T102" fmla="*/ 2298 w 2893"/>
                <a:gd name="T103" fmla="*/ 139 h 372"/>
                <a:gd name="T104" fmla="*/ 2305 w 2893"/>
                <a:gd name="T105" fmla="*/ 231 h 372"/>
                <a:gd name="T106" fmla="*/ 2365 w 2893"/>
                <a:gd name="T107" fmla="*/ 211 h 372"/>
                <a:gd name="T108" fmla="*/ 2456 w 2893"/>
                <a:gd name="T109" fmla="*/ 256 h 372"/>
                <a:gd name="T110" fmla="*/ 2497 w 2893"/>
                <a:gd name="T111" fmla="*/ 213 h 372"/>
                <a:gd name="T112" fmla="*/ 2543 w 2893"/>
                <a:gd name="T113" fmla="*/ 219 h 372"/>
                <a:gd name="T114" fmla="*/ 2582 w 2893"/>
                <a:gd name="T115" fmla="*/ 230 h 372"/>
                <a:gd name="T116" fmla="*/ 2599 w 2893"/>
                <a:gd name="T117" fmla="*/ 258 h 372"/>
                <a:gd name="T118" fmla="*/ 2671 w 2893"/>
                <a:gd name="T119" fmla="*/ 156 h 372"/>
                <a:gd name="T120" fmla="*/ 2638 w 2893"/>
                <a:gd name="T121" fmla="*/ 133 h 372"/>
                <a:gd name="T122" fmla="*/ 2741 w 2893"/>
                <a:gd name="T123" fmla="*/ 87 h 372"/>
                <a:gd name="T124" fmla="*/ 2808 w 2893"/>
                <a:gd name="T125" fmla="*/ 12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93" h="372">
                  <a:moveTo>
                    <a:pt x="288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1"/>
                    <a:pt x="1" y="320"/>
                    <a:pt x="2" y="320"/>
                  </a:cubicBezTo>
                  <a:cubicBezTo>
                    <a:pt x="1" y="331"/>
                    <a:pt x="12" y="320"/>
                    <a:pt x="15" y="320"/>
                  </a:cubicBezTo>
                  <a:cubicBezTo>
                    <a:pt x="16" y="328"/>
                    <a:pt x="25" y="329"/>
                    <a:pt x="35" y="329"/>
                  </a:cubicBezTo>
                  <a:cubicBezTo>
                    <a:pt x="35" y="327"/>
                    <a:pt x="35" y="324"/>
                    <a:pt x="37" y="324"/>
                  </a:cubicBezTo>
                  <a:cubicBezTo>
                    <a:pt x="39" y="331"/>
                    <a:pt x="43" y="322"/>
                    <a:pt x="48" y="324"/>
                  </a:cubicBezTo>
                  <a:cubicBezTo>
                    <a:pt x="50" y="329"/>
                    <a:pt x="56" y="325"/>
                    <a:pt x="62" y="326"/>
                  </a:cubicBezTo>
                  <a:cubicBezTo>
                    <a:pt x="70" y="328"/>
                    <a:pt x="66" y="332"/>
                    <a:pt x="70" y="328"/>
                  </a:cubicBezTo>
                  <a:cubicBezTo>
                    <a:pt x="77" y="323"/>
                    <a:pt x="90" y="333"/>
                    <a:pt x="87" y="333"/>
                  </a:cubicBezTo>
                  <a:cubicBezTo>
                    <a:pt x="102" y="336"/>
                    <a:pt x="117" y="327"/>
                    <a:pt x="136" y="330"/>
                  </a:cubicBezTo>
                  <a:cubicBezTo>
                    <a:pt x="139" y="338"/>
                    <a:pt x="156" y="332"/>
                    <a:pt x="167" y="334"/>
                  </a:cubicBezTo>
                  <a:cubicBezTo>
                    <a:pt x="170" y="334"/>
                    <a:pt x="170" y="336"/>
                    <a:pt x="175" y="336"/>
                  </a:cubicBezTo>
                  <a:cubicBezTo>
                    <a:pt x="178" y="336"/>
                    <a:pt x="179" y="334"/>
                    <a:pt x="183" y="333"/>
                  </a:cubicBezTo>
                  <a:cubicBezTo>
                    <a:pt x="190" y="333"/>
                    <a:pt x="194" y="335"/>
                    <a:pt x="200" y="336"/>
                  </a:cubicBezTo>
                  <a:cubicBezTo>
                    <a:pt x="202" y="332"/>
                    <a:pt x="204" y="328"/>
                    <a:pt x="210" y="328"/>
                  </a:cubicBezTo>
                  <a:cubicBezTo>
                    <a:pt x="211" y="331"/>
                    <a:pt x="210" y="335"/>
                    <a:pt x="213" y="335"/>
                  </a:cubicBezTo>
                  <a:cubicBezTo>
                    <a:pt x="216" y="328"/>
                    <a:pt x="221" y="337"/>
                    <a:pt x="222" y="337"/>
                  </a:cubicBezTo>
                  <a:cubicBezTo>
                    <a:pt x="225" y="339"/>
                    <a:pt x="233" y="339"/>
                    <a:pt x="238" y="340"/>
                  </a:cubicBezTo>
                  <a:cubicBezTo>
                    <a:pt x="246" y="340"/>
                    <a:pt x="240" y="332"/>
                    <a:pt x="246" y="337"/>
                  </a:cubicBezTo>
                  <a:cubicBezTo>
                    <a:pt x="248" y="338"/>
                    <a:pt x="255" y="336"/>
                    <a:pt x="257" y="337"/>
                  </a:cubicBezTo>
                  <a:cubicBezTo>
                    <a:pt x="259" y="338"/>
                    <a:pt x="260" y="343"/>
                    <a:pt x="266" y="341"/>
                  </a:cubicBezTo>
                  <a:cubicBezTo>
                    <a:pt x="275" y="336"/>
                    <a:pt x="294" y="346"/>
                    <a:pt x="307" y="341"/>
                  </a:cubicBezTo>
                  <a:cubicBezTo>
                    <a:pt x="309" y="340"/>
                    <a:pt x="309" y="334"/>
                    <a:pt x="312" y="334"/>
                  </a:cubicBezTo>
                  <a:cubicBezTo>
                    <a:pt x="312" y="335"/>
                    <a:pt x="312" y="337"/>
                    <a:pt x="312" y="338"/>
                  </a:cubicBezTo>
                  <a:cubicBezTo>
                    <a:pt x="315" y="339"/>
                    <a:pt x="321" y="337"/>
                    <a:pt x="323" y="338"/>
                  </a:cubicBezTo>
                  <a:cubicBezTo>
                    <a:pt x="323" y="338"/>
                    <a:pt x="323" y="340"/>
                    <a:pt x="323" y="340"/>
                  </a:cubicBezTo>
                  <a:cubicBezTo>
                    <a:pt x="327" y="341"/>
                    <a:pt x="334" y="339"/>
                    <a:pt x="340" y="340"/>
                  </a:cubicBezTo>
                  <a:cubicBezTo>
                    <a:pt x="342" y="341"/>
                    <a:pt x="343" y="342"/>
                    <a:pt x="345" y="342"/>
                  </a:cubicBezTo>
                  <a:cubicBezTo>
                    <a:pt x="345" y="342"/>
                    <a:pt x="345" y="340"/>
                    <a:pt x="348" y="340"/>
                  </a:cubicBezTo>
                  <a:cubicBezTo>
                    <a:pt x="349" y="340"/>
                    <a:pt x="347" y="343"/>
                    <a:pt x="351" y="342"/>
                  </a:cubicBezTo>
                  <a:cubicBezTo>
                    <a:pt x="352" y="342"/>
                    <a:pt x="354" y="338"/>
                    <a:pt x="356" y="338"/>
                  </a:cubicBezTo>
                  <a:cubicBezTo>
                    <a:pt x="355" y="338"/>
                    <a:pt x="360" y="341"/>
                    <a:pt x="361" y="337"/>
                  </a:cubicBezTo>
                  <a:cubicBezTo>
                    <a:pt x="361" y="339"/>
                    <a:pt x="361" y="341"/>
                    <a:pt x="362" y="342"/>
                  </a:cubicBezTo>
                  <a:cubicBezTo>
                    <a:pt x="370" y="341"/>
                    <a:pt x="374" y="337"/>
                    <a:pt x="381" y="335"/>
                  </a:cubicBezTo>
                  <a:cubicBezTo>
                    <a:pt x="381" y="341"/>
                    <a:pt x="376" y="340"/>
                    <a:pt x="381" y="344"/>
                  </a:cubicBezTo>
                  <a:cubicBezTo>
                    <a:pt x="387" y="347"/>
                    <a:pt x="389" y="333"/>
                    <a:pt x="389" y="342"/>
                  </a:cubicBezTo>
                  <a:cubicBezTo>
                    <a:pt x="389" y="345"/>
                    <a:pt x="400" y="345"/>
                    <a:pt x="403" y="346"/>
                  </a:cubicBezTo>
                  <a:cubicBezTo>
                    <a:pt x="403" y="344"/>
                    <a:pt x="403" y="341"/>
                    <a:pt x="405" y="341"/>
                  </a:cubicBezTo>
                  <a:cubicBezTo>
                    <a:pt x="405" y="345"/>
                    <a:pt x="407" y="346"/>
                    <a:pt x="408" y="348"/>
                  </a:cubicBezTo>
                  <a:cubicBezTo>
                    <a:pt x="423" y="348"/>
                    <a:pt x="437" y="348"/>
                    <a:pt x="452" y="348"/>
                  </a:cubicBezTo>
                  <a:cubicBezTo>
                    <a:pt x="453" y="346"/>
                    <a:pt x="452" y="343"/>
                    <a:pt x="455" y="343"/>
                  </a:cubicBezTo>
                  <a:cubicBezTo>
                    <a:pt x="453" y="352"/>
                    <a:pt x="461" y="345"/>
                    <a:pt x="463" y="345"/>
                  </a:cubicBezTo>
                  <a:cubicBezTo>
                    <a:pt x="465" y="345"/>
                    <a:pt x="466" y="349"/>
                    <a:pt x="469" y="350"/>
                  </a:cubicBezTo>
                  <a:cubicBezTo>
                    <a:pt x="469" y="350"/>
                    <a:pt x="471" y="345"/>
                    <a:pt x="474" y="347"/>
                  </a:cubicBezTo>
                  <a:cubicBezTo>
                    <a:pt x="475" y="351"/>
                    <a:pt x="481" y="349"/>
                    <a:pt x="485" y="349"/>
                  </a:cubicBezTo>
                  <a:cubicBezTo>
                    <a:pt x="485" y="345"/>
                    <a:pt x="487" y="341"/>
                    <a:pt x="490" y="340"/>
                  </a:cubicBezTo>
                  <a:cubicBezTo>
                    <a:pt x="491" y="343"/>
                    <a:pt x="490" y="349"/>
                    <a:pt x="493" y="349"/>
                  </a:cubicBezTo>
                  <a:cubicBezTo>
                    <a:pt x="494" y="345"/>
                    <a:pt x="503" y="348"/>
                    <a:pt x="504" y="344"/>
                  </a:cubicBezTo>
                  <a:cubicBezTo>
                    <a:pt x="506" y="341"/>
                    <a:pt x="501" y="332"/>
                    <a:pt x="507" y="332"/>
                  </a:cubicBezTo>
                  <a:cubicBezTo>
                    <a:pt x="506" y="340"/>
                    <a:pt x="512" y="341"/>
                    <a:pt x="510" y="349"/>
                  </a:cubicBezTo>
                  <a:cubicBezTo>
                    <a:pt x="515" y="350"/>
                    <a:pt x="515" y="346"/>
                    <a:pt x="518" y="344"/>
                  </a:cubicBezTo>
                  <a:cubicBezTo>
                    <a:pt x="518" y="356"/>
                    <a:pt x="541" y="354"/>
                    <a:pt x="551" y="351"/>
                  </a:cubicBezTo>
                  <a:cubicBezTo>
                    <a:pt x="552" y="346"/>
                    <a:pt x="547" y="345"/>
                    <a:pt x="551" y="343"/>
                  </a:cubicBezTo>
                  <a:cubicBezTo>
                    <a:pt x="555" y="344"/>
                    <a:pt x="553" y="349"/>
                    <a:pt x="554" y="353"/>
                  </a:cubicBezTo>
                  <a:cubicBezTo>
                    <a:pt x="563" y="352"/>
                    <a:pt x="578" y="356"/>
                    <a:pt x="578" y="348"/>
                  </a:cubicBezTo>
                  <a:cubicBezTo>
                    <a:pt x="576" y="347"/>
                    <a:pt x="573" y="348"/>
                    <a:pt x="573" y="345"/>
                  </a:cubicBezTo>
                  <a:cubicBezTo>
                    <a:pt x="575" y="346"/>
                    <a:pt x="577" y="345"/>
                    <a:pt x="578" y="345"/>
                  </a:cubicBezTo>
                  <a:cubicBezTo>
                    <a:pt x="582" y="346"/>
                    <a:pt x="579" y="348"/>
                    <a:pt x="581" y="350"/>
                  </a:cubicBezTo>
                  <a:cubicBezTo>
                    <a:pt x="583" y="351"/>
                    <a:pt x="587" y="349"/>
                    <a:pt x="587" y="352"/>
                  </a:cubicBezTo>
                  <a:cubicBezTo>
                    <a:pt x="601" y="349"/>
                    <a:pt x="614" y="358"/>
                    <a:pt x="622" y="352"/>
                  </a:cubicBezTo>
                  <a:cubicBezTo>
                    <a:pt x="619" y="351"/>
                    <a:pt x="616" y="348"/>
                    <a:pt x="620" y="347"/>
                  </a:cubicBezTo>
                  <a:cubicBezTo>
                    <a:pt x="623" y="348"/>
                    <a:pt x="625" y="350"/>
                    <a:pt x="625" y="354"/>
                  </a:cubicBezTo>
                  <a:cubicBezTo>
                    <a:pt x="630" y="356"/>
                    <a:pt x="634" y="351"/>
                    <a:pt x="636" y="351"/>
                  </a:cubicBezTo>
                  <a:cubicBezTo>
                    <a:pt x="636" y="351"/>
                    <a:pt x="638" y="356"/>
                    <a:pt x="639" y="356"/>
                  </a:cubicBezTo>
                  <a:cubicBezTo>
                    <a:pt x="641" y="357"/>
                    <a:pt x="645" y="356"/>
                    <a:pt x="647" y="356"/>
                  </a:cubicBezTo>
                  <a:cubicBezTo>
                    <a:pt x="649" y="356"/>
                    <a:pt x="649" y="358"/>
                    <a:pt x="650" y="358"/>
                  </a:cubicBezTo>
                  <a:cubicBezTo>
                    <a:pt x="656" y="359"/>
                    <a:pt x="655" y="355"/>
                    <a:pt x="658" y="358"/>
                  </a:cubicBezTo>
                  <a:cubicBezTo>
                    <a:pt x="659" y="359"/>
                    <a:pt x="663" y="358"/>
                    <a:pt x="664" y="358"/>
                  </a:cubicBezTo>
                  <a:cubicBezTo>
                    <a:pt x="673" y="359"/>
                    <a:pt x="674" y="359"/>
                    <a:pt x="680" y="360"/>
                  </a:cubicBezTo>
                  <a:cubicBezTo>
                    <a:pt x="690" y="350"/>
                    <a:pt x="712" y="364"/>
                    <a:pt x="721" y="355"/>
                  </a:cubicBezTo>
                  <a:cubicBezTo>
                    <a:pt x="720" y="356"/>
                    <a:pt x="716" y="350"/>
                    <a:pt x="721" y="350"/>
                  </a:cubicBezTo>
                  <a:cubicBezTo>
                    <a:pt x="724" y="355"/>
                    <a:pt x="726" y="361"/>
                    <a:pt x="738" y="359"/>
                  </a:cubicBezTo>
                  <a:cubicBezTo>
                    <a:pt x="741" y="353"/>
                    <a:pt x="727" y="352"/>
                    <a:pt x="735" y="350"/>
                  </a:cubicBezTo>
                  <a:cubicBezTo>
                    <a:pt x="740" y="350"/>
                    <a:pt x="741" y="354"/>
                    <a:pt x="740" y="359"/>
                  </a:cubicBezTo>
                  <a:cubicBezTo>
                    <a:pt x="750" y="362"/>
                    <a:pt x="742" y="351"/>
                    <a:pt x="749" y="352"/>
                  </a:cubicBezTo>
                  <a:cubicBezTo>
                    <a:pt x="749" y="356"/>
                    <a:pt x="756" y="355"/>
                    <a:pt x="754" y="361"/>
                  </a:cubicBezTo>
                  <a:cubicBezTo>
                    <a:pt x="785" y="357"/>
                    <a:pt x="804" y="370"/>
                    <a:pt x="820" y="360"/>
                  </a:cubicBezTo>
                  <a:cubicBezTo>
                    <a:pt x="821" y="363"/>
                    <a:pt x="826" y="363"/>
                    <a:pt x="828" y="364"/>
                  </a:cubicBezTo>
                  <a:cubicBezTo>
                    <a:pt x="833" y="360"/>
                    <a:pt x="828" y="362"/>
                    <a:pt x="828" y="355"/>
                  </a:cubicBezTo>
                  <a:cubicBezTo>
                    <a:pt x="837" y="363"/>
                    <a:pt x="829" y="348"/>
                    <a:pt x="839" y="350"/>
                  </a:cubicBezTo>
                  <a:cubicBezTo>
                    <a:pt x="838" y="356"/>
                    <a:pt x="834" y="360"/>
                    <a:pt x="839" y="364"/>
                  </a:cubicBezTo>
                  <a:cubicBezTo>
                    <a:pt x="851" y="363"/>
                    <a:pt x="864" y="362"/>
                    <a:pt x="875" y="364"/>
                  </a:cubicBezTo>
                  <a:cubicBezTo>
                    <a:pt x="873" y="357"/>
                    <a:pt x="881" y="359"/>
                    <a:pt x="883" y="356"/>
                  </a:cubicBezTo>
                  <a:cubicBezTo>
                    <a:pt x="884" y="362"/>
                    <a:pt x="887" y="366"/>
                    <a:pt x="894" y="366"/>
                  </a:cubicBezTo>
                  <a:cubicBezTo>
                    <a:pt x="894" y="365"/>
                    <a:pt x="895" y="360"/>
                    <a:pt x="897" y="361"/>
                  </a:cubicBezTo>
                  <a:cubicBezTo>
                    <a:pt x="898" y="361"/>
                    <a:pt x="896" y="365"/>
                    <a:pt x="897" y="366"/>
                  </a:cubicBezTo>
                  <a:cubicBezTo>
                    <a:pt x="900" y="367"/>
                    <a:pt x="905" y="364"/>
                    <a:pt x="908" y="365"/>
                  </a:cubicBezTo>
                  <a:cubicBezTo>
                    <a:pt x="908" y="366"/>
                    <a:pt x="908" y="368"/>
                    <a:pt x="908" y="368"/>
                  </a:cubicBezTo>
                  <a:cubicBezTo>
                    <a:pt x="915" y="368"/>
                    <a:pt x="927" y="366"/>
                    <a:pt x="935" y="367"/>
                  </a:cubicBezTo>
                  <a:cubicBezTo>
                    <a:pt x="939" y="368"/>
                    <a:pt x="939" y="370"/>
                    <a:pt x="941" y="367"/>
                  </a:cubicBezTo>
                  <a:cubicBezTo>
                    <a:pt x="943" y="365"/>
                    <a:pt x="958" y="367"/>
                    <a:pt x="960" y="367"/>
                  </a:cubicBezTo>
                  <a:cubicBezTo>
                    <a:pt x="964" y="366"/>
                    <a:pt x="963" y="364"/>
                    <a:pt x="966" y="367"/>
                  </a:cubicBezTo>
                  <a:cubicBezTo>
                    <a:pt x="968" y="370"/>
                    <a:pt x="980" y="364"/>
                    <a:pt x="982" y="367"/>
                  </a:cubicBezTo>
                  <a:cubicBezTo>
                    <a:pt x="986" y="361"/>
                    <a:pt x="975" y="358"/>
                    <a:pt x="982" y="357"/>
                  </a:cubicBezTo>
                  <a:cubicBezTo>
                    <a:pt x="988" y="362"/>
                    <a:pt x="987" y="365"/>
                    <a:pt x="990" y="366"/>
                  </a:cubicBezTo>
                  <a:cubicBezTo>
                    <a:pt x="988" y="365"/>
                    <a:pt x="995" y="358"/>
                    <a:pt x="993" y="366"/>
                  </a:cubicBezTo>
                  <a:cubicBezTo>
                    <a:pt x="1002" y="368"/>
                    <a:pt x="1002" y="363"/>
                    <a:pt x="1007" y="361"/>
                  </a:cubicBezTo>
                  <a:cubicBezTo>
                    <a:pt x="1006" y="361"/>
                    <a:pt x="1009" y="364"/>
                    <a:pt x="1011" y="362"/>
                  </a:cubicBezTo>
                  <a:cubicBezTo>
                    <a:pt x="1008" y="367"/>
                    <a:pt x="1012" y="366"/>
                    <a:pt x="1018" y="366"/>
                  </a:cubicBezTo>
                  <a:cubicBezTo>
                    <a:pt x="1020" y="366"/>
                    <a:pt x="1020" y="368"/>
                    <a:pt x="1020" y="368"/>
                  </a:cubicBezTo>
                  <a:cubicBezTo>
                    <a:pt x="1028" y="369"/>
                    <a:pt x="1040" y="368"/>
                    <a:pt x="1042" y="365"/>
                  </a:cubicBezTo>
                  <a:cubicBezTo>
                    <a:pt x="1042" y="368"/>
                    <a:pt x="1044" y="367"/>
                    <a:pt x="1045" y="368"/>
                  </a:cubicBezTo>
                  <a:cubicBezTo>
                    <a:pt x="1045" y="368"/>
                    <a:pt x="1049" y="370"/>
                    <a:pt x="1048" y="370"/>
                  </a:cubicBezTo>
                  <a:cubicBezTo>
                    <a:pt x="1058" y="372"/>
                    <a:pt x="1076" y="367"/>
                    <a:pt x="1078" y="367"/>
                  </a:cubicBezTo>
                  <a:cubicBezTo>
                    <a:pt x="1081" y="367"/>
                    <a:pt x="1082" y="369"/>
                    <a:pt x="1086" y="369"/>
                  </a:cubicBezTo>
                  <a:cubicBezTo>
                    <a:pt x="1087" y="369"/>
                    <a:pt x="1086" y="367"/>
                    <a:pt x="1089" y="367"/>
                  </a:cubicBezTo>
                  <a:cubicBezTo>
                    <a:pt x="1090" y="367"/>
                    <a:pt x="1089" y="370"/>
                    <a:pt x="1092" y="369"/>
                  </a:cubicBezTo>
                  <a:cubicBezTo>
                    <a:pt x="1091" y="369"/>
                    <a:pt x="1094" y="367"/>
                    <a:pt x="1095" y="367"/>
                  </a:cubicBezTo>
                  <a:cubicBezTo>
                    <a:pt x="1097" y="366"/>
                    <a:pt x="1099" y="365"/>
                    <a:pt x="1100" y="362"/>
                  </a:cubicBezTo>
                  <a:cubicBezTo>
                    <a:pt x="1097" y="362"/>
                    <a:pt x="1096" y="360"/>
                    <a:pt x="1094" y="357"/>
                  </a:cubicBezTo>
                  <a:cubicBezTo>
                    <a:pt x="1098" y="357"/>
                    <a:pt x="1100" y="356"/>
                    <a:pt x="1103" y="355"/>
                  </a:cubicBezTo>
                  <a:cubicBezTo>
                    <a:pt x="1105" y="362"/>
                    <a:pt x="1105" y="359"/>
                    <a:pt x="1103" y="367"/>
                  </a:cubicBezTo>
                  <a:cubicBezTo>
                    <a:pt x="1112" y="371"/>
                    <a:pt x="1115" y="365"/>
                    <a:pt x="1127" y="366"/>
                  </a:cubicBezTo>
                  <a:cubicBezTo>
                    <a:pt x="1131" y="365"/>
                    <a:pt x="1128" y="357"/>
                    <a:pt x="1133" y="357"/>
                  </a:cubicBezTo>
                  <a:cubicBezTo>
                    <a:pt x="1132" y="364"/>
                    <a:pt x="1133" y="370"/>
                    <a:pt x="1141" y="368"/>
                  </a:cubicBezTo>
                  <a:cubicBezTo>
                    <a:pt x="1143" y="364"/>
                    <a:pt x="1133" y="359"/>
                    <a:pt x="1141" y="357"/>
                  </a:cubicBezTo>
                  <a:cubicBezTo>
                    <a:pt x="1145" y="359"/>
                    <a:pt x="1144" y="366"/>
                    <a:pt x="1152" y="366"/>
                  </a:cubicBezTo>
                  <a:cubicBezTo>
                    <a:pt x="1152" y="363"/>
                    <a:pt x="1153" y="360"/>
                    <a:pt x="1158" y="361"/>
                  </a:cubicBezTo>
                  <a:cubicBezTo>
                    <a:pt x="1158" y="357"/>
                    <a:pt x="1157" y="353"/>
                    <a:pt x="1163" y="354"/>
                  </a:cubicBezTo>
                  <a:cubicBezTo>
                    <a:pt x="1167" y="363"/>
                    <a:pt x="1155" y="359"/>
                    <a:pt x="1158" y="366"/>
                  </a:cubicBezTo>
                  <a:cubicBezTo>
                    <a:pt x="1172" y="369"/>
                    <a:pt x="1165" y="355"/>
                    <a:pt x="1174" y="354"/>
                  </a:cubicBezTo>
                  <a:cubicBezTo>
                    <a:pt x="1182" y="360"/>
                    <a:pt x="1176" y="360"/>
                    <a:pt x="1174" y="368"/>
                  </a:cubicBezTo>
                  <a:cubicBezTo>
                    <a:pt x="1185" y="370"/>
                    <a:pt x="1191" y="370"/>
                    <a:pt x="1199" y="365"/>
                  </a:cubicBezTo>
                  <a:cubicBezTo>
                    <a:pt x="1202" y="369"/>
                    <a:pt x="1216" y="362"/>
                    <a:pt x="1221" y="367"/>
                  </a:cubicBezTo>
                  <a:cubicBezTo>
                    <a:pt x="1221" y="365"/>
                    <a:pt x="1221" y="362"/>
                    <a:pt x="1223" y="362"/>
                  </a:cubicBezTo>
                  <a:cubicBezTo>
                    <a:pt x="1223" y="364"/>
                    <a:pt x="1223" y="365"/>
                    <a:pt x="1223" y="367"/>
                  </a:cubicBezTo>
                  <a:cubicBezTo>
                    <a:pt x="1233" y="362"/>
                    <a:pt x="1233" y="372"/>
                    <a:pt x="1240" y="367"/>
                  </a:cubicBezTo>
                  <a:cubicBezTo>
                    <a:pt x="1240" y="363"/>
                    <a:pt x="1239" y="359"/>
                    <a:pt x="1237" y="357"/>
                  </a:cubicBezTo>
                  <a:cubicBezTo>
                    <a:pt x="1242" y="358"/>
                    <a:pt x="1243" y="355"/>
                    <a:pt x="1248" y="355"/>
                  </a:cubicBezTo>
                  <a:cubicBezTo>
                    <a:pt x="1247" y="358"/>
                    <a:pt x="1244" y="359"/>
                    <a:pt x="1243" y="362"/>
                  </a:cubicBezTo>
                  <a:cubicBezTo>
                    <a:pt x="1252" y="364"/>
                    <a:pt x="1246" y="352"/>
                    <a:pt x="1256" y="355"/>
                  </a:cubicBezTo>
                  <a:cubicBezTo>
                    <a:pt x="1255" y="359"/>
                    <a:pt x="1250" y="361"/>
                    <a:pt x="1251" y="367"/>
                  </a:cubicBezTo>
                  <a:cubicBezTo>
                    <a:pt x="1261" y="366"/>
                    <a:pt x="1261" y="363"/>
                    <a:pt x="1270" y="366"/>
                  </a:cubicBezTo>
                  <a:cubicBezTo>
                    <a:pt x="1284" y="364"/>
                    <a:pt x="1292" y="371"/>
                    <a:pt x="1298" y="363"/>
                  </a:cubicBezTo>
                  <a:cubicBezTo>
                    <a:pt x="1302" y="371"/>
                    <a:pt x="1312" y="359"/>
                    <a:pt x="1317" y="365"/>
                  </a:cubicBezTo>
                  <a:cubicBezTo>
                    <a:pt x="1315" y="360"/>
                    <a:pt x="1314" y="356"/>
                    <a:pt x="1319" y="351"/>
                  </a:cubicBezTo>
                  <a:cubicBezTo>
                    <a:pt x="1324" y="356"/>
                    <a:pt x="1318" y="356"/>
                    <a:pt x="1319" y="363"/>
                  </a:cubicBezTo>
                  <a:cubicBezTo>
                    <a:pt x="1328" y="365"/>
                    <a:pt x="1324" y="358"/>
                    <a:pt x="1325" y="353"/>
                  </a:cubicBezTo>
                  <a:cubicBezTo>
                    <a:pt x="1329" y="353"/>
                    <a:pt x="1336" y="345"/>
                    <a:pt x="1338" y="351"/>
                  </a:cubicBezTo>
                  <a:cubicBezTo>
                    <a:pt x="1334" y="351"/>
                    <a:pt x="1331" y="353"/>
                    <a:pt x="1330" y="356"/>
                  </a:cubicBezTo>
                  <a:cubicBezTo>
                    <a:pt x="1340" y="356"/>
                    <a:pt x="1325" y="364"/>
                    <a:pt x="1333" y="363"/>
                  </a:cubicBezTo>
                  <a:cubicBezTo>
                    <a:pt x="1337" y="358"/>
                    <a:pt x="1343" y="365"/>
                    <a:pt x="1350" y="360"/>
                  </a:cubicBezTo>
                  <a:cubicBezTo>
                    <a:pt x="1353" y="365"/>
                    <a:pt x="1369" y="361"/>
                    <a:pt x="1377" y="362"/>
                  </a:cubicBezTo>
                  <a:cubicBezTo>
                    <a:pt x="1378" y="358"/>
                    <a:pt x="1374" y="348"/>
                    <a:pt x="1379" y="348"/>
                  </a:cubicBezTo>
                  <a:cubicBezTo>
                    <a:pt x="1389" y="350"/>
                    <a:pt x="1381" y="352"/>
                    <a:pt x="1382" y="360"/>
                  </a:cubicBezTo>
                  <a:cubicBezTo>
                    <a:pt x="1388" y="358"/>
                    <a:pt x="1401" y="362"/>
                    <a:pt x="1402" y="357"/>
                  </a:cubicBezTo>
                  <a:cubicBezTo>
                    <a:pt x="1399" y="356"/>
                    <a:pt x="1395" y="353"/>
                    <a:pt x="1399" y="352"/>
                  </a:cubicBezTo>
                  <a:cubicBezTo>
                    <a:pt x="1401" y="355"/>
                    <a:pt x="1409" y="353"/>
                    <a:pt x="1407" y="359"/>
                  </a:cubicBezTo>
                  <a:cubicBezTo>
                    <a:pt x="1418" y="359"/>
                    <a:pt x="1409" y="352"/>
                    <a:pt x="1415" y="357"/>
                  </a:cubicBezTo>
                  <a:cubicBezTo>
                    <a:pt x="1421" y="361"/>
                    <a:pt x="1422" y="357"/>
                    <a:pt x="1426" y="356"/>
                  </a:cubicBezTo>
                  <a:cubicBezTo>
                    <a:pt x="1438" y="354"/>
                    <a:pt x="1439" y="354"/>
                    <a:pt x="1446" y="358"/>
                  </a:cubicBezTo>
                  <a:cubicBezTo>
                    <a:pt x="1446" y="355"/>
                    <a:pt x="1445" y="350"/>
                    <a:pt x="1451" y="351"/>
                  </a:cubicBezTo>
                  <a:cubicBezTo>
                    <a:pt x="1451" y="347"/>
                    <a:pt x="1448" y="346"/>
                    <a:pt x="1448" y="342"/>
                  </a:cubicBezTo>
                  <a:cubicBezTo>
                    <a:pt x="1451" y="342"/>
                    <a:pt x="1454" y="342"/>
                    <a:pt x="1456" y="342"/>
                  </a:cubicBezTo>
                  <a:cubicBezTo>
                    <a:pt x="1457" y="346"/>
                    <a:pt x="1453" y="347"/>
                    <a:pt x="1454" y="351"/>
                  </a:cubicBezTo>
                  <a:cubicBezTo>
                    <a:pt x="1460" y="350"/>
                    <a:pt x="1464" y="352"/>
                    <a:pt x="1465" y="356"/>
                  </a:cubicBezTo>
                  <a:cubicBezTo>
                    <a:pt x="1473" y="356"/>
                    <a:pt x="1481" y="355"/>
                    <a:pt x="1489" y="355"/>
                  </a:cubicBezTo>
                  <a:cubicBezTo>
                    <a:pt x="1492" y="353"/>
                    <a:pt x="1494" y="347"/>
                    <a:pt x="1497" y="346"/>
                  </a:cubicBezTo>
                  <a:cubicBezTo>
                    <a:pt x="1502" y="345"/>
                    <a:pt x="1504" y="349"/>
                    <a:pt x="1508" y="348"/>
                  </a:cubicBezTo>
                  <a:cubicBezTo>
                    <a:pt x="1508" y="343"/>
                    <a:pt x="1509" y="339"/>
                    <a:pt x="1514" y="338"/>
                  </a:cubicBezTo>
                  <a:cubicBezTo>
                    <a:pt x="1515" y="346"/>
                    <a:pt x="1508" y="348"/>
                    <a:pt x="1514" y="352"/>
                  </a:cubicBezTo>
                  <a:cubicBezTo>
                    <a:pt x="1526" y="355"/>
                    <a:pt x="1523" y="344"/>
                    <a:pt x="1533" y="345"/>
                  </a:cubicBezTo>
                  <a:cubicBezTo>
                    <a:pt x="1534" y="347"/>
                    <a:pt x="1533" y="350"/>
                    <a:pt x="1536" y="350"/>
                  </a:cubicBezTo>
                  <a:cubicBezTo>
                    <a:pt x="1539" y="350"/>
                    <a:pt x="1540" y="353"/>
                    <a:pt x="1541" y="350"/>
                  </a:cubicBezTo>
                  <a:cubicBezTo>
                    <a:pt x="1537" y="349"/>
                    <a:pt x="1543" y="344"/>
                    <a:pt x="1541" y="340"/>
                  </a:cubicBezTo>
                  <a:cubicBezTo>
                    <a:pt x="1541" y="339"/>
                    <a:pt x="1533" y="341"/>
                    <a:pt x="1536" y="336"/>
                  </a:cubicBezTo>
                  <a:cubicBezTo>
                    <a:pt x="1540" y="336"/>
                    <a:pt x="1545" y="336"/>
                    <a:pt x="1549" y="335"/>
                  </a:cubicBezTo>
                  <a:cubicBezTo>
                    <a:pt x="1553" y="343"/>
                    <a:pt x="1552" y="345"/>
                    <a:pt x="1547" y="350"/>
                  </a:cubicBezTo>
                  <a:cubicBezTo>
                    <a:pt x="1555" y="349"/>
                    <a:pt x="1563" y="349"/>
                    <a:pt x="1572" y="349"/>
                  </a:cubicBezTo>
                  <a:cubicBezTo>
                    <a:pt x="1573" y="346"/>
                    <a:pt x="1574" y="344"/>
                    <a:pt x="1577" y="342"/>
                  </a:cubicBezTo>
                  <a:cubicBezTo>
                    <a:pt x="1579" y="353"/>
                    <a:pt x="1592" y="340"/>
                    <a:pt x="1599" y="346"/>
                  </a:cubicBezTo>
                  <a:cubicBezTo>
                    <a:pt x="1600" y="345"/>
                    <a:pt x="1599" y="342"/>
                    <a:pt x="1602" y="342"/>
                  </a:cubicBezTo>
                  <a:cubicBezTo>
                    <a:pt x="1604" y="345"/>
                    <a:pt x="1609" y="340"/>
                    <a:pt x="1615" y="344"/>
                  </a:cubicBezTo>
                  <a:cubicBezTo>
                    <a:pt x="1619" y="338"/>
                    <a:pt x="1617" y="328"/>
                    <a:pt x="1626" y="327"/>
                  </a:cubicBezTo>
                  <a:cubicBezTo>
                    <a:pt x="1629" y="330"/>
                    <a:pt x="1629" y="336"/>
                    <a:pt x="1632" y="339"/>
                  </a:cubicBezTo>
                  <a:cubicBezTo>
                    <a:pt x="1628" y="339"/>
                    <a:pt x="1623" y="329"/>
                    <a:pt x="1624" y="339"/>
                  </a:cubicBezTo>
                  <a:cubicBezTo>
                    <a:pt x="1627" y="342"/>
                    <a:pt x="1633" y="343"/>
                    <a:pt x="1640" y="343"/>
                  </a:cubicBezTo>
                  <a:cubicBezTo>
                    <a:pt x="1640" y="340"/>
                    <a:pt x="1639" y="335"/>
                    <a:pt x="1643" y="334"/>
                  </a:cubicBezTo>
                  <a:cubicBezTo>
                    <a:pt x="1642" y="340"/>
                    <a:pt x="1647" y="341"/>
                    <a:pt x="1651" y="343"/>
                  </a:cubicBezTo>
                  <a:cubicBezTo>
                    <a:pt x="1651" y="340"/>
                    <a:pt x="1656" y="341"/>
                    <a:pt x="1656" y="338"/>
                  </a:cubicBezTo>
                  <a:cubicBezTo>
                    <a:pt x="1655" y="338"/>
                    <a:pt x="1653" y="336"/>
                    <a:pt x="1656" y="336"/>
                  </a:cubicBezTo>
                  <a:cubicBezTo>
                    <a:pt x="1662" y="335"/>
                    <a:pt x="1663" y="338"/>
                    <a:pt x="1667" y="338"/>
                  </a:cubicBezTo>
                  <a:cubicBezTo>
                    <a:pt x="1667" y="338"/>
                    <a:pt x="1669" y="334"/>
                    <a:pt x="1670" y="333"/>
                  </a:cubicBezTo>
                  <a:cubicBezTo>
                    <a:pt x="1670" y="333"/>
                    <a:pt x="1678" y="338"/>
                    <a:pt x="1681" y="336"/>
                  </a:cubicBezTo>
                  <a:cubicBezTo>
                    <a:pt x="1682" y="330"/>
                    <a:pt x="1676" y="330"/>
                    <a:pt x="1678" y="324"/>
                  </a:cubicBezTo>
                  <a:cubicBezTo>
                    <a:pt x="1682" y="323"/>
                    <a:pt x="1683" y="320"/>
                    <a:pt x="1686" y="319"/>
                  </a:cubicBezTo>
                  <a:cubicBezTo>
                    <a:pt x="1686" y="322"/>
                    <a:pt x="1691" y="321"/>
                    <a:pt x="1692" y="324"/>
                  </a:cubicBezTo>
                  <a:cubicBezTo>
                    <a:pt x="1681" y="324"/>
                    <a:pt x="1694" y="328"/>
                    <a:pt x="1695" y="331"/>
                  </a:cubicBezTo>
                  <a:cubicBezTo>
                    <a:pt x="1695" y="330"/>
                    <a:pt x="1687" y="343"/>
                    <a:pt x="1695" y="340"/>
                  </a:cubicBezTo>
                  <a:cubicBezTo>
                    <a:pt x="1694" y="335"/>
                    <a:pt x="1705" y="339"/>
                    <a:pt x="1709" y="337"/>
                  </a:cubicBezTo>
                  <a:cubicBezTo>
                    <a:pt x="1709" y="335"/>
                    <a:pt x="1712" y="334"/>
                    <a:pt x="1714" y="333"/>
                  </a:cubicBezTo>
                  <a:cubicBezTo>
                    <a:pt x="1714" y="335"/>
                    <a:pt x="1715" y="338"/>
                    <a:pt x="1720" y="337"/>
                  </a:cubicBezTo>
                  <a:cubicBezTo>
                    <a:pt x="1716" y="330"/>
                    <a:pt x="1728" y="335"/>
                    <a:pt x="1725" y="328"/>
                  </a:cubicBezTo>
                  <a:cubicBezTo>
                    <a:pt x="1721" y="327"/>
                    <a:pt x="1715" y="329"/>
                    <a:pt x="1714" y="326"/>
                  </a:cubicBezTo>
                  <a:cubicBezTo>
                    <a:pt x="1717" y="322"/>
                    <a:pt x="1718" y="318"/>
                    <a:pt x="1722" y="316"/>
                  </a:cubicBezTo>
                  <a:cubicBezTo>
                    <a:pt x="1718" y="324"/>
                    <a:pt x="1731" y="317"/>
                    <a:pt x="1730" y="323"/>
                  </a:cubicBezTo>
                  <a:cubicBezTo>
                    <a:pt x="1727" y="323"/>
                    <a:pt x="1727" y="329"/>
                    <a:pt x="1730" y="330"/>
                  </a:cubicBezTo>
                  <a:cubicBezTo>
                    <a:pt x="1734" y="325"/>
                    <a:pt x="1735" y="318"/>
                    <a:pt x="1744" y="318"/>
                  </a:cubicBezTo>
                  <a:cubicBezTo>
                    <a:pt x="1741" y="323"/>
                    <a:pt x="1735" y="326"/>
                    <a:pt x="1733" y="332"/>
                  </a:cubicBezTo>
                  <a:cubicBezTo>
                    <a:pt x="1748" y="334"/>
                    <a:pt x="1742" y="318"/>
                    <a:pt x="1760" y="322"/>
                  </a:cubicBezTo>
                  <a:cubicBezTo>
                    <a:pt x="1767" y="320"/>
                    <a:pt x="1754" y="312"/>
                    <a:pt x="1763" y="308"/>
                  </a:cubicBezTo>
                  <a:cubicBezTo>
                    <a:pt x="1759" y="319"/>
                    <a:pt x="1769" y="319"/>
                    <a:pt x="1774" y="322"/>
                  </a:cubicBezTo>
                  <a:cubicBezTo>
                    <a:pt x="1773" y="327"/>
                    <a:pt x="1760" y="323"/>
                    <a:pt x="1763" y="332"/>
                  </a:cubicBezTo>
                  <a:cubicBezTo>
                    <a:pt x="1770" y="333"/>
                    <a:pt x="1769" y="327"/>
                    <a:pt x="1777" y="329"/>
                  </a:cubicBezTo>
                  <a:cubicBezTo>
                    <a:pt x="1776" y="324"/>
                    <a:pt x="1779" y="322"/>
                    <a:pt x="1785" y="322"/>
                  </a:cubicBezTo>
                  <a:cubicBezTo>
                    <a:pt x="1783" y="330"/>
                    <a:pt x="1790" y="330"/>
                    <a:pt x="1796" y="331"/>
                  </a:cubicBezTo>
                  <a:cubicBezTo>
                    <a:pt x="1793" y="321"/>
                    <a:pt x="1802" y="324"/>
                    <a:pt x="1807" y="322"/>
                  </a:cubicBezTo>
                  <a:cubicBezTo>
                    <a:pt x="1809" y="320"/>
                    <a:pt x="1810" y="315"/>
                    <a:pt x="1815" y="317"/>
                  </a:cubicBezTo>
                  <a:cubicBezTo>
                    <a:pt x="1818" y="323"/>
                    <a:pt x="1811" y="323"/>
                    <a:pt x="1813" y="329"/>
                  </a:cubicBezTo>
                  <a:cubicBezTo>
                    <a:pt x="1818" y="329"/>
                    <a:pt x="1817" y="327"/>
                    <a:pt x="1818" y="324"/>
                  </a:cubicBezTo>
                  <a:cubicBezTo>
                    <a:pt x="1818" y="323"/>
                    <a:pt x="1821" y="324"/>
                    <a:pt x="1821" y="324"/>
                  </a:cubicBezTo>
                  <a:cubicBezTo>
                    <a:pt x="1822" y="321"/>
                    <a:pt x="1820" y="317"/>
                    <a:pt x="1821" y="314"/>
                  </a:cubicBezTo>
                  <a:cubicBezTo>
                    <a:pt x="1822" y="303"/>
                    <a:pt x="1828" y="308"/>
                    <a:pt x="1823" y="314"/>
                  </a:cubicBezTo>
                  <a:cubicBezTo>
                    <a:pt x="1834" y="316"/>
                    <a:pt x="1825" y="302"/>
                    <a:pt x="1837" y="305"/>
                  </a:cubicBezTo>
                  <a:cubicBezTo>
                    <a:pt x="1834" y="311"/>
                    <a:pt x="1833" y="322"/>
                    <a:pt x="1843" y="323"/>
                  </a:cubicBezTo>
                  <a:cubicBezTo>
                    <a:pt x="1849" y="318"/>
                    <a:pt x="1839" y="319"/>
                    <a:pt x="1840" y="312"/>
                  </a:cubicBezTo>
                  <a:cubicBezTo>
                    <a:pt x="1843" y="312"/>
                    <a:pt x="1844" y="315"/>
                    <a:pt x="1848" y="314"/>
                  </a:cubicBezTo>
                  <a:cubicBezTo>
                    <a:pt x="1853" y="308"/>
                    <a:pt x="1844" y="304"/>
                    <a:pt x="1851" y="300"/>
                  </a:cubicBezTo>
                  <a:cubicBezTo>
                    <a:pt x="1858" y="309"/>
                    <a:pt x="1841" y="322"/>
                    <a:pt x="1854" y="328"/>
                  </a:cubicBezTo>
                  <a:cubicBezTo>
                    <a:pt x="1853" y="321"/>
                    <a:pt x="1854" y="316"/>
                    <a:pt x="1859" y="314"/>
                  </a:cubicBezTo>
                  <a:cubicBezTo>
                    <a:pt x="1868" y="315"/>
                    <a:pt x="1866" y="307"/>
                    <a:pt x="1873" y="306"/>
                  </a:cubicBezTo>
                  <a:cubicBezTo>
                    <a:pt x="1875" y="314"/>
                    <a:pt x="1870" y="316"/>
                    <a:pt x="1867" y="320"/>
                  </a:cubicBezTo>
                  <a:cubicBezTo>
                    <a:pt x="1878" y="323"/>
                    <a:pt x="1872" y="312"/>
                    <a:pt x="1881" y="313"/>
                  </a:cubicBezTo>
                  <a:cubicBezTo>
                    <a:pt x="1881" y="316"/>
                    <a:pt x="1878" y="317"/>
                    <a:pt x="1878" y="320"/>
                  </a:cubicBezTo>
                  <a:cubicBezTo>
                    <a:pt x="1884" y="321"/>
                    <a:pt x="1884" y="317"/>
                    <a:pt x="1886" y="315"/>
                  </a:cubicBezTo>
                  <a:cubicBezTo>
                    <a:pt x="1891" y="316"/>
                    <a:pt x="1889" y="321"/>
                    <a:pt x="1895" y="320"/>
                  </a:cubicBezTo>
                  <a:cubicBezTo>
                    <a:pt x="1897" y="315"/>
                    <a:pt x="1895" y="308"/>
                    <a:pt x="1903" y="303"/>
                  </a:cubicBezTo>
                  <a:cubicBezTo>
                    <a:pt x="1903" y="307"/>
                    <a:pt x="1904" y="309"/>
                    <a:pt x="1906" y="310"/>
                  </a:cubicBezTo>
                  <a:cubicBezTo>
                    <a:pt x="1895" y="307"/>
                    <a:pt x="1905" y="325"/>
                    <a:pt x="1906" y="325"/>
                  </a:cubicBezTo>
                  <a:cubicBezTo>
                    <a:pt x="1909" y="319"/>
                    <a:pt x="1905" y="320"/>
                    <a:pt x="1908" y="313"/>
                  </a:cubicBezTo>
                  <a:cubicBezTo>
                    <a:pt x="1919" y="315"/>
                    <a:pt x="1916" y="307"/>
                    <a:pt x="1925" y="308"/>
                  </a:cubicBezTo>
                  <a:cubicBezTo>
                    <a:pt x="1929" y="309"/>
                    <a:pt x="1925" y="317"/>
                    <a:pt x="1930" y="317"/>
                  </a:cubicBezTo>
                  <a:cubicBezTo>
                    <a:pt x="1936" y="311"/>
                    <a:pt x="1927" y="306"/>
                    <a:pt x="1933" y="303"/>
                  </a:cubicBezTo>
                  <a:cubicBezTo>
                    <a:pt x="1937" y="303"/>
                    <a:pt x="1935" y="309"/>
                    <a:pt x="1939" y="310"/>
                  </a:cubicBezTo>
                  <a:cubicBezTo>
                    <a:pt x="1939" y="308"/>
                    <a:pt x="1941" y="307"/>
                    <a:pt x="1944" y="307"/>
                  </a:cubicBezTo>
                  <a:cubicBezTo>
                    <a:pt x="1948" y="307"/>
                    <a:pt x="1955" y="298"/>
                    <a:pt x="1949" y="298"/>
                  </a:cubicBezTo>
                  <a:cubicBezTo>
                    <a:pt x="1950" y="303"/>
                    <a:pt x="1941" y="298"/>
                    <a:pt x="1941" y="296"/>
                  </a:cubicBezTo>
                  <a:cubicBezTo>
                    <a:pt x="1952" y="300"/>
                    <a:pt x="1950" y="292"/>
                    <a:pt x="1955" y="295"/>
                  </a:cubicBezTo>
                  <a:cubicBezTo>
                    <a:pt x="1957" y="297"/>
                    <a:pt x="1963" y="294"/>
                    <a:pt x="1966" y="295"/>
                  </a:cubicBezTo>
                  <a:cubicBezTo>
                    <a:pt x="1966" y="293"/>
                    <a:pt x="1966" y="291"/>
                    <a:pt x="1968" y="291"/>
                  </a:cubicBezTo>
                  <a:cubicBezTo>
                    <a:pt x="1968" y="295"/>
                    <a:pt x="1972" y="295"/>
                    <a:pt x="1974" y="297"/>
                  </a:cubicBezTo>
                  <a:cubicBezTo>
                    <a:pt x="1975" y="302"/>
                    <a:pt x="1971" y="303"/>
                    <a:pt x="1971" y="307"/>
                  </a:cubicBezTo>
                  <a:cubicBezTo>
                    <a:pt x="1978" y="311"/>
                    <a:pt x="1992" y="309"/>
                    <a:pt x="1999" y="306"/>
                  </a:cubicBezTo>
                  <a:cubicBezTo>
                    <a:pt x="1999" y="304"/>
                    <a:pt x="1998" y="300"/>
                    <a:pt x="2001" y="299"/>
                  </a:cubicBezTo>
                  <a:cubicBezTo>
                    <a:pt x="2004" y="301"/>
                    <a:pt x="2011" y="310"/>
                    <a:pt x="2013" y="304"/>
                  </a:cubicBezTo>
                  <a:cubicBezTo>
                    <a:pt x="2011" y="304"/>
                    <a:pt x="2009" y="302"/>
                    <a:pt x="2012" y="301"/>
                  </a:cubicBezTo>
                  <a:cubicBezTo>
                    <a:pt x="2013" y="298"/>
                    <a:pt x="2011" y="296"/>
                    <a:pt x="2010" y="295"/>
                  </a:cubicBezTo>
                  <a:cubicBezTo>
                    <a:pt x="2017" y="296"/>
                    <a:pt x="2017" y="291"/>
                    <a:pt x="2023" y="292"/>
                  </a:cubicBezTo>
                  <a:cubicBezTo>
                    <a:pt x="2024" y="298"/>
                    <a:pt x="2019" y="297"/>
                    <a:pt x="2023" y="301"/>
                  </a:cubicBezTo>
                  <a:cubicBezTo>
                    <a:pt x="2021" y="301"/>
                    <a:pt x="2020" y="305"/>
                    <a:pt x="2024" y="306"/>
                  </a:cubicBezTo>
                  <a:cubicBezTo>
                    <a:pt x="2025" y="297"/>
                    <a:pt x="2032" y="305"/>
                    <a:pt x="2034" y="303"/>
                  </a:cubicBezTo>
                  <a:cubicBezTo>
                    <a:pt x="2036" y="303"/>
                    <a:pt x="2034" y="298"/>
                    <a:pt x="2037" y="299"/>
                  </a:cubicBezTo>
                  <a:cubicBezTo>
                    <a:pt x="2037" y="303"/>
                    <a:pt x="2045" y="300"/>
                    <a:pt x="2045" y="303"/>
                  </a:cubicBezTo>
                  <a:cubicBezTo>
                    <a:pt x="2038" y="300"/>
                    <a:pt x="2033" y="310"/>
                    <a:pt x="2040" y="310"/>
                  </a:cubicBezTo>
                  <a:cubicBezTo>
                    <a:pt x="2040" y="304"/>
                    <a:pt x="2048" y="306"/>
                    <a:pt x="2051" y="303"/>
                  </a:cubicBezTo>
                  <a:cubicBezTo>
                    <a:pt x="2053" y="301"/>
                    <a:pt x="2050" y="291"/>
                    <a:pt x="2059" y="294"/>
                  </a:cubicBezTo>
                  <a:cubicBezTo>
                    <a:pt x="2057" y="299"/>
                    <a:pt x="2051" y="301"/>
                    <a:pt x="2051" y="308"/>
                  </a:cubicBezTo>
                  <a:cubicBezTo>
                    <a:pt x="2061" y="307"/>
                    <a:pt x="2062" y="299"/>
                    <a:pt x="2073" y="298"/>
                  </a:cubicBezTo>
                  <a:cubicBezTo>
                    <a:pt x="2072" y="294"/>
                    <a:pt x="2064" y="279"/>
                    <a:pt x="2075" y="279"/>
                  </a:cubicBezTo>
                  <a:cubicBezTo>
                    <a:pt x="2072" y="288"/>
                    <a:pt x="2072" y="298"/>
                    <a:pt x="2084" y="303"/>
                  </a:cubicBezTo>
                  <a:cubicBezTo>
                    <a:pt x="2085" y="299"/>
                    <a:pt x="2080" y="297"/>
                    <a:pt x="2084" y="296"/>
                  </a:cubicBezTo>
                  <a:cubicBezTo>
                    <a:pt x="2090" y="299"/>
                    <a:pt x="2088" y="301"/>
                    <a:pt x="2087" y="307"/>
                  </a:cubicBezTo>
                  <a:cubicBezTo>
                    <a:pt x="2095" y="308"/>
                    <a:pt x="2096" y="298"/>
                    <a:pt x="2103" y="305"/>
                  </a:cubicBezTo>
                  <a:cubicBezTo>
                    <a:pt x="2102" y="295"/>
                    <a:pt x="2109" y="303"/>
                    <a:pt x="2114" y="302"/>
                  </a:cubicBezTo>
                  <a:cubicBezTo>
                    <a:pt x="2115" y="299"/>
                    <a:pt x="2118" y="298"/>
                    <a:pt x="2117" y="293"/>
                  </a:cubicBezTo>
                  <a:cubicBezTo>
                    <a:pt x="2122" y="293"/>
                    <a:pt x="2122" y="289"/>
                    <a:pt x="2125" y="288"/>
                  </a:cubicBezTo>
                  <a:cubicBezTo>
                    <a:pt x="2124" y="293"/>
                    <a:pt x="2119" y="301"/>
                    <a:pt x="2128" y="302"/>
                  </a:cubicBezTo>
                  <a:cubicBezTo>
                    <a:pt x="2128" y="300"/>
                    <a:pt x="2128" y="297"/>
                    <a:pt x="2130" y="297"/>
                  </a:cubicBezTo>
                  <a:cubicBezTo>
                    <a:pt x="2127" y="305"/>
                    <a:pt x="2139" y="299"/>
                    <a:pt x="2136" y="306"/>
                  </a:cubicBezTo>
                  <a:cubicBezTo>
                    <a:pt x="2135" y="306"/>
                    <a:pt x="2133" y="308"/>
                    <a:pt x="2136" y="309"/>
                  </a:cubicBezTo>
                  <a:cubicBezTo>
                    <a:pt x="2137" y="306"/>
                    <a:pt x="2140" y="304"/>
                    <a:pt x="2139" y="299"/>
                  </a:cubicBezTo>
                  <a:cubicBezTo>
                    <a:pt x="2146" y="298"/>
                    <a:pt x="2149" y="288"/>
                    <a:pt x="2152" y="285"/>
                  </a:cubicBezTo>
                  <a:cubicBezTo>
                    <a:pt x="2154" y="292"/>
                    <a:pt x="2154" y="289"/>
                    <a:pt x="2152" y="297"/>
                  </a:cubicBezTo>
                  <a:cubicBezTo>
                    <a:pt x="2166" y="292"/>
                    <a:pt x="2160" y="304"/>
                    <a:pt x="2169" y="303"/>
                  </a:cubicBezTo>
                  <a:cubicBezTo>
                    <a:pt x="2175" y="311"/>
                    <a:pt x="2170" y="295"/>
                    <a:pt x="2174" y="294"/>
                  </a:cubicBezTo>
                  <a:cubicBezTo>
                    <a:pt x="2176" y="294"/>
                    <a:pt x="2179" y="297"/>
                    <a:pt x="2180" y="296"/>
                  </a:cubicBezTo>
                  <a:cubicBezTo>
                    <a:pt x="2182" y="294"/>
                    <a:pt x="2177" y="287"/>
                    <a:pt x="2182" y="287"/>
                  </a:cubicBezTo>
                  <a:cubicBezTo>
                    <a:pt x="2187" y="286"/>
                    <a:pt x="2184" y="294"/>
                    <a:pt x="2188" y="294"/>
                  </a:cubicBezTo>
                  <a:cubicBezTo>
                    <a:pt x="2189" y="285"/>
                    <a:pt x="2188" y="282"/>
                    <a:pt x="2190" y="280"/>
                  </a:cubicBezTo>
                  <a:cubicBezTo>
                    <a:pt x="2201" y="287"/>
                    <a:pt x="2186" y="293"/>
                    <a:pt x="2193" y="294"/>
                  </a:cubicBezTo>
                  <a:cubicBezTo>
                    <a:pt x="2200" y="294"/>
                    <a:pt x="2195" y="303"/>
                    <a:pt x="2196" y="305"/>
                  </a:cubicBezTo>
                  <a:cubicBezTo>
                    <a:pt x="2208" y="306"/>
                    <a:pt x="2196" y="302"/>
                    <a:pt x="2199" y="296"/>
                  </a:cubicBezTo>
                  <a:cubicBezTo>
                    <a:pt x="2205" y="293"/>
                    <a:pt x="2206" y="296"/>
                    <a:pt x="2213" y="291"/>
                  </a:cubicBezTo>
                  <a:cubicBezTo>
                    <a:pt x="2218" y="293"/>
                    <a:pt x="2212" y="304"/>
                    <a:pt x="2218" y="305"/>
                  </a:cubicBezTo>
                  <a:cubicBezTo>
                    <a:pt x="2219" y="299"/>
                    <a:pt x="2223" y="297"/>
                    <a:pt x="2226" y="293"/>
                  </a:cubicBezTo>
                  <a:cubicBezTo>
                    <a:pt x="2227" y="299"/>
                    <a:pt x="2231" y="290"/>
                    <a:pt x="2237" y="293"/>
                  </a:cubicBezTo>
                  <a:cubicBezTo>
                    <a:pt x="2244" y="290"/>
                    <a:pt x="2232" y="284"/>
                    <a:pt x="2240" y="281"/>
                  </a:cubicBezTo>
                  <a:cubicBezTo>
                    <a:pt x="2243" y="281"/>
                    <a:pt x="2242" y="285"/>
                    <a:pt x="2245" y="286"/>
                  </a:cubicBezTo>
                  <a:cubicBezTo>
                    <a:pt x="2253" y="281"/>
                    <a:pt x="2242" y="274"/>
                    <a:pt x="2248" y="274"/>
                  </a:cubicBezTo>
                  <a:cubicBezTo>
                    <a:pt x="2250" y="274"/>
                    <a:pt x="2252" y="274"/>
                    <a:pt x="2253" y="274"/>
                  </a:cubicBezTo>
                  <a:cubicBezTo>
                    <a:pt x="2250" y="277"/>
                    <a:pt x="2250" y="280"/>
                    <a:pt x="2254" y="283"/>
                  </a:cubicBezTo>
                  <a:cubicBezTo>
                    <a:pt x="2250" y="286"/>
                    <a:pt x="2245" y="287"/>
                    <a:pt x="2243" y="290"/>
                  </a:cubicBezTo>
                  <a:cubicBezTo>
                    <a:pt x="2247" y="290"/>
                    <a:pt x="2252" y="290"/>
                    <a:pt x="2257" y="290"/>
                  </a:cubicBezTo>
                  <a:cubicBezTo>
                    <a:pt x="2256" y="296"/>
                    <a:pt x="2257" y="299"/>
                    <a:pt x="2262" y="300"/>
                  </a:cubicBezTo>
                  <a:cubicBezTo>
                    <a:pt x="2263" y="295"/>
                    <a:pt x="2259" y="288"/>
                    <a:pt x="2267" y="290"/>
                  </a:cubicBezTo>
                  <a:cubicBezTo>
                    <a:pt x="2268" y="293"/>
                    <a:pt x="2264" y="294"/>
                    <a:pt x="2268" y="295"/>
                  </a:cubicBezTo>
                  <a:cubicBezTo>
                    <a:pt x="2272" y="288"/>
                    <a:pt x="2276" y="301"/>
                    <a:pt x="2281" y="302"/>
                  </a:cubicBezTo>
                  <a:cubicBezTo>
                    <a:pt x="2281" y="295"/>
                    <a:pt x="2280" y="288"/>
                    <a:pt x="2287" y="287"/>
                  </a:cubicBezTo>
                  <a:cubicBezTo>
                    <a:pt x="2287" y="292"/>
                    <a:pt x="2289" y="295"/>
                    <a:pt x="2292" y="297"/>
                  </a:cubicBezTo>
                  <a:cubicBezTo>
                    <a:pt x="2293" y="294"/>
                    <a:pt x="2295" y="295"/>
                    <a:pt x="2298" y="297"/>
                  </a:cubicBezTo>
                  <a:cubicBezTo>
                    <a:pt x="2298" y="294"/>
                    <a:pt x="2297" y="290"/>
                    <a:pt x="2300" y="289"/>
                  </a:cubicBezTo>
                  <a:cubicBezTo>
                    <a:pt x="2303" y="298"/>
                    <a:pt x="2306" y="286"/>
                    <a:pt x="2309" y="287"/>
                  </a:cubicBezTo>
                  <a:cubicBezTo>
                    <a:pt x="2311" y="288"/>
                    <a:pt x="2311" y="294"/>
                    <a:pt x="2314" y="294"/>
                  </a:cubicBezTo>
                  <a:cubicBezTo>
                    <a:pt x="2318" y="288"/>
                    <a:pt x="2307" y="285"/>
                    <a:pt x="2314" y="284"/>
                  </a:cubicBezTo>
                  <a:cubicBezTo>
                    <a:pt x="2321" y="283"/>
                    <a:pt x="2319" y="289"/>
                    <a:pt x="2322" y="291"/>
                  </a:cubicBezTo>
                  <a:cubicBezTo>
                    <a:pt x="2319" y="291"/>
                    <a:pt x="2313" y="298"/>
                    <a:pt x="2320" y="299"/>
                  </a:cubicBezTo>
                  <a:cubicBezTo>
                    <a:pt x="2320" y="296"/>
                    <a:pt x="2323" y="295"/>
                    <a:pt x="2325" y="294"/>
                  </a:cubicBezTo>
                  <a:cubicBezTo>
                    <a:pt x="2326" y="290"/>
                    <a:pt x="2317" y="282"/>
                    <a:pt x="2325" y="280"/>
                  </a:cubicBezTo>
                  <a:cubicBezTo>
                    <a:pt x="2330" y="280"/>
                    <a:pt x="2326" y="301"/>
                    <a:pt x="2331" y="294"/>
                  </a:cubicBezTo>
                  <a:cubicBezTo>
                    <a:pt x="2331" y="284"/>
                    <a:pt x="2328" y="271"/>
                    <a:pt x="2338" y="270"/>
                  </a:cubicBezTo>
                  <a:cubicBezTo>
                    <a:pt x="2332" y="275"/>
                    <a:pt x="2338" y="281"/>
                    <a:pt x="2339" y="286"/>
                  </a:cubicBezTo>
                  <a:cubicBezTo>
                    <a:pt x="2339" y="289"/>
                    <a:pt x="2336" y="289"/>
                    <a:pt x="2336" y="291"/>
                  </a:cubicBezTo>
                  <a:cubicBezTo>
                    <a:pt x="2336" y="294"/>
                    <a:pt x="2340" y="295"/>
                    <a:pt x="2342" y="296"/>
                  </a:cubicBezTo>
                  <a:cubicBezTo>
                    <a:pt x="2342" y="292"/>
                    <a:pt x="2340" y="287"/>
                    <a:pt x="2344" y="286"/>
                  </a:cubicBezTo>
                  <a:cubicBezTo>
                    <a:pt x="2348" y="286"/>
                    <a:pt x="2347" y="290"/>
                    <a:pt x="2350" y="291"/>
                  </a:cubicBezTo>
                  <a:cubicBezTo>
                    <a:pt x="2352" y="278"/>
                    <a:pt x="2350" y="297"/>
                    <a:pt x="2358" y="293"/>
                  </a:cubicBezTo>
                  <a:cubicBezTo>
                    <a:pt x="2362" y="286"/>
                    <a:pt x="2357" y="286"/>
                    <a:pt x="2358" y="277"/>
                  </a:cubicBezTo>
                  <a:cubicBezTo>
                    <a:pt x="2363" y="278"/>
                    <a:pt x="2361" y="271"/>
                    <a:pt x="2366" y="270"/>
                  </a:cubicBezTo>
                  <a:cubicBezTo>
                    <a:pt x="2369" y="269"/>
                    <a:pt x="2374" y="270"/>
                    <a:pt x="2374" y="272"/>
                  </a:cubicBezTo>
                  <a:cubicBezTo>
                    <a:pt x="2371" y="273"/>
                    <a:pt x="2367" y="274"/>
                    <a:pt x="2366" y="277"/>
                  </a:cubicBezTo>
                  <a:cubicBezTo>
                    <a:pt x="2366" y="276"/>
                    <a:pt x="2371" y="279"/>
                    <a:pt x="2369" y="281"/>
                  </a:cubicBezTo>
                  <a:cubicBezTo>
                    <a:pt x="2365" y="285"/>
                    <a:pt x="2368" y="284"/>
                    <a:pt x="2369" y="288"/>
                  </a:cubicBezTo>
                  <a:cubicBezTo>
                    <a:pt x="2369" y="288"/>
                    <a:pt x="2363" y="293"/>
                    <a:pt x="2369" y="293"/>
                  </a:cubicBezTo>
                  <a:cubicBezTo>
                    <a:pt x="2374" y="285"/>
                    <a:pt x="2379" y="296"/>
                    <a:pt x="2386" y="295"/>
                  </a:cubicBezTo>
                  <a:cubicBezTo>
                    <a:pt x="2387" y="295"/>
                    <a:pt x="2385" y="289"/>
                    <a:pt x="2388" y="290"/>
                  </a:cubicBezTo>
                  <a:cubicBezTo>
                    <a:pt x="2389" y="296"/>
                    <a:pt x="2397" y="291"/>
                    <a:pt x="2399" y="290"/>
                  </a:cubicBezTo>
                  <a:cubicBezTo>
                    <a:pt x="2399" y="282"/>
                    <a:pt x="2392" y="273"/>
                    <a:pt x="2401" y="267"/>
                  </a:cubicBezTo>
                  <a:cubicBezTo>
                    <a:pt x="2397" y="274"/>
                    <a:pt x="2403" y="277"/>
                    <a:pt x="2402" y="288"/>
                  </a:cubicBezTo>
                  <a:cubicBezTo>
                    <a:pt x="2407" y="288"/>
                    <a:pt x="2409" y="292"/>
                    <a:pt x="2413" y="294"/>
                  </a:cubicBezTo>
                  <a:cubicBezTo>
                    <a:pt x="2411" y="288"/>
                    <a:pt x="2417" y="288"/>
                    <a:pt x="2415" y="283"/>
                  </a:cubicBezTo>
                  <a:cubicBezTo>
                    <a:pt x="2412" y="282"/>
                    <a:pt x="2408" y="283"/>
                    <a:pt x="2407" y="281"/>
                  </a:cubicBezTo>
                  <a:cubicBezTo>
                    <a:pt x="2420" y="283"/>
                    <a:pt x="2414" y="269"/>
                    <a:pt x="2423" y="269"/>
                  </a:cubicBezTo>
                  <a:cubicBezTo>
                    <a:pt x="2419" y="274"/>
                    <a:pt x="2426" y="278"/>
                    <a:pt x="2426" y="283"/>
                  </a:cubicBezTo>
                  <a:cubicBezTo>
                    <a:pt x="2427" y="285"/>
                    <a:pt x="2421" y="288"/>
                    <a:pt x="2427" y="290"/>
                  </a:cubicBezTo>
                  <a:cubicBezTo>
                    <a:pt x="2428" y="286"/>
                    <a:pt x="2430" y="290"/>
                    <a:pt x="2435" y="289"/>
                  </a:cubicBezTo>
                  <a:cubicBezTo>
                    <a:pt x="2438" y="284"/>
                    <a:pt x="2424" y="282"/>
                    <a:pt x="2432" y="280"/>
                  </a:cubicBezTo>
                  <a:cubicBezTo>
                    <a:pt x="2441" y="278"/>
                    <a:pt x="2436" y="288"/>
                    <a:pt x="2443" y="287"/>
                  </a:cubicBezTo>
                  <a:cubicBezTo>
                    <a:pt x="2441" y="278"/>
                    <a:pt x="2434" y="268"/>
                    <a:pt x="2443" y="261"/>
                  </a:cubicBezTo>
                  <a:cubicBezTo>
                    <a:pt x="2448" y="268"/>
                    <a:pt x="2439" y="284"/>
                    <a:pt x="2451" y="289"/>
                  </a:cubicBezTo>
                  <a:cubicBezTo>
                    <a:pt x="2449" y="280"/>
                    <a:pt x="2456" y="279"/>
                    <a:pt x="2459" y="275"/>
                  </a:cubicBezTo>
                  <a:cubicBezTo>
                    <a:pt x="2458" y="280"/>
                    <a:pt x="2467" y="277"/>
                    <a:pt x="2468" y="282"/>
                  </a:cubicBezTo>
                  <a:cubicBezTo>
                    <a:pt x="2459" y="285"/>
                    <a:pt x="2472" y="291"/>
                    <a:pt x="2465" y="294"/>
                  </a:cubicBezTo>
                  <a:cubicBezTo>
                    <a:pt x="2473" y="295"/>
                    <a:pt x="2470" y="289"/>
                    <a:pt x="2476" y="289"/>
                  </a:cubicBezTo>
                  <a:cubicBezTo>
                    <a:pt x="2476" y="292"/>
                    <a:pt x="2477" y="294"/>
                    <a:pt x="2482" y="293"/>
                  </a:cubicBezTo>
                  <a:cubicBezTo>
                    <a:pt x="2479" y="288"/>
                    <a:pt x="2479" y="284"/>
                    <a:pt x="2484" y="279"/>
                  </a:cubicBezTo>
                  <a:cubicBezTo>
                    <a:pt x="2489" y="278"/>
                    <a:pt x="2500" y="282"/>
                    <a:pt x="2500" y="277"/>
                  </a:cubicBezTo>
                  <a:cubicBezTo>
                    <a:pt x="2499" y="277"/>
                    <a:pt x="2497" y="275"/>
                    <a:pt x="2500" y="274"/>
                  </a:cubicBezTo>
                  <a:cubicBezTo>
                    <a:pt x="2501" y="277"/>
                    <a:pt x="2504" y="279"/>
                    <a:pt x="2503" y="284"/>
                  </a:cubicBezTo>
                  <a:cubicBezTo>
                    <a:pt x="2500" y="281"/>
                    <a:pt x="2479" y="277"/>
                    <a:pt x="2484" y="289"/>
                  </a:cubicBezTo>
                  <a:cubicBezTo>
                    <a:pt x="2493" y="290"/>
                    <a:pt x="2493" y="285"/>
                    <a:pt x="2498" y="284"/>
                  </a:cubicBezTo>
                  <a:cubicBezTo>
                    <a:pt x="2496" y="288"/>
                    <a:pt x="2502" y="287"/>
                    <a:pt x="2503" y="288"/>
                  </a:cubicBezTo>
                  <a:cubicBezTo>
                    <a:pt x="2505" y="290"/>
                    <a:pt x="2503" y="295"/>
                    <a:pt x="2509" y="293"/>
                  </a:cubicBezTo>
                  <a:cubicBezTo>
                    <a:pt x="2507" y="284"/>
                    <a:pt x="2508" y="287"/>
                    <a:pt x="2506" y="276"/>
                  </a:cubicBezTo>
                  <a:cubicBezTo>
                    <a:pt x="2512" y="282"/>
                    <a:pt x="2523" y="270"/>
                    <a:pt x="2525" y="281"/>
                  </a:cubicBezTo>
                  <a:cubicBezTo>
                    <a:pt x="2522" y="278"/>
                    <a:pt x="2515" y="278"/>
                    <a:pt x="2511" y="281"/>
                  </a:cubicBezTo>
                  <a:cubicBezTo>
                    <a:pt x="2512" y="287"/>
                    <a:pt x="2514" y="291"/>
                    <a:pt x="2520" y="293"/>
                  </a:cubicBezTo>
                  <a:cubicBezTo>
                    <a:pt x="2522" y="289"/>
                    <a:pt x="2526" y="288"/>
                    <a:pt x="2531" y="288"/>
                  </a:cubicBezTo>
                  <a:cubicBezTo>
                    <a:pt x="2531" y="290"/>
                    <a:pt x="2531" y="292"/>
                    <a:pt x="2534" y="292"/>
                  </a:cubicBezTo>
                  <a:cubicBezTo>
                    <a:pt x="2531" y="284"/>
                    <a:pt x="2533" y="284"/>
                    <a:pt x="2528" y="276"/>
                  </a:cubicBezTo>
                  <a:cubicBezTo>
                    <a:pt x="2531" y="274"/>
                    <a:pt x="2535" y="273"/>
                    <a:pt x="2542" y="273"/>
                  </a:cubicBezTo>
                  <a:cubicBezTo>
                    <a:pt x="2540" y="277"/>
                    <a:pt x="2538" y="278"/>
                    <a:pt x="2542" y="281"/>
                  </a:cubicBezTo>
                  <a:cubicBezTo>
                    <a:pt x="2544" y="282"/>
                    <a:pt x="2539" y="291"/>
                    <a:pt x="2545" y="290"/>
                  </a:cubicBezTo>
                  <a:cubicBezTo>
                    <a:pt x="2549" y="285"/>
                    <a:pt x="2551" y="283"/>
                    <a:pt x="2547" y="276"/>
                  </a:cubicBezTo>
                  <a:cubicBezTo>
                    <a:pt x="2558" y="280"/>
                    <a:pt x="2550" y="270"/>
                    <a:pt x="2555" y="269"/>
                  </a:cubicBezTo>
                  <a:cubicBezTo>
                    <a:pt x="2554" y="269"/>
                    <a:pt x="2564" y="276"/>
                    <a:pt x="2572" y="273"/>
                  </a:cubicBezTo>
                  <a:cubicBezTo>
                    <a:pt x="2573" y="272"/>
                    <a:pt x="2571" y="266"/>
                    <a:pt x="2577" y="268"/>
                  </a:cubicBezTo>
                  <a:cubicBezTo>
                    <a:pt x="2578" y="274"/>
                    <a:pt x="2576" y="278"/>
                    <a:pt x="2572" y="280"/>
                  </a:cubicBezTo>
                  <a:cubicBezTo>
                    <a:pt x="2571" y="277"/>
                    <a:pt x="2569" y="276"/>
                    <a:pt x="2566" y="275"/>
                  </a:cubicBezTo>
                  <a:cubicBezTo>
                    <a:pt x="2567" y="286"/>
                    <a:pt x="2558" y="276"/>
                    <a:pt x="2555" y="276"/>
                  </a:cubicBezTo>
                  <a:cubicBezTo>
                    <a:pt x="2552" y="281"/>
                    <a:pt x="2562" y="284"/>
                    <a:pt x="2555" y="285"/>
                  </a:cubicBezTo>
                  <a:cubicBezTo>
                    <a:pt x="2554" y="285"/>
                    <a:pt x="2552" y="285"/>
                    <a:pt x="2553" y="287"/>
                  </a:cubicBezTo>
                  <a:cubicBezTo>
                    <a:pt x="2560" y="288"/>
                    <a:pt x="2561" y="284"/>
                    <a:pt x="2566" y="282"/>
                  </a:cubicBezTo>
                  <a:cubicBezTo>
                    <a:pt x="2571" y="290"/>
                    <a:pt x="2578" y="281"/>
                    <a:pt x="2580" y="289"/>
                  </a:cubicBezTo>
                  <a:cubicBezTo>
                    <a:pt x="2580" y="291"/>
                    <a:pt x="2581" y="292"/>
                    <a:pt x="2583" y="292"/>
                  </a:cubicBezTo>
                  <a:cubicBezTo>
                    <a:pt x="2583" y="287"/>
                    <a:pt x="2580" y="286"/>
                    <a:pt x="2580" y="282"/>
                  </a:cubicBezTo>
                  <a:cubicBezTo>
                    <a:pt x="2583" y="282"/>
                    <a:pt x="2583" y="280"/>
                    <a:pt x="2585" y="280"/>
                  </a:cubicBezTo>
                  <a:cubicBezTo>
                    <a:pt x="2586" y="290"/>
                    <a:pt x="2587" y="280"/>
                    <a:pt x="2591" y="280"/>
                  </a:cubicBezTo>
                  <a:cubicBezTo>
                    <a:pt x="2589" y="285"/>
                    <a:pt x="2594" y="295"/>
                    <a:pt x="2597" y="289"/>
                  </a:cubicBezTo>
                  <a:cubicBezTo>
                    <a:pt x="2594" y="289"/>
                    <a:pt x="2593" y="285"/>
                    <a:pt x="2597" y="284"/>
                  </a:cubicBezTo>
                  <a:cubicBezTo>
                    <a:pt x="2600" y="284"/>
                    <a:pt x="2599" y="288"/>
                    <a:pt x="2602" y="289"/>
                  </a:cubicBezTo>
                  <a:cubicBezTo>
                    <a:pt x="2606" y="287"/>
                    <a:pt x="2602" y="283"/>
                    <a:pt x="2602" y="279"/>
                  </a:cubicBezTo>
                  <a:cubicBezTo>
                    <a:pt x="2602" y="277"/>
                    <a:pt x="2605" y="278"/>
                    <a:pt x="2605" y="277"/>
                  </a:cubicBezTo>
                  <a:cubicBezTo>
                    <a:pt x="2606" y="274"/>
                    <a:pt x="2601" y="266"/>
                    <a:pt x="2607" y="265"/>
                  </a:cubicBezTo>
                  <a:cubicBezTo>
                    <a:pt x="2614" y="270"/>
                    <a:pt x="2618" y="277"/>
                    <a:pt x="2629" y="277"/>
                  </a:cubicBezTo>
                  <a:cubicBezTo>
                    <a:pt x="2633" y="277"/>
                    <a:pt x="2632" y="272"/>
                    <a:pt x="2635" y="272"/>
                  </a:cubicBezTo>
                  <a:cubicBezTo>
                    <a:pt x="2638" y="271"/>
                    <a:pt x="2643" y="272"/>
                    <a:pt x="2643" y="269"/>
                  </a:cubicBezTo>
                  <a:cubicBezTo>
                    <a:pt x="2628" y="273"/>
                    <a:pt x="2637" y="256"/>
                    <a:pt x="2637" y="255"/>
                  </a:cubicBezTo>
                  <a:cubicBezTo>
                    <a:pt x="2642" y="248"/>
                    <a:pt x="2636" y="253"/>
                    <a:pt x="2634" y="248"/>
                  </a:cubicBezTo>
                  <a:cubicBezTo>
                    <a:pt x="2639" y="249"/>
                    <a:pt x="2644" y="250"/>
                    <a:pt x="2645" y="253"/>
                  </a:cubicBezTo>
                  <a:cubicBezTo>
                    <a:pt x="2641" y="253"/>
                    <a:pt x="2639" y="255"/>
                    <a:pt x="2640" y="260"/>
                  </a:cubicBezTo>
                  <a:cubicBezTo>
                    <a:pt x="2650" y="264"/>
                    <a:pt x="2655" y="257"/>
                    <a:pt x="2662" y="262"/>
                  </a:cubicBezTo>
                  <a:cubicBezTo>
                    <a:pt x="2658" y="265"/>
                    <a:pt x="2661" y="274"/>
                    <a:pt x="2654" y="274"/>
                  </a:cubicBezTo>
                  <a:cubicBezTo>
                    <a:pt x="2649" y="268"/>
                    <a:pt x="2658" y="265"/>
                    <a:pt x="2648" y="265"/>
                  </a:cubicBezTo>
                  <a:cubicBezTo>
                    <a:pt x="2646" y="276"/>
                    <a:pt x="2650" y="280"/>
                    <a:pt x="2646" y="290"/>
                  </a:cubicBezTo>
                  <a:cubicBezTo>
                    <a:pt x="2654" y="292"/>
                    <a:pt x="2649" y="286"/>
                    <a:pt x="2651" y="283"/>
                  </a:cubicBezTo>
                  <a:cubicBezTo>
                    <a:pt x="2653" y="282"/>
                    <a:pt x="2658" y="284"/>
                    <a:pt x="2657" y="281"/>
                  </a:cubicBezTo>
                  <a:cubicBezTo>
                    <a:pt x="2654" y="280"/>
                    <a:pt x="2650" y="277"/>
                    <a:pt x="2654" y="276"/>
                  </a:cubicBezTo>
                  <a:cubicBezTo>
                    <a:pt x="2661" y="278"/>
                    <a:pt x="2660" y="287"/>
                    <a:pt x="2668" y="288"/>
                  </a:cubicBezTo>
                  <a:cubicBezTo>
                    <a:pt x="2669" y="285"/>
                    <a:pt x="2672" y="282"/>
                    <a:pt x="2673" y="285"/>
                  </a:cubicBezTo>
                  <a:cubicBezTo>
                    <a:pt x="2674" y="287"/>
                    <a:pt x="2674" y="290"/>
                    <a:pt x="2676" y="290"/>
                  </a:cubicBezTo>
                  <a:cubicBezTo>
                    <a:pt x="2676" y="283"/>
                    <a:pt x="2677" y="278"/>
                    <a:pt x="2681" y="276"/>
                  </a:cubicBezTo>
                  <a:cubicBezTo>
                    <a:pt x="2684" y="283"/>
                    <a:pt x="2687" y="273"/>
                    <a:pt x="2690" y="273"/>
                  </a:cubicBezTo>
                  <a:cubicBezTo>
                    <a:pt x="2690" y="276"/>
                    <a:pt x="2692" y="276"/>
                    <a:pt x="2692" y="278"/>
                  </a:cubicBezTo>
                  <a:cubicBezTo>
                    <a:pt x="2690" y="281"/>
                    <a:pt x="2690" y="287"/>
                    <a:pt x="2684" y="287"/>
                  </a:cubicBezTo>
                  <a:cubicBezTo>
                    <a:pt x="2684" y="286"/>
                    <a:pt x="2682" y="285"/>
                    <a:pt x="2682" y="287"/>
                  </a:cubicBezTo>
                  <a:cubicBezTo>
                    <a:pt x="2689" y="293"/>
                    <a:pt x="2699" y="287"/>
                    <a:pt x="2701" y="287"/>
                  </a:cubicBezTo>
                  <a:cubicBezTo>
                    <a:pt x="2704" y="287"/>
                    <a:pt x="2703" y="283"/>
                    <a:pt x="2706" y="282"/>
                  </a:cubicBezTo>
                  <a:cubicBezTo>
                    <a:pt x="2709" y="282"/>
                    <a:pt x="2710" y="284"/>
                    <a:pt x="2712" y="285"/>
                  </a:cubicBezTo>
                  <a:cubicBezTo>
                    <a:pt x="2715" y="275"/>
                    <a:pt x="2700" y="281"/>
                    <a:pt x="2698" y="275"/>
                  </a:cubicBezTo>
                  <a:cubicBezTo>
                    <a:pt x="2702" y="275"/>
                    <a:pt x="2708" y="276"/>
                    <a:pt x="2709" y="273"/>
                  </a:cubicBezTo>
                  <a:cubicBezTo>
                    <a:pt x="2696" y="273"/>
                    <a:pt x="2699" y="251"/>
                    <a:pt x="2711" y="252"/>
                  </a:cubicBezTo>
                  <a:cubicBezTo>
                    <a:pt x="2712" y="255"/>
                    <a:pt x="2710" y="260"/>
                    <a:pt x="2714" y="261"/>
                  </a:cubicBezTo>
                  <a:cubicBezTo>
                    <a:pt x="2720" y="259"/>
                    <a:pt x="2713" y="248"/>
                    <a:pt x="2719" y="247"/>
                  </a:cubicBezTo>
                  <a:cubicBezTo>
                    <a:pt x="2715" y="256"/>
                    <a:pt x="2725" y="258"/>
                    <a:pt x="2725" y="263"/>
                  </a:cubicBezTo>
                  <a:cubicBezTo>
                    <a:pt x="2725" y="263"/>
                    <a:pt x="2720" y="263"/>
                    <a:pt x="2720" y="263"/>
                  </a:cubicBezTo>
                  <a:cubicBezTo>
                    <a:pt x="2719" y="264"/>
                    <a:pt x="2719" y="272"/>
                    <a:pt x="2723" y="280"/>
                  </a:cubicBezTo>
                  <a:cubicBezTo>
                    <a:pt x="2719" y="280"/>
                    <a:pt x="2717" y="279"/>
                    <a:pt x="2714" y="277"/>
                  </a:cubicBezTo>
                  <a:cubicBezTo>
                    <a:pt x="2714" y="281"/>
                    <a:pt x="2716" y="283"/>
                    <a:pt x="2717" y="285"/>
                  </a:cubicBezTo>
                  <a:cubicBezTo>
                    <a:pt x="2723" y="284"/>
                    <a:pt x="2723" y="288"/>
                    <a:pt x="2726" y="289"/>
                  </a:cubicBezTo>
                  <a:cubicBezTo>
                    <a:pt x="2726" y="284"/>
                    <a:pt x="2731" y="273"/>
                    <a:pt x="2731" y="275"/>
                  </a:cubicBezTo>
                  <a:cubicBezTo>
                    <a:pt x="2731" y="273"/>
                    <a:pt x="2728" y="268"/>
                    <a:pt x="2728" y="268"/>
                  </a:cubicBezTo>
                  <a:cubicBezTo>
                    <a:pt x="2729" y="266"/>
                    <a:pt x="2735" y="265"/>
                    <a:pt x="2736" y="263"/>
                  </a:cubicBezTo>
                  <a:cubicBezTo>
                    <a:pt x="2739" y="259"/>
                    <a:pt x="2735" y="255"/>
                    <a:pt x="2741" y="254"/>
                  </a:cubicBezTo>
                  <a:cubicBezTo>
                    <a:pt x="2745" y="254"/>
                    <a:pt x="2747" y="256"/>
                    <a:pt x="2747" y="260"/>
                  </a:cubicBezTo>
                  <a:cubicBezTo>
                    <a:pt x="2742" y="260"/>
                    <a:pt x="2741" y="263"/>
                    <a:pt x="2736" y="263"/>
                  </a:cubicBezTo>
                  <a:cubicBezTo>
                    <a:pt x="2738" y="266"/>
                    <a:pt x="2733" y="275"/>
                    <a:pt x="2739" y="275"/>
                  </a:cubicBezTo>
                  <a:cubicBezTo>
                    <a:pt x="2742" y="270"/>
                    <a:pt x="2738" y="264"/>
                    <a:pt x="2750" y="263"/>
                  </a:cubicBezTo>
                  <a:cubicBezTo>
                    <a:pt x="2751" y="268"/>
                    <a:pt x="2745" y="268"/>
                    <a:pt x="2747" y="275"/>
                  </a:cubicBezTo>
                  <a:cubicBezTo>
                    <a:pt x="2748" y="274"/>
                    <a:pt x="2752" y="275"/>
                    <a:pt x="2753" y="275"/>
                  </a:cubicBezTo>
                  <a:cubicBezTo>
                    <a:pt x="2753" y="273"/>
                    <a:pt x="2752" y="271"/>
                    <a:pt x="2753" y="270"/>
                  </a:cubicBezTo>
                  <a:cubicBezTo>
                    <a:pt x="2754" y="265"/>
                    <a:pt x="2759" y="256"/>
                    <a:pt x="2755" y="251"/>
                  </a:cubicBezTo>
                  <a:cubicBezTo>
                    <a:pt x="2764" y="252"/>
                    <a:pt x="2766" y="250"/>
                    <a:pt x="2769" y="253"/>
                  </a:cubicBezTo>
                  <a:cubicBezTo>
                    <a:pt x="2768" y="255"/>
                    <a:pt x="2767" y="256"/>
                    <a:pt x="2763" y="256"/>
                  </a:cubicBezTo>
                  <a:cubicBezTo>
                    <a:pt x="2763" y="257"/>
                    <a:pt x="2763" y="260"/>
                    <a:pt x="2761" y="260"/>
                  </a:cubicBezTo>
                  <a:cubicBezTo>
                    <a:pt x="2763" y="264"/>
                    <a:pt x="2762" y="272"/>
                    <a:pt x="2767" y="274"/>
                  </a:cubicBezTo>
                  <a:cubicBezTo>
                    <a:pt x="2769" y="266"/>
                    <a:pt x="2780" y="274"/>
                    <a:pt x="2783" y="269"/>
                  </a:cubicBezTo>
                  <a:cubicBezTo>
                    <a:pt x="2779" y="269"/>
                    <a:pt x="2783" y="260"/>
                    <a:pt x="2783" y="260"/>
                  </a:cubicBezTo>
                  <a:cubicBezTo>
                    <a:pt x="2784" y="259"/>
                    <a:pt x="2788" y="262"/>
                    <a:pt x="2788" y="262"/>
                  </a:cubicBezTo>
                  <a:cubicBezTo>
                    <a:pt x="2789" y="257"/>
                    <a:pt x="2783" y="255"/>
                    <a:pt x="2785" y="246"/>
                  </a:cubicBezTo>
                  <a:cubicBezTo>
                    <a:pt x="2789" y="246"/>
                    <a:pt x="2789" y="243"/>
                    <a:pt x="2793" y="243"/>
                  </a:cubicBezTo>
                  <a:cubicBezTo>
                    <a:pt x="2796" y="252"/>
                    <a:pt x="2787" y="256"/>
                    <a:pt x="2794" y="262"/>
                  </a:cubicBezTo>
                  <a:cubicBezTo>
                    <a:pt x="2789" y="262"/>
                    <a:pt x="2787" y="264"/>
                    <a:pt x="2786" y="267"/>
                  </a:cubicBezTo>
                  <a:cubicBezTo>
                    <a:pt x="2792" y="267"/>
                    <a:pt x="2789" y="268"/>
                    <a:pt x="2788" y="272"/>
                  </a:cubicBezTo>
                  <a:cubicBezTo>
                    <a:pt x="2787" y="278"/>
                    <a:pt x="2792" y="281"/>
                    <a:pt x="2791" y="283"/>
                  </a:cubicBezTo>
                  <a:cubicBezTo>
                    <a:pt x="2791" y="283"/>
                    <a:pt x="2781" y="286"/>
                    <a:pt x="2789" y="288"/>
                  </a:cubicBezTo>
                  <a:cubicBezTo>
                    <a:pt x="2792" y="284"/>
                    <a:pt x="2797" y="279"/>
                    <a:pt x="2791" y="274"/>
                  </a:cubicBezTo>
                  <a:cubicBezTo>
                    <a:pt x="2795" y="274"/>
                    <a:pt x="2797" y="273"/>
                    <a:pt x="2799" y="271"/>
                  </a:cubicBezTo>
                  <a:cubicBezTo>
                    <a:pt x="2799" y="274"/>
                    <a:pt x="2800" y="286"/>
                    <a:pt x="2802" y="278"/>
                  </a:cubicBezTo>
                  <a:cubicBezTo>
                    <a:pt x="2799" y="266"/>
                    <a:pt x="2808" y="278"/>
                    <a:pt x="2810" y="271"/>
                  </a:cubicBezTo>
                  <a:cubicBezTo>
                    <a:pt x="2805" y="272"/>
                    <a:pt x="2806" y="260"/>
                    <a:pt x="2813" y="264"/>
                  </a:cubicBezTo>
                  <a:cubicBezTo>
                    <a:pt x="2811" y="266"/>
                    <a:pt x="2807" y="273"/>
                    <a:pt x="2816" y="271"/>
                  </a:cubicBezTo>
                  <a:cubicBezTo>
                    <a:pt x="2817" y="268"/>
                    <a:pt x="2812" y="259"/>
                    <a:pt x="2818" y="259"/>
                  </a:cubicBezTo>
                  <a:cubicBezTo>
                    <a:pt x="2817" y="267"/>
                    <a:pt x="2826" y="270"/>
                    <a:pt x="2830" y="275"/>
                  </a:cubicBezTo>
                  <a:cubicBezTo>
                    <a:pt x="2832" y="279"/>
                    <a:pt x="2829" y="288"/>
                    <a:pt x="2838" y="287"/>
                  </a:cubicBezTo>
                  <a:cubicBezTo>
                    <a:pt x="2838" y="283"/>
                    <a:pt x="2830" y="274"/>
                    <a:pt x="2838" y="271"/>
                  </a:cubicBezTo>
                  <a:cubicBezTo>
                    <a:pt x="2842" y="271"/>
                    <a:pt x="2841" y="276"/>
                    <a:pt x="2843" y="278"/>
                  </a:cubicBezTo>
                  <a:cubicBezTo>
                    <a:pt x="2836" y="272"/>
                    <a:pt x="2837" y="282"/>
                    <a:pt x="2841" y="285"/>
                  </a:cubicBezTo>
                  <a:cubicBezTo>
                    <a:pt x="2861" y="284"/>
                    <a:pt x="2841" y="259"/>
                    <a:pt x="2859" y="254"/>
                  </a:cubicBezTo>
                  <a:cubicBezTo>
                    <a:pt x="2859" y="257"/>
                    <a:pt x="2861" y="259"/>
                    <a:pt x="2862" y="261"/>
                  </a:cubicBezTo>
                  <a:cubicBezTo>
                    <a:pt x="2856" y="261"/>
                    <a:pt x="2861" y="269"/>
                    <a:pt x="2860" y="273"/>
                  </a:cubicBezTo>
                  <a:cubicBezTo>
                    <a:pt x="2855" y="271"/>
                    <a:pt x="2855" y="284"/>
                    <a:pt x="2860" y="282"/>
                  </a:cubicBezTo>
                  <a:cubicBezTo>
                    <a:pt x="2860" y="279"/>
                    <a:pt x="2863" y="278"/>
                    <a:pt x="2865" y="277"/>
                  </a:cubicBezTo>
                  <a:cubicBezTo>
                    <a:pt x="2870" y="283"/>
                    <a:pt x="2861" y="286"/>
                    <a:pt x="2871" y="287"/>
                  </a:cubicBezTo>
                  <a:cubicBezTo>
                    <a:pt x="2873" y="278"/>
                    <a:pt x="2862" y="271"/>
                    <a:pt x="2876" y="270"/>
                  </a:cubicBezTo>
                  <a:cubicBezTo>
                    <a:pt x="2879" y="277"/>
                    <a:pt x="2872" y="276"/>
                    <a:pt x="2874" y="282"/>
                  </a:cubicBezTo>
                  <a:cubicBezTo>
                    <a:pt x="2885" y="280"/>
                    <a:pt x="2879" y="273"/>
                    <a:pt x="2879" y="265"/>
                  </a:cubicBezTo>
                  <a:cubicBezTo>
                    <a:pt x="2881" y="265"/>
                    <a:pt x="2884" y="265"/>
                    <a:pt x="2884" y="263"/>
                  </a:cubicBezTo>
                  <a:cubicBezTo>
                    <a:pt x="2886" y="263"/>
                    <a:pt x="2887" y="261"/>
                    <a:pt x="2884" y="260"/>
                  </a:cubicBezTo>
                  <a:cubicBezTo>
                    <a:pt x="2884" y="264"/>
                    <a:pt x="2880" y="261"/>
                    <a:pt x="2879" y="258"/>
                  </a:cubicBezTo>
                  <a:cubicBezTo>
                    <a:pt x="2884" y="259"/>
                    <a:pt x="2884" y="255"/>
                    <a:pt x="2887" y="253"/>
                  </a:cubicBezTo>
                  <a:cubicBezTo>
                    <a:pt x="2887" y="255"/>
                    <a:pt x="2887" y="256"/>
                    <a:pt x="2888" y="257"/>
                  </a:cubicBezTo>
                  <a:cubicBezTo>
                    <a:pt x="2888" y="244"/>
                    <a:pt x="2888" y="244"/>
                    <a:pt x="2888" y="244"/>
                  </a:cubicBezTo>
                  <a:cubicBezTo>
                    <a:pt x="2887" y="244"/>
                    <a:pt x="2885" y="244"/>
                    <a:pt x="2884" y="244"/>
                  </a:cubicBezTo>
                  <a:cubicBezTo>
                    <a:pt x="2884" y="242"/>
                    <a:pt x="2884" y="239"/>
                    <a:pt x="2884" y="237"/>
                  </a:cubicBezTo>
                  <a:cubicBezTo>
                    <a:pt x="2886" y="237"/>
                    <a:pt x="2887" y="238"/>
                    <a:pt x="2888" y="239"/>
                  </a:cubicBezTo>
                  <a:cubicBezTo>
                    <a:pt x="2888" y="205"/>
                    <a:pt x="2888" y="205"/>
                    <a:pt x="2888" y="205"/>
                  </a:cubicBezTo>
                  <a:cubicBezTo>
                    <a:pt x="2885" y="205"/>
                    <a:pt x="2883" y="205"/>
                    <a:pt x="2881" y="209"/>
                  </a:cubicBezTo>
                  <a:cubicBezTo>
                    <a:pt x="2884" y="211"/>
                    <a:pt x="2893" y="228"/>
                    <a:pt x="2881" y="228"/>
                  </a:cubicBezTo>
                  <a:cubicBezTo>
                    <a:pt x="2886" y="223"/>
                    <a:pt x="2880" y="220"/>
                    <a:pt x="2875" y="218"/>
                  </a:cubicBezTo>
                  <a:cubicBezTo>
                    <a:pt x="2875" y="222"/>
                    <a:pt x="2876" y="227"/>
                    <a:pt x="2873" y="228"/>
                  </a:cubicBezTo>
                  <a:cubicBezTo>
                    <a:pt x="2872" y="222"/>
                    <a:pt x="2871" y="217"/>
                    <a:pt x="2862" y="219"/>
                  </a:cubicBezTo>
                  <a:cubicBezTo>
                    <a:pt x="2860" y="224"/>
                    <a:pt x="2865" y="236"/>
                    <a:pt x="2859" y="237"/>
                  </a:cubicBezTo>
                  <a:cubicBezTo>
                    <a:pt x="2855" y="232"/>
                    <a:pt x="2852" y="240"/>
                    <a:pt x="2851" y="235"/>
                  </a:cubicBezTo>
                  <a:cubicBezTo>
                    <a:pt x="2851" y="231"/>
                    <a:pt x="2851" y="228"/>
                    <a:pt x="2853" y="226"/>
                  </a:cubicBezTo>
                  <a:cubicBezTo>
                    <a:pt x="2851" y="225"/>
                    <a:pt x="2848" y="226"/>
                    <a:pt x="2848" y="223"/>
                  </a:cubicBezTo>
                  <a:cubicBezTo>
                    <a:pt x="2857" y="221"/>
                    <a:pt x="2854" y="229"/>
                    <a:pt x="2859" y="230"/>
                  </a:cubicBezTo>
                  <a:cubicBezTo>
                    <a:pt x="2857" y="227"/>
                    <a:pt x="2862" y="218"/>
                    <a:pt x="2856" y="219"/>
                  </a:cubicBezTo>
                  <a:cubicBezTo>
                    <a:pt x="2856" y="221"/>
                    <a:pt x="2851" y="222"/>
                    <a:pt x="2851" y="219"/>
                  </a:cubicBezTo>
                  <a:cubicBezTo>
                    <a:pt x="2851" y="209"/>
                    <a:pt x="2859" y="220"/>
                    <a:pt x="2861" y="214"/>
                  </a:cubicBezTo>
                  <a:cubicBezTo>
                    <a:pt x="2857" y="213"/>
                    <a:pt x="2859" y="209"/>
                    <a:pt x="2861" y="207"/>
                  </a:cubicBezTo>
                  <a:cubicBezTo>
                    <a:pt x="2855" y="204"/>
                    <a:pt x="2860" y="192"/>
                    <a:pt x="2858" y="186"/>
                  </a:cubicBezTo>
                  <a:cubicBezTo>
                    <a:pt x="2862" y="185"/>
                    <a:pt x="2862" y="183"/>
                    <a:pt x="2866" y="183"/>
                  </a:cubicBezTo>
                  <a:cubicBezTo>
                    <a:pt x="2860" y="196"/>
                    <a:pt x="2870" y="207"/>
                    <a:pt x="2864" y="216"/>
                  </a:cubicBezTo>
                  <a:cubicBezTo>
                    <a:pt x="2867" y="216"/>
                    <a:pt x="2870" y="216"/>
                    <a:pt x="2873" y="216"/>
                  </a:cubicBezTo>
                  <a:cubicBezTo>
                    <a:pt x="2869" y="209"/>
                    <a:pt x="2873" y="210"/>
                    <a:pt x="2870" y="204"/>
                  </a:cubicBezTo>
                  <a:cubicBezTo>
                    <a:pt x="2874" y="204"/>
                    <a:pt x="2871" y="198"/>
                    <a:pt x="2875" y="197"/>
                  </a:cubicBezTo>
                  <a:cubicBezTo>
                    <a:pt x="2876" y="200"/>
                    <a:pt x="2878" y="202"/>
                    <a:pt x="2881" y="204"/>
                  </a:cubicBezTo>
                  <a:cubicBezTo>
                    <a:pt x="2877" y="196"/>
                    <a:pt x="2884" y="198"/>
                    <a:pt x="2888" y="197"/>
                  </a:cubicBezTo>
                  <a:cubicBezTo>
                    <a:pt x="2888" y="191"/>
                    <a:pt x="2888" y="191"/>
                    <a:pt x="2888" y="191"/>
                  </a:cubicBezTo>
                  <a:cubicBezTo>
                    <a:pt x="2888" y="190"/>
                    <a:pt x="2888" y="189"/>
                    <a:pt x="2888" y="188"/>
                  </a:cubicBezTo>
                  <a:cubicBezTo>
                    <a:pt x="2888" y="159"/>
                    <a:pt x="2888" y="159"/>
                    <a:pt x="2888" y="159"/>
                  </a:cubicBezTo>
                  <a:cubicBezTo>
                    <a:pt x="2885" y="158"/>
                    <a:pt x="2882" y="158"/>
                    <a:pt x="2877" y="160"/>
                  </a:cubicBezTo>
                  <a:cubicBezTo>
                    <a:pt x="2877" y="157"/>
                    <a:pt x="2880" y="158"/>
                    <a:pt x="2882" y="157"/>
                  </a:cubicBezTo>
                  <a:cubicBezTo>
                    <a:pt x="2883" y="155"/>
                    <a:pt x="2881" y="155"/>
                    <a:pt x="2880" y="155"/>
                  </a:cubicBezTo>
                  <a:cubicBezTo>
                    <a:pt x="2879" y="151"/>
                    <a:pt x="2884" y="152"/>
                    <a:pt x="2888" y="152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2" y="148"/>
                    <a:pt x="2884" y="141"/>
                    <a:pt x="2877" y="143"/>
                  </a:cubicBezTo>
                  <a:cubicBezTo>
                    <a:pt x="2876" y="145"/>
                    <a:pt x="2877" y="148"/>
                    <a:pt x="2874" y="148"/>
                  </a:cubicBezTo>
                  <a:cubicBezTo>
                    <a:pt x="2874" y="140"/>
                    <a:pt x="2871" y="146"/>
                    <a:pt x="2866" y="146"/>
                  </a:cubicBezTo>
                  <a:cubicBezTo>
                    <a:pt x="2866" y="146"/>
                    <a:pt x="2866" y="143"/>
                    <a:pt x="2866" y="143"/>
                  </a:cubicBezTo>
                  <a:cubicBezTo>
                    <a:pt x="2863" y="142"/>
                    <a:pt x="2859" y="146"/>
                    <a:pt x="2858" y="146"/>
                  </a:cubicBezTo>
                  <a:cubicBezTo>
                    <a:pt x="2855" y="145"/>
                    <a:pt x="2855" y="141"/>
                    <a:pt x="2849" y="141"/>
                  </a:cubicBezTo>
                  <a:cubicBezTo>
                    <a:pt x="2848" y="141"/>
                    <a:pt x="2849" y="147"/>
                    <a:pt x="2847" y="146"/>
                  </a:cubicBezTo>
                  <a:cubicBezTo>
                    <a:pt x="2849" y="138"/>
                    <a:pt x="2838" y="143"/>
                    <a:pt x="2835" y="139"/>
                  </a:cubicBezTo>
                  <a:cubicBezTo>
                    <a:pt x="2829" y="145"/>
                    <a:pt x="2836" y="151"/>
                    <a:pt x="2836" y="158"/>
                  </a:cubicBezTo>
                  <a:cubicBezTo>
                    <a:pt x="2832" y="157"/>
                    <a:pt x="2826" y="160"/>
                    <a:pt x="2822" y="158"/>
                  </a:cubicBezTo>
                  <a:cubicBezTo>
                    <a:pt x="2821" y="158"/>
                    <a:pt x="2822" y="151"/>
                    <a:pt x="2816" y="153"/>
                  </a:cubicBezTo>
                  <a:cubicBezTo>
                    <a:pt x="2818" y="161"/>
                    <a:pt x="2815" y="164"/>
                    <a:pt x="2814" y="170"/>
                  </a:cubicBezTo>
                  <a:cubicBezTo>
                    <a:pt x="2823" y="172"/>
                    <a:pt x="2818" y="162"/>
                    <a:pt x="2825" y="163"/>
                  </a:cubicBezTo>
                  <a:cubicBezTo>
                    <a:pt x="2825" y="166"/>
                    <a:pt x="2826" y="168"/>
                    <a:pt x="2828" y="170"/>
                  </a:cubicBezTo>
                  <a:cubicBezTo>
                    <a:pt x="2821" y="171"/>
                    <a:pt x="2822" y="177"/>
                    <a:pt x="2817" y="179"/>
                  </a:cubicBezTo>
                  <a:cubicBezTo>
                    <a:pt x="2818" y="174"/>
                    <a:pt x="2816" y="171"/>
                    <a:pt x="2811" y="170"/>
                  </a:cubicBezTo>
                  <a:cubicBezTo>
                    <a:pt x="2811" y="173"/>
                    <a:pt x="2812" y="177"/>
                    <a:pt x="2809" y="177"/>
                  </a:cubicBezTo>
                  <a:cubicBezTo>
                    <a:pt x="2810" y="171"/>
                    <a:pt x="2798" y="175"/>
                    <a:pt x="2798" y="170"/>
                  </a:cubicBezTo>
                  <a:cubicBezTo>
                    <a:pt x="2805" y="172"/>
                    <a:pt x="2795" y="159"/>
                    <a:pt x="2803" y="161"/>
                  </a:cubicBezTo>
                  <a:cubicBezTo>
                    <a:pt x="2803" y="164"/>
                    <a:pt x="2802" y="169"/>
                    <a:pt x="2806" y="170"/>
                  </a:cubicBezTo>
                  <a:cubicBezTo>
                    <a:pt x="2808" y="158"/>
                    <a:pt x="2819" y="154"/>
                    <a:pt x="2814" y="142"/>
                  </a:cubicBezTo>
                  <a:cubicBezTo>
                    <a:pt x="2815" y="142"/>
                    <a:pt x="2817" y="140"/>
                    <a:pt x="2814" y="139"/>
                  </a:cubicBezTo>
                  <a:cubicBezTo>
                    <a:pt x="2812" y="142"/>
                    <a:pt x="2811" y="145"/>
                    <a:pt x="2808" y="147"/>
                  </a:cubicBezTo>
                  <a:cubicBezTo>
                    <a:pt x="2803" y="140"/>
                    <a:pt x="2792" y="144"/>
                    <a:pt x="2784" y="147"/>
                  </a:cubicBezTo>
                  <a:cubicBezTo>
                    <a:pt x="2787" y="139"/>
                    <a:pt x="2775" y="145"/>
                    <a:pt x="2778" y="138"/>
                  </a:cubicBezTo>
                  <a:cubicBezTo>
                    <a:pt x="2768" y="138"/>
                    <a:pt x="2772" y="150"/>
                    <a:pt x="2759" y="147"/>
                  </a:cubicBezTo>
                  <a:cubicBezTo>
                    <a:pt x="2759" y="144"/>
                    <a:pt x="2759" y="141"/>
                    <a:pt x="2759" y="138"/>
                  </a:cubicBezTo>
                  <a:cubicBezTo>
                    <a:pt x="2749" y="139"/>
                    <a:pt x="2748" y="142"/>
                    <a:pt x="2739" y="138"/>
                  </a:cubicBezTo>
                  <a:cubicBezTo>
                    <a:pt x="2739" y="143"/>
                    <a:pt x="2738" y="146"/>
                    <a:pt x="2734" y="148"/>
                  </a:cubicBezTo>
                  <a:cubicBezTo>
                    <a:pt x="2736" y="143"/>
                    <a:pt x="2733" y="130"/>
                    <a:pt x="2728" y="139"/>
                  </a:cubicBezTo>
                  <a:cubicBezTo>
                    <a:pt x="2733" y="139"/>
                    <a:pt x="2729" y="142"/>
                    <a:pt x="2729" y="146"/>
                  </a:cubicBezTo>
                  <a:cubicBezTo>
                    <a:pt x="2729" y="148"/>
                    <a:pt x="2731" y="148"/>
                    <a:pt x="2731" y="150"/>
                  </a:cubicBezTo>
                  <a:cubicBezTo>
                    <a:pt x="2731" y="150"/>
                    <a:pt x="2728" y="151"/>
                    <a:pt x="2729" y="153"/>
                  </a:cubicBezTo>
                  <a:cubicBezTo>
                    <a:pt x="2729" y="153"/>
                    <a:pt x="2733" y="153"/>
                    <a:pt x="2731" y="155"/>
                  </a:cubicBezTo>
                  <a:cubicBezTo>
                    <a:pt x="2727" y="155"/>
                    <a:pt x="2721" y="156"/>
                    <a:pt x="2720" y="153"/>
                  </a:cubicBezTo>
                  <a:cubicBezTo>
                    <a:pt x="2722" y="148"/>
                    <a:pt x="2728" y="148"/>
                    <a:pt x="2726" y="141"/>
                  </a:cubicBezTo>
                  <a:cubicBezTo>
                    <a:pt x="2717" y="144"/>
                    <a:pt x="2716" y="140"/>
                    <a:pt x="2707" y="144"/>
                  </a:cubicBezTo>
                  <a:cubicBezTo>
                    <a:pt x="2710" y="139"/>
                    <a:pt x="2702" y="133"/>
                    <a:pt x="2701" y="139"/>
                  </a:cubicBezTo>
                  <a:cubicBezTo>
                    <a:pt x="2710" y="142"/>
                    <a:pt x="2694" y="142"/>
                    <a:pt x="2690" y="142"/>
                  </a:cubicBezTo>
                  <a:cubicBezTo>
                    <a:pt x="2688" y="149"/>
                    <a:pt x="2697" y="146"/>
                    <a:pt x="2698" y="151"/>
                  </a:cubicBezTo>
                  <a:cubicBezTo>
                    <a:pt x="2693" y="152"/>
                    <a:pt x="2698" y="161"/>
                    <a:pt x="2693" y="163"/>
                  </a:cubicBezTo>
                  <a:cubicBezTo>
                    <a:pt x="2696" y="164"/>
                    <a:pt x="2699" y="165"/>
                    <a:pt x="2702" y="167"/>
                  </a:cubicBezTo>
                  <a:cubicBezTo>
                    <a:pt x="2701" y="172"/>
                    <a:pt x="2696" y="174"/>
                    <a:pt x="2693" y="177"/>
                  </a:cubicBezTo>
                  <a:cubicBezTo>
                    <a:pt x="2699" y="182"/>
                    <a:pt x="2691" y="188"/>
                    <a:pt x="2699" y="193"/>
                  </a:cubicBezTo>
                  <a:cubicBezTo>
                    <a:pt x="2696" y="194"/>
                    <a:pt x="2694" y="196"/>
                    <a:pt x="2694" y="200"/>
                  </a:cubicBezTo>
                  <a:cubicBezTo>
                    <a:pt x="2697" y="207"/>
                    <a:pt x="2694" y="206"/>
                    <a:pt x="2700" y="210"/>
                  </a:cubicBezTo>
                  <a:cubicBezTo>
                    <a:pt x="2698" y="213"/>
                    <a:pt x="2695" y="215"/>
                    <a:pt x="2691" y="217"/>
                  </a:cubicBezTo>
                  <a:cubicBezTo>
                    <a:pt x="2689" y="215"/>
                    <a:pt x="2688" y="202"/>
                    <a:pt x="2683" y="210"/>
                  </a:cubicBezTo>
                  <a:cubicBezTo>
                    <a:pt x="2690" y="213"/>
                    <a:pt x="2683" y="220"/>
                    <a:pt x="2683" y="224"/>
                  </a:cubicBezTo>
                  <a:cubicBezTo>
                    <a:pt x="2683" y="226"/>
                    <a:pt x="2681" y="227"/>
                    <a:pt x="2681" y="226"/>
                  </a:cubicBezTo>
                  <a:cubicBezTo>
                    <a:pt x="2680" y="231"/>
                    <a:pt x="2684" y="232"/>
                    <a:pt x="2683" y="236"/>
                  </a:cubicBezTo>
                  <a:cubicBezTo>
                    <a:pt x="2680" y="233"/>
                    <a:pt x="2673" y="234"/>
                    <a:pt x="2672" y="229"/>
                  </a:cubicBezTo>
                  <a:cubicBezTo>
                    <a:pt x="2677" y="224"/>
                    <a:pt x="2676" y="212"/>
                    <a:pt x="2669" y="210"/>
                  </a:cubicBezTo>
                  <a:cubicBezTo>
                    <a:pt x="2668" y="216"/>
                    <a:pt x="2673" y="227"/>
                    <a:pt x="2667" y="229"/>
                  </a:cubicBezTo>
                  <a:cubicBezTo>
                    <a:pt x="2662" y="229"/>
                    <a:pt x="2665" y="222"/>
                    <a:pt x="2661" y="222"/>
                  </a:cubicBezTo>
                  <a:cubicBezTo>
                    <a:pt x="2662" y="222"/>
                    <a:pt x="2658" y="231"/>
                    <a:pt x="2653" y="227"/>
                  </a:cubicBezTo>
                  <a:cubicBezTo>
                    <a:pt x="2653" y="222"/>
                    <a:pt x="2661" y="224"/>
                    <a:pt x="2658" y="217"/>
                  </a:cubicBezTo>
                  <a:cubicBezTo>
                    <a:pt x="2650" y="215"/>
                    <a:pt x="2652" y="221"/>
                    <a:pt x="2648" y="222"/>
                  </a:cubicBezTo>
                  <a:cubicBezTo>
                    <a:pt x="2647" y="213"/>
                    <a:pt x="2640" y="222"/>
                    <a:pt x="2634" y="218"/>
                  </a:cubicBezTo>
                  <a:cubicBezTo>
                    <a:pt x="2634" y="224"/>
                    <a:pt x="2635" y="229"/>
                    <a:pt x="2629" y="230"/>
                  </a:cubicBezTo>
                  <a:cubicBezTo>
                    <a:pt x="2627" y="224"/>
                    <a:pt x="2633" y="224"/>
                    <a:pt x="2631" y="218"/>
                  </a:cubicBezTo>
                  <a:cubicBezTo>
                    <a:pt x="2627" y="216"/>
                    <a:pt x="2622" y="221"/>
                    <a:pt x="2620" y="220"/>
                  </a:cubicBezTo>
                  <a:cubicBezTo>
                    <a:pt x="2616" y="219"/>
                    <a:pt x="2619" y="205"/>
                    <a:pt x="2612" y="214"/>
                  </a:cubicBezTo>
                  <a:cubicBezTo>
                    <a:pt x="2616" y="212"/>
                    <a:pt x="2616" y="225"/>
                    <a:pt x="2612" y="223"/>
                  </a:cubicBezTo>
                  <a:cubicBezTo>
                    <a:pt x="2614" y="212"/>
                    <a:pt x="2603" y="213"/>
                    <a:pt x="2598" y="209"/>
                  </a:cubicBezTo>
                  <a:cubicBezTo>
                    <a:pt x="2609" y="212"/>
                    <a:pt x="2608" y="205"/>
                    <a:pt x="2612" y="202"/>
                  </a:cubicBezTo>
                  <a:cubicBezTo>
                    <a:pt x="2621" y="200"/>
                    <a:pt x="2637" y="204"/>
                    <a:pt x="2642" y="199"/>
                  </a:cubicBezTo>
                  <a:cubicBezTo>
                    <a:pt x="2638" y="193"/>
                    <a:pt x="2634" y="203"/>
                    <a:pt x="2631" y="197"/>
                  </a:cubicBezTo>
                  <a:cubicBezTo>
                    <a:pt x="2635" y="196"/>
                    <a:pt x="2635" y="193"/>
                    <a:pt x="2639" y="192"/>
                  </a:cubicBezTo>
                  <a:cubicBezTo>
                    <a:pt x="2643" y="195"/>
                    <a:pt x="2642" y="202"/>
                    <a:pt x="2650" y="201"/>
                  </a:cubicBezTo>
                  <a:cubicBezTo>
                    <a:pt x="2647" y="194"/>
                    <a:pt x="2659" y="198"/>
                    <a:pt x="2661" y="194"/>
                  </a:cubicBezTo>
                  <a:cubicBezTo>
                    <a:pt x="2662" y="199"/>
                    <a:pt x="2666" y="200"/>
                    <a:pt x="2669" y="203"/>
                  </a:cubicBezTo>
                  <a:cubicBezTo>
                    <a:pt x="2665" y="203"/>
                    <a:pt x="2662" y="205"/>
                    <a:pt x="2661" y="208"/>
                  </a:cubicBezTo>
                  <a:cubicBezTo>
                    <a:pt x="2669" y="206"/>
                    <a:pt x="2671" y="210"/>
                    <a:pt x="2678" y="210"/>
                  </a:cubicBezTo>
                  <a:cubicBezTo>
                    <a:pt x="2678" y="205"/>
                    <a:pt x="2674" y="205"/>
                    <a:pt x="2672" y="203"/>
                  </a:cubicBezTo>
                  <a:cubicBezTo>
                    <a:pt x="2679" y="199"/>
                    <a:pt x="2680" y="204"/>
                    <a:pt x="2683" y="203"/>
                  </a:cubicBezTo>
                  <a:cubicBezTo>
                    <a:pt x="2684" y="202"/>
                    <a:pt x="2682" y="197"/>
                    <a:pt x="2683" y="196"/>
                  </a:cubicBezTo>
                  <a:cubicBezTo>
                    <a:pt x="2685" y="194"/>
                    <a:pt x="2686" y="198"/>
                    <a:pt x="2686" y="198"/>
                  </a:cubicBezTo>
                  <a:cubicBezTo>
                    <a:pt x="2690" y="199"/>
                    <a:pt x="2695" y="192"/>
                    <a:pt x="2694" y="189"/>
                  </a:cubicBezTo>
                  <a:cubicBezTo>
                    <a:pt x="2687" y="186"/>
                    <a:pt x="2684" y="199"/>
                    <a:pt x="2680" y="191"/>
                  </a:cubicBezTo>
                  <a:cubicBezTo>
                    <a:pt x="2682" y="188"/>
                    <a:pt x="2686" y="187"/>
                    <a:pt x="2691" y="186"/>
                  </a:cubicBezTo>
                  <a:cubicBezTo>
                    <a:pt x="2691" y="182"/>
                    <a:pt x="2691" y="179"/>
                    <a:pt x="2693" y="177"/>
                  </a:cubicBezTo>
                  <a:cubicBezTo>
                    <a:pt x="2690" y="175"/>
                    <a:pt x="2688" y="172"/>
                    <a:pt x="2688" y="167"/>
                  </a:cubicBezTo>
                  <a:cubicBezTo>
                    <a:pt x="2684" y="167"/>
                    <a:pt x="2681" y="167"/>
                    <a:pt x="2682" y="163"/>
                  </a:cubicBezTo>
                  <a:cubicBezTo>
                    <a:pt x="2688" y="168"/>
                    <a:pt x="2689" y="159"/>
                    <a:pt x="2693" y="156"/>
                  </a:cubicBezTo>
                  <a:cubicBezTo>
                    <a:pt x="2690" y="155"/>
                    <a:pt x="2685" y="156"/>
                    <a:pt x="2685" y="154"/>
                  </a:cubicBezTo>
                  <a:cubicBezTo>
                    <a:pt x="2688" y="147"/>
                    <a:pt x="2688" y="141"/>
                    <a:pt x="2685" y="135"/>
                  </a:cubicBezTo>
                  <a:cubicBezTo>
                    <a:pt x="2694" y="138"/>
                    <a:pt x="2686" y="127"/>
                    <a:pt x="2693" y="128"/>
                  </a:cubicBezTo>
                  <a:cubicBezTo>
                    <a:pt x="2696" y="128"/>
                    <a:pt x="2696" y="131"/>
                    <a:pt x="2695" y="134"/>
                  </a:cubicBezTo>
                  <a:cubicBezTo>
                    <a:pt x="2702" y="130"/>
                    <a:pt x="2705" y="137"/>
                    <a:pt x="2709" y="132"/>
                  </a:cubicBezTo>
                  <a:cubicBezTo>
                    <a:pt x="2706" y="130"/>
                    <a:pt x="2704" y="127"/>
                    <a:pt x="2701" y="125"/>
                  </a:cubicBezTo>
                  <a:cubicBezTo>
                    <a:pt x="2705" y="125"/>
                    <a:pt x="2710" y="125"/>
                    <a:pt x="2709" y="120"/>
                  </a:cubicBezTo>
                  <a:cubicBezTo>
                    <a:pt x="2701" y="123"/>
                    <a:pt x="2701" y="120"/>
                    <a:pt x="2690" y="121"/>
                  </a:cubicBezTo>
                  <a:cubicBezTo>
                    <a:pt x="2690" y="126"/>
                    <a:pt x="2688" y="128"/>
                    <a:pt x="2682" y="128"/>
                  </a:cubicBezTo>
                  <a:cubicBezTo>
                    <a:pt x="2682" y="125"/>
                    <a:pt x="2685" y="124"/>
                    <a:pt x="2684" y="121"/>
                  </a:cubicBezTo>
                  <a:cubicBezTo>
                    <a:pt x="2672" y="118"/>
                    <a:pt x="2679" y="130"/>
                    <a:pt x="2668" y="128"/>
                  </a:cubicBezTo>
                  <a:cubicBezTo>
                    <a:pt x="2674" y="124"/>
                    <a:pt x="2667" y="121"/>
                    <a:pt x="2668" y="119"/>
                  </a:cubicBezTo>
                  <a:cubicBezTo>
                    <a:pt x="2668" y="118"/>
                    <a:pt x="2673" y="117"/>
                    <a:pt x="2670" y="114"/>
                  </a:cubicBezTo>
                  <a:cubicBezTo>
                    <a:pt x="2670" y="113"/>
                    <a:pt x="2664" y="114"/>
                    <a:pt x="2665" y="112"/>
                  </a:cubicBezTo>
                  <a:cubicBezTo>
                    <a:pt x="2678" y="107"/>
                    <a:pt x="2672" y="119"/>
                    <a:pt x="2681" y="118"/>
                  </a:cubicBezTo>
                  <a:cubicBezTo>
                    <a:pt x="2691" y="118"/>
                    <a:pt x="2676" y="111"/>
                    <a:pt x="2684" y="111"/>
                  </a:cubicBezTo>
                  <a:cubicBezTo>
                    <a:pt x="2687" y="112"/>
                    <a:pt x="2687" y="115"/>
                    <a:pt x="2687" y="118"/>
                  </a:cubicBezTo>
                  <a:cubicBezTo>
                    <a:pt x="2699" y="117"/>
                    <a:pt x="2715" y="120"/>
                    <a:pt x="2723" y="115"/>
                  </a:cubicBezTo>
                  <a:cubicBezTo>
                    <a:pt x="2727" y="117"/>
                    <a:pt x="2722" y="127"/>
                    <a:pt x="2731" y="124"/>
                  </a:cubicBezTo>
                  <a:cubicBezTo>
                    <a:pt x="2731" y="122"/>
                    <a:pt x="2730" y="118"/>
                    <a:pt x="2734" y="117"/>
                  </a:cubicBezTo>
                  <a:cubicBezTo>
                    <a:pt x="2737" y="117"/>
                    <a:pt x="2741" y="117"/>
                    <a:pt x="2745" y="117"/>
                  </a:cubicBezTo>
                  <a:cubicBezTo>
                    <a:pt x="2744" y="123"/>
                    <a:pt x="2745" y="126"/>
                    <a:pt x="2747" y="129"/>
                  </a:cubicBezTo>
                  <a:cubicBezTo>
                    <a:pt x="2739" y="126"/>
                    <a:pt x="2740" y="128"/>
                    <a:pt x="2737" y="134"/>
                  </a:cubicBezTo>
                  <a:cubicBezTo>
                    <a:pt x="2748" y="138"/>
                    <a:pt x="2756" y="128"/>
                    <a:pt x="2758" y="129"/>
                  </a:cubicBezTo>
                  <a:cubicBezTo>
                    <a:pt x="2762" y="129"/>
                    <a:pt x="2763" y="138"/>
                    <a:pt x="2767" y="136"/>
                  </a:cubicBezTo>
                  <a:cubicBezTo>
                    <a:pt x="2764" y="127"/>
                    <a:pt x="2779" y="132"/>
                    <a:pt x="2775" y="121"/>
                  </a:cubicBezTo>
                  <a:cubicBezTo>
                    <a:pt x="2765" y="119"/>
                    <a:pt x="2771" y="130"/>
                    <a:pt x="2761" y="129"/>
                  </a:cubicBezTo>
                  <a:cubicBezTo>
                    <a:pt x="2770" y="121"/>
                    <a:pt x="2751" y="126"/>
                    <a:pt x="2753" y="117"/>
                  </a:cubicBezTo>
                  <a:cubicBezTo>
                    <a:pt x="2759" y="122"/>
                    <a:pt x="2765" y="117"/>
                    <a:pt x="2769" y="114"/>
                  </a:cubicBezTo>
                  <a:cubicBezTo>
                    <a:pt x="2770" y="117"/>
                    <a:pt x="2772" y="118"/>
                    <a:pt x="2775" y="119"/>
                  </a:cubicBezTo>
                  <a:cubicBezTo>
                    <a:pt x="2778" y="115"/>
                    <a:pt x="2772" y="107"/>
                    <a:pt x="2780" y="102"/>
                  </a:cubicBezTo>
                  <a:cubicBezTo>
                    <a:pt x="2779" y="108"/>
                    <a:pt x="2781" y="112"/>
                    <a:pt x="2783" y="114"/>
                  </a:cubicBezTo>
                  <a:cubicBezTo>
                    <a:pt x="2780" y="114"/>
                    <a:pt x="2780" y="118"/>
                    <a:pt x="2783" y="119"/>
                  </a:cubicBezTo>
                  <a:cubicBezTo>
                    <a:pt x="2784" y="117"/>
                    <a:pt x="2785" y="116"/>
                    <a:pt x="2788" y="116"/>
                  </a:cubicBezTo>
                  <a:cubicBezTo>
                    <a:pt x="2789" y="112"/>
                    <a:pt x="2785" y="111"/>
                    <a:pt x="2786" y="107"/>
                  </a:cubicBezTo>
                  <a:cubicBezTo>
                    <a:pt x="2790" y="107"/>
                    <a:pt x="2796" y="106"/>
                    <a:pt x="2797" y="109"/>
                  </a:cubicBezTo>
                  <a:cubicBezTo>
                    <a:pt x="2797" y="114"/>
                    <a:pt x="2794" y="117"/>
                    <a:pt x="2788" y="116"/>
                  </a:cubicBezTo>
                  <a:cubicBezTo>
                    <a:pt x="2791" y="124"/>
                    <a:pt x="2785" y="124"/>
                    <a:pt x="2778" y="124"/>
                  </a:cubicBezTo>
                  <a:cubicBezTo>
                    <a:pt x="2775" y="129"/>
                    <a:pt x="2782" y="137"/>
                    <a:pt x="2783" y="131"/>
                  </a:cubicBezTo>
                  <a:cubicBezTo>
                    <a:pt x="2780" y="131"/>
                    <a:pt x="2780" y="127"/>
                    <a:pt x="2783" y="126"/>
                  </a:cubicBezTo>
                  <a:cubicBezTo>
                    <a:pt x="2790" y="133"/>
                    <a:pt x="2785" y="127"/>
                    <a:pt x="2794" y="126"/>
                  </a:cubicBezTo>
                  <a:cubicBezTo>
                    <a:pt x="2794" y="130"/>
                    <a:pt x="2797" y="131"/>
                    <a:pt x="2797" y="135"/>
                  </a:cubicBezTo>
                  <a:cubicBezTo>
                    <a:pt x="2806" y="138"/>
                    <a:pt x="2799" y="127"/>
                    <a:pt x="2808" y="130"/>
                  </a:cubicBezTo>
                  <a:cubicBezTo>
                    <a:pt x="2808" y="133"/>
                    <a:pt x="2804" y="133"/>
                    <a:pt x="2805" y="137"/>
                  </a:cubicBezTo>
                  <a:cubicBezTo>
                    <a:pt x="2816" y="140"/>
                    <a:pt x="2809" y="128"/>
                    <a:pt x="2819" y="130"/>
                  </a:cubicBezTo>
                  <a:cubicBezTo>
                    <a:pt x="2817" y="132"/>
                    <a:pt x="2813" y="139"/>
                    <a:pt x="2822" y="137"/>
                  </a:cubicBezTo>
                  <a:cubicBezTo>
                    <a:pt x="2822" y="128"/>
                    <a:pt x="2825" y="128"/>
                    <a:pt x="2821" y="121"/>
                  </a:cubicBezTo>
                  <a:cubicBezTo>
                    <a:pt x="2830" y="123"/>
                    <a:pt x="2842" y="119"/>
                    <a:pt x="2854" y="122"/>
                  </a:cubicBezTo>
                  <a:cubicBezTo>
                    <a:pt x="2855" y="118"/>
                    <a:pt x="2851" y="118"/>
                    <a:pt x="2849" y="115"/>
                  </a:cubicBezTo>
                  <a:cubicBezTo>
                    <a:pt x="2852" y="109"/>
                    <a:pt x="2840" y="104"/>
                    <a:pt x="2849" y="101"/>
                  </a:cubicBezTo>
                  <a:cubicBezTo>
                    <a:pt x="2850" y="101"/>
                    <a:pt x="2852" y="101"/>
                    <a:pt x="2854" y="101"/>
                  </a:cubicBezTo>
                  <a:cubicBezTo>
                    <a:pt x="2856" y="105"/>
                    <a:pt x="2851" y="113"/>
                    <a:pt x="2857" y="113"/>
                  </a:cubicBezTo>
                  <a:cubicBezTo>
                    <a:pt x="2856" y="103"/>
                    <a:pt x="2863" y="111"/>
                    <a:pt x="2868" y="110"/>
                  </a:cubicBezTo>
                  <a:cubicBezTo>
                    <a:pt x="2868" y="107"/>
                    <a:pt x="2867" y="102"/>
                    <a:pt x="2871" y="101"/>
                  </a:cubicBezTo>
                  <a:cubicBezTo>
                    <a:pt x="2869" y="104"/>
                    <a:pt x="2874" y="113"/>
                    <a:pt x="2868" y="113"/>
                  </a:cubicBezTo>
                  <a:cubicBezTo>
                    <a:pt x="2858" y="108"/>
                    <a:pt x="2860" y="115"/>
                    <a:pt x="2857" y="122"/>
                  </a:cubicBezTo>
                  <a:cubicBezTo>
                    <a:pt x="2862" y="124"/>
                    <a:pt x="2866" y="120"/>
                    <a:pt x="2868" y="120"/>
                  </a:cubicBezTo>
                  <a:cubicBezTo>
                    <a:pt x="2871" y="120"/>
                    <a:pt x="2873" y="123"/>
                    <a:pt x="2876" y="122"/>
                  </a:cubicBezTo>
                  <a:cubicBezTo>
                    <a:pt x="2878" y="121"/>
                    <a:pt x="2876" y="116"/>
                    <a:pt x="2879" y="117"/>
                  </a:cubicBezTo>
                  <a:cubicBezTo>
                    <a:pt x="2877" y="123"/>
                    <a:pt x="2883" y="122"/>
                    <a:pt x="2888" y="122"/>
                  </a:cubicBezTo>
                  <a:cubicBezTo>
                    <a:pt x="2888" y="114"/>
                    <a:pt x="2888" y="114"/>
                    <a:pt x="2888" y="114"/>
                  </a:cubicBezTo>
                  <a:cubicBezTo>
                    <a:pt x="2885" y="113"/>
                    <a:pt x="2882" y="111"/>
                    <a:pt x="2876" y="113"/>
                  </a:cubicBezTo>
                  <a:cubicBezTo>
                    <a:pt x="2877" y="110"/>
                    <a:pt x="2881" y="110"/>
                    <a:pt x="2884" y="110"/>
                  </a:cubicBezTo>
                  <a:cubicBezTo>
                    <a:pt x="2887" y="110"/>
                    <a:pt x="2886" y="107"/>
                    <a:pt x="2887" y="105"/>
                  </a:cubicBezTo>
                  <a:cubicBezTo>
                    <a:pt x="2887" y="105"/>
                    <a:pt x="2888" y="105"/>
                    <a:pt x="2888" y="105"/>
                  </a:cubicBezTo>
                  <a:cubicBezTo>
                    <a:pt x="2888" y="74"/>
                    <a:pt x="2888" y="74"/>
                    <a:pt x="2888" y="74"/>
                  </a:cubicBezTo>
                  <a:cubicBezTo>
                    <a:pt x="2887" y="73"/>
                    <a:pt x="2887" y="72"/>
                    <a:pt x="2888" y="70"/>
                  </a:cubicBezTo>
                  <a:lnTo>
                    <a:pt x="2888" y="0"/>
                  </a:lnTo>
                  <a:close/>
                  <a:moveTo>
                    <a:pt x="220" y="274"/>
                  </a:moveTo>
                  <a:cubicBezTo>
                    <a:pt x="213" y="274"/>
                    <a:pt x="214" y="263"/>
                    <a:pt x="217" y="260"/>
                  </a:cubicBezTo>
                  <a:cubicBezTo>
                    <a:pt x="224" y="260"/>
                    <a:pt x="219" y="270"/>
                    <a:pt x="220" y="274"/>
                  </a:cubicBezTo>
                  <a:close/>
                  <a:moveTo>
                    <a:pt x="227" y="203"/>
                  </a:moveTo>
                  <a:cubicBezTo>
                    <a:pt x="224" y="203"/>
                    <a:pt x="225" y="199"/>
                    <a:pt x="225" y="196"/>
                  </a:cubicBezTo>
                  <a:cubicBezTo>
                    <a:pt x="229" y="195"/>
                    <a:pt x="230" y="198"/>
                    <a:pt x="230" y="201"/>
                  </a:cubicBezTo>
                  <a:cubicBezTo>
                    <a:pt x="228" y="201"/>
                    <a:pt x="228" y="202"/>
                    <a:pt x="227" y="203"/>
                  </a:cubicBezTo>
                  <a:close/>
                  <a:moveTo>
                    <a:pt x="305" y="256"/>
                  </a:moveTo>
                  <a:cubicBezTo>
                    <a:pt x="297" y="258"/>
                    <a:pt x="298" y="253"/>
                    <a:pt x="291" y="254"/>
                  </a:cubicBezTo>
                  <a:cubicBezTo>
                    <a:pt x="292" y="247"/>
                    <a:pt x="306" y="249"/>
                    <a:pt x="305" y="256"/>
                  </a:cubicBezTo>
                  <a:close/>
                  <a:moveTo>
                    <a:pt x="340" y="197"/>
                  </a:moveTo>
                  <a:cubicBezTo>
                    <a:pt x="342" y="197"/>
                    <a:pt x="343" y="197"/>
                    <a:pt x="345" y="197"/>
                  </a:cubicBezTo>
                  <a:cubicBezTo>
                    <a:pt x="346" y="203"/>
                    <a:pt x="325" y="196"/>
                    <a:pt x="340" y="197"/>
                  </a:cubicBezTo>
                  <a:close/>
                  <a:moveTo>
                    <a:pt x="357" y="258"/>
                  </a:moveTo>
                  <a:cubicBezTo>
                    <a:pt x="359" y="255"/>
                    <a:pt x="361" y="253"/>
                    <a:pt x="357" y="253"/>
                  </a:cubicBezTo>
                  <a:cubicBezTo>
                    <a:pt x="361" y="245"/>
                    <a:pt x="364" y="258"/>
                    <a:pt x="371" y="255"/>
                  </a:cubicBezTo>
                  <a:cubicBezTo>
                    <a:pt x="372" y="260"/>
                    <a:pt x="361" y="256"/>
                    <a:pt x="357" y="258"/>
                  </a:cubicBezTo>
                  <a:close/>
                  <a:moveTo>
                    <a:pt x="415" y="259"/>
                  </a:moveTo>
                  <a:cubicBezTo>
                    <a:pt x="409" y="260"/>
                    <a:pt x="405" y="259"/>
                    <a:pt x="401" y="257"/>
                  </a:cubicBezTo>
                  <a:cubicBezTo>
                    <a:pt x="401" y="253"/>
                    <a:pt x="419" y="252"/>
                    <a:pt x="415" y="259"/>
                  </a:cubicBezTo>
                  <a:close/>
                  <a:moveTo>
                    <a:pt x="480" y="201"/>
                  </a:moveTo>
                  <a:cubicBezTo>
                    <a:pt x="482" y="201"/>
                    <a:pt x="484" y="201"/>
                    <a:pt x="485" y="201"/>
                  </a:cubicBezTo>
                  <a:cubicBezTo>
                    <a:pt x="486" y="208"/>
                    <a:pt x="465" y="201"/>
                    <a:pt x="480" y="201"/>
                  </a:cubicBezTo>
                  <a:close/>
                  <a:moveTo>
                    <a:pt x="502" y="201"/>
                  </a:moveTo>
                  <a:cubicBezTo>
                    <a:pt x="514" y="202"/>
                    <a:pt x="499" y="215"/>
                    <a:pt x="502" y="201"/>
                  </a:cubicBezTo>
                  <a:close/>
                  <a:moveTo>
                    <a:pt x="538" y="205"/>
                  </a:moveTo>
                  <a:cubicBezTo>
                    <a:pt x="538" y="200"/>
                    <a:pt x="545" y="200"/>
                    <a:pt x="548" y="203"/>
                  </a:cubicBezTo>
                  <a:cubicBezTo>
                    <a:pt x="548" y="206"/>
                    <a:pt x="542" y="205"/>
                    <a:pt x="538" y="205"/>
                  </a:cubicBezTo>
                  <a:close/>
                  <a:moveTo>
                    <a:pt x="552" y="264"/>
                  </a:moveTo>
                  <a:cubicBezTo>
                    <a:pt x="551" y="259"/>
                    <a:pt x="554" y="257"/>
                    <a:pt x="555" y="254"/>
                  </a:cubicBezTo>
                  <a:cubicBezTo>
                    <a:pt x="561" y="256"/>
                    <a:pt x="563" y="264"/>
                    <a:pt x="552" y="264"/>
                  </a:cubicBezTo>
                  <a:close/>
                  <a:moveTo>
                    <a:pt x="573" y="204"/>
                  </a:moveTo>
                  <a:cubicBezTo>
                    <a:pt x="574" y="199"/>
                    <a:pt x="587" y="203"/>
                    <a:pt x="592" y="202"/>
                  </a:cubicBezTo>
                  <a:cubicBezTo>
                    <a:pt x="591" y="207"/>
                    <a:pt x="579" y="203"/>
                    <a:pt x="573" y="204"/>
                  </a:cubicBezTo>
                  <a:close/>
                  <a:moveTo>
                    <a:pt x="592" y="199"/>
                  </a:moveTo>
                  <a:cubicBezTo>
                    <a:pt x="587" y="198"/>
                    <a:pt x="592" y="195"/>
                    <a:pt x="592" y="192"/>
                  </a:cubicBezTo>
                  <a:cubicBezTo>
                    <a:pt x="597" y="194"/>
                    <a:pt x="593" y="197"/>
                    <a:pt x="592" y="199"/>
                  </a:cubicBezTo>
                  <a:close/>
                  <a:moveTo>
                    <a:pt x="624" y="265"/>
                  </a:moveTo>
                  <a:cubicBezTo>
                    <a:pt x="625" y="262"/>
                    <a:pt x="627" y="260"/>
                    <a:pt x="632" y="260"/>
                  </a:cubicBezTo>
                  <a:cubicBezTo>
                    <a:pt x="631" y="263"/>
                    <a:pt x="628" y="265"/>
                    <a:pt x="624" y="265"/>
                  </a:cubicBezTo>
                  <a:close/>
                  <a:moveTo>
                    <a:pt x="653" y="203"/>
                  </a:moveTo>
                  <a:cubicBezTo>
                    <a:pt x="655" y="203"/>
                    <a:pt x="658" y="203"/>
                    <a:pt x="661" y="203"/>
                  </a:cubicBezTo>
                  <a:cubicBezTo>
                    <a:pt x="661" y="208"/>
                    <a:pt x="651" y="204"/>
                    <a:pt x="647" y="205"/>
                  </a:cubicBezTo>
                  <a:cubicBezTo>
                    <a:pt x="647" y="203"/>
                    <a:pt x="651" y="204"/>
                    <a:pt x="653" y="203"/>
                  </a:cubicBezTo>
                  <a:close/>
                  <a:moveTo>
                    <a:pt x="656" y="264"/>
                  </a:moveTo>
                  <a:cubicBezTo>
                    <a:pt x="650" y="263"/>
                    <a:pt x="639" y="267"/>
                    <a:pt x="643" y="260"/>
                  </a:cubicBezTo>
                  <a:cubicBezTo>
                    <a:pt x="652" y="263"/>
                    <a:pt x="661" y="258"/>
                    <a:pt x="667" y="264"/>
                  </a:cubicBezTo>
                  <a:cubicBezTo>
                    <a:pt x="676" y="266"/>
                    <a:pt x="663" y="265"/>
                    <a:pt x="656" y="264"/>
                  </a:cubicBezTo>
                  <a:close/>
                  <a:moveTo>
                    <a:pt x="690" y="266"/>
                  </a:moveTo>
                  <a:cubicBezTo>
                    <a:pt x="697" y="257"/>
                    <a:pt x="707" y="271"/>
                    <a:pt x="690" y="266"/>
                  </a:cubicBezTo>
                  <a:close/>
                  <a:moveTo>
                    <a:pt x="714" y="263"/>
                  </a:moveTo>
                  <a:cubicBezTo>
                    <a:pt x="716" y="263"/>
                    <a:pt x="718" y="263"/>
                    <a:pt x="720" y="263"/>
                  </a:cubicBezTo>
                  <a:cubicBezTo>
                    <a:pt x="720" y="270"/>
                    <a:pt x="699" y="263"/>
                    <a:pt x="714" y="263"/>
                  </a:cubicBezTo>
                  <a:close/>
                  <a:moveTo>
                    <a:pt x="738" y="209"/>
                  </a:moveTo>
                  <a:cubicBezTo>
                    <a:pt x="737" y="208"/>
                    <a:pt x="745" y="206"/>
                    <a:pt x="743" y="204"/>
                  </a:cubicBezTo>
                  <a:cubicBezTo>
                    <a:pt x="753" y="208"/>
                    <a:pt x="740" y="210"/>
                    <a:pt x="738" y="209"/>
                  </a:cubicBezTo>
                  <a:close/>
                  <a:moveTo>
                    <a:pt x="777" y="267"/>
                  </a:moveTo>
                  <a:cubicBezTo>
                    <a:pt x="773" y="266"/>
                    <a:pt x="763" y="269"/>
                    <a:pt x="766" y="262"/>
                  </a:cubicBezTo>
                  <a:cubicBezTo>
                    <a:pt x="773" y="263"/>
                    <a:pt x="779" y="265"/>
                    <a:pt x="788" y="264"/>
                  </a:cubicBezTo>
                  <a:cubicBezTo>
                    <a:pt x="788" y="270"/>
                    <a:pt x="782" y="267"/>
                    <a:pt x="777" y="267"/>
                  </a:cubicBezTo>
                  <a:close/>
                  <a:moveTo>
                    <a:pt x="791" y="269"/>
                  </a:moveTo>
                  <a:cubicBezTo>
                    <a:pt x="793" y="266"/>
                    <a:pt x="797" y="264"/>
                    <a:pt x="802" y="264"/>
                  </a:cubicBezTo>
                  <a:cubicBezTo>
                    <a:pt x="801" y="268"/>
                    <a:pt x="797" y="269"/>
                    <a:pt x="791" y="269"/>
                  </a:cubicBezTo>
                  <a:close/>
                  <a:moveTo>
                    <a:pt x="810" y="261"/>
                  </a:moveTo>
                  <a:cubicBezTo>
                    <a:pt x="814" y="263"/>
                    <a:pt x="815" y="266"/>
                    <a:pt x="816" y="271"/>
                  </a:cubicBezTo>
                  <a:cubicBezTo>
                    <a:pt x="807" y="272"/>
                    <a:pt x="806" y="265"/>
                    <a:pt x="810" y="261"/>
                  </a:cubicBezTo>
                  <a:close/>
                  <a:moveTo>
                    <a:pt x="824" y="264"/>
                  </a:moveTo>
                  <a:cubicBezTo>
                    <a:pt x="830" y="269"/>
                    <a:pt x="836" y="261"/>
                    <a:pt x="840" y="266"/>
                  </a:cubicBezTo>
                  <a:cubicBezTo>
                    <a:pt x="836" y="270"/>
                    <a:pt x="824" y="273"/>
                    <a:pt x="824" y="264"/>
                  </a:cubicBezTo>
                  <a:close/>
                  <a:moveTo>
                    <a:pt x="865" y="268"/>
                  </a:moveTo>
                  <a:cubicBezTo>
                    <a:pt x="867" y="267"/>
                    <a:pt x="869" y="267"/>
                    <a:pt x="871" y="267"/>
                  </a:cubicBezTo>
                  <a:cubicBezTo>
                    <a:pt x="871" y="274"/>
                    <a:pt x="850" y="267"/>
                    <a:pt x="865" y="268"/>
                  </a:cubicBezTo>
                  <a:close/>
                  <a:moveTo>
                    <a:pt x="866" y="326"/>
                  </a:moveTo>
                  <a:cubicBezTo>
                    <a:pt x="866" y="325"/>
                    <a:pt x="866" y="323"/>
                    <a:pt x="866" y="321"/>
                  </a:cubicBezTo>
                  <a:cubicBezTo>
                    <a:pt x="868" y="321"/>
                    <a:pt x="870" y="321"/>
                    <a:pt x="871" y="321"/>
                  </a:cubicBezTo>
                  <a:cubicBezTo>
                    <a:pt x="872" y="323"/>
                    <a:pt x="872" y="325"/>
                    <a:pt x="872" y="326"/>
                  </a:cubicBezTo>
                  <a:cubicBezTo>
                    <a:pt x="870" y="326"/>
                    <a:pt x="868" y="326"/>
                    <a:pt x="866" y="326"/>
                  </a:cubicBezTo>
                  <a:close/>
                  <a:moveTo>
                    <a:pt x="903" y="269"/>
                  </a:moveTo>
                  <a:cubicBezTo>
                    <a:pt x="912" y="260"/>
                    <a:pt x="913" y="276"/>
                    <a:pt x="903" y="269"/>
                  </a:cubicBezTo>
                  <a:close/>
                  <a:moveTo>
                    <a:pt x="925" y="266"/>
                  </a:moveTo>
                  <a:cubicBezTo>
                    <a:pt x="930" y="266"/>
                    <a:pt x="931" y="269"/>
                    <a:pt x="936" y="269"/>
                  </a:cubicBezTo>
                  <a:cubicBezTo>
                    <a:pt x="937" y="273"/>
                    <a:pt x="921" y="273"/>
                    <a:pt x="925" y="266"/>
                  </a:cubicBezTo>
                  <a:close/>
                  <a:moveTo>
                    <a:pt x="947" y="271"/>
                  </a:moveTo>
                  <a:cubicBezTo>
                    <a:pt x="945" y="264"/>
                    <a:pt x="953" y="266"/>
                    <a:pt x="958" y="266"/>
                  </a:cubicBezTo>
                  <a:cubicBezTo>
                    <a:pt x="958" y="270"/>
                    <a:pt x="954" y="271"/>
                    <a:pt x="947" y="271"/>
                  </a:cubicBezTo>
                  <a:close/>
                  <a:moveTo>
                    <a:pt x="961" y="271"/>
                  </a:moveTo>
                  <a:cubicBezTo>
                    <a:pt x="963" y="269"/>
                    <a:pt x="964" y="267"/>
                    <a:pt x="964" y="263"/>
                  </a:cubicBezTo>
                  <a:cubicBezTo>
                    <a:pt x="971" y="263"/>
                    <a:pt x="972" y="267"/>
                    <a:pt x="978" y="268"/>
                  </a:cubicBezTo>
                  <a:cubicBezTo>
                    <a:pt x="977" y="273"/>
                    <a:pt x="966" y="269"/>
                    <a:pt x="961" y="271"/>
                  </a:cubicBezTo>
                  <a:close/>
                  <a:moveTo>
                    <a:pt x="986" y="275"/>
                  </a:moveTo>
                  <a:cubicBezTo>
                    <a:pt x="985" y="273"/>
                    <a:pt x="987" y="273"/>
                    <a:pt x="989" y="272"/>
                  </a:cubicBezTo>
                  <a:cubicBezTo>
                    <a:pt x="985" y="269"/>
                    <a:pt x="980" y="268"/>
                    <a:pt x="986" y="263"/>
                  </a:cubicBezTo>
                  <a:cubicBezTo>
                    <a:pt x="994" y="261"/>
                    <a:pt x="989" y="271"/>
                    <a:pt x="1000" y="268"/>
                  </a:cubicBezTo>
                  <a:cubicBezTo>
                    <a:pt x="995" y="270"/>
                    <a:pt x="993" y="274"/>
                    <a:pt x="986" y="275"/>
                  </a:cubicBezTo>
                  <a:close/>
                  <a:moveTo>
                    <a:pt x="1011" y="272"/>
                  </a:moveTo>
                  <a:cubicBezTo>
                    <a:pt x="1011" y="270"/>
                    <a:pt x="1011" y="269"/>
                    <a:pt x="1010" y="267"/>
                  </a:cubicBezTo>
                  <a:cubicBezTo>
                    <a:pt x="1012" y="267"/>
                    <a:pt x="1014" y="267"/>
                    <a:pt x="1016" y="267"/>
                  </a:cubicBezTo>
                  <a:cubicBezTo>
                    <a:pt x="1016" y="269"/>
                    <a:pt x="1016" y="270"/>
                    <a:pt x="1016" y="272"/>
                  </a:cubicBezTo>
                  <a:cubicBezTo>
                    <a:pt x="1014" y="272"/>
                    <a:pt x="1012" y="272"/>
                    <a:pt x="1011" y="272"/>
                  </a:cubicBezTo>
                  <a:close/>
                  <a:moveTo>
                    <a:pt x="1150" y="270"/>
                  </a:moveTo>
                  <a:cubicBezTo>
                    <a:pt x="1150" y="268"/>
                    <a:pt x="1150" y="266"/>
                    <a:pt x="1150" y="265"/>
                  </a:cubicBezTo>
                  <a:cubicBezTo>
                    <a:pt x="1152" y="265"/>
                    <a:pt x="1154" y="265"/>
                    <a:pt x="1156" y="265"/>
                  </a:cubicBezTo>
                  <a:cubicBezTo>
                    <a:pt x="1156" y="266"/>
                    <a:pt x="1156" y="268"/>
                    <a:pt x="1156" y="269"/>
                  </a:cubicBezTo>
                  <a:cubicBezTo>
                    <a:pt x="1154" y="270"/>
                    <a:pt x="1152" y="270"/>
                    <a:pt x="1150" y="270"/>
                  </a:cubicBezTo>
                  <a:close/>
                  <a:moveTo>
                    <a:pt x="1170" y="269"/>
                  </a:moveTo>
                  <a:cubicBezTo>
                    <a:pt x="1170" y="268"/>
                    <a:pt x="1170" y="266"/>
                    <a:pt x="1170" y="265"/>
                  </a:cubicBezTo>
                  <a:cubicBezTo>
                    <a:pt x="1171" y="265"/>
                    <a:pt x="1173" y="265"/>
                    <a:pt x="1175" y="264"/>
                  </a:cubicBezTo>
                  <a:cubicBezTo>
                    <a:pt x="1175" y="266"/>
                    <a:pt x="1175" y="268"/>
                    <a:pt x="1175" y="269"/>
                  </a:cubicBezTo>
                  <a:cubicBezTo>
                    <a:pt x="1173" y="269"/>
                    <a:pt x="1171" y="269"/>
                    <a:pt x="1170" y="269"/>
                  </a:cubicBezTo>
                  <a:close/>
                  <a:moveTo>
                    <a:pt x="1194" y="271"/>
                  </a:moveTo>
                  <a:cubicBezTo>
                    <a:pt x="1195" y="263"/>
                    <a:pt x="1187" y="272"/>
                    <a:pt x="1181" y="267"/>
                  </a:cubicBezTo>
                  <a:cubicBezTo>
                    <a:pt x="1179" y="261"/>
                    <a:pt x="1191" y="267"/>
                    <a:pt x="1194" y="264"/>
                  </a:cubicBezTo>
                  <a:cubicBezTo>
                    <a:pt x="1194" y="264"/>
                    <a:pt x="1194" y="262"/>
                    <a:pt x="1194" y="262"/>
                  </a:cubicBezTo>
                  <a:cubicBezTo>
                    <a:pt x="1200" y="261"/>
                    <a:pt x="1208" y="268"/>
                    <a:pt x="1211" y="261"/>
                  </a:cubicBezTo>
                  <a:cubicBezTo>
                    <a:pt x="1221" y="266"/>
                    <a:pt x="1208" y="265"/>
                    <a:pt x="1205" y="266"/>
                  </a:cubicBezTo>
                  <a:cubicBezTo>
                    <a:pt x="1201" y="268"/>
                    <a:pt x="1198" y="272"/>
                    <a:pt x="1194" y="271"/>
                  </a:cubicBezTo>
                  <a:close/>
                  <a:moveTo>
                    <a:pt x="1199" y="353"/>
                  </a:moveTo>
                  <a:cubicBezTo>
                    <a:pt x="1207" y="350"/>
                    <a:pt x="1205" y="357"/>
                    <a:pt x="1210" y="358"/>
                  </a:cubicBezTo>
                  <a:cubicBezTo>
                    <a:pt x="1209" y="363"/>
                    <a:pt x="1194" y="361"/>
                    <a:pt x="1199" y="353"/>
                  </a:cubicBezTo>
                  <a:close/>
                  <a:moveTo>
                    <a:pt x="1212" y="355"/>
                  </a:moveTo>
                  <a:cubicBezTo>
                    <a:pt x="1215" y="349"/>
                    <a:pt x="1216" y="353"/>
                    <a:pt x="1223" y="353"/>
                  </a:cubicBezTo>
                  <a:cubicBezTo>
                    <a:pt x="1223" y="358"/>
                    <a:pt x="1216" y="358"/>
                    <a:pt x="1212" y="355"/>
                  </a:cubicBezTo>
                  <a:close/>
                  <a:moveTo>
                    <a:pt x="1227" y="261"/>
                  </a:moveTo>
                  <a:cubicBezTo>
                    <a:pt x="1232" y="261"/>
                    <a:pt x="1234" y="265"/>
                    <a:pt x="1235" y="261"/>
                  </a:cubicBezTo>
                  <a:cubicBezTo>
                    <a:pt x="1247" y="264"/>
                    <a:pt x="1223" y="271"/>
                    <a:pt x="1227" y="261"/>
                  </a:cubicBezTo>
                  <a:close/>
                  <a:moveTo>
                    <a:pt x="1237" y="195"/>
                  </a:moveTo>
                  <a:cubicBezTo>
                    <a:pt x="1237" y="194"/>
                    <a:pt x="1237" y="192"/>
                    <a:pt x="1237" y="191"/>
                  </a:cubicBezTo>
                  <a:cubicBezTo>
                    <a:pt x="1239" y="190"/>
                    <a:pt x="1240" y="190"/>
                    <a:pt x="1242" y="190"/>
                  </a:cubicBezTo>
                  <a:cubicBezTo>
                    <a:pt x="1242" y="192"/>
                    <a:pt x="1242" y="194"/>
                    <a:pt x="1242" y="195"/>
                  </a:cubicBezTo>
                  <a:cubicBezTo>
                    <a:pt x="1241" y="195"/>
                    <a:pt x="1239" y="195"/>
                    <a:pt x="1237" y="195"/>
                  </a:cubicBezTo>
                  <a:close/>
                  <a:moveTo>
                    <a:pt x="1259" y="195"/>
                  </a:moveTo>
                  <a:cubicBezTo>
                    <a:pt x="1252" y="196"/>
                    <a:pt x="1252" y="190"/>
                    <a:pt x="1250" y="186"/>
                  </a:cubicBezTo>
                  <a:cubicBezTo>
                    <a:pt x="1258" y="185"/>
                    <a:pt x="1258" y="190"/>
                    <a:pt x="1259" y="195"/>
                  </a:cubicBezTo>
                  <a:close/>
                  <a:moveTo>
                    <a:pt x="1252" y="261"/>
                  </a:moveTo>
                  <a:cubicBezTo>
                    <a:pt x="1256" y="260"/>
                    <a:pt x="1262" y="262"/>
                    <a:pt x="1263" y="258"/>
                  </a:cubicBezTo>
                  <a:cubicBezTo>
                    <a:pt x="1266" y="259"/>
                    <a:pt x="1265" y="262"/>
                    <a:pt x="1266" y="265"/>
                  </a:cubicBezTo>
                  <a:cubicBezTo>
                    <a:pt x="1263" y="268"/>
                    <a:pt x="1252" y="268"/>
                    <a:pt x="1252" y="261"/>
                  </a:cubicBezTo>
                  <a:close/>
                  <a:moveTo>
                    <a:pt x="1279" y="267"/>
                  </a:moveTo>
                  <a:cubicBezTo>
                    <a:pt x="1271" y="269"/>
                    <a:pt x="1269" y="262"/>
                    <a:pt x="1274" y="258"/>
                  </a:cubicBezTo>
                  <a:cubicBezTo>
                    <a:pt x="1279" y="259"/>
                    <a:pt x="1280" y="262"/>
                    <a:pt x="1279" y="267"/>
                  </a:cubicBezTo>
                  <a:close/>
                  <a:moveTo>
                    <a:pt x="1282" y="260"/>
                  </a:moveTo>
                  <a:cubicBezTo>
                    <a:pt x="1283" y="254"/>
                    <a:pt x="1287" y="263"/>
                    <a:pt x="1293" y="260"/>
                  </a:cubicBezTo>
                  <a:cubicBezTo>
                    <a:pt x="1291" y="268"/>
                    <a:pt x="1287" y="262"/>
                    <a:pt x="1282" y="260"/>
                  </a:cubicBezTo>
                  <a:close/>
                  <a:moveTo>
                    <a:pt x="1312" y="257"/>
                  </a:moveTo>
                  <a:cubicBezTo>
                    <a:pt x="1308" y="258"/>
                    <a:pt x="1310" y="265"/>
                    <a:pt x="1301" y="262"/>
                  </a:cubicBezTo>
                  <a:cubicBezTo>
                    <a:pt x="1300" y="255"/>
                    <a:pt x="1310" y="257"/>
                    <a:pt x="1315" y="255"/>
                  </a:cubicBezTo>
                  <a:cubicBezTo>
                    <a:pt x="1316" y="259"/>
                    <a:pt x="1312" y="260"/>
                    <a:pt x="1312" y="257"/>
                  </a:cubicBezTo>
                  <a:close/>
                  <a:moveTo>
                    <a:pt x="1479" y="238"/>
                  </a:moveTo>
                  <a:cubicBezTo>
                    <a:pt x="1478" y="239"/>
                    <a:pt x="1476" y="232"/>
                    <a:pt x="1474" y="233"/>
                  </a:cubicBezTo>
                  <a:cubicBezTo>
                    <a:pt x="1478" y="225"/>
                    <a:pt x="1481" y="236"/>
                    <a:pt x="1479" y="238"/>
                  </a:cubicBezTo>
                  <a:close/>
                  <a:moveTo>
                    <a:pt x="1448" y="177"/>
                  </a:moveTo>
                  <a:cubicBezTo>
                    <a:pt x="1447" y="180"/>
                    <a:pt x="1445" y="182"/>
                    <a:pt x="1440" y="182"/>
                  </a:cubicBezTo>
                  <a:cubicBezTo>
                    <a:pt x="1438" y="177"/>
                    <a:pt x="1444" y="178"/>
                    <a:pt x="1448" y="177"/>
                  </a:cubicBezTo>
                  <a:close/>
                  <a:moveTo>
                    <a:pt x="1424" y="248"/>
                  </a:moveTo>
                  <a:cubicBezTo>
                    <a:pt x="1429" y="248"/>
                    <a:pt x="1429" y="250"/>
                    <a:pt x="1433" y="251"/>
                  </a:cubicBezTo>
                  <a:cubicBezTo>
                    <a:pt x="1434" y="255"/>
                    <a:pt x="1420" y="254"/>
                    <a:pt x="1424" y="248"/>
                  </a:cubicBezTo>
                  <a:close/>
                  <a:moveTo>
                    <a:pt x="1334" y="259"/>
                  </a:moveTo>
                  <a:cubicBezTo>
                    <a:pt x="1334" y="257"/>
                    <a:pt x="1331" y="258"/>
                    <a:pt x="1329" y="257"/>
                  </a:cubicBezTo>
                  <a:cubicBezTo>
                    <a:pt x="1331" y="252"/>
                    <a:pt x="1344" y="256"/>
                    <a:pt x="1350" y="254"/>
                  </a:cubicBezTo>
                  <a:cubicBezTo>
                    <a:pt x="1347" y="261"/>
                    <a:pt x="1344" y="256"/>
                    <a:pt x="1334" y="259"/>
                  </a:cubicBezTo>
                  <a:close/>
                  <a:moveTo>
                    <a:pt x="1392" y="279"/>
                  </a:moveTo>
                  <a:cubicBezTo>
                    <a:pt x="1392" y="278"/>
                    <a:pt x="1392" y="276"/>
                    <a:pt x="1392" y="275"/>
                  </a:cubicBezTo>
                  <a:cubicBezTo>
                    <a:pt x="1394" y="275"/>
                    <a:pt x="1396" y="275"/>
                    <a:pt x="1397" y="275"/>
                  </a:cubicBezTo>
                  <a:cubicBezTo>
                    <a:pt x="1398" y="276"/>
                    <a:pt x="1398" y="278"/>
                    <a:pt x="1398" y="279"/>
                  </a:cubicBezTo>
                  <a:cubicBezTo>
                    <a:pt x="1396" y="279"/>
                    <a:pt x="1394" y="279"/>
                    <a:pt x="1392" y="279"/>
                  </a:cubicBezTo>
                  <a:close/>
                  <a:moveTo>
                    <a:pt x="1394" y="258"/>
                  </a:moveTo>
                  <a:cubicBezTo>
                    <a:pt x="1394" y="261"/>
                    <a:pt x="1392" y="260"/>
                    <a:pt x="1392" y="258"/>
                  </a:cubicBezTo>
                  <a:cubicBezTo>
                    <a:pt x="1388" y="259"/>
                    <a:pt x="1384" y="259"/>
                    <a:pt x="1383" y="256"/>
                  </a:cubicBezTo>
                  <a:cubicBezTo>
                    <a:pt x="1381" y="258"/>
                    <a:pt x="1376" y="260"/>
                    <a:pt x="1375" y="256"/>
                  </a:cubicBezTo>
                  <a:cubicBezTo>
                    <a:pt x="1373" y="257"/>
                    <a:pt x="1372" y="259"/>
                    <a:pt x="1370" y="259"/>
                  </a:cubicBezTo>
                  <a:cubicBezTo>
                    <a:pt x="1369" y="261"/>
                    <a:pt x="1371" y="261"/>
                    <a:pt x="1373" y="261"/>
                  </a:cubicBezTo>
                  <a:cubicBezTo>
                    <a:pt x="1373" y="267"/>
                    <a:pt x="1365" y="260"/>
                    <a:pt x="1367" y="256"/>
                  </a:cubicBezTo>
                  <a:cubicBezTo>
                    <a:pt x="1362" y="257"/>
                    <a:pt x="1365" y="266"/>
                    <a:pt x="1356" y="264"/>
                  </a:cubicBezTo>
                  <a:cubicBezTo>
                    <a:pt x="1358" y="256"/>
                    <a:pt x="1351" y="256"/>
                    <a:pt x="1356" y="252"/>
                  </a:cubicBezTo>
                  <a:cubicBezTo>
                    <a:pt x="1360" y="249"/>
                    <a:pt x="1366" y="255"/>
                    <a:pt x="1367" y="254"/>
                  </a:cubicBezTo>
                  <a:cubicBezTo>
                    <a:pt x="1367" y="254"/>
                    <a:pt x="1367" y="252"/>
                    <a:pt x="1367" y="252"/>
                  </a:cubicBezTo>
                  <a:cubicBezTo>
                    <a:pt x="1370" y="251"/>
                    <a:pt x="1372" y="254"/>
                    <a:pt x="1372" y="254"/>
                  </a:cubicBezTo>
                  <a:cubicBezTo>
                    <a:pt x="1379" y="253"/>
                    <a:pt x="1377" y="249"/>
                    <a:pt x="1383" y="249"/>
                  </a:cubicBezTo>
                  <a:cubicBezTo>
                    <a:pt x="1383" y="249"/>
                    <a:pt x="1384" y="255"/>
                    <a:pt x="1386" y="254"/>
                  </a:cubicBezTo>
                  <a:cubicBezTo>
                    <a:pt x="1392" y="254"/>
                    <a:pt x="1387" y="245"/>
                    <a:pt x="1389" y="242"/>
                  </a:cubicBezTo>
                  <a:cubicBezTo>
                    <a:pt x="1391" y="243"/>
                    <a:pt x="1393" y="244"/>
                    <a:pt x="1397" y="244"/>
                  </a:cubicBezTo>
                  <a:cubicBezTo>
                    <a:pt x="1396" y="246"/>
                    <a:pt x="1395" y="248"/>
                    <a:pt x="1392" y="249"/>
                  </a:cubicBezTo>
                  <a:cubicBezTo>
                    <a:pt x="1391" y="255"/>
                    <a:pt x="1404" y="247"/>
                    <a:pt x="1400" y="256"/>
                  </a:cubicBezTo>
                  <a:cubicBezTo>
                    <a:pt x="1395" y="255"/>
                    <a:pt x="1390" y="258"/>
                    <a:pt x="1394" y="258"/>
                  </a:cubicBezTo>
                  <a:close/>
                  <a:moveTo>
                    <a:pt x="1405" y="258"/>
                  </a:moveTo>
                  <a:cubicBezTo>
                    <a:pt x="1407" y="258"/>
                    <a:pt x="1409" y="258"/>
                    <a:pt x="1411" y="258"/>
                  </a:cubicBezTo>
                  <a:cubicBezTo>
                    <a:pt x="1412" y="265"/>
                    <a:pt x="1390" y="258"/>
                    <a:pt x="1405" y="258"/>
                  </a:cubicBezTo>
                  <a:close/>
                  <a:moveTo>
                    <a:pt x="1403" y="279"/>
                  </a:moveTo>
                  <a:cubicBezTo>
                    <a:pt x="1403" y="277"/>
                    <a:pt x="1406" y="277"/>
                    <a:pt x="1408" y="277"/>
                  </a:cubicBezTo>
                  <a:cubicBezTo>
                    <a:pt x="1410" y="277"/>
                    <a:pt x="1412" y="277"/>
                    <a:pt x="1414" y="277"/>
                  </a:cubicBezTo>
                  <a:cubicBezTo>
                    <a:pt x="1413" y="280"/>
                    <a:pt x="1407" y="279"/>
                    <a:pt x="1403" y="279"/>
                  </a:cubicBezTo>
                  <a:close/>
                  <a:moveTo>
                    <a:pt x="1416" y="256"/>
                  </a:moveTo>
                  <a:cubicBezTo>
                    <a:pt x="1412" y="256"/>
                    <a:pt x="1407" y="256"/>
                    <a:pt x="1403" y="256"/>
                  </a:cubicBezTo>
                  <a:cubicBezTo>
                    <a:pt x="1401" y="247"/>
                    <a:pt x="1411" y="248"/>
                    <a:pt x="1419" y="248"/>
                  </a:cubicBezTo>
                  <a:cubicBezTo>
                    <a:pt x="1419" y="254"/>
                    <a:pt x="1424" y="256"/>
                    <a:pt x="1419" y="260"/>
                  </a:cubicBezTo>
                  <a:cubicBezTo>
                    <a:pt x="1416" y="260"/>
                    <a:pt x="1417" y="257"/>
                    <a:pt x="1416" y="256"/>
                  </a:cubicBezTo>
                  <a:close/>
                  <a:moveTo>
                    <a:pt x="1418" y="352"/>
                  </a:moveTo>
                  <a:cubicBezTo>
                    <a:pt x="1417" y="348"/>
                    <a:pt x="1423" y="346"/>
                    <a:pt x="1418" y="345"/>
                  </a:cubicBezTo>
                  <a:cubicBezTo>
                    <a:pt x="1420" y="342"/>
                    <a:pt x="1424" y="342"/>
                    <a:pt x="1423" y="338"/>
                  </a:cubicBezTo>
                  <a:cubicBezTo>
                    <a:pt x="1428" y="340"/>
                    <a:pt x="1430" y="344"/>
                    <a:pt x="1426" y="347"/>
                  </a:cubicBezTo>
                  <a:cubicBezTo>
                    <a:pt x="1427" y="352"/>
                    <a:pt x="1433" y="344"/>
                    <a:pt x="1440" y="347"/>
                  </a:cubicBezTo>
                  <a:cubicBezTo>
                    <a:pt x="1439" y="354"/>
                    <a:pt x="1426" y="351"/>
                    <a:pt x="1418" y="352"/>
                  </a:cubicBezTo>
                  <a:close/>
                  <a:moveTo>
                    <a:pt x="1433" y="281"/>
                  </a:moveTo>
                  <a:cubicBezTo>
                    <a:pt x="1435" y="277"/>
                    <a:pt x="1438" y="281"/>
                    <a:pt x="1441" y="281"/>
                  </a:cubicBezTo>
                  <a:cubicBezTo>
                    <a:pt x="1440" y="285"/>
                    <a:pt x="1437" y="281"/>
                    <a:pt x="1433" y="281"/>
                  </a:cubicBezTo>
                  <a:close/>
                  <a:moveTo>
                    <a:pt x="1438" y="250"/>
                  </a:moveTo>
                  <a:cubicBezTo>
                    <a:pt x="1435" y="241"/>
                    <a:pt x="1455" y="254"/>
                    <a:pt x="1452" y="241"/>
                  </a:cubicBezTo>
                  <a:cubicBezTo>
                    <a:pt x="1457" y="241"/>
                    <a:pt x="1454" y="249"/>
                    <a:pt x="1460" y="248"/>
                  </a:cubicBezTo>
                  <a:cubicBezTo>
                    <a:pt x="1459" y="250"/>
                    <a:pt x="1439" y="253"/>
                    <a:pt x="1438" y="250"/>
                  </a:cubicBezTo>
                  <a:close/>
                  <a:moveTo>
                    <a:pt x="1456" y="330"/>
                  </a:moveTo>
                  <a:cubicBezTo>
                    <a:pt x="1459" y="331"/>
                    <a:pt x="1462" y="333"/>
                    <a:pt x="1462" y="337"/>
                  </a:cubicBezTo>
                  <a:cubicBezTo>
                    <a:pt x="1458" y="336"/>
                    <a:pt x="1456" y="334"/>
                    <a:pt x="1456" y="330"/>
                  </a:cubicBezTo>
                  <a:close/>
                  <a:moveTo>
                    <a:pt x="1485" y="250"/>
                  </a:moveTo>
                  <a:cubicBezTo>
                    <a:pt x="1485" y="251"/>
                    <a:pt x="1485" y="253"/>
                    <a:pt x="1485" y="254"/>
                  </a:cubicBezTo>
                  <a:cubicBezTo>
                    <a:pt x="1482" y="254"/>
                    <a:pt x="1483" y="251"/>
                    <a:pt x="1482" y="250"/>
                  </a:cubicBezTo>
                  <a:cubicBezTo>
                    <a:pt x="1477" y="251"/>
                    <a:pt x="1466" y="247"/>
                    <a:pt x="1466" y="252"/>
                  </a:cubicBezTo>
                  <a:cubicBezTo>
                    <a:pt x="1462" y="252"/>
                    <a:pt x="1463" y="246"/>
                    <a:pt x="1463" y="243"/>
                  </a:cubicBezTo>
                  <a:cubicBezTo>
                    <a:pt x="1468" y="244"/>
                    <a:pt x="1471" y="242"/>
                    <a:pt x="1471" y="238"/>
                  </a:cubicBezTo>
                  <a:cubicBezTo>
                    <a:pt x="1476" y="242"/>
                    <a:pt x="1478" y="248"/>
                    <a:pt x="1487" y="247"/>
                  </a:cubicBezTo>
                  <a:cubicBezTo>
                    <a:pt x="1488" y="249"/>
                    <a:pt x="1486" y="249"/>
                    <a:pt x="1485" y="250"/>
                  </a:cubicBezTo>
                  <a:close/>
                  <a:moveTo>
                    <a:pt x="1493" y="233"/>
                  </a:moveTo>
                  <a:cubicBezTo>
                    <a:pt x="1505" y="234"/>
                    <a:pt x="1490" y="247"/>
                    <a:pt x="1493" y="233"/>
                  </a:cubicBezTo>
                  <a:close/>
                  <a:moveTo>
                    <a:pt x="1529" y="251"/>
                  </a:moveTo>
                  <a:cubicBezTo>
                    <a:pt x="1523" y="254"/>
                    <a:pt x="1525" y="247"/>
                    <a:pt x="1523" y="247"/>
                  </a:cubicBezTo>
                  <a:cubicBezTo>
                    <a:pt x="1516" y="244"/>
                    <a:pt x="1502" y="249"/>
                    <a:pt x="1493" y="247"/>
                  </a:cubicBezTo>
                  <a:cubicBezTo>
                    <a:pt x="1492" y="243"/>
                    <a:pt x="1499" y="246"/>
                    <a:pt x="1501" y="245"/>
                  </a:cubicBezTo>
                  <a:cubicBezTo>
                    <a:pt x="1504" y="242"/>
                    <a:pt x="1505" y="245"/>
                    <a:pt x="1512" y="242"/>
                  </a:cubicBezTo>
                  <a:cubicBezTo>
                    <a:pt x="1513" y="242"/>
                    <a:pt x="1517" y="243"/>
                    <a:pt x="1518" y="242"/>
                  </a:cubicBezTo>
                  <a:cubicBezTo>
                    <a:pt x="1519" y="240"/>
                    <a:pt x="1519" y="240"/>
                    <a:pt x="1520" y="242"/>
                  </a:cubicBezTo>
                  <a:cubicBezTo>
                    <a:pt x="1525" y="242"/>
                    <a:pt x="1526" y="239"/>
                    <a:pt x="1531" y="239"/>
                  </a:cubicBezTo>
                  <a:cubicBezTo>
                    <a:pt x="1532" y="245"/>
                    <a:pt x="1526" y="245"/>
                    <a:pt x="1529" y="251"/>
                  </a:cubicBezTo>
                  <a:close/>
                  <a:moveTo>
                    <a:pt x="1606" y="125"/>
                  </a:moveTo>
                  <a:cubicBezTo>
                    <a:pt x="1608" y="119"/>
                    <a:pt x="1609" y="131"/>
                    <a:pt x="1609" y="132"/>
                  </a:cubicBezTo>
                  <a:cubicBezTo>
                    <a:pt x="1608" y="137"/>
                    <a:pt x="1604" y="134"/>
                    <a:pt x="1606" y="125"/>
                  </a:cubicBezTo>
                  <a:close/>
                  <a:moveTo>
                    <a:pt x="1536" y="181"/>
                  </a:moveTo>
                  <a:cubicBezTo>
                    <a:pt x="1539" y="181"/>
                    <a:pt x="1541" y="180"/>
                    <a:pt x="1544" y="180"/>
                  </a:cubicBezTo>
                  <a:cubicBezTo>
                    <a:pt x="1546" y="182"/>
                    <a:pt x="1547" y="178"/>
                    <a:pt x="1547" y="178"/>
                  </a:cubicBezTo>
                  <a:cubicBezTo>
                    <a:pt x="1560" y="181"/>
                    <a:pt x="1525" y="188"/>
                    <a:pt x="1536" y="181"/>
                  </a:cubicBezTo>
                  <a:close/>
                  <a:moveTo>
                    <a:pt x="1566" y="340"/>
                  </a:moveTo>
                  <a:cubicBezTo>
                    <a:pt x="1566" y="338"/>
                    <a:pt x="1566" y="337"/>
                    <a:pt x="1566" y="335"/>
                  </a:cubicBezTo>
                  <a:cubicBezTo>
                    <a:pt x="1571" y="334"/>
                    <a:pt x="1574" y="335"/>
                    <a:pt x="1574" y="340"/>
                  </a:cubicBezTo>
                  <a:cubicBezTo>
                    <a:pt x="1571" y="340"/>
                    <a:pt x="1569" y="340"/>
                    <a:pt x="1566" y="340"/>
                  </a:cubicBezTo>
                  <a:close/>
                  <a:moveTo>
                    <a:pt x="1582" y="342"/>
                  </a:moveTo>
                  <a:cubicBezTo>
                    <a:pt x="1581" y="343"/>
                    <a:pt x="1574" y="336"/>
                    <a:pt x="1580" y="333"/>
                  </a:cubicBezTo>
                  <a:cubicBezTo>
                    <a:pt x="1582" y="332"/>
                    <a:pt x="1584" y="340"/>
                    <a:pt x="1582" y="342"/>
                  </a:cubicBezTo>
                  <a:close/>
                  <a:moveTo>
                    <a:pt x="1573" y="248"/>
                  </a:moveTo>
                  <a:cubicBezTo>
                    <a:pt x="1569" y="250"/>
                    <a:pt x="1569" y="237"/>
                    <a:pt x="1564" y="241"/>
                  </a:cubicBezTo>
                  <a:cubicBezTo>
                    <a:pt x="1564" y="241"/>
                    <a:pt x="1565" y="243"/>
                    <a:pt x="1564" y="244"/>
                  </a:cubicBezTo>
                  <a:cubicBezTo>
                    <a:pt x="1559" y="245"/>
                    <a:pt x="1545" y="243"/>
                    <a:pt x="1537" y="244"/>
                  </a:cubicBezTo>
                  <a:cubicBezTo>
                    <a:pt x="1537" y="236"/>
                    <a:pt x="1545" y="242"/>
                    <a:pt x="1548" y="241"/>
                  </a:cubicBezTo>
                  <a:cubicBezTo>
                    <a:pt x="1550" y="241"/>
                    <a:pt x="1550" y="239"/>
                    <a:pt x="1551" y="239"/>
                  </a:cubicBezTo>
                  <a:cubicBezTo>
                    <a:pt x="1553" y="239"/>
                    <a:pt x="1557" y="243"/>
                    <a:pt x="1556" y="237"/>
                  </a:cubicBezTo>
                  <a:cubicBezTo>
                    <a:pt x="1558" y="238"/>
                    <a:pt x="1559" y="238"/>
                    <a:pt x="1561" y="239"/>
                  </a:cubicBezTo>
                  <a:cubicBezTo>
                    <a:pt x="1562" y="239"/>
                    <a:pt x="1566" y="238"/>
                    <a:pt x="1567" y="239"/>
                  </a:cubicBezTo>
                  <a:cubicBezTo>
                    <a:pt x="1569" y="241"/>
                    <a:pt x="1568" y="240"/>
                    <a:pt x="1578" y="239"/>
                  </a:cubicBezTo>
                  <a:cubicBezTo>
                    <a:pt x="1580" y="238"/>
                    <a:pt x="1588" y="240"/>
                    <a:pt x="1589" y="238"/>
                  </a:cubicBezTo>
                  <a:cubicBezTo>
                    <a:pt x="1592" y="235"/>
                    <a:pt x="1589" y="239"/>
                    <a:pt x="1600" y="238"/>
                  </a:cubicBezTo>
                  <a:cubicBezTo>
                    <a:pt x="1605" y="238"/>
                    <a:pt x="1606" y="236"/>
                    <a:pt x="1611" y="236"/>
                  </a:cubicBezTo>
                  <a:cubicBezTo>
                    <a:pt x="1613" y="249"/>
                    <a:pt x="1568" y="231"/>
                    <a:pt x="1573" y="248"/>
                  </a:cubicBezTo>
                  <a:close/>
                  <a:moveTo>
                    <a:pt x="1593" y="337"/>
                  </a:moveTo>
                  <a:cubicBezTo>
                    <a:pt x="1596" y="328"/>
                    <a:pt x="1599" y="337"/>
                    <a:pt x="1604" y="337"/>
                  </a:cubicBezTo>
                  <a:cubicBezTo>
                    <a:pt x="1606" y="337"/>
                    <a:pt x="1609" y="333"/>
                    <a:pt x="1612" y="334"/>
                  </a:cubicBezTo>
                  <a:cubicBezTo>
                    <a:pt x="1610" y="343"/>
                    <a:pt x="1601" y="336"/>
                    <a:pt x="1593" y="337"/>
                  </a:cubicBezTo>
                  <a:close/>
                  <a:moveTo>
                    <a:pt x="1619" y="238"/>
                  </a:moveTo>
                  <a:cubicBezTo>
                    <a:pt x="1618" y="242"/>
                    <a:pt x="1626" y="239"/>
                    <a:pt x="1627" y="240"/>
                  </a:cubicBezTo>
                  <a:cubicBezTo>
                    <a:pt x="1630" y="244"/>
                    <a:pt x="1618" y="241"/>
                    <a:pt x="1619" y="247"/>
                  </a:cubicBezTo>
                  <a:cubicBezTo>
                    <a:pt x="1615" y="245"/>
                    <a:pt x="1616" y="237"/>
                    <a:pt x="1613" y="233"/>
                  </a:cubicBezTo>
                  <a:cubicBezTo>
                    <a:pt x="1618" y="237"/>
                    <a:pt x="1623" y="231"/>
                    <a:pt x="1633" y="233"/>
                  </a:cubicBezTo>
                  <a:cubicBezTo>
                    <a:pt x="1636" y="241"/>
                    <a:pt x="1624" y="237"/>
                    <a:pt x="1619" y="238"/>
                  </a:cubicBezTo>
                  <a:close/>
                  <a:moveTo>
                    <a:pt x="1642" y="320"/>
                  </a:moveTo>
                  <a:cubicBezTo>
                    <a:pt x="1644" y="319"/>
                    <a:pt x="1647" y="313"/>
                    <a:pt x="1648" y="313"/>
                  </a:cubicBezTo>
                  <a:cubicBezTo>
                    <a:pt x="1651" y="312"/>
                    <a:pt x="1651" y="320"/>
                    <a:pt x="1642" y="320"/>
                  </a:cubicBezTo>
                  <a:close/>
                  <a:moveTo>
                    <a:pt x="1644" y="249"/>
                  </a:moveTo>
                  <a:cubicBezTo>
                    <a:pt x="1652" y="240"/>
                    <a:pt x="1653" y="256"/>
                    <a:pt x="1644" y="249"/>
                  </a:cubicBezTo>
                  <a:close/>
                  <a:moveTo>
                    <a:pt x="1638" y="245"/>
                  </a:moveTo>
                  <a:cubicBezTo>
                    <a:pt x="1634" y="243"/>
                    <a:pt x="1638" y="242"/>
                    <a:pt x="1641" y="242"/>
                  </a:cubicBezTo>
                  <a:cubicBezTo>
                    <a:pt x="1642" y="238"/>
                    <a:pt x="1638" y="237"/>
                    <a:pt x="1638" y="240"/>
                  </a:cubicBezTo>
                  <a:cubicBezTo>
                    <a:pt x="1637" y="241"/>
                    <a:pt x="1635" y="236"/>
                    <a:pt x="1635" y="235"/>
                  </a:cubicBezTo>
                  <a:cubicBezTo>
                    <a:pt x="1636" y="234"/>
                    <a:pt x="1640" y="236"/>
                    <a:pt x="1641" y="235"/>
                  </a:cubicBezTo>
                  <a:cubicBezTo>
                    <a:pt x="1642" y="235"/>
                    <a:pt x="1640" y="231"/>
                    <a:pt x="1641" y="230"/>
                  </a:cubicBezTo>
                  <a:cubicBezTo>
                    <a:pt x="1644" y="229"/>
                    <a:pt x="1643" y="235"/>
                    <a:pt x="1644" y="235"/>
                  </a:cubicBezTo>
                  <a:cubicBezTo>
                    <a:pt x="1644" y="236"/>
                    <a:pt x="1650" y="232"/>
                    <a:pt x="1652" y="235"/>
                  </a:cubicBezTo>
                  <a:cubicBezTo>
                    <a:pt x="1649" y="238"/>
                    <a:pt x="1637" y="240"/>
                    <a:pt x="1652" y="240"/>
                  </a:cubicBezTo>
                  <a:cubicBezTo>
                    <a:pt x="1648" y="247"/>
                    <a:pt x="1643" y="241"/>
                    <a:pt x="1638" y="245"/>
                  </a:cubicBezTo>
                  <a:close/>
                  <a:moveTo>
                    <a:pt x="1739" y="203"/>
                  </a:moveTo>
                  <a:cubicBezTo>
                    <a:pt x="1739" y="206"/>
                    <a:pt x="1731" y="204"/>
                    <a:pt x="1731" y="208"/>
                  </a:cubicBezTo>
                  <a:cubicBezTo>
                    <a:pt x="1722" y="205"/>
                    <a:pt x="1734" y="201"/>
                    <a:pt x="1739" y="203"/>
                  </a:cubicBezTo>
                  <a:close/>
                  <a:moveTo>
                    <a:pt x="1656" y="331"/>
                  </a:moveTo>
                  <a:cubicBezTo>
                    <a:pt x="1656" y="330"/>
                    <a:pt x="1656" y="328"/>
                    <a:pt x="1656" y="327"/>
                  </a:cubicBezTo>
                  <a:cubicBezTo>
                    <a:pt x="1660" y="326"/>
                    <a:pt x="1664" y="326"/>
                    <a:pt x="1667" y="326"/>
                  </a:cubicBezTo>
                  <a:cubicBezTo>
                    <a:pt x="1670" y="333"/>
                    <a:pt x="1661" y="331"/>
                    <a:pt x="1656" y="331"/>
                  </a:cubicBezTo>
                  <a:close/>
                  <a:moveTo>
                    <a:pt x="1662" y="315"/>
                  </a:moveTo>
                  <a:cubicBezTo>
                    <a:pt x="1663" y="315"/>
                    <a:pt x="1665" y="315"/>
                    <a:pt x="1667" y="315"/>
                  </a:cubicBezTo>
                  <a:cubicBezTo>
                    <a:pt x="1668" y="321"/>
                    <a:pt x="1647" y="314"/>
                    <a:pt x="1662" y="315"/>
                  </a:cubicBezTo>
                  <a:close/>
                  <a:moveTo>
                    <a:pt x="1669" y="289"/>
                  </a:moveTo>
                  <a:cubicBezTo>
                    <a:pt x="1662" y="297"/>
                    <a:pt x="1652" y="284"/>
                    <a:pt x="1669" y="289"/>
                  </a:cubicBezTo>
                  <a:close/>
                  <a:moveTo>
                    <a:pt x="1663" y="268"/>
                  </a:moveTo>
                  <a:cubicBezTo>
                    <a:pt x="1664" y="268"/>
                    <a:pt x="1666" y="263"/>
                    <a:pt x="1666" y="263"/>
                  </a:cubicBezTo>
                  <a:cubicBezTo>
                    <a:pt x="1666" y="263"/>
                    <a:pt x="1666" y="261"/>
                    <a:pt x="1666" y="261"/>
                  </a:cubicBezTo>
                  <a:cubicBezTo>
                    <a:pt x="1676" y="259"/>
                    <a:pt x="1667" y="271"/>
                    <a:pt x="1663" y="268"/>
                  </a:cubicBezTo>
                  <a:close/>
                  <a:moveTo>
                    <a:pt x="1697" y="293"/>
                  </a:moveTo>
                  <a:cubicBezTo>
                    <a:pt x="1695" y="297"/>
                    <a:pt x="1694" y="292"/>
                    <a:pt x="1694" y="288"/>
                  </a:cubicBezTo>
                  <a:cubicBezTo>
                    <a:pt x="1686" y="285"/>
                    <a:pt x="1700" y="286"/>
                    <a:pt x="1697" y="293"/>
                  </a:cubicBezTo>
                  <a:close/>
                  <a:moveTo>
                    <a:pt x="1705" y="269"/>
                  </a:moveTo>
                  <a:cubicBezTo>
                    <a:pt x="1700" y="269"/>
                    <a:pt x="1698" y="265"/>
                    <a:pt x="1699" y="260"/>
                  </a:cubicBezTo>
                  <a:cubicBezTo>
                    <a:pt x="1704" y="260"/>
                    <a:pt x="1705" y="264"/>
                    <a:pt x="1705" y="269"/>
                  </a:cubicBezTo>
                  <a:close/>
                  <a:moveTo>
                    <a:pt x="1718" y="269"/>
                  </a:moveTo>
                  <a:cubicBezTo>
                    <a:pt x="1713" y="268"/>
                    <a:pt x="1716" y="260"/>
                    <a:pt x="1710" y="260"/>
                  </a:cubicBezTo>
                  <a:cubicBezTo>
                    <a:pt x="1710" y="257"/>
                    <a:pt x="1715" y="258"/>
                    <a:pt x="1718" y="257"/>
                  </a:cubicBezTo>
                  <a:cubicBezTo>
                    <a:pt x="1717" y="265"/>
                    <a:pt x="1723" y="264"/>
                    <a:pt x="1718" y="269"/>
                  </a:cubicBezTo>
                  <a:close/>
                  <a:moveTo>
                    <a:pt x="1718" y="238"/>
                  </a:moveTo>
                  <a:cubicBezTo>
                    <a:pt x="1720" y="234"/>
                    <a:pt x="1726" y="233"/>
                    <a:pt x="1734" y="234"/>
                  </a:cubicBezTo>
                  <a:cubicBezTo>
                    <a:pt x="1731" y="237"/>
                    <a:pt x="1725" y="238"/>
                    <a:pt x="1718" y="238"/>
                  </a:cubicBezTo>
                  <a:close/>
                  <a:moveTo>
                    <a:pt x="1738" y="309"/>
                  </a:moveTo>
                  <a:cubicBezTo>
                    <a:pt x="1739" y="306"/>
                    <a:pt x="1742" y="304"/>
                    <a:pt x="1746" y="304"/>
                  </a:cubicBezTo>
                  <a:cubicBezTo>
                    <a:pt x="1745" y="307"/>
                    <a:pt x="1743" y="309"/>
                    <a:pt x="1738" y="309"/>
                  </a:cubicBezTo>
                  <a:close/>
                  <a:moveTo>
                    <a:pt x="1747" y="318"/>
                  </a:moveTo>
                  <a:cubicBezTo>
                    <a:pt x="1747" y="316"/>
                    <a:pt x="1747" y="315"/>
                    <a:pt x="1747" y="313"/>
                  </a:cubicBezTo>
                  <a:cubicBezTo>
                    <a:pt x="1748" y="313"/>
                    <a:pt x="1750" y="313"/>
                    <a:pt x="1752" y="313"/>
                  </a:cubicBezTo>
                  <a:cubicBezTo>
                    <a:pt x="1752" y="315"/>
                    <a:pt x="1752" y="316"/>
                    <a:pt x="1752" y="318"/>
                  </a:cubicBezTo>
                  <a:cubicBezTo>
                    <a:pt x="1750" y="318"/>
                    <a:pt x="1748" y="318"/>
                    <a:pt x="1747" y="318"/>
                  </a:cubicBezTo>
                  <a:close/>
                  <a:moveTo>
                    <a:pt x="1745" y="236"/>
                  </a:moveTo>
                  <a:cubicBezTo>
                    <a:pt x="1752" y="231"/>
                    <a:pt x="1741" y="225"/>
                    <a:pt x="1740" y="233"/>
                  </a:cubicBezTo>
                  <a:cubicBezTo>
                    <a:pt x="1733" y="231"/>
                    <a:pt x="1714" y="229"/>
                    <a:pt x="1712" y="234"/>
                  </a:cubicBezTo>
                  <a:cubicBezTo>
                    <a:pt x="1712" y="234"/>
                    <a:pt x="1713" y="239"/>
                    <a:pt x="1712" y="239"/>
                  </a:cubicBezTo>
                  <a:cubicBezTo>
                    <a:pt x="1708" y="239"/>
                    <a:pt x="1712" y="233"/>
                    <a:pt x="1709" y="232"/>
                  </a:cubicBezTo>
                  <a:cubicBezTo>
                    <a:pt x="1705" y="230"/>
                    <a:pt x="1701" y="234"/>
                    <a:pt x="1699" y="234"/>
                  </a:cubicBezTo>
                  <a:cubicBezTo>
                    <a:pt x="1694" y="235"/>
                    <a:pt x="1683" y="231"/>
                    <a:pt x="1685" y="239"/>
                  </a:cubicBezTo>
                  <a:cubicBezTo>
                    <a:pt x="1683" y="237"/>
                    <a:pt x="1677" y="236"/>
                    <a:pt x="1677" y="239"/>
                  </a:cubicBezTo>
                  <a:cubicBezTo>
                    <a:pt x="1674" y="239"/>
                    <a:pt x="1675" y="237"/>
                    <a:pt x="1677" y="237"/>
                  </a:cubicBezTo>
                  <a:cubicBezTo>
                    <a:pt x="1678" y="235"/>
                    <a:pt x="1670" y="233"/>
                    <a:pt x="1668" y="235"/>
                  </a:cubicBezTo>
                  <a:cubicBezTo>
                    <a:pt x="1665" y="237"/>
                    <a:pt x="1667" y="234"/>
                    <a:pt x="1663" y="235"/>
                  </a:cubicBezTo>
                  <a:cubicBezTo>
                    <a:pt x="1660" y="235"/>
                    <a:pt x="1658" y="235"/>
                    <a:pt x="1657" y="237"/>
                  </a:cubicBezTo>
                  <a:cubicBezTo>
                    <a:pt x="1653" y="236"/>
                    <a:pt x="1659" y="234"/>
                    <a:pt x="1657" y="230"/>
                  </a:cubicBezTo>
                  <a:cubicBezTo>
                    <a:pt x="1660" y="229"/>
                    <a:pt x="1660" y="232"/>
                    <a:pt x="1660" y="232"/>
                  </a:cubicBezTo>
                  <a:cubicBezTo>
                    <a:pt x="1663" y="233"/>
                    <a:pt x="1663" y="230"/>
                    <a:pt x="1663" y="230"/>
                  </a:cubicBezTo>
                  <a:cubicBezTo>
                    <a:pt x="1666" y="230"/>
                    <a:pt x="1669" y="233"/>
                    <a:pt x="1671" y="232"/>
                  </a:cubicBezTo>
                  <a:cubicBezTo>
                    <a:pt x="1675" y="231"/>
                    <a:pt x="1680" y="223"/>
                    <a:pt x="1687" y="230"/>
                  </a:cubicBezTo>
                  <a:cubicBezTo>
                    <a:pt x="1691" y="229"/>
                    <a:pt x="1690" y="225"/>
                    <a:pt x="1690" y="223"/>
                  </a:cubicBezTo>
                  <a:cubicBezTo>
                    <a:pt x="1696" y="223"/>
                    <a:pt x="1699" y="222"/>
                    <a:pt x="1698" y="218"/>
                  </a:cubicBezTo>
                  <a:cubicBezTo>
                    <a:pt x="1707" y="219"/>
                    <a:pt x="1704" y="228"/>
                    <a:pt x="1693" y="225"/>
                  </a:cubicBezTo>
                  <a:cubicBezTo>
                    <a:pt x="1692" y="229"/>
                    <a:pt x="1696" y="229"/>
                    <a:pt x="1696" y="232"/>
                  </a:cubicBezTo>
                  <a:cubicBezTo>
                    <a:pt x="1699" y="233"/>
                    <a:pt x="1697" y="228"/>
                    <a:pt x="1698" y="227"/>
                  </a:cubicBezTo>
                  <a:cubicBezTo>
                    <a:pt x="1701" y="226"/>
                    <a:pt x="1701" y="229"/>
                    <a:pt x="1701" y="229"/>
                  </a:cubicBezTo>
                  <a:cubicBezTo>
                    <a:pt x="1701" y="229"/>
                    <a:pt x="1710" y="227"/>
                    <a:pt x="1712" y="227"/>
                  </a:cubicBezTo>
                  <a:cubicBezTo>
                    <a:pt x="1714" y="226"/>
                    <a:pt x="1719" y="222"/>
                    <a:pt x="1720" y="229"/>
                  </a:cubicBezTo>
                  <a:cubicBezTo>
                    <a:pt x="1723" y="230"/>
                    <a:pt x="1722" y="225"/>
                    <a:pt x="1723" y="224"/>
                  </a:cubicBezTo>
                  <a:cubicBezTo>
                    <a:pt x="1734" y="222"/>
                    <a:pt x="1746" y="228"/>
                    <a:pt x="1756" y="224"/>
                  </a:cubicBezTo>
                  <a:cubicBezTo>
                    <a:pt x="1754" y="229"/>
                    <a:pt x="1753" y="235"/>
                    <a:pt x="1745" y="236"/>
                  </a:cubicBezTo>
                  <a:close/>
                  <a:moveTo>
                    <a:pt x="1753" y="186"/>
                  </a:moveTo>
                  <a:cubicBezTo>
                    <a:pt x="1755" y="187"/>
                    <a:pt x="1755" y="189"/>
                    <a:pt x="1758" y="188"/>
                  </a:cubicBezTo>
                  <a:cubicBezTo>
                    <a:pt x="1758" y="194"/>
                    <a:pt x="1745" y="191"/>
                    <a:pt x="1753" y="186"/>
                  </a:cubicBezTo>
                  <a:close/>
                  <a:moveTo>
                    <a:pt x="1831" y="110"/>
                  </a:moveTo>
                  <a:cubicBezTo>
                    <a:pt x="1831" y="108"/>
                    <a:pt x="1831" y="107"/>
                    <a:pt x="1831" y="105"/>
                  </a:cubicBezTo>
                  <a:cubicBezTo>
                    <a:pt x="1837" y="104"/>
                    <a:pt x="1832" y="113"/>
                    <a:pt x="1834" y="117"/>
                  </a:cubicBezTo>
                  <a:cubicBezTo>
                    <a:pt x="1831" y="115"/>
                    <a:pt x="1829" y="114"/>
                    <a:pt x="1828" y="117"/>
                  </a:cubicBezTo>
                  <a:cubicBezTo>
                    <a:pt x="1819" y="115"/>
                    <a:pt x="1831" y="112"/>
                    <a:pt x="1831" y="110"/>
                  </a:cubicBezTo>
                  <a:close/>
                  <a:moveTo>
                    <a:pt x="1792" y="230"/>
                  </a:moveTo>
                  <a:cubicBezTo>
                    <a:pt x="1789" y="237"/>
                    <a:pt x="1781" y="233"/>
                    <a:pt x="1775" y="233"/>
                  </a:cubicBezTo>
                  <a:cubicBezTo>
                    <a:pt x="1776" y="228"/>
                    <a:pt x="1787" y="232"/>
                    <a:pt x="1792" y="230"/>
                  </a:cubicBezTo>
                  <a:close/>
                  <a:moveTo>
                    <a:pt x="1779" y="259"/>
                  </a:moveTo>
                  <a:cubicBezTo>
                    <a:pt x="1776" y="258"/>
                    <a:pt x="1776" y="256"/>
                    <a:pt x="1773" y="256"/>
                  </a:cubicBezTo>
                  <a:cubicBezTo>
                    <a:pt x="1773" y="255"/>
                    <a:pt x="1773" y="253"/>
                    <a:pt x="1773" y="252"/>
                  </a:cubicBezTo>
                  <a:cubicBezTo>
                    <a:pt x="1779" y="250"/>
                    <a:pt x="1778" y="255"/>
                    <a:pt x="1779" y="259"/>
                  </a:cubicBezTo>
                  <a:close/>
                  <a:moveTo>
                    <a:pt x="1771" y="310"/>
                  </a:moveTo>
                  <a:cubicBezTo>
                    <a:pt x="1777" y="309"/>
                    <a:pt x="1775" y="315"/>
                    <a:pt x="1780" y="315"/>
                  </a:cubicBezTo>
                  <a:cubicBezTo>
                    <a:pt x="1780" y="319"/>
                    <a:pt x="1769" y="315"/>
                    <a:pt x="1771" y="310"/>
                  </a:cubicBezTo>
                  <a:close/>
                  <a:moveTo>
                    <a:pt x="1790" y="280"/>
                  </a:moveTo>
                  <a:cubicBezTo>
                    <a:pt x="1788" y="283"/>
                    <a:pt x="1792" y="288"/>
                    <a:pt x="1785" y="287"/>
                  </a:cubicBezTo>
                  <a:cubicBezTo>
                    <a:pt x="1789" y="283"/>
                    <a:pt x="1786" y="274"/>
                    <a:pt x="1795" y="275"/>
                  </a:cubicBezTo>
                  <a:cubicBezTo>
                    <a:pt x="1796" y="278"/>
                    <a:pt x="1791" y="278"/>
                    <a:pt x="1790" y="280"/>
                  </a:cubicBezTo>
                  <a:close/>
                  <a:moveTo>
                    <a:pt x="1789" y="226"/>
                  </a:moveTo>
                  <a:cubicBezTo>
                    <a:pt x="1787" y="225"/>
                    <a:pt x="1786" y="226"/>
                    <a:pt x="1786" y="228"/>
                  </a:cubicBezTo>
                  <a:cubicBezTo>
                    <a:pt x="1784" y="228"/>
                    <a:pt x="1784" y="225"/>
                    <a:pt x="1783" y="223"/>
                  </a:cubicBezTo>
                  <a:cubicBezTo>
                    <a:pt x="1785" y="223"/>
                    <a:pt x="1787" y="223"/>
                    <a:pt x="1789" y="223"/>
                  </a:cubicBezTo>
                  <a:cubicBezTo>
                    <a:pt x="1787" y="218"/>
                    <a:pt x="1781" y="219"/>
                    <a:pt x="1786" y="214"/>
                  </a:cubicBezTo>
                  <a:cubicBezTo>
                    <a:pt x="1791" y="214"/>
                    <a:pt x="1792" y="218"/>
                    <a:pt x="1792" y="223"/>
                  </a:cubicBezTo>
                  <a:cubicBezTo>
                    <a:pt x="1798" y="219"/>
                    <a:pt x="1803" y="224"/>
                    <a:pt x="1805" y="221"/>
                  </a:cubicBezTo>
                  <a:cubicBezTo>
                    <a:pt x="1809" y="222"/>
                    <a:pt x="1807" y="224"/>
                    <a:pt x="1805" y="225"/>
                  </a:cubicBezTo>
                  <a:cubicBezTo>
                    <a:pt x="1799" y="229"/>
                    <a:pt x="1799" y="225"/>
                    <a:pt x="1789" y="226"/>
                  </a:cubicBezTo>
                  <a:close/>
                  <a:moveTo>
                    <a:pt x="1800" y="235"/>
                  </a:moveTo>
                  <a:cubicBezTo>
                    <a:pt x="1792" y="232"/>
                    <a:pt x="1806" y="225"/>
                    <a:pt x="1808" y="230"/>
                  </a:cubicBezTo>
                  <a:cubicBezTo>
                    <a:pt x="1808" y="233"/>
                    <a:pt x="1800" y="231"/>
                    <a:pt x="1800" y="235"/>
                  </a:cubicBezTo>
                  <a:close/>
                  <a:moveTo>
                    <a:pt x="1812" y="314"/>
                  </a:moveTo>
                  <a:cubicBezTo>
                    <a:pt x="1808" y="312"/>
                    <a:pt x="1806" y="308"/>
                    <a:pt x="1810" y="305"/>
                  </a:cubicBezTo>
                  <a:cubicBezTo>
                    <a:pt x="1814" y="307"/>
                    <a:pt x="1816" y="311"/>
                    <a:pt x="1812" y="314"/>
                  </a:cubicBezTo>
                  <a:close/>
                  <a:moveTo>
                    <a:pt x="1811" y="258"/>
                  </a:moveTo>
                  <a:cubicBezTo>
                    <a:pt x="1811" y="256"/>
                    <a:pt x="1811" y="255"/>
                    <a:pt x="1811" y="253"/>
                  </a:cubicBezTo>
                  <a:cubicBezTo>
                    <a:pt x="1817" y="252"/>
                    <a:pt x="1817" y="257"/>
                    <a:pt x="1817" y="260"/>
                  </a:cubicBezTo>
                  <a:cubicBezTo>
                    <a:pt x="1815" y="260"/>
                    <a:pt x="1814" y="258"/>
                    <a:pt x="1811" y="258"/>
                  </a:cubicBezTo>
                  <a:close/>
                  <a:moveTo>
                    <a:pt x="1822" y="225"/>
                  </a:moveTo>
                  <a:cubicBezTo>
                    <a:pt x="1819" y="225"/>
                    <a:pt x="1816" y="225"/>
                    <a:pt x="1814" y="225"/>
                  </a:cubicBezTo>
                  <a:cubicBezTo>
                    <a:pt x="1816" y="218"/>
                    <a:pt x="1810" y="219"/>
                    <a:pt x="1811" y="213"/>
                  </a:cubicBezTo>
                  <a:cubicBezTo>
                    <a:pt x="1815" y="212"/>
                    <a:pt x="1823" y="218"/>
                    <a:pt x="1816" y="218"/>
                  </a:cubicBezTo>
                  <a:cubicBezTo>
                    <a:pt x="1818" y="220"/>
                    <a:pt x="1823" y="220"/>
                    <a:pt x="1822" y="225"/>
                  </a:cubicBezTo>
                  <a:close/>
                  <a:moveTo>
                    <a:pt x="1815" y="155"/>
                  </a:moveTo>
                  <a:cubicBezTo>
                    <a:pt x="1817" y="153"/>
                    <a:pt x="1818" y="151"/>
                    <a:pt x="1818" y="147"/>
                  </a:cubicBezTo>
                  <a:cubicBezTo>
                    <a:pt x="1821" y="148"/>
                    <a:pt x="1822" y="152"/>
                    <a:pt x="1826" y="152"/>
                  </a:cubicBezTo>
                  <a:cubicBezTo>
                    <a:pt x="1825" y="155"/>
                    <a:pt x="1819" y="154"/>
                    <a:pt x="1815" y="155"/>
                  </a:cubicBezTo>
                  <a:close/>
                  <a:moveTo>
                    <a:pt x="1829" y="147"/>
                  </a:moveTo>
                  <a:cubicBezTo>
                    <a:pt x="1832" y="148"/>
                    <a:pt x="1831" y="152"/>
                    <a:pt x="1834" y="152"/>
                  </a:cubicBezTo>
                  <a:cubicBezTo>
                    <a:pt x="1833" y="158"/>
                    <a:pt x="1826" y="152"/>
                    <a:pt x="1829" y="147"/>
                  </a:cubicBezTo>
                  <a:close/>
                  <a:moveTo>
                    <a:pt x="1830" y="229"/>
                  </a:moveTo>
                  <a:cubicBezTo>
                    <a:pt x="1826" y="225"/>
                    <a:pt x="1830" y="226"/>
                    <a:pt x="1830" y="220"/>
                  </a:cubicBezTo>
                  <a:cubicBezTo>
                    <a:pt x="1835" y="220"/>
                    <a:pt x="1837" y="224"/>
                    <a:pt x="1838" y="220"/>
                  </a:cubicBezTo>
                  <a:cubicBezTo>
                    <a:pt x="1843" y="220"/>
                    <a:pt x="1836" y="230"/>
                    <a:pt x="1830" y="229"/>
                  </a:cubicBezTo>
                  <a:close/>
                  <a:moveTo>
                    <a:pt x="1850" y="137"/>
                  </a:moveTo>
                  <a:cubicBezTo>
                    <a:pt x="1850" y="140"/>
                    <a:pt x="1845" y="139"/>
                    <a:pt x="1845" y="142"/>
                  </a:cubicBezTo>
                  <a:cubicBezTo>
                    <a:pt x="1842" y="142"/>
                    <a:pt x="1843" y="139"/>
                    <a:pt x="1842" y="138"/>
                  </a:cubicBezTo>
                  <a:cubicBezTo>
                    <a:pt x="1846" y="135"/>
                    <a:pt x="1847" y="137"/>
                    <a:pt x="1850" y="137"/>
                  </a:cubicBezTo>
                  <a:close/>
                  <a:moveTo>
                    <a:pt x="1845" y="154"/>
                  </a:moveTo>
                  <a:cubicBezTo>
                    <a:pt x="1844" y="154"/>
                    <a:pt x="1842" y="151"/>
                    <a:pt x="1843" y="149"/>
                  </a:cubicBezTo>
                  <a:cubicBezTo>
                    <a:pt x="1846" y="141"/>
                    <a:pt x="1848" y="154"/>
                    <a:pt x="1845" y="154"/>
                  </a:cubicBezTo>
                  <a:close/>
                  <a:moveTo>
                    <a:pt x="1841" y="227"/>
                  </a:moveTo>
                  <a:cubicBezTo>
                    <a:pt x="1840" y="223"/>
                    <a:pt x="1847" y="224"/>
                    <a:pt x="1849" y="222"/>
                  </a:cubicBezTo>
                  <a:cubicBezTo>
                    <a:pt x="1855" y="217"/>
                    <a:pt x="1850" y="226"/>
                    <a:pt x="1841" y="227"/>
                  </a:cubicBezTo>
                  <a:close/>
                  <a:moveTo>
                    <a:pt x="1855" y="220"/>
                  </a:moveTo>
                  <a:cubicBezTo>
                    <a:pt x="1864" y="221"/>
                    <a:pt x="1851" y="235"/>
                    <a:pt x="1858" y="234"/>
                  </a:cubicBezTo>
                  <a:cubicBezTo>
                    <a:pt x="1848" y="244"/>
                    <a:pt x="1856" y="220"/>
                    <a:pt x="1852" y="229"/>
                  </a:cubicBezTo>
                  <a:cubicBezTo>
                    <a:pt x="1844" y="227"/>
                    <a:pt x="1858" y="225"/>
                    <a:pt x="1855" y="220"/>
                  </a:cubicBezTo>
                  <a:close/>
                  <a:moveTo>
                    <a:pt x="1853" y="255"/>
                  </a:moveTo>
                  <a:cubicBezTo>
                    <a:pt x="1849" y="254"/>
                    <a:pt x="1850" y="249"/>
                    <a:pt x="1850" y="246"/>
                  </a:cubicBezTo>
                  <a:cubicBezTo>
                    <a:pt x="1856" y="246"/>
                    <a:pt x="1856" y="252"/>
                    <a:pt x="1853" y="255"/>
                  </a:cubicBezTo>
                  <a:close/>
                  <a:moveTo>
                    <a:pt x="1859" y="309"/>
                  </a:moveTo>
                  <a:cubicBezTo>
                    <a:pt x="1856" y="308"/>
                    <a:pt x="1857" y="304"/>
                    <a:pt x="1853" y="304"/>
                  </a:cubicBezTo>
                  <a:cubicBezTo>
                    <a:pt x="1854" y="302"/>
                    <a:pt x="1858" y="302"/>
                    <a:pt x="1862" y="302"/>
                  </a:cubicBezTo>
                  <a:cubicBezTo>
                    <a:pt x="1862" y="306"/>
                    <a:pt x="1859" y="306"/>
                    <a:pt x="1859" y="309"/>
                  </a:cubicBezTo>
                  <a:close/>
                  <a:moveTo>
                    <a:pt x="1848" y="154"/>
                  </a:moveTo>
                  <a:cubicBezTo>
                    <a:pt x="1849" y="150"/>
                    <a:pt x="1852" y="148"/>
                    <a:pt x="1853" y="144"/>
                  </a:cubicBezTo>
                  <a:cubicBezTo>
                    <a:pt x="1857" y="145"/>
                    <a:pt x="1860" y="149"/>
                    <a:pt x="1856" y="149"/>
                  </a:cubicBezTo>
                  <a:cubicBezTo>
                    <a:pt x="1856" y="151"/>
                    <a:pt x="1860" y="151"/>
                    <a:pt x="1862" y="151"/>
                  </a:cubicBezTo>
                  <a:cubicBezTo>
                    <a:pt x="1871" y="154"/>
                    <a:pt x="1852" y="154"/>
                    <a:pt x="1848" y="154"/>
                  </a:cubicBezTo>
                  <a:close/>
                  <a:moveTo>
                    <a:pt x="1928" y="178"/>
                  </a:moveTo>
                  <a:cubicBezTo>
                    <a:pt x="1929" y="177"/>
                    <a:pt x="1931" y="176"/>
                    <a:pt x="1931" y="174"/>
                  </a:cubicBezTo>
                  <a:cubicBezTo>
                    <a:pt x="1933" y="174"/>
                    <a:pt x="1934" y="174"/>
                    <a:pt x="1936" y="174"/>
                  </a:cubicBezTo>
                  <a:cubicBezTo>
                    <a:pt x="1938" y="179"/>
                    <a:pt x="1932" y="178"/>
                    <a:pt x="1928" y="178"/>
                  </a:cubicBezTo>
                  <a:close/>
                  <a:moveTo>
                    <a:pt x="1930" y="138"/>
                  </a:moveTo>
                  <a:cubicBezTo>
                    <a:pt x="1937" y="141"/>
                    <a:pt x="1932" y="154"/>
                    <a:pt x="1922" y="150"/>
                  </a:cubicBezTo>
                  <a:cubicBezTo>
                    <a:pt x="1919" y="142"/>
                    <a:pt x="1928" y="143"/>
                    <a:pt x="1930" y="138"/>
                  </a:cubicBezTo>
                  <a:close/>
                  <a:moveTo>
                    <a:pt x="1920" y="193"/>
                  </a:moveTo>
                  <a:cubicBezTo>
                    <a:pt x="1929" y="190"/>
                    <a:pt x="1922" y="200"/>
                    <a:pt x="1931" y="197"/>
                  </a:cubicBezTo>
                  <a:cubicBezTo>
                    <a:pt x="1930" y="202"/>
                    <a:pt x="1918" y="198"/>
                    <a:pt x="1920" y="193"/>
                  </a:cubicBezTo>
                  <a:close/>
                  <a:moveTo>
                    <a:pt x="1892" y="144"/>
                  </a:moveTo>
                  <a:cubicBezTo>
                    <a:pt x="1896" y="145"/>
                    <a:pt x="1894" y="147"/>
                    <a:pt x="1892" y="149"/>
                  </a:cubicBezTo>
                  <a:cubicBezTo>
                    <a:pt x="1887" y="152"/>
                    <a:pt x="1885" y="151"/>
                    <a:pt x="1892" y="144"/>
                  </a:cubicBezTo>
                  <a:close/>
                  <a:moveTo>
                    <a:pt x="1875" y="123"/>
                  </a:moveTo>
                  <a:cubicBezTo>
                    <a:pt x="1878" y="124"/>
                    <a:pt x="1877" y="128"/>
                    <a:pt x="1881" y="128"/>
                  </a:cubicBezTo>
                  <a:cubicBezTo>
                    <a:pt x="1880" y="130"/>
                    <a:pt x="1877" y="129"/>
                    <a:pt x="1875" y="130"/>
                  </a:cubicBezTo>
                  <a:cubicBezTo>
                    <a:pt x="1872" y="127"/>
                    <a:pt x="1874" y="126"/>
                    <a:pt x="1875" y="123"/>
                  </a:cubicBezTo>
                  <a:close/>
                  <a:moveTo>
                    <a:pt x="1867" y="147"/>
                  </a:moveTo>
                  <a:cubicBezTo>
                    <a:pt x="1869" y="138"/>
                    <a:pt x="1883" y="151"/>
                    <a:pt x="1883" y="144"/>
                  </a:cubicBezTo>
                  <a:cubicBezTo>
                    <a:pt x="1880" y="141"/>
                    <a:pt x="1883" y="143"/>
                    <a:pt x="1886" y="144"/>
                  </a:cubicBezTo>
                  <a:cubicBezTo>
                    <a:pt x="1882" y="147"/>
                    <a:pt x="1883" y="155"/>
                    <a:pt x="1873" y="154"/>
                  </a:cubicBezTo>
                  <a:cubicBezTo>
                    <a:pt x="1874" y="149"/>
                    <a:pt x="1872" y="146"/>
                    <a:pt x="1867" y="147"/>
                  </a:cubicBezTo>
                  <a:close/>
                  <a:moveTo>
                    <a:pt x="1877" y="229"/>
                  </a:moveTo>
                  <a:cubicBezTo>
                    <a:pt x="1878" y="231"/>
                    <a:pt x="1880" y="232"/>
                    <a:pt x="1880" y="236"/>
                  </a:cubicBezTo>
                  <a:cubicBezTo>
                    <a:pt x="1877" y="236"/>
                    <a:pt x="1874" y="236"/>
                    <a:pt x="1871" y="236"/>
                  </a:cubicBezTo>
                  <a:cubicBezTo>
                    <a:pt x="1874" y="234"/>
                    <a:pt x="1874" y="230"/>
                    <a:pt x="1874" y="226"/>
                  </a:cubicBezTo>
                  <a:cubicBezTo>
                    <a:pt x="1877" y="226"/>
                    <a:pt x="1879" y="226"/>
                    <a:pt x="1882" y="226"/>
                  </a:cubicBezTo>
                  <a:cubicBezTo>
                    <a:pt x="1887" y="228"/>
                    <a:pt x="1881" y="229"/>
                    <a:pt x="1877" y="229"/>
                  </a:cubicBezTo>
                  <a:close/>
                  <a:moveTo>
                    <a:pt x="1884" y="182"/>
                  </a:moveTo>
                  <a:cubicBezTo>
                    <a:pt x="1881" y="170"/>
                    <a:pt x="1883" y="167"/>
                    <a:pt x="1881" y="156"/>
                  </a:cubicBezTo>
                  <a:cubicBezTo>
                    <a:pt x="1884" y="155"/>
                    <a:pt x="1886" y="156"/>
                    <a:pt x="1886" y="158"/>
                  </a:cubicBezTo>
                  <a:cubicBezTo>
                    <a:pt x="1887" y="161"/>
                    <a:pt x="1892" y="160"/>
                    <a:pt x="1892" y="163"/>
                  </a:cubicBezTo>
                  <a:cubicBezTo>
                    <a:pt x="1894" y="168"/>
                    <a:pt x="1887" y="166"/>
                    <a:pt x="1887" y="170"/>
                  </a:cubicBezTo>
                  <a:cubicBezTo>
                    <a:pt x="1886" y="174"/>
                    <a:pt x="1889" y="174"/>
                    <a:pt x="1892" y="174"/>
                  </a:cubicBezTo>
                  <a:cubicBezTo>
                    <a:pt x="1892" y="178"/>
                    <a:pt x="1881" y="179"/>
                    <a:pt x="1892" y="179"/>
                  </a:cubicBezTo>
                  <a:cubicBezTo>
                    <a:pt x="1893" y="181"/>
                    <a:pt x="1891" y="181"/>
                    <a:pt x="1890" y="181"/>
                  </a:cubicBezTo>
                  <a:cubicBezTo>
                    <a:pt x="1888" y="181"/>
                    <a:pt x="1886" y="181"/>
                    <a:pt x="1884" y="182"/>
                  </a:cubicBezTo>
                  <a:close/>
                  <a:moveTo>
                    <a:pt x="1888" y="238"/>
                  </a:moveTo>
                  <a:cubicBezTo>
                    <a:pt x="1888" y="236"/>
                    <a:pt x="1888" y="235"/>
                    <a:pt x="1888" y="233"/>
                  </a:cubicBezTo>
                  <a:cubicBezTo>
                    <a:pt x="1890" y="233"/>
                    <a:pt x="1892" y="233"/>
                    <a:pt x="1893" y="233"/>
                  </a:cubicBezTo>
                  <a:cubicBezTo>
                    <a:pt x="1893" y="235"/>
                    <a:pt x="1893" y="236"/>
                    <a:pt x="1893" y="238"/>
                  </a:cubicBezTo>
                  <a:cubicBezTo>
                    <a:pt x="1892" y="238"/>
                    <a:pt x="1890" y="238"/>
                    <a:pt x="1888" y="238"/>
                  </a:cubicBezTo>
                  <a:close/>
                  <a:moveTo>
                    <a:pt x="1888" y="228"/>
                  </a:moveTo>
                  <a:cubicBezTo>
                    <a:pt x="1889" y="225"/>
                    <a:pt x="1894" y="224"/>
                    <a:pt x="1899" y="224"/>
                  </a:cubicBezTo>
                  <a:cubicBezTo>
                    <a:pt x="1901" y="231"/>
                    <a:pt x="1893" y="228"/>
                    <a:pt x="1888" y="228"/>
                  </a:cubicBezTo>
                  <a:close/>
                  <a:moveTo>
                    <a:pt x="1900" y="151"/>
                  </a:moveTo>
                  <a:cubicBezTo>
                    <a:pt x="1896" y="152"/>
                    <a:pt x="1898" y="157"/>
                    <a:pt x="1897" y="160"/>
                  </a:cubicBezTo>
                  <a:cubicBezTo>
                    <a:pt x="1890" y="154"/>
                    <a:pt x="1894" y="148"/>
                    <a:pt x="1900" y="144"/>
                  </a:cubicBezTo>
                  <a:cubicBezTo>
                    <a:pt x="1905" y="143"/>
                    <a:pt x="1905" y="145"/>
                    <a:pt x="1906" y="148"/>
                  </a:cubicBezTo>
                  <a:cubicBezTo>
                    <a:pt x="1910" y="146"/>
                    <a:pt x="1911" y="141"/>
                    <a:pt x="1919" y="141"/>
                  </a:cubicBezTo>
                  <a:cubicBezTo>
                    <a:pt x="1921" y="148"/>
                    <a:pt x="1912" y="147"/>
                    <a:pt x="1911" y="153"/>
                  </a:cubicBezTo>
                  <a:cubicBezTo>
                    <a:pt x="1914" y="155"/>
                    <a:pt x="1912" y="162"/>
                    <a:pt x="1919" y="160"/>
                  </a:cubicBezTo>
                  <a:cubicBezTo>
                    <a:pt x="1919" y="168"/>
                    <a:pt x="1910" y="155"/>
                    <a:pt x="1911" y="162"/>
                  </a:cubicBezTo>
                  <a:cubicBezTo>
                    <a:pt x="1900" y="162"/>
                    <a:pt x="1915" y="150"/>
                    <a:pt x="1900" y="151"/>
                  </a:cubicBezTo>
                  <a:close/>
                  <a:moveTo>
                    <a:pt x="1908" y="310"/>
                  </a:moveTo>
                  <a:cubicBezTo>
                    <a:pt x="1909" y="307"/>
                    <a:pt x="1913" y="307"/>
                    <a:pt x="1914" y="303"/>
                  </a:cubicBezTo>
                  <a:cubicBezTo>
                    <a:pt x="1921" y="304"/>
                    <a:pt x="1914" y="312"/>
                    <a:pt x="1908" y="310"/>
                  </a:cubicBezTo>
                  <a:close/>
                  <a:moveTo>
                    <a:pt x="1915" y="235"/>
                  </a:moveTo>
                  <a:cubicBezTo>
                    <a:pt x="1917" y="233"/>
                    <a:pt x="1920" y="231"/>
                    <a:pt x="1923" y="230"/>
                  </a:cubicBezTo>
                  <a:cubicBezTo>
                    <a:pt x="1923" y="227"/>
                    <a:pt x="1917" y="228"/>
                    <a:pt x="1912" y="228"/>
                  </a:cubicBezTo>
                  <a:cubicBezTo>
                    <a:pt x="1919" y="222"/>
                    <a:pt x="1906" y="222"/>
                    <a:pt x="1909" y="212"/>
                  </a:cubicBezTo>
                  <a:cubicBezTo>
                    <a:pt x="1918" y="212"/>
                    <a:pt x="1913" y="223"/>
                    <a:pt x="1918" y="226"/>
                  </a:cubicBezTo>
                  <a:cubicBezTo>
                    <a:pt x="1923" y="224"/>
                    <a:pt x="1923" y="218"/>
                    <a:pt x="1929" y="223"/>
                  </a:cubicBezTo>
                  <a:cubicBezTo>
                    <a:pt x="1928" y="232"/>
                    <a:pt x="1922" y="232"/>
                    <a:pt x="1926" y="240"/>
                  </a:cubicBezTo>
                  <a:cubicBezTo>
                    <a:pt x="1922" y="239"/>
                    <a:pt x="1924" y="232"/>
                    <a:pt x="1915" y="235"/>
                  </a:cubicBezTo>
                  <a:close/>
                  <a:moveTo>
                    <a:pt x="1930" y="287"/>
                  </a:moveTo>
                  <a:cubicBezTo>
                    <a:pt x="1923" y="294"/>
                    <a:pt x="1917" y="280"/>
                    <a:pt x="1930" y="287"/>
                  </a:cubicBezTo>
                  <a:close/>
                  <a:moveTo>
                    <a:pt x="1918" y="219"/>
                  </a:moveTo>
                  <a:cubicBezTo>
                    <a:pt x="1915" y="212"/>
                    <a:pt x="1924" y="214"/>
                    <a:pt x="1929" y="214"/>
                  </a:cubicBezTo>
                  <a:cubicBezTo>
                    <a:pt x="1929" y="210"/>
                    <a:pt x="1926" y="208"/>
                    <a:pt x="1923" y="207"/>
                  </a:cubicBezTo>
                  <a:cubicBezTo>
                    <a:pt x="1923" y="204"/>
                    <a:pt x="1928" y="205"/>
                    <a:pt x="1931" y="204"/>
                  </a:cubicBezTo>
                  <a:cubicBezTo>
                    <a:pt x="1930" y="209"/>
                    <a:pt x="1933" y="210"/>
                    <a:pt x="1934" y="214"/>
                  </a:cubicBezTo>
                  <a:cubicBezTo>
                    <a:pt x="1936" y="216"/>
                    <a:pt x="1940" y="216"/>
                    <a:pt x="1940" y="221"/>
                  </a:cubicBezTo>
                  <a:cubicBezTo>
                    <a:pt x="1936" y="217"/>
                    <a:pt x="1926" y="219"/>
                    <a:pt x="1918" y="219"/>
                  </a:cubicBezTo>
                  <a:close/>
                  <a:moveTo>
                    <a:pt x="1943" y="258"/>
                  </a:moveTo>
                  <a:cubicBezTo>
                    <a:pt x="1938" y="258"/>
                    <a:pt x="1937" y="254"/>
                    <a:pt x="1937" y="249"/>
                  </a:cubicBezTo>
                  <a:cubicBezTo>
                    <a:pt x="1946" y="246"/>
                    <a:pt x="1942" y="254"/>
                    <a:pt x="1943" y="258"/>
                  </a:cubicBezTo>
                  <a:close/>
                  <a:moveTo>
                    <a:pt x="1945" y="216"/>
                  </a:moveTo>
                  <a:cubicBezTo>
                    <a:pt x="1947" y="214"/>
                    <a:pt x="1948" y="212"/>
                    <a:pt x="1948" y="209"/>
                  </a:cubicBezTo>
                  <a:cubicBezTo>
                    <a:pt x="1951" y="209"/>
                    <a:pt x="1950" y="213"/>
                    <a:pt x="1953" y="213"/>
                  </a:cubicBezTo>
                  <a:cubicBezTo>
                    <a:pt x="1954" y="215"/>
                    <a:pt x="1952" y="215"/>
                    <a:pt x="1951" y="216"/>
                  </a:cubicBezTo>
                  <a:cubicBezTo>
                    <a:pt x="1949" y="216"/>
                    <a:pt x="1947" y="216"/>
                    <a:pt x="1945" y="216"/>
                  </a:cubicBezTo>
                  <a:close/>
                  <a:moveTo>
                    <a:pt x="1948" y="225"/>
                  </a:moveTo>
                  <a:cubicBezTo>
                    <a:pt x="1948" y="224"/>
                    <a:pt x="1948" y="222"/>
                    <a:pt x="1948" y="220"/>
                  </a:cubicBezTo>
                  <a:cubicBezTo>
                    <a:pt x="1953" y="220"/>
                    <a:pt x="1957" y="221"/>
                    <a:pt x="1956" y="225"/>
                  </a:cubicBezTo>
                  <a:cubicBezTo>
                    <a:pt x="1954" y="225"/>
                    <a:pt x="1951" y="225"/>
                    <a:pt x="1948" y="225"/>
                  </a:cubicBezTo>
                  <a:close/>
                  <a:moveTo>
                    <a:pt x="2054" y="169"/>
                  </a:moveTo>
                  <a:cubicBezTo>
                    <a:pt x="2050" y="171"/>
                    <a:pt x="2055" y="181"/>
                    <a:pt x="2046" y="179"/>
                  </a:cubicBezTo>
                  <a:cubicBezTo>
                    <a:pt x="2045" y="173"/>
                    <a:pt x="2047" y="169"/>
                    <a:pt x="2054" y="169"/>
                  </a:cubicBezTo>
                  <a:close/>
                  <a:moveTo>
                    <a:pt x="1985" y="145"/>
                  </a:moveTo>
                  <a:cubicBezTo>
                    <a:pt x="1984" y="151"/>
                    <a:pt x="1981" y="141"/>
                    <a:pt x="1977" y="142"/>
                  </a:cubicBezTo>
                  <a:cubicBezTo>
                    <a:pt x="1979" y="135"/>
                    <a:pt x="1982" y="145"/>
                    <a:pt x="1985" y="145"/>
                  </a:cubicBezTo>
                  <a:close/>
                  <a:moveTo>
                    <a:pt x="1985" y="274"/>
                  </a:moveTo>
                  <a:cubicBezTo>
                    <a:pt x="1984" y="278"/>
                    <a:pt x="1981" y="272"/>
                    <a:pt x="1982" y="269"/>
                  </a:cubicBezTo>
                  <a:cubicBezTo>
                    <a:pt x="1983" y="265"/>
                    <a:pt x="1985" y="271"/>
                    <a:pt x="1985" y="274"/>
                  </a:cubicBezTo>
                  <a:close/>
                  <a:moveTo>
                    <a:pt x="1979" y="255"/>
                  </a:moveTo>
                  <a:cubicBezTo>
                    <a:pt x="1978" y="250"/>
                    <a:pt x="1981" y="248"/>
                    <a:pt x="1987" y="248"/>
                  </a:cubicBezTo>
                  <a:cubicBezTo>
                    <a:pt x="1984" y="250"/>
                    <a:pt x="1986" y="257"/>
                    <a:pt x="1979" y="255"/>
                  </a:cubicBezTo>
                  <a:close/>
                  <a:moveTo>
                    <a:pt x="1998" y="252"/>
                  </a:moveTo>
                  <a:cubicBezTo>
                    <a:pt x="1993" y="260"/>
                    <a:pt x="1990" y="247"/>
                    <a:pt x="1990" y="243"/>
                  </a:cubicBezTo>
                  <a:cubicBezTo>
                    <a:pt x="1993" y="243"/>
                    <a:pt x="1991" y="241"/>
                    <a:pt x="1989" y="241"/>
                  </a:cubicBezTo>
                  <a:cubicBezTo>
                    <a:pt x="1989" y="239"/>
                    <a:pt x="1991" y="239"/>
                    <a:pt x="1992" y="238"/>
                  </a:cubicBezTo>
                  <a:cubicBezTo>
                    <a:pt x="1994" y="238"/>
                    <a:pt x="1996" y="238"/>
                    <a:pt x="1998" y="238"/>
                  </a:cubicBezTo>
                  <a:cubicBezTo>
                    <a:pt x="2001" y="245"/>
                    <a:pt x="1993" y="252"/>
                    <a:pt x="1998" y="252"/>
                  </a:cubicBezTo>
                  <a:close/>
                  <a:moveTo>
                    <a:pt x="1999" y="285"/>
                  </a:moveTo>
                  <a:cubicBezTo>
                    <a:pt x="2002" y="279"/>
                    <a:pt x="2005" y="276"/>
                    <a:pt x="2001" y="269"/>
                  </a:cubicBezTo>
                  <a:cubicBezTo>
                    <a:pt x="2009" y="268"/>
                    <a:pt x="2004" y="278"/>
                    <a:pt x="2009" y="278"/>
                  </a:cubicBezTo>
                  <a:cubicBezTo>
                    <a:pt x="2009" y="281"/>
                    <a:pt x="2007" y="279"/>
                    <a:pt x="2007" y="278"/>
                  </a:cubicBezTo>
                  <a:cubicBezTo>
                    <a:pt x="2000" y="277"/>
                    <a:pt x="2008" y="289"/>
                    <a:pt x="1999" y="285"/>
                  </a:cubicBezTo>
                  <a:close/>
                  <a:moveTo>
                    <a:pt x="2001" y="297"/>
                  </a:moveTo>
                  <a:cubicBezTo>
                    <a:pt x="2005" y="293"/>
                    <a:pt x="2007" y="288"/>
                    <a:pt x="2015" y="287"/>
                  </a:cubicBezTo>
                  <a:cubicBezTo>
                    <a:pt x="2012" y="291"/>
                    <a:pt x="2009" y="297"/>
                    <a:pt x="2001" y="297"/>
                  </a:cubicBezTo>
                  <a:close/>
                  <a:moveTo>
                    <a:pt x="2017" y="266"/>
                  </a:moveTo>
                  <a:cubicBezTo>
                    <a:pt x="2018" y="261"/>
                    <a:pt x="2025" y="261"/>
                    <a:pt x="2028" y="264"/>
                  </a:cubicBezTo>
                  <a:cubicBezTo>
                    <a:pt x="2028" y="267"/>
                    <a:pt x="2021" y="266"/>
                    <a:pt x="2017" y="266"/>
                  </a:cubicBezTo>
                  <a:close/>
                  <a:moveTo>
                    <a:pt x="2042" y="254"/>
                  </a:moveTo>
                  <a:cubicBezTo>
                    <a:pt x="2042" y="252"/>
                    <a:pt x="2042" y="251"/>
                    <a:pt x="2042" y="249"/>
                  </a:cubicBezTo>
                  <a:cubicBezTo>
                    <a:pt x="2044" y="249"/>
                    <a:pt x="2045" y="249"/>
                    <a:pt x="2047" y="249"/>
                  </a:cubicBezTo>
                  <a:cubicBezTo>
                    <a:pt x="2047" y="251"/>
                    <a:pt x="2047" y="252"/>
                    <a:pt x="2047" y="254"/>
                  </a:cubicBezTo>
                  <a:cubicBezTo>
                    <a:pt x="2046" y="254"/>
                    <a:pt x="2044" y="254"/>
                    <a:pt x="2042" y="254"/>
                  </a:cubicBezTo>
                  <a:close/>
                  <a:moveTo>
                    <a:pt x="2044" y="221"/>
                  </a:moveTo>
                  <a:cubicBezTo>
                    <a:pt x="2044" y="219"/>
                    <a:pt x="2044" y="216"/>
                    <a:pt x="2044" y="214"/>
                  </a:cubicBezTo>
                  <a:cubicBezTo>
                    <a:pt x="2038" y="213"/>
                    <a:pt x="2039" y="217"/>
                    <a:pt x="2039" y="221"/>
                  </a:cubicBezTo>
                  <a:cubicBezTo>
                    <a:pt x="2034" y="222"/>
                    <a:pt x="2025" y="219"/>
                    <a:pt x="2028" y="226"/>
                  </a:cubicBezTo>
                  <a:cubicBezTo>
                    <a:pt x="2018" y="222"/>
                    <a:pt x="2031" y="219"/>
                    <a:pt x="2033" y="217"/>
                  </a:cubicBezTo>
                  <a:cubicBezTo>
                    <a:pt x="2032" y="211"/>
                    <a:pt x="2021" y="216"/>
                    <a:pt x="2016" y="214"/>
                  </a:cubicBezTo>
                  <a:cubicBezTo>
                    <a:pt x="2013" y="222"/>
                    <a:pt x="2025" y="216"/>
                    <a:pt x="2022" y="224"/>
                  </a:cubicBezTo>
                  <a:cubicBezTo>
                    <a:pt x="2018" y="224"/>
                    <a:pt x="2014" y="224"/>
                    <a:pt x="2014" y="226"/>
                  </a:cubicBezTo>
                  <a:cubicBezTo>
                    <a:pt x="2011" y="226"/>
                    <a:pt x="2012" y="222"/>
                    <a:pt x="2008" y="222"/>
                  </a:cubicBezTo>
                  <a:cubicBezTo>
                    <a:pt x="2001" y="221"/>
                    <a:pt x="2016" y="231"/>
                    <a:pt x="2003" y="229"/>
                  </a:cubicBezTo>
                  <a:cubicBezTo>
                    <a:pt x="2001" y="236"/>
                    <a:pt x="2007" y="235"/>
                    <a:pt x="2006" y="241"/>
                  </a:cubicBezTo>
                  <a:cubicBezTo>
                    <a:pt x="1999" y="239"/>
                    <a:pt x="1997" y="231"/>
                    <a:pt x="2000" y="227"/>
                  </a:cubicBezTo>
                  <a:cubicBezTo>
                    <a:pt x="2001" y="226"/>
                    <a:pt x="2006" y="227"/>
                    <a:pt x="2006" y="226"/>
                  </a:cubicBezTo>
                  <a:cubicBezTo>
                    <a:pt x="2006" y="224"/>
                    <a:pt x="1999" y="222"/>
                    <a:pt x="2006" y="217"/>
                  </a:cubicBezTo>
                  <a:cubicBezTo>
                    <a:pt x="2005" y="214"/>
                    <a:pt x="1999" y="215"/>
                    <a:pt x="1994" y="215"/>
                  </a:cubicBezTo>
                  <a:cubicBezTo>
                    <a:pt x="1987" y="217"/>
                    <a:pt x="1992" y="218"/>
                    <a:pt x="1992" y="224"/>
                  </a:cubicBezTo>
                  <a:cubicBezTo>
                    <a:pt x="1983" y="227"/>
                    <a:pt x="1988" y="217"/>
                    <a:pt x="1984" y="215"/>
                  </a:cubicBezTo>
                  <a:cubicBezTo>
                    <a:pt x="1976" y="215"/>
                    <a:pt x="1980" y="222"/>
                    <a:pt x="1978" y="225"/>
                  </a:cubicBezTo>
                  <a:cubicBezTo>
                    <a:pt x="1978" y="225"/>
                    <a:pt x="1973" y="224"/>
                    <a:pt x="1973" y="225"/>
                  </a:cubicBezTo>
                  <a:cubicBezTo>
                    <a:pt x="1971" y="226"/>
                    <a:pt x="1974" y="230"/>
                    <a:pt x="1973" y="232"/>
                  </a:cubicBezTo>
                  <a:cubicBezTo>
                    <a:pt x="1967" y="230"/>
                    <a:pt x="1967" y="228"/>
                    <a:pt x="1970" y="225"/>
                  </a:cubicBezTo>
                  <a:cubicBezTo>
                    <a:pt x="1965" y="224"/>
                    <a:pt x="1965" y="227"/>
                    <a:pt x="1965" y="230"/>
                  </a:cubicBezTo>
                  <a:cubicBezTo>
                    <a:pt x="1961" y="229"/>
                    <a:pt x="1962" y="224"/>
                    <a:pt x="1962" y="220"/>
                  </a:cubicBezTo>
                  <a:cubicBezTo>
                    <a:pt x="1966" y="220"/>
                    <a:pt x="1971" y="220"/>
                    <a:pt x="1975" y="220"/>
                  </a:cubicBezTo>
                  <a:cubicBezTo>
                    <a:pt x="1976" y="214"/>
                    <a:pt x="1960" y="222"/>
                    <a:pt x="1964" y="213"/>
                  </a:cubicBezTo>
                  <a:cubicBezTo>
                    <a:pt x="1974" y="212"/>
                    <a:pt x="1988" y="216"/>
                    <a:pt x="1986" y="206"/>
                  </a:cubicBezTo>
                  <a:cubicBezTo>
                    <a:pt x="1992" y="205"/>
                    <a:pt x="1995" y="207"/>
                    <a:pt x="1994" y="213"/>
                  </a:cubicBezTo>
                  <a:cubicBezTo>
                    <a:pt x="2004" y="211"/>
                    <a:pt x="2003" y="210"/>
                    <a:pt x="2011" y="212"/>
                  </a:cubicBezTo>
                  <a:cubicBezTo>
                    <a:pt x="2015" y="211"/>
                    <a:pt x="2010" y="209"/>
                    <a:pt x="2011" y="205"/>
                  </a:cubicBezTo>
                  <a:cubicBezTo>
                    <a:pt x="2018" y="204"/>
                    <a:pt x="2021" y="206"/>
                    <a:pt x="2019" y="212"/>
                  </a:cubicBezTo>
                  <a:cubicBezTo>
                    <a:pt x="2024" y="212"/>
                    <a:pt x="2026" y="210"/>
                    <a:pt x="2027" y="207"/>
                  </a:cubicBezTo>
                  <a:cubicBezTo>
                    <a:pt x="2031" y="208"/>
                    <a:pt x="2032" y="211"/>
                    <a:pt x="2036" y="212"/>
                  </a:cubicBezTo>
                  <a:cubicBezTo>
                    <a:pt x="2039" y="212"/>
                    <a:pt x="2037" y="210"/>
                    <a:pt x="2038" y="209"/>
                  </a:cubicBezTo>
                  <a:cubicBezTo>
                    <a:pt x="2041" y="209"/>
                    <a:pt x="2045" y="214"/>
                    <a:pt x="2047" y="207"/>
                  </a:cubicBezTo>
                  <a:cubicBezTo>
                    <a:pt x="2051" y="208"/>
                    <a:pt x="2049" y="214"/>
                    <a:pt x="2058" y="211"/>
                  </a:cubicBezTo>
                  <a:cubicBezTo>
                    <a:pt x="2066" y="214"/>
                    <a:pt x="2050" y="214"/>
                    <a:pt x="2047" y="214"/>
                  </a:cubicBezTo>
                  <a:cubicBezTo>
                    <a:pt x="2047" y="220"/>
                    <a:pt x="2057" y="218"/>
                    <a:pt x="2060" y="221"/>
                  </a:cubicBezTo>
                  <a:cubicBezTo>
                    <a:pt x="2057" y="225"/>
                    <a:pt x="2054" y="221"/>
                    <a:pt x="2044" y="221"/>
                  </a:cubicBezTo>
                  <a:close/>
                  <a:moveTo>
                    <a:pt x="2063" y="221"/>
                  </a:moveTo>
                  <a:cubicBezTo>
                    <a:pt x="2063" y="218"/>
                    <a:pt x="2067" y="219"/>
                    <a:pt x="2069" y="218"/>
                  </a:cubicBezTo>
                  <a:cubicBezTo>
                    <a:pt x="2069" y="214"/>
                    <a:pt x="2069" y="210"/>
                    <a:pt x="2068" y="207"/>
                  </a:cubicBezTo>
                  <a:cubicBezTo>
                    <a:pt x="2080" y="203"/>
                    <a:pt x="2069" y="219"/>
                    <a:pt x="2077" y="218"/>
                  </a:cubicBezTo>
                  <a:cubicBezTo>
                    <a:pt x="2077" y="223"/>
                    <a:pt x="2067" y="219"/>
                    <a:pt x="2063" y="221"/>
                  </a:cubicBezTo>
                  <a:close/>
                  <a:moveTo>
                    <a:pt x="2074" y="239"/>
                  </a:moveTo>
                  <a:cubicBezTo>
                    <a:pt x="2073" y="239"/>
                    <a:pt x="2071" y="239"/>
                    <a:pt x="2069" y="239"/>
                  </a:cubicBezTo>
                  <a:cubicBezTo>
                    <a:pt x="2069" y="237"/>
                    <a:pt x="2069" y="235"/>
                    <a:pt x="2069" y="232"/>
                  </a:cubicBezTo>
                  <a:cubicBezTo>
                    <a:pt x="2073" y="232"/>
                    <a:pt x="2074" y="235"/>
                    <a:pt x="2077" y="235"/>
                  </a:cubicBezTo>
                  <a:cubicBezTo>
                    <a:pt x="2077" y="237"/>
                    <a:pt x="2074" y="237"/>
                    <a:pt x="2074" y="239"/>
                  </a:cubicBezTo>
                  <a:close/>
                  <a:moveTo>
                    <a:pt x="2200" y="66"/>
                  </a:moveTo>
                  <a:cubicBezTo>
                    <a:pt x="2203" y="68"/>
                    <a:pt x="2211" y="66"/>
                    <a:pt x="2209" y="72"/>
                  </a:cubicBezTo>
                  <a:cubicBezTo>
                    <a:pt x="2206" y="70"/>
                    <a:pt x="2199" y="72"/>
                    <a:pt x="2200" y="66"/>
                  </a:cubicBezTo>
                  <a:close/>
                  <a:moveTo>
                    <a:pt x="2184" y="71"/>
                  </a:moveTo>
                  <a:cubicBezTo>
                    <a:pt x="2184" y="72"/>
                    <a:pt x="2184" y="74"/>
                    <a:pt x="2184" y="75"/>
                  </a:cubicBezTo>
                  <a:cubicBezTo>
                    <a:pt x="2182" y="75"/>
                    <a:pt x="2180" y="75"/>
                    <a:pt x="2179" y="75"/>
                  </a:cubicBezTo>
                  <a:cubicBezTo>
                    <a:pt x="2179" y="74"/>
                    <a:pt x="2179" y="72"/>
                    <a:pt x="2179" y="71"/>
                  </a:cubicBezTo>
                  <a:cubicBezTo>
                    <a:pt x="2180" y="71"/>
                    <a:pt x="2182" y="71"/>
                    <a:pt x="2184" y="71"/>
                  </a:cubicBezTo>
                  <a:close/>
                  <a:moveTo>
                    <a:pt x="2180" y="132"/>
                  </a:moveTo>
                  <a:cubicBezTo>
                    <a:pt x="2179" y="136"/>
                    <a:pt x="2175" y="141"/>
                    <a:pt x="2174" y="144"/>
                  </a:cubicBezTo>
                  <a:cubicBezTo>
                    <a:pt x="2172" y="142"/>
                    <a:pt x="2170" y="141"/>
                    <a:pt x="2166" y="141"/>
                  </a:cubicBezTo>
                  <a:cubicBezTo>
                    <a:pt x="2162" y="135"/>
                    <a:pt x="2171" y="136"/>
                    <a:pt x="2171" y="132"/>
                  </a:cubicBezTo>
                  <a:cubicBezTo>
                    <a:pt x="2172" y="129"/>
                    <a:pt x="2177" y="130"/>
                    <a:pt x="2180" y="129"/>
                  </a:cubicBezTo>
                  <a:cubicBezTo>
                    <a:pt x="2180" y="127"/>
                    <a:pt x="2178" y="127"/>
                    <a:pt x="2177" y="127"/>
                  </a:cubicBezTo>
                  <a:cubicBezTo>
                    <a:pt x="2185" y="120"/>
                    <a:pt x="2181" y="128"/>
                    <a:pt x="2180" y="132"/>
                  </a:cubicBezTo>
                  <a:close/>
                  <a:moveTo>
                    <a:pt x="2183" y="174"/>
                  </a:moveTo>
                  <a:cubicBezTo>
                    <a:pt x="2180" y="173"/>
                    <a:pt x="2179" y="170"/>
                    <a:pt x="2175" y="169"/>
                  </a:cubicBezTo>
                  <a:cubicBezTo>
                    <a:pt x="2175" y="167"/>
                    <a:pt x="2178" y="168"/>
                    <a:pt x="2178" y="169"/>
                  </a:cubicBezTo>
                  <a:cubicBezTo>
                    <a:pt x="2180" y="169"/>
                    <a:pt x="2180" y="166"/>
                    <a:pt x="2180" y="165"/>
                  </a:cubicBezTo>
                  <a:cubicBezTo>
                    <a:pt x="2184" y="165"/>
                    <a:pt x="2183" y="170"/>
                    <a:pt x="2183" y="174"/>
                  </a:cubicBezTo>
                  <a:close/>
                  <a:moveTo>
                    <a:pt x="2177" y="120"/>
                  </a:moveTo>
                  <a:cubicBezTo>
                    <a:pt x="2176" y="125"/>
                    <a:pt x="2164" y="121"/>
                    <a:pt x="2166" y="116"/>
                  </a:cubicBezTo>
                  <a:cubicBezTo>
                    <a:pt x="2173" y="114"/>
                    <a:pt x="2171" y="120"/>
                    <a:pt x="2177" y="120"/>
                  </a:cubicBezTo>
                  <a:close/>
                  <a:moveTo>
                    <a:pt x="2166" y="108"/>
                  </a:moveTo>
                  <a:cubicBezTo>
                    <a:pt x="2166" y="108"/>
                    <a:pt x="2168" y="109"/>
                    <a:pt x="2168" y="108"/>
                  </a:cubicBezTo>
                  <a:cubicBezTo>
                    <a:pt x="2169" y="108"/>
                    <a:pt x="2169" y="102"/>
                    <a:pt x="2171" y="104"/>
                  </a:cubicBezTo>
                  <a:cubicBezTo>
                    <a:pt x="2179" y="111"/>
                    <a:pt x="2155" y="110"/>
                    <a:pt x="2166" y="108"/>
                  </a:cubicBezTo>
                  <a:close/>
                  <a:moveTo>
                    <a:pt x="2177" y="146"/>
                  </a:moveTo>
                  <a:cubicBezTo>
                    <a:pt x="2172" y="149"/>
                    <a:pt x="2177" y="160"/>
                    <a:pt x="2169" y="160"/>
                  </a:cubicBezTo>
                  <a:cubicBezTo>
                    <a:pt x="2171" y="162"/>
                    <a:pt x="2172" y="164"/>
                    <a:pt x="2172" y="167"/>
                  </a:cubicBezTo>
                  <a:cubicBezTo>
                    <a:pt x="2164" y="171"/>
                    <a:pt x="2163" y="152"/>
                    <a:pt x="2172" y="155"/>
                  </a:cubicBezTo>
                  <a:cubicBezTo>
                    <a:pt x="2171" y="151"/>
                    <a:pt x="2167" y="150"/>
                    <a:pt x="2161" y="151"/>
                  </a:cubicBezTo>
                  <a:cubicBezTo>
                    <a:pt x="2164" y="147"/>
                    <a:pt x="2170" y="146"/>
                    <a:pt x="2177" y="146"/>
                  </a:cubicBezTo>
                  <a:close/>
                  <a:moveTo>
                    <a:pt x="2164" y="205"/>
                  </a:moveTo>
                  <a:cubicBezTo>
                    <a:pt x="2165" y="200"/>
                    <a:pt x="2174" y="207"/>
                    <a:pt x="2173" y="212"/>
                  </a:cubicBezTo>
                  <a:cubicBezTo>
                    <a:pt x="2170" y="212"/>
                    <a:pt x="2167" y="212"/>
                    <a:pt x="2165" y="212"/>
                  </a:cubicBezTo>
                  <a:cubicBezTo>
                    <a:pt x="2166" y="210"/>
                    <a:pt x="2169" y="205"/>
                    <a:pt x="2164" y="205"/>
                  </a:cubicBezTo>
                  <a:close/>
                  <a:moveTo>
                    <a:pt x="2164" y="186"/>
                  </a:moveTo>
                  <a:cubicBezTo>
                    <a:pt x="2166" y="173"/>
                    <a:pt x="2181" y="193"/>
                    <a:pt x="2167" y="193"/>
                  </a:cubicBezTo>
                  <a:cubicBezTo>
                    <a:pt x="2167" y="191"/>
                    <a:pt x="2170" y="191"/>
                    <a:pt x="2170" y="188"/>
                  </a:cubicBezTo>
                  <a:cubicBezTo>
                    <a:pt x="2170" y="186"/>
                    <a:pt x="2166" y="187"/>
                    <a:pt x="2164" y="186"/>
                  </a:cubicBezTo>
                  <a:close/>
                  <a:moveTo>
                    <a:pt x="2154" y="99"/>
                  </a:moveTo>
                  <a:cubicBezTo>
                    <a:pt x="2166" y="98"/>
                    <a:pt x="2156" y="104"/>
                    <a:pt x="2157" y="109"/>
                  </a:cubicBezTo>
                  <a:cubicBezTo>
                    <a:pt x="2149" y="108"/>
                    <a:pt x="2150" y="117"/>
                    <a:pt x="2144" y="111"/>
                  </a:cubicBezTo>
                  <a:cubicBezTo>
                    <a:pt x="2145" y="106"/>
                    <a:pt x="2158" y="109"/>
                    <a:pt x="2154" y="99"/>
                  </a:cubicBezTo>
                  <a:close/>
                  <a:moveTo>
                    <a:pt x="2159" y="207"/>
                  </a:moveTo>
                  <a:cubicBezTo>
                    <a:pt x="2146" y="210"/>
                    <a:pt x="2154" y="195"/>
                    <a:pt x="2159" y="203"/>
                  </a:cubicBezTo>
                  <a:cubicBezTo>
                    <a:pt x="2159" y="204"/>
                    <a:pt x="2159" y="206"/>
                    <a:pt x="2159" y="207"/>
                  </a:cubicBezTo>
                  <a:close/>
                  <a:moveTo>
                    <a:pt x="2141" y="130"/>
                  </a:moveTo>
                  <a:cubicBezTo>
                    <a:pt x="2150" y="127"/>
                    <a:pt x="2143" y="138"/>
                    <a:pt x="2152" y="135"/>
                  </a:cubicBezTo>
                  <a:cubicBezTo>
                    <a:pt x="2150" y="139"/>
                    <a:pt x="2147" y="143"/>
                    <a:pt x="2139" y="142"/>
                  </a:cubicBezTo>
                  <a:cubicBezTo>
                    <a:pt x="2137" y="136"/>
                    <a:pt x="2144" y="137"/>
                    <a:pt x="2141" y="130"/>
                  </a:cubicBezTo>
                  <a:close/>
                  <a:moveTo>
                    <a:pt x="2115" y="189"/>
                  </a:moveTo>
                  <a:cubicBezTo>
                    <a:pt x="2120" y="183"/>
                    <a:pt x="2127" y="192"/>
                    <a:pt x="2134" y="187"/>
                  </a:cubicBezTo>
                  <a:cubicBezTo>
                    <a:pt x="2135" y="195"/>
                    <a:pt x="2119" y="190"/>
                    <a:pt x="2115" y="194"/>
                  </a:cubicBezTo>
                  <a:cubicBezTo>
                    <a:pt x="2117" y="192"/>
                    <a:pt x="2118" y="190"/>
                    <a:pt x="2115" y="189"/>
                  </a:cubicBezTo>
                  <a:close/>
                  <a:moveTo>
                    <a:pt x="2128" y="140"/>
                  </a:moveTo>
                  <a:cubicBezTo>
                    <a:pt x="2125" y="148"/>
                    <a:pt x="2122" y="137"/>
                    <a:pt x="2119" y="138"/>
                  </a:cubicBezTo>
                  <a:cubicBezTo>
                    <a:pt x="2114" y="135"/>
                    <a:pt x="2116" y="142"/>
                    <a:pt x="2114" y="142"/>
                  </a:cubicBezTo>
                  <a:cubicBezTo>
                    <a:pt x="2112" y="143"/>
                    <a:pt x="2108" y="139"/>
                    <a:pt x="2103" y="142"/>
                  </a:cubicBezTo>
                  <a:cubicBezTo>
                    <a:pt x="2103" y="140"/>
                    <a:pt x="2103" y="138"/>
                    <a:pt x="2103" y="135"/>
                  </a:cubicBezTo>
                  <a:cubicBezTo>
                    <a:pt x="2114" y="137"/>
                    <a:pt x="2112" y="136"/>
                    <a:pt x="2125" y="135"/>
                  </a:cubicBezTo>
                  <a:cubicBezTo>
                    <a:pt x="2124" y="138"/>
                    <a:pt x="2126" y="139"/>
                    <a:pt x="2128" y="140"/>
                  </a:cubicBezTo>
                  <a:close/>
                  <a:moveTo>
                    <a:pt x="2130" y="107"/>
                  </a:moveTo>
                  <a:cubicBezTo>
                    <a:pt x="2124" y="116"/>
                    <a:pt x="2136" y="115"/>
                    <a:pt x="2133" y="128"/>
                  </a:cubicBezTo>
                  <a:cubicBezTo>
                    <a:pt x="2130" y="128"/>
                    <a:pt x="2131" y="124"/>
                    <a:pt x="2130" y="121"/>
                  </a:cubicBezTo>
                  <a:cubicBezTo>
                    <a:pt x="2129" y="118"/>
                    <a:pt x="2117" y="107"/>
                    <a:pt x="2130" y="107"/>
                  </a:cubicBezTo>
                  <a:close/>
                  <a:moveTo>
                    <a:pt x="2111" y="107"/>
                  </a:moveTo>
                  <a:cubicBezTo>
                    <a:pt x="2110" y="110"/>
                    <a:pt x="2099" y="112"/>
                    <a:pt x="2111" y="112"/>
                  </a:cubicBezTo>
                  <a:cubicBezTo>
                    <a:pt x="2110" y="115"/>
                    <a:pt x="2106" y="114"/>
                    <a:pt x="2102" y="114"/>
                  </a:cubicBezTo>
                  <a:cubicBezTo>
                    <a:pt x="2098" y="107"/>
                    <a:pt x="2103" y="102"/>
                    <a:pt x="2111" y="107"/>
                  </a:cubicBezTo>
                  <a:close/>
                  <a:moveTo>
                    <a:pt x="2088" y="251"/>
                  </a:moveTo>
                  <a:cubicBezTo>
                    <a:pt x="2084" y="249"/>
                    <a:pt x="2081" y="243"/>
                    <a:pt x="2085" y="239"/>
                  </a:cubicBezTo>
                  <a:cubicBezTo>
                    <a:pt x="2091" y="239"/>
                    <a:pt x="2087" y="247"/>
                    <a:pt x="2088" y="251"/>
                  </a:cubicBezTo>
                  <a:close/>
                  <a:moveTo>
                    <a:pt x="2085" y="227"/>
                  </a:moveTo>
                  <a:cubicBezTo>
                    <a:pt x="2075" y="221"/>
                    <a:pt x="2088" y="214"/>
                    <a:pt x="2082" y="204"/>
                  </a:cubicBezTo>
                  <a:cubicBezTo>
                    <a:pt x="2085" y="205"/>
                    <a:pt x="2085" y="209"/>
                    <a:pt x="2090" y="209"/>
                  </a:cubicBezTo>
                  <a:cubicBezTo>
                    <a:pt x="2090" y="216"/>
                    <a:pt x="2083" y="218"/>
                    <a:pt x="2085" y="227"/>
                  </a:cubicBezTo>
                  <a:close/>
                  <a:moveTo>
                    <a:pt x="2103" y="168"/>
                  </a:moveTo>
                  <a:cubicBezTo>
                    <a:pt x="2105" y="169"/>
                    <a:pt x="2096" y="175"/>
                    <a:pt x="2093" y="171"/>
                  </a:cubicBezTo>
                  <a:cubicBezTo>
                    <a:pt x="2092" y="169"/>
                    <a:pt x="2102" y="167"/>
                    <a:pt x="2103" y="168"/>
                  </a:cubicBezTo>
                  <a:close/>
                  <a:moveTo>
                    <a:pt x="2095" y="293"/>
                  </a:moveTo>
                  <a:cubicBezTo>
                    <a:pt x="2095" y="289"/>
                    <a:pt x="2104" y="291"/>
                    <a:pt x="2103" y="286"/>
                  </a:cubicBezTo>
                  <a:cubicBezTo>
                    <a:pt x="2107" y="287"/>
                    <a:pt x="2105" y="293"/>
                    <a:pt x="2114" y="290"/>
                  </a:cubicBezTo>
                  <a:cubicBezTo>
                    <a:pt x="2108" y="295"/>
                    <a:pt x="2101" y="295"/>
                    <a:pt x="2095" y="293"/>
                  </a:cubicBezTo>
                  <a:close/>
                  <a:moveTo>
                    <a:pt x="2094" y="270"/>
                  </a:moveTo>
                  <a:cubicBezTo>
                    <a:pt x="2095" y="265"/>
                    <a:pt x="2098" y="271"/>
                    <a:pt x="2097" y="274"/>
                  </a:cubicBezTo>
                  <a:cubicBezTo>
                    <a:pt x="2096" y="279"/>
                    <a:pt x="2094" y="273"/>
                    <a:pt x="2094" y="270"/>
                  </a:cubicBezTo>
                  <a:close/>
                  <a:moveTo>
                    <a:pt x="2102" y="225"/>
                  </a:moveTo>
                  <a:cubicBezTo>
                    <a:pt x="2094" y="222"/>
                    <a:pt x="2109" y="208"/>
                    <a:pt x="2102" y="225"/>
                  </a:cubicBezTo>
                  <a:close/>
                  <a:moveTo>
                    <a:pt x="2110" y="218"/>
                  </a:moveTo>
                  <a:cubicBezTo>
                    <a:pt x="2117" y="218"/>
                    <a:pt x="2111" y="226"/>
                    <a:pt x="2110" y="227"/>
                  </a:cubicBezTo>
                  <a:cubicBezTo>
                    <a:pt x="2102" y="226"/>
                    <a:pt x="2112" y="222"/>
                    <a:pt x="2110" y="218"/>
                  </a:cubicBezTo>
                  <a:close/>
                  <a:moveTo>
                    <a:pt x="2119" y="281"/>
                  </a:moveTo>
                  <a:cubicBezTo>
                    <a:pt x="2117" y="288"/>
                    <a:pt x="2115" y="277"/>
                    <a:pt x="2116" y="274"/>
                  </a:cubicBezTo>
                  <a:cubicBezTo>
                    <a:pt x="2113" y="277"/>
                    <a:pt x="2112" y="275"/>
                    <a:pt x="2108" y="274"/>
                  </a:cubicBezTo>
                  <a:cubicBezTo>
                    <a:pt x="2110" y="272"/>
                    <a:pt x="2114" y="271"/>
                    <a:pt x="2113" y="267"/>
                  </a:cubicBezTo>
                  <a:cubicBezTo>
                    <a:pt x="2118" y="269"/>
                    <a:pt x="2120" y="274"/>
                    <a:pt x="2119" y="281"/>
                  </a:cubicBezTo>
                  <a:close/>
                  <a:moveTo>
                    <a:pt x="2121" y="246"/>
                  </a:moveTo>
                  <a:cubicBezTo>
                    <a:pt x="2121" y="246"/>
                    <a:pt x="2116" y="243"/>
                    <a:pt x="2116" y="243"/>
                  </a:cubicBezTo>
                  <a:cubicBezTo>
                    <a:pt x="2116" y="240"/>
                    <a:pt x="2120" y="243"/>
                    <a:pt x="2121" y="241"/>
                  </a:cubicBezTo>
                  <a:cubicBezTo>
                    <a:pt x="2121" y="240"/>
                    <a:pt x="2122" y="234"/>
                    <a:pt x="2124" y="236"/>
                  </a:cubicBezTo>
                  <a:cubicBezTo>
                    <a:pt x="2124" y="237"/>
                    <a:pt x="2121" y="245"/>
                    <a:pt x="2121" y="246"/>
                  </a:cubicBezTo>
                  <a:close/>
                  <a:moveTo>
                    <a:pt x="2115" y="217"/>
                  </a:moveTo>
                  <a:cubicBezTo>
                    <a:pt x="2117" y="212"/>
                    <a:pt x="2129" y="216"/>
                    <a:pt x="2126" y="222"/>
                  </a:cubicBezTo>
                  <a:cubicBezTo>
                    <a:pt x="2122" y="221"/>
                    <a:pt x="2119" y="219"/>
                    <a:pt x="2115" y="217"/>
                  </a:cubicBezTo>
                  <a:close/>
                  <a:moveTo>
                    <a:pt x="2122" y="276"/>
                  </a:moveTo>
                  <a:cubicBezTo>
                    <a:pt x="2122" y="272"/>
                    <a:pt x="2126" y="271"/>
                    <a:pt x="2133" y="271"/>
                  </a:cubicBezTo>
                  <a:cubicBezTo>
                    <a:pt x="2132" y="275"/>
                    <a:pt x="2128" y="277"/>
                    <a:pt x="2122" y="276"/>
                  </a:cubicBezTo>
                  <a:close/>
                  <a:moveTo>
                    <a:pt x="2129" y="243"/>
                  </a:moveTo>
                  <a:cubicBezTo>
                    <a:pt x="2129" y="241"/>
                    <a:pt x="2129" y="240"/>
                    <a:pt x="2129" y="238"/>
                  </a:cubicBezTo>
                  <a:cubicBezTo>
                    <a:pt x="2131" y="238"/>
                    <a:pt x="2133" y="238"/>
                    <a:pt x="2135" y="238"/>
                  </a:cubicBezTo>
                  <a:cubicBezTo>
                    <a:pt x="2135" y="240"/>
                    <a:pt x="2135" y="241"/>
                    <a:pt x="2135" y="243"/>
                  </a:cubicBezTo>
                  <a:cubicBezTo>
                    <a:pt x="2133" y="243"/>
                    <a:pt x="2131" y="243"/>
                    <a:pt x="2129" y="243"/>
                  </a:cubicBezTo>
                  <a:close/>
                  <a:moveTo>
                    <a:pt x="2134" y="210"/>
                  </a:moveTo>
                  <a:cubicBezTo>
                    <a:pt x="2132" y="212"/>
                    <a:pt x="2130" y="212"/>
                    <a:pt x="2126" y="213"/>
                  </a:cubicBezTo>
                  <a:cubicBezTo>
                    <a:pt x="2126" y="213"/>
                    <a:pt x="2126" y="210"/>
                    <a:pt x="2126" y="210"/>
                  </a:cubicBezTo>
                  <a:cubicBezTo>
                    <a:pt x="2124" y="211"/>
                    <a:pt x="2124" y="213"/>
                    <a:pt x="2123" y="213"/>
                  </a:cubicBezTo>
                  <a:cubicBezTo>
                    <a:pt x="2121" y="213"/>
                    <a:pt x="2120" y="210"/>
                    <a:pt x="2121" y="210"/>
                  </a:cubicBezTo>
                  <a:cubicBezTo>
                    <a:pt x="2121" y="210"/>
                    <a:pt x="2113" y="212"/>
                    <a:pt x="2112" y="213"/>
                  </a:cubicBezTo>
                  <a:cubicBezTo>
                    <a:pt x="2110" y="215"/>
                    <a:pt x="2112" y="213"/>
                    <a:pt x="2101" y="213"/>
                  </a:cubicBezTo>
                  <a:cubicBezTo>
                    <a:pt x="2103" y="207"/>
                    <a:pt x="2100" y="205"/>
                    <a:pt x="2093" y="206"/>
                  </a:cubicBezTo>
                  <a:cubicBezTo>
                    <a:pt x="2092" y="203"/>
                    <a:pt x="2097" y="205"/>
                    <a:pt x="2099" y="204"/>
                  </a:cubicBezTo>
                  <a:cubicBezTo>
                    <a:pt x="2103" y="199"/>
                    <a:pt x="2097" y="191"/>
                    <a:pt x="2107" y="192"/>
                  </a:cubicBezTo>
                  <a:cubicBezTo>
                    <a:pt x="2101" y="197"/>
                    <a:pt x="2105" y="205"/>
                    <a:pt x="2107" y="211"/>
                  </a:cubicBezTo>
                  <a:cubicBezTo>
                    <a:pt x="2112" y="208"/>
                    <a:pt x="2122" y="210"/>
                    <a:pt x="2121" y="203"/>
                  </a:cubicBezTo>
                  <a:cubicBezTo>
                    <a:pt x="2123" y="205"/>
                    <a:pt x="2125" y="207"/>
                    <a:pt x="2126" y="210"/>
                  </a:cubicBezTo>
                  <a:cubicBezTo>
                    <a:pt x="2130" y="206"/>
                    <a:pt x="2135" y="204"/>
                    <a:pt x="2134" y="196"/>
                  </a:cubicBezTo>
                  <a:cubicBezTo>
                    <a:pt x="2138" y="196"/>
                    <a:pt x="2135" y="203"/>
                    <a:pt x="2140" y="203"/>
                  </a:cubicBezTo>
                  <a:cubicBezTo>
                    <a:pt x="2138" y="205"/>
                    <a:pt x="2133" y="206"/>
                    <a:pt x="2134" y="210"/>
                  </a:cubicBezTo>
                  <a:close/>
                  <a:moveTo>
                    <a:pt x="2144" y="285"/>
                  </a:moveTo>
                  <a:cubicBezTo>
                    <a:pt x="2139" y="283"/>
                    <a:pt x="2136" y="275"/>
                    <a:pt x="2141" y="271"/>
                  </a:cubicBezTo>
                  <a:cubicBezTo>
                    <a:pt x="2147" y="271"/>
                    <a:pt x="2142" y="281"/>
                    <a:pt x="2144" y="285"/>
                  </a:cubicBezTo>
                  <a:close/>
                  <a:moveTo>
                    <a:pt x="2143" y="215"/>
                  </a:moveTo>
                  <a:cubicBezTo>
                    <a:pt x="2146" y="216"/>
                    <a:pt x="2148" y="218"/>
                    <a:pt x="2148" y="222"/>
                  </a:cubicBezTo>
                  <a:cubicBezTo>
                    <a:pt x="2145" y="221"/>
                    <a:pt x="2143" y="219"/>
                    <a:pt x="2143" y="215"/>
                  </a:cubicBezTo>
                  <a:close/>
                  <a:moveTo>
                    <a:pt x="2147" y="156"/>
                  </a:moveTo>
                  <a:cubicBezTo>
                    <a:pt x="2143" y="154"/>
                    <a:pt x="2148" y="152"/>
                    <a:pt x="2144" y="146"/>
                  </a:cubicBezTo>
                  <a:cubicBezTo>
                    <a:pt x="2154" y="144"/>
                    <a:pt x="2150" y="154"/>
                    <a:pt x="2155" y="156"/>
                  </a:cubicBezTo>
                  <a:cubicBezTo>
                    <a:pt x="2154" y="159"/>
                    <a:pt x="2151" y="156"/>
                    <a:pt x="2150" y="153"/>
                  </a:cubicBezTo>
                  <a:cubicBezTo>
                    <a:pt x="2147" y="153"/>
                    <a:pt x="2147" y="154"/>
                    <a:pt x="2147" y="156"/>
                  </a:cubicBezTo>
                  <a:close/>
                  <a:moveTo>
                    <a:pt x="2157" y="250"/>
                  </a:moveTo>
                  <a:cubicBezTo>
                    <a:pt x="2153" y="249"/>
                    <a:pt x="2156" y="243"/>
                    <a:pt x="2151" y="243"/>
                  </a:cubicBezTo>
                  <a:cubicBezTo>
                    <a:pt x="2153" y="240"/>
                    <a:pt x="2158" y="240"/>
                    <a:pt x="2157" y="236"/>
                  </a:cubicBezTo>
                  <a:cubicBezTo>
                    <a:pt x="2164" y="238"/>
                    <a:pt x="2156" y="246"/>
                    <a:pt x="2157" y="250"/>
                  </a:cubicBezTo>
                  <a:close/>
                  <a:moveTo>
                    <a:pt x="2159" y="221"/>
                  </a:moveTo>
                  <a:cubicBezTo>
                    <a:pt x="2160" y="224"/>
                    <a:pt x="2159" y="236"/>
                    <a:pt x="2157" y="228"/>
                  </a:cubicBezTo>
                  <a:cubicBezTo>
                    <a:pt x="2157" y="224"/>
                    <a:pt x="2156" y="219"/>
                    <a:pt x="2156" y="214"/>
                  </a:cubicBezTo>
                  <a:cubicBezTo>
                    <a:pt x="2160" y="214"/>
                    <a:pt x="2164" y="214"/>
                    <a:pt x="2167" y="214"/>
                  </a:cubicBezTo>
                  <a:cubicBezTo>
                    <a:pt x="2168" y="219"/>
                    <a:pt x="2165" y="222"/>
                    <a:pt x="2159" y="221"/>
                  </a:cubicBezTo>
                  <a:close/>
                  <a:moveTo>
                    <a:pt x="2168" y="273"/>
                  </a:moveTo>
                  <a:cubicBezTo>
                    <a:pt x="2171" y="274"/>
                    <a:pt x="2173" y="275"/>
                    <a:pt x="2177" y="275"/>
                  </a:cubicBezTo>
                  <a:cubicBezTo>
                    <a:pt x="2176" y="284"/>
                    <a:pt x="2173" y="284"/>
                    <a:pt x="2177" y="292"/>
                  </a:cubicBezTo>
                  <a:cubicBezTo>
                    <a:pt x="2165" y="293"/>
                    <a:pt x="2169" y="281"/>
                    <a:pt x="2168" y="273"/>
                  </a:cubicBezTo>
                  <a:close/>
                  <a:moveTo>
                    <a:pt x="2174" y="273"/>
                  </a:moveTo>
                  <a:cubicBezTo>
                    <a:pt x="2174" y="271"/>
                    <a:pt x="2174" y="270"/>
                    <a:pt x="2174" y="268"/>
                  </a:cubicBezTo>
                  <a:cubicBezTo>
                    <a:pt x="2176" y="268"/>
                    <a:pt x="2177" y="268"/>
                    <a:pt x="2179" y="268"/>
                  </a:cubicBezTo>
                  <a:cubicBezTo>
                    <a:pt x="2179" y="270"/>
                    <a:pt x="2179" y="271"/>
                    <a:pt x="2179" y="273"/>
                  </a:cubicBezTo>
                  <a:cubicBezTo>
                    <a:pt x="2177" y="273"/>
                    <a:pt x="2176" y="273"/>
                    <a:pt x="2174" y="273"/>
                  </a:cubicBezTo>
                  <a:close/>
                  <a:moveTo>
                    <a:pt x="2170" y="217"/>
                  </a:moveTo>
                  <a:cubicBezTo>
                    <a:pt x="2171" y="213"/>
                    <a:pt x="2177" y="214"/>
                    <a:pt x="2181" y="214"/>
                  </a:cubicBezTo>
                  <a:cubicBezTo>
                    <a:pt x="2180" y="219"/>
                    <a:pt x="2174" y="220"/>
                    <a:pt x="2170" y="217"/>
                  </a:cubicBezTo>
                  <a:close/>
                  <a:moveTo>
                    <a:pt x="2181" y="197"/>
                  </a:moveTo>
                  <a:cubicBezTo>
                    <a:pt x="2173" y="193"/>
                    <a:pt x="2182" y="183"/>
                    <a:pt x="2183" y="179"/>
                  </a:cubicBezTo>
                  <a:cubicBezTo>
                    <a:pt x="2189" y="182"/>
                    <a:pt x="2180" y="191"/>
                    <a:pt x="2181" y="197"/>
                  </a:cubicBezTo>
                  <a:close/>
                  <a:moveTo>
                    <a:pt x="2188" y="136"/>
                  </a:moveTo>
                  <a:cubicBezTo>
                    <a:pt x="2190" y="136"/>
                    <a:pt x="2192" y="136"/>
                    <a:pt x="2193" y="136"/>
                  </a:cubicBezTo>
                  <a:cubicBezTo>
                    <a:pt x="2195" y="141"/>
                    <a:pt x="2190" y="141"/>
                    <a:pt x="2185" y="141"/>
                  </a:cubicBezTo>
                  <a:cubicBezTo>
                    <a:pt x="2186" y="139"/>
                    <a:pt x="2188" y="139"/>
                    <a:pt x="2188" y="136"/>
                  </a:cubicBezTo>
                  <a:close/>
                  <a:moveTo>
                    <a:pt x="2189" y="204"/>
                  </a:moveTo>
                  <a:cubicBezTo>
                    <a:pt x="2188" y="209"/>
                    <a:pt x="2186" y="203"/>
                    <a:pt x="2186" y="200"/>
                  </a:cubicBezTo>
                  <a:cubicBezTo>
                    <a:pt x="2187" y="195"/>
                    <a:pt x="2190" y="201"/>
                    <a:pt x="2189" y="204"/>
                  </a:cubicBezTo>
                  <a:close/>
                  <a:moveTo>
                    <a:pt x="2189" y="214"/>
                  </a:moveTo>
                  <a:cubicBezTo>
                    <a:pt x="2194" y="213"/>
                    <a:pt x="2194" y="216"/>
                    <a:pt x="2198" y="216"/>
                  </a:cubicBezTo>
                  <a:cubicBezTo>
                    <a:pt x="2195" y="223"/>
                    <a:pt x="2195" y="223"/>
                    <a:pt x="2198" y="230"/>
                  </a:cubicBezTo>
                  <a:cubicBezTo>
                    <a:pt x="2190" y="229"/>
                    <a:pt x="2193" y="219"/>
                    <a:pt x="2189" y="214"/>
                  </a:cubicBezTo>
                  <a:close/>
                  <a:moveTo>
                    <a:pt x="2191" y="148"/>
                  </a:moveTo>
                  <a:cubicBezTo>
                    <a:pt x="2192" y="145"/>
                    <a:pt x="2198" y="146"/>
                    <a:pt x="2202" y="145"/>
                  </a:cubicBezTo>
                  <a:cubicBezTo>
                    <a:pt x="2201" y="137"/>
                    <a:pt x="2204" y="132"/>
                    <a:pt x="2213" y="131"/>
                  </a:cubicBezTo>
                  <a:cubicBezTo>
                    <a:pt x="2207" y="140"/>
                    <a:pt x="2204" y="142"/>
                    <a:pt x="2207" y="155"/>
                  </a:cubicBezTo>
                  <a:cubicBezTo>
                    <a:pt x="2200" y="155"/>
                    <a:pt x="2204" y="153"/>
                    <a:pt x="2205" y="150"/>
                  </a:cubicBezTo>
                  <a:cubicBezTo>
                    <a:pt x="2200" y="145"/>
                    <a:pt x="2198" y="152"/>
                    <a:pt x="2191" y="148"/>
                  </a:cubicBezTo>
                  <a:close/>
                  <a:moveTo>
                    <a:pt x="2214" y="220"/>
                  </a:moveTo>
                  <a:cubicBezTo>
                    <a:pt x="2205" y="222"/>
                    <a:pt x="2213" y="209"/>
                    <a:pt x="2203" y="211"/>
                  </a:cubicBezTo>
                  <a:cubicBezTo>
                    <a:pt x="2203" y="208"/>
                    <a:pt x="2208" y="209"/>
                    <a:pt x="2211" y="209"/>
                  </a:cubicBezTo>
                  <a:cubicBezTo>
                    <a:pt x="2209" y="215"/>
                    <a:pt x="2215" y="215"/>
                    <a:pt x="2214" y="220"/>
                  </a:cubicBezTo>
                  <a:close/>
                  <a:moveTo>
                    <a:pt x="2211" y="202"/>
                  </a:moveTo>
                  <a:cubicBezTo>
                    <a:pt x="2208" y="201"/>
                    <a:pt x="2206" y="202"/>
                    <a:pt x="2206" y="204"/>
                  </a:cubicBezTo>
                  <a:cubicBezTo>
                    <a:pt x="2201" y="203"/>
                    <a:pt x="2207" y="201"/>
                    <a:pt x="2206" y="197"/>
                  </a:cubicBezTo>
                  <a:cubicBezTo>
                    <a:pt x="2209" y="201"/>
                    <a:pt x="2217" y="200"/>
                    <a:pt x="2217" y="206"/>
                  </a:cubicBezTo>
                  <a:cubicBezTo>
                    <a:pt x="2214" y="205"/>
                    <a:pt x="2212" y="204"/>
                    <a:pt x="2211" y="202"/>
                  </a:cubicBezTo>
                  <a:close/>
                  <a:moveTo>
                    <a:pt x="2222" y="223"/>
                  </a:moveTo>
                  <a:cubicBezTo>
                    <a:pt x="2219" y="222"/>
                    <a:pt x="2220" y="217"/>
                    <a:pt x="2219" y="213"/>
                  </a:cubicBezTo>
                  <a:cubicBezTo>
                    <a:pt x="2222" y="213"/>
                    <a:pt x="2225" y="213"/>
                    <a:pt x="2228" y="213"/>
                  </a:cubicBezTo>
                  <a:cubicBezTo>
                    <a:pt x="2231" y="221"/>
                    <a:pt x="2219" y="215"/>
                    <a:pt x="2222" y="223"/>
                  </a:cubicBezTo>
                  <a:close/>
                  <a:moveTo>
                    <a:pt x="2233" y="187"/>
                  </a:moveTo>
                  <a:cubicBezTo>
                    <a:pt x="2235" y="187"/>
                    <a:pt x="2236" y="187"/>
                    <a:pt x="2238" y="187"/>
                  </a:cubicBezTo>
                  <a:cubicBezTo>
                    <a:pt x="2240" y="192"/>
                    <a:pt x="2234" y="192"/>
                    <a:pt x="2230" y="192"/>
                  </a:cubicBezTo>
                  <a:cubicBezTo>
                    <a:pt x="2231" y="190"/>
                    <a:pt x="2233" y="190"/>
                    <a:pt x="2233" y="187"/>
                  </a:cubicBezTo>
                  <a:close/>
                  <a:moveTo>
                    <a:pt x="2236" y="225"/>
                  </a:moveTo>
                  <a:cubicBezTo>
                    <a:pt x="2234" y="223"/>
                    <a:pt x="2230" y="215"/>
                    <a:pt x="2230" y="208"/>
                  </a:cubicBezTo>
                  <a:cubicBezTo>
                    <a:pt x="2230" y="207"/>
                    <a:pt x="2235" y="207"/>
                    <a:pt x="2236" y="206"/>
                  </a:cubicBezTo>
                  <a:cubicBezTo>
                    <a:pt x="2237" y="205"/>
                    <a:pt x="2232" y="201"/>
                    <a:pt x="2236" y="199"/>
                  </a:cubicBezTo>
                  <a:cubicBezTo>
                    <a:pt x="2244" y="199"/>
                    <a:pt x="2230" y="217"/>
                    <a:pt x="2239" y="211"/>
                  </a:cubicBezTo>
                  <a:cubicBezTo>
                    <a:pt x="2247" y="214"/>
                    <a:pt x="2234" y="219"/>
                    <a:pt x="2236" y="225"/>
                  </a:cubicBezTo>
                  <a:close/>
                  <a:moveTo>
                    <a:pt x="2264" y="104"/>
                  </a:moveTo>
                  <a:cubicBezTo>
                    <a:pt x="2271" y="105"/>
                    <a:pt x="2267" y="115"/>
                    <a:pt x="2259" y="112"/>
                  </a:cubicBezTo>
                  <a:cubicBezTo>
                    <a:pt x="2261" y="109"/>
                    <a:pt x="2265" y="109"/>
                    <a:pt x="2264" y="104"/>
                  </a:cubicBezTo>
                  <a:close/>
                  <a:moveTo>
                    <a:pt x="2267" y="128"/>
                  </a:moveTo>
                  <a:cubicBezTo>
                    <a:pt x="2277" y="126"/>
                    <a:pt x="2268" y="138"/>
                    <a:pt x="2265" y="135"/>
                  </a:cubicBezTo>
                  <a:cubicBezTo>
                    <a:pt x="2265" y="135"/>
                    <a:pt x="2267" y="130"/>
                    <a:pt x="2267" y="130"/>
                  </a:cubicBezTo>
                  <a:cubicBezTo>
                    <a:pt x="2268" y="130"/>
                    <a:pt x="2267" y="128"/>
                    <a:pt x="2267" y="128"/>
                  </a:cubicBezTo>
                  <a:close/>
                  <a:moveTo>
                    <a:pt x="2265" y="121"/>
                  </a:moveTo>
                  <a:cubicBezTo>
                    <a:pt x="2266" y="120"/>
                    <a:pt x="2256" y="119"/>
                    <a:pt x="2256" y="119"/>
                  </a:cubicBezTo>
                  <a:cubicBezTo>
                    <a:pt x="2255" y="115"/>
                    <a:pt x="2271" y="115"/>
                    <a:pt x="2265" y="121"/>
                  </a:cubicBezTo>
                  <a:close/>
                  <a:moveTo>
                    <a:pt x="2243" y="135"/>
                  </a:moveTo>
                  <a:cubicBezTo>
                    <a:pt x="2245" y="134"/>
                    <a:pt x="2245" y="138"/>
                    <a:pt x="2246" y="138"/>
                  </a:cubicBezTo>
                  <a:cubicBezTo>
                    <a:pt x="2248" y="138"/>
                    <a:pt x="2248" y="135"/>
                    <a:pt x="2248" y="135"/>
                  </a:cubicBezTo>
                  <a:cubicBezTo>
                    <a:pt x="2252" y="135"/>
                    <a:pt x="2258" y="140"/>
                    <a:pt x="2259" y="135"/>
                  </a:cubicBezTo>
                  <a:cubicBezTo>
                    <a:pt x="2255" y="132"/>
                    <a:pt x="2259" y="134"/>
                    <a:pt x="2262" y="135"/>
                  </a:cubicBezTo>
                  <a:cubicBezTo>
                    <a:pt x="2261" y="135"/>
                    <a:pt x="2260" y="139"/>
                    <a:pt x="2259" y="140"/>
                  </a:cubicBezTo>
                  <a:cubicBezTo>
                    <a:pt x="2256" y="141"/>
                    <a:pt x="2255" y="137"/>
                    <a:pt x="2254" y="137"/>
                  </a:cubicBezTo>
                  <a:cubicBezTo>
                    <a:pt x="2249" y="138"/>
                    <a:pt x="2241" y="144"/>
                    <a:pt x="2243" y="135"/>
                  </a:cubicBezTo>
                  <a:close/>
                  <a:moveTo>
                    <a:pt x="2247" y="220"/>
                  </a:moveTo>
                  <a:cubicBezTo>
                    <a:pt x="2252" y="215"/>
                    <a:pt x="2247" y="217"/>
                    <a:pt x="2247" y="210"/>
                  </a:cubicBezTo>
                  <a:cubicBezTo>
                    <a:pt x="2256" y="210"/>
                    <a:pt x="2258" y="221"/>
                    <a:pt x="2247" y="220"/>
                  </a:cubicBezTo>
                  <a:close/>
                  <a:moveTo>
                    <a:pt x="2244" y="192"/>
                  </a:moveTo>
                  <a:cubicBezTo>
                    <a:pt x="2237" y="190"/>
                    <a:pt x="2252" y="187"/>
                    <a:pt x="2257" y="187"/>
                  </a:cubicBezTo>
                  <a:cubicBezTo>
                    <a:pt x="2255" y="190"/>
                    <a:pt x="2249" y="190"/>
                    <a:pt x="2244" y="192"/>
                  </a:cubicBezTo>
                  <a:close/>
                  <a:moveTo>
                    <a:pt x="2249" y="182"/>
                  </a:moveTo>
                  <a:cubicBezTo>
                    <a:pt x="2251" y="180"/>
                    <a:pt x="2252" y="178"/>
                    <a:pt x="2252" y="175"/>
                  </a:cubicBezTo>
                  <a:cubicBezTo>
                    <a:pt x="2255" y="175"/>
                    <a:pt x="2257" y="175"/>
                    <a:pt x="2260" y="175"/>
                  </a:cubicBezTo>
                  <a:cubicBezTo>
                    <a:pt x="2258" y="178"/>
                    <a:pt x="2256" y="183"/>
                    <a:pt x="2249" y="182"/>
                  </a:cubicBezTo>
                  <a:close/>
                  <a:moveTo>
                    <a:pt x="2261" y="227"/>
                  </a:moveTo>
                  <a:cubicBezTo>
                    <a:pt x="2261" y="221"/>
                    <a:pt x="2266" y="230"/>
                    <a:pt x="2272" y="226"/>
                  </a:cubicBezTo>
                  <a:cubicBezTo>
                    <a:pt x="2272" y="232"/>
                    <a:pt x="2263" y="227"/>
                    <a:pt x="2261" y="227"/>
                  </a:cubicBezTo>
                  <a:close/>
                  <a:moveTo>
                    <a:pt x="2269" y="234"/>
                  </a:moveTo>
                  <a:cubicBezTo>
                    <a:pt x="2281" y="234"/>
                    <a:pt x="2267" y="247"/>
                    <a:pt x="2269" y="234"/>
                  </a:cubicBezTo>
                  <a:close/>
                  <a:moveTo>
                    <a:pt x="2273" y="109"/>
                  </a:moveTo>
                  <a:cubicBezTo>
                    <a:pt x="2269" y="106"/>
                    <a:pt x="2266" y="97"/>
                    <a:pt x="2269" y="95"/>
                  </a:cubicBezTo>
                  <a:cubicBezTo>
                    <a:pt x="2273" y="98"/>
                    <a:pt x="2276" y="106"/>
                    <a:pt x="2273" y="109"/>
                  </a:cubicBezTo>
                  <a:close/>
                  <a:moveTo>
                    <a:pt x="2886" y="232"/>
                  </a:moveTo>
                  <a:cubicBezTo>
                    <a:pt x="2880" y="240"/>
                    <a:pt x="2873" y="226"/>
                    <a:pt x="2886" y="232"/>
                  </a:cubicBezTo>
                  <a:close/>
                  <a:moveTo>
                    <a:pt x="2865" y="263"/>
                  </a:moveTo>
                  <a:cubicBezTo>
                    <a:pt x="2870" y="263"/>
                    <a:pt x="2871" y="266"/>
                    <a:pt x="2876" y="265"/>
                  </a:cubicBezTo>
                  <a:cubicBezTo>
                    <a:pt x="2877" y="269"/>
                    <a:pt x="2861" y="270"/>
                    <a:pt x="2865" y="263"/>
                  </a:cubicBezTo>
                  <a:close/>
                  <a:moveTo>
                    <a:pt x="2865" y="230"/>
                  </a:moveTo>
                  <a:cubicBezTo>
                    <a:pt x="2876" y="227"/>
                    <a:pt x="2872" y="238"/>
                    <a:pt x="2878" y="239"/>
                  </a:cubicBezTo>
                  <a:cubicBezTo>
                    <a:pt x="2877" y="243"/>
                    <a:pt x="2872" y="241"/>
                    <a:pt x="2873" y="237"/>
                  </a:cubicBezTo>
                  <a:cubicBezTo>
                    <a:pt x="2865" y="239"/>
                    <a:pt x="2875" y="246"/>
                    <a:pt x="2879" y="246"/>
                  </a:cubicBezTo>
                  <a:cubicBezTo>
                    <a:pt x="2876" y="250"/>
                    <a:pt x="2877" y="256"/>
                    <a:pt x="2868" y="254"/>
                  </a:cubicBezTo>
                  <a:cubicBezTo>
                    <a:pt x="2866" y="252"/>
                    <a:pt x="2873" y="249"/>
                    <a:pt x="2873" y="249"/>
                  </a:cubicBezTo>
                  <a:cubicBezTo>
                    <a:pt x="2873" y="246"/>
                    <a:pt x="2869" y="248"/>
                    <a:pt x="2867" y="247"/>
                  </a:cubicBezTo>
                  <a:cubicBezTo>
                    <a:pt x="2867" y="246"/>
                    <a:pt x="2868" y="243"/>
                    <a:pt x="2867" y="242"/>
                  </a:cubicBezTo>
                  <a:cubicBezTo>
                    <a:pt x="2866" y="241"/>
                    <a:pt x="2863" y="237"/>
                    <a:pt x="2865" y="230"/>
                  </a:cubicBezTo>
                  <a:close/>
                  <a:moveTo>
                    <a:pt x="2862" y="247"/>
                  </a:moveTo>
                  <a:cubicBezTo>
                    <a:pt x="2860" y="251"/>
                    <a:pt x="2859" y="245"/>
                    <a:pt x="2859" y="242"/>
                  </a:cubicBezTo>
                  <a:cubicBezTo>
                    <a:pt x="2851" y="239"/>
                    <a:pt x="2866" y="240"/>
                    <a:pt x="2862" y="247"/>
                  </a:cubicBezTo>
                  <a:close/>
                  <a:moveTo>
                    <a:pt x="2869" y="193"/>
                  </a:moveTo>
                  <a:cubicBezTo>
                    <a:pt x="2871" y="190"/>
                    <a:pt x="2873" y="188"/>
                    <a:pt x="2869" y="188"/>
                  </a:cubicBezTo>
                  <a:cubicBezTo>
                    <a:pt x="2872" y="178"/>
                    <a:pt x="2881" y="196"/>
                    <a:pt x="2869" y="193"/>
                  </a:cubicBezTo>
                  <a:close/>
                  <a:moveTo>
                    <a:pt x="2872" y="160"/>
                  </a:moveTo>
                  <a:cubicBezTo>
                    <a:pt x="2866" y="156"/>
                    <a:pt x="2868" y="160"/>
                    <a:pt x="2861" y="160"/>
                  </a:cubicBezTo>
                  <a:cubicBezTo>
                    <a:pt x="2860" y="158"/>
                    <a:pt x="2862" y="158"/>
                    <a:pt x="2863" y="157"/>
                  </a:cubicBezTo>
                  <a:cubicBezTo>
                    <a:pt x="2863" y="155"/>
                    <a:pt x="2860" y="156"/>
                    <a:pt x="2858" y="155"/>
                  </a:cubicBezTo>
                  <a:cubicBezTo>
                    <a:pt x="2859" y="147"/>
                    <a:pt x="2872" y="152"/>
                    <a:pt x="2872" y="160"/>
                  </a:cubicBezTo>
                  <a:close/>
                  <a:moveTo>
                    <a:pt x="2705" y="221"/>
                  </a:moveTo>
                  <a:cubicBezTo>
                    <a:pt x="2707" y="221"/>
                    <a:pt x="2709" y="221"/>
                    <a:pt x="2711" y="221"/>
                  </a:cubicBezTo>
                  <a:cubicBezTo>
                    <a:pt x="2711" y="223"/>
                    <a:pt x="2711" y="224"/>
                    <a:pt x="2711" y="226"/>
                  </a:cubicBezTo>
                  <a:cubicBezTo>
                    <a:pt x="2709" y="226"/>
                    <a:pt x="2707" y="226"/>
                    <a:pt x="2705" y="226"/>
                  </a:cubicBezTo>
                  <a:cubicBezTo>
                    <a:pt x="2705" y="224"/>
                    <a:pt x="2705" y="223"/>
                    <a:pt x="2705" y="221"/>
                  </a:cubicBezTo>
                  <a:close/>
                  <a:moveTo>
                    <a:pt x="2714" y="245"/>
                  </a:moveTo>
                  <a:cubicBezTo>
                    <a:pt x="2718" y="236"/>
                    <a:pt x="2706" y="240"/>
                    <a:pt x="2708" y="233"/>
                  </a:cubicBezTo>
                  <a:cubicBezTo>
                    <a:pt x="2713" y="233"/>
                    <a:pt x="2714" y="230"/>
                    <a:pt x="2719" y="230"/>
                  </a:cubicBezTo>
                  <a:cubicBezTo>
                    <a:pt x="2725" y="236"/>
                    <a:pt x="2714" y="241"/>
                    <a:pt x="2725" y="242"/>
                  </a:cubicBezTo>
                  <a:cubicBezTo>
                    <a:pt x="2724" y="245"/>
                    <a:pt x="2718" y="244"/>
                    <a:pt x="2714" y="245"/>
                  </a:cubicBezTo>
                  <a:close/>
                  <a:moveTo>
                    <a:pt x="2727" y="237"/>
                  </a:moveTo>
                  <a:cubicBezTo>
                    <a:pt x="2730" y="232"/>
                    <a:pt x="2734" y="229"/>
                    <a:pt x="2733" y="221"/>
                  </a:cubicBezTo>
                  <a:cubicBezTo>
                    <a:pt x="2743" y="224"/>
                    <a:pt x="2734" y="228"/>
                    <a:pt x="2738" y="235"/>
                  </a:cubicBezTo>
                  <a:cubicBezTo>
                    <a:pt x="2733" y="235"/>
                    <a:pt x="2733" y="238"/>
                    <a:pt x="2727" y="237"/>
                  </a:cubicBezTo>
                  <a:close/>
                  <a:moveTo>
                    <a:pt x="2733" y="242"/>
                  </a:moveTo>
                  <a:cubicBezTo>
                    <a:pt x="2735" y="244"/>
                    <a:pt x="2739" y="244"/>
                    <a:pt x="2739" y="249"/>
                  </a:cubicBezTo>
                  <a:cubicBezTo>
                    <a:pt x="2731" y="250"/>
                    <a:pt x="2731" y="244"/>
                    <a:pt x="2730" y="240"/>
                  </a:cubicBezTo>
                  <a:cubicBezTo>
                    <a:pt x="2735" y="240"/>
                    <a:pt x="2736" y="237"/>
                    <a:pt x="2741" y="237"/>
                  </a:cubicBezTo>
                  <a:cubicBezTo>
                    <a:pt x="2743" y="242"/>
                    <a:pt x="2737" y="242"/>
                    <a:pt x="2733" y="242"/>
                  </a:cubicBezTo>
                  <a:close/>
                  <a:moveTo>
                    <a:pt x="2730" y="218"/>
                  </a:moveTo>
                  <a:cubicBezTo>
                    <a:pt x="2727" y="211"/>
                    <a:pt x="2747" y="206"/>
                    <a:pt x="2730" y="207"/>
                  </a:cubicBezTo>
                  <a:cubicBezTo>
                    <a:pt x="2729" y="198"/>
                    <a:pt x="2749" y="206"/>
                    <a:pt x="2751" y="199"/>
                  </a:cubicBezTo>
                  <a:cubicBezTo>
                    <a:pt x="2758" y="201"/>
                    <a:pt x="2748" y="208"/>
                    <a:pt x="2752" y="216"/>
                  </a:cubicBezTo>
                  <a:cubicBezTo>
                    <a:pt x="2746" y="217"/>
                    <a:pt x="2748" y="211"/>
                    <a:pt x="2743" y="211"/>
                  </a:cubicBezTo>
                  <a:cubicBezTo>
                    <a:pt x="2735" y="213"/>
                    <a:pt x="2750" y="215"/>
                    <a:pt x="2746" y="221"/>
                  </a:cubicBezTo>
                  <a:cubicBezTo>
                    <a:pt x="2741" y="218"/>
                    <a:pt x="2738" y="222"/>
                    <a:pt x="2730" y="218"/>
                  </a:cubicBezTo>
                  <a:close/>
                  <a:moveTo>
                    <a:pt x="2740" y="185"/>
                  </a:moveTo>
                  <a:cubicBezTo>
                    <a:pt x="2742" y="185"/>
                    <a:pt x="2744" y="185"/>
                    <a:pt x="2746" y="185"/>
                  </a:cubicBezTo>
                  <a:cubicBezTo>
                    <a:pt x="2746" y="187"/>
                    <a:pt x="2746" y="188"/>
                    <a:pt x="2746" y="190"/>
                  </a:cubicBezTo>
                  <a:cubicBezTo>
                    <a:pt x="2744" y="190"/>
                    <a:pt x="2742" y="190"/>
                    <a:pt x="2740" y="190"/>
                  </a:cubicBezTo>
                  <a:cubicBezTo>
                    <a:pt x="2740" y="189"/>
                    <a:pt x="2740" y="187"/>
                    <a:pt x="2740" y="185"/>
                  </a:cubicBezTo>
                  <a:close/>
                  <a:moveTo>
                    <a:pt x="2755" y="242"/>
                  </a:moveTo>
                  <a:cubicBezTo>
                    <a:pt x="2751" y="242"/>
                    <a:pt x="2748" y="242"/>
                    <a:pt x="2744" y="242"/>
                  </a:cubicBezTo>
                  <a:cubicBezTo>
                    <a:pt x="2743" y="237"/>
                    <a:pt x="2751" y="238"/>
                    <a:pt x="2749" y="239"/>
                  </a:cubicBezTo>
                  <a:cubicBezTo>
                    <a:pt x="2755" y="235"/>
                    <a:pt x="2752" y="229"/>
                    <a:pt x="2763" y="230"/>
                  </a:cubicBezTo>
                  <a:cubicBezTo>
                    <a:pt x="2766" y="238"/>
                    <a:pt x="2750" y="231"/>
                    <a:pt x="2755" y="242"/>
                  </a:cubicBezTo>
                  <a:close/>
                  <a:moveTo>
                    <a:pt x="2763" y="248"/>
                  </a:moveTo>
                  <a:cubicBezTo>
                    <a:pt x="2760" y="248"/>
                    <a:pt x="2761" y="244"/>
                    <a:pt x="2760" y="241"/>
                  </a:cubicBezTo>
                  <a:cubicBezTo>
                    <a:pt x="2763" y="241"/>
                    <a:pt x="2766" y="241"/>
                    <a:pt x="2769" y="241"/>
                  </a:cubicBezTo>
                  <a:cubicBezTo>
                    <a:pt x="2768" y="244"/>
                    <a:pt x="2764" y="245"/>
                    <a:pt x="2763" y="248"/>
                  </a:cubicBezTo>
                  <a:close/>
                  <a:moveTo>
                    <a:pt x="2771" y="222"/>
                  </a:moveTo>
                  <a:cubicBezTo>
                    <a:pt x="2784" y="224"/>
                    <a:pt x="2769" y="237"/>
                    <a:pt x="2771" y="222"/>
                  </a:cubicBezTo>
                  <a:close/>
                  <a:moveTo>
                    <a:pt x="2777" y="262"/>
                  </a:moveTo>
                  <a:cubicBezTo>
                    <a:pt x="2771" y="261"/>
                    <a:pt x="2775" y="250"/>
                    <a:pt x="2777" y="248"/>
                  </a:cubicBezTo>
                  <a:cubicBezTo>
                    <a:pt x="2783" y="249"/>
                    <a:pt x="2779" y="261"/>
                    <a:pt x="2777" y="262"/>
                  </a:cubicBezTo>
                  <a:close/>
                  <a:moveTo>
                    <a:pt x="2782" y="236"/>
                  </a:moveTo>
                  <a:cubicBezTo>
                    <a:pt x="2781" y="236"/>
                    <a:pt x="2779" y="236"/>
                    <a:pt x="2777" y="237"/>
                  </a:cubicBezTo>
                  <a:cubicBezTo>
                    <a:pt x="2777" y="234"/>
                    <a:pt x="2776" y="234"/>
                    <a:pt x="2774" y="234"/>
                  </a:cubicBezTo>
                  <a:cubicBezTo>
                    <a:pt x="2773" y="230"/>
                    <a:pt x="2786" y="231"/>
                    <a:pt x="2782" y="236"/>
                  </a:cubicBezTo>
                  <a:close/>
                  <a:moveTo>
                    <a:pt x="2794" y="269"/>
                  </a:moveTo>
                  <a:cubicBezTo>
                    <a:pt x="2794" y="268"/>
                    <a:pt x="2794" y="266"/>
                    <a:pt x="2794" y="264"/>
                  </a:cubicBezTo>
                  <a:cubicBezTo>
                    <a:pt x="2796" y="264"/>
                    <a:pt x="2797" y="264"/>
                    <a:pt x="2799" y="264"/>
                  </a:cubicBezTo>
                  <a:cubicBezTo>
                    <a:pt x="2799" y="266"/>
                    <a:pt x="2799" y="267"/>
                    <a:pt x="2799" y="269"/>
                  </a:cubicBezTo>
                  <a:cubicBezTo>
                    <a:pt x="2798" y="269"/>
                    <a:pt x="2796" y="269"/>
                    <a:pt x="2794" y="269"/>
                  </a:cubicBezTo>
                  <a:close/>
                  <a:moveTo>
                    <a:pt x="2807" y="259"/>
                  </a:moveTo>
                  <a:cubicBezTo>
                    <a:pt x="2804" y="256"/>
                    <a:pt x="2796" y="257"/>
                    <a:pt x="2796" y="250"/>
                  </a:cubicBezTo>
                  <a:cubicBezTo>
                    <a:pt x="2804" y="253"/>
                    <a:pt x="2809" y="244"/>
                    <a:pt x="2799" y="245"/>
                  </a:cubicBezTo>
                  <a:cubicBezTo>
                    <a:pt x="2799" y="242"/>
                    <a:pt x="2806" y="238"/>
                    <a:pt x="2804" y="245"/>
                  </a:cubicBezTo>
                  <a:cubicBezTo>
                    <a:pt x="2808" y="245"/>
                    <a:pt x="2809" y="246"/>
                    <a:pt x="2810" y="248"/>
                  </a:cubicBezTo>
                  <a:cubicBezTo>
                    <a:pt x="2819" y="247"/>
                    <a:pt x="2802" y="239"/>
                    <a:pt x="2815" y="241"/>
                  </a:cubicBezTo>
                  <a:cubicBezTo>
                    <a:pt x="2815" y="245"/>
                    <a:pt x="2815" y="250"/>
                    <a:pt x="2816" y="255"/>
                  </a:cubicBezTo>
                  <a:cubicBezTo>
                    <a:pt x="2810" y="254"/>
                    <a:pt x="2807" y="255"/>
                    <a:pt x="2807" y="259"/>
                  </a:cubicBezTo>
                  <a:close/>
                  <a:moveTo>
                    <a:pt x="2810" y="231"/>
                  </a:moveTo>
                  <a:cubicBezTo>
                    <a:pt x="2809" y="234"/>
                    <a:pt x="2806" y="236"/>
                    <a:pt x="2801" y="236"/>
                  </a:cubicBezTo>
                  <a:cubicBezTo>
                    <a:pt x="2800" y="231"/>
                    <a:pt x="2805" y="232"/>
                    <a:pt x="2810" y="231"/>
                  </a:cubicBezTo>
                  <a:close/>
                  <a:moveTo>
                    <a:pt x="2824" y="259"/>
                  </a:moveTo>
                  <a:cubicBezTo>
                    <a:pt x="2834" y="255"/>
                    <a:pt x="2826" y="267"/>
                    <a:pt x="2832" y="266"/>
                  </a:cubicBezTo>
                  <a:cubicBezTo>
                    <a:pt x="2830" y="272"/>
                    <a:pt x="2821" y="265"/>
                    <a:pt x="2824" y="259"/>
                  </a:cubicBezTo>
                  <a:close/>
                  <a:moveTo>
                    <a:pt x="2838" y="268"/>
                  </a:moveTo>
                  <a:cubicBezTo>
                    <a:pt x="2838" y="267"/>
                    <a:pt x="2838" y="265"/>
                    <a:pt x="2838" y="264"/>
                  </a:cubicBezTo>
                  <a:cubicBezTo>
                    <a:pt x="2840" y="264"/>
                    <a:pt x="2841" y="264"/>
                    <a:pt x="2843" y="264"/>
                  </a:cubicBezTo>
                  <a:cubicBezTo>
                    <a:pt x="2843" y="265"/>
                    <a:pt x="2843" y="267"/>
                    <a:pt x="2843" y="268"/>
                  </a:cubicBezTo>
                  <a:cubicBezTo>
                    <a:pt x="2841" y="268"/>
                    <a:pt x="2840" y="268"/>
                    <a:pt x="2838" y="268"/>
                  </a:cubicBezTo>
                  <a:close/>
                  <a:moveTo>
                    <a:pt x="2833" y="163"/>
                  </a:moveTo>
                  <a:cubicBezTo>
                    <a:pt x="2839" y="163"/>
                    <a:pt x="2835" y="173"/>
                    <a:pt x="2836" y="177"/>
                  </a:cubicBezTo>
                  <a:cubicBezTo>
                    <a:pt x="2840" y="176"/>
                    <a:pt x="2838" y="171"/>
                    <a:pt x="2839" y="167"/>
                  </a:cubicBezTo>
                  <a:cubicBezTo>
                    <a:pt x="2849" y="167"/>
                    <a:pt x="2846" y="180"/>
                    <a:pt x="2850" y="186"/>
                  </a:cubicBezTo>
                  <a:cubicBezTo>
                    <a:pt x="2845" y="186"/>
                    <a:pt x="2847" y="192"/>
                    <a:pt x="2839" y="191"/>
                  </a:cubicBezTo>
                  <a:cubicBezTo>
                    <a:pt x="2838" y="181"/>
                    <a:pt x="2852" y="178"/>
                    <a:pt x="2833" y="179"/>
                  </a:cubicBezTo>
                  <a:cubicBezTo>
                    <a:pt x="2836" y="171"/>
                    <a:pt x="2827" y="168"/>
                    <a:pt x="2833" y="163"/>
                  </a:cubicBezTo>
                  <a:close/>
                  <a:moveTo>
                    <a:pt x="2850" y="198"/>
                  </a:moveTo>
                  <a:cubicBezTo>
                    <a:pt x="2847" y="202"/>
                    <a:pt x="2834" y="210"/>
                    <a:pt x="2834" y="198"/>
                  </a:cubicBezTo>
                  <a:cubicBezTo>
                    <a:pt x="2843" y="200"/>
                    <a:pt x="2845" y="193"/>
                    <a:pt x="2850" y="198"/>
                  </a:cubicBezTo>
                  <a:close/>
                  <a:moveTo>
                    <a:pt x="2836" y="191"/>
                  </a:moveTo>
                  <a:cubicBezTo>
                    <a:pt x="2834" y="190"/>
                    <a:pt x="2834" y="192"/>
                    <a:pt x="2834" y="193"/>
                  </a:cubicBezTo>
                  <a:cubicBezTo>
                    <a:pt x="2830" y="193"/>
                    <a:pt x="2831" y="189"/>
                    <a:pt x="2831" y="186"/>
                  </a:cubicBezTo>
                  <a:cubicBezTo>
                    <a:pt x="2835" y="185"/>
                    <a:pt x="2836" y="188"/>
                    <a:pt x="2836" y="191"/>
                  </a:cubicBezTo>
                  <a:close/>
                  <a:moveTo>
                    <a:pt x="2825" y="175"/>
                  </a:moveTo>
                  <a:cubicBezTo>
                    <a:pt x="2831" y="176"/>
                    <a:pt x="2831" y="178"/>
                    <a:pt x="2828" y="182"/>
                  </a:cubicBezTo>
                  <a:cubicBezTo>
                    <a:pt x="2826" y="182"/>
                    <a:pt x="2824" y="182"/>
                    <a:pt x="2822" y="182"/>
                  </a:cubicBezTo>
                  <a:cubicBezTo>
                    <a:pt x="2822" y="178"/>
                    <a:pt x="2825" y="178"/>
                    <a:pt x="2825" y="175"/>
                  </a:cubicBezTo>
                  <a:close/>
                  <a:moveTo>
                    <a:pt x="2812" y="184"/>
                  </a:moveTo>
                  <a:cubicBezTo>
                    <a:pt x="2823" y="185"/>
                    <a:pt x="2812" y="190"/>
                    <a:pt x="2817" y="196"/>
                  </a:cubicBezTo>
                  <a:cubicBezTo>
                    <a:pt x="2808" y="198"/>
                    <a:pt x="2813" y="189"/>
                    <a:pt x="2812" y="184"/>
                  </a:cubicBezTo>
                  <a:close/>
                  <a:moveTo>
                    <a:pt x="2801" y="182"/>
                  </a:moveTo>
                  <a:cubicBezTo>
                    <a:pt x="2802" y="182"/>
                    <a:pt x="2804" y="182"/>
                    <a:pt x="2806" y="182"/>
                  </a:cubicBezTo>
                  <a:cubicBezTo>
                    <a:pt x="2806" y="184"/>
                    <a:pt x="2807" y="184"/>
                    <a:pt x="2809" y="184"/>
                  </a:cubicBezTo>
                  <a:cubicBezTo>
                    <a:pt x="2809" y="187"/>
                    <a:pt x="2805" y="186"/>
                    <a:pt x="2803" y="187"/>
                  </a:cubicBezTo>
                  <a:cubicBezTo>
                    <a:pt x="2805" y="189"/>
                    <a:pt x="2806" y="190"/>
                    <a:pt x="2806" y="194"/>
                  </a:cubicBezTo>
                  <a:cubicBezTo>
                    <a:pt x="2795" y="194"/>
                    <a:pt x="2799" y="188"/>
                    <a:pt x="2801" y="182"/>
                  </a:cubicBezTo>
                  <a:close/>
                  <a:moveTo>
                    <a:pt x="2801" y="215"/>
                  </a:moveTo>
                  <a:cubicBezTo>
                    <a:pt x="2811" y="212"/>
                    <a:pt x="2811" y="209"/>
                    <a:pt x="2820" y="215"/>
                  </a:cubicBezTo>
                  <a:cubicBezTo>
                    <a:pt x="2823" y="214"/>
                    <a:pt x="2822" y="212"/>
                    <a:pt x="2823" y="210"/>
                  </a:cubicBezTo>
                  <a:cubicBezTo>
                    <a:pt x="2822" y="208"/>
                    <a:pt x="2811" y="204"/>
                    <a:pt x="2812" y="208"/>
                  </a:cubicBezTo>
                  <a:cubicBezTo>
                    <a:pt x="2803" y="206"/>
                    <a:pt x="2815" y="203"/>
                    <a:pt x="2815" y="201"/>
                  </a:cubicBezTo>
                  <a:cubicBezTo>
                    <a:pt x="2815" y="197"/>
                    <a:pt x="2827" y="197"/>
                    <a:pt x="2831" y="198"/>
                  </a:cubicBezTo>
                  <a:cubicBezTo>
                    <a:pt x="2830" y="200"/>
                    <a:pt x="2826" y="200"/>
                    <a:pt x="2826" y="203"/>
                  </a:cubicBezTo>
                  <a:cubicBezTo>
                    <a:pt x="2825" y="206"/>
                    <a:pt x="2831" y="204"/>
                    <a:pt x="2831" y="205"/>
                  </a:cubicBezTo>
                  <a:cubicBezTo>
                    <a:pt x="2832" y="206"/>
                    <a:pt x="2825" y="218"/>
                    <a:pt x="2840" y="214"/>
                  </a:cubicBezTo>
                  <a:cubicBezTo>
                    <a:pt x="2843" y="212"/>
                    <a:pt x="2844" y="207"/>
                    <a:pt x="2853" y="209"/>
                  </a:cubicBezTo>
                  <a:cubicBezTo>
                    <a:pt x="2846" y="218"/>
                    <a:pt x="2842" y="225"/>
                    <a:pt x="2845" y="238"/>
                  </a:cubicBezTo>
                  <a:cubicBezTo>
                    <a:pt x="2842" y="238"/>
                    <a:pt x="2838" y="238"/>
                    <a:pt x="2834" y="238"/>
                  </a:cubicBezTo>
                  <a:cubicBezTo>
                    <a:pt x="2835" y="235"/>
                    <a:pt x="2839" y="236"/>
                    <a:pt x="2843" y="235"/>
                  </a:cubicBezTo>
                  <a:cubicBezTo>
                    <a:pt x="2844" y="230"/>
                    <a:pt x="2837" y="232"/>
                    <a:pt x="2837" y="228"/>
                  </a:cubicBezTo>
                  <a:cubicBezTo>
                    <a:pt x="2835" y="223"/>
                    <a:pt x="2841" y="225"/>
                    <a:pt x="2842" y="224"/>
                  </a:cubicBezTo>
                  <a:cubicBezTo>
                    <a:pt x="2844" y="222"/>
                    <a:pt x="2842" y="218"/>
                    <a:pt x="2845" y="219"/>
                  </a:cubicBezTo>
                  <a:cubicBezTo>
                    <a:pt x="2844" y="215"/>
                    <a:pt x="2842" y="220"/>
                    <a:pt x="2837" y="219"/>
                  </a:cubicBezTo>
                  <a:cubicBezTo>
                    <a:pt x="2838" y="215"/>
                    <a:pt x="2821" y="215"/>
                    <a:pt x="2826" y="222"/>
                  </a:cubicBezTo>
                  <a:cubicBezTo>
                    <a:pt x="2820" y="218"/>
                    <a:pt x="2816" y="223"/>
                    <a:pt x="2812" y="222"/>
                  </a:cubicBezTo>
                  <a:cubicBezTo>
                    <a:pt x="2811" y="221"/>
                    <a:pt x="2813" y="216"/>
                    <a:pt x="2809" y="217"/>
                  </a:cubicBezTo>
                  <a:cubicBezTo>
                    <a:pt x="2806" y="218"/>
                    <a:pt x="2807" y="221"/>
                    <a:pt x="2807" y="224"/>
                  </a:cubicBezTo>
                  <a:cubicBezTo>
                    <a:pt x="2800" y="225"/>
                    <a:pt x="2804" y="217"/>
                    <a:pt x="2798" y="217"/>
                  </a:cubicBezTo>
                  <a:cubicBezTo>
                    <a:pt x="2788" y="223"/>
                    <a:pt x="2807" y="240"/>
                    <a:pt x="2791" y="239"/>
                  </a:cubicBezTo>
                  <a:cubicBezTo>
                    <a:pt x="2791" y="237"/>
                    <a:pt x="2787" y="236"/>
                    <a:pt x="2788" y="234"/>
                  </a:cubicBezTo>
                  <a:cubicBezTo>
                    <a:pt x="2788" y="233"/>
                    <a:pt x="2793" y="232"/>
                    <a:pt x="2793" y="231"/>
                  </a:cubicBezTo>
                  <a:cubicBezTo>
                    <a:pt x="2793" y="227"/>
                    <a:pt x="2787" y="225"/>
                    <a:pt x="2790" y="217"/>
                  </a:cubicBezTo>
                  <a:cubicBezTo>
                    <a:pt x="2788" y="219"/>
                    <a:pt x="2783" y="219"/>
                    <a:pt x="2782" y="222"/>
                  </a:cubicBezTo>
                  <a:cubicBezTo>
                    <a:pt x="2777" y="220"/>
                    <a:pt x="2776" y="213"/>
                    <a:pt x="2771" y="211"/>
                  </a:cubicBezTo>
                  <a:cubicBezTo>
                    <a:pt x="2773" y="206"/>
                    <a:pt x="2776" y="210"/>
                    <a:pt x="2779" y="211"/>
                  </a:cubicBezTo>
                  <a:cubicBezTo>
                    <a:pt x="2776" y="203"/>
                    <a:pt x="2777" y="201"/>
                    <a:pt x="2782" y="196"/>
                  </a:cubicBezTo>
                  <a:cubicBezTo>
                    <a:pt x="2789" y="200"/>
                    <a:pt x="2782" y="211"/>
                    <a:pt x="2779" y="213"/>
                  </a:cubicBezTo>
                  <a:cubicBezTo>
                    <a:pt x="2780" y="219"/>
                    <a:pt x="2801" y="204"/>
                    <a:pt x="2793" y="215"/>
                  </a:cubicBezTo>
                  <a:cubicBezTo>
                    <a:pt x="2795" y="214"/>
                    <a:pt x="2798" y="213"/>
                    <a:pt x="2798" y="210"/>
                  </a:cubicBezTo>
                  <a:cubicBezTo>
                    <a:pt x="2798" y="208"/>
                    <a:pt x="2793" y="208"/>
                    <a:pt x="2790" y="208"/>
                  </a:cubicBezTo>
                  <a:cubicBezTo>
                    <a:pt x="2790" y="204"/>
                    <a:pt x="2790" y="200"/>
                    <a:pt x="2790" y="196"/>
                  </a:cubicBezTo>
                  <a:cubicBezTo>
                    <a:pt x="2807" y="195"/>
                    <a:pt x="2808" y="206"/>
                    <a:pt x="2801" y="215"/>
                  </a:cubicBezTo>
                  <a:close/>
                  <a:moveTo>
                    <a:pt x="2781" y="180"/>
                  </a:moveTo>
                  <a:cubicBezTo>
                    <a:pt x="2794" y="180"/>
                    <a:pt x="2782" y="188"/>
                    <a:pt x="2784" y="194"/>
                  </a:cubicBezTo>
                  <a:cubicBezTo>
                    <a:pt x="2778" y="194"/>
                    <a:pt x="2783" y="184"/>
                    <a:pt x="2781" y="180"/>
                  </a:cubicBezTo>
                  <a:close/>
                  <a:moveTo>
                    <a:pt x="2797" y="159"/>
                  </a:moveTo>
                  <a:cubicBezTo>
                    <a:pt x="2802" y="154"/>
                    <a:pt x="2797" y="156"/>
                    <a:pt x="2797" y="149"/>
                  </a:cubicBezTo>
                  <a:cubicBezTo>
                    <a:pt x="2803" y="148"/>
                    <a:pt x="2807" y="161"/>
                    <a:pt x="2797" y="159"/>
                  </a:cubicBezTo>
                  <a:close/>
                  <a:moveTo>
                    <a:pt x="2792" y="177"/>
                  </a:moveTo>
                  <a:cubicBezTo>
                    <a:pt x="2805" y="179"/>
                    <a:pt x="2790" y="192"/>
                    <a:pt x="2792" y="177"/>
                  </a:cubicBezTo>
                  <a:close/>
                  <a:moveTo>
                    <a:pt x="2784" y="149"/>
                  </a:moveTo>
                  <a:cubicBezTo>
                    <a:pt x="2786" y="149"/>
                    <a:pt x="2786" y="152"/>
                    <a:pt x="2786" y="154"/>
                  </a:cubicBezTo>
                  <a:cubicBezTo>
                    <a:pt x="2790" y="154"/>
                    <a:pt x="2791" y="153"/>
                    <a:pt x="2792" y="152"/>
                  </a:cubicBezTo>
                  <a:cubicBezTo>
                    <a:pt x="2802" y="156"/>
                    <a:pt x="2784" y="157"/>
                    <a:pt x="2778" y="157"/>
                  </a:cubicBezTo>
                  <a:cubicBezTo>
                    <a:pt x="2779" y="153"/>
                    <a:pt x="2783" y="153"/>
                    <a:pt x="2784" y="149"/>
                  </a:cubicBezTo>
                  <a:close/>
                  <a:moveTo>
                    <a:pt x="2776" y="166"/>
                  </a:moveTo>
                  <a:cubicBezTo>
                    <a:pt x="2779" y="167"/>
                    <a:pt x="2778" y="171"/>
                    <a:pt x="2781" y="171"/>
                  </a:cubicBezTo>
                  <a:cubicBezTo>
                    <a:pt x="2780" y="177"/>
                    <a:pt x="2772" y="171"/>
                    <a:pt x="2776" y="166"/>
                  </a:cubicBezTo>
                  <a:close/>
                  <a:moveTo>
                    <a:pt x="2770" y="175"/>
                  </a:moveTo>
                  <a:cubicBezTo>
                    <a:pt x="2770" y="178"/>
                    <a:pt x="2774" y="177"/>
                    <a:pt x="2776" y="178"/>
                  </a:cubicBezTo>
                  <a:cubicBezTo>
                    <a:pt x="2774" y="181"/>
                    <a:pt x="2779" y="190"/>
                    <a:pt x="2773" y="190"/>
                  </a:cubicBezTo>
                  <a:cubicBezTo>
                    <a:pt x="2773" y="203"/>
                    <a:pt x="2772" y="201"/>
                    <a:pt x="2768" y="211"/>
                  </a:cubicBezTo>
                  <a:cubicBezTo>
                    <a:pt x="2769" y="213"/>
                    <a:pt x="2771" y="215"/>
                    <a:pt x="2774" y="215"/>
                  </a:cubicBezTo>
                  <a:cubicBezTo>
                    <a:pt x="2773" y="218"/>
                    <a:pt x="2768" y="217"/>
                    <a:pt x="2768" y="220"/>
                  </a:cubicBezTo>
                  <a:cubicBezTo>
                    <a:pt x="2764" y="220"/>
                    <a:pt x="2767" y="213"/>
                    <a:pt x="2763" y="213"/>
                  </a:cubicBezTo>
                  <a:cubicBezTo>
                    <a:pt x="2753" y="215"/>
                    <a:pt x="2764" y="220"/>
                    <a:pt x="2757" y="225"/>
                  </a:cubicBezTo>
                  <a:cubicBezTo>
                    <a:pt x="2755" y="224"/>
                    <a:pt x="2752" y="223"/>
                    <a:pt x="2752" y="220"/>
                  </a:cubicBezTo>
                  <a:cubicBezTo>
                    <a:pt x="2752" y="218"/>
                    <a:pt x="2757" y="217"/>
                    <a:pt x="2757" y="216"/>
                  </a:cubicBezTo>
                  <a:cubicBezTo>
                    <a:pt x="2759" y="209"/>
                    <a:pt x="2756" y="199"/>
                    <a:pt x="2768" y="201"/>
                  </a:cubicBezTo>
                  <a:cubicBezTo>
                    <a:pt x="2762" y="195"/>
                    <a:pt x="2768" y="193"/>
                    <a:pt x="2768" y="183"/>
                  </a:cubicBezTo>
                  <a:cubicBezTo>
                    <a:pt x="2768" y="182"/>
                    <a:pt x="2768" y="178"/>
                    <a:pt x="2768" y="178"/>
                  </a:cubicBezTo>
                  <a:cubicBezTo>
                    <a:pt x="2767" y="178"/>
                    <a:pt x="2765" y="178"/>
                    <a:pt x="2765" y="178"/>
                  </a:cubicBezTo>
                  <a:cubicBezTo>
                    <a:pt x="2765" y="177"/>
                    <a:pt x="2767" y="175"/>
                    <a:pt x="2768" y="176"/>
                  </a:cubicBezTo>
                  <a:cubicBezTo>
                    <a:pt x="2767" y="174"/>
                    <a:pt x="2762" y="171"/>
                    <a:pt x="2762" y="171"/>
                  </a:cubicBezTo>
                  <a:cubicBezTo>
                    <a:pt x="2761" y="167"/>
                    <a:pt x="2764" y="167"/>
                    <a:pt x="2765" y="164"/>
                  </a:cubicBezTo>
                  <a:cubicBezTo>
                    <a:pt x="2765" y="159"/>
                    <a:pt x="2762" y="157"/>
                    <a:pt x="2762" y="152"/>
                  </a:cubicBezTo>
                  <a:cubicBezTo>
                    <a:pt x="2775" y="151"/>
                    <a:pt x="2768" y="167"/>
                    <a:pt x="2770" y="175"/>
                  </a:cubicBezTo>
                  <a:close/>
                  <a:moveTo>
                    <a:pt x="2757" y="185"/>
                  </a:moveTo>
                  <a:cubicBezTo>
                    <a:pt x="2768" y="184"/>
                    <a:pt x="2759" y="193"/>
                    <a:pt x="2760" y="197"/>
                  </a:cubicBezTo>
                  <a:cubicBezTo>
                    <a:pt x="2754" y="197"/>
                    <a:pt x="2758" y="189"/>
                    <a:pt x="2757" y="185"/>
                  </a:cubicBezTo>
                  <a:close/>
                  <a:moveTo>
                    <a:pt x="2734" y="153"/>
                  </a:moveTo>
                  <a:cubicBezTo>
                    <a:pt x="2748" y="151"/>
                    <a:pt x="2748" y="152"/>
                    <a:pt x="2759" y="150"/>
                  </a:cubicBezTo>
                  <a:cubicBezTo>
                    <a:pt x="2757" y="157"/>
                    <a:pt x="2761" y="159"/>
                    <a:pt x="2759" y="164"/>
                  </a:cubicBezTo>
                  <a:cubicBezTo>
                    <a:pt x="2759" y="164"/>
                    <a:pt x="2755" y="161"/>
                    <a:pt x="2754" y="162"/>
                  </a:cubicBezTo>
                  <a:cubicBezTo>
                    <a:pt x="2752" y="162"/>
                    <a:pt x="2749" y="168"/>
                    <a:pt x="2756" y="169"/>
                  </a:cubicBezTo>
                  <a:cubicBezTo>
                    <a:pt x="2754" y="171"/>
                    <a:pt x="2739" y="181"/>
                    <a:pt x="2751" y="181"/>
                  </a:cubicBezTo>
                  <a:cubicBezTo>
                    <a:pt x="2761" y="181"/>
                    <a:pt x="2743" y="187"/>
                    <a:pt x="2746" y="181"/>
                  </a:cubicBezTo>
                  <a:cubicBezTo>
                    <a:pt x="2739" y="181"/>
                    <a:pt x="2737" y="185"/>
                    <a:pt x="2732" y="181"/>
                  </a:cubicBezTo>
                  <a:cubicBezTo>
                    <a:pt x="2734" y="177"/>
                    <a:pt x="2741" y="177"/>
                    <a:pt x="2746" y="176"/>
                  </a:cubicBezTo>
                  <a:cubicBezTo>
                    <a:pt x="2743" y="172"/>
                    <a:pt x="2754" y="168"/>
                    <a:pt x="2745" y="166"/>
                  </a:cubicBezTo>
                  <a:cubicBezTo>
                    <a:pt x="2748" y="164"/>
                    <a:pt x="2751" y="162"/>
                    <a:pt x="2754" y="159"/>
                  </a:cubicBezTo>
                  <a:cubicBezTo>
                    <a:pt x="2751" y="151"/>
                    <a:pt x="2737" y="166"/>
                    <a:pt x="2740" y="155"/>
                  </a:cubicBezTo>
                  <a:cubicBezTo>
                    <a:pt x="2736" y="156"/>
                    <a:pt x="2733" y="159"/>
                    <a:pt x="2732" y="162"/>
                  </a:cubicBezTo>
                  <a:cubicBezTo>
                    <a:pt x="2723" y="160"/>
                    <a:pt x="2735" y="156"/>
                    <a:pt x="2734" y="153"/>
                  </a:cubicBezTo>
                  <a:close/>
                  <a:moveTo>
                    <a:pt x="2724" y="169"/>
                  </a:moveTo>
                  <a:cubicBezTo>
                    <a:pt x="2728" y="170"/>
                    <a:pt x="2729" y="167"/>
                    <a:pt x="2729" y="164"/>
                  </a:cubicBezTo>
                  <a:cubicBezTo>
                    <a:pt x="2734" y="165"/>
                    <a:pt x="2735" y="161"/>
                    <a:pt x="2740" y="162"/>
                  </a:cubicBezTo>
                  <a:cubicBezTo>
                    <a:pt x="2739" y="165"/>
                    <a:pt x="2741" y="166"/>
                    <a:pt x="2743" y="167"/>
                  </a:cubicBezTo>
                  <a:cubicBezTo>
                    <a:pt x="2740" y="170"/>
                    <a:pt x="2735" y="173"/>
                    <a:pt x="2732" y="176"/>
                  </a:cubicBezTo>
                  <a:cubicBezTo>
                    <a:pt x="2729" y="177"/>
                    <a:pt x="2730" y="172"/>
                    <a:pt x="2729" y="171"/>
                  </a:cubicBezTo>
                  <a:cubicBezTo>
                    <a:pt x="2725" y="170"/>
                    <a:pt x="2721" y="176"/>
                    <a:pt x="2715" y="172"/>
                  </a:cubicBezTo>
                  <a:cubicBezTo>
                    <a:pt x="2708" y="172"/>
                    <a:pt x="2719" y="176"/>
                    <a:pt x="2716" y="181"/>
                  </a:cubicBezTo>
                  <a:cubicBezTo>
                    <a:pt x="2705" y="180"/>
                    <a:pt x="2718" y="171"/>
                    <a:pt x="2704" y="172"/>
                  </a:cubicBezTo>
                  <a:cubicBezTo>
                    <a:pt x="2711" y="167"/>
                    <a:pt x="2699" y="160"/>
                    <a:pt x="2712" y="160"/>
                  </a:cubicBezTo>
                  <a:cubicBezTo>
                    <a:pt x="2711" y="166"/>
                    <a:pt x="2708" y="169"/>
                    <a:pt x="2718" y="169"/>
                  </a:cubicBezTo>
                  <a:cubicBezTo>
                    <a:pt x="2722" y="169"/>
                    <a:pt x="2722" y="149"/>
                    <a:pt x="2724" y="169"/>
                  </a:cubicBezTo>
                  <a:close/>
                  <a:moveTo>
                    <a:pt x="2701" y="151"/>
                  </a:moveTo>
                  <a:cubicBezTo>
                    <a:pt x="2704" y="148"/>
                    <a:pt x="2711" y="148"/>
                    <a:pt x="2718" y="148"/>
                  </a:cubicBezTo>
                  <a:cubicBezTo>
                    <a:pt x="2722" y="156"/>
                    <a:pt x="2700" y="160"/>
                    <a:pt x="2701" y="151"/>
                  </a:cubicBezTo>
                  <a:close/>
                  <a:moveTo>
                    <a:pt x="2699" y="203"/>
                  </a:moveTo>
                  <a:cubicBezTo>
                    <a:pt x="2699" y="198"/>
                    <a:pt x="2704" y="198"/>
                    <a:pt x="2705" y="193"/>
                  </a:cubicBezTo>
                  <a:cubicBezTo>
                    <a:pt x="2706" y="187"/>
                    <a:pt x="2702" y="187"/>
                    <a:pt x="2702" y="181"/>
                  </a:cubicBezTo>
                  <a:cubicBezTo>
                    <a:pt x="2717" y="180"/>
                    <a:pt x="2702" y="192"/>
                    <a:pt x="2710" y="195"/>
                  </a:cubicBezTo>
                  <a:cubicBezTo>
                    <a:pt x="2713" y="195"/>
                    <a:pt x="2712" y="193"/>
                    <a:pt x="2710" y="193"/>
                  </a:cubicBezTo>
                  <a:cubicBezTo>
                    <a:pt x="2712" y="190"/>
                    <a:pt x="2716" y="189"/>
                    <a:pt x="2721" y="188"/>
                  </a:cubicBezTo>
                  <a:cubicBezTo>
                    <a:pt x="2722" y="184"/>
                    <a:pt x="2718" y="176"/>
                    <a:pt x="2726" y="179"/>
                  </a:cubicBezTo>
                  <a:cubicBezTo>
                    <a:pt x="2723" y="186"/>
                    <a:pt x="2728" y="187"/>
                    <a:pt x="2727" y="197"/>
                  </a:cubicBezTo>
                  <a:cubicBezTo>
                    <a:pt x="2724" y="196"/>
                    <a:pt x="2723" y="193"/>
                    <a:pt x="2721" y="190"/>
                  </a:cubicBezTo>
                  <a:cubicBezTo>
                    <a:pt x="2713" y="192"/>
                    <a:pt x="2724" y="208"/>
                    <a:pt x="2727" y="200"/>
                  </a:cubicBezTo>
                  <a:cubicBezTo>
                    <a:pt x="2733" y="201"/>
                    <a:pt x="2724" y="203"/>
                    <a:pt x="2724" y="205"/>
                  </a:cubicBezTo>
                  <a:cubicBezTo>
                    <a:pt x="2723" y="210"/>
                    <a:pt x="2726" y="213"/>
                    <a:pt x="2727" y="219"/>
                  </a:cubicBezTo>
                  <a:cubicBezTo>
                    <a:pt x="2714" y="218"/>
                    <a:pt x="2724" y="222"/>
                    <a:pt x="2719" y="226"/>
                  </a:cubicBezTo>
                  <a:cubicBezTo>
                    <a:pt x="2711" y="223"/>
                    <a:pt x="2722" y="218"/>
                    <a:pt x="2719" y="212"/>
                  </a:cubicBezTo>
                  <a:cubicBezTo>
                    <a:pt x="2716" y="212"/>
                    <a:pt x="2717" y="215"/>
                    <a:pt x="2716" y="216"/>
                  </a:cubicBezTo>
                  <a:cubicBezTo>
                    <a:pt x="2714" y="215"/>
                    <a:pt x="2709" y="213"/>
                    <a:pt x="2708" y="217"/>
                  </a:cubicBezTo>
                  <a:cubicBezTo>
                    <a:pt x="2701" y="216"/>
                    <a:pt x="2703" y="210"/>
                    <a:pt x="2702" y="207"/>
                  </a:cubicBezTo>
                  <a:cubicBezTo>
                    <a:pt x="2702" y="205"/>
                    <a:pt x="2700" y="205"/>
                    <a:pt x="2699" y="203"/>
                  </a:cubicBezTo>
                  <a:close/>
                  <a:moveTo>
                    <a:pt x="2698" y="280"/>
                  </a:moveTo>
                  <a:cubicBezTo>
                    <a:pt x="2698" y="282"/>
                    <a:pt x="2698" y="283"/>
                    <a:pt x="2698" y="285"/>
                  </a:cubicBezTo>
                  <a:cubicBezTo>
                    <a:pt x="2696" y="285"/>
                    <a:pt x="2694" y="285"/>
                    <a:pt x="2693" y="285"/>
                  </a:cubicBezTo>
                  <a:cubicBezTo>
                    <a:pt x="2693" y="283"/>
                    <a:pt x="2693" y="282"/>
                    <a:pt x="2693" y="280"/>
                  </a:cubicBezTo>
                  <a:cubicBezTo>
                    <a:pt x="2694" y="280"/>
                    <a:pt x="2696" y="280"/>
                    <a:pt x="2698" y="280"/>
                  </a:cubicBezTo>
                  <a:close/>
                  <a:moveTo>
                    <a:pt x="2694" y="226"/>
                  </a:moveTo>
                  <a:cubicBezTo>
                    <a:pt x="2689" y="233"/>
                    <a:pt x="2695" y="245"/>
                    <a:pt x="2698" y="252"/>
                  </a:cubicBezTo>
                  <a:cubicBezTo>
                    <a:pt x="2695" y="259"/>
                    <a:pt x="2695" y="245"/>
                    <a:pt x="2689" y="247"/>
                  </a:cubicBezTo>
                  <a:cubicBezTo>
                    <a:pt x="2692" y="241"/>
                    <a:pt x="2683" y="225"/>
                    <a:pt x="2694" y="226"/>
                  </a:cubicBezTo>
                  <a:close/>
                  <a:moveTo>
                    <a:pt x="2695" y="259"/>
                  </a:moveTo>
                  <a:cubicBezTo>
                    <a:pt x="2695" y="264"/>
                    <a:pt x="2695" y="268"/>
                    <a:pt x="2695" y="273"/>
                  </a:cubicBezTo>
                  <a:cubicBezTo>
                    <a:pt x="2691" y="271"/>
                    <a:pt x="2689" y="267"/>
                    <a:pt x="2692" y="264"/>
                  </a:cubicBezTo>
                  <a:cubicBezTo>
                    <a:pt x="2682" y="261"/>
                    <a:pt x="2692" y="274"/>
                    <a:pt x="2681" y="271"/>
                  </a:cubicBezTo>
                  <a:cubicBezTo>
                    <a:pt x="2680" y="265"/>
                    <a:pt x="2686" y="266"/>
                    <a:pt x="2684" y="259"/>
                  </a:cubicBezTo>
                  <a:cubicBezTo>
                    <a:pt x="2688" y="259"/>
                    <a:pt x="2691" y="259"/>
                    <a:pt x="2695" y="259"/>
                  </a:cubicBezTo>
                  <a:close/>
                  <a:moveTo>
                    <a:pt x="2687" y="252"/>
                  </a:moveTo>
                  <a:cubicBezTo>
                    <a:pt x="2687" y="254"/>
                    <a:pt x="2687" y="255"/>
                    <a:pt x="2687" y="257"/>
                  </a:cubicBezTo>
                  <a:cubicBezTo>
                    <a:pt x="2685" y="257"/>
                    <a:pt x="2683" y="257"/>
                    <a:pt x="2681" y="257"/>
                  </a:cubicBezTo>
                  <a:cubicBezTo>
                    <a:pt x="2681" y="255"/>
                    <a:pt x="2681" y="254"/>
                    <a:pt x="2681" y="252"/>
                  </a:cubicBezTo>
                  <a:cubicBezTo>
                    <a:pt x="2683" y="252"/>
                    <a:pt x="2685" y="252"/>
                    <a:pt x="2687" y="252"/>
                  </a:cubicBezTo>
                  <a:close/>
                  <a:moveTo>
                    <a:pt x="2679" y="271"/>
                  </a:moveTo>
                  <a:cubicBezTo>
                    <a:pt x="2676" y="275"/>
                    <a:pt x="2674" y="279"/>
                    <a:pt x="2665" y="278"/>
                  </a:cubicBezTo>
                  <a:cubicBezTo>
                    <a:pt x="2667" y="276"/>
                    <a:pt x="2668" y="274"/>
                    <a:pt x="2665" y="274"/>
                  </a:cubicBezTo>
                  <a:cubicBezTo>
                    <a:pt x="2664" y="269"/>
                    <a:pt x="2675" y="272"/>
                    <a:pt x="2679" y="271"/>
                  </a:cubicBezTo>
                  <a:close/>
                  <a:moveTo>
                    <a:pt x="2673" y="259"/>
                  </a:moveTo>
                  <a:cubicBezTo>
                    <a:pt x="2671" y="262"/>
                    <a:pt x="2667" y="268"/>
                    <a:pt x="2676" y="266"/>
                  </a:cubicBezTo>
                  <a:cubicBezTo>
                    <a:pt x="2669" y="276"/>
                    <a:pt x="2657" y="258"/>
                    <a:pt x="2673" y="259"/>
                  </a:cubicBezTo>
                  <a:close/>
                  <a:moveTo>
                    <a:pt x="2676" y="255"/>
                  </a:moveTo>
                  <a:cubicBezTo>
                    <a:pt x="2673" y="253"/>
                    <a:pt x="2669" y="252"/>
                    <a:pt x="2665" y="253"/>
                  </a:cubicBezTo>
                  <a:cubicBezTo>
                    <a:pt x="2669" y="245"/>
                    <a:pt x="2664" y="243"/>
                    <a:pt x="2667" y="238"/>
                  </a:cubicBezTo>
                  <a:cubicBezTo>
                    <a:pt x="2673" y="239"/>
                    <a:pt x="2674" y="245"/>
                    <a:pt x="2670" y="248"/>
                  </a:cubicBezTo>
                  <a:cubicBezTo>
                    <a:pt x="2672" y="250"/>
                    <a:pt x="2676" y="250"/>
                    <a:pt x="2676" y="255"/>
                  </a:cubicBezTo>
                  <a:close/>
                  <a:moveTo>
                    <a:pt x="2672" y="234"/>
                  </a:moveTo>
                  <a:cubicBezTo>
                    <a:pt x="2665" y="242"/>
                    <a:pt x="2655" y="229"/>
                    <a:pt x="2672" y="234"/>
                  </a:cubicBezTo>
                  <a:close/>
                  <a:moveTo>
                    <a:pt x="2653" y="234"/>
                  </a:moveTo>
                  <a:cubicBezTo>
                    <a:pt x="2647" y="242"/>
                    <a:pt x="2642" y="226"/>
                    <a:pt x="2653" y="234"/>
                  </a:cubicBezTo>
                  <a:close/>
                  <a:moveTo>
                    <a:pt x="2674" y="8"/>
                  </a:moveTo>
                  <a:cubicBezTo>
                    <a:pt x="2674" y="13"/>
                    <a:pt x="2662" y="10"/>
                    <a:pt x="2660" y="8"/>
                  </a:cubicBezTo>
                  <a:cubicBezTo>
                    <a:pt x="2663" y="1"/>
                    <a:pt x="2669" y="9"/>
                    <a:pt x="2674" y="8"/>
                  </a:cubicBezTo>
                  <a:close/>
                  <a:moveTo>
                    <a:pt x="2646" y="124"/>
                  </a:moveTo>
                  <a:cubicBezTo>
                    <a:pt x="2655" y="127"/>
                    <a:pt x="2636" y="126"/>
                    <a:pt x="2632" y="126"/>
                  </a:cubicBezTo>
                  <a:cubicBezTo>
                    <a:pt x="2632" y="124"/>
                    <a:pt x="2636" y="124"/>
                    <a:pt x="2638" y="124"/>
                  </a:cubicBezTo>
                  <a:cubicBezTo>
                    <a:pt x="2636" y="122"/>
                    <a:pt x="2635" y="120"/>
                    <a:pt x="2632" y="119"/>
                  </a:cubicBezTo>
                  <a:cubicBezTo>
                    <a:pt x="2633" y="116"/>
                    <a:pt x="2639" y="117"/>
                    <a:pt x="2643" y="117"/>
                  </a:cubicBezTo>
                  <a:cubicBezTo>
                    <a:pt x="2643" y="119"/>
                    <a:pt x="2640" y="119"/>
                    <a:pt x="2640" y="121"/>
                  </a:cubicBezTo>
                  <a:cubicBezTo>
                    <a:pt x="2641" y="124"/>
                    <a:pt x="2644" y="123"/>
                    <a:pt x="2646" y="124"/>
                  </a:cubicBezTo>
                  <a:close/>
                  <a:moveTo>
                    <a:pt x="2640" y="100"/>
                  </a:moveTo>
                  <a:cubicBezTo>
                    <a:pt x="2639" y="103"/>
                    <a:pt x="2635" y="104"/>
                    <a:pt x="2635" y="107"/>
                  </a:cubicBezTo>
                  <a:cubicBezTo>
                    <a:pt x="2628" y="107"/>
                    <a:pt x="2634" y="98"/>
                    <a:pt x="2640" y="100"/>
                  </a:cubicBezTo>
                  <a:close/>
                  <a:moveTo>
                    <a:pt x="2626" y="103"/>
                  </a:moveTo>
                  <a:cubicBezTo>
                    <a:pt x="2622" y="104"/>
                    <a:pt x="2623" y="105"/>
                    <a:pt x="2618" y="103"/>
                  </a:cubicBezTo>
                  <a:cubicBezTo>
                    <a:pt x="2615" y="101"/>
                    <a:pt x="2634" y="100"/>
                    <a:pt x="2626" y="103"/>
                  </a:cubicBezTo>
                  <a:close/>
                  <a:moveTo>
                    <a:pt x="2618" y="82"/>
                  </a:moveTo>
                  <a:cubicBezTo>
                    <a:pt x="2623" y="83"/>
                    <a:pt x="2618" y="86"/>
                    <a:pt x="2618" y="89"/>
                  </a:cubicBezTo>
                  <a:cubicBezTo>
                    <a:pt x="2613" y="87"/>
                    <a:pt x="2617" y="85"/>
                    <a:pt x="2618" y="82"/>
                  </a:cubicBezTo>
                  <a:close/>
                  <a:moveTo>
                    <a:pt x="2616" y="117"/>
                  </a:moveTo>
                  <a:cubicBezTo>
                    <a:pt x="2621" y="116"/>
                    <a:pt x="2621" y="119"/>
                    <a:pt x="2618" y="119"/>
                  </a:cubicBezTo>
                  <a:cubicBezTo>
                    <a:pt x="2615" y="117"/>
                    <a:pt x="2607" y="122"/>
                    <a:pt x="2608" y="122"/>
                  </a:cubicBezTo>
                  <a:cubicBezTo>
                    <a:pt x="2600" y="121"/>
                    <a:pt x="2606" y="115"/>
                    <a:pt x="2616" y="117"/>
                  </a:cubicBezTo>
                  <a:close/>
                  <a:moveTo>
                    <a:pt x="2588" y="99"/>
                  </a:moveTo>
                  <a:cubicBezTo>
                    <a:pt x="2592" y="99"/>
                    <a:pt x="2590" y="105"/>
                    <a:pt x="2591" y="108"/>
                  </a:cubicBezTo>
                  <a:cubicBezTo>
                    <a:pt x="2588" y="107"/>
                    <a:pt x="2586" y="105"/>
                    <a:pt x="2585" y="108"/>
                  </a:cubicBezTo>
                  <a:cubicBezTo>
                    <a:pt x="2577" y="106"/>
                    <a:pt x="2592" y="105"/>
                    <a:pt x="2588" y="99"/>
                  </a:cubicBezTo>
                  <a:close/>
                  <a:moveTo>
                    <a:pt x="2584" y="38"/>
                  </a:moveTo>
                  <a:cubicBezTo>
                    <a:pt x="2583" y="43"/>
                    <a:pt x="2577" y="43"/>
                    <a:pt x="2573" y="40"/>
                  </a:cubicBezTo>
                  <a:cubicBezTo>
                    <a:pt x="2574" y="37"/>
                    <a:pt x="2580" y="38"/>
                    <a:pt x="2584" y="38"/>
                  </a:cubicBezTo>
                  <a:close/>
                  <a:moveTo>
                    <a:pt x="2563" y="116"/>
                  </a:moveTo>
                  <a:cubicBezTo>
                    <a:pt x="2565" y="112"/>
                    <a:pt x="2561" y="107"/>
                    <a:pt x="2563" y="104"/>
                  </a:cubicBezTo>
                  <a:cubicBezTo>
                    <a:pt x="2564" y="102"/>
                    <a:pt x="2573" y="103"/>
                    <a:pt x="2571" y="99"/>
                  </a:cubicBezTo>
                  <a:cubicBezTo>
                    <a:pt x="2580" y="103"/>
                    <a:pt x="2563" y="104"/>
                    <a:pt x="2569" y="113"/>
                  </a:cubicBezTo>
                  <a:cubicBezTo>
                    <a:pt x="2569" y="118"/>
                    <a:pt x="2579" y="114"/>
                    <a:pt x="2583" y="115"/>
                  </a:cubicBezTo>
                  <a:cubicBezTo>
                    <a:pt x="2590" y="121"/>
                    <a:pt x="2556" y="112"/>
                    <a:pt x="2566" y="127"/>
                  </a:cubicBezTo>
                  <a:cubicBezTo>
                    <a:pt x="2562" y="128"/>
                    <a:pt x="2561" y="126"/>
                    <a:pt x="2561" y="123"/>
                  </a:cubicBezTo>
                  <a:cubicBezTo>
                    <a:pt x="2559" y="121"/>
                    <a:pt x="2556" y="119"/>
                    <a:pt x="2552" y="118"/>
                  </a:cubicBezTo>
                  <a:cubicBezTo>
                    <a:pt x="2553" y="115"/>
                    <a:pt x="2559" y="116"/>
                    <a:pt x="2563" y="116"/>
                  </a:cubicBezTo>
                  <a:close/>
                  <a:moveTo>
                    <a:pt x="2544" y="121"/>
                  </a:moveTo>
                  <a:cubicBezTo>
                    <a:pt x="2542" y="119"/>
                    <a:pt x="2540" y="118"/>
                    <a:pt x="2536" y="118"/>
                  </a:cubicBezTo>
                  <a:cubicBezTo>
                    <a:pt x="2537" y="112"/>
                    <a:pt x="2546" y="113"/>
                    <a:pt x="2544" y="121"/>
                  </a:cubicBezTo>
                  <a:close/>
                  <a:moveTo>
                    <a:pt x="2554" y="179"/>
                  </a:moveTo>
                  <a:cubicBezTo>
                    <a:pt x="2555" y="184"/>
                    <a:pt x="2552" y="186"/>
                    <a:pt x="2551" y="189"/>
                  </a:cubicBezTo>
                  <a:cubicBezTo>
                    <a:pt x="2548" y="186"/>
                    <a:pt x="2546" y="182"/>
                    <a:pt x="2537" y="184"/>
                  </a:cubicBezTo>
                  <a:cubicBezTo>
                    <a:pt x="2536" y="179"/>
                    <a:pt x="2542" y="179"/>
                    <a:pt x="2540" y="172"/>
                  </a:cubicBezTo>
                  <a:cubicBezTo>
                    <a:pt x="2538" y="172"/>
                    <a:pt x="2536" y="173"/>
                    <a:pt x="2534" y="173"/>
                  </a:cubicBezTo>
                  <a:cubicBezTo>
                    <a:pt x="2535" y="170"/>
                    <a:pt x="2539" y="170"/>
                    <a:pt x="2542" y="170"/>
                  </a:cubicBezTo>
                  <a:cubicBezTo>
                    <a:pt x="2540" y="178"/>
                    <a:pt x="2544" y="181"/>
                    <a:pt x="2554" y="179"/>
                  </a:cubicBezTo>
                  <a:close/>
                  <a:moveTo>
                    <a:pt x="2548" y="168"/>
                  </a:moveTo>
                  <a:cubicBezTo>
                    <a:pt x="2552" y="168"/>
                    <a:pt x="2552" y="172"/>
                    <a:pt x="2556" y="172"/>
                  </a:cubicBezTo>
                  <a:cubicBezTo>
                    <a:pt x="2556" y="175"/>
                    <a:pt x="2553" y="173"/>
                    <a:pt x="2553" y="172"/>
                  </a:cubicBezTo>
                  <a:cubicBezTo>
                    <a:pt x="2551" y="172"/>
                    <a:pt x="2551" y="173"/>
                    <a:pt x="2551" y="175"/>
                  </a:cubicBezTo>
                  <a:cubicBezTo>
                    <a:pt x="2548" y="174"/>
                    <a:pt x="2548" y="170"/>
                    <a:pt x="2548" y="168"/>
                  </a:cubicBezTo>
                  <a:close/>
                  <a:moveTo>
                    <a:pt x="2531" y="130"/>
                  </a:moveTo>
                  <a:cubicBezTo>
                    <a:pt x="2543" y="132"/>
                    <a:pt x="2529" y="145"/>
                    <a:pt x="2531" y="130"/>
                  </a:cubicBezTo>
                  <a:close/>
                  <a:moveTo>
                    <a:pt x="2519" y="72"/>
                  </a:moveTo>
                  <a:cubicBezTo>
                    <a:pt x="2522" y="73"/>
                    <a:pt x="2523" y="76"/>
                    <a:pt x="2527" y="76"/>
                  </a:cubicBezTo>
                  <a:cubicBezTo>
                    <a:pt x="2526" y="82"/>
                    <a:pt x="2517" y="77"/>
                    <a:pt x="2519" y="72"/>
                  </a:cubicBezTo>
                  <a:close/>
                  <a:moveTo>
                    <a:pt x="2517" y="131"/>
                  </a:moveTo>
                  <a:cubicBezTo>
                    <a:pt x="2520" y="133"/>
                    <a:pt x="2527" y="131"/>
                    <a:pt x="2525" y="137"/>
                  </a:cubicBezTo>
                  <a:cubicBezTo>
                    <a:pt x="2523" y="135"/>
                    <a:pt x="2515" y="137"/>
                    <a:pt x="2517" y="131"/>
                  </a:cubicBezTo>
                  <a:close/>
                  <a:moveTo>
                    <a:pt x="2520" y="166"/>
                  </a:moveTo>
                  <a:cubicBezTo>
                    <a:pt x="2520" y="169"/>
                    <a:pt x="2514" y="168"/>
                    <a:pt x="2510" y="168"/>
                  </a:cubicBezTo>
                  <a:cubicBezTo>
                    <a:pt x="2511" y="166"/>
                    <a:pt x="2516" y="166"/>
                    <a:pt x="2515" y="161"/>
                  </a:cubicBezTo>
                  <a:cubicBezTo>
                    <a:pt x="2518" y="162"/>
                    <a:pt x="2517" y="166"/>
                    <a:pt x="2520" y="166"/>
                  </a:cubicBezTo>
                  <a:close/>
                  <a:moveTo>
                    <a:pt x="2518" y="196"/>
                  </a:moveTo>
                  <a:cubicBezTo>
                    <a:pt x="2517" y="197"/>
                    <a:pt x="2515" y="191"/>
                    <a:pt x="2513" y="192"/>
                  </a:cubicBezTo>
                  <a:cubicBezTo>
                    <a:pt x="2517" y="184"/>
                    <a:pt x="2520" y="194"/>
                    <a:pt x="2518" y="196"/>
                  </a:cubicBezTo>
                  <a:close/>
                  <a:moveTo>
                    <a:pt x="2513" y="185"/>
                  </a:moveTo>
                  <a:cubicBezTo>
                    <a:pt x="2512" y="187"/>
                    <a:pt x="2507" y="186"/>
                    <a:pt x="2507" y="189"/>
                  </a:cubicBezTo>
                  <a:cubicBezTo>
                    <a:pt x="2507" y="198"/>
                    <a:pt x="2497" y="182"/>
                    <a:pt x="2513" y="185"/>
                  </a:cubicBezTo>
                  <a:close/>
                  <a:moveTo>
                    <a:pt x="2514" y="121"/>
                  </a:moveTo>
                  <a:cubicBezTo>
                    <a:pt x="2514" y="123"/>
                    <a:pt x="2514" y="124"/>
                    <a:pt x="2514" y="126"/>
                  </a:cubicBezTo>
                  <a:cubicBezTo>
                    <a:pt x="2512" y="126"/>
                    <a:pt x="2511" y="126"/>
                    <a:pt x="2509" y="126"/>
                  </a:cubicBezTo>
                  <a:cubicBezTo>
                    <a:pt x="2509" y="124"/>
                    <a:pt x="2509" y="123"/>
                    <a:pt x="2509" y="121"/>
                  </a:cubicBezTo>
                  <a:cubicBezTo>
                    <a:pt x="2510" y="121"/>
                    <a:pt x="2512" y="121"/>
                    <a:pt x="2514" y="121"/>
                  </a:cubicBezTo>
                  <a:close/>
                  <a:moveTo>
                    <a:pt x="2503" y="131"/>
                  </a:moveTo>
                  <a:cubicBezTo>
                    <a:pt x="2503" y="131"/>
                    <a:pt x="2505" y="135"/>
                    <a:pt x="2506" y="133"/>
                  </a:cubicBezTo>
                  <a:cubicBezTo>
                    <a:pt x="2508" y="131"/>
                    <a:pt x="2508" y="131"/>
                    <a:pt x="2509" y="133"/>
                  </a:cubicBezTo>
                  <a:cubicBezTo>
                    <a:pt x="2512" y="133"/>
                    <a:pt x="2511" y="137"/>
                    <a:pt x="2512" y="140"/>
                  </a:cubicBezTo>
                  <a:cubicBezTo>
                    <a:pt x="2506" y="136"/>
                    <a:pt x="2492" y="139"/>
                    <a:pt x="2482" y="138"/>
                  </a:cubicBezTo>
                  <a:cubicBezTo>
                    <a:pt x="2483" y="136"/>
                    <a:pt x="2485" y="134"/>
                    <a:pt x="2481" y="133"/>
                  </a:cubicBezTo>
                  <a:cubicBezTo>
                    <a:pt x="2485" y="130"/>
                    <a:pt x="2497" y="130"/>
                    <a:pt x="2503" y="131"/>
                  </a:cubicBezTo>
                  <a:close/>
                  <a:moveTo>
                    <a:pt x="2488" y="190"/>
                  </a:moveTo>
                  <a:cubicBezTo>
                    <a:pt x="2488" y="188"/>
                    <a:pt x="2488" y="187"/>
                    <a:pt x="2488" y="185"/>
                  </a:cubicBezTo>
                  <a:cubicBezTo>
                    <a:pt x="2492" y="185"/>
                    <a:pt x="2495" y="185"/>
                    <a:pt x="2499" y="185"/>
                  </a:cubicBezTo>
                  <a:cubicBezTo>
                    <a:pt x="2502" y="192"/>
                    <a:pt x="2493" y="189"/>
                    <a:pt x="2488" y="190"/>
                  </a:cubicBezTo>
                  <a:close/>
                  <a:moveTo>
                    <a:pt x="2480" y="185"/>
                  </a:moveTo>
                  <a:cubicBezTo>
                    <a:pt x="2485" y="187"/>
                    <a:pt x="2480" y="190"/>
                    <a:pt x="2480" y="192"/>
                  </a:cubicBezTo>
                  <a:cubicBezTo>
                    <a:pt x="2475" y="191"/>
                    <a:pt x="2479" y="188"/>
                    <a:pt x="2480" y="185"/>
                  </a:cubicBezTo>
                  <a:close/>
                  <a:moveTo>
                    <a:pt x="2465" y="115"/>
                  </a:moveTo>
                  <a:cubicBezTo>
                    <a:pt x="2474" y="111"/>
                    <a:pt x="2467" y="123"/>
                    <a:pt x="2473" y="122"/>
                  </a:cubicBezTo>
                  <a:cubicBezTo>
                    <a:pt x="2470" y="129"/>
                    <a:pt x="2464" y="119"/>
                    <a:pt x="2465" y="115"/>
                  </a:cubicBezTo>
                  <a:close/>
                  <a:moveTo>
                    <a:pt x="2432" y="134"/>
                  </a:moveTo>
                  <a:cubicBezTo>
                    <a:pt x="2436" y="128"/>
                    <a:pt x="2446" y="135"/>
                    <a:pt x="2449" y="136"/>
                  </a:cubicBezTo>
                  <a:cubicBezTo>
                    <a:pt x="2446" y="142"/>
                    <a:pt x="2440" y="131"/>
                    <a:pt x="2432" y="134"/>
                  </a:cubicBezTo>
                  <a:close/>
                  <a:moveTo>
                    <a:pt x="2427" y="170"/>
                  </a:moveTo>
                  <a:cubicBezTo>
                    <a:pt x="2428" y="166"/>
                    <a:pt x="2432" y="164"/>
                    <a:pt x="2438" y="165"/>
                  </a:cubicBezTo>
                  <a:cubicBezTo>
                    <a:pt x="2441" y="172"/>
                    <a:pt x="2432" y="169"/>
                    <a:pt x="2427" y="170"/>
                  </a:cubicBezTo>
                  <a:close/>
                  <a:moveTo>
                    <a:pt x="2454" y="160"/>
                  </a:moveTo>
                  <a:cubicBezTo>
                    <a:pt x="2454" y="160"/>
                    <a:pt x="2455" y="158"/>
                    <a:pt x="2454" y="158"/>
                  </a:cubicBezTo>
                  <a:cubicBezTo>
                    <a:pt x="2464" y="158"/>
                    <a:pt x="2450" y="165"/>
                    <a:pt x="2446" y="162"/>
                  </a:cubicBezTo>
                  <a:cubicBezTo>
                    <a:pt x="2444" y="161"/>
                    <a:pt x="2453" y="160"/>
                    <a:pt x="2454" y="160"/>
                  </a:cubicBezTo>
                  <a:close/>
                  <a:moveTo>
                    <a:pt x="2457" y="132"/>
                  </a:moveTo>
                  <a:cubicBezTo>
                    <a:pt x="2461" y="123"/>
                    <a:pt x="2462" y="136"/>
                    <a:pt x="2460" y="136"/>
                  </a:cubicBezTo>
                  <a:cubicBezTo>
                    <a:pt x="2458" y="137"/>
                    <a:pt x="2456" y="133"/>
                    <a:pt x="2457" y="132"/>
                  </a:cubicBezTo>
                  <a:close/>
                  <a:moveTo>
                    <a:pt x="2463" y="169"/>
                  </a:moveTo>
                  <a:cubicBezTo>
                    <a:pt x="2462" y="172"/>
                    <a:pt x="2456" y="171"/>
                    <a:pt x="2452" y="172"/>
                  </a:cubicBezTo>
                  <a:cubicBezTo>
                    <a:pt x="2453" y="166"/>
                    <a:pt x="2459" y="166"/>
                    <a:pt x="2463" y="169"/>
                  </a:cubicBezTo>
                  <a:close/>
                  <a:moveTo>
                    <a:pt x="2456" y="110"/>
                  </a:moveTo>
                  <a:cubicBezTo>
                    <a:pt x="2466" y="108"/>
                    <a:pt x="2464" y="125"/>
                    <a:pt x="2454" y="120"/>
                  </a:cubicBezTo>
                  <a:cubicBezTo>
                    <a:pt x="2456" y="118"/>
                    <a:pt x="2457" y="115"/>
                    <a:pt x="2456" y="110"/>
                  </a:cubicBezTo>
                  <a:close/>
                  <a:moveTo>
                    <a:pt x="2448" y="96"/>
                  </a:moveTo>
                  <a:cubicBezTo>
                    <a:pt x="2451" y="97"/>
                    <a:pt x="2450" y="101"/>
                    <a:pt x="2453" y="101"/>
                  </a:cubicBezTo>
                  <a:cubicBezTo>
                    <a:pt x="2452" y="108"/>
                    <a:pt x="2445" y="101"/>
                    <a:pt x="2448" y="96"/>
                  </a:cubicBezTo>
                  <a:close/>
                  <a:moveTo>
                    <a:pt x="2451" y="108"/>
                  </a:moveTo>
                  <a:cubicBezTo>
                    <a:pt x="2443" y="117"/>
                    <a:pt x="2441" y="101"/>
                    <a:pt x="2451" y="108"/>
                  </a:cubicBezTo>
                  <a:close/>
                  <a:moveTo>
                    <a:pt x="2440" y="101"/>
                  </a:moveTo>
                  <a:cubicBezTo>
                    <a:pt x="2435" y="103"/>
                    <a:pt x="2441" y="113"/>
                    <a:pt x="2432" y="111"/>
                  </a:cubicBezTo>
                  <a:cubicBezTo>
                    <a:pt x="2431" y="105"/>
                    <a:pt x="2433" y="101"/>
                    <a:pt x="2440" y="101"/>
                  </a:cubicBezTo>
                  <a:close/>
                  <a:moveTo>
                    <a:pt x="2419" y="149"/>
                  </a:moveTo>
                  <a:cubicBezTo>
                    <a:pt x="2419" y="143"/>
                    <a:pt x="2428" y="148"/>
                    <a:pt x="2430" y="149"/>
                  </a:cubicBezTo>
                  <a:cubicBezTo>
                    <a:pt x="2428" y="156"/>
                    <a:pt x="2424" y="146"/>
                    <a:pt x="2419" y="149"/>
                  </a:cubicBezTo>
                  <a:close/>
                  <a:moveTo>
                    <a:pt x="2427" y="139"/>
                  </a:moveTo>
                  <a:cubicBezTo>
                    <a:pt x="2423" y="139"/>
                    <a:pt x="2419" y="139"/>
                    <a:pt x="2416" y="139"/>
                  </a:cubicBezTo>
                  <a:cubicBezTo>
                    <a:pt x="2417" y="137"/>
                    <a:pt x="2419" y="135"/>
                    <a:pt x="2416" y="135"/>
                  </a:cubicBezTo>
                  <a:cubicBezTo>
                    <a:pt x="2416" y="131"/>
                    <a:pt x="2424" y="134"/>
                    <a:pt x="2424" y="130"/>
                  </a:cubicBezTo>
                  <a:cubicBezTo>
                    <a:pt x="2427" y="131"/>
                    <a:pt x="2426" y="136"/>
                    <a:pt x="2427" y="139"/>
                  </a:cubicBezTo>
                  <a:close/>
                  <a:moveTo>
                    <a:pt x="2410" y="114"/>
                  </a:moveTo>
                  <a:cubicBezTo>
                    <a:pt x="2413" y="116"/>
                    <a:pt x="2417" y="117"/>
                    <a:pt x="2424" y="116"/>
                  </a:cubicBezTo>
                  <a:cubicBezTo>
                    <a:pt x="2421" y="121"/>
                    <a:pt x="2408" y="123"/>
                    <a:pt x="2410" y="114"/>
                  </a:cubicBezTo>
                  <a:close/>
                  <a:moveTo>
                    <a:pt x="2413" y="130"/>
                  </a:moveTo>
                  <a:cubicBezTo>
                    <a:pt x="2414" y="140"/>
                    <a:pt x="2398" y="133"/>
                    <a:pt x="2394" y="133"/>
                  </a:cubicBezTo>
                  <a:cubicBezTo>
                    <a:pt x="2399" y="122"/>
                    <a:pt x="2404" y="136"/>
                    <a:pt x="2413" y="130"/>
                  </a:cubicBezTo>
                  <a:close/>
                  <a:moveTo>
                    <a:pt x="2405" y="151"/>
                  </a:moveTo>
                  <a:cubicBezTo>
                    <a:pt x="2402" y="159"/>
                    <a:pt x="2398" y="149"/>
                    <a:pt x="2394" y="149"/>
                  </a:cubicBezTo>
                  <a:cubicBezTo>
                    <a:pt x="2397" y="146"/>
                    <a:pt x="2404" y="144"/>
                    <a:pt x="2408" y="147"/>
                  </a:cubicBezTo>
                  <a:cubicBezTo>
                    <a:pt x="2408" y="149"/>
                    <a:pt x="2404" y="148"/>
                    <a:pt x="2402" y="149"/>
                  </a:cubicBezTo>
                  <a:cubicBezTo>
                    <a:pt x="2402" y="151"/>
                    <a:pt x="2403" y="151"/>
                    <a:pt x="2405" y="151"/>
                  </a:cubicBezTo>
                  <a:close/>
                  <a:moveTo>
                    <a:pt x="2393" y="116"/>
                  </a:moveTo>
                  <a:cubicBezTo>
                    <a:pt x="2392" y="119"/>
                    <a:pt x="2390" y="121"/>
                    <a:pt x="2385" y="121"/>
                  </a:cubicBezTo>
                  <a:cubicBezTo>
                    <a:pt x="2384" y="116"/>
                    <a:pt x="2389" y="117"/>
                    <a:pt x="2393" y="116"/>
                  </a:cubicBezTo>
                  <a:close/>
                  <a:moveTo>
                    <a:pt x="2374" y="100"/>
                  </a:moveTo>
                  <a:cubicBezTo>
                    <a:pt x="2374" y="100"/>
                    <a:pt x="2380" y="96"/>
                    <a:pt x="2382" y="98"/>
                  </a:cubicBezTo>
                  <a:cubicBezTo>
                    <a:pt x="2384" y="99"/>
                    <a:pt x="2371" y="105"/>
                    <a:pt x="2374" y="100"/>
                  </a:cubicBezTo>
                  <a:close/>
                  <a:moveTo>
                    <a:pt x="2360" y="100"/>
                  </a:moveTo>
                  <a:cubicBezTo>
                    <a:pt x="2366" y="100"/>
                    <a:pt x="2369" y="102"/>
                    <a:pt x="2368" y="107"/>
                  </a:cubicBezTo>
                  <a:cubicBezTo>
                    <a:pt x="2365" y="107"/>
                    <a:pt x="2361" y="107"/>
                    <a:pt x="2360" y="110"/>
                  </a:cubicBezTo>
                  <a:cubicBezTo>
                    <a:pt x="2352" y="108"/>
                    <a:pt x="2363" y="105"/>
                    <a:pt x="2360" y="100"/>
                  </a:cubicBezTo>
                  <a:close/>
                  <a:moveTo>
                    <a:pt x="2349" y="115"/>
                  </a:moveTo>
                  <a:cubicBezTo>
                    <a:pt x="2346" y="113"/>
                    <a:pt x="2344" y="110"/>
                    <a:pt x="2344" y="105"/>
                  </a:cubicBezTo>
                  <a:cubicBezTo>
                    <a:pt x="2347" y="106"/>
                    <a:pt x="2349" y="105"/>
                    <a:pt x="2349" y="103"/>
                  </a:cubicBezTo>
                  <a:cubicBezTo>
                    <a:pt x="2352" y="103"/>
                    <a:pt x="2351" y="105"/>
                    <a:pt x="2349" y="105"/>
                  </a:cubicBezTo>
                  <a:cubicBezTo>
                    <a:pt x="2349" y="112"/>
                    <a:pt x="2354" y="110"/>
                    <a:pt x="2349" y="115"/>
                  </a:cubicBezTo>
                  <a:close/>
                  <a:moveTo>
                    <a:pt x="2347" y="124"/>
                  </a:moveTo>
                  <a:cubicBezTo>
                    <a:pt x="2350" y="121"/>
                    <a:pt x="2352" y="122"/>
                    <a:pt x="2352" y="126"/>
                  </a:cubicBezTo>
                  <a:cubicBezTo>
                    <a:pt x="2346" y="127"/>
                    <a:pt x="2344" y="125"/>
                    <a:pt x="2344" y="119"/>
                  </a:cubicBezTo>
                  <a:cubicBezTo>
                    <a:pt x="2347" y="119"/>
                    <a:pt x="2346" y="122"/>
                    <a:pt x="2347" y="124"/>
                  </a:cubicBezTo>
                  <a:close/>
                  <a:moveTo>
                    <a:pt x="2349" y="86"/>
                  </a:moveTo>
                  <a:cubicBezTo>
                    <a:pt x="2357" y="88"/>
                    <a:pt x="2345" y="90"/>
                    <a:pt x="2346" y="94"/>
                  </a:cubicBezTo>
                  <a:cubicBezTo>
                    <a:pt x="2337" y="91"/>
                    <a:pt x="2349" y="89"/>
                    <a:pt x="2349" y="86"/>
                  </a:cubicBezTo>
                  <a:close/>
                  <a:moveTo>
                    <a:pt x="2327" y="94"/>
                  </a:moveTo>
                  <a:cubicBezTo>
                    <a:pt x="2330" y="94"/>
                    <a:pt x="2329" y="98"/>
                    <a:pt x="2330" y="101"/>
                  </a:cubicBezTo>
                  <a:cubicBezTo>
                    <a:pt x="2330" y="104"/>
                    <a:pt x="2335" y="103"/>
                    <a:pt x="2338" y="103"/>
                  </a:cubicBezTo>
                  <a:cubicBezTo>
                    <a:pt x="2336" y="105"/>
                    <a:pt x="2335" y="109"/>
                    <a:pt x="2336" y="113"/>
                  </a:cubicBezTo>
                  <a:cubicBezTo>
                    <a:pt x="2334" y="111"/>
                    <a:pt x="2331" y="110"/>
                    <a:pt x="2327" y="110"/>
                  </a:cubicBezTo>
                  <a:cubicBezTo>
                    <a:pt x="2328" y="106"/>
                    <a:pt x="2327" y="103"/>
                    <a:pt x="2322" y="103"/>
                  </a:cubicBezTo>
                  <a:cubicBezTo>
                    <a:pt x="2322" y="99"/>
                    <a:pt x="2329" y="100"/>
                    <a:pt x="2327" y="94"/>
                  </a:cubicBezTo>
                  <a:close/>
                  <a:moveTo>
                    <a:pt x="2322" y="125"/>
                  </a:moveTo>
                  <a:cubicBezTo>
                    <a:pt x="2327" y="125"/>
                    <a:pt x="2324" y="132"/>
                    <a:pt x="2328" y="134"/>
                  </a:cubicBezTo>
                  <a:cubicBezTo>
                    <a:pt x="2332" y="134"/>
                    <a:pt x="2338" y="135"/>
                    <a:pt x="2339" y="131"/>
                  </a:cubicBezTo>
                  <a:cubicBezTo>
                    <a:pt x="2343" y="132"/>
                    <a:pt x="2338" y="134"/>
                    <a:pt x="2339" y="138"/>
                  </a:cubicBezTo>
                  <a:cubicBezTo>
                    <a:pt x="2334" y="139"/>
                    <a:pt x="2334" y="136"/>
                    <a:pt x="2331" y="136"/>
                  </a:cubicBezTo>
                  <a:cubicBezTo>
                    <a:pt x="2327" y="139"/>
                    <a:pt x="2326" y="143"/>
                    <a:pt x="2317" y="141"/>
                  </a:cubicBezTo>
                  <a:cubicBezTo>
                    <a:pt x="2320" y="134"/>
                    <a:pt x="2320" y="134"/>
                    <a:pt x="2309" y="134"/>
                  </a:cubicBezTo>
                  <a:cubicBezTo>
                    <a:pt x="2299" y="129"/>
                    <a:pt x="2330" y="137"/>
                    <a:pt x="2322" y="125"/>
                  </a:cubicBezTo>
                  <a:close/>
                  <a:moveTo>
                    <a:pt x="2339" y="162"/>
                  </a:moveTo>
                  <a:cubicBezTo>
                    <a:pt x="2344" y="162"/>
                    <a:pt x="2341" y="170"/>
                    <a:pt x="2348" y="169"/>
                  </a:cubicBezTo>
                  <a:cubicBezTo>
                    <a:pt x="2345" y="175"/>
                    <a:pt x="2332" y="165"/>
                    <a:pt x="2339" y="162"/>
                  </a:cubicBezTo>
                  <a:close/>
                  <a:moveTo>
                    <a:pt x="2351" y="211"/>
                  </a:moveTo>
                  <a:cubicBezTo>
                    <a:pt x="2350" y="214"/>
                    <a:pt x="2348" y="216"/>
                    <a:pt x="2343" y="216"/>
                  </a:cubicBezTo>
                  <a:cubicBezTo>
                    <a:pt x="2342" y="211"/>
                    <a:pt x="2347" y="211"/>
                    <a:pt x="2351" y="211"/>
                  </a:cubicBezTo>
                  <a:close/>
                  <a:moveTo>
                    <a:pt x="2321" y="202"/>
                  </a:moveTo>
                  <a:cubicBezTo>
                    <a:pt x="2322" y="203"/>
                    <a:pt x="2331" y="208"/>
                    <a:pt x="2332" y="202"/>
                  </a:cubicBezTo>
                  <a:cubicBezTo>
                    <a:pt x="2337" y="205"/>
                    <a:pt x="2329" y="210"/>
                    <a:pt x="2335" y="216"/>
                  </a:cubicBezTo>
                  <a:cubicBezTo>
                    <a:pt x="2332" y="216"/>
                    <a:pt x="2330" y="217"/>
                    <a:pt x="2329" y="218"/>
                  </a:cubicBezTo>
                  <a:cubicBezTo>
                    <a:pt x="2326" y="218"/>
                    <a:pt x="2326" y="211"/>
                    <a:pt x="2329" y="211"/>
                  </a:cubicBezTo>
                  <a:cubicBezTo>
                    <a:pt x="2328" y="207"/>
                    <a:pt x="2319" y="210"/>
                    <a:pt x="2321" y="202"/>
                  </a:cubicBezTo>
                  <a:close/>
                  <a:moveTo>
                    <a:pt x="2309" y="141"/>
                  </a:moveTo>
                  <a:cubicBezTo>
                    <a:pt x="2304" y="142"/>
                    <a:pt x="2303" y="138"/>
                    <a:pt x="2298" y="139"/>
                  </a:cubicBezTo>
                  <a:cubicBezTo>
                    <a:pt x="2297" y="135"/>
                    <a:pt x="2313" y="135"/>
                    <a:pt x="2309" y="141"/>
                  </a:cubicBezTo>
                  <a:close/>
                  <a:moveTo>
                    <a:pt x="2287" y="132"/>
                  </a:moveTo>
                  <a:cubicBezTo>
                    <a:pt x="2289" y="132"/>
                    <a:pt x="2292" y="132"/>
                    <a:pt x="2295" y="132"/>
                  </a:cubicBezTo>
                  <a:cubicBezTo>
                    <a:pt x="2293" y="134"/>
                    <a:pt x="2294" y="140"/>
                    <a:pt x="2292" y="142"/>
                  </a:cubicBezTo>
                  <a:cubicBezTo>
                    <a:pt x="2292" y="142"/>
                    <a:pt x="2290" y="141"/>
                    <a:pt x="2290" y="142"/>
                  </a:cubicBezTo>
                  <a:cubicBezTo>
                    <a:pt x="2288" y="146"/>
                    <a:pt x="2294" y="155"/>
                    <a:pt x="2284" y="153"/>
                  </a:cubicBezTo>
                  <a:cubicBezTo>
                    <a:pt x="2289" y="149"/>
                    <a:pt x="2286" y="140"/>
                    <a:pt x="2287" y="132"/>
                  </a:cubicBezTo>
                  <a:close/>
                  <a:moveTo>
                    <a:pt x="2291" y="252"/>
                  </a:moveTo>
                  <a:cubicBezTo>
                    <a:pt x="2291" y="254"/>
                    <a:pt x="2291" y="255"/>
                    <a:pt x="2292" y="257"/>
                  </a:cubicBezTo>
                  <a:cubicBezTo>
                    <a:pt x="2290" y="257"/>
                    <a:pt x="2288" y="257"/>
                    <a:pt x="2286" y="257"/>
                  </a:cubicBezTo>
                  <a:cubicBezTo>
                    <a:pt x="2286" y="255"/>
                    <a:pt x="2286" y="254"/>
                    <a:pt x="2286" y="252"/>
                  </a:cubicBezTo>
                  <a:cubicBezTo>
                    <a:pt x="2288" y="252"/>
                    <a:pt x="2290" y="252"/>
                    <a:pt x="2291" y="252"/>
                  </a:cubicBezTo>
                  <a:close/>
                  <a:moveTo>
                    <a:pt x="2285" y="210"/>
                  </a:moveTo>
                  <a:cubicBezTo>
                    <a:pt x="2297" y="211"/>
                    <a:pt x="2283" y="223"/>
                    <a:pt x="2285" y="210"/>
                  </a:cubicBezTo>
                  <a:close/>
                  <a:moveTo>
                    <a:pt x="2278" y="283"/>
                  </a:moveTo>
                  <a:cubicBezTo>
                    <a:pt x="2279" y="280"/>
                    <a:pt x="2284" y="280"/>
                    <a:pt x="2284" y="283"/>
                  </a:cubicBezTo>
                  <a:cubicBezTo>
                    <a:pt x="2287" y="282"/>
                    <a:pt x="2286" y="278"/>
                    <a:pt x="2286" y="276"/>
                  </a:cubicBezTo>
                  <a:cubicBezTo>
                    <a:pt x="2289" y="277"/>
                    <a:pt x="2291" y="278"/>
                    <a:pt x="2292" y="275"/>
                  </a:cubicBezTo>
                  <a:cubicBezTo>
                    <a:pt x="2299" y="281"/>
                    <a:pt x="2284" y="287"/>
                    <a:pt x="2278" y="283"/>
                  </a:cubicBezTo>
                  <a:close/>
                  <a:moveTo>
                    <a:pt x="2303" y="282"/>
                  </a:moveTo>
                  <a:cubicBezTo>
                    <a:pt x="2303" y="281"/>
                    <a:pt x="2303" y="279"/>
                    <a:pt x="2303" y="278"/>
                  </a:cubicBezTo>
                  <a:cubicBezTo>
                    <a:pt x="2305" y="278"/>
                    <a:pt x="2307" y="278"/>
                    <a:pt x="2308" y="278"/>
                  </a:cubicBezTo>
                  <a:cubicBezTo>
                    <a:pt x="2308" y="279"/>
                    <a:pt x="2308" y="281"/>
                    <a:pt x="2308" y="282"/>
                  </a:cubicBezTo>
                  <a:cubicBezTo>
                    <a:pt x="2307" y="282"/>
                    <a:pt x="2305" y="282"/>
                    <a:pt x="2303" y="282"/>
                  </a:cubicBezTo>
                  <a:close/>
                  <a:moveTo>
                    <a:pt x="2311" y="278"/>
                  </a:moveTo>
                  <a:cubicBezTo>
                    <a:pt x="2316" y="277"/>
                    <a:pt x="2316" y="280"/>
                    <a:pt x="2319" y="280"/>
                  </a:cubicBezTo>
                  <a:cubicBezTo>
                    <a:pt x="2321" y="284"/>
                    <a:pt x="2307" y="283"/>
                    <a:pt x="2311" y="278"/>
                  </a:cubicBezTo>
                  <a:close/>
                  <a:moveTo>
                    <a:pt x="2311" y="254"/>
                  </a:moveTo>
                  <a:cubicBezTo>
                    <a:pt x="2313" y="254"/>
                    <a:pt x="2313" y="253"/>
                    <a:pt x="2313" y="252"/>
                  </a:cubicBezTo>
                  <a:cubicBezTo>
                    <a:pt x="2319" y="251"/>
                    <a:pt x="2318" y="262"/>
                    <a:pt x="2311" y="259"/>
                  </a:cubicBezTo>
                  <a:cubicBezTo>
                    <a:pt x="2311" y="257"/>
                    <a:pt x="2311" y="256"/>
                    <a:pt x="2311" y="254"/>
                  </a:cubicBezTo>
                  <a:close/>
                  <a:moveTo>
                    <a:pt x="2318" y="221"/>
                  </a:moveTo>
                  <a:cubicBezTo>
                    <a:pt x="2313" y="224"/>
                    <a:pt x="2314" y="217"/>
                    <a:pt x="2313" y="216"/>
                  </a:cubicBezTo>
                  <a:cubicBezTo>
                    <a:pt x="2307" y="216"/>
                    <a:pt x="2307" y="222"/>
                    <a:pt x="2308" y="231"/>
                  </a:cubicBezTo>
                  <a:cubicBezTo>
                    <a:pt x="2310" y="231"/>
                    <a:pt x="2310" y="230"/>
                    <a:pt x="2310" y="228"/>
                  </a:cubicBezTo>
                  <a:cubicBezTo>
                    <a:pt x="2319" y="229"/>
                    <a:pt x="2300" y="236"/>
                    <a:pt x="2310" y="238"/>
                  </a:cubicBezTo>
                  <a:cubicBezTo>
                    <a:pt x="2310" y="241"/>
                    <a:pt x="2303" y="239"/>
                    <a:pt x="2302" y="238"/>
                  </a:cubicBezTo>
                  <a:cubicBezTo>
                    <a:pt x="2301" y="234"/>
                    <a:pt x="2305" y="233"/>
                    <a:pt x="2305" y="231"/>
                  </a:cubicBezTo>
                  <a:cubicBezTo>
                    <a:pt x="2304" y="225"/>
                    <a:pt x="2302" y="221"/>
                    <a:pt x="2305" y="219"/>
                  </a:cubicBezTo>
                  <a:cubicBezTo>
                    <a:pt x="2306" y="211"/>
                    <a:pt x="2291" y="218"/>
                    <a:pt x="2293" y="210"/>
                  </a:cubicBezTo>
                  <a:cubicBezTo>
                    <a:pt x="2300" y="204"/>
                    <a:pt x="2307" y="219"/>
                    <a:pt x="2302" y="205"/>
                  </a:cubicBezTo>
                  <a:cubicBezTo>
                    <a:pt x="2307" y="205"/>
                    <a:pt x="2313" y="205"/>
                    <a:pt x="2318" y="205"/>
                  </a:cubicBezTo>
                  <a:cubicBezTo>
                    <a:pt x="2317" y="212"/>
                    <a:pt x="2325" y="216"/>
                    <a:pt x="2318" y="221"/>
                  </a:cubicBezTo>
                  <a:close/>
                  <a:moveTo>
                    <a:pt x="2321" y="228"/>
                  </a:moveTo>
                  <a:cubicBezTo>
                    <a:pt x="2321" y="226"/>
                    <a:pt x="2321" y="225"/>
                    <a:pt x="2321" y="223"/>
                  </a:cubicBezTo>
                  <a:cubicBezTo>
                    <a:pt x="2323" y="223"/>
                    <a:pt x="2325" y="223"/>
                    <a:pt x="2327" y="223"/>
                  </a:cubicBezTo>
                  <a:cubicBezTo>
                    <a:pt x="2327" y="225"/>
                    <a:pt x="2327" y="226"/>
                    <a:pt x="2327" y="228"/>
                  </a:cubicBezTo>
                  <a:cubicBezTo>
                    <a:pt x="2325" y="228"/>
                    <a:pt x="2323" y="228"/>
                    <a:pt x="2321" y="228"/>
                  </a:cubicBezTo>
                  <a:close/>
                  <a:moveTo>
                    <a:pt x="2327" y="258"/>
                  </a:moveTo>
                  <a:cubicBezTo>
                    <a:pt x="2339" y="259"/>
                    <a:pt x="2325" y="272"/>
                    <a:pt x="2327" y="258"/>
                  </a:cubicBezTo>
                  <a:close/>
                  <a:moveTo>
                    <a:pt x="2338" y="249"/>
                  </a:moveTo>
                  <a:cubicBezTo>
                    <a:pt x="2336" y="248"/>
                    <a:pt x="2335" y="247"/>
                    <a:pt x="2333" y="247"/>
                  </a:cubicBezTo>
                  <a:cubicBezTo>
                    <a:pt x="2333" y="245"/>
                    <a:pt x="2335" y="244"/>
                    <a:pt x="2335" y="242"/>
                  </a:cubicBezTo>
                  <a:cubicBezTo>
                    <a:pt x="2337" y="242"/>
                    <a:pt x="2338" y="244"/>
                    <a:pt x="2341" y="244"/>
                  </a:cubicBezTo>
                  <a:cubicBezTo>
                    <a:pt x="2340" y="246"/>
                    <a:pt x="2338" y="246"/>
                    <a:pt x="2338" y="249"/>
                  </a:cubicBezTo>
                  <a:close/>
                  <a:moveTo>
                    <a:pt x="2341" y="239"/>
                  </a:moveTo>
                  <a:cubicBezTo>
                    <a:pt x="2342" y="236"/>
                    <a:pt x="2349" y="237"/>
                    <a:pt x="2346" y="230"/>
                  </a:cubicBezTo>
                  <a:cubicBezTo>
                    <a:pt x="2351" y="234"/>
                    <a:pt x="2351" y="238"/>
                    <a:pt x="2349" y="244"/>
                  </a:cubicBezTo>
                  <a:cubicBezTo>
                    <a:pt x="2346" y="242"/>
                    <a:pt x="2346" y="239"/>
                    <a:pt x="2341" y="239"/>
                  </a:cubicBezTo>
                  <a:close/>
                  <a:moveTo>
                    <a:pt x="2352" y="282"/>
                  </a:moveTo>
                  <a:cubicBezTo>
                    <a:pt x="2351" y="286"/>
                    <a:pt x="2347" y="283"/>
                    <a:pt x="2349" y="274"/>
                  </a:cubicBezTo>
                  <a:cubicBezTo>
                    <a:pt x="2351" y="268"/>
                    <a:pt x="2353" y="280"/>
                    <a:pt x="2352" y="282"/>
                  </a:cubicBezTo>
                  <a:close/>
                  <a:moveTo>
                    <a:pt x="2347" y="138"/>
                  </a:moveTo>
                  <a:cubicBezTo>
                    <a:pt x="2345" y="138"/>
                    <a:pt x="2344" y="139"/>
                    <a:pt x="2344" y="141"/>
                  </a:cubicBezTo>
                  <a:cubicBezTo>
                    <a:pt x="2334" y="139"/>
                    <a:pt x="2360" y="133"/>
                    <a:pt x="2344" y="134"/>
                  </a:cubicBezTo>
                  <a:cubicBezTo>
                    <a:pt x="2344" y="126"/>
                    <a:pt x="2351" y="134"/>
                    <a:pt x="2355" y="133"/>
                  </a:cubicBezTo>
                  <a:cubicBezTo>
                    <a:pt x="2358" y="133"/>
                    <a:pt x="2389" y="124"/>
                    <a:pt x="2377" y="140"/>
                  </a:cubicBezTo>
                  <a:cubicBezTo>
                    <a:pt x="2371" y="141"/>
                    <a:pt x="2374" y="133"/>
                    <a:pt x="2369" y="133"/>
                  </a:cubicBezTo>
                  <a:cubicBezTo>
                    <a:pt x="2365" y="138"/>
                    <a:pt x="2354" y="143"/>
                    <a:pt x="2347" y="138"/>
                  </a:cubicBezTo>
                  <a:close/>
                  <a:moveTo>
                    <a:pt x="2354" y="213"/>
                  </a:moveTo>
                  <a:cubicBezTo>
                    <a:pt x="2356" y="211"/>
                    <a:pt x="2358" y="207"/>
                    <a:pt x="2354" y="206"/>
                  </a:cubicBezTo>
                  <a:cubicBezTo>
                    <a:pt x="2355" y="201"/>
                    <a:pt x="2367" y="205"/>
                    <a:pt x="2373" y="204"/>
                  </a:cubicBezTo>
                  <a:cubicBezTo>
                    <a:pt x="2382" y="205"/>
                    <a:pt x="2368" y="207"/>
                    <a:pt x="2365" y="206"/>
                  </a:cubicBezTo>
                  <a:cubicBezTo>
                    <a:pt x="2358" y="205"/>
                    <a:pt x="2363" y="215"/>
                    <a:pt x="2354" y="213"/>
                  </a:cubicBezTo>
                  <a:close/>
                  <a:moveTo>
                    <a:pt x="2373" y="218"/>
                  </a:moveTo>
                  <a:cubicBezTo>
                    <a:pt x="2371" y="215"/>
                    <a:pt x="2363" y="217"/>
                    <a:pt x="2365" y="211"/>
                  </a:cubicBezTo>
                  <a:cubicBezTo>
                    <a:pt x="2371" y="210"/>
                    <a:pt x="2374" y="213"/>
                    <a:pt x="2373" y="218"/>
                  </a:cubicBezTo>
                  <a:close/>
                  <a:moveTo>
                    <a:pt x="2363" y="263"/>
                  </a:moveTo>
                  <a:cubicBezTo>
                    <a:pt x="2362" y="262"/>
                    <a:pt x="2357" y="267"/>
                    <a:pt x="2358" y="267"/>
                  </a:cubicBezTo>
                  <a:cubicBezTo>
                    <a:pt x="2351" y="265"/>
                    <a:pt x="2366" y="255"/>
                    <a:pt x="2366" y="265"/>
                  </a:cubicBezTo>
                  <a:cubicBezTo>
                    <a:pt x="2363" y="266"/>
                    <a:pt x="2364" y="263"/>
                    <a:pt x="2363" y="263"/>
                  </a:cubicBezTo>
                  <a:close/>
                  <a:moveTo>
                    <a:pt x="2374" y="255"/>
                  </a:moveTo>
                  <a:cubicBezTo>
                    <a:pt x="2366" y="252"/>
                    <a:pt x="2360" y="247"/>
                    <a:pt x="2368" y="241"/>
                  </a:cubicBezTo>
                  <a:cubicBezTo>
                    <a:pt x="2367" y="238"/>
                    <a:pt x="2363" y="239"/>
                    <a:pt x="2363" y="241"/>
                  </a:cubicBezTo>
                  <a:cubicBezTo>
                    <a:pt x="2356" y="240"/>
                    <a:pt x="2361" y="230"/>
                    <a:pt x="2368" y="232"/>
                  </a:cubicBezTo>
                  <a:cubicBezTo>
                    <a:pt x="2367" y="229"/>
                    <a:pt x="2363" y="230"/>
                    <a:pt x="2360" y="230"/>
                  </a:cubicBezTo>
                  <a:cubicBezTo>
                    <a:pt x="2360" y="225"/>
                    <a:pt x="2367" y="227"/>
                    <a:pt x="2365" y="220"/>
                  </a:cubicBezTo>
                  <a:cubicBezTo>
                    <a:pt x="2369" y="223"/>
                    <a:pt x="2371" y="232"/>
                    <a:pt x="2368" y="234"/>
                  </a:cubicBezTo>
                  <a:cubicBezTo>
                    <a:pt x="2366" y="238"/>
                    <a:pt x="2381" y="238"/>
                    <a:pt x="2379" y="234"/>
                  </a:cubicBezTo>
                  <a:cubicBezTo>
                    <a:pt x="2385" y="235"/>
                    <a:pt x="2374" y="244"/>
                    <a:pt x="2371" y="239"/>
                  </a:cubicBezTo>
                  <a:cubicBezTo>
                    <a:pt x="2370" y="243"/>
                    <a:pt x="2373" y="243"/>
                    <a:pt x="2376" y="244"/>
                  </a:cubicBezTo>
                  <a:cubicBezTo>
                    <a:pt x="2378" y="249"/>
                    <a:pt x="2371" y="249"/>
                    <a:pt x="2374" y="255"/>
                  </a:cubicBezTo>
                  <a:close/>
                  <a:moveTo>
                    <a:pt x="2377" y="283"/>
                  </a:moveTo>
                  <a:cubicBezTo>
                    <a:pt x="2375" y="283"/>
                    <a:pt x="2375" y="284"/>
                    <a:pt x="2374" y="286"/>
                  </a:cubicBezTo>
                  <a:cubicBezTo>
                    <a:pt x="2367" y="283"/>
                    <a:pt x="2381" y="279"/>
                    <a:pt x="2388" y="281"/>
                  </a:cubicBezTo>
                  <a:cubicBezTo>
                    <a:pt x="2388" y="283"/>
                    <a:pt x="2388" y="286"/>
                    <a:pt x="2388" y="288"/>
                  </a:cubicBezTo>
                  <a:cubicBezTo>
                    <a:pt x="2380" y="291"/>
                    <a:pt x="2381" y="284"/>
                    <a:pt x="2377" y="283"/>
                  </a:cubicBezTo>
                  <a:close/>
                  <a:moveTo>
                    <a:pt x="2381" y="218"/>
                  </a:moveTo>
                  <a:cubicBezTo>
                    <a:pt x="2378" y="217"/>
                    <a:pt x="2379" y="213"/>
                    <a:pt x="2376" y="213"/>
                  </a:cubicBezTo>
                  <a:cubicBezTo>
                    <a:pt x="2377" y="205"/>
                    <a:pt x="2383" y="215"/>
                    <a:pt x="2387" y="215"/>
                  </a:cubicBezTo>
                  <a:cubicBezTo>
                    <a:pt x="2387" y="215"/>
                    <a:pt x="2390" y="215"/>
                    <a:pt x="2390" y="215"/>
                  </a:cubicBezTo>
                  <a:cubicBezTo>
                    <a:pt x="2392" y="221"/>
                    <a:pt x="2379" y="212"/>
                    <a:pt x="2381" y="218"/>
                  </a:cubicBezTo>
                  <a:close/>
                  <a:moveTo>
                    <a:pt x="2409" y="224"/>
                  </a:moveTo>
                  <a:cubicBezTo>
                    <a:pt x="2413" y="225"/>
                    <a:pt x="2416" y="227"/>
                    <a:pt x="2420" y="229"/>
                  </a:cubicBezTo>
                  <a:cubicBezTo>
                    <a:pt x="2419" y="234"/>
                    <a:pt x="2407" y="229"/>
                    <a:pt x="2409" y="224"/>
                  </a:cubicBezTo>
                  <a:close/>
                  <a:moveTo>
                    <a:pt x="2425" y="217"/>
                  </a:moveTo>
                  <a:cubicBezTo>
                    <a:pt x="2426" y="211"/>
                    <a:pt x="2435" y="216"/>
                    <a:pt x="2436" y="217"/>
                  </a:cubicBezTo>
                  <a:cubicBezTo>
                    <a:pt x="2435" y="224"/>
                    <a:pt x="2430" y="214"/>
                    <a:pt x="2425" y="217"/>
                  </a:cubicBezTo>
                  <a:close/>
                  <a:moveTo>
                    <a:pt x="2436" y="212"/>
                  </a:moveTo>
                  <a:cubicBezTo>
                    <a:pt x="2437" y="211"/>
                    <a:pt x="2442" y="208"/>
                    <a:pt x="2444" y="209"/>
                  </a:cubicBezTo>
                  <a:cubicBezTo>
                    <a:pt x="2451" y="214"/>
                    <a:pt x="2433" y="220"/>
                    <a:pt x="2436" y="212"/>
                  </a:cubicBezTo>
                  <a:close/>
                  <a:moveTo>
                    <a:pt x="2453" y="259"/>
                  </a:moveTo>
                  <a:cubicBezTo>
                    <a:pt x="2451" y="259"/>
                    <a:pt x="2448" y="259"/>
                    <a:pt x="2445" y="259"/>
                  </a:cubicBezTo>
                  <a:cubicBezTo>
                    <a:pt x="2447" y="252"/>
                    <a:pt x="2449" y="256"/>
                    <a:pt x="2456" y="256"/>
                  </a:cubicBezTo>
                  <a:cubicBezTo>
                    <a:pt x="2456" y="260"/>
                    <a:pt x="2456" y="263"/>
                    <a:pt x="2459" y="263"/>
                  </a:cubicBezTo>
                  <a:cubicBezTo>
                    <a:pt x="2458" y="270"/>
                    <a:pt x="2450" y="263"/>
                    <a:pt x="2453" y="259"/>
                  </a:cubicBezTo>
                  <a:close/>
                  <a:moveTo>
                    <a:pt x="2464" y="237"/>
                  </a:moveTo>
                  <a:cubicBezTo>
                    <a:pt x="2460" y="238"/>
                    <a:pt x="2463" y="244"/>
                    <a:pt x="2459" y="244"/>
                  </a:cubicBezTo>
                  <a:cubicBezTo>
                    <a:pt x="2457" y="240"/>
                    <a:pt x="2460" y="238"/>
                    <a:pt x="2461" y="235"/>
                  </a:cubicBezTo>
                  <a:cubicBezTo>
                    <a:pt x="2466" y="234"/>
                    <a:pt x="2467" y="237"/>
                    <a:pt x="2464" y="237"/>
                  </a:cubicBezTo>
                  <a:close/>
                  <a:moveTo>
                    <a:pt x="2478" y="246"/>
                  </a:moveTo>
                  <a:cubicBezTo>
                    <a:pt x="2484" y="241"/>
                    <a:pt x="2475" y="239"/>
                    <a:pt x="2481" y="235"/>
                  </a:cubicBezTo>
                  <a:cubicBezTo>
                    <a:pt x="2485" y="234"/>
                    <a:pt x="2486" y="250"/>
                    <a:pt x="2478" y="246"/>
                  </a:cubicBezTo>
                  <a:close/>
                  <a:moveTo>
                    <a:pt x="2497" y="253"/>
                  </a:moveTo>
                  <a:cubicBezTo>
                    <a:pt x="2497" y="251"/>
                    <a:pt x="2501" y="251"/>
                    <a:pt x="2503" y="251"/>
                  </a:cubicBezTo>
                  <a:cubicBezTo>
                    <a:pt x="2505" y="251"/>
                    <a:pt x="2508" y="251"/>
                    <a:pt x="2511" y="251"/>
                  </a:cubicBezTo>
                  <a:cubicBezTo>
                    <a:pt x="2512" y="256"/>
                    <a:pt x="2501" y="252"/>
                    <a:pt x="2497" y="253"/>
                  </a:cubicBezTo>
                  <a:close/>
                  <a:moveTo>
                    <a:pt x="2503" y="248"/>
                  </a:moveTo>
                  <a:cubicBezTo>
                    <a:pt x="2503" y="245"/>
                    <a:pt x="2503" y="242"/>
                    <a:pt x="2503" y="239"/>
                  </a:cubicBezTo>
                  <a:cubicBezTo>
                    <a:pt x="2505" y="239"/>
                    <a:pt x="2505" y="242"/>
                    <a:pt x="2505" y="244"/>
                  </a:cubicBezTo>
                  <a:cubicBezTo>
                    <a:pt x="2509" y="244"/>
                    <a:pt x="2510" y="243"/>
                    <a:pt x="2511" y="241"/>
                  </a:cubicBezTo>
                  <a:cubicBezTo>
                    <a:pt x="2519" y="244"/>
                    <a:pt x="2507" y="249"/>
                    <a:pt x="2503" y="248"/>
                  </a:cubicBezTo>
                  <a:close/>
                  <a:moveTo>
                    <a:pt x="2517" y="269"/>
                  </a:moveTo>
                  <a:cubicBezTo>
                    <a:pt x="2512" y="275"/>
                    <a:pt x="2517" y="268"/>
                    <a:pt x="2517" y="265"/>
                  </a:cubicBezTo>
                  <a:cubicBezTo>
                    <a:pt x="2517" y="256"/>
                    <a:pt x="2524" y="271"/>
                    <a:pt x="2517" y="269"/>
                  </a:cubicBezTo>
                  <a:close/>
                  <a:moveTo>
                    <a:pt x="2535" y="241"/>
                  </a:moveTo>
                  <a:cubicBezTo>
                    <a:pt x="2533" y="237"/>
                    <a:pt x="2522" y="241"/>
                    <a:pt x="2524" y="234"/>
                  </a:cubicBezTo>
                  <a:cubicBezTo>
                    <a:pt x="2527" y="232"/>
                    <a:pt x="2532" y="231"/>
                    <a:pt x="2538" y="231"/>
                  </a:cubicBezTo>
                  <a:cubicBezTo>
                    <a:pt x="2538" y="235"/>
                    <a:pt x="2535" y="236"/>
                    <a:pt x="2535" y="241"/>
                  </a:cubicBezTo>
                  <a:close/>
                  <a:moveTo>
                    <a:pt x="2543" y="219"/>
                  </a:moveTo>
                  <a:cubicBezTo>
                    <a:pt x="2538" y="215"/>
                    <a:pt x="2538" y="221"/>
                    <a:pt x="2530" y="220"/>
                  </a:cubicBezTo>
                  <a:cubicBezTo>
                    <a:pt x="2526" y="217"/>
                    <a:pt x="2529" y="216"/>
                    <a:pt x="2530" y="213"/>
                  </a:cubicBezTo>
                  <a:cubicBezTo>
                    <a:pt x="2524" y="212"/>
                    <a:pt x="2521" y="215"/>
                    <a:pt x="2521" y="220"/>
                  </a:cubicBezTo>
                  <a:cubicBezTo>
                    <a:pt x="2511" y="215"/>
                    <a:pt x="2520" y="208"/>
                    <a:pt x="2529" y="208"/>
                  </a:cubicBezTo>
                  <a:cubicBezTo>
                    <a:pt x="2529" y="203"/>
                    <a:pt x="2521" y="208"/>
                    <a:pt x="2521" y="208"/>
                  </a:cubicBezTo>
                  <a:cubicBezTo>
                    <a:pt x="2518" y="208"/>
                    <a:pt x="2517" y="204"/>
                    <a:pt x="2513" y="203"/>
                  </a:cubicBezTo>
                  <a:cubicBezTo>
                    <a:pt x="2513" y="209"/>
                    <a:pt x="2518" y="209"/>
                    <a:pt x="2513" y="213"/>
                  </a:cubicBezTo>
                  <a:cubicBezTo>
                    <a:pt x="2511" y="215"/>
                    <a:pt x="2519" y="239"/>
                    <a:pt x="2508" y="236"/>
                  </a:cubicBezTo>
                  <a:cubicBezTo>
                    <a:pt x="2507" y="233"/>
                    <a:pt x="2510" y="232"/>
                    <a:pt x="2511" y="229"/>
                  </a:cubicBezTo>
                  <a:cubicBezTo>
                    <a:pt x="2508" y="225"/>
                    <a:pt x="2504" y="222"/>
                    <a:pt x="2499" y="220"/>
                  </a:cubicBezTo>
                  <a:cubicBezTo>
                    <a:pt x="2499" y="216"/>
                    <a:pt x="2501" y="211"/>
                    <a:pt x="2497" y="211"/>
                  </a:cubicBezTo>
                  <a:cubicBezTo>
                    <a:pt x="2493" y="211"/>
                    <a:pt x="2496" y="214"/>
                    <a:pt x="2497" y="213"/>
                  </a:cubicBezTo>
                  <a:cubicBezTo>
                    <a:pt x="2492" y="219"/>
                    <a:pt x="2486" y="214"/>
                    <a:pt x="2483" y="220"/>
                  </a:cubicBezTo>
                  <a:cubicBezTo>
                    <a:pt x="2481" y="219"/>
                    <a:pt x="2479" y="218"/>
                    <a:pt x="2475" y="218"/>
                  </a:cubicBezTo>
                  <a:cubicBezTo>
                    <a:pt x="2474" y="226"/>
                    <a:pt x="2487" y="222"/>
                    <a:pt x="2483" y="232"/>
                  </a:cubicBezTo>
                  <a:cubicBezTo>
                    <a:pt x="2479" y="233"/>
                    <a:pt x="2478" y="230"/>
                    <a:pt x="2478" y="228"/>
                  </a:cubicBezTo>
                  <a:cubicBezTo>
                    <a:pt x="2478" y="225"/>
                    <a:pt x="2473" y="227"/>
                    <a:pt x="2472" y="225"/>
                  </a:cubicBezTo>
                  <a:cubicBezTo>
                    <a:pt x="2472" y="225"/>
                    <a:pt x="2472" y="216"/>
                    <a:pt x="2469" y="218"/>
                  </a:cubicBezTo>
                  <a:cubicBezTo>
                    <a:pt x="2467" y="220"/>
                    <a:pt x="2464" y="221"/>
                    <a:pt x="2464" y="211"/>
                  </a:cubicBezTo>
                  <a:cubicBezTo>
                    <a:pt x="2459" y="214"/>
                    <a:pt x="2460" y="221"/>
                    <a:pt x="2450" y="219"/>
                  </a:cubicBezTo>
                  <a:cubicBezTo>
                    <a:pt x="2450" y="216"/>
                    <a:pt x="2449" y="214"/>
                    <a:pt x="2447" y="214"/>
                  </a:cubicBezTo>
                  <a:cubicBezTo>
                    <a:pt x="2446" y="210"/>
                    <a:pt x="2449" y="210"/>
                    <a:pt x="2453" y="209"/>
                  </a:cubicBezTo>
                  <a:cubicBezTo>
                    <a:pt x="2452" y="207"/>
                    <a:pt x="2447" y="208"/>
                    <a:pt x="2447" y="205"/>
                  </a:cubicBezTo>
                  <a:cubicBezTo>
                    <a:pt x="2436" y="206"/>
                    <a:pt x="2426" y="206"/>
                    <a:pt x="2414" y="205"/>
                  </a:cubicBezTo>
                  <a:cubicBezTo>
                    <a:pt x="2406" y="208"/>
                    <a:pt x="2418" y="211"/>
                    <a:pt x="2412" y="215"/>
                  </a:cubicBezTo>
                  <a:cubicBezTo>
                    <a:pt x="2408" y="215"/>
                    <a:pt x="2404" y="215"/>
                    <a:pt x="2401" y="215"/>
                  </a:cubicBezTo>
                  <a:cubicBezTo>
                    <a:pt x="2400" y="211"/>
                    <a:pt x="2403" y="211"/>
                    <a:pt x="2403" y="208"/>
                  </a:cubicBezTo>
                  <a:cubicBezTo>
                    <a:pt x="2400" y="201"/>
                    <a:pt x="2389" y="208"/>
                    <a:pt x="2384" y="208"/>
                  </a:cubicBezTo>
                  <a:cubicBezTo>
                    <a:pt x="2378" y="197"/>
                    <a:pt x="2422" y="207"/>
                    <a:pt x="2411" y="201"/>
                  </a:cubicBezTo>
                  <a:cubicBezTo>
                    <a:pt x="2412" y="198"/>
                    <a:pt x="2414" y="199"/>
                    <a:pt x="2414" y="200"/>
                  </a:cubicBezTo>
                  <a:cubicBezTo>
                    <a:pt x="2421" y="203"/>
                    <a:pt x="2431" y="203"/>
                    <a:pt x="2442" y="202"/>
                  </a:cubicBezTo>
                  <a:cubicBezTo>
                    <a:pt x="2444" y="201"/>
                    <a:pt x="2446" y="200"/>
                    <a:pt x="2450" y="200"/>
                  </a:cubicBezTo>
                  <a:cubicBezTo>
                    <a:pt x="2450" y="198"/>
                    <a:pt x="2450" y="195"/>
                    <a:pt x="2450" y="193"/>
                  </a:cubicBezTo>
                  <a:cubicBezTo>
                    <a:pt x="2456" y="187"/>
                    <a:pt x="2447" y="202"/>
                    <a:pt x="2458" y="202"/>
                  </a:cubicBezTo>
                  <a:cubicBezTo>
                    <a:pt x="2463" y="202"/>
                    <a:pt x="2468" y="203"/>
                    <a:pt x="2463" y="204"/>
                  </a:cubicBezTo>
                  <a:cubicBezTo>
                    <a:pt x="2460" y="206"/>
                    <a:pt x="2455" y="203"/>
                    <a:pt x="2455" y="207"/>
                  </a:cubicBezTo>
                  <a:cubicBezTo>
                    <a:pt x="2453" y="211"/>
                    <a:pt x="2468" y="210"/>
                    <a:pt x="2466" y="207"/>
                  </a:cubicBezTo>
                  <a:cubicBezTo>
                    <a:pt x="2469" y="205"/>
                    <a:pt x="2469" y="201"/>
                    <a:pt x="2474" y="202"/>
                  </a:cubicBezTo>
                  <a:cubicBezTo>
                    <a:pt x="2474" y="198"/>
                    <a:pt x="2477" y="198"/>
                    <a:pt x="2477" y="195"/>
                  </a:cubicBezTo>
                  <a:cubicBezTo>
                    <a:pt x="2481" y="195"/>
                    <a:pt x="2478" y="202"/>
                    <a:pt x="2483" y="202"/>
                  </a:cubicBezTo>
                  <a:cubicBezTo>
                    <a:pt x="2490" y="202"/>
                    <a:pt x="2492" y="198"/>
                    <a:pt x="2491" y="192"/>
                  </a:cubicBezTo>
                  <a:cubicBezTo>
                    <a:pt x="2499" y="194"/>
                    <a:pt x="2494" y="196"/>
                    <a:pt x="2494" y="201"/>
                  </a:cubicBezTo>
                  <a:cubicBezTo>
                    <a:pt x="2500" y="202"/>
                    <a:pt x="2504" y="201"/>
                    <a:pt x="2505" y="197"/>
                  </a:cubicBezTo>
                  <a:cubicBezTo>
                    <a:pt x="2508" y="196"/>
                    <a:pt x="2506" y="200"/>
                    <a:pt x="2507" y="201"/>
                  </a:cubicBezTo>
                  <a:cubicBezTo>
                    <a:pt x="2511" y="203"/>
                    <a:pt x="2519" y="200"/>
                    <a:pt x="2524" y="201"/>
                  </a:cubicBezTo>
                  <a:cubicBezTo>
                    <a:pt x="2527" y="200"/>
                    <a:pt x="2529" y="198"/>
                    <a:pt x="2529" y="194"/>
                  </a:cubicBezTo>
                  <a:cubicBezTo>
                    <a:pt x="2540" y="192"/>
                    <a:pt x="2540" y="192"/>
                    <a:pt x="2551" y="193"/>
                  </a:cubicBezTo>
                  <a:cubicBezTo>
                    <a:pt x="2553" y="201"/>
                    <a:pt x="2548" y="202"/>
                    <a:pt x="2549" y="208"/>
                  </a:cubicBezTo>
                  <a:cubicBezTo>
                    <a:pt x="2546" y="206"/>
                    <a:pt x="2542" y="205"/>
                    <a:pt x="2538" y="205"/>
                  </a:cubicBezTo>
                  <a:cubicBezTo>
                    <a:pt x="2537" y="212"/>
                    <a:pt x="2544" y="213"/>
                    <a:pt x="2543" y="219"/>
                  </a:cubicBezTo>
                  <a:close/>
                  <a:moveTo>
                    <a:pt x="2549" y="212"/>
                  </a:moveTo>
                  <a:cubicBezTo>
                    <a:pt x="2550" y="209"/>
                    <a:pt x="2552" y="213"/>
                    <a:pt x="2557" y="212"/>
                  </a:cubicBezTo>
                  <a:cubicBezTo>
                    <a:pt x="2559" y="219"/>
                    <a:pt x="2547" y="215"/>
                    <a:pt x="2552" y="224"/>
                  </a:cubicBezTo>
                  <a:cubicBezTo>
                    <a:pt x="2539" y="223"/>
                    <a:pt x="2556" y="214"/>
                    <a:pt x="2549" y="212"/>
                  </a:cubicBezTo>
                  <a:close/>
                  <a:moveTo>
                    <a:pt x="2549" y="238"/>
                  </a:moveTo>
                  <a:cubicBezTo>
                    <a:pt x="2548" y="233"/>
                    <a:pt x="2554" y="235"/>
                    <a:pt x="2554" y="231"/>
                  </a:cubicBezTo>
                  <a:cubicBezTo>
                    <a:pt x="2558" y="231"/>
                    <a:pt x="2557" y="235"/>
                    <a:pt x="2557" y="238"/>
                  </a:cubicBezTo>
                  <a:cubicBezTo>
                    <a:pt x="2555" y="238"/>
                    <a:pt x="2552" y="238"/>
                    <a:pt x="2549" y="238"/>
                  </a:cubicBezTo>
                  <a:close/>
                  <a:moveTo>
                    <a:pt x="2553" y="146"/>
                  </a:moveTo>
                  <a:cubicBezTo>
                    <a:pt x="2555" y="146"/>
                    <a:pt x="2557" y="146"/>
                    <a:pt x="2559" y="146"/>
                  </a:cubicBezTo>
                  <a:cubicBezTo>
                    <a:pt x="2559" y="153"/>
                    <a:pt x="2538" y="146"/>
                    <a:pt x="2553" y="146"/>
                  </a:cubicBezTo>
                  <a:close/>
                  <a:moveTo>
                    <a:pt x="2570" y="167"/>
                  </a:moveTo>
                  <a:cubicBezTo>
                    <a:pt x="2567" y="175"/>
                    <a:pt x="2562" y="165"/>
                    <a:pt x="2564" y="160"/>
                  </a:cubicBezTo>
                  <a:cubicBezTo>
                    <a:pt x="2568" y="161"/>
                    <a:pt x="2565" y="167"/>
                    <a:pt x="2570" y="167"/>
                  </a:cubicBezTo>
                  <a:close/>
                  <a:moveTo>
                    <a:pt x="2567" y="137"/>
                  </a:moveTo>
                  <a:cubicBezTo>
                    <a:pt x="2570" y="138"/>
                    <a:pt x="2572" y="140"/>
                    <a:pt x="2572" y="144"/>
                  </a:cubicBezTo>
                  <a:cubicBezTo>
                    <a:pt x="2569" y="143"/>
                    <a:pt x="2566" y="141"/>
                    <a:pt x="2567" y="137"/>
                  </a:cubicBezTo>
                  <a:close/>
                  <a:moveTo>
                    <a:pt x="2568" y="191"/>
                  </a:moveTo>
                  <a:cubicBezTo>
                    <a:pt x="2570" y="191"/>
                    <a:pt x="2573" y="191"/>
                    <a:pt x="2576" y="191"/>
                  </a:cubicBezTo>
                  <a:cubicBezTo>
                    <a:pt x="2575" y="196"/>
                    <a:pt x="2564" y="192"/>
                    <a:pt x="2559" y="193"/>
                  </a:cubicBezTo>
                  <a:cubicBezTo>
                    <a:pt x="2560" y="190"/>
                    <a:pt x="2564" y="191"/>
                    <a:pt x="2568" y="191"/>
                  </a:cubicBezTo>
                  <a:close/>
                  <a:moveTo>
                    <a:pt x="2559" y="200"/>
                  </a:moveTo>
                  <a:cubicBezTo>
                    <a:pt x="2562" y="205"/>
                    <a:pt x="2573" y="201"/>
                    <a:pt x="2565" y="198"/>
                  </a:cubicBezTo>
                  <a:cubicBezTo>
                    <a:pt x="2567" y="194"/>
                    <a:pt x="2569" y="198"/>
                    <a:pt x="2576" y="195"/>
                  </a:cubicBezTo>
                  <a:cubicBezTo>
                    <a:pt x="2576" y="199"/>
                    <a:pt x="2564" y="203"/>
                    <a:pt x="2576" y="202"/>
                  </a:cubicBezTo>
                  <a:cubicBezTo>
                    <a:pt x="2586" y="207"/>
                    <a:pt x="2561" y="202"/>
                    <a:pt x="2562" y="207"/>
                  </a:cubicBezTo>
                  <a:cubicBezTo>
                    <a:pt x="2560" y="208"/>
                    <a:pt x="2560" y="206"/>
                    <a:pt x="2560" y="205"/>
                  </a:cubicBezTo>
                  <a:cubicBezTo>
                    <a:pt x="2560" y="203"/>
                    <a:pt x="2560" y="202"/>
                    <a:pt x="2559" y="200"/>
                  </a:cubicBezTo>
                  <a:close/>
                  <a:moveTo>
                    <a:pt x="2595" y="219"/>
                  </a:moveTo>
                  <a:cubicBezTo>
                    <a:pt x="2593" y="223"/>
                    <a:pt x="2594" y="216"/>
                    <a:pt x="2590" y="216"/>
                  </a:cubicBezTo>
                  <a:cubicBezTo>
                    <a:pt x="2587" y="216"/>
                    <a:pt x="2585" y="212"/>
                    <a:pt x="2584" y="207"/>
                  </a:cubicBezTo>
                  <a:cubicBezTo>
                    <a:pt x="2588" y="207"/>
                    <a:pt x="2592" y="207"/>
                    <a:pt x="2595" y="207"/>
                  </a:cubicBezTo>
                  <a:cubicBezTo>
                    <a:pt x="2597" y="214"/>
                    <a:pt x="2590" y="214"/>
                    <a:pt x="2595" y="219"/>
                  </a:cubicBezTo>
                  <a:close/>
                  <a:moveTo>
                    <a:pt x="2591" y="263"/>
                  </a:moveTo>
                  <a:cubicBezTo>
                    <a:pt x="2589" y="268"/>
                    <a:pt x="2586" y="265"/>
                    <a:pt x="2588" y="256"/>
                  </a:cubicBezTo>
                  <a:cubicBezTo>
                    <a:pt x="2590" y="250"/>
                    <a:pt x="2591" y="262"/>
                    <a:pt x="2591" y="263"/>
                  </a:cubicBezTo>
                  <a:close/>
                  <a:moveTo>
                    <a:pt x="2582" y="230"/>
                  </a:moveTo>
                  <a:cubicBezTo>
                    <a:pt x="2594" y="232"/>
                    <a:pt x="2580" y="245"/>
                    <a:pt x="2582" y="230"/>
                  </a:cubicBezTo>
                  <a:close/>
                  <a:moveTo>
                    <a:pt x="2571" y="228"/>
                  </a:moveTo>
                  <a:cubicBezTo>
                    <a:pt x="2572" y="226"/>
                    <a:pt x="2573" y="224"/>
                    <a:pt x="2576" y="224"/>
                  </a:cubicBezTo>
                  <a:cubicBezTo>
                    <a:pt x="2575" y="220"/>
                    <a:pt x="2568" y="222"/>
                    <a:pt x="2571" y="214"/>
                  </a:cubicBezTo>
                  <a:cubicBezTo>
                    <a:pt x="2579" y="214"/>
                    <a:pt x="2580" y="220"/>
                    <a:pt x="2582" y="226"/>
                  </a:cubicBezTo>
                  <a:cubicBezTo>
                    <a:pt x="2579" y="228"/>
                    <a:pt x="2576" y="228"/>
                    <a:pt x="2571" y="228"/>
                  </a:cubicBezTo>
                  <a:close/>
                  <a:moveTo>
                    <a:pt x="2560" y="221"/>
                  </a:moveTo>
                  <a:cubicBezTo>
                    <a:pt x="2560" y="219"/>
                    <a:pt x="2560" y="217"/>
                    <a:pt x="2560" y="214"/>
                  </a:cubicBezTo>
                  <a:cubicBezTo>
                    <a:pt x="2562" y="214"/>
                    <a:pt x="2565" y="214"/>
                    <a:pt x="2568" y="214"/>
                  </a:cubicBezTo>
                  <a:cubicBezTo>
                    <a:pt x="2565" y="217"/>
                    <a:pt x="2567" y="223"/>
                    <a:pt x="2560" y="221"/>
                  </a:cubicBezTo>
                  <a:close/>
                  <a:moveTo>
                    <a:pt x="2568" y="231"/>
                  </a:moveTo>
                  <a:cubicBezTo>
                    <a:pt x="2578" y="230"/>
                    <a:pt x="2572" y="243"/>
                    <a:pt x="2577" y="247"/>
                  </a:cubicBezTo>
                  <a:cubicBezTo>
                    <a:pt x="2566" y="249"/>
                    <a:pt x="2569" y="238"/>
                    <a:pt x="2568" y="231"/>
                  </a:cubicBezTo>
                  <a:close/>
                  <a:moveTo>
                    <a:pt x="2569" y="254"/>
                  </a:moveTo>
                  <a:cubicBezTo>
                    <a:pt x="2568" y="251"/>
                    <a:pt x="2576" y="246"/>
                    <a:pt x="2577" y="252"/>
                  </a:cubicBezTo>
                  <a:cubicBezTo>
                    <a:pt x="2576" y="254"/>
                    <a:pt x="2578" y="254"/>
                    <a:pt x="2580" y="254"/>
                  </a:cubicBezTo>
                  <a:cubicBezTo>
                    <a:pt x="2578" y="261"/>
                    <a:pt x="2574" y="252"/>
                    <a:pt x="2569" y="254"/>
                  </a:cubicBezTo>
                  <a:close/>
                  <a:moveTo>
                    <a:pt x="2579" y="242"/>
                  </a:moveTo>
                  <a:cubicBezTo>
                    <a:pt x="2578" y="238"/>
                    <a:pt x="2592" y="239"/>
                    <a:pt x="2588" y="244"/>
                  </a:cubicBezTo>
                  <a:cubicBezTo>
                    <a:pt x="2586" y="245"/>
                    <a:pt x="2584" y="245"/>
                    <a:pt x="2582" y="245"/>
                  </a:cubicBezTo>
                  <a:cubicBezTo>
                    <a:pt x="2583" y="243"/>
                    <a:pt x="2581" y="242"/>
                    <a:pt x="2579" y="242"/>
                  </a:cubicBezTo>
                  <a:close/>
                  <a:moveTo>
                    <a:pt x="2585" y="275"/>
                  </a:moveTo>
                  <a:cubicBezTo>
                    <a:pt x="2586" y="269"/>
                    <a:pt x="2596" y="271"/>
                    <a:pt x="2596" y="266"/>
                  </a:cubicBezTo>
                  <a:cubicBezTo>
                    <a:pt x="2603" y="268"/>
                    <a:pt x="2595" y="278"/>
                    <a:pt x="2585" y="275"/>
                  </a:cubicBezTo>
                  <a:close/>
                  <a:moveTo>
                    <a:pt x="2631" y="232"/>
                  </a:moveTo>
                  <a:cubicBezTo>
                    <a:pt x="2638" y="234"/>
                    <a:pt x="2643" y="237"/>
                    <a:pt x="2643" y="246"/>
                  </a:cubicBezTo>
                  <a:cubicBezTo>
                    <a:pt x="2637" y="247"/>
                    <a:pt x="2639" y="243"/>
                    <a:pt x="2637" y="241"/>
                  </a:cubicBezTo>
                  <a:cubicBezTo>
                    <a:pt x="2635" y="239"/>
                    <a:pt x="2630" y="235"/>
                    <a:pt x="2631" y="232"/>
                  </a:cubicBezTo>
                  <a:close/>
                  <a:moveTo>
                    <a:pt x="2613" y="263"/>
                  </a:moveTo>
                  <a:cubicBezTo>
                    <a:pt x="2615" y="262"/>
                    <a:pt x="2622" y="254"/>
                    <a:pt x="2615" y="253"/>
                  </a:cubicBezTo>
                  <a:cubicBezTo>
                    <a:pt x="2616" y="247"/>
                    <a:pt x="2624" y="253"/>
                    <a:pt x="2621" y="258"/>
                  </a:cubicBezTo>
                  <a:cubicBezTo>
                    <a:pt x="2630" y="261"/>
                    <a:pt x="2623" y="250"/>
                    <a:pt x="2632" y="253"/>
                  </a:cubicBezTo>
                  <a:cubicBezTo>
                    <a:pt x="2632" y="255"/>
                    <a:pt x="2631" y="255"/>
                    <a:pt x="2629" y="255"/>
                  </a:cubicBezTo>
                  <a:cubicBezTo>
                    <a:pt x="2629" y="262"/>
                    <a:pt x="2633" y="260"/>
                    <a:pt x="2629" y="267"/>
                  </a:cubicBezTo>
                  <a:cubicBezTo>
                    <a:pt x="2628" y="270"/>
                    <a:pt x="2629" y="272"/>
                    <a:pt x="2624" y="272"/>
                  </a:cubicBezTo>
                  <a:cubicBezTo>
                    <a:pt x="2621" y="265"/>
                    <a:pt x="2628" y="266"/>
                    <a:pt x="2626" y="260"/>
                  </a:cubicBezTo>
                  <a:cubicBezTo>
                    <a:pt x="2620" y="259"/>
                    <a:pt x="2621" y="264"/>
                    <a:pt x="2621" y="267"/>
                  </a:cubicBezTo>
                  <a:cubicBezTo>
                    <a:pt x="2611" y="266"/>
                    <a:pt x="2598" y="263"/>
                    <a:pt x="2604" y="254"/>
                  </a:cubicBezTo>
                  <a:cubicBezTo>
                    <a:pt x="2600" y="253"/>
                    <a:pt x="2599" y="255"/>
                    <a:pt x="2599" y="258"/>
                  </a:cubicBezTo>
                  <a:cubicBezTo>
                    <a:pt x="2591" y="257"/>
                    <a:pt x="2601" y="253"/>
                    <a:pt x="2599" y="249"/>
                  </a:cubicBezTo>
                  <a:cubicBezTo>
                    <a:pt x="2604" y="251"/>
                    <a:pt x="2608" y="253"/>
                    <a:pt x="2607" y="261"/>
                  </a:cubicBezTo>
                  <a:cubicBezTo>
                    <a:pt x="2610" y="260"/>
                    <a:pt x="2612" y="261"/>
                    <a:pt x="2613" y="263"/>
                  </a:cubicBezTo>
                  <a:close/>
                  <a:moveTo>
                    <a:pt x="2607" y="232"/>
                  </a:moveTo>
                  <a:cubicBezTo>
                    <a:pt x="2605" y="239"/>
                    <a:pt x="2611" y="238"/>
                    <a:pt x="2610" y="244"/>
                  </a:cubicBezTo>
                  <a:cubicBezTo>
                    <a:pt x="2607" y="244"/>
                    <a:pt x="2604" y="244"/>
                    <a:pt x="2601" y="244"/>
                  </a:cubicBezTo>
                  <a:cubicBezTo>
                    <a:pt x="2601" y="240"/>
                    <a:pt x="2605" y="239"/>
                    <a:pt x="2604" y="235"/>
                  </a:cubicBezTo>
                  <a:cubicBezTo>
                    <a:pt x="2601" y="236"/>
                    <a:pt x="2598" y="238"/>
                    <a:pt x="2599" y="242"/>
                  </a:cubicBezTo>
                  <a:cubicBezTo>
                    <a:pt x="2594" y="240"/>
                    <a:pt x="2594" y="234"/>
                    <a:pt x="2593" y="230"/>
                  </a:cubicBezTo>
                  <a:cubicBezTo>
                    <a:pt x="2596" y="232"/>
                    <a:pt x="2600" y="233"/>
                    <a:pt x="2607" y="232"/>
                  </a:cubicBezTo>
                  <a:close/>
                  <a:moveTo>
                    <a:pt x="2584" y="198"/>
                  </a:moveTo>
                  <a:cubicBezTo>
                    <a:pt x="2586" y="194"/>
                    <a:pt x="2591" y="196"/>
                    <a:pt x="2592" y="197"/>
                  </a:cubicBezTo>
                  <a:cubicBezTo>
                    <a:pt x="2593" y="198"/>
                    <a:pt x="2597" y="197"/>
                    <a:pt x="2598" y="197"/>
                  </a:cubicBezTo>
                  <a:cubicBezTo>
                    <a:pt x="2599" y="198"/>
                    <a:pt x="2598" y="204"/>
                    <a:pt x="2603" y="202"/>
                  </a:cubicBezTo>
                  <a:cubicBezTo>
                    <a:pt x="2596" y="210"/>
                    <a:pt x="2590" y="198"/>
                    <a:pt x="2584" y="198"/>
                  </a:cubicBezTo>
                  <a:close/>
                  <a:moveTo>
                    <a:pt x="2586" y="146"/>
                  </a:moveTo>
                  <a:cubicBezTo>
                    <a:pt x="2591" y="147"/>
                    <a:pt x="2598" y="146"/>
                    <a:pt x="2597" y="153"/>
                  </a:cubicBezTo>
                  <a:cubicBezTo>
                    <a:pt x="2591" y="149"/>
                    <a:pt x="2594" y="153"/>
                    <a:pt x="2586" y="153"/>
                  </a:cubicBezTo>
                  <a:cubicBezTo>
                    <a:pt x="2586" y="151"/>
                    <a:pt x="2586" y="148"/>
                    <a:pt x="2586" y="146"/>
                  </a:cubicBezTo>
                  <a:close/>
                  <a:moveTo>
                    <a:pt x="2625" y="171"/>
                  </a:moveTo>
                  <a:cubicBezTo>
                    <a:pt x="2625" y="167"/>
                    <a:pt x="2625" y="163"/>
                    <a:pt x="2625" y="159"/>
                  </a:cubicBezTo>
                  <a:cubicBezTo>
                    <a:pt x="2633" y="155"/>
                    <a:pt x="2633" y="174"/>
                    <a:pt x="2625" y="171"/>
                  </a:cubicBezTo>
                  <a:close/>
                  <a:moveTo>
                    <a:pt x="2639" y="182"/>
                  </a:moveTo>
                  <a:cubicBezTo>
                    <a:pt x="2631" y="179"/>
                    <a:pt x="2636" y="177"/>
                    <a:pt x="2633" y="168"/>
                  </a:cubicBezTo>
                  <a:cubicBezTo>
                    <a:pt x="2636" y="168"/>
                    <a:pt x="2638" y="168"/>
                    <a:pt x="2641" y="168"/>
                  </a:cubicBezTo>
                  <a:cubicBezTo>
                    <a:pt x="2638" y="171"/>
                    <a:pt x="2638" y="177"/>
                    <a:pt x="2639" y="182"/>
                  </a:cubicBezTo>
                  <a:close/>
                  <a:moveTo>
                    <a:pt x="2655" y="173"/>
                  </a:moveTo>
                  <a:cubicBezTo>
                    <a:pt x="2662" y="173"/>
                    <a:pt x="2656" y="181"/>
                    <a:pt x="2655" y="182"/>
                  </a:cubicBezTo>
                  <a:cubicBezTo>
                    <a:pt x="2647" y="181"/>
                    <a:pt x="2658" y="177"/>
                    <a:pt x="2655" y="173"/>
                  </a:cubicBezTo>
                  <a:close/>
                  <a:moveTo>
                    <a:pt x="2663" y="189"/>
                  </a:moveTo>
                  <a:cubicBezTo>
                    <a:pt x="2661" y="187"/>
                    <a:pt x="2657" y="187"/>
                    <a:pt x="2652" y="187"/>
                  </a:cubicBezTo>
                  <a:cubicBezTo>
                    <a:pt x="2652" y="183"/>
                    <a:pt x="2668" y="182"/>
                    <a:pt x="2663" y="189"/>
                  </a:cubicBezTo>
                  <a:close/>
                  <a:moveTo>
                    <a:pt x="2660" y="154"/>
                  </a:moveTo>
                  <a:cubicBezTo>
                    <a:pt x="2656" y="157"/>
                    <a:pt x="2653" y="157"/>
                    <a:pt x="2649" y="154"/>
                  </a:cubicBezTo>
                  <a:cubicBezTo>
                    <a:pt x="2651" y="146"/>
                    <a:pt x="2656" y="154"/>
                    <a:pt x="2666" y="151"/>
                  </a:cubicBezTo>
                  <a:cubicBezTo>
                    <a:pt x="2668" y="150"/>
                    <a:pt x="2668" y="146"/>
                    <a:pt x="2674" y="147"/>
                  </a:cubicBezTo>
                  <a:cubicBezTo>
                    <a:pt x="2675" y="151"/>
                    <a:pt x="2672" y="151"/>
                    <a:pt x="2668" y="151"/>
                  </a:cubicBezTo>
                  <a:cubicBezTo>
                    <a:pt x="2668" y="154"/>
                    <a:pt x="2669" y="156"/>
                    <a:pt x="2671" y="156"/>
                  </a:cubicBezTo>
                  <a:cubicBezTo>
                    <a:pt x="2671" y="162"/>
                    <a:pt x="2661" y="156"/>
                    <a:pt x="2660" y="154"/>
                  </a:cubicBezTo>
                  <a:close/>
                  <a:moveTo>
                    <a:pt x="2669" y="168"/>
                  </a:moveTo>
                  <a:cubicBezTo>
                    <a:pt x="2669" y="166"/>
                    <a:pt x="2669" y="165"/>
                    <a:pt x="2669" y="163"/>
                  </a:cubicBezTo>
                  <a:cubicBezTo>
                    <a:pt x="2670" y="163"/>
                    <a:pt x="2672" y="163"/>
                    <a:pt x="2674" y="163"/>
                  </a:cubicBezTo>
                  <a:cubicBezTo>
                    <a:pt x="2674" y="165"/>
                    <a:pt x="2674" y="166"/>
                    <a:pt x="2674" y="168"/>
                  </a:cubicBezTo>
                  <a:cubicBezTo>
                    <a:pt x="2672" y="168"/>
                    <a:pt x="2670" y="168"/>
                    <a:pt x="2669" y="168"/>
                  </a:cubicBezTo>
                  <a:close/>
                  <a:moveTo>
                    <a:pt x="2685" y="184"/>
                  </a:moveTo>
                  <a:cubicBezTo>
                    <a:pt x="2679" y="185"/>
                    <a:pt x="2681" y="180"/>
                    <a:pt x="2677" y="179"/>
                  </a:cubicBezTo>
                  <a:cubicBezTo>
                    <a:pt x="2678" y="174"/>
                    <a:pt x="2688" y="179"/>
                    <a:pt x="2685" y="184"/>
                  </a:cubicBezTo>
                  <a:close/>
                  <a:moveTo>
                    <a:pt x="2682" y="135"/>
                  </a:moveTo>
                  <a:cubicBezTo>
                    <a:pt x="2682" y="141"/>
                    <a:pt x="2671" y="138"/>
                    <a:pt x="2671" y="144"/>
                  </a:cubicBezTo>
                  <a:cubicBezTo>
                    <a:pt x="2669" y="142"/>
                    <a:pt x="2661" y="135"/>
                    <a:pt x="2663" y="147"/>
                  </a:cubicBezTo>
                  <a:cubicBezTo>
                    <a:pt x="2659" y="148"/>
                    <a:pt x="2661" y="140"/>
                    <a:pt x="2660" y="140"/>
                  </a:cubicBezTo>
                  <a:cubicBezTo>
                    <a:pt x="2657" y="139"/>
                    <a:pt x="2654" y="144"/>
                    <a:pt x="2649" y="140"/>
                  </a:cubicBezTo>
                  <a:cubicBezTo>
                    <a:pt x="2647" y="139"/>
                    <a:pt x="2630" y="144"/>
                    <a:pt x="2632" y="136"/>
                  </a:cubicBezTo>
                  <a:cubicBezTo>
                    <a:pt x="2628" y="135"/>
                    <a:pt x="2627" y="137"/>
                    <a:pt x="2627" y="140"/>
                  </a:cubicBezTo>
                  <a:cubicBezTo>
                    <a:pt x="2620" y="142"/>
                    <a:pt x="2621" y="136"/>
                    <a:pt x="2616" y="136"/>
                  </a:cubicBezTo>
                  <a:cubicBezTo>
                    <a:pt x="2613" y="137"/>
                    <a:pt x="2614" y="141"/>
                    <a:pt x="2610" y="141"/>
                  </a:cubicBezTo>
                  <a:cubicBezTo>
                    <a:pt x="2606" y="142"/>
                    <a:pt x="2605" y="139"/>
                    <a:pt x="2605" y="136"/>
                  </a:cubicBezTo>
                  <a:cubicBezTo>
                    <a:pt x="2593" y="134"/>
                    <a:pt x="2592" y="141"/>
                    <a:pt x="2583" y="141"/>
                  </a:cubicBezTo>
                  <a:cubicBezTo>
                    <a:pt x="2583" y="139"/>
                    <a:pt x="2583" y="136"/>
                    <a:pt x="2583" y="134"/>
                  </a:cubicBezTo>
                  <a:cubicBezTo>
                    <a:pt x="2573" y="133"/>
                    <a:pt x="2581" y="141"/>
                    <a:pt x="2572" y="137"/>
                  </a:cubicBezTo>
                  <a:cubicBezTo>
                    <a:pt x="2572" y="137"/>
                    <a:pt x="2568" y="134"/>
                    <a:pt x="2569" y="134"/>
                  </a:cubicBezTo>
                  <a:cubicBezTo>
                    <a:pt x="2568" y="134"/>
                    <a:pt x="2561" y="140"/>
                    <a:pt x="2561" y="134"/>
                  </a:cubicBezTo>
                  <a:cubicBezTo>
                    <a:pt x="2558" y="135"/>
                    <a:pt x="2560" y="137"/>
                    <a:pt x="2561" y="137"/>
                  </a:cubicBezTo>
                  <a:cubicBezTo>
                    <a:pt x="2562" y="142"/>
                    <a:pt x="2551" y="138"/>
                    <a:pt x="2547" y="139"/>
                  </a:cubicBezTo>
                  <a:cubicBezTo>
                    <a:pt x="2547" y="137"/>
                    <a:pt x="2551" y="138"/>
                    <a:pt x="2553" y="137"/>
                  </a:cubicBezTo>
                  <a:cubicBezTo>
                    <a:pt x="2561" y="132"/>
                    <a:pt x="2569" y="128"/>
                    <a:pt x="2577" y="127"/>
                  </a:cubicBezTo>
                  <a:cubicBezTo>
                    <a:pt x="2578" y="127"/>
                    <a:pt x="2577" y="132"/>
                    <a:pt x="2578" y="132"/>
                  </a:cubicBezTo>
                  <a:cubicBezTo>
                    <a:pt x="2580" y="134"/>
                    <a:pt x="2586" y="128"/>
                    <a:pt x="2586" y="127"/>
                  </a:cubicBezTo>
                  <a:cubicBezTo>
                    <a:pt x="2587" y="128"/>
                    <a:pt x="2589" y="128"/>
                    <a:pt x="2591" y="129"/>
                  </a:cubicBezTo>
                  <a:cubicBezTo>
                    <a:pt x="2594" y="131"/>
                    <a:pt x="2595" y="131"/>
                    <a:pt x="2599" y="131"/>
                  </a:cubicBezTo>
                  <a:cubicBezTo>
                    <a:pt x="2601" y="132"/>
                    <a:pt x="2603" y="134"/>
                    <a:pt x="2602" y="134"/>
                  </a:cubicBezTo>
                  <a:cubicBezTo>
                    <a:pt x="2606" y="134"/>
                    <a:pt x="2608" y="130"/>
                    <a:pt x="2616" y="131"/>
                  </a:cubicBezTo>
                  <a:cubicBezTo>
                    <a:pt x="2617" y="131"/>
                    <a:pt x="2619" y="133"/>
                    <a:pt x="2619" y="133"/>
                  </a:cubicBezTo>
                  <a:cubicBezTo>
                    <a:pt x="2621" y="134"/>
                    <a:pt x="2623" y="131"/>
                    <a:pt x="2627" y="131"/>
                  </a:cubicBezTo>
                  <a:cubicBezTo>
                    <a:pt x="2626" y="131"/>
                    <a:pt x="2631" y="135"/>
                    <a:pt x="2632" y="133"/>
                  </a:cubicBezTo>
                  <a:cubicBezTo>
                    <a:pt x="2635" y="130"/>
                    <a:pt x="2634" y="133"/>
                    <a:pt x="2638" y="133"/>
                  </a:cubicBezTo>
                  <a:cubicBezTo>
                    <a:pt x="2642" y="133"/>
                    <a:pt x="2643" y="131"/>
                    <a:pt x="2646" y="131"/>
                  </a:cubicBezTo>
                  <a:cubicBezTo>
                    <a:pt x="2657" y="131"/>
                    <a:pt x="2670" y="132"/>
                    <a:pt x="2682" y="135"/>
                  </a:cubicBezTo>
                  <a:close/>
                  <a:moveTo>
                    <a:pt x="2665" y="116"/>
                  </a:moveTo>
                  <a:cubicBezTo>
                    <a:pt x="2665" y="119"/>
                    <a:pt x="2662" y="118"/>
                    <a:pt x="2660" y="119"/>
                  </a:cubicBezTo>
                  <a:cubicBezTo>
                    <a:pt x="2657" y="120"/>
                    <a:pt x="2657" y="124"/>
                    <a:pt x="2651" y="124"/>
                  </a:cubicBezTo>
                  <a:cubicBezTo>
                    <a:pt x="2653" y="122"/>
                    <a:pt x="2654" y="120"/>
                    <a:pt x="2654" y="116"/>
                  </a:cubicBezTo>
                  <a:cubicBezTo>
                    <a:pt x="2650" y="116"/>
                    <a:pt x="2645" y="126"/>
                    <a:pt x="2646" y="117"/>
                  </a:cubicBezTo>
                  <a:cubicBezTo>
                    <a:pt x="2650" y="117"/>
                    <a:pt x="2651" y="115"/>
                    <a:pt x="2651" y="112"/>
                  </a:cubicBezTo>
                  <a:cubicBezTo>
                    <a:pt x="2660" y="110"/>
                    <a:pt x="2657" y="118"/>
                    <a:pt x="2665" y="116"/>
                  </a:cubicBezTo>
                  <a:close/>
                  <a:moveTo>
                    <a:pt x="2673" y="107"/>
                  </a:moveTo>
                  <a:cubicBezTo>
                    <a:pt x="2664" y="110"/>
                    <a:pt x="2671" y="99"/>
                    <a:pt x="2662" y="102"/>
                  </a:cubicBezTo>
                  <a:cubicBezTo>
                    <a:pt x="2664" y="92"/>
                    <a:pt x="2681" y="102"/>
                    <a:pt x="2673" y="107"/>
                  </a:cubicBezTo>
                  <a:close/>
                  <a:moveTo>
                    <a:pt x="2724" y="24"/>
                  </a:moveTo>
                  <a:cubicBezTo>
                    <a:pt x="2718" y="17"/>
                    <a:pt x="2716" y="33"/>
                    <a:pt x="2715" y="19"/>
                  </a:cubicBezTo>
                  <a:cubicBezTo>
                    <a:pt x="2721" y="18"/>
                    <a:pt x="2724" y="19"/>
                    <a:pt x="2724" y="24"/>
                  </a:cubicBezTo>
                  <a:close/>
                  <a:moveTo>
                    <a:pt x="2694" y="71"/>
                  </a:moveTo>
                  <a:cubicBezTo>
                    <a:pt x="2697" y="71"/>
                    <a:pt x="2697" y="74"/>
                    <a:pt x="2697" y="76"/>
                  </a:cubicBezTo>
                  <a:cubicBezTo>
                    <a:pt x="2700" y="76"/>
                    <a:pt x="2702" y="75"/>
                    <a:pt x="2703" y="73"/>
                  </a:cubicBezTo>
                  <a:cubicBezTo>
                    <a:pt x="2706" y="75"/>
                    <a:pt x="2708" y="78"/>
                    <a:pt x="2708" y="83"/>
                  </a:cubicBezTo>
                  <a:cubicBezTo>
                    <a:pt x="2703" y="77"/>
                    <a:pt x="2689" y="81"/>
                    <a:pt x="2694" y="71"/>
                  </a:cubicBezTo>
                  <a:close/>
                  <a:moveTo>
                    <a:pt x="2700" y="106"/>
                  </a:moveTo>
                  <a:cubicBezTo>
                    <a:pt x="2698" y="104"/>
                    <a:pt x="2690" y="106"/>
                    <a:pt x="2692" y="99"/>
                  </a:cubicBezTo>
                  <a:cubicBezTo>
                    <a:pt x="2698" y="99"/>
                    <a:pt x="2701" y="101"/>
                    <a:pt x="2700" y="106"/>
                  </a:cubicBezTo>
                  <a:close/>
                  <a:moveTo>
                    <a:pt x="2698" y="97"/>
                  </a:moveTo>
                  <a:cubicBezTo>
                    <a:pt x="2698" y="95"/>
                    <a:pt x="2701" y="95"/>
                    <a:pt x="2703" y="94"/>
                  </a:cubicBezTo>
                  <a:cubicBezTo>
                    <a:pt x="2705" y="94"/>
                    <a:pt x="2707" y="94"/>
                    <a:pt x="2708" y="94"/>
                  </a:cubicBezTo>
                  <a:cubicBezTo>
                    <a:pt x="2708" y="98"/>
                    <a:pt x="2702" y="96"/>
                    <a:pt x="2698" y="97"/>
                  </a:cubicBezTo>
                  <a:close/>
                  <a:moveTo>
                    <a:pt x="2722" y="99"/>
                  </a:moveTo>
                  <a:cubicBezTo>
                    <a:pt x="2722" y="101"/>
                    <a:pt x="2725" y="101"/>
                    <a:pt x="2725" y="101"/>
                  </a:cubicBezTo>
                  <a:cubicBezTo>
                    <a:pt x="2725" y="105"/>
                    <a:pt x="2721" y="107"/>
                    <a:pt x="2725" y="108"/>
                  </a:cubicBezTo>
                  <a:cubicBezTo>
                    <a:pt x="2726" y="109"/>
                    <a:pt x="2720" y="111"/>
                    <a:pt x="2720" y="111"/>
                  </a:cubicBezTo>
                  <a:cubicBezTo>
                    <a:pt x="2717" y="108"/>
                    <a:pt x="2722" y="104"/>
                    <a:pt x="2717" y="104"/>
                  </a:cubicBezTo>
                  <a:cubicBezTo>
                    <a:pt x="2713" y="103"/>
                    <a:pt x="2717" y="101"/>
                    <a:pt x="2717" y="99"/>
                  </a:cubicBezTo>
                  <a:cubicBezTo>
                    <a:pt x="2717" y="97"/>
                    <a:pt x="2716" y="97"/>
                    <a:pt x="2714" y="97"/>
                  </a:cubicBezTo>
                  <a:cubicBezTo>
                    <a:pt x="2707" y="92"/>
                    <a:pt x="2720" y="98"/>
                    <a:pt x="2725" y="96"/>
                  </a:cubicBezTo>
                  <a:cubicBezTo>
                    <a:pt x="2727" y="99"/>
                    <a:pt x="2722" y="98"/>
                    <a:pt x="2722" y="99"/>
                  </a:cubicBezTo>
                  <a:close/>
                  <a:moveTo>
                    <a:pt x="2733" y="99"/>
                  </a:moveTo>
                  <a:cubicBezTo>
                    <a:pt x="2732" y="91"/>
                    <a:pt x="2741" y="92"/>
                    <a:pt x="2741" y="87"/>
                  </a:cubicBezTo>
                  <a:cubicBezTo>
                    <a:pt x="2744" y="79"/>
                    <a:pt x="2745" y="104"/>
                    <a:pt x="2733" y="99"/>
                  </a:cubicBezTo>
                  <a:close/>
                  <a:moveTo>
                    <a:pt x="2736" y="106"/>
                  </a:moveTo>
                  <a:cubicBezTo>
                    <a:pt x="2736" y="102"/>
                    <a:pt x="2748" y="108"/>
                    <a:pt x="2747" y="112"/>
                  </a:cubicBezTo>
                  <a:cubicBezTo>
                    <a:pt x="2738" y="115"/>
                    <a:pt x="2741" y="106"/>
                    <a:pt x="2736" y="106"/>
                  </a:cubicBezTo>
                  <a:close/>
                  <a:moveTo>
                    <a:pt x="2766" y="79"/>
                  </a:moveTo>
                  <a:cubicBezTo>
                    <a:pt x="2767" y="75"/>
                    <a:pt x="2769" y="81"/>
                    <a:pt x="2769" y="84"/>
                  </a:cubicBezTo>
                  <a:cubicBezTo>
                    <a:pt x="2768" y="88"/>
                    <a:pt x="2765" y="82"/>
                    <a:pt x="2766" y="79"/>
                  </a:cubicBezTo>
                  <a:close/>
                  <a:moveTo>
                    <a:pt x="2762" y="23"/>
                  </a:moveTo>
                  <a:cubicBezTo>
                    <a:pt x="2767" y="22"/>
                    <a:pt x="2766" y="33"/>
                    <a:pt x="2759" y="30"/>
                  </a:cubicBezTo>
                  <a:cubicBezTo>
                    <a:pt x="2759" y="28"/>
                    <a:pt x="2759" y="27"/>
                    <a:pt x="2759" y="25"/>
                  </a:cubicBezTo>
                  <a:cubicBezTo>
                    <a:pt x="2762" y="26"/>
                    <a:pt x="2762" y="24"/>
                    <a:pt x="2762" y="23"/>
                  </a:cubicBezTo>
                  <a:close/>
                  <a:moveTo>
                    <a:pt x="2757" y="35"/>
                  </a:moveTo>
                  <a:cubicBezTo>
                    <a:pt x="2761" y="35"/>
                    <a:pt x="2758" y="42"/>
                    <a:pt x="2762" y="42"/>
                  </a:cubicBezTo>
                  <a:cubicBezTo>
                    <a:pt x="2759" y="49"/>
                    <a:pt x="2751" y="37"/>
                    <a:pt x="2757" y="35"/>
                  </a:cubicBezTo>
                  <a:close/>
                  <a:moveTo>
                    <a:pt x="2761" y="100"/>
                  </a:moveTo>
                  <a:cubicBezTo>
                    <a:pt x="2757" y="99"/>
                    <a:pt x="2756" y="96"/>
                    <a:pt x="2755" y="91"/>
                  </a:cubicBezTo>
                  <a:cubicBezTo>
                    <a:pt x="2763" y="89"/>
                    <a:pt x="2760" y="96"/>
                    <a:pt x="2761" y="100"/>
                  </a:cubicBezTo>
                  <a:close/>
                  <a:moveTo>
                    <a:pt x="2769" y="112"/>
                  </a:moveTo>
                  <a:cubicBezTo>
                    <a:pt x="2767" y="112"/>
                    <a:pt x="2765" y="112"/>
                    <a:pt x="2764" y="112"/>
                  </a:cubicBezTo>
                  <a:cubicBezTo>
                    <a:pt x="2764" y="110"/>
                    <a:pt x="2763" y="110"/>
                    <a:pt x="2761" y="110"/>
                  </a:cubicBezTo>
                  <a:cubicBezTo>
                    <a:pt x="2760" y="105"/>
                    <a:pt x="2773" y="106"/>
                    <a:pt x="2769" y="112"/>
                  </a:cubicBezTo>
                  <a:close/>
                  <a:moveTo>
                    <a:pt x="2780" y="86"/>
                  </a:moveTo>
                  <a:cubicBezTo>
                    <a:pt x="2775" y="84"/>
                    <a:pt x="2779" y="82"/>
                    <a:pt x="2780" y="79"/>
                  </a:cubicBezTo>
                  <a:cubicBezTo>
                    <a:pt x="2785" y="81"/>
                    <a:pt x="2780" y="83"/>
                    <a:pt x="2780" y="86"/>
                  </a:cubicBezTo>
                  <a:close/>
                  <a:moveTo>
                    <a:pt x="2787" y="11"/>
                  </a:moveTo>
                  <a:cubicBezTo>
                    <a:pt x="2783" y="10"/>
                    <a:pt x="2784" y="5"/>
                    <a:pt x="2784" y="1"/>
                  </a:cubicBezTo>
                  <a:cubicBezTo>
                    <a:pt x="2795" y="0"/>
                    <a:pt x="2785" y="6"/>
                    <a:pt x="2787" y="11"/>
                  </a:cubicBezTo>
                  <a:close/>
                  <a:moveTo>
                    <a:pt x="2795" y="43"/>
                  </a:moveTo>
                  <a:cubicBezTo>
                    <a:pt x="2792" y="43"/>
                    <a:pt x="2793" y="39"/>
                    <a:pt x="2793" y="36"/>
                  </a:cubicBezTo>
                  <a:cubicBezTo>
                    <a:pt x="2797" y="35"/>
                    <a:pt x="2798" y="38"/>
                    <a:pt x="2798" y="41"/>
                  </a:cubicBezTo>
                  <a:cubicBezTo>
                    <a:pt x="2796" y="41"/>
                    <a:pt x="2795" y="42"/>
                    <a:pt x="2795" y="43"/>
                  </a:cubicBezTo>
                  <a:close/>
                  <a:moveTo>
                    <a:pt x="2791" y="123"/>
                  </a:moveTo>
                  <a:cubicBezTo>
                    <a:pt x="2792" y="121"/>
                    <a:pt x="2794" y="121"/>
                    <a:pt x="2794" y="119"/>
                  </a:cubicBezTo>
                  <a:cubicBezTo>
                    <a:pt x="2796" y="119"/>
                    <a:pt x="2798" y="119"/>
                    <a:pt x="2799" y="119"/>
                  </a:cubicBezTo>
                  <a:cubicBezTo>
                    <a:pt x="2801" y="124"/>
                    <a:pt x="2796" y="123"/>
                    <a:pt x="2791" y="123"/>
                  </a:cubicBezTo>
                  <a:close/>
                  <a:moveTo>
                    <a:pt x="2808" y="126"/>
                  </a:moveTo>
                  <a:cubicBezTo>
                    <a:pt x="2802" y="125"/>
                    <a:pt x="2802" y="120"/>
                    <a:pt x="2802" y="114"/>
                  </a:cubicBezTo>
                  <a:cubicBezTo>
                    <a:pt x="2805" y="118"/>
                    <a:pt x="2813" y="121"/>
                    <a:pt x="2808" y="126"/>
                  </a:cubicBezTo>
                  <a:close/>
                  <a:moveTo>
                    <a:pt x="2819" y="114"/>
                  </a:moveTo>
                  <a:cubicBezTo>
                    <a:pt x="2815" y="114"/>
                    <a:pt x="2817" y="116"/>
                    <a:pt x="2819" y="116"/>
                  </a:cubicBezTo>
                  <a:cubicBezTo>
                    <a:pt x="2812" y="124"/>
                    <a:pt x="2808" y="109"/>
                    <a:pt x="2810" y="102"/>
                  </a:cubicBezTo>
                  <a:cubicBezTo>
                    <a:pt x="2814" y="103"/>
                    <a:pt x="2816" y="105"/>
                    <a:pt x="2816" y="109"/>
                  </a:cubicBezTo>
                  <a:cubicBezTo>
                    <a:pt x="2823" y="106"/>
                    <a:pt x="2821" y="98"/>
                    <a:pt x="2827" y="109"/>
                  </a:cubicBezTo>
                  <a:cubicBezTo>
                    <a:pt x="2827" y="110"/>
                    <a:pt x="2829" y="108"/>
                    <a:pt x="2830" y="111"/>
                  </a:cubicBezTo>
                  <a:cubicBezTo>
                    <a:pt x="2830" y="113"/>
                    <a:pt x="2829" y="116"/>
                    <a:pt x="2830" y="118"/>
                  </a:cubicBezTo>
                  <a:cubicBezTo>
                    <a:pt x="2822" y="120"/>
                    <a:pt x="2824" y="113"/>
                    <a:pt x="2819" y="114"/>
                  </a:cubicBezTo>
                  <a:close/>
                  <a:moveTo>
                    <a:pt x="2846" y="111"/>
                  </a:moveTo>
                  <a:cubicBezTo>
                    <a:pt x="2845" y="114"/>
                    <a:pt x="2843" y="116"/>
                    <a:pt x="2838" y="116"/>
                  </a:cubicBezTo>
                  <a:cubicBezTo>
                    <a:pt x="2839" y="113"/>
                    <a:pt x="2841" y="111"/>
                    <a:pt x="2846" y="111"/>
                  </a:cubicBezTo>
                  <a:close/>
                  <a:moveTo>
                    <a:pt x="2851" y="64"/>
                  </a:moveTo>
                  <a:cubicBezTo>
                    <a:pt x="2860" y="64"/>
                    <a:pt x="2850" y="70"/>
                    <a:pt x="2856" y="71"/>
                  </a:cubicBezTo>
                  <a:cubicBezTo>
                    <a:pt x="2853" y="78"/>
                    <a:pt x="2848" y="68"/>
                    <a:pt x="2851" y="64"/>
                  </a:cubicBezTo>
                  <a:close/>
                  <a:moveTo>
                    <a:pt x="2862" y="87"/>
                  </a:moveTo>
                  <a:cubicBezTo>
                    <a:pt x="2860" y="80"/>
                    <a:pt x="2866" y="81"/>
                    <a:pt x="2865" y="75"/>
                  </a:cubicBezTo>
                  <a:cubicBezTo>
                    <a:pt x="2868" y="75"/>
                    <a:pt x="2866" y="78"/>
                    <a:pt x="2867" y="80"/>
                  </a:cubicBezTo>
                  <a:cubicBezTo>
                    <a:pt x="2867" y="80"/>
                    <a:pt x="2873" y="84"/>
                    <a:pt x="2873" y="82"/>
                  </a:cubicBezTo>
                  <a:cubicBezTo>
                    <a:pt x="2872" y="86"/>
                    <a:pt x="2868" y="85"/>
                    <a:pt x="2862" y="87"/>
                  </a:cubicBezTo>
                  <a:close/>
                  <a:moveTo>
                    <a:pt x="2867" y="54"/>
                  </a:moveTo>
                  <a:cubicBezTo>
                    <a:pt x="2868" y="53"/>
                    <a:pt x="2871" y="54"/>
                    <a:pt x="2870" y="52"/>
                  </a:cubicBezTo>
                  <a:cubicBezTo>
                    <a:pt x="2883" y="60"/>
                    <a:pt x="2857" y="64"/>
                    <a:pt x="2867" y="54"/>
                  </a:cubicBezTo>
                  <a:close/>
                  <a:moveTo>
                    <a:pt x="2875" y="40"/>
                  </a:moveTo>
                  <a:cubicBezTo>
                    <a:pt x="2876" y="34"/>
                    <a:pt x="2879" y="29"/>
                    <a:pt x="2869" y="28"/>
                  </a:cubicBezTo>
                  <a:cubicBezTo>
                    <a:pt x="2875" y="17"/>
                    <a:pt x="2888" y="40"/>
                    <a:pt x="2875" y="40"/>
                  </a:cubicBezTo>
                  <a:close/>
                  <a:moveTo>
                    <a:pt x="2881" y="91"/>
                  </a:moveTo>
                  <a:cubicBezTo>
                    <a:pt x="2881" y="90"/>
                    <a:pt x="2881" y="88"/>
                    <a:pt x="2881" y="87"/>
                  </a:cubicBezTo>
                  <a:cubicBezTo>
                    <a:pt x="2883" y="87"/>
                    <a:pt x="2885" y="87"/>
                    <a:pt x="2887" y="87"/>
                  </a:cubicBezTo>
                  <a:cubicBezTo>
                    <a:pt x="2887" y="88"/>
                    <a:pt x="2887" y="90"/>
                    <a:pt x="2887" y="91"/>
                  </a:cubicBezTo>
                  <a:cubicBezTo>
                    <a:pt x="2885" y="91"/>
                    <a:pt x="2883" y="91"/>
                    <a:pt x="288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2" name="Freeform 20"/>
            <p:cNvSpPr>
              <a:spLocks/>
            </p:cNvSpPr>
            <p:nvPr userDrawn="1"/>
          </p:nvSpPr>
          <p:spPr bwMode="auto">
            <a:xfrm>
              <a:off x="5827" y="2112"/>
              <a:ext cx="11" cy="12"/>
            </a:xfrm>
            <a:custGeom>
              <a:avLst/>
              <a:gdLst>
                <a:gd name="T0" fmla="*/ 0 w 5"/>
                <a:gd name="T1" fmla="*/ 5 h 5"/>
                <a:gd name="T2" fmla="*/ 5 w 5"/>
                <a:gd name="T3" fmla="*/ 5 h 5"/>
                <a:gd name="T4" fmla="*/ 5 w 5"/>
                <a:gd name="T5" fmla="*/ 0 h 5"/>
                <a:gd name="T6" fmla="*/ 0 w 5"/>
                <a:gd name="T7" fmla="*/ 0 h 5"/>
                <a:gd name="T8" fmla="*/ 0 w 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cubicBezTo>
                    <a:pt x="1" y="5"/>
                    <a:pt x="3" y="5"/>
                    <a:pt x="5" y="5"/>
                  </a:cubicBezTo>
                  <a:cubicBezTo>
                    <a:pt x="5" y="3"/>
                    <a:pt x="5" y="2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2"/>
                    <a:pt x="0" y="3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3" name="Freeform 21"/>
            <p:cNvSpPr>
              <a:spLocks/>
            </p:cNvSpPr>
            <p:nvPr userDrawn="1"/>
          </p:nvSpPr>
          <p:spPr bwMode="auto">
            <a:xfrm>
              <a:off x="5373" y="2207"/>
              <a:ext cx="33" cy="47"/>
            </a:xfrm>
            <a:custGeom>
              <a:avLst/>
              <a:gdLst>
                <a:gd name="T0" fmla="*/ 11 w 14"/>
                <a:gd name="T1" fmla="*/ 1 h 20"/>
                <a:gd name="T2" fmla="*/ 12 w 14"/>
                <a:gd name="T3" fmla="*/ 20 h 20"/>
                <a:gd name="T4" fmla="*/ 11 w 14"/>
                <a:gd name="T5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0">
                  <a:moveTo>
                    <a:pt x="11" y="1"/>
                  </a:moveTo>
                  <a:cubicBezTo>
                    <a:pt x="0" y="0"/>
                    <a:pt x="6" y="19"/>
                    <a:pt x="12" y="20"/>
                  </a:cubicBezTo>
                  <a:cubicBezTo>
                    <a:pt x="14" y="10"/>
                    <a:pt x="5" y="6"/>
                    <a:pt x="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4" name="Freeform 22"/>
            <p:cNvSpPr>
              <a:spLocks/>
            </p:cNvSpPr>
            <p:nvPr userDrawn="1"/>
          </p:nvSpPr>
          <p:spPr bwMode="auto">
            <a:xfrm>
              <a:off x="6280" y="2349"/>
              <a:ext cx="12" cy="12"/>
            </a:xfrm>
            <a:custGeom>
              <a:avLst/>
              <a:gdLst>
                <a:gd name="T0" fmla="*/ 1 w 5"/>
                <a:gd name="T1" fmla="*/ 5 h 5"/>
                <a:gd name="T2" fmla="*/ 5 w 5"/>
                <a:gd name="T3" fmla="*/ 4 h 5"/>
                <a:gd name="T4" fmla="*/ 5 w 5"/>
                <a:gd name="T5" fmla="*/ 0 h 5"/>
                <a:gd name="T6" fmla="*/ 1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1" y="5"/>
                  </a:moveTo>
                  <a:cubicBezTo>
                    <a:pt x="3" y="4"/>
                    <a:pt x="4" y="4"/>
                    <a:pt x="5" y="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5" name="Freeform 23"/>
            <p:cNvSpPr>
              <a:spLocks/>
            </p:cNvSpPr>
            <p:nvPr userDrawn="1"/>
          </p:nvSpPr>
          <p:spPr bwMode="auto">
            <a:xfrm>
              <a:off x="4920" y="2209"/>
              <a:ext cx="21" cy="14"/>
            </a:xfrm>
            <a:custGeom>
              <a:avLst/>
              <a:gdLst>
                <a:gd name="T0" fmla="*/ 0 w 9"/>
                <a:gd name="T1" fmla="*/ 1 h 6"/>
                <a:gd name="T2" fmla="*/ 0 w 9"/>
                <a:gd name="T3" fmla="*/ 6 h 6"/>
                <a:gd name="T4" fmla="*/ 8 w 9"/>
                <a:gd name="T5" fmla="*/ 6 h 6"/>
                <a:gd name="T6" fmla="*/ 0 w 9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6">
                  <a:moveTo>
                    <a:pt x="0" y="1"/>
                  </a:moveTo>
                  <a:cubicBezTo>
                    <a:pt x="0" y="3"/>
                    <a:pt x="0" y="4"/>
                    <a:pt x="0" y="6"/>
                  </a:cubicBezTo>
                  <a:cubicBezTo>
                    <a:pt x="3" y="6"/>
                    <a:pt x="6" y="6"/>
                    <a:pt x="8" y="6"/>
                  </a:cubicBezTo>
                  <a:cubicBezTo>
                    <a:pt x="9" y="1"/>
                    <a:pt x="6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6" name="Freeform 24"/>
            <p:cNvSpPr>
              <a:spLocks/>
            </p:cNvSpPr>
            <p:nvPr userDrawn="1"/>
          </p:nvSpPr>
          <p:spPr bwMode="auto">
            <a:xfrm>
              <a:off x="5647" y="2205"/>
              <a:ext cx="31" cy="16"/>
            </a:xfrm>
            <a:custGeom>
              <a:avLst/>
              <a:gdLst>
                <a:gd name="T0" fmla="*/ 13 w 13"/>
                <a:gd name="T1" fmla="*/ 2 h 7"/>
                <a:gd name="T2" fmla="*/ 8 w 13"/>
                <a:gd name="T3" fmla="*/ 0 h 7"/>
                <a:gd name="T4" fmla="*/ 13 w 13"/>
                <a:gd name="T5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7">
                  <a:moveTo>
                    <a:pt x="13" y="2"/>
                  </a:moveTo>
                  <a:cubicBezTo>
                    <a:pt x="10" y="2"/>
                    <a:pt x="10" y="0"/>
                    <a:pt x="8" y="0"/>
                  </a:cubicBezTo>
                  <a:cubicBezTo>
                    <a:pt x="0" y="5"/>
                    <a:pt x="13" y="7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7" name="Freeform 25"/>
            <p:cNvSpPr>
              <a:spLocks/>
            </p:cNvSpPr>
            <p:nvPr userDrawn="1"/>
          </p:nvSpPr>
          <p:spPr bwMode="auto">
            <a:xfrm>
              <a:off x="5928" y="2372"/>
              <a:ext cx="31" cy="36"/>
            </a:xfrm>
            <a:custGeom>
              <a:avLst/>
              <a:gdLst>
                <a:gd name="T0" fmla="*/ 0 w 13"/>
                <a:gd name="T1" fmla="*/ 7 h 15"/>
                <a:gd name="T2" fmla="*/ 8 w 13"/>
                <a:gd name="T3" fmla="*/ 4 h 15"/>
                <a:gd name="T4" fmla="*/ 13 w 13"/>
                <a:gd name="T5" fmla="*/ 9 h 15"/>
                <a:gd name="T6" fmla="*/ 11 w 13"/>
                <a:gd name="T7" fmla="*/ 7 h 15"/>
                <a:gd name="T8" fmla="*/ 13 w 13"/>
                <a:gd name="T9" fmla="*/ 0 h 15"/>
                <a:gd name="T10" fmla="*/ 0 w 13"/>
                <a:gd name="T1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cubicBezTo>
                    <a:pt x="3" y="7"/>
                    <a:pt x="6" y="6"/>
                    <a:pt x="8" y="4"/>
                  </a:cubicBezTo>
                  <a:cubicBezTo>
                    <a:pt x="5" y="9"/>
                    <a:pt x="12" y="15"/>
                    <a:pt x="13" y="9"/>
                  </a:cubicBezTo>
                  <a:cubicBezTo>
                    <a:pt x="12" y="9"/>
                    <a:pt x="10" y="8"/>
                    <a:pt x="11" y="7"/>
                  </a:cubicBezTo>
                  <a:cubicBezTo>
                    <a:pt x="11" y="6"/>
                    <a:pt x="12" y="0"/>
                    <a:pt x="13" y="0"/>
                  </a:cubicBezTo>
                  <a:cubicBezTo>
                    <a:pt x="10" y="3"/>
                    <a:pt x="0" y="1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8" name="Freeform 26"/>
            <p:cNvSpPr>
              <a:spLocks/>
            </p:cNvSpPr>
            <p:nvPr userDrawn="1"/>
          </p:nvSpPr>
          <p:spPr bwMode="auto">
            <a:xfrm>
              <a:off x="5361" y="2202"/>
              <a:ext cx="19" cy="14"/>
            </a:xfrm>
            <a:custGeom>
              <a:avLst/>
              <a:gdLst>
                <a:gd name="T0" fmla="*/ 0 w 8"/>
                <a:gd name="T1" fmla="*/ 1 h 6"/>
                <a:gd name="T2" fmla="*/ 0 w 8"/>
                <a:gd name="T3" fmla="*/ 6 h 6"/>
                <a:gd name="T4" fmla="*/ 8 w 8"/>
                <a:gd name="T5" fmla="*/ 5 h 6"/>
                <a:gd name="T6" fmla="*/ 0 w 8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6">
                  <a:moveTo>
                    <a:pt x="0" y="1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2" y="5"/>
                    <a:pt x="5" y="5"/>
                    <a:pt x="8" y="5"/>
                  </a:cubicBezTo>
                  <a:cubicBezTo>
                    <a:pt x="8" y="1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9" name="Freeform 27"/>
            <p:cNvSpPr>
              <a:spLocks/>
            </p:cNvSpPr>
            <p:nvPr userDrawn="1"/>
          </p:nvSpPr>
          <p:spPr bwMode="auto">
            <a:xfrm>
              <a:off x="5990" y="2375"/>
              <a:ext cx="21" cy="33"/>
            </a:xfrm>
            <a:custGeom>
              <a:avLst/>
              <a:gdLst>
                <a:gd name="T0" fmla="*/ 4 w 9"/>
                <a:gd name="T1" fmla="*/ 1 h 14"/>
                <a:gd name="T2" fmla="*/ 1 w 9"/>
                <a:gd name="T3" fmla="*/ 10 h 14"/>
                <a:gd name="T4" fmla="*/ 4 w 9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4" y="1"/>
                  </a:moveTo>
                  <a:cubicBezTo>
                    <a:pt x="3" y="4"/>
                    <a:pt x="0" y="5"/>
                    <a:pt x="1" y="10"/>
                  </a:cubicBezTo>
                  <a:cubicBezTo>
                    <a:pt x="9" y="14"/>
                    <a:pt x="9" y="0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</p:grp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46618" y="1930400"/>
            <a:ext cx="11169649" cy="38703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buClr>
                <a:srgbClr val="49853E"/>
              </a:buClr>
              <a:buNone/>
              <a:defRPr sz="2000"/>
            </a:lvl1pPr>
            <a:lvl2pPr marL="179388" indent="-179388">
              <a:lnSpc>
                <a:spcPct val="95000"/>
              </a:lnSpc>
              <a:spcBef>
                <a:spcPts val="1000"/>
              </a:spcBef>
              <a:buClr>
                <a:srgbClr val="832149"/>
              </a:buClr>
              <a:buFont typeface="Arial" panose="020B0604020202020204" pitchFamily="34" charset="0"/>
              <a:buChar char="•"/>
              <a:defRPr sz="2000"/>
            </a:lvl2pPr>
            <a:lvl3pPr marL="358775" indent="-179388">
              <a:lnSpc>
                <a:spcPct val="95000"/>
              </a:lnSpc>
              <a:spcBef>
                <a:spcPts val="400"/>
              </a:spcBef>
              <a:buClr>
                <a:srgbClr val="832149"/>
              </a:buClr>
              <a:buFont typeface="Arial" panose="020B0604020202020204" pitchFamily="34" charset="0"/>
              <a:buChar char="–"/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46618" y="1440000"/>
            <a:ext cx="11169649" cy="381000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2400" b="0">
                <a:solidFill>
                  <a:srgbClr val="832149"/>
                </a:solidFill>
                <a:latin typeface="Fungo" pitchFamily="50" charset="0"/>
              </a:defRPr>
            </a:lvl1pPr>
          </a:lstStyle>
          <a:p>
            <a:pPr lvl="0"/>
            <a:r>
              <a:rPr lang="en-US"/>
              <a:t>Sub heading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3243294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splash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" name="Group 110"/>
          <p:cNvGrpSpPr/>
          <p:nvPr userDrawn="1"/>
        </p:nvGrpSpPr>
        <p:grpSpPr>
          <a:xfrm>
            <a:off x="3388559" y="1687629"/>
            <a:ext cx="8814356" cy="4310435"/>
            <a:chOff x="2541419" y="1687628"/>
            <a:chExt cx="6610767" cy="4310435"/>
          </a:xfrm>
          <a:solidFill>
            <a:schemeClr val="accent1"/>
          </a:solidFill>
        </p:grpSpPr>
        <p:sp>
          <p:nvSpPr>
            <p:cNvPr id="145" name="Freeform 7"/>
            <p:cNvSpPr>
              <a:spLocks/>
            </p:cNvSpPr>
            <p:nvPr userDrawn="1"/>
          </p:nvSpPr>
          <p:spPr bwMode="auto">
            <a:xfrm>
              <a:off x="3782953" y="1707783"/>
              <a:ext cx="34935" cy="79275"/>
            </a:xfrm>
            <a:custGeom>
              <a:avLst/>
              <a:gdLst>
                <a:gd name="T0" fmla="*/ 11 w 11"/>
                <a:gd name="T1" fmla="*/ 13 h 25"/>
                <a:gd name="T2" fmla="*/ 11 w 11"/>
                <a:gd name="T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25">
                  <a:moveTo>
                    <a:pt x="11" y="13"/>
                  </a:moveTo>
                  <a:cubicBezTo>
                    <a:pt x="0" y="0"/>
                    <a:pt x="4" y="25"/>
                    <a:pt x="1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6" name="Freeform 8"/>
            <p:cNvSpPr>
              <a:spLocks/>
            </p:cNvSpPr>
            <p:nvPr userDrawn="1"/>
          </p:nvSpPr>
          <p:spPr bwMode="auto">
            <a:xfrm>
              <a:off x="4782630" y="1722563"/>
              <a:ext cx="30904" cy="67183"/>
            </a:xfrm>
            <a:custGeom>
              <a:avLst/>
              <a:gdLst>
                <a:gd name="T0" fmla="*/ 10 w 10"/>
                <a:gd name="T1" fmla="*/ 11 h 21"/>
                <a:gd name="T2" fmla="*/ 0 w 10"/>
                <a:gd name="T3" fmla="*/ 11 h 21"/>
                <a:gd name="T4" fmla="*/ 10 w 10"/>
                <a:gd name="T5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1">
                  <a:moveTo>
                    <a:pt x="10" y="11"/>
                  </a:moveTo>
                  <a:cubicBezTo>
                    <a:pt x="5" y="15"/>
                    <a:pt x="1" y="0"/>
                    <a:pt x="0" y="11"/>
                  </a:cubicBezTo>
                  <a:cubicBezTo>
                    <a:pt x="1" y="13"/>
                    <a:pt x="10" y="21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7" name="Freeform 9"/>
            <p:cNvSpPr>
              <a:spLocks/>
            </p:cNvSpPr>
            <p:nvPr userDrawn="1"/>
          </p:nvSpPr>
          <p:spPr bwMode="auto">
            <a:xfrm>
              <a:off x="8294936" y="1770934"/>
              <a:ext cx="34935" cy="51059"/>
            </a:xfrm>
            <a:custGeom>
              <a:avLst/>
              <a:gdLst>
                <a:gd name="T0" fmla="*/ 3 w 11"/>
                <a:gd name="T1" fmla="*/ 0 h 16"/>
                <a:gd name="T2" fmla="*/ 0 w 11"/>
                <a:gd name="T3" fmla="*/ 15 h 16"/>
                <a:gd name="T4" fmla="*/ 3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3" y="0"/>
                  </a:moveTo>
                  <a:cubicBezTo>
                    <a:pt x="4" y="7"/>
                    <a:pt x="0" y="8"/>
                    <a:pt x="0" y="15"/>
                  </a:cubicBezTo>
                  <a:cubicBezTo>
                    <a:pt x="8" y="16"/>
                    <a:pt x="11" y="1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8" name="Freeform 10"/>
            <p:cNvSpPr>
              <a:spLocks/>
            </p:cNvSpPr>
            <p:nvPr userDrawn="1"/>
          </p:nvSpPr>
          <p:spPr bwMode="auto">
            <a:xfrm>
              <a:off x="8345995" y="1783027"/>
              <a:ext cx="18811" cy="57777"/>
            </a:xfrm>
            <a:custGeom>
              <a:avLst/>
              <a:gdLst>
                <a:gd name="T0" fmla="*/ 6 w 6"/>
                <a:gd name="T1" fmla="*/ 18 h 18"/>
                <a:gd name="T2" fmla="*/ 1 w 6"/>
                <a:gd name="T3" fmla="*/ 0 h 18"/>
                <a:gd name="T4" fmla="*/ 6 w 6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8">
                  <a:moveTo>
                    <a:pt x="6" y="18"/>
                  </a:moveTo>
                  <a:cubicBezTo>
                    <a:pt x="6" y="9"/>
                    <a:pt x="5" y="3"/>
                    <a:pt x="1" y="0"/>
                  </a:cubicBezTo>
                  <a:cubicBezTo>
                    <a:pt x="0" y="9"/>
                    <a:pt x="0" y="18"/>
                    <a:pt x="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9" name="Freeform 11"/>
            <p:cNvSpPr>
              <a:spLocks/>
            </p:cNvSpPr>
            <p:nvPr userDrawn="1"/>
          </p:nvSpPr>
          <p:spPr bwMode="auto">
            <a:xfrm>
              <a:off x="8921078" y="1783027"/>
              <a:ext cx="79275" cy="123616"/>
            </a:xfrm>
            <a:custGeom>
              <a:avLst/>
              <a:gdLst>
                <a:gd name="T0" fmla="*/ 5 w 25"/>
                <a:gd name="T1" fmla="*/ 33 h 39"/>
                <a:gd name="T2" fmla="*/ 10 w 25"/>
                <a:gd name="T3" fmla="*/ 37 h 39"/>
                <a:gd name="T4" fmla="*/ 13 w 25"/>
                <a:gd name="T5" fmla="*/ 33 h 39"/>
                <a:gd name="T6" fmla="*/ 19 w 25"/>
                <a:gd name="T7" fmla="*/ 26 h 39"/>
                <a:gd name="T8" fmla="*/ 24 w 25"/>
                <a:gd name="T9" fmla="*/ 18 h 39"/>
                <a:gd name="T10" fmla="*/ 16 w 25"/>
                <a:gd name="T11" fmla="*/ 0 h 39"/>
                <a:gd name="T12" fmla="*/ 2 w 25"/>
                <a:gd name="T13" fmla="*/ 15 h 39"/>
                <a:gd name="T14" fmla="*/ 13 w 25"/>
                <a:gd name="T15" fmla="*/ 11 h 39"/>
                <a:gd name="T16" fmla="*/ 10 w 25"/>
                <a:gd name="T17" fmla="*/ 30 h 39"/>
                <a:gd name="T18" fmla="*/ 0 w 25"/>
                <a:gd name="T19" fmla="*/ 26 h 39"/>
                <a:gd name="T20" fmla="*/ 2 w 25"/>
                <a:gd name="T21" fmla="*/ 37 h 39"/>
                <a:gd name="T22" fmla="*/ 5 w 25"/>
                <a:gd name="T23" fmla="*/ 3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39">
                  <a:moveTo>
                    <a:pt x="5" y="33"/>
                  </a:moveTo>
                  <a:cubicBezTo>
                    <a:pt x="8" y="32"/>
                    <a:pt x="9" y="38"/>
                    <a:pt x="10" y="37"/>
                  </a:cubicBezTo>
                  <a:cubicBezTo>
                    <a:pt x="12" y="36"/>
                    <a:pt x="10" y="33"/>
                    <a:pt x="13" y="33"/>
                  </a:cubicBezTo>
                  <a:cubicBezTo>
                    <a:pt x="17" y="33"/>
                    <a:pt x="16" y="26"/>
                    <a:pt x="19" y="26"/>
                  </a:cubicBezTo>
                  <a:cubicBezTo>
                    <a:pt x="22" y="25"/>
                    <a:pt x="21" y="20"/>
                    <a:pt x="24" y="18"/>
                  </a:cubicBezTo>
                  <a:cubicBezTo>
                    <a:pt x="25" y="8"/>
                    <a:pt x="19" y="6"/>
                    <a:pt x="16" y="0"/>
                  </a:cubicBezTo>
                  <a:cubicBezTo>
                    <a:pt x="10" y="3"/>
                    <a:pt x="0" y="0"/>
                    <a:pt x="2" y="15"/>
                  </a:cubicBezTo>
                  <a:cubicBezTo>
                    <a:pt x="9" y="20"/>
                    <a:pt x="11" y="0"/>
                    <a:pt x="13" y="11"/>
                  </a:cubicBezTo>
                  <a:cubicBezTo>
                    <a:pt x="14" y="21"/>
                    <a:pt x="3" y="20"/>
                    <a:pt x="10" y="30"/>
                  </a:cubicBezTo>
                  <a:cubicBezTo>
                    <a:pt x="5" y="23"/>
                    <a:pt x="5" y="32"/>
                    <a:pt x="0" y="26"/>
                  </a:cubicBezTo>
                  <a:cubicBezTo>
                    <a:pt x="0" y="30"/>
                    <a:pt x="0" y="35"/>
                    <a:pt x="2" y="37"/>
                  </a:cubicBezTo>
                  <a:cubicBezTo>
                    <a:pt x="5" y="39"/>
                    <a:pt x="5" y="33"/>
                    <a:pt x="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0" name="Freeform 12"/>
            <p:cNvSpPr>
              <a:spLocks/>
            </p:cNvSpPr>
            <p:nvPr userDrawn="1"/>
          </p:nvSpPr>
          <p:spPr bwMode="auto">
            <a:xfrm>
              <a:off x="8399741" y="1817962"/>
              <a:ext cx="16124" cy="22842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3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1" name="Freeform 13"/>
            <p:cNvSpPr>
              <a:spLocks/>
            </p:cNvSpPr>
            <p:nvPr userDrawn="1"/>
          </p:nvSpPr>
          <p:spPr bwMode="auto">
            <a:xfrm>
              <a:off x="7350349" y="1840804"/>
              <a:ext cx="14780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2" name="Freeform 14"/>
            <p:cNvSpPr>
              <a:spLocks/>
            </p:cNvSpPr>
            <p:nvPr userDrawn="1"/>
          </p:nvSpPr>
          <p:spPr bwMode="auto">
            <a:xfrm>
              <a:off x="8534106" y="1840804"/>
              <a:ext cx="28217" cy="72557"/>
            </a:xfrm>
            <a:custGeom>
              <a:avLst/>
              <a:gdLst>
                <a:gd name="T0" fmla="*/ 9 w 9"/>
                <a:gd name="T1" fmla="*/ 23 h 23"/>
                <a:gd name="T2" fmla="*/ 3 w 9"/>
                <a:gd name="T3" fmla="*/ 0 h 23"/>
                <a:gd name="T4" fmla="*/ 9 w 9"/>
                <a:gd name="T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3">
                  <a:moveTo>
                    <a:pt x="9" y="23"/>
                  </a:moveTo>
                  <a:cubicBezTo>
                    <a:pt x="6" y="16"/>
                    <a:pt x="8" y="4"/>
                    <a:pt x="3" y="0"/>
                  </a:cubicBezTo>
                  <a:cubicBezTo>
                    <a:pt x="0" y="5"/>
                    <a:pt x="1" y="23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3" name="Freeform 15"/>
            <p:cNvSpPr>
              <a:spLocks/>
            </p:cNvSpPr>
            <p:nvPr userDrawn="1"/>
          </p:nvSpPr>
          <p:spPr bwMode="auto">
            <a:xfrm>
              <a:off x="8986917" y="1831399"/>
              <a:ext cx="38966" cy="104805"/>
            </a:xfrm>
            <a:custGeom>
              <a:avLst/>
              <a:gdLst>
                <a:gd name="T0" fmla="*/ 3 w 12"/>
                <a:gd name="T1" fmla="*/ 33 h 33"/>
                <a:gd name="T2" fmla="*/ 8 w 12"/>
                <a:gd name="T3" fmla="*/ 33 h 33"/>
                <a:gd name="T4" fmla="*/ 11 w 12"/>
                <a:gd name="T5" fmla="*/ 29 h 33"/>
                <a:gd name="T6" fmla="*/ 6 w 12"/>
                <a:gd name="T7" fmla="*/ 18 h 33"/>
                <a:gd name="T8" fmla="*/ 3 w 12"/>
                <a:gd name="T9" fmla="*/ 3 h 33"/>
                <a:gd name="T10" fmla="*/ 3 w 12"/>
                <a:gd name="T1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33">
                  <a:moveTo>
                    <a:pt x="3" y="33"/>
                  </a:moveTo>
                  <a:cubicBezTo>
                    <a:pt x="5" y="33"/>
                    <a:pt x="7" y="33"/>
                    <a:pt x="8" y="33"/>
                  </a:cubicBezTo>
                  <a:cubicBezTo>
                    <a:pt x="9" y="31"/>
                    <a:pt x="9" y="29"/>
                    <a:pt x="11" y="29"/>
                  </a:cubicBezTo>
                  <a:cubicBezTo>
                    <a:pt x="12" y="22"/>
                    <a:pt x="7" y="22"/>
                    <a:pt x="6" y="18"/>
                  </a:cubicBezTo>
                  <a:cubicBezTo>
                    <a:pt x="8" y="15"/>
                    <a:pt x="12" y="0"/>
                    <a:pt x="3" y="3"/>
                  </a:cubicBezTo>
                  <a:cubicBezTo>
                    <a:pt x="0" y="17"/>
                    <a:pt x="1" y="24"/>
                    <a:pt x="3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4" name="Freeform 16"/>
            <p:cNvSpPr>
              <a:spLocks/>
            </p:cNvSpPr>
            <p:nvPr userDrawn="1"/>
          </p:nvSpPr>
          <p:spPr bwMode="auto">
            <a:xfrm>
              <a:off x="8476329" y="1887832"/>
              <a:ext cx="60464" cy="83306"/>
            </a:xfrm>
            <a:custGeom>
              <a:avLst/>
              <a:gdLst>
                <a:gd name="T0" fmla="*/ 11 w 19"/>
                <a:gd name="T1" fmla="*/ 26 h 26"/>
                <a:gd name="T2" fmla="*/ 19 w 19"/>
                <a:gd name="T3" fmla="*/ 15 h 26"/>
                <a:gd name="T4" fmla="*/ 19 w 19"/>
                <a:gd name="T5" fmla="*/ 0 h 26"/>
                <a:gd name="T6" fmla="*/ 11 w 19"/>
                <a:gd name="T7" fmla="*/ 0 h 26"/>
                <a:gd name="T8" fmla="*/ 11 w 19"/>
                <a:gd name="T9" fmla="*/ 15 h 26"/>
                <a:gd name="T10" fmla="*/ 11 w 19"/>
                <a:gd name="T1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6">
                  <a:moveTo>
                    <a:pt x="11" y="26"/>
                  </a:moveTo>
                  <a:cubicBezTo>
                    <a:pt x="14" y="23"/>
                    <a:pt x="11" y="12"/>
                    <a:pt x="19" y="15"/>
                  </a:cubicBezTo>
                  <a:cubicBezTo>
                    <a:pt x="19" y="10"/>
                    <a:pt x="19" y="5"/>
                    <a:pt x="19" y="0"/>
                  </a:cubicBezTo>
                  <a:cubicBezTo>
                    <a:pt x="16" y="0"/>
                    <a:pt x="13" y="0"/>
                    <a:pt x="11" y="0"/>
                  </a:cubicBezTo>
                  <a:cubicBezTo>
                    <a:pt x="7" y="10"/>
                    <a:pt x="11" y="11"/>
                    <a:pt x="11" y="15"/>
                  </a:cubicBezTo>
                  <a:cubicBezTo>
                    <a:pt x="10" y="17"/>
                    <a:pt x="0" y="23"/>
                    <a:pt x="11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5" name="Freeform 17"/>
            <p:cNvSpPr>
              <a:spLocks/>
            </p:cNvSpPr>
            <p:nvPr userDrawn="1"/>
          </p:nvSpPr>
          <p:spPr bwMode="auto">
            <a:xfrm>
              <a:off x="8771933" y="1885145"/>
              <a:ext cx="37622" cy="81963"/>
            </a:xfrm>
            <a:custGeom>
              <a:avLst/>
              <a:gdLst>
                <a:gd name="T0" fmla="*/ 12 w 12"/>
                <a:gd name="T1" fmla="*/ 23 h 26"/>
                <a:gd name="T2" fmla="*/ 1 w 12"/>
                <a:gd name="T3" fmla="*/ 1 h 26"/>
                <a:gd name="T4" fmla="*/ 6 w 12"/>
                <a:gd name="T5" fmla="*/ 16 h 26"/>
                <a:gd name="T6" fmla="*/ 12 w 12"/>
                <a:gd name="T7" fmla="*/ 2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12" y="23"/>
                  </a:moveTo>
                  <a:cubicBezTo>
                    <a:pt x="9" y="15"/>
                    <a:pt x="11" y="0"/>
                    <a:pt x="1" y="1"/>
                  </a:cubicBezTo>
                  <a:cubicBezTo>
                    <a:pt x="0" y="7"/>
                    <a:pt x="5" y="12"/>
                    <a:pt x="6" y="16"/>
                  </a:cubicBezTo>
                  <a:cubicBezTo>
                    <a:pt x="8" y="19"/>
                    <a:pt x="6" y="26"/>
                    <a:pt x="1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6" name="Freeform 18"/>
            <p:cNvSpPr>
              <a:spLocks/>
            </p:cNvSpPr>
            <p:nvPr userDrawn="1"/>
          </p:nvSpPr>
          <p:spPr bwMode="auto">
            <a:xfrm>
              <a:off x="4985522" y="1901268"/>
              <a:ext cx="18811" cy="21498"/>
            </a:xfrm>
            <a:custGeom>
              <a:avLst/>
              <a:gdLst>
                <a:gd name="T0" fmla="*/ 0 w 6"/>
                <a:gd name="T1" fmla="*/ 7 h 7"/>
                <a:gd name="T2" fmla="*/ 6 w 6"/>
                <a:gd name="T3" fmla="*/ 7 h 7"/>
                <a:gd name="T4" fmla="*/ 6 w 6"/>
                <a:gd name="T5" fmla="*/ 0 h 7"/>
                <a:gd name="T6" fmla="*/ 0 w 6"/>
                <a:gd name="T7" fmla="*/ 0 h 7"/>
                <a:gd name="T8" fmla="*/ 0 w 6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7"/>
                  </a:moveTo>
                  <a:cubicBezTo>
                    <a:pt x="2" y="7"/>
                    <a:pt x="4" y="7"/>
                    <a:pt x="6" y="7"/>
                  </a:cubicBezTo>
                  <a:cubicBezTo>
                    <a:pt x="6" y="5"/>
                    <a:pt x="6" y="2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7" name="Freeform 19"/>
            <p:cNvSpPr>
              <a:spLocks/>
            </p:cNvSpPr>
            <p:nvPr userDrawn="1"/>
          </p:nvSpPr>
          <p:spPr bwMode="auto">
            <a:xfrm>
              <a:off x="7707760" y="1901268"/>
              <a:ext cx="16124" cy="21498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4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8" name="Freeform 20"/>
            <p:cNvSpPr>
              <a:spLocks/>
            </p:cNvSpPr>
            <p:nvPr userDrawn="1"/>
          </p:nvSpPr>
          <p:spPr bwMode="auto">
            <a:xfrm>
              <a:off x="5395336" y="1910674"/>
              <a:ext cx="44341" cy="44341"/>
            </a:xfrm>
            <a:custGeom>
              <a:avLst/>
              <a:gdLst>
                <a:gd name="T0" fmla="*/ 0 w 14"/>
                <a:gd name="T1" fmla="*/ 8 h 14"/>
                <a:gd name="T2" fmla="*/ 14 w 14"/>
                <a:gd name="T3" fmla="*/ 4 h 14"/>
                <a:gd name="T4" fmla="*/ 0 w 14"/>
                <a:gd name="T5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0" y="8"/>
                  </a:moveTo>
                  <a:cubicBezTo>
                    <a:pt x="4" y="14"/>
                    <a:pt x="11" y="11"/>
                    <a:pt x="14" y="4"/>
                  </a:cubicBezTo>
                  <a:cubicBezTo>
                    <a:pt x="10" y="6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9" name="Freeform 21"/>
            <p:cNvSpPr>
              <a:spLocks/>
            </p:cNvSpPr>
            <p:nvPr userDrawn="1"/>
          </p:nvSpPr>
          <p:spPr bwMode="auto">
            <a:xfrm>
              <a:off x="7086993" y="1910674"/>
              <a:ext cx="37622" cy="85994"/>
            </a:xfrm>
            <a:custGeom>
              <a:avLst/>
              <a:gdLst>
                <a:gd name="T0" fmla="*/ 2 w 12"/>
                <a:gd name="T1" fmla="*/ 4 h 27"/>
                <a:gd name="T2" fmla="*/ 0 w 12"/>
                <a:gd name="T3" fmla="*/ 19 h 27"/>
                <a:gd name="T4" fmla="*/ 2 w 12"/>
                <a:gd name="T5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7">
                  <a:moveTo>
                    <a:pt x="2" y="4"/>
                  </a:moveTo>
                  <a:cubicBezTo>
                    <a:pt x="2" y="11"/>
                    <a:pt x="2" y="16"/>
                    <a:pt x="0" y="19"/>
                  </a:cubicBezTo>
                  <a:cubicBezTo>
                    <a:pt x="10" y="27"/>
                    <a:pt x="12" y="0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0" name="Freeform 22"/>
            <p:cNvSpPr>
              <a:spLocks/>
            </p:cNvSpPr>
            <p:nvPr userDrawn="1"/>
          </p:nvSpPr>
          <p:spPr bwMode="auto">
            <a:xfrm>
              <a:off x="8844490" y="1906643"/>
              <a:ext cx="22842" cy="69870"/>
            </a:xfrm>
            <a:custGeom>
              <a:avLst/>
              <a:gdLst>
                <a:gd name="T0" fmla="*/ 0 w 7"/>
                <a:gd name="T1" fmla="*/ 5 h 22"/>
                <a:gd name="T2" fmla="*/ 0 w 7"/>
                <a:gd name="T3" fmla="*/ 16 h 22"/>
                <a:gd name="T4" fmla="*/ 0 w 7"/>
                <a:gd name="T5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2">
                  <a:moveTo>
                    <a:pt x="0" y="5"/>
                  </a:moveTo>
                  <a:cubicBezTo>
                    <a:pt x="0" y="9"/>
                    <a:pt x="0" y="13"/>
                    <a:pt x="0" y="16"/>
                  </a:cubicBezTo>
                  <a:cubicBezTo>
                    <a:pt x="7" y="22"/>
                    <a:pt x="7" y="0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1" name="Freeform 23"/>
            <p:cNvSpPr>
              <a:spLocks/>
            </p:cNvSpPr>
            <p:nvPr userDrawn="1"/>
          </p:nvSpPr>
          <p:spPr bwMode="auto">
            <a:xfrm>
              <a:off x="5778276" y="1906643"/>
              <a:ext cx="34935" cy="79275"/>
            </a:xfrm>
            <a:custGeom>
              <a:avLst/>
              <a:gdLst>
                <a:gd name="T0" fmla="*/ 11 w 11"/>
                <a:gd name="T1" fmla="*/ 13 h 25"/>
                <a:gd name="T2" fmla="*/ 11 w 11"/>
                <a:gd name="T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25">
                  <a:moveTo>
                    <a:pt x="11" y="13"/>
                  </a:moveTo>
                  <a:cubicBezTo>
                    <a:pt x="0" y="0"/>
                    <a:pt x="5" y="25"/>
                    <a:pt x="1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2" name="Freeform 24"/>
            <p:cNvSpPr>
              <a:spLocks/>
            </p:cNvSpPr>
            <p:nvPr userDrawn="1"/>
          </p:nvSpPr>
          <p:spPr bwMode="auto">
            <a:xfrm>
              <a:off x="5870988" y="1926798"/>
              <a:ext cx="47028" cy="30904"/>
            </a:xfrm>
            <a:custGeom>
              <a:avLst/>
              <a:gdLst>
                <a:gd name="T0" fmla="*/ 9 w 15"/>
                <a:gd name="T1" fmla="*/ 10 h 10"/>
                <a:gd name="T2" fmla="*/ 14 w 15"/>
                <a:gd name="T3" fmla="*/ 3 h 10"/>
                <a:gd name="T4" fmla="*/ 9 w 15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9" y="10"/>
                  </a:moveTo>
                  <a:cubicBezTo>
                    <a:pt x="8" y="7"/>
                    <a:pt x="15" y="5"/>
                    <a:pt x="14" y="3"/>
                  </a:cubicBezTo>
                  <a:cubicBezTo>
                    <a:pt x="12" y="0"/>
                    <a:pt x="0" y="4"/>
                    <a:pt x="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3" name="Freeform 25"/>
            <p:cNvSpPr>
              <a:spLocks/>
            </p:cNvSpPr>
            <p:nvPr userDrawn="1"/>
          </p:nvSpPr>
          <p:spPr bwMode="auto">
            <a:xfrm>
              <a:off x="6940535" y="1932172"/>
              <a:ext cx="25529" cy="38966"/>
            </a:xfrm>
            <a:custGeom>
              <a:avLst/>
              <a:gdLst>
                <a:gd name="T0" fmla="*/ 8 w 8"/>
                <a:gd name="T1" fmla="*/ 5 h 12"/>
                <a:gd name="T2" fmla="*/ 0 w 8"/>
                <a:gd name="T3" fmla="*/ 1 h 12"/>
                <a:gd name="T4" fmla="*/ 0 w 8"/>
                <a:gd name="T5" fmla="*/ 12 h 12"/>
                <a:gd name="T6" fmla="*/ 5 w 8"/>
                <a:gd name="T7" fmla="*/ 12 h 12"/>
                <a:gd name="T8" fmla="*/ 8 w 8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8" y="5"/>
                  </a:moveTo>
                  <a:cubicBezTo>
                    <a:pt x="5" y="4"/>
                    <a:pt x="4" y="0"/>
                    <a:pt x="0" y="1"/>
                  </a:cubicBezTo>
                  <a:cubicBezTo>
                    <a:pt x="0" y="5"/>
                    <a:pt x="0" y="8"/>
                    <a:pt x="0" y="12"/>
                  </a:cubicBezTo>
                  <a:cubicBezTo>
                    <a:pt x="2" y="12"/>
                    <a:pt x="3" y="12"/>
                    <a:pt x="5" y="12"/>
                  </a:cubicBezTo>
                  <a:cubicBezTo>
                    <a:pt x="5" y="8"/>
                    <a:pt x="7" y="8"/>
                    <a:pt x="8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4" name="Freeform 26"/>
            <p:cNvSpPr>
              <a:spLocks/>
            </p:cNvSpPr>
            <p:nvPr userDrawn="1"/>
          </p:nvSpPr>
          <p:spPr bwMode="auto">
            <a:xfrm>
              <a:off x="5959669" y="1938891"/>
              <a:ext cx="37622" cy="44341"/>
            </a:xfrm>
            <a:custGeom>
              <a:avLst/>
              <a:gdLst>
                <a:gd name="T0" fmla="*/ 10 w 12"/>
                <a:gd name="T1" fmla="*/ 3 h 14"/>
                <a:gd name="T2" fmla="*/ 2 w 12"/>
                <a:gd name="T3" fmla="*/ 6 h 14"/>
                <a:gd name="T4" fmla="*/ 10 w 12"/>
                <a:gd name="T5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4">
                  <a:moveTo>
                    <a:pt x="10" y="3"/>
                  </a:moveTo>
                  <a:cubicBezTo>
                    <a:pt x="8" y="0"/>
                    <a:pt x="3" y="5"/>
                    <a:pt x="2" y="6"/>
                  </a:cubicBezTo>
                  <a:cubicBezTo>
                    <a:pt x="0" y="14"/>
                    <a:pt x="12" y="5"/>
                    <a:pt x="1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5" name="Freeform 27"/>
            <p:cNvSpPr>
              <a:spLocks/>
            </p:cNvSpPr>
            <p:nvPr userDrawn="1"/>
          </p:nvSpPr>
          <p:spPr bwMode="auto">
            <a:xfrm>
              <a:off x="6343954" y="1948296"/>
              <a:ext cx="16124" cy="22842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6" name="Freeform 28"/>
            <p:cNvSpPr>
              <a:spLocks/>
            </p:cNvSpPr>
            <p:nvPr userDrawn="1"/>
          </p:nvSpPr>
          <p:spPr bwMode="auto">
            <a:xfrm>
              <a:off x="8902267" y="1948296"/>
              <a:ext cx="18811" cy="22842"/>
            </a:xfrm>
            <a:custGeom>
              <a:avLst/>
              <a:gdLst>
                <a:gd name="T0" fmla="*/ 6 w 6"/>
                <a:gd name="T1" fmla="*/ 0 h 7"/>
                <a:gd name="T2" fmla="*/ 0 w 6"/>
                <a:gd name="T3" fmla="*/ 0 h 7"/>
                <a:gd name="T4" fmla="*/ 0 w 6"/>
                <a:gd name="T5" fmla="*/ 7 h 7"/>
                <a:gd name="T6" fmla="*/ 6 w 6"/>
                <a:gd name="T7" fmla="*/ 7 h 7"/>
                <a:gd name="T8" fmla="*/ 6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4" y="7"/>
                    <a:pt x="6" y="7"/>
                  </a:cubicBezTo>
                  <a:cubicBezTo>
                    <a:pt x="6" y="5"/>
                    <a:pt x="6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7" name="Freeform 29"/>
            <p:cNvSpPr>
              <a:spLocks/>
            </p:cNvSpPr>
            <p:nvPr userDrawn="1"/>
          </p:nvSpPr>
          <p:spPr bwMode="auto">
            <a:xfrm>
              <a:off x="8986917" y="1948296"/>
              <a:ext cx="29560" cy="37622"/>
            </a:xfrm>
            <a:custGeom>
              <a:avLst/>
              <a:gdLst>
                <a:gd name="T0" fmla="*/ 8 w 9"/>
                <a:gd name="T1" fmla="*/ 11 h 12"/>
                <a:gd name="T2" fmla="*/ 3 w 9"/>
                <a:gd name="T3" fmla="*/ 0 h 12"/>
                <a:gd name="T4" fmla="*/ 0 w 9"/>
                <a:gd name="T5" fmla="*/ 7 h 12"/>
                <a:gd name="T6" fmla="*/ 8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11"/>
                  </a:moveTo>
                  <a:cubicBezTo>
                    <a:pt x="9" y="4"/>
                    <a:pt x="6" y="1"/>
                    <a:pt x="3" y="0"/>
                  </a:cubicBezTo>
                  <a:cubicBezTo>
                    <a:pt x="3" y="3"/>
                    <a:pt x="1" y="4"/>
                    <a:pt x="0" y="7"/>
                  </a:cubicBezTo>
                  <a:cubicBezTo>
                    <a:pt x="4" y="7"/>
                    <a:pt x="4" y="12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8" name="Freeform 30"/>
            <p:cNvSpPr>
              <a:spLocks/>
            </p:cNvSpPr>
            <p:nvPr userDrawn="1"/>
          </p:nvSpPr>
          <p:spPr bwMode="auto">
            <a:xfrm>
              <a:off x="9037976" y="1938891"/>
              <a:ext cx="32248" cy="44341"/>
            </a:xfrm>
            <a:custGeom>
              <a:avLst/>
              <a:gdLst>
                <a:gd name="T0" fmla="*/ 0 w 10"/>
                <a:gd name="T1" fmla="*/ 10 h 14"/>
                <a:gd name="T2" fmla="*/ 8 w 10"/>
                <a:gd name="T3" fmla="*/ 14 h 14"/>
                <a:gd name="T4" fmla="*/ 0 w 10"/>
                <a:gd name="T5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4">
                  <a:moveTo>
                    <a:pt x="0" y="10"/>
                  </a:moveTo>
                  <a:cubicBezTo>
                    <a:pt x="4" y="10"/>
                    <a:pt x="6" y="12"/>
                    <a:pt x="8" y="14"/>
                  </a:cubicBezTo>
                  <a:cubicBezTo>
                    <a:pt x="10" y="2"/>
                    <a:pt x="1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9" name="Freeform 31"/>
            <p:cNvSpPr>
              <a:spLocks/>
            </p:cNvSpPr>
            <p:nvPr userDrawn="1"/>
          </p:nvSpPr>
          <p:spPr bwMode="auto">
            <a:xfrm>
              <a:off x="6521316" y="1983231"/>
              <a:ext cx="48371" cy="51059"/>
            </a:xfrm>
            <a:custGeom>
              <a:avLst/>
              <a:gdLst>
                <a:gd name="T0" fmla="*/ 6 w 15"/>
                <a:gd name="T1" fmla="*/ 11 h 16"/>
                <a:gd name="T2" fmla="*/ 3 w 15"/>
                <a:gd name="T3" fmla="*/ 15 h 16"/>
                <a:gd name="T4" fmla="*/ 14 w 15"/>
                <a:gd name="T5" fmla="*/ 0 h 16"/>
                <a:gd name="T6" fmla="*/ 0 w 15"/>
                <a:gd name="T7" fmla="*/ 7 h 16"/>
                <a:gd name="T8" fmla="*/ 6 w 15"/>
                <a:gd name="T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6" y="11"/>
                  </a:moveTo>
                  <a:cubicBezTo>
                    <a:pt x="4" y="11"/>
                    <a:pt x="2" y="11"/>
                    <a:pt x="3" y="15"/>
                  </a:cubicBezTo>
                  <a:cubicBezTo>
                    <a:pt x="11" y="16"/>
                    <a:pt x="15" y="11"/>
                    <a:pt x="14" y="0"/>
                  </a:cubicBezTo>
                  <a:cubicBezTo>
                    <a:pt x="9" y="2"/>
                    <a:pt x="2" y="2"/>
                    <a:pt x="0" y="7"/>
                  </a:cubicBezTo>
                  <a:cubicBezTo>
                    <a:pt x="2" y="8"/>
                    <a:pt x="5" y="7"/>
                    <a:pt x="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0" name="Freeform 32"/>
            <p:cNvSpPr>
              <a:spLocks/>
            </p:cNvSpPr>
            <p:nvPr userDrawn="1"/>
          </p:nvSpPr>
          <p:spPr bwMode="auto">
            <a:xfrm>
              <a:off x="7397377" y="1973826"/>
              <a:ext cx="51059" cy="37622"/>
            </a:xfrm>
            <a:custGeom>
              <a:avLst/>
              <a:gdLst>
                <a:gd name="T0" fmla="*/ 12 w 16"/>
                <a:gd name="T1" fmla="*/ 10 h 12"/>
                <a:gd name="T2" fmla="*/ 1 w 16"/>
                <a:gd name="T3" fmla="*/ 6 h 12"/>
                <a:gd name="T4" fmla="*/ 12 w 16"/>
                <a:gd name="T5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2" y="10"/>
                  </a:moveTo>
                  <a:cubicBezTo>
                    <a:pt x="16" y="0"/>
                    <a:pt x="0" y="0"/>
                    <a:pt x="1" y="6"/>
                  </a:cubicBezTo>
                  <a:cubicBezTo>
                    <a:pt x="5" y="8"/>
                    <a:pt x="6" y="12"/>
                    <a:pt x="1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1" name="Freeform 33"/>
            <p:cNvSpPr>
              <a:spLocks/>
            </p:cNvSpPr>
            <p:nvPr userDrawn="1"/>
          </p:nvSpPr>
          <p:spPr bwMode="auto">
            <a:xfrm>
              <a:off x="7508900" y="1983231"/>
              <a:ext cx="40310" cy="37622"/>
            </a:xfrm>
            <a:custGeom>
              <a:avLst/>
              <a:gdLst>
                <a:gd name="T0" fmla="*/ 12 w 13"/>
                <a:gd name="T1" fmla="*/ 11 h 12"/>
                <a:gd name="T2" fmla="*/ 1 w 13"/>
                <a:gd name="T3" fmla="*/ 0 h 12"/>
                <a:gd name="T4" fmla="*/ 12 w 13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2" y="11"/>
                  </a:moveTo>
                  <a:cubicBezTo>
                    <a:pt x="13" y="1"/>
                    <a:pt x="6" y="1"/>
                    <a:pt x="1" y="0"/>
                  </a:cubicBezTo>
                  <a:cubicBezTo>
                    <a:pt x="0" y="9"/>
                    <a:pt x="5" y="12"/>
                    <a:pt x="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2" name="Freeform 34"/>
            <p:cNvSpPr>
              <a:spLocks/>
            </p:cNvSpPr>
            <p:nvPr userDrawn="1"/>
          </p:nvSpPr>
          <p:spPr bwMode="auto">
            <a:xfrm>
              <a:off x="6061787" y="1989949"/>
              <a:ext cx="24186" cy="28217"/>
            </a:xfrm>
            <a:custGeom>
              <a:avLst/>
              <a:gdLst>
                <a:gd name="T0" fmla="*/ 0 w 8"/>
                <a:gd name="T1" fmla="*/ 1 h 9"/>
                <a:gd name="T2" fmla="*/ 0 w 8"/>
                <a:gd name="T3" fmla="*/ 9 h 9"/>
                <a:gd name="T4" fmla="*/ 8 w 8"/>
                <a:gd name="T5" fmla="*/ 9 h 9"/>
                <a:gd name="T6" fmla="*/ 0 w 8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3" y="9"/>
                    <a:pt x="5" y="9"/>
                    <a:pt x="8" y="9"/>
                  </a:cubicBezTo>
                  <a:cubicBezTo>
                    <a:pt x="8" y="2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3" name="Freeform 35"/>
            <p:cNvSpPr>
              <a:spLocks/>
            </p:cNvSpPr>
            <p:nvPr userDrawn="1"/>
          </p:nvSpPr>
          <p:spPr bwMode="auto">
            <a:xfrm>
              <a:off x="6290208" y="1976513"/>
              <a:ext cx="60464" cy="69870"/>
            </a:xfrm>
            <a:custGeom>
              <a:avLst/>
              <a:gdLst>
                <a:gd name="T0" fmla="*/ 19 w 19"/>
                <a:gd name="T1" fmla="*/ 13 h 22"/>
                <a:gd name="T2" fmla="*/ 0 w 19"/>
                <a:gd name="T3" fmla="*/ 13 h 22"/>
                <a:gd name="T4" fmla="*/ 19 w 19"/>
                <a:gd name="T5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22">
                  <a:moveTo>
                    <a:pt x="19" y="13"/>
                  </a:moveTo>
                  <a:cubicBezTo>
                    <a:pt x="13" y="11"/>
                    <a:pt x="2" y="0"/>
                    <a:pt x="0" y="13"/>
                  </a:cubicBezTo>
                  <a:cubicBezTo>
                    <a:pt x="9" y="8"/>
                    <a:pt x="17" y="22"/>
                    <a:pt x="19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4" name="Freeform 36"/>
            <p:cNvSpPr>
              <a:spLocks/>
            </p:cNvSpPr>
            <p:nvPr userDrawn="1"/>
          </p:nvSpPr>
          <p:spPr bwMode="auto">
            <a:xfrm>
              <a:off x="6632839" y="1980544"/>
              <a:ext cx="72557" cy="72557"/>
            </a:xfrm>
            <a:custGeom>
              <a:avLst/>
              <a:gdLst>
                <a:gd name="T0" fmla="*/ 14 w 23"/>
                <a:gd name="T1" fmla="*/ 23 h 23"/>
                <a:gd name="T2" fmla="*/ 14 w 23"/>
                <a:gd name="T3" fmla="*/ 4 h 23"/>
                <a:gd name="T4" fmla="*/ 3 w 23"/>
                <a:gd name="T5" fmla="*/ 4 h 23"/>
                <a:gd name="T6" fmla="*/ 0 w 23"/>
                <a:gd name="T7" fmla="*/ 16 h 23"/>
                <a:gd name="T8" fmla="*/ 14 w 23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4" y="23"/>
                  </a:moveTo>
                  <a:cubicBezTo>
                    <a:pt x="15" y="16"/>
                    <a:pt x="23" y="7"/>
                    <a:pt x="14" y="4"/>
                  </a:cubicBezTo>
                  <a:cubicBezTo>
                    <a:pt x="13" y="22"/>
                    <a:pt x="10" y="0"/>
                    <a:pt x="3" y="4"/>
                  </a:cubicBezTo>
                  <a:cubicBezTo>
                    <a:pt x="3" y="10"/>
                    <a:pt x="1" y="13"/>
                    <a:pt x="0" y="16"/>
                  </a:cubicBezTo>
                  <a:cubicBezTo>
                    <a:pt x="9" y="12"/>
                    <a:pt x="8" y="21"/>
                    <a:pt x="14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5" name="Freeform 37"/>
            <p:cNvSpPr>
              <a:spLocks/>
            </p:cNvSpPr>
            <p:nvPr userDrawn="1"/>
          </p:nvSpPr>
          <p:spPr bwMode="auto">
            <a:xfrm>
              <a:off x="8397054" y="1989949"/>
              <a:ext cx="32248" cy="51059"/>
            </a:xfrm>
            <a:custGeom>
              <a:avLst/>
              <a:gdLst>
                <a:gd name="T0" fmla="*/ 1 w 10"/>
                <a:gd name="T1" fmla="*/ 1 h 16"/>
                <a:gd name="T2" fmla="*/ 9 w 10"/>
                <a:gd name="T3" fmla="*/ 16 h 16"/>
                <a:gd name="T4" fmla="*/ 1 w 10"/>
                <a:gd name="T5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6">
                  <a:moveTo>
                    <a:pt x="1" y="1"/>
                  </a:moveTo>
                  <a:cubicBezTo>
                    <a:pt x="0" y="11"/>
                    <a:pt x="5" y="13"/>
                    <a:pt x="9" y="16"/>
                  </a:cubicBezTo>
                  <a:cubicBezTo>
                    <a:pt x="10" y="7"/>
                    <a:pt x="8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6" name="Freeform 38"/>
            <p:cNvSpPr>
              <a:spLocks/>
            </p:cNvSpPr>
            <p:nvPr userDrawn="1"/>
          </p:nvSpPr>
          <p:spPr bwMode="auto">
            <a:xfrm>
              <a:off x="7178362" y="2002042"/>
              <a:ext cx="76588" cy="83306"/>
            </a:xfrm>
            <a:custGeom>
              <a:avLst/>
              <a:gdLst>
                <a:gd name="T0" fmla="*/ 14 w 24"/>
                <a:gd name="T1" fmla="*/ 16 h 26"/>
                <a:gd name="T2" fmla="*/ 24 w 24"/>
                <a:gd name="T3" fmla="*/ 16 h 26"/>
                <a:gd name="T4" fmla="*/ 16 w 24"/>
                <a:gd name="T5" fmla="*/ 16 h 26"/>
                <a:gd name="T6" fmla="*/ 11 w 24"/>
                <a:gd name="T7" fmla="*/ 5 h 26"/>
                <a:gd name="T8" fmla="*/ 6 w 24"/>
                <a:gd name="T9" fmla="*/ 5 h 26"/>
                <a:gd name="T10" fmla="*/ 0 w 24"/>
                <a:gd name="T11" fmla="*/ 20 h 26"/>
                <a:gd name="T12" fmla="*/ 14 w 24"/>
                <a:gd name="T13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6">
                  <a:moveTo>
                    <a:pt x="14" y="16"/>
                  </a:moveTo>
                  <a:cubicBezTo>
                    <a:pt x="16" y="22"/>
                    <a:pt x="24" y="26"/>
                    <a:pt x="24" y="16"/>
                  </a:cubicBezTo>
                  <a:cubicBezTo>
                    <a:pt x="22" y="16"/>
                    <a:pt x="19" y="16"/>
                    <a:pt x="16" y="16"/>
                  </a:cubicBezTo>
                  <a:cubicBezTo>
                    <a:pt x="17" y="9"/>
                    <a:pt x="13" y="9"/>
                    <a:pt x="11" y="5"/>
                  </a:cubicBezTo>
                  <a:cubicBezTo>
                    <a:pt x="11" y="1"/>
                    <a:pt x="6" y="0"/>
                    <a:pt x="6" y="5"/>
                  </a:cubicBezTo>
                  <a:cubicBezTo>
                    <a:pt x="14" y="10"/>
                    <a:pt x="1" y="15"/>
                    <a:pt x="0" y="20"/>
                  </a:cubicBezTo>
                  <a:cubicBezTo>
                    <a:pt x="6" y="21"/>
                    <a:pt x="11" y="19"/>
                    <a:pt x="1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7" name="Freeform 39"/>
            <p:cNvSpPr>
              <a:spLocks/>
            </p:cNvSpPr>
            <p:nvPr userDrawn="1"/>
          </p:nvSpPr>
          <p:spPr bwMode="auto">
            <a:xfrm>
              <a:off x="6733613" y="2018166"/>
              <a:ext cx="25529" cy="22842"/>
            </a:xfrm>
            <a:custGeom>
              <a:avLst/>
              <a:gdLst>
                <a:gd name="T0" fmla="*/ 8 w 8"/>
                <a:gd name="T1" fmla="*/ 0 h 7"/>
                <a:gd name="T2" fmla="*/ 0 w 8"/>
                <a:gd name="T3" fmla="*/ 7 h 7"/>
                <a:gd name="T4" fmla="*/ 8 w 8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7">
                  <a:moveTo>
                    <a:pt x="8" y="0"/>
                  </a:moveTo>
                  <a:cubicBezTo>
                    <a:pt x="4" y="0"/>
                    <a:pt x="2" y="3"/>
                    <a:pt x="0" y="7"/>
                  </a:cubicBezTo>
                  <a:cubicBezTo>
                    <a:pt x="5" y="7"/>
                    <a:pt x="7" y="4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8" name="Freeform 40"/>
            <p:cNvSpPr>
              <a:spLocks/>
            </p:cNvSpPr>
            <p:nvPr userDrawn="1"/>
          </p:nvSpPr>
          <p:spPr bwMode="auto">
            <a:xfrm>
              <a:off x="8993635" y="2015479"/>
              <a:ext cx="28217" cy="44341"/>
            </a:xfrm>
            <a:custGeom>
              <a:avLst/>
              <a:gdLst>
                <a:gd name="T0" fmla="*/ 9 w 9"/>
                <a:gd name="T1" fmla="*/ 1 h 14"/>
                <a:gd name="T2" fmla="*/ 1 w 9"/>
                <a:gd name="T3" fmla="*/ 12 h 14"/>
                <a:gd name="T4" fmla="*/ 9 w 9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9" y="1"/>
                  </a:moveTo>
                  <a:cubicBezTo>
                    <a:pt x="3" y="0"/>
                    <a:pt x="0" y="4"/>
                    <a:pt x="1" y="12"/>
                  </a:cubicBezTo>
                  <a:cubicBezTo>
                    <a:pt x="8" y="14"/>
                    <a:pt x="6" y="4"/>
                    <a:pt x="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9" name="Freeform 41"/>
            <p:cNvSpPr>
              <a:spLocks/>
            </p:cNvSpPr>
            <p:nvPr userDrawn="1"/>
          </p:nvSpPr>
          <p:spPr bwMode="auto">
            <a:xfrm>
              <a:off x="6949941" y="2027572"/>
              <a:ext cx="56433" cy="95399"/>
            </a:xfrm>
            <a:custGeom>
              <a:avLst/>
              <a:gdLst>
                <a:gd name="T0" fmla="*/ 13 w 18"/>
                <a:gd name="T1" fmla="*/ 26 h 30"/>
                <a:gd name="T2" fmla="*/ 8 w 18"/>
                <a:gd name="T3" fmla="*/ 19 h 30"/>
                <a:gd name="T4" fmla="*/ 16 w 18"/>
                <a:gd name="T5" fmla="*/ 1 h 30"/>
                <a:gd name="T6" fmla="*/ 0 w 18"/>
                <a:gd name="T7" fmla="*/ 15 h 30"/>
                <a:gd name="T8" fmla="*/ 13 w 18"/>
                <a:gd name="T9" fmla="*/ 2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30">
                  <a:moveTo>
                    <a:pt x="13" y="26"/>
                  </a:moveTo>
                  <a:cubicBezTo>
                    <a:pt x="14" y="9"/>
                    <a:pt x="11" y="13"/>
                    <a:pt x="8" y="19"/>
                  </a:cubicBezTo>
                  <a:cubicBezTo>
                    <a:pt x="5" y="5"/>
                    <a:pt x="18" y="13"/>
                    <a:pt x="16" y="1"/>
                  </a:cubicBezTo>
                  <a:cubicBezTo>
                    <a:pt x="7" y="0"/>
                    <a:pt x="5" y="10"/>
                    <a:pt x="0" y="15"/>
                  </a:cubicBezTo>
                  <a:cubicBezTo>
                    <a:pt x="9" y="13"/>
                    <a:pt x="3" y="30"/>
                    <a:pt x="13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0" name="Freeform 42"/>
            <p:cNvSpPr>
              <a:spLocks/>
            </p:cNvSpPr>
            <p:nvPr userDrawn="1"/>
          </p:nvSpPr>
          <p:spPr bwMode="auto">
            <a:xfrm>
              <a:off x="7061464" y="2020853"/>
              <a:ext cx="40310" cy="60464"/>
            </a:xfrm>
            <a:custGeom>
              <a:avLst/>
              <a:gdLst>
                <a:gd name="T0" fmla="*/ 13 w 13"/>
                <a:gd name="T1" fmla="*/ 6 h 19"/>
                <a:gd name="T2" fmla="*/ 0 w 13"/>
                <a:gd name="T3" fmla="*/ 10 h 19"/>
                <a:gd name="T4" fmla="*/ 13 w 13"/>
                <a:gd name="T5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9">
                  <a:moveTo>
                    <a:pt x="13" y="6"/>
                  </a:moveTo>
                  <a:cubicBezTo>
                    <a:pt x="7" y="4"/>
                    <a:pt x="3" y="0"/>
                    <a:pt x="0" y="10"/>
                  </a:cubicBezTo>
                  <a:cubicBezTo>
                    <a:pt x="8" y="8"/>
                    <a:pt x="11" y="19"/>
                    <a:pt x="1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1" name="Freeform 43"/>
            <p:cNvSpPr>
              <a:spLocks/>
            </p:cNvSpPr>
            <p:nvPr userDrawn="1"/>
          </p:nvSpPr>
          <p:spPr bwMode="auto">
            <a:xfrm>
              <a:off x="7250919" y="2041008"/>
              <a:ext cx="67183" cy="49715"/>
            </a:xfrm>
            <a:custGeom>
              <a:avLst/>
              <a:gdLst>
                <a:gd name="T0" fmla="*/ 9 w 21"/>
                <a:gd name="T1" fmla="*/ 0 h 16"/>
                <a:gd name="T2" fmla="*/ 4 w 21"/>
                <a:gd name="T3" fmla="*/ 0 h 16"/>
                <a:gd name="T4" fmla="*/ 9 w 2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6">
                  <a:moveTo>
                    <a:pt x="9" y="0"/>
                  </a:moveTo>
                  <a:cubicBezTo>
                    <a:pt x="9" y="5"/>
                    <a:pt x="6" y="2"/>
                    <a:pt x="4" y="0"/>
                  </a:cubicBezTo>
                  <a:cubicBezTo>
                    <a:pt x="0" y="16"/>
                    <a:pt x="21" y="4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2" name="Freeform 44"/>
            <p:cNvSpPr>
              <a:spLocks/>
            </p:cNvSpPr>
            <p:nvPr userDrawn="1"/>
          </p:nvSpPr>
          <p:spPr bwMode="auto">
            <a:xfrm>
              <a:off x="7324820" y="2034290"/>
              <a:ext cx="44341" cy="88681"/>
            </a:xfrm>
            <a:custGeom>
              <a:avLst/>
              <a:gdLst>
                <a:gd name="T0" fmla="*/ 8 w 14"/>
                <a:gd name="T1" fmla="*/ 28 h 28"/>
                <a:gd name="T2" fmla="*/ 13 w 14"/>
                <a:gd name="T3" fmla="*/ 21 h 28"/>
                <a:gd name="T4" fmla="*/ 5 w 14"/>
                <a:gd name="T5" fmla="*/ 2 h 28"/>
                <a:gd name="T6" fmla="*/ 8 w 14"/>
                <a:gd name="T7" fmla="*/ 17 h 28"/>
                <a:gd name="T8" fmla="*/ 8 w 14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8">
                  <a:moveTo>
                    <a:pt x="8" y="28"/>
                  </a:moveTo>
                  <a:cubicBezTo>
                    <a:pt x="8" y="23"/>
                    <a:pt x="13" y="25"/>
                    <a:pt x="13" y="21"/>
                  </a:cubicBezTo>
                  <a:cubicBezTo>
                    <a:pt x="7" y="19"/>
                    <a:pt x="14" y="0"/>
                    <a:pt x="5" y="2"/>
                  </a:cubicBezTo>
                  <a:cubicBezTo>
                    <a:pt x="0" y="10"/>
                    <a:pt x="6" y="9"/>
                    <a:pt x="8" y="17"/>
                  </a:cubicBezTo>
                  <a:cubicBezTo>
                    <a:pt x="4" y="17"/>
                    <a:pt x="5" y="27"/>
                    <a:pt x="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3" name="Freeform 45"/>
            <p:cNvSpPr>
              <a:spLocks/>
            </p:cNvSpPr>
            <p:nvPr userDrawn="1"/>
          </p:nvSpPr>
          <p:spPr bwMode="auto">
            <a:xfrm>
              <a:off x="7504869" y="2041008"/>
              <a:ext cx="51059" cy="116898"/>
            </a:xfrm>
            <a:custGeom>
              <a:avLst/>
              <a:gdLst>
                <a:gd name="T0" fmla="*/ 7 w 16"/>
                <a:gd name="T1" fmla="*/ 0 h 37"/>
                <a:gd name="T2" fmla="*/ 5 w 16"/>
                <a:gd name="T3" fmla="*/ 15 h 37"/>
                <a:gd name="T4" fmla="*/ 10 w 16"/>
                <a:gd name="T5" fmla="*/ 22 h 37"/>
                <a:gd name="T6" fmla="*/ 5 w 16"/>
                <a:gd name="T7" fmla="*/ 37 h 37"/>
                <a:gd name="T8" fmla="*/ 16 w 16"/>
                <a:gd name="T9" fmla="*/ 30 h 37"/>
                <a:gd name="T10" fmla="*/ 13 w 16"/>
                <a:gd name="T11" fmla="*/ 22 h 37"/>
                <a:gd name="T12" fmla="*/ 7 w 16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37">
                  <a:moveTo>
                    <a:pt x="7" y="0"/>
                  </a:moveTo>
                  <a:cubicBezTo>
                    <a:pt x="2" y="10"/>
                    <a:pt x="8" y="10"/>
                    <a:pt x="5" y="15"/>
                  </a:cubicBezTo>
                  <a:cubicBezTo>
                    <a:pt x="3" y="17"/>
                    <a:pt x="10" y="21"/>
                    <a:pt x="10" y="22"/>
                  </a:cubicBezTo>
                  <a:cubicBezTo>
                    <a:pt x="10" y="25"/>
                    <a:pt x="0" y="30"/>
                    <a:pt x="5" y="37"/>
                  </a:cubicBezTo>
                  <a:cubicBezTo>
                    <a:pt x="10" y="37"/>
                    <a:pt x="14" y="35"/>
                    <a:pt x="16" y="30"/>
                  </a:cubicBezTo>
                  <a:cubicBezTo>
                    <a:pt x="9" y="30"/>
                    <a:pt x="12" y="28"/>
                    <a:pt x="13" y="22"/>
                  </a:cubicBezTo>
                  <a:cubicBezTo>
                    <a:pt x="14" y="14"/>
                    <a:pt x="9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4" name="Freeform 46"/>
            <p:cNvSpPr>
              <a:spLocks/>
            </p:cNvSpPr>
            <p:nvPr userDrawn="1"/>
          </p:nvSpPr>
          <p:spPr bwMode="auto">
            <a:xfrm>
              <a:off x="6753768" y="2046383"/>
              <a:ext cx="37622" cy="57777"/>
            </a:xfrm>
            <a:custGeom>
              <a:avLst/>
              <a:gdLst>
                <a:gd name="T0" fmla="*/ 2 w 12"/>
                <a:gd name="T1" fmla="*/ 6 h 18"/>
                <a:gd name="T2" fmla="*/ 0 w 12"/>
                <a:gd name="T3" fmla="*/ 13 h 18"/>
                <a:gd name="T4" fmla="*/ 2 w 12"/>
                <a:gd name="T5" fmla="*/ 2 h 18"/>
                <a:gd name="T6" fmla="*/ 2 w 12"/>
                <a:gd name="T7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8">
                  <a:moveTo>
                    <a:pt x="2" y="6"/>
                  </a:moveTo>
                  <a:cubicBezTo>
                    <a:pt x="2" y="6"/>
                    <a:pt x="0" y="13"/>
                    <a:pt x="0" y="13"/>
                  </a:cubicBezTo>
                  <a:cubicBezTo>
                    <a:pt x="3" y="18"/>
                    <a:pt x="12" y="0"/>
                    <a:pt x="2" y="2"/>
                  </a:cubicBezTo>
                  <a:cubicBezTo>
                    <a:pt x="2" y="2"/>
                    <a:pt x="3" y="5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5" name="Freeform 47"/>
            <p:cNvSpPr>
              <a:spLocks/>
            </p:cNvSpPr>
            <p:nvPr userDrawn="1"/>
          </p:nvSpPr>
          <p:spPr bwMode="auto">
            <a:xfrm>
              <a:off x="6171966" y="2071912"/>
              <a:ext cx="48371" cy="29560"/>
            </a:xfrm>
            <a:custGeom>
              <a:avLst/>
              <a:gdLst>
                <a:gd name="T0" fmla="*/ 8 w 15"/>
                <a:gd name="T1" fmla="*/ 1 h 9"/>
                <a:gd name="T2" fmla="*/ 0 w 15"/>
                <a:gd name="T3" fmla="*/ 5 h 9"/>
                <a:gd name="T4" fmla="*/ 8 w 15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8" y="1"/>
                  </a:moveTo>
                  <a:cubicBezTo>
                    <a:pt x="6" y="0"/>
                    <a:pt x="0" y="2"/>
                    <a:pt x="0" y="5"/>
                  </a:cubicBezTo>
                  <a:cubicBezTo>
                    <a:pt x="0" y="9"/>
                    <a:pt x="15" y="7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6" name="Freeform 48"/>
            <p:cNvSpPr>
              <a:spLocks/>
            </p:cNvSpPr>
            <p:nvPr userDrawn="1"/>
          </p:nvSpPr>
          <p:spPr bwMode="auto">
            <a:xfrm>
              <a:off x="7054746" y="2075943"/>
              <a:ext cx="34935" cy="34935"/>
            </a:xfrm>
            <a:custGeom>
              <a:avLst/>
              <a:gdLst>
                <a:gd name="T0" fmla="*/ 10 w 11"/>
                <a:gd name="T1" fmla="*/ 11 h 11"/>
                <a:gd name="T2" fmla="*/ 2 w 11"/>
                <a:gd name="T3" fmla="*/ 0 h 11"/>
                <a:gd name="T4" fmla="*/ 10 w 11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1">
                  <a:moveTo>
                    <a:pt x="10" y="11"/>
                  </a:moveTo>
                  <a:cubicBezTo>
                    <a:pt x="11" y="1"/>
                    <a:pt x="4" y="4"/>
                    <a:pt x="2" y="0"/>
                  </a:cubicBezTo>
                  <a:cubicBezTo>
                    <a:pt x="0" y="10"/>
                    <a:pt x="7" y="8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7" name="Freeform 49"/>
            <p:cNvSpPr>
              <a:spLocks/>
            </p:cNvSpPr>
            <p:nvPr userDrawn="1"/>
          </p:nvSpPr>
          <p:spPr bwMode="auto">
            <a:xfrm>
              <a:off x="7111179" y="2075943"/>
              <a:ext cx="48371" cy="72557"/>
            </a:xfrm>
            <a:custGeom>
              <a:avLst/>
              <a:gdLst>
                <a:gd name="T0" fmla="*/ 2 w 15"/>
                <a:gd name="T1" fmla="*/ 0 h 23"/>
                <a:gd name="T2" fmla="*/ 2 w 15"/>
                <a:gd name="T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3">
                  <a:moveTo>
                    <a:pt x="2" y="0"/>
                  </a:moveTo>
                  <a:cubicBezTo>
                    <a:pt x="0" y="23"/>
                    <a:pt x="15" y="3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8" name="Freeform 50"/>
            <p:cNvSpPr>
              <a:spLocks/>
            </p:cNvSpPr>
            <p:nvPr userDrawn="1"/>
          </p:nvSpPr>
          <p:spPr bwMode="auto">
            <a:xfrm>
              <a:off x="7143427" y="2088036"/>
              <a:ext cx="28217" cy="37622"/>
            </a:xfrm>
            <a:custGeom>
              <a:avLst/>
              <a:gdLst>
                <a:gd name="T0" fmla="*/ 8 w 9"/>
                <a:gd name="T1" fmla="*/ 11 h 12"/>
                <a:gd name="T2" fmla="*/ 3 w 9"/>
                <a:gd name="T3" fmla="*/ 0 h 12"/>
                <a:gd name="T4" fmla="*/ 0 w 9"/>
                <a:gd name="T5" fmla="*/ 7 h 12"/>
                <a:gd name="T6" fmla="*/ 8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11"/>
                  </a:moveTo>
                  <a:cubicBezTo>
                    <a:pt x="9" y="5"/>
                    <a:pt x="6" y="2"/>
                    <a:pt x="3" y="0"/>
                  </a:cubicBezTo>
                  <a:cubicBezTo>
                    <a:pt x="3" y="4"/>
                    <a:pt x="1" y="4"/>
                    <a:pt x="0" y="7"/>
                  </a:cubicBezTo>
                  <a:cubicBezTo>
                    <a:pt x="4" y="8"/>
                    <a:pt x="4" y="12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9" name="Freeform 51"/>
            <p:cNvSpPr>
              <a:spLocks/>
            </p:cNvSpPr>
            <p:nvPr userDrawn="1"/>
          </p:nvSpPr>
          <p:spPr bwMode="auto">
            <a:xfrm>
              <a:off x="6765860" y="2097442"/>
              <a:ext cx="41653" cy="38966"/>
            </a:xfrm>
            <a:custGeom>
              <a:avLst/>
              <a:gdLst>
                <a:gd name="T0" fmla="*/ 12 w 13"/>
                <a:gd name="T1" fmla="*/ 4 h 12"/>
                <a:gd name="T2" fmla="*/ 4 w 13"/>
                <a:gd name="T3" fmla="*/ 1 h 12"/>
                <a:gd name="T4" fmla="*/ 12 w 13"/>
                <a:gd name="T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2" y="4"/>
                  </a:moveTo>
                  <a:cubicBezTo>
                    <a:pt x="8" y="4"/>
                    <a:pt x="8" y="0"/>
                    <a:pt x="4" y="1"/>
                  </a:cubicBezTo>
                  <a:cubicBezTo>
                    <a:pt x="0" y="10"/>
                    <a:pt x="13" y="12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0" name="Freeform 52"/>
            <p:cNvSpPr>
              <a:spLocks/>
            </p:cNvSpPr>
            <p:nvPr userDrawn="1"/>
          </p:nvSpPr>
          <p:spPr bwMode="auto">
            <a:xfrm>
              <a:off x="7400064" y="2148500"/>
              <a:ext cx="32248" cy="34935"/>
            </a:xfrm>
            <a:custGeom>
              <a:avLst/>
              <a:gdLst>
                <a:gd name="T0" fmla="*/ 8 w 10"/>
                <a:gd name="T1" fmla="*/ 11 h 11"/>
                <a:gd name="T2" fmla="*/ 0 w 10"/>
                <a:gd name="T3" fmla="*/ 0 h 11"/>
                <a:gd name="T4" fmla="*/ 8 w 10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8" y="11"/>
                  </a:moveTo>
                  <a:cubicBezTo>
                    <a:pt x="10" y="1"/>
                    <a:pt x="3" y="3"/>
                    <a:pt x="0" y="0"/>
                  </a:cubicBezTo>
                  <a:cubicBezTo>
                    <a:pt x="0" y="8"/>
                    <a:pt x="2" y="11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1" name="Freeform 53"/>
            <p:cNvSpPr>
              <a:spLocks/>
            </p:cNvSpPr>
            <p:nvPr userDrawn="1"/>
          </p:nvSpPr>
          <p:spPr bwMode="auto">
            <a:xfrm>
              <a:off x="7674169" y="2155219"/>
              <a:ext cx="37622" cy="37622"/>
            </a:xfrm>
            <a:custGeom>
              <a:avLst/>
              <a:gdLst>
                <a:gd name="T0" fmla="*/ 6 w 12"/>
                <a:gd name="T1" fmla="*/ 12 h 12"/>
                <a:gd name="T2" fmla="*/ 11 w 12"/>
                <a:gd name="T3" fmla="*/ 1 h 12"/>
                <a:gd name="T4" fmla="*/ 0 w 12"/>
                <a:gd name="T5" fmla="*/ 5 h 12"/>
                <a:gd name="T6" fmla="*/ 6 w 12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6" y="7"/>
                    <a:pt x="12" y="9"/>
                    <a:pt x="11" y="1"/>
                  </a:cubicBezTo>
                  <a:cubicBezTo>
                    <a:pt x="7" y="2"/>
                    <a:pt x="1" y="0"/>
                    <a:pt x="0" y="5"/>
                  </a:cubicBezTo>
                  <a:cubicBezTo>
                    <a:pt x="4" y="5"/>
                    <a:pt x="3" y="11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2" name="Freeform 54"/>
            <p:cNvSpPr>
              <a:spLocks/>
            </p:cNvSpPr>
            <p:nvPr userDrawn="1"/>
          </p:nvSpPr>
          <p:spPr bwMode="auto">
            <a:xfrm>
              <a:off x="7991271" y="2157906"/>
              <a:ext cx="56433" cy="47028"/>
            </a:xfrm>
            <a:custGeom>
              <a:avLst/>
              <a:gdLst>
                <a:gd name="T0" fmla="*/ 13 w 18"/>
                <a:gd name="T1" fmla="*/ 15 h 15"/>
                <a:gd name="T2" fmla="*/ 18 w 18"/>
                <a:gd name="T3" fmla="*/ 4 h 15"/>
                <a:gd name="T4" fmla="*/ 0 w 18"/>
                <a:gd name="T5" fmla="*/ 11 h 15"/>
                <a:gd name="T6" fmla="*/ 13 w 18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13" y="15"/>
                  </a:moveTo>
                  <a:cubicBezTo>
                    <a:pt x="12" y="8"/>
                    <a:pt x="17" y="8"/>
                    <a:pt x="18" y="4"/>
                  </a:cubicBezTo>
                  <a:cubicBezTo>
                    <a:pt x="15" y="0"/>
                    <a:pt x="1" y="2"/>
                    <a:pt x="0" y="11"/>
                  </a:cubicBezTo>
                  <a:cubicBezTo>
                    <a:pt x="11" y="9"/>
                    <a:pt x="9" y="8"/>
                    <a:pt x="13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3" name="Freeform 55"/>
            <p:cNvSpPr>
              <a:spLocks/>
            </p:cNvSpPr>
            <p:nvPr userDrawn="1"/>
          </p:nvSpPr>
          <p:spPr bwMode="auto">
            <a:xfrm>
              <a:off x="7359755" y="2190154"/>
              <a:ext cx="14780" cy="37622"/>
            </a:xfrm>
            <a:custGeom>
              <a:avLst/>
              <a:gdLst>
                <a:gd name="T0" fmla="*/ 0 w 5"/>
                <a:gd name="T1" fmla="*/ 1 h 12"/>
                <a:gd name="T2" fmla="*/ 0 w 5"/>
                <a:gd name="T3" fmla="*/ 9 h 12"/>
                <a:gd name="T4" fmla="*/ 5 w 5"/>
                <a:gd name="T5" fmla="*/ 12 h 12"/>
                <a:gd name="T6" fmla="*/ 0 w 5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2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3" y="12"/>
                    <a:pt x="5" y="12"/>
                  </a:cubicBezTo>
                  <a:cubicBezTo>
                    <a:pt x="5" y="7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4" name="Freeform 56"/>
            <p:cNvSpPr>
              <a:spLocks/>
            </p:cNvSpPr>
            <p:nvPr userDrawn="1"/>
          </p:nvSpPr>
          <p:spPr bwMode="auto">
            <a:xfrm>
              <a:off x="7742695" y="2202246"/>
              <a:ext cx="25529" cy="51059"/>
            </a:xfrm>
            <a:custGeom>
              <a:avLst/>
              <a:gdLst>
                <a:gd name="T0" fmla="*/ 0 w 8"/>
                <a:gd name="T1" fmla="*/ 1 h 16"/>
                <a:gd name="T2" fmla="*/ 5 w 8"/>
                <a:gd name="T3" fmla="*/ 16 h 16"/>
                <a:gd name="T4" fmla="*/ 8 w 8"/>
                <a:gd name="T5" fmla="*/ 5 h 16"/>
                <a:gd name="T6" fmla="*/ 0 w 8"/>
                <a:gd name="T7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6">
                  <a:moveTo>
                    <a:pt x="0" y="1"/>
                  </a:moveTo>
                  <a:cubicBezTo>
                    <a:pt x="0" y="8"/>
                    <a:pt x="1" y="13"/>
                    <a:pt x="5" y="16"/>
                  </a:cubicBezTo>
                  <a:cubicBezTo>
                    <a:pt x="5" y="11"/>
                    <a:pt x="6" y="8"/>
                    <a:pt x="8" y="5"/>
                  </a:cubicBezTo>
                  <a:cubicBezTo>
                    <a:pt x="4" y="5"/>
                    <a:pt x="4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5" name="Freeform 57"/>
            <p:cNvSpPr>
              <a:spLocks/>
            </p:cNvSpPr>
            <p:nvPr userDrawn="1"/>
          </p:nvSpPr>
          <p:spPr bwMode="auto">
            <a:xfrm>
              <a:off x="7698355" y="2225089"/>
              <a:ext cx="34935" cy="63152"/>
            </a:xfrm>
            <a:custGeom>
              <a:avLst/>
              <a:gdLst>
                <a:gd name="T0" fmla="*/ 0 w 11"/>
                <a:gd name="T1" fmla="*/ 9 h 20"/>
                <a:gd name="T2" fmla="*/ 11 w 11"/>
                <a:gd name="T3" fmla="*/ 9 h 20"/>
                <a:gd name="T4" fmla="*/ 0 w 11"/>
                <a:gd name="T5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0">
                  <a:moveTo>
                    <a:pt x="0" y="9"/>
                  </a:moveTo>
                  <a:cubicBezTo>
                    <a:pt x="5" y="5"/>
                    <a:pt x="9" y="20"/>
                    <a:pt x="11" y="9"/>
                  </a:cubicBezTo>
                  <a:cubicBezTo>
                    <a:pt x="9" y="8"/>
                    <a:pt x="1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6" name="Freeform 58"/>
            <p:cNvSpPr>
              <a:spLocks/>
            </p:cNvSpPr>
            <p:nvPr userDrawn="1"/>
          </p:nvSpPr>
          <p:spPr bwMode="auto">
            <a:xfrm>
              <a:off x="7749414" y="2329893"/>
              <a:ext cx="18811" cy="40310"/>
            </a:xfrm>
            <a:custGeom>
              <a:avLst/>
              <a:gdLst>
                <a:gd name="T0" fmla="*/ 0 w 6"/>
                <a:gd name="T1" fmla="*/ 2 h 13"/>
                <a:gd name="T2" fmla="*/ 0 w 6"/>
                <a:gd name="T3" fmla="*/ 9 h 13"/>
                <a:gd name="T4" fmla="*/ 6 w 6"/>
                <a:gd name="T5" fmla="*/ 13 h 13"/>
                <a:gd name="T6" fmla="*/ 0 w 6"/>
                <a:gd name="T7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3">
                  <a:moveTo>
                    <a:pt x="0" y="2"/>
                  </a:moveTo>
                  <a:cubicBezTo>
                    <a:pt x="0" y="4"/>
                    <a:pt x="0" y="7"/>
                    <a:pt x="0" y="9"/>
                  </a:cubicBezTo>
                  <a:cubicBezTo>
                    <a:pt x="3" y="9"/>
                    <a:pt x="4" y="12"/>
                    <a:pt x="6" y="13"/>
                  </a:cubicBezTo>
                  <a:cubicBezTo>
                    <a:pt x="5" y="7"/>
                    <a:pt x="6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7" name="Freeform 59"/>
            <p:cNvSpPr>
              <a:spLocks/>
            </p:cNvSpPr>
            <p:nvPr userDrawn="1"/>
          </p:nvSpPr>
          <p:spPr bwMode="auto">
            <a:xfrm>
              <a:off x="6892164" y="2354079"/>
              <a:ext cx="67183" cy="38966"/>
            </a:xfrm>
            <a:custGeom>
              <a:avLst/>
              <a:gdLst>
                <a:gd name="T0" fmla="*/ 20 w 21"/>
                <a:gd name="T1" fmla="*/ 1 h 12"/>
                <a:gd name="T2" fmla="*/ 15 w 21"/>
                <a:gd name="T3" fmla="*/ 1 h 12"/>
                <a:gd name="T4" fmla="*/ 20 w 21"/>
                <a:gd name="T5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2">
                  <a:moveTo>
                    <a:pt x="20" y="1"/>
                  </a:moveTo>
                  <a:cubicBezTo>
                    <a:pt x="18" y="1"/>
                    <a:pt x="17" y="1"/>
                    <a:pt x="15" y="1"/>
                  </a:cubicBezTo>
                  <a:cubicBezTo>
                    <a:pt x="0" y="0"/>
                    <a:pt x="21" y="12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8" name="Freeform 60"/>
            <p:cNvSpPr>
              <a:spLocks/>
            </p:cNvSpPr>
            <p:nvPr userDrawn="1"/>
          </p:nvSpPr>
          <p:spPr bwMode="auto">
            <a:xfrm>
              <a:off x="2995573" y="2386327"/>
              <a:ext cx="18811" cy="67183"/>
            </a:xfrm>
            <a:custGeom>
              <a:avLst/>
              <a:gdLst>
                <a:gd name="T0" fmla="*/ 3 w 6"/>
                <a:gd name="T1" fmla="*/ 21 h 21"/>
                <a:gd name="T2" fmla="*/ 1 w 6"/>
                <a:gd name="T3" fmla="*/ 13 h 21"/>
                <a:gd name="T4" fmla="*/ 3 w 6"/>
                <a:gd name="T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1">
                  <a:moveTo>
                    <a:pt x="3" y="21"/>
                  </a:moveTo>
                  <a:cubicBezTo>
                    <a:pt x="6" y="20"/>
                    <a:pt x="5" y="0"/>
                    <a:pt x="1" y="13"/>
                  </a:cubicBezTo>
                  <a:cubicBezTo>
                    <a:pt x="0" y="16"/>
                    <a:pt x="2" y="21"/>
                    <a:pt x="3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9" name="Freeform 61"/>
            <p:cNvSpPr>
              <a:spLocks/>
            </p:cNvSpPr>
            <p:nvPr userDrawn="1"/>
          </p:nvSpPr>
          <p:spPr bwMode="auto">
            <a:xfrm>
              <a:off x="2970044" y="2423949"/>
              <a:ext cx="18811" cy="38966"/>
            </a:xfrm>
            <a:custGeom>
              <a:avLst/>
              <a:gdLst>
                <a:gd name="T0" fmla="*/ 3 w 6"/>
                <a:gd name="T1" fmla="*/ 12 h 12"/>
                <a:gd name="T2" fmla="*/ 6 w 6"/>
                <a:gd name="T3" fmla="*/ 9 h 12"/>
                <a:gd name="T4" fmla="*/ 0 w 6"/>
                <a:gd name="T5" fmla="*/ 1 h 12"/>
                <a:gd name="T6" fmla="*/ 3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3" y="12"/>
                  </a:moveTo>
                  <a:cubicBezTo>
                    <a:pt x="3" y="10"/>
                    <a:pt x="4" y="8"/>
                    <a:pt x="6" y="9"/>
                  </a:cubicBezTo>
                  <a:cubicBezTo>
                    <a:pt x="6" y="4"/>
                    <a:pt x="5" y="0"/>
                    <a:pt x="0" y="1"/>
                  </a:cubicBezTo>
                  <a:cubicBezTo>
                    <a:pt x="1" y="6"/>
                    <a:pt x="0" y="12"/>
                    <a:pt x="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0" name="Freeform 62"/>
            <p:cNvSpPr>
              <a:spLocks/>
            </p:cNvSpPr>
            <p:nvPr userDrawn="1"/>
          </p:nvSpPr>
          <p:spPr bwMode="auto">
            <a:xfrm>
              <a:off x="3023790" y="2440073"/>
              <a:ext cx="41653" cy="38966"/>
            </a:xfrm>
            <a:custGeom>
              <a:avLst/>
              <a:gdLst>
                <a:gd name="T0" fmla="*/ 13 w 13"/>
                <a:gd name="T1" fmla="*/ 4 h 12"/>
                <a:gd name="T2" fmla="*/ 2 w 13"/>
                <a:gd name="T3" fmla="*/ 11 h 12"/>
                <a:gd name="T4" fmla="*/ 13 w 13"/>
                <a:gd name="T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4"/>
                  </a:moveTo>
                  <a:cubicBezTo>
                    <a:pt x="8" y="5"/>
                    <a:pt x="0" y="0"/>
                    <a:pt x="2" y="11"/>
                  </a:cubicBezTo>
                  <a:cubicBezTo>
                    <a:pt x="9" y="12"/>
                    <a:pt x="13" y="10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1" name="Freeform 63"/>
            <p:cNvSpPr>
              <a:spLocks/>
            </p:cNvSpPr>
            <p:nvPr userDrawn="1"/>
          </p:nvSpPr>
          <p:spPr bwMode="auto">
            <a:xfrm>
              <a:off x="3792359" y="3484090"/>
              <a:ext cx="28217" cy="64495"/>
            </a:xfrm>
            <a:custGeom>
              <a:avLst/>
              <a:gdLst>
                <a:gd name="T0" fmla="*/ 8 w 9"/>
                <a:gd name="T1" fmla="*/ 19 h 20"/>
                <a:gd name="T2" fmla="*/ 0 w 9"/>
                <a:gd name="T3" fmla="*/ 0 h 20"/>
                <a:gd name="T4" fmla="*/ 8 w 9"/>
                <a:gd name="T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0">
                  <a:moveTo>
                    <a:pt x="8" y="19"/>
                  </a:moveTo>
                  <a:cubicBezTo>
                    <a:pt x="9" y="7"/>
                    <a:pt x="4" y="4"/>
                    <a:pt x="0" y="0"/>
                  </a:cubicBezTo>
                  <a:cubicBezTo>
                    <a:pt x="2" y="7"/>
                    <a:pt x="0" y="20"/>
                    <a:pt x="8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2" name="Freeform 64"/>
            <p:cNvSpPr>
              <a:spLocks/>
            </p:cNvSpPr>
            <p:nvPr userDrawn="1"/>
          </p:nvSpPr>
          <p:spPr bwMode="auto">
            <a:xfrm>
              <a:off x="3338205" y="3532462"/>
              <a:ext cx="47028" cy="75245"/>
            </a:xfrm>
            <a:custGeom>
              <a:avLst/>
              <a:gdLst>
                <a:gd name="T0" fmla="*/ 6 w 15"/>
                <a:gd name="T1" fmla="*/ 0 h 24"/>
                <a:gd name="T2" fmla="*/ 6 w 15"/>
                <a:gd name="T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4">
                  <a:moveTo>
                    <a:pt x="6" y="0"/>
                  </a:moveTo>
                  <a:cubicBezTo>
                    <a:pt x="0" y="24"/>
                    <a:pt x="15" y="1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3" name="Freeform 65"/>
            <p:cNvSpPr>
              <a:spLocks/>
            </p:cNvSpPr>
            <p:nvPr userDrawn="1"/>
          </p:nvSpPr>
          <p:spPr bwMode="auto">
            <a:xfrm>
              <a:off x="3748018" y="3523056"/>
              <a:ext cx="37622" cy="81963"/>
            </a:xfrm>
            <a:custGeom>
              <a:avLst/>
              <a:gdLst>
                <a:gd name="T0" fmla="*/ 3 w 12"/>
                <a:gd name="T1" fmla="*/ 3 h 26"/>
                <a:gd name="T2" fmla="*/ 0 w 12"/>
                <a:gd name="T3" fmla="*/ 25 h 26"/>
                <a:gd name="T4" fmla="*/ 6 w 12"/>
                <a:gd name="T5" fmla="*/ 14 h 26"/>
                <a:gd name="T6" fmla="*/ 3 w 12"/>
                <a:gd name="T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3" y="3"/>
                  </a:moveTo>
                  <a:cubicBezTo>
                    <a:pt x="5" y="14"/>
                    <a:pt x="0" y="16"/>
                    <a:pt x="0" y="25"/>
                  </a:cubicBezTo>
                  <a:cubicBezTo>
                    <a:pt x="7" y="26"/>
                    <a:pt x="4" y="21"/>
                    <a:pt x="6" y="14"/>
                  </a:cubicBezTo>
                  <a:cubicBezTo>
                    <a:pt x="7" y="9"/>
                    <a:pt x="12" y="0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4" name="Freeform 66"/>
            <p:cNvSpPr>
              <a:spLocks/>
            </p:cNvSpPr>
            <p:nvPr userDrawn="1"/>
          </p:nvSpPr>
          <p:spPr bwMode="auto">
            <a:xfrm>
              <a:off x="2998261" y="3574115"/>
              <a:ext cx="32248" cy="63152"/>
            </a:xfrm>
            <a:custGeom>
              <a:avLst/>
              <a:gdLst>
                <a:gd name="T0" fmla="*/ 0 w 10"/>
                <a:gd name="T1" fmla="*/ 9 h 20"/>
                <a:gd name="T2" fmla="*/ 10 w 10"/>
                <a:gd name="T3" fmla="*/ 9 h 20"/>
                <a:gd name="T4" fmla="*/ 0 w 10"/>
                <a:gd name="T5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9"/>
                  </a:moveTo>
                  <a:cubicBezTo>
                    <a:pt x="5" y="6"/>
                    <a:pt x="9" y="20"/>
                    <a:pt x="10" y="9"/>
                  </a:cubicBezTo>
                  <a:cubicBezTo>
                    <a:pt x="9" y="8"/>
                    <a:pt x="0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" name="Freeform 67"/>
            <p:cNvSpPr>
              <a:spLocks/>
            </p:cNvSpPr>
            <p:nvPr userDrawn="1"/>
          </p:nvSpPr>
          <p:spPr bwMode="auto">
            <a:xfrm>
              <a:off x="3151437" y="3672202"/>
              <a:ext cx="44341" cy="69870"/>
            </a:xfrm>
            <a:custGeom>
              <a:avLst/>
              <a:gdLst>
                <a:gd name="T0" fmla="*/ 3 w 14"/>
                <a:gd name="T1" fmla="*/ 0 h 22"/>
                <a:gd name="T2" fmla="*/ 3 w 14"/>
                <a:gd name="T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22">
                  <a:moveTo>
                    <a:pt x="3" y="0"/>
                  </a:moveTo>
                  <a:cubicBezTo>
                    <a:pt x="0" y="22"/>
                    <a:pt x="14" y="2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" name="Freeform 68"/>
            <p:cNvSpPr>
              <a:spLocks/>
            </p:cNvSpPr>
            <p:nvPr userDrawn="1"/>
          </p:nvSpPr>
          <p:spPr bwMode="auto">
            <a:xfrm>
              <a:off x="3140688" y="3872406"/>
              <a:ext cx="20155" cy="24186"/>
            </a:xfrm>
            <a:custGeom>
              <a:avLst/>
              <a:gdLst>
                <a:gd name="T0" fmla="*/ 6 w 6"/>
                <a:gd name="T1" fmla="*/ 0 h 8"/>
                <a:gd name="T2" fmla="*/ 0 w 6"/>
                <a:gd name="T3" fmla="*/ 0 h 8"/>
                <a:gd name="T4" fmla="*/ 0 w 6"/>
                <a:gd name="T5" fmla="*/ 8 h 8"/>
                <a:gd name="T6" fmla="*/ 6 w 6"/>
                <a:gd name="T7" fmla="*/ 8 h 8"/>
                <a:gd name="T8" fmla="*/ 6 w 6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6" y="8"/>
                  </a:cubicBezTo>
                  <a:cubicBezTo>
                    <a:pt x="6" y="5"/>
                    <a:pt x="6" y="3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" name="Freeform 69"/>
            <p:cNvSpPr>
              <a:spLocks/>
            </p:cNvSpPr>
            <p:nvPr userDrawn="1"/>
          </p:nvSpPr>
          <p:spPr bwMode="auto">
            <a:xfrm>
              <a:off x="3081567" y="3919434"/>
              <a:ext cx="72557" cy="116898"/>
            </a:xfrm>
            <a:custGeom>
              <a:avLst/>
              <a:gdLst>
                <a:gd name="T0" fmla="*/ 11 w 23"/>
                <a:gd name="T1" fmla="*/ 4 h 37"/>
                <a:gd name="T2" fmla="*/ 3 w 23"/>
                <a:gd name="T3" fmla="*/ 0 h 37"/>
                <a:gd name="T4" fmla="*/ 3 w 23"/>
                <a:gd name="T5" fmla="*/ 33 h 37"/>
                <a:gd name="T6" fmla="*/ 22 w 23"/>
                <a:gd name="T7" fmla="*/ 26 h 37"/>
                <a:gd name="T8" fmla="*/ 17 w 23"/>
                <a:gd name="T9" fmla="*/ 15 h 37"/>
                <a:gd name="T10" fmla="*/ 14 w 23"/>
                <a:gd name="T11" fmla="*/ 4 h 37"/>
                <a:gd name="T12" fmla="*/ 6 w 23"/>
                <a:gd name="T13" fmla="*/ 11 h 37"/>
                <a:gd name="T14" fmla="*/ 11 w 23"/>
                <a:gd name="T15" fmla="*/ 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7">
                  <a:moveTo>
                    <a:pt x="11" y="4"/>
                  </a:moveTo>
                  <a:cubicBezTo>
                    <a:pt x="8" y="4"/>
                    <a:pt x="5" y="2"/>
                    <a:pt x="3" y="0"/>
                  </a:cubicBezTo>
                  <a:cubicBezTo>
                    <a:pt x="2" y="17"/>
                    <a:pt x="0" y="18"/>
                    <a:pt x="3" y="33"/>
                  </a:cubicBezTo>
                  <a:cubicBezTo>
                    <a:pt x="14" y="37"/>
                    <a:pt x="10" y="20"/>
                    <a:pt x="22" y="26"/>
                  </a:cubicBezTo>
                  <a:cubicBezTo>
                    <a:pt x="23" y="18"/>
                    <a:pt x="18" y="19"/>
                    <a:pt x="17" y="15"/>
                  </a:cubicBezTo>
                  <a:cubicBezTo>
                    <a:pt x="16" y="13"/>
                    <a:pt x="22" y="4"/>
                    <a:pt x="14" y="4"/>
                  </a:cubicBezTo>
                  <a:cubicBezTo>
                    <a:pt x="16" y="11"/>
                    <a:pt x="7" y="20"/>
                    <a:pt x="6" y="11"/>
                  </a:cubicBezTo>
                  <a:cubicBezTo>
                    <a:pt x="9" y="11"/>
                    <a:pt x="12" y="10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8" name="Freeform 70"/>
            <p:cNvSpPr>
              <a:spLocks/>
            </p:cNvSpPr>
            <p:nvPr userDrawn="1"/>
          </p:nvSpPr>
          <p:spPr bwMode="auto">
            <a:xfrm>
              <a:off x="3058725" y="3912715"/>
              <a:ext cx="32248" cy="60464"/>
            </a:xfrm>
            <a:custGeom>
              <a:avLst/>
              <a:gdLst>
                <a:gd name="T0" fmla="*/ 0 w 10"/>
                <a:gd name="T1" fmla="*/ 9 h 19"/>
                <a:gd name="T2" fmla="*/ 7 w 10"/>
                <a:gd name="T3" fmla="*/ 17 h 19"/>
                <a:gd name="T4" fmla="*/ 0 w 10"/>
                <a:gd name="T5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9">
                  <a:moveTo>
                    <a:pt x="0" y="9"/>
                  </a:moveTo>
                  <a:cubicBezTo>
                    <a:pt x="4" y="10"/>
                    <a:pt x="2" y="19"/>
                    <a:pt x="7" y="17"/>
                  </a:cubicBezTo>
                  <a:cubicBezTo>
                    <a:pt x="10" y="9"/>
                    <a:pt x="1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9" name="Freeform 71"/>
            <p:cNvSpPr>
              <a:spLocks/>
            </p:cNvSpPr>
            <p:nvPr userDrawn="1"/>
          </p:nvSpPr>
          <p:spPr bwMode="auto">
            <a:xfrm>
              <a:off x="3125908" y="4049768"/>
              <a:ext cx="75245" cy="126303"/>
            </a:xfrm>
            <a:custGeom>
              <a:avLst/>
              <a:gdLst>
                <a:gd name="T0" fmla="*/ 0 w 24"/>
                <a:gd name="T1" fmla="*/ 29 h 40"/>
                <a:gd name="T2" fmla="*/ 19 w 24"/>
                <a:gd name="T3" fmla="*/ 22 h 40"/>
                <a:gd name="T4" fmla="*/ 21 w 24"/>
                <a:gd name="T5" fmla="*/ 40 h 40"/>
                <a:gd name="T6" fmla="*/ 24 w 24"/>
                <a:gd name="T7" fmla="*/ 18 h 40"/>
                <a:gd name="T8" fmla="*/ 16 w 24"/>
                <a:gd name="T9" fmla="*/ 0 h 40"/>
                <a:gd name="T10" fmla="*/ 13 w 24"/>
                <a:gd name="T11" fmla="*/ 18 h 40"/>
                <a:gd name="T12" fmla="*/ 0 w 24"/>
                <a:gd name="T13" fmla="*/ 2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0">
                  <a:moveTo>
                    <a:pt x="0" y="29"/>
                  </a:moveTo>
                  <a:cubicBezTo>
                    <a:pt x="8" y="30"/>
                    <a:pt x="8" y="18"/>
                    <a:pt x="19" y="22"/>
                  </a:cubicBezTo>
                  <a:cubicBezTo>
                    <a:pt x="15" y="27"/>
                    <a:pt x="17" y="37"/>
                    <a:pt x="21" y="40"/>
                  </a:cubicBezTo>
                  <a:cubicBezTo>
                    <a:pt x="21" y="31"/>
                    <a:pt x="21" y="23"/>
                    <a:pt x="24" y="18"/>
                  </a:cubicBezTo>
                  <a:cubicBezTo>
                    <a:pt x="16" y="20"/>
                    <a:pt x="22" y="1"/>
                    <a:pt x="16" y="0"/>
                  </a:cubicBezTo>
                  <a:cubicBezTo>
                    <a:pt x="12" y="8"/>
                    <a:pt x="10" y="7"/>
                    <a:pt x="13" y="18"/>
                  </a:cubicBezTo>
                  <a:cubicBezTo>
                    <a:pt x="5" y="16"/>
                    <a:pt x="2" y="23"/>
                    <a:pt x="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0" name="Freeform 72"/>
            <p:cNvSpPr>
              <a:spLocks/>
            </p:cNvSpPr>
            <p:nvPr userDrawn="1"/>
          </p:nvSpPr>
          <p:spPr bwMode="auto">
            <a:xfrm>
              <a:off x="2792682" y="4059173"/>
              <a:ext cx="14780" cy="47028"/>
            </a:xfrm>
            <a:custGeom>
              <a:avLst/>
              <a:gdLst>
                <a:gd name="T0" fmla="*/ 5 w 5"/>
                <a:gd name="T1" fmla="*/ 15 h 15"/>
                <a:gd name="T2" fmla="*/ 5 w 5"/>
                <a:gd name="T3" fmla="*/ 0 h 15"/>
                <a:gd name="T4" fmla="*/ 0 w 5"/>
                <a:gd name="T5" fmla="*/ 0 h 15"/>
                <a:gd name="T6" fmla="*/ 0 w 5"/>
                <a:gd name="T7" fmla="*/ 15 h 15"/>
                <a:gd name="T8" fmla="*/ 5 w 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5">
                  <a:moveTo>
                    <a:pt x="5" y="15"/>
                  </a:moveTo>
                  <a:cubicBezTo>
                    <a:pt x="5" y="10"/>
                    <a:pt x="5" y="5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5"/>
                    <a:pt x="0" y="10"/>
                    <a:pt x="0" y="15"/>
                  </a:cubicBezTo>
                  <a:cubicBezTo>
                    <a:pt x="2" y="15"/>
                    <a:pt x="4" y="15"/>
                    <a:pt x="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1" name="Freeform 73"/>
            <p:cNvSpPr>
              <a:spLocks/>
            </p:cNvSpPr>
            <p:nvPr userDrawn="1"/>
          </p:nvSpPr>
          <p:spPr bwMode="auto">
            <a:xfrm>
              <a:off x="2823586" y="4059173"/>
              <a:ext cx="44341" cy="72557"/>
            </a:xfrm>
            <a:custGeom>
              <a:avLst/>
              <a:gdLst>
                <a:gd name="T0" fmla="*/ 9 w 14"/>
                <a:gd name="T1" fmla="*/ 23 h 23"/>
                <a:gd name="T2" fmla="*/ 14 w 14"/>
                <a:gd name="T3" fmla="*/ 8 h 23"/>
                <a:gd name="T4" fmla="*/ 4 w 14"/>
                <a:gd name="T5" fmla="*/ 0 h 23"/>
                <a:gd name="T6" fmla="*/ 9 w 14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3">
                  <a:moveTo>
                    <a:pt x="9" y="23"/>
                  </a:moveTo>
                  <a:cubicBezTo>
                    <a:pt x="10" y="17"/>
                    <a:pt x="13" y="13"/>
                    <a:pt x="14" y="8"/>
                  </a:cubicBezTo>
                  <a:cubicBezTo>
                    <a:pt x="10" y="6"/>
                    <a:pt x="7" y="2"/>
                    <a:pt x="4" y="0"/>
                  </a:cubicBezTo>
                  <a:cubicBezTo>
                    <a:pt x="9" y="11"/>
                    <a:pt x="0" y="19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2" name="Freeform 74"/>
            <p:cNvSpPr>
              <a:spLocks/>
            </p:cNvSpPr>
            <p:nvPr userDrawn="1"/>
          </p:nvSpPr>
          <p:spPr bwMode="auto">
            <a:xfrm>
              <a:off x="2867927" y="4084703"/>
              <a:ext cx="51059" cy="60464"/>
            </a:xfrm>
            <a:custGeom>
              <a:avLst/>
              <a:gdLst>
                <a:gd name="T0" fmla="*/ 16 w 16"/>
                <a:gd name="T1" fmla="*/ 18 h 19"/>
                <a:gd name="T2" fmla="*/ 3 w 16"/>
                <a:gd name="T3" fmla="*/ 0 h 19"/>
                <a:gd name="T4" fmla="*/ 0 w 16"/>
                <a:gd name="T5" fmla="*/ 15 h 19"/>
                <a:gd name="T6" fmla="*/ 16 w 16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9">
                  <a:moveTo>
                    <a:pt x="16" y="18"/>
                  </a:moveTo>
                  <a:cubicBezTo>
                    <a:pt x="15" y="8"/>
                    <a:pt x="11" y="1"/>
                    <a:pt x="3" y="0"/>
                  </a:cubicBezTo>
                  <a:cubicBezTo>
                    <a:pt x="5" y="12"/>
                    <a:pt x="5" y="7"/>
                    <a:pt x="0" y="15"/>
                  </a:cubicBezTo>
                  <a:cubicBezTo>
                    <a:pt x="3" y="19"/>
                    <a:pt x="10" y="19"/>
                    <a:pt x="1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3" name="Freeform 75"/>
            <p:cNvSpPr>
              <a:spLocks/>
            </p:cNvSpPr>
            <p:nvPr userDrawn="1"/>
          </p:nvSpPr>
          <p:spPr bwMode="auto">
            <a:xfrm>
              <a:off x="3090973" y="4084703"/>
              <a:ext cx="65839" cy="56433"/>
            </a:xfrm>
            <a:custGeom>
              <a:avLst/>
              <a:gdLst>
                <a:gd name="T0" fmla="*/ 8 w 21"/>
                <a:gd name="T1" fmla="*/ 0 h 18"/>
                <a:gd name="T2" fmla="*/ 0 w 21"/>
                <a:gd name="T3" fmla="*/ 7 h 18"/>
                <a:gd name="T4" fmla="*/ 6 w 21"/>
                <a:gd name="T5" fmla="*/ 18 h 18"/>
                <a:gd name="T6" fmla="*/ 8 w 21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8">
                  <a:moveTo>
                    <a:pt x="8" y="0"/>
                  </a:moveTo>
                  <a:cubicBezTo>
                    <a:pt x="8" y="5"/>
                    <a:pt x="2" y="4"/>
                    <a:pt x="0" y="7"/>
                  </a:cubicBezTo>
                  <a:cubicBezTo>
                    <a:pt x="0" y="14"/>
                    <a:pt x="2" y="17"/>
                    <a:pt x="6" y="18"/>
                  </a:cubicBezTo>
                  <a:cubicBezTo>
                    <a:pt x="5" y="7"/>
                    <a:pt x="21" y="6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4" name="Freeform 76"/>
            <p:cNvSpPr>
              <a:spLocks/>
            </p:cNvSpPr>
            <p:nvPr userDrawn="1"/>
          </p:nvSpPr>
          <p:spPr bwMode="auto">
            <a:xfrm>
              <a:off x="2937796" y="4112919"/>
              <a:ext cx="73901" cy="102118"/>
            </a:xfrm>
            <a:custGeom>
              <a:avLst/>
              <a:gdLst>
                <a:gd name="T0" fmla="*/ 0 w 23"/>
                <a:gd name="T1" fmla="*/ 2 h 32"/>
                <a:gd name="T2" fmla="*/ 0 w 23"/>
                <a:gd name="T3" fmla="*/ 17 h 32"/>
                <a:gd name="T4" fmla="*/ 16 w 23"/>
                <a:gd name="T5" fmla="*/ 13 h 32"/>
                <a:gd name="T6" fmla="*/ 10 w 23"/>
                <a:gd name="T7" fmla="*/ 31 h 32"/>
                <a:gd name="T8" fmla="*/ 19 w 23"/>
                <a:gd name="T9" fmla="*/ 6 h 32"/>
                <a:gd name="T10" fmla="*/ 0 w 23"/>
                <a:gd name="T11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32">
                  <a:moveTo>
                    <a:pt x="0" y="2"/>
                  </a:moveTo>
                  <a:cubicBezTo>
                    <a:pt x="0" y="7"/>
                    <a:pt x="0" y="12"/>
                    <a:pt x="0" y="17"/>
                  </a:cubicBezTo>
                  <a:cubicBezTo>
                    <a:pt x="8" y="21"/>
                    <a:pt x="14" y="4"/>
                    <a:pt x="16" y="13"/>
                  </a:cubicBezTo>
                  <a:cubicBezTo>
                    <a:pt x="9" y="20"/>
                    <a:pt x="13" y="19"/>
                    <a:pt x="10" y="31"/>
                  </a:cubicBezTo>
                  <a:cubicBezTo>
                    <a:pt x="20" y="32"/>
                    <a:pt x="23" y="12"/>
                    <a:pt x="19" y="6"/>
                  </a:cubicBezTo>
                  <a:cubicBezTo>
                    <a:pt x="9" y="9"/>
                    <a:pt x="8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5" name="Freeform 77"/>
            <p:cNvSpPr>
              <a:spLocks/>
            </p:cNvSpPr>
            <p:nvPr userDrawn="1"/>
          </p:nvSpPr>
          <p:spPr bwMode="auto">
            <a:xfrm>
              <a:off x="2814181" y="4115607"/>
              <a:ext cx="79275" cy="51059"/>
            </a:xfrm>
            <a:custGeom>
              <a:avLst/>
              <a:gdLst>
                <a:gd name="T0" fmla="*/ 12 w 25"/>
                <a:gd name="T1" fmla="*/ 16 h 16"/>
                <a:gd name="T2" fmla="*/ 20 w 25"/>
                <a:gd name="T3" fmla="*/ 16 h 16"/>
                <a:gd name="T4" fmla="*/ 12 w 25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16">
                  <a:moveTo>
                    <a:pt x="12" y="16"/>
                  </a:moveTo>
                  <a:cubicBezTo>
                    <a:pt x="13" y="10"/>
                    <a:pt x="18" y="13"/>
                    <a:pt x="20" y="16"/>
                  </a:cubicBezTo>
                  <a:cubicBezTo>
                    <a:pt x="25" y="0"/>
                    <a:pt x="0" y="10"/>
                    <a:pt x="1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6" name="Freeform 78"/>
            <p:cNvSpPr>
              <a:spLocks/>
            </p:cNvSpPr>
            <p:nvPr userDrawn="1"/>
          </p:nvSpPr>
          <p:spPr bwMode="auto">
            <a:xfrm>
              <a:off x="3033196" y="4138449"/>
              <a:ext cx="32248" cy="67183"/>
            </a:xfrm>
            <a:custGeom>
              <a:avLst/>
              <a:gdLst>
                <a:gd name="T0" fmla="*/ 5 w 10"/>
                <a:gd name="T1" fmla="*/ 20 h 21"/>
                <a:gd name="T2" fmla="*/ 10 w 10"/>
                <a:gd name="T3" fmla="*/ 1 h 21"/>
                <a:gd name="T4" fmla="*/ 5 w 10"/>
                <a:gd name="T5" fmla="*/ 1 h 21"/>
                <a:gd name="T6" fmla="*/ 5 w 10"/>
                <a:gd name="T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1">
                  <a:moveTo>
                    <a:pt x="5" y="20"/>
                  </a:moveTo>
                  <a:cubicBezTo>
                    <a:pt x="8" y="15"/>
                    <a:pt x="7" y="6"/>
                    <a:pt x="10" y="1"/>
                  </a:cubicBezTo>
                  <a:cubicBezTo>
                    <a:pt x="8" y="1"/>
                    <a:pt x="7" y="1"/>
                    <a:pt x="5" y="1"/>
                  </a:cubicBezTo>
                  <a:cubicBezTo>
                    <a:pt x="0" y="0"/>
                    <a:pt x="0" y="21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7" name="Freeform 79"/>
            <p:cNvSpPr>
              <a:spLocks/>
            </p:cNvSpPr>
            <p:nvPr userDrawn="1"/>
          </p:nvSpPr>
          <p:spPr bwMode="auto">
            <a:xfrm>
              <a:off x="3004979" y="4176071"/>
              <a:ext cx="28217" cy="34935"/>
            </a:xfrm>
            <a:custGeom>
              <a:avLst/>
              <a:gdLst>
                <a:gd name="T0" fmla="*/ 8 w 9"/>
                <a:gd name="T1" fmla="*/ 8 h 11"/>
                <a:gd name="T2" fmla="*/ 3 w 9"/>
                <a:gd name="T3" fmla="*/ 0 h 11"/>
                <a:gd name="T4" fmla="*/ 0 w 9"/>
                <a:gd name="T5" fmla="*/ 11 h 11"/>
                <a:gd name="T6" fmla="*/ 6 w 9"/>
                <a:gd name="T7" fmla="*/ 11 h 11"/>
                <a:gd name="T8" fmla="*/ 8 w 9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8" y="8"/>
                  </a:moveTo>
                  <a:cubicBezTo>
                    <a:pt x="5" y="8"/>
                    <a:pt x="6" y="1"/>
                    <a:pt x="3" y="0"/>
                  </a:cubicBezTo>
                  <a:cubicBezTo>
                    <a:pt x="3" y="5"/>
                    <a:pt x="0" y="6"/>
                    <a:pt x="0" y="11"/>
                  </a:cubicBezTo>
                  <a:cubicBezTo>
                    <a:pt x="2" y="11"/>
                    <a:pt x="4" y="11"/>
                    <a:pt x="6" y="11"/>
                  </a:cubicBezTo>
                  <a:cubicBezTo>
                    <a:pt x="7" y="11"/>
                    <a:pt x="9" y="11"/>
                    <a:pt x="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8" name="Freeform 80"/>
            <p:cNvSpPr>
              <a:spLocks/>
            </p:cNvSpPr>
            <p:nvPr userDrawn="1"/>
          </p:nvSpPr>
          <p:spPr bwMode="auto">
            <a:xfrm>
              <a:off x="3624403" y="4215037"/>
              <a:ext cx="40310" cy="40310"/>
            </a:xfrm>
            <a:custGeom>
              <a:avLst/>
              <a:gdLst>
                <a:gd name="T0" fmla="*/ 2 w 13"/>
                <a:gd name="T1" fmla="*/ 11 h 13"/>
                <a:gd name="T2" fmla="*/ 12 w 13"/>
                <a:gd name="T3" fmla="*/ 7 h 13"/>
                <a:gd name="T4" fmla="*/ 2 w 13"/>
                <a:gd name="T5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2" y="11"/>
                  </a:moveTo>
                  <a:cubicBezTo>
                    <a:pt x="3" y="13"/>
                    <a:pt x="13" y="10"/>
                    <a:pt x="12" y="7"/>
                  </a:cubicBezTo>
                  <a:cubicBezTo>
                    <a:pt x="9" y="0"/>
                    <a:pt x="0" y="9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9" name="Freeform 81"/>
            <p:cNvSpPr>
              <a:spLocks/>
            </p:cNvSpPr>
            <p:nvPr userDrawn="1"/>
          </p:nvSpPr>
          <p:spPr bwMode="auto">
            <a:xfrm>
              <a:off x="2792682" y="4205631"/>
              <a:ext cx="34935" cy="79275"/>
            </a:xfrm>
            <a:custGeom>
              <a:avLst/>
              <a:gdLst>
                <a:gd name="T0" fmla="*/ 8 w 11"/>
                <a:gd name="T1" fmla="*/ 25 h 25"/>
                <a:gd name="T2" fmla="*/ 11 w 11"/>
                <a:gd name="T3" fmla="*/ 17 h 25"/>
                <a:gd name="T4" fmla="*/ 0 w 11"/>
                <a:gd name="T5" fmla="*/ 14 h 25"/>
                <a:gd name="T6" fmla="*/ 3 w 11"/>
                <a:gd name="T7" fmla="*/ 25 h 25"/>
                <a:gd name="T8" fmla="*/ 8 w 11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5">
                  <a:moveTo>
                    <a:pt x="8" y="25"/>
                  </a:moveTo>
                  <a:cubicBezTo>
                    <a:pt x="8" y="21"/>
                    <a:pt x="10" y="20"/>
                    <a:pt x="11" y="17"/>
                  </a:cubicBezTo>
                  <a:cubicBezTo>
                    <a:pt x="4" y="22"/>
                    <a:pt x="4" y="0"/>
                    <a:pt x="0" y="14"/>
                  </a:cubicBezTo>
                  <a:cubicBezTo>
                    <a:pt x="3" y="14"/>
                    <a:pt x="3" y="19"/>
                    <a:pt x="3" y="25"/>
                  </a:cubicBezTo>
                  <a:cubicBezTo>
                    <a:pt x="5" y="25"/>
                    <a:pt x="6" y="25"/>
                    <a:pt x="8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0" name="Freeform 82"/>
            <p:cNvSpPr>
              <a:spLocks/>
            </p:cNvSpPr>
            <p:nvPr userDrawn="1"/>
          </p:nvSpPr>
          <p:spPr bwMode="auto">
            <a:xfrm>
              <a:off x="2960639" y="4236535"/>
              <a:ext cx="30904" cy="48371"/>
            </a:xfrm>
            <a:custGeom>
              <a:avLst/>
              <a:gdLst>
                <a:gd name="T0" fmla="*/ 1 w 10"/>
                <a:gd name="T1" fmla="*/ 4 h 15"/>
                <a:gd name="T2" fmla="*/ 6 w 10"/>
                <a:gd name="T3" fmla="*/ 15 h 15"/>
                <a:gd name="T4" fmla="*/ 9 w 10"/>
                <a:gd name="T5" fmla="*/ 0 h 15"/>
                <a:gd name="T6" fmla="*/ 3 w 10"/>
                <a:gd name="T7" fmla="*/ 0 h 15"/>
                <a:gd name="T8" fmla="*/ 1 w 10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1" y="4"/>
                  </a:moveTo>
                  <a:cubicBezTo>
                    <a:pt x="5" y="4"/>
                    <a:pt x="2" y="14"/>
                    <a:pt x="6" y="15"/>
                  </a:cubicBezTo>
                  <a:cubicBezTo>
                    <a:pt x="7" y="10"/>
                    <a:pt x="10" y="8"/>
                    <a:pt x="9" y="0"/>
                  </a:cubicBezTo>
                  <a:cubicBezTo>
                    <a:pt x="7" y="0"/>
                    <a:pt x="5" y="0"/>
                    <a:pt x="3" y="0"/>
                  </a:cubicBezTo>
                  <a:cubicBezTo>
                    <a:pt x="2" y="0"/>
                    <a:pt x="0" y="0"/>
                    <a:pt x="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1" name="Freeform 83"/>
            <p:cNvSpPr>
              <a:spLocks/>
            </p:cNvSpPr>
            <p:nvPr userDrawn="1"/>
          </p:nvSpPr>
          <p:spPr bwMode="auto">
            <a:xfrm>
              <a:off x="2998261" y="4227130"/>
              <a:ext cx="41653" cy="67183"/>
            </a:xfrm>
            <a:custGeom>
              <a:avLst/>
              <a:gdLst>
                <a:gd name="T0" fmla="*/ 0 w 13"/>
                <a:gd name="T1" fmla="*/ 10 h 21"/>
                <a:gd name="T2" fmla="*/ 13 w 13"/>
                <a:gd name="T3" fmla="*/ 10 h 21"/>
                <a:gd name="T4" fmla="*/ 0 w 13"/>
                <a:gd name="T5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1">
                  <a:moveTo>
                    <a:pt x="0" y="10"/>
                  </a:moveTo>
                  <a:cubicBezTo>
                    <a:pt x="6" y="5"/>
                    <a:pt x="11" y="21"/>
                    <a:pt x="13" y="10"/>
                  </a:cubicBezTo>
                  <a:cubicBezTo>
                    <a:pt x="8" y="5"/>
                    <a:pt x="4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2" name="Freeform 84"/>
            <p:cNvSpPr>
              <a:spLocks/>
            </p:cNvSpPr>
            <p:nvPr userDrawn="1"/>
          </p:nvSpPr>
          <p:spPr bwMode="auto">
            <a:xfrm>
              <a:off x="2802088" y="4249972"/>
              <a:ext cx="85994" cy="114210"/>
            </a:xfrm>
            <a:custGeom>
              <a:avLst/>
              <a:gdLst>
                <a:gd name="T0" fmla="*/ 11 w 27"/>
                <a:gd name="T1" fmla="*/ 33 h 36"/>
                <a:gd name="T2" fmla="*/ 21 w 27"/>
                <a:gd name="T3" fmla="*/ 33 h 36"/>
                <a:gd name="T4" fmla="*/ 21 w 27"/>
                <a:gd name="T5" fmla="*/ 0 h 36"/>
                <a:gd name="T6" fmla="*/ 13 w 27"/>
                <a:gd name="T7" fmla="*/ 0 h 36"/>
                <a:gd name="T8" fmla="*/ 11 w 27"/>
                <a:gd name="T9" fmla="*/ 11 h 36"/>
                <a:gd name="T10" fmla="*/ 11 w 27"/>
                <a:gd name="T11" fmla="*/ 3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36">
                  <a:moveTo>
                    <a:pt x="11" y="33"/>
                  </a:moveTo>
                  <a:cubicBezTo>
                    <a:pt x="12" y="22"/>
                    <a:pt x="16" y="36"/>
                    <a:pt x="21" y="33"/>
                  </a:cubicBezTo>
                  <a:cubicBezTo>
                    <a:pt x="17" y="21"/>
                    <a:pt x="20" y="13"/>
                    <a:pt x="21" y="0"/>
                  </a:cubicBezTo>
                  <a:cubicBezTo>
                    <a:pt x="19" y="0"/>
                    <a:pt x="16" y="0"/>
                    <a:pt x="13" y="0"/>
                  </a:cubicBezTo>
                  <a:cubicBezTo>
                    <a:pt x="13" y="5"/>
                    <a:pt x="12" y="8"/>
                    <a:pt x="11" y="11"/>
                  </a:cubicBezTo>
                  <a:cubicBezTo>
                    <a:pt x="27" y="13"/>
                    <a:pt x="0" y="27"/>
                    <a:pt x="11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3" name="Freeform 85"/>
            <p:cNvSpPr>
              <a:spLocks/>
            </p:cNvSpPr>
            <p:nvPr userDrawn="1"/>
          </p:nvSpPr>
          <p:spPr bwMode="auto">
            <a:xfrm>
              <a:off x="2867927" y="4255347"/>
              <a:ext cx="55090" cy="64495"/>
            </a:xfrm>
            <a:custGeom>
              <a:avLst/>
              <a:gdLst>
                <a:gd name="T0" fmla="*/ 8 w 17"/>
                <a:gd name="T1" fmla="*/ 9 h 20"/>
                <a:gd name="T2" fmla="*/ 6 w 17"/>
                <a:gd name="T3" fmla="*/ 9 h 20"/>
                <a:gd name="T4" fmla="*/ 3 w 17"/>
                <a:gd name="T5" fmla="*/ 1 h 20"/>
                <a:gd name="T6" fmla="*/ 0 w 17"/>
                <a:gd name="T7" fmla="*/ 16 h 20"/>
                <a:gd name="T8" fmla="*/ 16 w 17"/>
                <a:gd name="T9" fmla="*/ 20 h 20"/>
                <a:gd name="T10" fmla="*/ 8 w 17"/>
                <a:gd name="T11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20">
                  <a:moveTo>
                    <a:pt x="8" y="9"/>
                  </a:moveTo>
                  <a:cubicBezTo>
                    <a:pt x="6" y="10"/>
                    <a:pt x="9" y="13"/>
                    <a:pt x="6" y="9"/>
                  </a:cubicBezTo>
                  <a:cubicBezTo>
                    <a:pt x="4" y="7"/>
                    <a:pt x="6" y="0"/>
                    <a:pt x="3" y="1"/>
                  </a:cubicBezTo>
                  <a:cubicBezTo>
                    <a:pt x="3" y="8"/>
                    <a:pt x="2" y="13"/>
                    <a:pt x="0" y="16"/>
                  </a:cubicBezTo>
                  <a:cubicBezTo>
                    <a:pt x="9" y="13"/>
                    <a:pt x="10" y="20"/>
                    <a:pt x="16" y="20"/>
                  </a:cubicBezTo>
                  <a:cubicBezTo>
                    <a:pt x="17" y="10"/>
                    <a:pt x="12" y="7"/>
                    <a:pt x="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4" name="Freeform 86"/>
            <p:cNvSpPr>
              <a:spLocks/>
            </p:cNvSpPr>
            <p:nvPr userDrawn="1"/>
          </p:nvSpPr>
          <p:spPr bwMode="auto">
            <a:xfrm>
              <a:off x="3081567" y="4243254"/>
              <a:ext cx="25529" cy="69870"/>
            </a:xfrm>
            <a:custGeom>
              <a:avLst/>
              <a:gdLst>
                <a:gd name="T0" fmla="*/ 0 w 8"/>
                <a:gd name="T1" fmla="*/ 13 h 22"/>
                <a:gd name="T2" fmla="*/ 6 w 8"/>
                <a:gd name="T3" fmla="*/ 20 h 22"/>
                <a:gd name="T4" fmla="*/ 0 w 8"/>
                <a:gd name="T5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2">
                  <a:moveTo>
                    <a:pt x="0" y="13"/>
                  </a:moveTo>
                  <a:cubicBezTo>
                    <a:pt x="3" y="11"/>
                    <a:pt x="5" y="22"/>
                    <a:pt x="6" y="20"/>
                  </a:cubicBezTo>
                  <a:cubicBezTo>
                    <a:pt x="8" y="17"/>
                    <a:pt x="5" y="0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5" name="Freeform 87"/>
            <p:cNvSpPr>
              <a:spLocks/>
            </p:cNvSpPr>
            <p:nvPr userDrawn="1"/>
          </p:nvSpPr>
          <p:spPr bwMode="auto">
            <a:xfrm>
              <a:off x="2928391" y="4284907"/>
              <a:ext cx="69870" cy="116898"/>
            </a:xfrm>
            <a:custGeom>
              <a:avLst/>
              <a:gdLst>
                <a:gd name="T0" fmla="*/ 6 w 22"/>
                <a:gd name="T1" fmla="*/ 26 h 37"/>
                <a:gd name="T2" fmla="*/ 13 w 22"/>
                <a:gd name="T3" fmla="*/ 37 h 37"/>
                <a:gd name="T4" fmla="*/ 22 w 22"/>
                <a:gd name="T5" fmla="*/ 29 h 37"/>
                <a:gd name="T6" fmla="*/ 6 w 22"/>
                <a:gd name="T7" fmla="*/ 11 h 37"/>
                <a:gd name="T8" fmla="*/ 16 w 22"/>
                <a:gd name="T9" fmla="*/ 18 h 37"/>
                <a:gd name="T10" fmla="*/ 19 w 22"/>
                <a:gd name="T11" fmla="*/ 7 h 37"/>
                <a:gd name="T12" fmla="*/ 8 w 22"/>
                <a:gd name="T13" fmla="*/ 0 h 37"/>
                <a:gd name="T14" fmla="*/ 0 w 22"/>
                <a:gd name="T15" fmla="*/ 11 h 37"/>
                <a:gd name="T16" fmla="*/ 6 w 22"/>
                <a:gd name="T17" fmla="*/ 2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37">
                  <a:moveTo>
                    <a:pt x="6" y="26"/>
                  </a:moveTo>
                  <a:cubicBezTo>
                    <a:pt x="8" y="30"/>
                    <a:pt x="12" y="34"/>
                    <a:pt x="13" y="37"/>
                  </a:cubicBezTo>
                  <a:cubicBezTo>
                    <a:pt x="14" y="31"/>
                    <a:pt x="21" y="35"/>
                    <a:pt x="22" y="29"/>
                  </a:cubicBezTo>
                  <a:cubicBezTo>
                    <a:pt x="17" y="23"/>
                    <a:pt x="5" y="25"/>
                    <a:pt x="6" y="11"/>
                  </a:cubicBezTo>
                  <a:cubicBezTo>
                    <a:pt x="11" y="11"/>
                    <a:pt x="9" y="21"/>
                    <a:pt x="16" y="18"/>
                  </a:cubicBezTo>
                  <a:cubicBezTo>
                    <a:pt x="16" y="13"/>
                    <a:pt x="18" y="10"/>
                    <a:pt x="19" y="7"/>
                  </a:cubicBezTo>
                  <a:cubicBezTo>
                    <a:pt x="12" y="10"/>
                    <a:pt x="13" y="0"/>
                    <a:pt x="8" y="0"/>
                  </a:cubicBezTo>
                  <a:cubicBezTo>
                    <a:pt x="7" y="5"/>
                    <a:pt x="4" y="9"/>
                    <a:pt x="0" y="11"/>
                  </a:cubicBezTo>
                  <a:cubicBezTo>
                    <a:pt x="0" y="17"/>
                    <a:pt x="3" y="22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6" name="Freeform 88"/>
            <p:cNvSpPr>
              <a:spLocks/>
            </p:cNvSpPr>
            <p:nvPr userDrawn="1"/>
          </p:nvSpPr>
          <p:spPr bwMode="auto">
            <a:xfrm>
              <a:off x="3061412" y="4319842"/>
              <a:ext cx="29560" cy="44341"/>
            </a:xfrm>
            <a:custGeom>
              <a:avLst/>
              <a:gdLst>
                <a:gd name="T0" fmla="*/ 9 w 9"/>
                <a:gd name="T1" fmla="*/ 11 h 14"/>
                <a:gd name="T2" fmla="*/ 4 w 9"/>
                <a:gd name="T3" fmla="*/ 0 h 14"/>
                <a:gd name="T4" fmla="*/ 9 w 9"/>
                <a:gd name="T5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9" y="11"/>
                  </a:moveTo>
                  <a:cubicBezTo>
                    <a:pt x="9" y="4"/>
                    <a:pt x="7" y="1"/>
                    <a:pt x="4" y="0"/>
                  </a:cubicBezTo>
                  <a:cubicBezTo>
                    <a:pt x="0" y="5"/>
                    <a:pt x="0" y="14"/>
                    <a:pt x="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7" name="Freeform 89"/>
            <p:cNvSpPr>
              <a:spLocks/>
            </p:cNvSpPr>
            <p:nvPr userDrawn="1"/>
          </p:nvSpPr>
          <p:spPr bwMode="auto">
            <a:xfrm>
              <a:off x="2988855" y="4329247"/>
              <a:ext cx="16124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8" name="Freeform 90"/>
            <p:cNvSpPr>
              <a:spLocks/>
            </p:cNvSpPr>
            <p:nvPr userDrawn="1"/>
          </p:nvSpPr>
          <p:spPr bwMode="auto">
            <a:xfrm>
              <a:off x="3072162" y="4389712"/>
              <a:ext cx="30904" cy="56433"/>
            </a:xfrm>
            <a:custGeom>
              <a:avLst/>
              <a:gdLst>
                <a:gd name="T0" fmla="*/ 3 w 10"/>
                <a:gd name="T1" fmla="*/ 18 h 18"/>
                <a:gd name="T2" fmla="*/ 1 w 10"/>
                <a:gd name="T3" fmla="*/ 4 h 18"/>
                <a:gd name="T4" fmla="*/ 3 w 10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3" y="18"/>
                  </a:moveTo>
                  <a:cubicBezTo>
                    <a:pt x="5" y="16"/>
                    <a:pt x="10" y="0"/>
                    <a:pt x="1" y="4"/>
                  </a:cubicBezTo>
                  <a:cubicBezTo>
                    <a:pt x="1" y="9"/>
                    <a:pt x="0" y="17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9" name="Freeform 91"/>
            <p:cNvSpPr>
              <a:spLocks/>
            </p:cNvSpPr>
            <p:nvPr userDrawn="1"/>
          </p:nvSpPr>
          <p:spPr bwMode="auto">
            <a:xfrm>
              <a:off x="3131282" y="4401805"/>
              <a:ext cx="22842" cy="44341"/>
            </a:xfrm>
            <a:custGeom>
              <a:avLst/>
              <a:gdLst>
                <a:gd name="T0" fmla="*/ 6 w 7"/>
                <a:gd name="T1" fmla="*/ 14 h 14"/>
                <a:gd name="T2" fmla="*/ 1 w 7"/>
                <a:gd name="T3" fmla="*/ 0 h 14"/>
                <a:gd name="T4" fmla="*/ 6 w 7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6" y="14"/>
                  </a:moveTo>
                  <a:cubicBezTo>
                    <a:pt x="7" y="6"/>
                    <a:pt x="5" y="1"/>
                    <a:pt x="1" y="0"/>
                  </a:cubicBezTo>
                  <a:cubicBezTo>
                    <a:pt x="0" y="8"/>
                    <a:pt x="1" y="14"/>
                    <a:pt x="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0" name="Freeform 92"/>
            <p:cNvSpPr>
              <a:spLocks/>
            </p:cNvSpPr>
            <p:nvPr userDrawn="1"/>
          </p:nvSpPr>
          <p:spPr bwMode="auto">
            <a:xfrm>
              <a:off x="2807462" y="4378963"/>
              <a:ext cx="45684" cy="115554"/>
            </a:xfrm>
            <a:custGeom>
              <a:avLst/>
              <a:gdLst>
                <a:gd name="T0" fmla="*/ 14 w 14"/>
                <a:gd name="T1" fmla="*/ 18 h 36"/>
                <a:gd name="T2" fmla="*/ 11 w 14"/>
                <a:gd name="T3" fmla="*/ 14 h 36"/>
                <a:gd name="T4" fmla="*/ 14 w 14"/>
                <a:gd name="T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36">
                  <a:moveTo>
                    <a:pt x="14" y="18"/>
                  </a:moveTo>
                  <a:cubicBezTo>
                    <a:pt x="11" y="19"/>
                    <a:pt x="12" y="15"/>
                    <a:pt x="11" y="14"/>
                  </a:cubicBezTo>
                  <a:cubicBezTo>
                    <a:pt x="0" y="0"/>
                    <a:pt x="4" y="36"/>
                    <a:pt x="1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1" name="Freeform 93"/>
            <p:cNvSpPr>
              <a:spLocks/>
            </p:cNvSpPr>
            <p:nvPr userDrawn="1"/>
          </p:nvSpPr>
          <p:spPr bwMode="auto">
            <a:xfrm>
              <a:off x="2923016" y="4439427"/>
              <a:ext cx="81963" cy="83306"/>
            </a:xfrm>
            <a:custGeom>
              <a:avLst/>
              <a:gdLst>
                <a:gd name="T0" fmla="*/ 18 w 26"/>
                <a:gd name="T1" fmla="*/ 21 h 26"/>
                <a:gd name="T2" fmla="*/ 24 w 26"/>
                <a:gd name="T3" fmla="*/ 2 h 26"/>
                <a:gd name="T4" fmla="*/ 8 w 26"/>
                <a:gd name="T5" fmla="*/ 17 h 26"/>
                <a:gd name="T6" fmla="*/ 18 w 26"/>
                <a:gd name="T7" fmla="*/ 2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6">
                  <a:moveTo>
                    <a:pt x="18" y="21"/>
                  </a:moveTo>
                  <a:cubicBezTo>
                    <a:pt x="14" y="7"/>
                    <a:pt x="26" y="14"/>
                    <a:pt x="24" y="2"/>
                  </a:cubicBezTo>
                  <a:cubicBezTo>
                    <a:pt x="15" y="0"/>
                    <a:pt x="0" y="9"/>
                    <a:pt x="8" y="17"/>
                  </a:cubicBezTo>
                  <a:cubicBezTo>
                    <a:pt x="10" y="6"/>
                    <a:pt x="12" y="26"/>
                    <a:pt x="18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2" name="Freeform 94"/>
            <p:cNvSpPr>
              <a:spLocks/>
            </p:cNvSpPr>
            <p:nvPr userDrawn="1"/>
          </p:nvSpPr>
          <p:spPr bwMode="auto">
            <a:xfrm>
              <a:off x="3252211" y="4446145"/>
              <a:ext cx="34935" cy="85994"/>
            </a:xfrm>
            <a:custGeom>
              <a:avLst/>
              <a:gdLst>
                <a:gd name="T0" fmla="*/ 11 w 11"/>
                <a:gd name="T1" fmla="*/ 23 h 27"/>
                <a:gd name="T2" fmla="*/ 3 w 11"/>
                <a:gd name="T3" fmla="*/ 0 h 27"/>
                <a:gd name="T4" fmla="*/ 11 w 11"/>
                <a:gd name="T5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7">
                  <a:moveTo>
                    <a:pt x="11" y="23"/>
                  </a:moveTo>
                  <a:cubicBezTo>
                    <a:pt x="10" y="13"/>
                    <a:pt x="7" y="6"/>
                    <a:pt x="3" y="0"/>
                  </a:cubicBezTo>
                  <a:cubicBezTo>
                    <a:pt x="1" y="4"/>
                    <a:pt x="0" y="27"/>
                    <a:pt x="1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3" name="Freeform 95"/>
            <p:cNvSpPr>
              <a:spLocks/>
            </p:cNvSpPr>
            <p:nvPr userDrawn="1"/>
          </p:nvSpPr>
          <p:spPr bwMode="auto">
            <a:xfrm>
              <a:off x="2827617" y="4483767"/>
              <a:ext cx="28217" cy="22842"/>
            </a:xfrm>
            <a:custGeom>
              <a:avLst/>
              <a:gdLst>
                <a:gd name="T0" fmla="*/ 3 w 9"/>
                <a:gd name="T1" fmla="*/ 0 h 7"/>
                <a:gd name="T2" fmla="*/ 0 w 9"/>
                <a:gd name="T3" fmla="*/ 7 h 7"/>
                <a:gd name="T4" fmla="*/ 8 w 9"/>
                <a:gd name="T5" fmla="*/ 0 h 7"/>
                <a:gd name="T6" fmla="*/ 3 w 9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3" y="0"/>
                  </a:moveTo>
                  <a:cubicBezTo>
                    <a:pt x="3" y="3"/>
                    <a:pt x="0" y="4"/>
                    <a:pt x="0" y="7"/>
                  </a:cubicBezTo>
                  <a:cubicBezTo>
                    <a:pt x="4" y="7"/>
                    <a:pt x="9" y="7"/>
                    <a:pt x="8" y="0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4" name="Freeform 96"/>
            <p:cNvSpPr>
              <a:spLocks/>
            </p:cNvSpPr>
            <p:nvPr userDrawn="1"/>
          </p:nvSpPr>
          <p:spPr bwMode="auto">
            <a:xfrm>
              <a:off x="3109784" y="4483767"/>
              <a:ext cx="47028" cy="69870"/>
            </a:xfrm>
            <a:custGeom>
              <a:avLst/>
              <a:gdLst>
                <a:gd name="T0" fmla="*/ 8 w 15"/>
                <a:gd name="T1" fmla="*/ 22 h 22"/>
                <a:gd name="T2" fmla="*/ 13 w 15"/>
                <a:gd name="T3" fmla="*/ 22 h 22"/>
                <a:gd name="T4" fmla="*/ 8 w 15"/>
                <a:gd name="T5" fmla="*/ 7 h 22"/>
                <a:gd name="T6" fmla="*/ 8 w 15"/>
                <a:gd name="T7" fmla="*/ 0 h 22"/>
                <a:gd name="T8" fmla="*/ 8 w 15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2">
                  <a:moveTo>
                    <a:pt x="8" y="22"/>
                  </a:moveTo>
                  <a:cubicBezTo>
                    <a:pt x="8" y="17"/>
                    <a:pt x="11" y="19"/>
                    <a:pt x="13" y="22"/>
                  </a:cubicBezTo>
                  <a:cubicBezTo>
                    <a:pt x="15" y="12"/>
                    <a:pt x="8" y="14"/>
                    <a:pt x="8" y="7"/>
                  </a:cubicBezTo>
                  <a:cubicBezTo>
                    <a:pt x="10" y="7"/>
                    <a:pt x="11" y="0"/>
                    <a:pt x="8" y="0"/>
                  </a:cubicBezTo>
                  <a:cubicBezTo>
                    <a:pt x="4" y="8"/>
                    <a:pt x="0" y="16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5" name="Freeform 97"/>
            <p:cNvSpPr>
              <a:spLocks/>
            </p:cNvSpPr>
            <p:nvPr userDrawn="1"/>
          </p:nvSpPr>
          <p:spPr bwMode="auto">
            <a:xfrm>
              <a:off x="3151437" y="4481080"/>
              <a:ext cx="24186" cy="44341"/>
            </a:xfrm>
            <a:custGeom>
              <a:avLst/>
              <a:gdLst>
                <a:gd name="T0" fmla="*/ 8 w 8"/>
                <a:gd name="T1" fmla="*/ 1 h 14"/>
                <a:gd name="T2" fmla="*/ 0 w 8"/>
                <a:gd name="T3" fmla="*/ 12 h 14"/>
                <a:gd name="T4" fmla="*/ 8 w 8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4">
                  <a:moveTo>
                    <a:pt x="8" y="1"/>
                  </a:moveTo>
                  <a:cubicBezTo>
                    <a:pt x="2" y="0"/>
                    <a:pt x="0" y="4"/>
                    <a:pt x="0" y="12"/>
                  </a:cubicBezTo>
                  <a:cubicBezTo>
                    <a:pt x="7" y="14"/>
                    <a:pt x="5" y="4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6" name="Freeform 98"/>
            <p:cNvSpPr>
              <a:spLocks/>
            </p:cNvSpPr>
            <p:nvPr userDrawn="1"/>
          </p:nvSpPr>
          <p:spPr bwMode="auto">
            <a:xfrm>
              <a:off x="3217276" y="4513328"/>
              <a:ext cx="25529" cy="69870"/>
            </a:xfrm>
            <a:custGeom>
              <a:avLst/>
              <a:gdLst>
                <a:gd name="T0" fmla="*/ 3 w 8"/>
                <a:gd name="T1" fmla="*/ 2 h 22"/>
                <a:gd name="T2" fmla="*/ 1 w 8"/>
                <a:gd name="T3" fmla="*/ 16 h 22"/>
                <a:gd name="T4" fmla="*/ 3 w 8"/>
                <a:gd name="T5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2">
                  <a:moveTo>
                    <a:pt x="3" y="2"/>
                  </a:moveTo>
                  <a:cubicBezTo>
                    <a:pt x="4" y="9"/>
                    <a:pt x="0" y="10"/>
                    <a:pt x="1" y="16"/>
                  </a:cubicBezTo>
                  <a:cubicBezTo>
                    <a:pt x="8" y="22"/>
                    <a:pt x="8" y="0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7" name="Freeform 99"/>
            <p:cNvSpPr>
              <a:spLocks/>
            </p:cNvSpPr>
            <p:nvPr userDrawn="1"/>
          </p:nvSpPr>
          <p:spPr bwMode="auto">
            <a:xfrm>
              <a:off x="3252211" y="4499891"/>
              <a:ext cx="16124" cy="67183"/>
            </a:xfrm>
            <a:custGeom>
              <a:avLst/>
              <a:gdLst>
                <a:gd name="T0" fmla="*/ 3 w 5"/>
                <a:gd name="T1" fmla="*/ 20 h 21"/>
                <a:gd name="T2" fmla="*/ 0 w 5"/>
                <a:gd name="T3" fmla="*/ 13 h 21"/>
                <a:gd name="T4" fmla="*/ 3 w 5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1">
                  <a:moveTo>
                    <a:pt x="3" y="20"/>
                  </a:moveTo>
                  <a:cubicBezTo>
                    <a:pt x="5" y="20"/>
                    <a:pt x="4" y="0"/>
                    <a:pt x="0" y="13"/>
                  </a:cubicBezTo>
                  <a:cubicBezTo>
                    <a:pt x="0" y="15"/>
                    <a:pt x="1" y="21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8" name="Freeform 100"/>
            <p:cNvSpPr>
              <a:spLocks/>
            </p:cNvSpPr>
            <p:nvPr userDrawn="1"/>
          </p:nvSpPr>
          <p:spPr bwMode="auto">
            <a:xfrm>
              <a:off x="2704001" y="4563043"/>
              <a:ext cx="40310" cy="102118"/>
            </a:xfrm>
            <a:custGeom>
              <a:avLst/>
              <a:gdLst>
                <a:gd name="T0" fmla="*/ 4 w 13"/>
                <a:gd name="T1" fmla="*/ 0 h 32"/>
                <a:gd name="T2" fmla="*/ 1 w 13"/>
                <a:gd name="T3" fmla="*/ 8 h 32"/>
                <a:gd name="T4" fmla="*/ 4 w 13"/>
                <a:gd name="T5" fmla="*/ 19 h 32"/>
                <a:gd name="T6" fmla="*/ 4 w 13"/>
                <a:gd name="T7" fmla="*/ 26 h 32"/>
                <a:gd name="T8" fmla="*/ 9 w 13"/>
                <a:gd name="T9" fmla="*/ 26 h 32"/>
                <a:gd name="T10" fmla="*/ 4 w 13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32">
                  <a:moveTo>
                    <a:pt x="4" y="0"/>
                  </a:moveTo>
                  <a:cubicBezTo>
                    <a:pt x="3" y="3"/>
                    <a:pt x="4" y="8"/>
                    <a:pt x="1" y="8"/>
                  </a:cubicBezTo>
                  <a:cubicBezTo>
                    <a:pt x="0" y="13"/>
                    <a:pt x="4" y="16"/>
                    <a:pt x="4" y="19"/>
                  </a:cubicBezTo>
                  <a:cubicBezTo>
                    <a:pt x="5" y="25"/>
                    <a:pt x="1" y="22"/>
                    <a:pt x="4" y="26"/>
                  </a:cubicBezTo>
                  <a:cubicBezTo>
                    <a:pt x="5" y="28"/>
                    <a:pt x="8" y="32"/>
                    <a:pt x="9" y="26"/>
                  </a:cubicBezTo>
                  <a:cubicBezTo>
                    <a:pt x="3" y="19"/>
                    <a:pt x="13" y="7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9" name="Freeform 101"/>
            <p:cNvSpPr>
              <a:spLocks/>
            </p:cNvSpPr>
            <p:nvPr userDrawn="1"/>
          </p:nvSpPr>
          <p:spPr bwMode="auto">
            <a:xfrm>
              <a:off x="3074849" y="4563043"/>
              <a:ext cx="16124" cy="25529"/>
            </a:xfrm>
            <a:custGeom>
              <a:avLst/>
              <a:gdLst>
                <a:gd name="T0" fmla="*/ 0 w 5"/>
                <a:gd name="T1" fmla="*/ 8 h 8"/>
                <a:gd name="T2" fmla="*/ 5 w 5"/>
                <a:gd name="T3" fmla="*/ 8 h 8"/>
                <a:gd name="T4" fmla="*/ 5 w 5"/>
                <a:gd name="T5" fmla="*/ 0 h 8"/>
                <a:gd name="T6" fmla="*/ 0 w 5"/>
                <a:gd name="T7" fmla="*/ 0 h 8"/>
                <a:gd name="T8" fmla="*/ 0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0" y="8"/>
                  </a:moveTo>
                  <a:cubicBezTo>
                    <a:pt x="2" y="8"/>
                    <a:pt x="3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0" name="Freeform 102"/>
            <p:cNvSpPr>
              <a:spLocks/>
            </p:cNvSpPr>
            <p:nvPr userDrawn="1"/>
          </p:nvSpPr>
          <p:spPr bwMode="auto">
            <a:xfrm>
              <a:off x="3335517" y="4563043"/>
              <a:ext cx="59121" cy="64495"/>
            </a:xfrm>
            <a:custGeom>
              <a:avLst/>
              <a:gdLst>
                <a:gd name="T0" fmla="*/ 12 w 19"/>
                <a:gd name="T1" fmla="*/ 0 h 20"/>
                <a:gd name="T2" fmla="*/ 4 w 19"/>
                <a:gd name="T3" fmla="*/ 15 h 20"/>
                <a:gd name="T4" fmla="*/ 12 w 19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20">
                  <a:moveTo>
                    <a:pt x="12" y="0"/>
                  </a:moveTo>
                  <a:cubicBezTo>
                    <a:pt x="11" y="8"/>
                    <a:pt x="0" y="1"/>
                    <a:pt x="4" y="15"/>
                  </a:cubicBezTo>
                  <a:cubicBezTo>
                    <a:pt x="12" y="20"/>
                    <a:pt x="19" y="5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1" name="Freeform 103"/>
            <p:cNvSpPr>
              <a:spLocks/>
            </p:cNvSpPr>
            <p:nvPr userDrawn="1"/>
          </p:nvSpPr>
          <p:spPr bwMode="auto">
            <a:xfrm>
              <a:off x="3240118" y="4588572"/>
              <a:ext cx="30904" cy="64495"/>
            </a:xfrm>
            <a:custGeom>
              <a:avLst/>
              <a:gdLst>
                <a:gd name="T0" fmla="*/ 4 w 10"/>
                <a:gd name="T1" fmla="*/ 0 h 20"/>
                <a:gd name="T2" fmla="*/ 10 w 10"/>
                <a:gd name="T3" fmla="*/ 11 h 20"/>
                <a:gd name="T4" fmla="*/ 4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4" y="0"/>
                  </a:moveTo>
                  <a:cubicBezTo>
                    <a:pt x="0" y="8"/>
                    <a:pt x="5" y="20"/>
                    <a:pt x="10" y="11"/>
                  </a:cubicBezTo>
                  <a:cubicBezTo>
                    <a:pt x="5" y="11"/>
                    <a:pt x="8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2" name="Freeform 104"/>
            <p:cNvSpPr>
              <a:spLocks/>
            </p:cNvSpPr>
            <p:nvPr userDrawn="1"/>
          </p:nvSpPr>
          <p:spPr bwMode="auto">
            <a:xfrm>
              <a:off x="2998261" y="4585885"/>
              <a:ext cx="60464" cy="47028"/>
            </a:xfrm>
            <a:custGeom>
              <a:avLst/>
              <a:gdLst>
                <a:gd name="T0" fmla="*/ 19 w 19"/>
                <a:gd name="T1" fmla="*/ 5 h 15"/>
                <a:gd name="T2" fmla="*/ 0 w 19"/>
                <a:gd name="T3" fmla="*/ 8 h 15"/>
                <a:gd name="T4" fmla="*/ 10 w 19"/>
                <a:gd name="T5" fmla="*/ 8 h 15"/>
                <a:gd name="T6" fmla="*/ 16 w 19"/>
                <a:gd name="T7" fmla="*/ 12 h 15"/>
                <a:gd name="T8" fmla="*/ 19 w 19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19" y="5"/>
                  </a:moveTo>
                  <a:cubicBezTo>
                    <a:pt x="13" y="7"/>
                    <a:pt x="1" y="0"/>
                    <a:pt x="0" y="8"/>
                  </a:cubicBezTo>
                  <a:cubicBezTo>
                    <a:pt x="3" y="15"/>
                    <a:pt x="7" y="9"/>
                    <a:pt x="10" y="8"/>
                  </a:cubicBezTo>
                  <a:cubicBezTo>
                    <a:pt x="11" y="8"/>
                    <a:pt x="12" y="14"/>
                    <a:pt x="16" y="12"/>
                  </a:cubicBezTo>
                  <a:cubicBezTo>
                    <a:pt x="17" y="11"/>
                    <a:pt x="17" y="5"/>
                    <a:pt x="19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3" name="Freeform 105"/>
            <p:cNvSpPr>
              <a:spLocks/>
            </p:cNvSpPr>
            <p:nvPr userDrawn="1"/>
          </p:nvSpPr>
          <p:spPr bwMode="auto">
            <a:xfrm>
              <a:off x="3284459" y="4604696"/>
              <a:ext cx="25529" cy="76588"/>
            </a:xfrm>
            <a:custGeom>
              <a:avLst/>
              <a:gdLst>
                <a:gd name="T0" fmla="*/ 1 w 8"/>
                <a:gd name="T1" fmla="*/ 6 h 24"/>
                <a:gd name="T2" fmla="*/ 1 w 8"/>
                <a:gd name="T3" fmla="*/ 21 h 24"/>
                <a:gd name="T4" fmla="*/ 4 w 8"/>
                <a:gd name="T5" fmla="*/ 6 h 24"/>
                <a:gd name="T6" fmla="*/ 6 w 8"/>
                <a:gd name="T7" fmla="*/ 2 h 24"/>
                <a:gd name="T8" fmla="*/ 1 w 8"/>
                <a:gd name="T9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4">
                  <a:moveTo>
                    <a:pt x="1" y="6"/>
                  </a:moveTo>
                  <a:cubicBezTo>
                    <a:pt x="1" y="8"/>
                    <a:pt x="0" y="19"/>
                    <a:pt x="1" y="21"/>
                  </a:cubicBezTo>
                  <a:cubicBezTo>
                    <a:pt x="3" y="24"/>
                    <a:pt x="4" y="9"/>
                    <a:pt x="4" y="6"/>
                  </a:cubicBezTo>
                  <a:cubicBezTo>
                    <a:pt x="4" y="6"/>
                    <a:pt x="8" y="5"/>
                    <a:pt x="6" y="2"/>
                  </a:cubicBezTo>
                  <a:cubicBezTo>
                    <a:pt x="5" y="0"/>
                    <a:pt x="1" y="5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4" name="Freeform 106"/>
            <p:cNvSpPr>
              <a:spLocks/>
            </p:cNvSpPr>
            <p:nvPr userDrawn="1"/>
          </p:nvSpPr>
          <p:spPr bwMode="auto">
            <a:xfrm>
              <a:off x="3131282" y="4623507"/>
              <a:ext cx="41653" cy="34935"/>
            </a:xfrm>
            <a:custGeom>
              <a:avLst/>
              <a:gdLst>
                <a:gd name="T0" fmla="*/ 3 w 13"/>
                <a:gd name="T1" fmla="*/ 11 h 11"/>
                <a:gd name="T2" fmla="*/ 9 w 13"/>
                <a:gd name="T3" fmla="*/ 11 h 11"/>
                <a:gd name="T4" fmla="*/ 1 w 13"/>
                <a:gd name="T5" fmla="*/ 7 h 11"/>
                <a:gd name="T6" fmla="*/ 3 w 13"/>
                <a:gd name="T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3" y="11"/>
                  </a:moveTo>
                  <a:cubicBezTo>
                    <a:pt x="5" y="11"/>
                    <a:pt x="7" y="11"/>
                    <a:pt x="9" y="11"/>
                  </a:cubicBezTo>
                  <a:cubicBezTo>
                    <a:pt x="13" y="2"/>
                    <a:pt x="0" y="0"/>
                    <a:pt x="1" y="7"/>
                  </a:cubicBezTo>
                  <a:cubicBezTo>
                    <a:pt x="2" y="8"/>
                    <a:pt x="4" y="8"/>
                    <a:pt x="3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5" name="Freeform 107"/>
            <p:cNvSpPr>
              <a:spLocks/>
            </p:cNvSpPr>
            <p:nvPr userDrawn="1"/>
          </p:nvSpPr>
          <p:spPr bwMode="auto">
            <a:xfrm>
              <a:off x="3433604" y="4636944"/>
              <a:ext cx="16124" cy="21498"/>
            </a:xfrm>
            <a:custGeom>
              <a:avLst/>
              <a:gdLst>
                <a:gd name="T0" fmla="*/ 0 w 5"/>
                <a:gd name="T1" fmla="*/ 7 h 7"/>
                <a:gd name="T2" fmla="*/ 5 w 5"/>
                <a:gd name="T3" fmla="*/ 7 h 7"/>
                <a:gd name="T4" fmla="*/ 5 w 5"/>
                <a:gd name="T5" fmla="*/ 0 h 7"/>
                <a:gd name="T6" fmla="*/ 0 w 5"/>
                <a:gd name="T7" fmla="*/ 0 h 7"/>
                <a:gd name="T8" fmla="*/ 0 w 5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0" y="7"/>
                  </a:moveTo>
                  <a:cubicBezTo>
                    <a:pt x="2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6" name="Freeform 108"/>
            <p:cNvSpPr>
              <a:spLocks/>
            </p:cNvSpPr>
            <p:nvPr userDrawn="1"/>
          </p:nvSpPr>
          <p:spPr bwMode="auto">
            <a:xfrm>
              <a:off x="2923016" y="4646349"/>
              <a:ext cx="49715" cy="95399"/>
            </a:xfrm>
            <a:custGeom>
              <a:avLst/>
              <a:gdLst>
                <a:gd name="T0" fmla="*/ 5 w 16"/>
                <a:gd name="T1" fmla="*/ 0 h 30"/>
                <a:gd name="T2" fmla="*/ 13 w 16"/>
                <a:gd name="T3" fmla="*/ 30 h 30"/>
                <a:gd name="T4" fmla="*/ 8 w 16"/>
                <a:gd name="T5" fmla="*/ 4 h 30"/>
                <a:gd name="T6" fmla="*/ 5 w 16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0">
                  <a:moveTo>
                    <a:pt x="5" y="0"/>
                  </a:moveTo>
                  <a:cubicBezTo>
                    <a:pt x="0" y="17"/>
                    <a:pt x="7" y="19"/>
                    <a:pt x="13" y="30"/>
                  </a:cubicBezTo>
                  <a:cubicBezTo>
                    <a:pt x="16" y="15"/>
                    <a:pt x="7" y="15"/>
                    <a:pt x="8" y="4"/>
                  </a:cubicBezTo>
                  <a:cubicBezTo>
                    <a:pt x="7" y="2"/>
                    <a:pt x="7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7" name="Freeform 109"/>
            <p:cNvSpPr>
              <a:spLocks/>
            </p:cNvSpPr>
            <p:nvPr userDrawn="1"/>
          </p:nvSpPr>
          <p:spPr bwMode="auto">
            <a:xfrm>
              <a:off x="3100378" y="4646349"/>
              <a:ext cx="16124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8" name="Freeform 110"/>
            <p:cNvSpPr>
              <a:spLocks/>
            </p:cNvSpPr>
            <p:nvPr userDrawn="1"/>
          </p:nvSpPr>
          <p:spPr bwMode="auto">
            <a:xfrm>
              <a:off x="3201152" y="4627538"/>
              <a:ext cx="34935" cy="65839"/>
            </a:xfrm>
            <a:custGeom>
              <a:avLst/>
              <a:gdLst>
                <a:gd name="T0" fmla="*/ 0 w 11"/>
                <a:gd name="T1" fmla="*/ 10 h 21"/>
                <a:gd name="T2" fmla="*/ 8 w 11"/>
                <a:gd name="T3" fmla="*/ 21 h 21"/>
                <a:gd name="T4" fmla="*/ 0 w 11"/>
                <a:gd name="T5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1">
                  <a:moveTo>
                    <a:pt x="0" y="10"/>
                  </a:moveTo>
                  <a:cubicBezTo>
                    <a:pt x="6" y="9"/>
                    <a:pt x="3" y="21"/>
                    <a:pt x="8" y="21"/>
                  </a:cubicBezTo>
                  <a:cubicBezTo>
                    <a:pt x="11" y="12"/>
                    <a:pt x="3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9" name="Freeform 111"/>
            <p:cNvSpPr>
              <a:spLocks/>
            </p:cNvSpPr>
            <p:nvPr userDrawn="1"/>
          </p:nvSpPr>
          <p:spPr bwMode="auto">
            <a:xfrm>
              <a:off x="2893456" y="4671879"/>
              <a:ext cx="18811" cy="44341"/>
            </a:xfrm>
            <a:custGeom>
              <a:avLst/>
              <a:gdLst>
                <a:gd name="T0" fmla="*/ 0 w 6"/>
                <a:gd name="T1" fmla="*/ 14 h 14"/>
                <a:gd name="T2" fmla="*/ 6 w 6"/>
                <a:gd name="T3" fmla="*/ 14 h 14"/>
                <a:gd name="T4" fmla="*/ 6 w 6"/>
                <a:gd name="T5" fmla="*/ 0 h 14"/>
                <a:gd name="T6" fmla="*/ 0 w 6"/>
                <a:gd name="T7" fmla="*/ 0 h 14"/>
                <a:gd name="T8" fmla="*/ 0 w 6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2" y="14"/>
                    <a:pt x="4" y="14"/>
                    <a:pt x="6" y="14"/>
                  </a:cubicBezTo>
                  <a:cubicBezTo>
                    <a:pt x="6" y="10"/>
                    <a:pt x="6" y="5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0" name="Freeform 112"/>
            <p:cNvSpPr>
              <a:spLocks/>
            </p:cNvSpPr>
            <p:nvPr userDrawn="1"/>
          </p:nvSpPr>
          <p:spPr bwMode="auto">
            <a:xfrm>
              <a:off x="3370452" y="4671879"/>
              <a:ext cx="21498" cy="44341"/>
            </a:xfrm>
            <a:custGeom>
              <a:avLst/>
              <a:gdLst>
                <a:gd name="T0" fmla="*/ 1 w 7"/>
                <a:gd name="T1" fmla="*/ 0 h 14"/>
                <a:gd name="T2" fmla="*/ 4 w 7"/>
                <a:gd name="T3" fmla="*/ 14 h 14"/>
                <a:gd name="T4" fmla="*/ 1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1" y="0"/>
                  </a:moveTo>
                  <a:cubicBezTo>
                    <a:pt x="1" y="5"/>
                    <a:pt x="0" y="13"/>
                    <a:pt x="4" y="14"/>
                  </a:cubicBezTo>
                  <a:cubicBezTo>
                    <a:pt x="7" y="10"/>
                    <a:pt x="7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1" name="Freeform 113"/>
            <p:cNvSpPr>
              <a:spLocks/>
            </p:cNvSpPr>
            <p:nvPr userDrawn="1"/>
          </p:nvSpPr>
          <p:spPr bwMode="auto">
            <a:xfrm>
              <a:off x="3280428" y="4681284"/>
              <a:ext cx="32248" cy="34935"/>
            </a:xfrm>
            <a:custGeom>
              <a:avLst/>
              <a:gdLst>
                <a:gd name="T0" fmla="*/ 5 w 10"/>
                <a:gd name="T1" fmla="*/ 0 h 11"/>
                <a:gd name="T2" fmla="*/ 5 w 10"/>
                <a:gd name="T3" fmla="*/ 11 h 11"/>
                <a:gd name="T4" fmla="*/ 5 w 10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5" y="0"/>
                  </a:moveTo>
                  <a:cubicBezTo>
                    <a:pt x="4" y="5"/>
                    <a:pt x="0" y="9"/>
                    <a:pt x="5" y="11"/>
                  </a:cubicBezTo>
                  <a:cubicBezTo>
                    <a:pt x="5" y="7"/>
                    <a:pt x="10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2" name="Freeform 114"/>
            <p:cNvSpPr>
              <a:spLocks/>
            </p:cNvSpPr>
            <p:nvPr userDrawn="1"/>
          </p:nvSpPr>
          <p:spPr bwMode="auto">
            <a:xfrm>
              <a:off x="3410762" y="4690690"/>
              <a:ext cx="29560" cy="79275"/>
            </a:xfrm>
            <a:custGeom>
              <a:avLst/>
              <a:gdLst>
                <a:gd name="T0" fmla="*/ 1 w 9"/>
                <a:gd name="T1" fmla="*/ 20 h 25"/>
                <a:gd name="T2" fmla="*/ 4 w 9"/>
                <a:gd name="T3" fmla="*/ 1 h 25"/>
                <a:gd name="T4" fmla="*/ 1 w 9"/>
                <a:gd name="T5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5">
                  <a:moveTo>
                    <a:pt x="1" y="20"/>
                  </a:moveTo>
                  <a:cubicBezTo>
                    <a:pt x="9" y="25"/>
                    <a:pt x="8" y="0"/>
                    <a:pt x="4" y="1"/>
                  </a:cubicBezTo>
                  <a:cubicBezTo>
                    <a:pt x="6" y="12"/>
                    <a:pt x="0" y="11"/>
                    <a:pt x="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3" name="Freeform 115"/>
            <p:cNvSpPr>
              <a:spLocks/>
            </p:cNvSpPr>
            <p:nvPr userDrawn="1"/>
          </p:nvSpPr>
          <p:spPr bwMode="auto">
            <a:xfrm>
              <a:off x="3468539" y="4712188"/>
              <a:ext cx="25529" cy="29560"/>
            </a:xfrm>
            <a:custGeom>
              <a:avLst/>
              <a:gdLst>
                <a:gd name="T0" fmla="*/ 0 w 8"/>
                <a:gd name="T1" fmla="*/ 1 h 9"/>
                <a:gd name="T2" fmla="*/ 0 w 8"/>
                <a:gd name="T3" fmla="*/ 9 h 9"/>
                <a:gd name="T4" fmla="*/ 8 w 8"/>
                <a:gd name="T5" fmla="*/ 9 h 9"/>
                <a:gd name="T6" fmla="*/ 0 w 8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5" y="9"/>
                    <a:pt x="8" y="9"/>
                  </a:cubicBezTo>
                  <a:cubicBezTo>
                    <a:pt x="8" y="2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4" name="Freeform 116"/>
            <p:cNvSpPr>
              <a:spLocks/>
            </p:cNvSpPr>
            <p:nvPr userDrawn="1"/>
          </p:nvSpPr>
          <p:spPr bwMode="auto">
            <a:xfrm>
              <a:off x="3135313" y="4737718"/>
              <a:ext cx="51059" cy="57777"/>
            </a:xfrm>
            <a:custGeom>
              <a:avLst/>
              <a:gdLst>
                <a:gd name="T0" fmla="*/ 0 w 16"/>
                <a:gd name="T1" fmla="*/ 8 h 18"/>
                <a:gd name="T2" fmla="*/ 13 w 16"/>
                <a:gd name="T3" fmla="*/ 16 h 18"/>
                <a:gd name="T4" fmla="*/ 16 w 16"/>
                <a:gd name="T5" fmla="*/ 5 h 18"/>
                <a:gd name="T6" fmla="*/ 0 w 16"/>
                <a:gd name="T7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8">
                  <a:moveTo>
                    <a:pt x="0" y="8"/>
                  </a:moveTo>
                  <a:cubicBezTo>
                    <a:pt x="8" y="6"/>
                    <a:pt x="5" y="18"/>
                    <a:pt x="13" y="16"/>
                  </a:cubicBezTo>
                  <a:cubicBezTo>
                    <a:pt x="13" y="11"/>
                    <a:pt x="14" y="8"/>
                    <a:pt x="16" y="5"/>
                  </a:cubicBezTo>
                  <a:cubicBezTo>
                    <a:pt x="11" y="7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5" name="Freeform 117"/>
            <p:cNvSpPr>
              <a:spLocks/>
            </p:cNvSpPr>
            <p:nvPr userDrawn="1"/>
          </p:nvSpPr>
          <p:spPr bwMode="auto">
            <a:xfrm>
              <a:off x="3379858" y="4776684"/>
              <a:ext cx="47028" cy="65839"/>
            </a:xfrm>
            <a:custGeom>
              <a:avLst/>
              <a:gdLst>
                <a:gd name="T0" fmla="*/ 3 w 15"/>
                <a:gd name="T1" fmla="*/ 0 h 21"/>
                <a:gd name="T2" fmla="*/ 3 w 15"/>
                <a:gd name="T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1">
                  <a:moveTo>
                    <a:pt x="3" y="0"/>
                  </a:moveTo>
                  <a:cubicBezTo>
                    <a:pt x="0" y="21"/>
                    <a:pt x="15" y="2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6" name="Freeform 118"/>
            <p:cNvSpPr>
              <a:spLocks/>
            </p:cNvSpPr>
            <p:nvPr userDrawn="1"/>
          </p:nvSpPr>
          <p:spPr bwMode="auto">
            <a:xfrm>
              <a:off x="3452415" y="4798182"/>
              <a:ext cx="32248" cy="79275"/>
            </a:xfrm>
            <a:custGeom>
              <a:avLst/>
              <a:gdLst>
                <a:gd name="T0" fmla="*/ 5 w 10"/>
                <a:gd name="T1" fmla="*/ 0 h 25"/>
                <a:gd name="T2" fmla="*/ 2 w 10"/>
                <a:gd name="T3" fmla="*/ 19 h 25"/>
                <a:gd name="T4" fmla="*/ 5 w 10"/>
                <a:gd name="T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5">
                  <a:moveTo>
                    <a:pt x="5" y="0"/>
                  </a:moveTo>
                  <a:cubicBezTo>
                    <a:pt x="6" y="9"/>
                    <a:pt x="0" y="8"/>
                    <a:pt x="2" y="19"/>
                  </a:cubicBezTo>
                  <a:cubicBezTo>
                    <a:pt x="10" y="25"/>
                    <a:pt x="9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7" name="Freeform 119"/>
            <p:cNvSpPr>
              <a:spLocks/>
            </p:cNvSpPr>
            <p:nvPr userDrawn="1"/>
          </p:nvSpPr>
          <p:spPr bwMode="auto">
            <a:xfrm>
              <a:off x="3357016" y="4807588"/>
              <a:ext cx="104805" cy="69870"/>
            </a:xfrm>
            <a:custGeom>
              <a:avLst/>
              <a:gdLst>
                <a:gd name="T0" fmla="*/ 2 w 33"/>
                <a:gd name="T1" fmla="*/ 5 h 22"/>
                <a:gd name="T2" fmla="*/ 16 w 33"/>
                <a:gd name="T3" fmla="*/ 12 h 22"/>
                <a:gd name="T4" fmla="*/ 24 w 33"/>
                <a:gd name="T5" fmla="*/ 20 h 22"/>
                <a:gd name="T6" fmla="*/ 2 w 33"/>
                <a:gd name="T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22">
                  <a:moveTo>
                    <a:pt x="2" y="5"/>
                  </a:moveTo>
                  <a:cubicBezTo>
                    <a:pt x="0" y="17"/>
                    <a:pt x="11" y="10"/>
                    <a:pt x="16" y="12"/>
                  </a:cubicBezTo>
                  <a:cubicBezTo>
                    <a:pt x="18" y="13"/>
                    <a:pt x="18" y="22"/>
                    <a:pt x="24" y="20"/>
                  </a:cubicBezTo>
                  <a:cubicBezTo>
                    <a:pt x="33" y="6"/>
                    <a:pt x="7" y="0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8" name="Freeform 120"/>
            <p:cNvSpPr>
              <a:spLocks/>
            </p:cNvSpPr>
            <p:nvPr userDrawn="1"/>
          </p:nvSpPr>
          <p:spPr bwMode="auto">
            <a:xfrm>
              <a:off x="3484663" y="4802213"/>
              <a:ext cx="84650" cy="107492"/>
            </a:xfrm>
            <a:custGeom>
              <a:avLst/>
              <a:gdLst>
                <a:gd name="T0" fmla="*/ 16 w 27"/>
                <a:gd name="T1" fmla="*/ 14 h 34"/>
                <a:gd name="T2" fmla="*/ 21 w 27"/>
                <a:gd name="T3" fmla="*/ 3 h 34"/>
                <a:gd name="T4" fmla="*/ 11 w 27"/>
                <a:gd name="T5" fmla="*/ 18 h 34"/>
                <a:gd name="T6" fmla="*/ 5 w 27"/>
                <a:gd name="T7" fmla="*/ 22 h 34"/>
                <a:gd name="T8" fmla="*/ 21 w 27"/>
                <a:gd name="T9" fmla="*/ 22 h 34"/>
                <a:gd name="T10" fmla="*/ 27 w 27"/>
                <a:gd name="T11" fmla="*/ 33 h 34"/>
                <a:gd name="T12" fmla="*/ 27 w 27"/>
                <a:gd name="T13" fmla="*/ 18 h 34"/>
                <a:gd name="T14" fmla="*/ 16 w 27"/>
                <a:gd name="T15" fmla="*/ 1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34">
                  <a:moveTo>
                    <a:pt x="16" y="14"/>
                  </a:moveTo>
                  <a:cubicBezTo>
                    <a:pt x="21" y="15"/>
                    <a:pt x="22" y="10"/>
                    <a:pt x="21" y="3"/>
                  </a:cubicBezTo>
                  <a:cubicBezTo>
                    <a:pt x="12" y="0"/>
                    <a:pt x="17" y="17"/>
                    <a:pt x="11" y="18"/>
                  </a:cubicBezTo>
                  <a:cubicBezTo>
                    <a:pt x="7" y="18"/>
                    <a:pt x="0" y="19"/>
                    <a:pt x="5" y="22"/>
                  </a:cubicBezTo>
                  <a:cubicBezTo>
                    <a:pt x="14" y="20"/>
                    <a:pt x="16" y="30"/>
                    <a:pt x="21" y="22"/>
                  </a:cubicBezTo>
                  <a:cubicBezTo>
                    <a:pt x="22" y="27"/>
                    <a:pt x="21" y="34"/>
                    <a:pt x="27" y="33"/>
                  </a:cubicBezTo>
                  <a:cubicBezTo>
                    <a:pt x="27" y="28"/>
                    <a:pt x="27" y="23"/>
                    <a:pt x="27" y="18"/>
                  </a:cubicBezTo>
                  <a:cubicBezTo>
                    <a:pt x="23" y="9"/>
                    <a:pt x="19" y="25"/>
                    <a:pt x="1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9" name="Freeform 121"/>
            <p:cNvSpPr>
              <a:spLocks/>
            </p:cNvSpPr>
            <p:nvPr userDrawn="1"/>
          </p:nvSpPr>
          <p:spPr bwMode="auto">
            <a:xfrm>
              <a:off x="3585437" y="4823711"/>
              <a:ext cx="34935" cy="53746"/>
            </a:xfrm>
            <a:custGeom>
              <a:avLst/>
              <a:gdLst>
                <a:gd name="T0" fmla="*/ 0 w 11"/>
                <a:gd name="T1" fmla="*/ 0 h 17"/>
                <a:gd name="T2" fmla="*/ 3 w 11"/>
                <a:gd name="T3" fmla="*/ 7 h 17"/>
                <a:gd name="T4" fmla="*/ 11 w 11"/>
                <a:gd name="T5" fmla="*/ 15 h 17"/>
                <a:gd name="T6" fmla="*/ 0 w 11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7">
                  <a:moveTo>
                    <a:pt x="0" y="0"/>
                  </a:moveTo>
                  <a:cubicBezTo>
                    <a:pt x="1" y="3"/>
                    <a:pt x="0" y="7"/>
                    <a:pt x="3" y="7"/>
                  </a:cubicBezTo>
                  <a:cubicBezTo>
                    <a:pt x="7" y="7"/>
                    <a:pt x="5" y="17"/>
                    <a:pt x="11" y="15"/>
                  </a:cubicBezTo>
                  <a:cubicBezTo>
                    <a:pt x="11" y="5"/>
                    <a:pt x="7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0" name="Freeform 122"/>
            <p:cNvSpPr>
              <a:spLocks/>
            </p:cNvSpPr>
            <p:nvPr userDrawn="1"/>
          </p:nvSpPr>
          <p:spPr bwMode="auto">
            <a:xfrm>
              <a:off x="3569313" y="4849241"/>
              <a:ext cx="41653" cy="57777"/>
            </a:xfrm>
            <a:custGeom>
              <a:avLst/>
              <a:gdLst>
                <a:gd name="T0" fmla="*/ 2 w 13"/>
                <a:gd name="T1" fmla="*/ 3 h 18"/>
                <a:gd name="T2" fmla="*/ 13 w 13"/>
                <a:gd name="T3" fmla="*/ 10 h 18"/>
                <a:gd name="T4" fmla="*/ 2 w 13"/>
                <a:gd name="T5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2" y="3"/>
                  </a:moveTo>
                  <a:cubicBezTo>
                    <a:pt x="0" y="11"/>
                    <a:pt x="12" y="18"/>
                    <a:pt x="13" y="10"/>
                  </a:cubicBezTo>
                  <a:cubicBezTo>
                    <a:pt x="8" y="10"/>
                    <a:pt x="10" y="0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1" name="Freeform 123"/>
            <p:cNvSpPr>
              <a:spLocks/>
            </p:cNvSpPr>
            <p:nvPr userDrawn="1"/>
          </p:nvSpPr>
          <p:spPr bwMode="auto">
            <a:xfrm>
              <a:off x="3692929" y="4881488"/>
              <a:ext cx="22842" cy="47028"/>
            </a:xfrm>
            <a:custGeom>
              <a:avLst/>
              <a:gdLst>
                <a:gd name="T0" fmla="*/ 1 w 7"/>
                <a:gd name="T1" fmla="*/ 0 h 15"/>
                <a:gd name="T2" fmla="*/ 4 w 7"/>
                <a:gd name="T3" fmla="*/ 15 h 15"/>
                <a:gd name="T4" fmla="*/ 1 w 7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5">
                  <a:moveTo>
                    <a:pt x="1" y="0"/>
                  </a:moveTo>
                  <a:cubicBezTo>
                    <a:pt x="2" y="6"/>
                    <a:pt x="0" y="14"/>
                    <a:pt x="4" y="15"/>
                  </a:cubicBezTo>
                  <a:cubicBezTo>
                    <a:pt x="7" y="10"/>
                    <a:pt x="7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2" name="Freeform 124"/>
            <p:cNvSpPr>
              <a:spLocks/>
            </p:cNvSpPr>
            <p:nvPr userDrawn="1"/>
          </p:nvSpPr>
          <p:spPr bwMode="auto">
            <a:xfrm>
              <a:off x="6318424" y="5769642"/>
              <a:ext cx="16124" cy="37622"/>
            </a:xfrm>
            <a:custGeom>
              <a:avLst/>
              <a:gdLst>
                <a:gd name="T0" fmla="*/ 0 w 5"/>
                <a:gd name="T1" fmla="*/ 1 h 12"/>
                <a:gd name="T2" fmla="*/ 0 w 5"/>
                <a:gd name="T3" fmla="*/ 9 h 12"/>
                <a:gd name="T4" fmla="*/ 5 w 5"/>
                <a:gd name="T5" fmla="*/ 12 h 12"/>
                <a:gd name="T6" fmla="*/ 0 w 5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2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3" y="12"/>
                    <a:pt x="5" y="12"/>
                  </a:cubicBezTo>
                  <a:cubicBezTo>
                    <a:pt x="5" y="7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3" name="Freeform 125"/>
            <p:cNvSpPr>
              <a:spLocks/>
            </p:cNvSpPr>
            <p:nvPr userDrawn="1"/>
          </p:nvSpPr>
          <p:spPr bwMode="auto">
            <a:xfrm>
              <a:off x="6753768" y="5832794"/>
              <a:ext cx="47028" cy="69870"/>
            </a:xfrm>
            <a:custGeom>
              <a:avLst/>
              <a:gdLst>
                <a:gd name="T0" fmla="*/ 2 w 15"/>
                <a:gd name="T1" fmla="*/ 0 h 22"/>
                <a:gd name="T2" fmla="*/ 2 w 15"/>
                <a:gd name="T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2">
                  <a:moveTo>
                    <a:pt x="2" y="0"/>
                  </a:moveTo>
                  <a:cubicBezTo>
                    <a:pt x="0" y="22"/>
                    <a:pt x="15" y="2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4" name="Freeform 126"/>
            <p:cNvSpPr>
              <a:spLocks/>
            </p:cNvSpPr>
            <p:nvPr userDrawn="1"/>
          </p:nvSpPr>
          <p:spPr bwMode="auto">
            <a:xfrm>
              <a:off x="7911995" y="5820701"/>
              <a:ext cx="47028" cy="126303"/>
            </a:xfrm>
            <a:custGeom>
              <a:avLst/>
              <a:gdLst>
                <a:gd name="T0" fmla="*/ 0 w 15"/>
                <a:gd name="T1" fmla="*/ 30 h 40"/>
                <a:gd name="T2" fmla="*/ 11 w 15"/>
                <a:gd name="T3" fmla="*/ 37 h 40"/>
                <a:gd name="T4" fmla="*/ 6 w 15"/>
                <a:gd name="T5" fmla="*/ 26 h 40"/>
                <a:gd name="T6" fmla="*/ 8 w 15"/>
                <a:gd name="T7" fmla="*/ 15 h 40"/>
                <a:gd name="T8" fmla="*/ 14 w 15"/>
                <a:gd name="T9" fmla="*/ 11 h 40"/>
                <a:gd name="T10" fmla="*/ 0 w 15"/>
                <a:gd name="T11" fmla="*/ 3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40">
                  <a:moveTo>
                    <a:pt x="0" y="30"/>
                  </a:moveTo>
                  <a:cubicBezTo>
                    <a:pt x="6" y="30"/>
                    <a:pt x="4" y="40"/>
                    <a:pt x="11" y="37"/>
                  </a:cubicBezTo>
                  <a:cubicBezTo>
                    <a:pt x="12" y="30"/>
                    <a:pt x="8" y="30"/>
                    <a:pt x="6" y="26"/>
                  </a:cubicBezTo>
                  <a:cubicBezTo>
                    <a:pt x="10" y="27"/>
                    <a:pt x="7" y="18"/>
                    <a:pt x="8" y="15"/>
                  </a:cubicBezTo>
                  <a:cubicBezTo>
                    <a:pt x="10" y="13"/>
                    <a:pt x="15" y="16"/>
                    <a:pt x="14" y="11"/>
                  </a:cubicBezTo>
                  <a:cubicBezTo>
                    <a:pt x="5" y="0"/>
                    <a:pt x="2" y="19"/>
                    <a:pt x="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5" name="Freeform 127"/>
            <p:cNvSpPr>
              <a:spLocks/>
            </p:cNvSpPr>
            <p:nvPr userDrawn="1"/>
          </p:nvSpPr>
          <p:spPr bwMode="auto">
            <a:xfrm>
              <a:off x="6912318" y="5846230"/>
              <a:ext cx="40310" cy="34935"/>
            </a:xfrm>
            <a:custGeom>
              <a:avLst/>
              <a:gdLst>
                <a:gd name="T0" fmla="*/ 1 w 13"/>
                <a:gd name="T1" fmla="*/ 7 h 11"/>
                <a:gd name="T2" fmla="*/ 3 w 13"/>
                <a:gd name="T3" fmla="*/ 11 h 11"/>
                <a:gd name="T4" fmla="*/ 9 w 13"/>
                <a:gd name="T5" fmla="*/ 11 h 11"/>
                <a:gd name="T6" fmla="*/ 1 w 13"/>
                <a:gd name="T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1" y="7"/>
                  </a:moveTo>
                  <a:cubicBezTo>
                    <a:pt x="2" y="7"/>
                    <a:pt x="4" y="7"/>
                    <a:pt x="3" y="11"/>
                  </a:cubicBezTo>
                  <a:cubicBezTo>
                    <a:pt x="5" y="11"/>
                    <a:pt x="7" y="11"/>
                    <a:pt x="9" y="11"/>
                  </a:cubicBezTo>
                  <a:cubicBezTo>
                    <a:pt x="13" y="2"/>
                    <a:pt x="0" y="0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6" name="Freeform 128"/>
            <p:cNvSpPr>
              <a:spLocks/>
            </p:cNvSpPr>
            <p:nvPr userDrawn="1"/>
          </p:nvSpPr>
          <p:spPr bwMode="auto">
            <a:xfrm>
              <a:off x="7280479" y="5839512"/>
              <a:ext cx="56433" cy="67183"/>
            </a:xfrm>
            <a:custGeom>
              <a:avLst/>
              <a:gdLst>
                <a:gd name="T0" fmla="*/ 0 w 18"/>
                <a:gd name="T1" fmla="*/ 13 h 21"/>
                <a:gd name="T2" fmla="*/ 14 w 18"/>
                <a:gd name="T3" fmla="*/ 20 h 21"/>
                <a:gd name="T4" fmla="*/ 0 w 18"/>
                <a:gd name="T5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cubicBezTo>
                    <a:pt x="6" y="14"/>
                    <a:pt x="7" y="21"/>
                    <a:pt x="14" y="20"/>
                  </a:cubicBezTo>
                  <a:cubicBezTo>
                    <a:pt x="18" y="4"/>
                    <a:pt x="2" y="0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7" name="Freeform 129"/>
            <p:cNvSpPr>
              <a:spLocks/>
            </p:cNvSpPr>
            <p:nvPr userDrawn="1"/>
          </p:nvSpPr>
          <p:spPr bwMode="auto">
            <a:xfrm>
              <a:off x="7365129" y="5855636"/>
              <a:ext cx="41653" cy="34935"/>
            </a:xfrm>
            <a:custGeom>
              <a:avLst/>
              <a:gdLst>
                <a:gd name="T0" fmla="*/ 0 w 13"/>
                <a:gd name="T1" fmla="*/ 8 h 11"/>
                <a:gd name="T2" fmla="*/ 6 w 13"/>
                <a:gd name="T3" fmla="*/ 11 h 11"/>
                <a:gd name="T4" fmla="*/ 0 w 13"/>
                <a:gd name="T5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8"/>
                  </a:moveTo>
                  <a:cubicBezTo>
                    <a:pt x="3" y="8"/>
                    <a:pt x="4" y="11"/>
                    <a:pt x="6" y="11"/>
                  </a:cubicBezTo>
                  <a:cubicBezTo>
                    <a:pt x="13" y="4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8" name="Freeform 130"/>
            <p:cNvSpPr>
              <a:spLocks/>
            </p:cNvSpPr>
            <p:nvPr userDrawn="1"/>
          </p:nvSpPr>
          <p:spPr bwMode="auto">
            <a:xfrm>
              <a:off x="8921078" y="1980544"/>
              <a:ext cx="72557" cy="142427"/>
            </a:xfrm>
            <a:custGeom>
              <a:avLst/>
              <a:gdLst>
                <a:gd name="T0" fmla="*/ 21 w 23"/>
                <a:gd name="T1" fmla="*/ 30 h 45"/>
                <a:gd name="T2" fmla="*/ 16 w 23"/>
                <a:gd name="T3" fmla="*/ 8 h 45"/>
                <a:gd name="T4" fmla="*/ 2 w 23"/>
                <a:gd name="T5" fmla="*/ 4 h 45"/>
                <a:gd name="T6" fmla="*/ 13 w 23"/>
                <a:gd name="T7" fmla="*/ 19 h 45"/>
                <a:gd name="T8" fmla="*/ 13 w 23"/>
                <a:gd name="T9" fmla="*/ 30 h 45"/>
                <a:gd name="T10" fmla="*/ 5 w 23"/>
                <a:gd name="T11" fmla="*/ 23 h 45"/>
                <a:gd name="T12" fmla="*/ 16 w 23"/>
                <a:gd name="T13" fmla="*/ 45 h 45"/>
                <a:gd name="T14" fmla="*/ 21 w 23"/>
                <a:gd name="T15" fmla="*/ 3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45">
                  <a:moveTo>
                    <a:pt x="21" y="30"/>
                  </a:moveTo>
                  <a:cubicBezTo>
                    <a:pt x="23" y="21"/>
                    <a:pt x="18" y="10"/>
                    <a:pt x="16" y="8"/>
                  </a:cubicBezTo>
                  <a:cubicBezTo>
                    <a:pt x="12" y="20"/>
                    <a:pt x="9" y="0"/>
                    <a:pt x="2" y="4"/>
                  </a:cubicBezTo>
                  <a:cubicBezTo>
                    <a:pt x="0" y="17"/>
                    <a:pt x="12" y="11"/>
                    <a:pt x="13" y="19"/>
                  </a:cubicBezTo>
                  <a:cubicBezTo>
                    <a:pt x="14" y="24"/>
                    <a:pt x="18" y="28"/>
                    <a:pt x="13" y="30"/>
                  </a:cubicBezTo>
                  <a:cubicBezTo>
                    <a:pt x="9" y="30"/>
                    <a:pt x="11" y="21"/>
                    <a:pt x="5" y="23"/>
                  </a:cubicBezTo>
                  <a:cubicBezTo>
                    <a:pt x="6" y="35"/>
                    <a:pt x="7" y="45"/>
                    <a:pt x="16" y="45"/>
                  </a:cubicBezTo>
                  <a:cubicBezTo>
                    <a:pt x="11" y="36"/>
                    <a:pt x="22" y="26"/>
                    <a:pt x="2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9" name="Freeform 131"/>
            <p:cNvSpPr>
              <a:spLocks/>
            </p:cNvSpPr>
            <p:nvPr userDrawn="1"/>
          </p:nvSpPr>
          <p:spPr bwMode="auto">
            <a:xfrm>
              <a:off x="2601884" y="2917069"/>
              <a:ext cx="72557" cy="154520"/>
            </a:xfrm>
            <a:custGeom>
              <a:avLst/>
              <a:gdLst>
                <a:gd name="T0" fmla="*/ 17 w 23"/>
                <a:gd name="T1" fmla="*/ 31 h 49"/>
                <a:gd name="T2" fmla="*/ 12 w 23"/>
                <a:gd name="T3" fmla="*/ 46 h 49"/>
                <a:gd name="T4" fmla="*/ 17 w 23"/>
                <a:gd name="T5" fmla="*/ 35 h 49"/>
                <a:gd name="T6" fmla="*/ 22 w 23"/>
                <a:gd name="T7" fmla="*/ 28 h 49"/>
                <a:gd name="T8" fmla="*/ 17 w 23"/>
                <a:gd name="T9" fmla="*/ 16 h 49"/>
                <a:gd name="T10" fmla="*/ 12 w 23"/>
                <a:gd name="T11" fmla="*/ 2 h 49"/>
                <a:gd name="T12" fmla="*/ 4 w 23"/>
                <a:gd name="T13" fmla="*/ 9 h 49"/>
                <a:gd name="T14" fmla="*/ 1 w 23"/>
                <a:gd name="T15" fmla="*/ 13 h 49"/>
                <a:gd name="T16" fmla="*/ 9 w 23"/>
                <a:gd name="T17" fmla="*/ 20 h 49"/>
                <a:gd name="T18" fmla="*/ 1 w 23"/>
                <a:gd name="T19" fmla="*/ 20 h 49"/>
                <a:gd name="T20" fmla="*/ 6 w 23"/>
                <a:gd name="T21" fmla="*/ 28 h 49"/>
                <a:gd name="T22" fmla="*/ 17 w 23"/>
                <a:gd name="T23" fmla="*/ 3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9">
                  <a:moveTo>
                    <a:pt x="17" y="31"/>
                  </a:moveTo>
                  <a:cubicBezTo>
                    <a:pt x="13" y="34"/>
                    <a:pt x="12" y="39"/>
                    <a:pt x="12" y="46"/>
                  </a:cubicBezTo>
                  <a:cubicBezTo>
                    <a:pt x="19" y="49"/>
                    <a:pt x="15" y="40"/>
                    <a:pt x="17" y="35"/>
                  </a:cubicBezTo>
                  <a:cubicBezTo>
                    <a:pt x="18" y="32"/>
                    <a:pt x="23" y="32"/>
                    <a:pt x="22" y="28"/>
                  </a:cubicBezTo>
                  <a:cubicBezTo>
                    <a:pt x="15" y="29"/>
                    <a:pt x="19" y="22"/>
                    <a:pt x="17" y="16"/>
                  </a:cubicBezTo>
                  <a:cubicBezTo>
                    <a:pt x="16" y="13"/>
                    <a:pt x="7" y="9"/>
                    <a:pt x="12" y="2"/>
                  </a:cubicBezTo>
                  <a:cubicBezTo>
                    <a:pt x="6" y="0"/>
                    <a:pt x="6" y="7"/>
                    <a:pt x="4" y="9"/>
                  </a:cubicBezTo>
                  <a:cubicBezTo>
                    <a:pt x="2" y="9"/>
                    <a:pt x="0" y="10"/>
                    <a:pt x="1" y="13"/>
                  </a:cubicBezTo>
                  <a:cubicBezTo>
                    <a:pt x="5" y="13"/>
                    <a:pt x="10" y="12"/>
                    <a:pt x="9" y="20"/>
                  </a:cubicBezTo>
                  <a:cubicBezTo>
                    <a:pt x="6" y="20"/>
                    <a:pt x="3" y="14"/>
                    <a:pt x="1" y="20"/>
                  </a:cubicBezTo>
                  <a:cubicBezTo>
                    <a:pt x="4" y="21"/>
                    <a:pt x="5" y="24"/>
                    <a:pt x="6" y="28"/>
                  </a:cubicBezTo>
                  <a:cubicBezTo>
                    <a:pt x="13" y="27"/>
                    <a:pt x="15" y="21"/>
                    <a:pt x="1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0" name="Freeform 132"/>
            <p:cNvSpPr>
              <a:spLocks/>
            </p:cNvSpPr>
            <p:nvPr userDrawn="1"/>
          </p:nvSpPr>
          <p:spPr bwMode="auto">
            <a:xfrm>
              <a:off x="4563615" y="1735999"/>
              <a:ext cx="37622" cy="47028"/>
            </a:xfrm>
            <a:custGeom>
              <a:avLst/>
              <a:gdLst>
                <a:gd name="T0" fmla="*/ 12 w 12"/>
                <a:gd name="T1" fmla="*/ 0 h 15"/>
                <a:gd name="T2" fmla="*/ 1 w 12"/>
                <a:gd name="T3" fmla="*/ 4 h 15"/>
                <a:gd name="T4" fmla="*/ 12 w 1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12" y="0"/>
                  </a:moveTo>
                  <a:cubicBezTo>
                    <a:pt x="7" y="3"/>
                    <a:pt x="0" y="1"/>
                    <a:pt x="1" y="4"/>
                  </a:cubicBezTo>
                  <a:cubicBezTo>
                    <a:pt x="3" y="6"/>
                    <a:pt x="12" y="15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1" name="Freeform 133"/>
            <p:cNvSpPr>
              <a:spLocks/>
            </p:cNvSpPr>
            <p:nvPr userDrawn="1"/>
          </p:nvSpPr>
          <p:spPr bwMode="auto">
            <a:xfrm>
              <a:off x="7891841" y="1729281"/>
              <a:ext cx="99430" cy="76588"/>
            </a:xfrm>
            <a:custGeom>
              <a:avLst/>
              <a:gdLst>
                <a:gd name="T0" fmla="*/ 28 w 31"/>
                <a:gd name="T1" fmla="*/ 17 h 24"/>
                <a:gd name="T2" fmla="*/ 28 w 31"/>
                <a:gd name="T3" fmla="*/ 2 h 24"/>
                <a:gd name="T4" fmla="*/ 20 w 31"/>
                <a:gd name="T5" fmla="*/ 13 h 24"/>
                <a:gd name="T6" fmla="*/ 12 w 31"/>
                <a:gd name="T7" fmla="*/ 2 h 24"/>
                <a:gd name="T8" fmla="*/ 1 w 31"/>
                <a:gd name="T9" fmla="*/ 6 h 24"/>
                <a:gd name="T10" fmla="*/ 4 w 31"/>
                <a:gd name="T11" fmla="*/ 21 h 24"/>
                <a:gd name="T12" fmla="*/ 28 w 31"/>
                <a:gd name="T13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4">
                  <a:moveTo>
                    <a:pt x="28" y="17"/>
                  </a:moveTo>
                  <a:cubicBezTo>
                    <a:pt x="28" y="12"/>
                    <a:pt x="28" y="7"/>
                    <a:pt x="28" y="2"/>
                  </a:cubicBezTo>
                  <a:cubicBezTo>
                    <a:pt x="17" y="0"/>
                    <a:pt x="31" y="12"/>
                    <a:pt x="20" y="13"/>
                  </a:cubicBezTo>
                  <a:cubicBezTo>
                    <a:pt x="17" y="10"/>
                    <a:pt x="19" y="0"/>
                    <a:pt x="12" y="2"/>
                  </a:cubicBezTo>
                  <a:cubicBezTo>
                    <a:pt x="12" y="24"/>
                    <a:pt x="11" y="1"/>
                    <a:pt x="1" y="6"/>
                  </a:cubicBezTo>
                  <a:cubicBezTo>
                    <a:pt x="0" y="13"/>
                    <a:pt x="4" y="14"/>
                    <a:pt x="4" y="21"/>
                  </a:cubicBezTo>
                  <a:cubicBezTo>
                    <a:pt x="16" y="17"/>
                    <a:pt x="20" y="11"/>
                    <a:pt x="2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2" name="Freeform 134"/>
            <p:cNvSpPr>
              <a:spLocks/>
            </p:cNvSpPr>
            <p:nvPr userDrawn="1"/>
          </p:nvSpPr>
          <p:spPr bwMode="auto">
            <a:xfrm>
              <a:off x="8168633" y="1726594"/>
              <a:ext cx="104805" cy="110179"/>
            </a:xfrm>
            <a:custGeom>
              <a:avLst/>
              <a:gdLst>
                <a:gd name="T0" fmla="*/ 5 w 33"/>
                <a:gd name="T1" fmla="*/ 18 h 35"/>
                <a:gd name="T2" fmla="*/ 32 w 33"/>
                <a:gd name="T3" fmla="*/ 10 h 35"/>
                <a:gd name="T4" fmla="*/ 24 w 33"/>
                <a:gd name="T5" fmla="*/ 18 h 35"/>
                <a:gd name="T6" fmla="*/ 0 w 33"/>
                <a:gd name="T7" fmla="*/ 7 h 35"/>
                <a:gd name="T8" fmla="*/ 5 w 33"/>
                <a:gd name="T9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5">
                  <a:moveTo>
                    <a:pt x="5" y="18"/>
                  </a:moveTo>
                  <a:cubicBezTo>
                    <a:pt x="10" y="7"/>
                    <a:pt x="33" y="35"/>
                    <a:pt x="32" y="10"/>
                  </a:cubicBezTo>
                  <a:cubicBezTo>
                    <a:pt x="27" y="9"/>
                    <a:pt x="27" y="15"/>
                    <a:pt x="24" y="18"/>
                  </a:cubicBezTo>
                  <a:cubicBezTo>
                    <a:pt x="17" y="9"/>
                    <a:pt x="4" y="0"/>
                    <a:pt x="0" y="7"/>
                  </a:cubicBezTo>
                  <a:cubicBezTo>
                    <a:pt x="5" y="7"/>
                    <a:pt x="2" y="17"/>
                    <a:pt x="5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3" name="Freeform 135"/>
            <p:cNvSpPr>
              <a:spLocks/>
            </p:cNvSpPr>
            <p:nvPr userDrawn="1"/>
          </p:nvSpPr>
          <p:spPr bwMode="auto">
            <a:xfrm>
              <a:off x="4878030" y="1748092"/>
              <a:ext cx="79275" cy="48371"/>
            </a:xfrm>
            <a:custGeom>
              <a:avLst/>
              <a:gdLst>
                <a:gd name="T0" fmla="*/ 18 w 25"/>
                <a:gd name="T1" fmla="*/ 3 h 15"/>
                <a:gd name="T2" fmla="*/ 5 w 25"/>
                <a:gd name="T3" fmla="*/ 0 h 15"/>
                <a:gd name="T4" fmla="*/ 13 w 25"/>
                <a:gd name="T5" fmla="*/ 11 h 15"/>
                <a:gd name="T6" fmla="*/ 18 w 25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5">
                  <a:moveTo>
                    <a:pt x="18" y="3"/>
                  </a:moveTo>
                  <a:cubicBezTo>
                    <a:pt x="16" y="14"/>
                    <a:pt x="9" y="0"/>
                    <a:pt x="5" y="0"/>
                  </a:cubicBezTo>
                  <a:cubicBezTo>
                    <a:pt x="0" y="13"/>
                    <a:pt x="14" y="2"/>
                    <a:pt x="13" y="11"/>
                  </a:cubicBezTo>
                  <a:cubicBezTo>
                    <a:pt x="18" y="15"/>
                    <a:pt x="25" y="5"/>
                    <a:pt x="1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4" name="Freeform 136"/>
            <p:cNvSpPr>
              <a:spLocks/>
            </p:cNvSpPr>
            <p:nvPr userDrawn="1"/>
          </p:nvSpPr>
          <p:spPr bwMode="auto">
            <a:xfrm>
              <a:off x="4804129" y="1773622"/>
              <a:ext cx="146458" cy="73901"/>
            </a:xfrm>
            <a:custGeom>
              <a:avLst/>
              <a:gdLst>
                <a:gd name="T0" fmla="*/ 3 w 46"/>
                <a:gd name="T1" fmla="*/ 18 h 23"/>
                <a:gd name="T2" fmla="*/ 14 w 46"/>
                <a:gd name="T3" fmla="*/ 18 h 23"/>
                <a:gd name="T4" fmla="*/ 33 w 46"/>
                <a:gd name="T5" fmla="*/ 15 h 23"/>
                <a:gd name="T6" fmla="*/ 33 w 46"/>
                <a:gd name="T7" fmla="*/ 14 h 23"/>
                <a:gd name="T8" fmla="*/ 33 w 46"/>
                <a:gd name="T9" fmla="*/ 15 h 23"/>
                <a:gd name="T10" fmla="*/ 44 w 46"/>
                <a:gd name="T11" fmla="*/ 14 h 23"/>
                <a:gd name="T12" fmla="*/ 36 w 46"/>
                <a:gd name="T13" fmla="*/ 3 h 23"/>
                <a:gd name="T14" fmla="*/ 3 w 46"/>
                <a:gd name="T15" fmla="*/ 7 h 23"/>
                <a:gd name="T16" fmla="*/ 3 w 46"/>
                <a:gd name="T17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23">
                  <a:moveTo>
                    <a:pt x="3" y="18"/>
                  </a:moveTo>
                  <a:cubicBezTo>
                    <a:pt x="11" y="16"/>
                    <a:pt x="11" y="13"/>
                    <a:pt x="14" y="18"/>
                  </a:cubicBezTo>
                  <a:cubicBezTo>
                    <a:pt x="17" y="23"/>
                    <a:pt x="30" y="17"/>
                    <a:pt x="33" y="15"/>
                  </a:cubicBezTo>
                  <a:cubicBezTo>
                    <a:pt x="32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5"/>
                  </a:cubicBezTo>
                  <a:cubicBezTo>
                    <a:pt x="34" y="17"/>
                    <a:pt x="46" y="22"/>
                    <a:pt x="44" y="14"/>
                  </a:cubicBezTo>
                  <a:cubicBezTo>
                    <a:pt x="41" y="10"/>
                    <a:pt x="34" y="13"/>
                    <a:pt x="36" y="3"/>
                  </a:cubicBezTo>
                  <a:cubicBezTo>
                    <a:pt x="29" y="14"/>
                    <a:pt x="7" y="0"/>
                    <a:pt x="3" y="7"/>
                  </a:cubicBezTo>
                  <a:cubicBezTo>
                    <a:pt x="16" y="8"/>
                    <a:pt x="0" y="8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5" name="Freeform 137"/>
            <p:cNvSpPr>
              <a:spLocks/>
            </p:cNvSpPr>
            <p:nvPr userDrawn="1"/>
          </p:nvSpPr>
          <p:spPr bwMode="auto">
            <a:xfrm>
              <a:off x="4953274" y="1726594"/>
              <a:ext cx="486402" cy="151833"/>
            </a:xfrm>
            <a:custGeom>
              <a:avLst/>
              <a:gdLst>
                <a:gd name="T0" fmla="*/ 7 w 153"/>
                <a:gd name="T1" fmla="*/ 25 h 48"/>
                <a:gd name="T2" fmla="*/ 13 w 153"/>
                <a:gd name="T3" fmla="*/ 22 h 48"/>
                <a:gd name="T4" fmla="*/ 32 w 153"/>
                <a:gd name="T5" fmla="*/ 29 h 48"/>
                <a:gd name="T6" fmla="*/ 37 w 153"/>
                <a:gd name="T7" fmla="*/ 33 h 48"/>
                <a:gd name="T8" fmla="*/ 37 w 153"/>
                <a:gd name="T9" fmla="*/ 36 h 48"/>
                <a:gd name="T10" fmla="*/ 69 w 153"/>
                <a:gd name="T11" fmla="*/ 40 h 48"/>
                <a:gd name="T12" fmla="*/ 94 w 153"/>
                <a:gd name="T13" fmla="*/ 40 h 48"/>
                <a:gd name="T14" fmla="*/ 104 w 153"/>
                <a:gd name="T15" fmla="*/ 36 h 48"/>
                <a:gd name="T16" fmla="*/ 115 w 153"/>
                <a:gd name="T17" fmla="*/ 36 h 48"/>
                <a:gd name="T18" fmla="*/ 115 w 153"/>
                <a:gd name="T19" fmla="*/ 33 h 48"/>
                <a:gd name="T20" fmla="*/ 123 w 153"/>
                <a:gd name="T21" fmla="*/ 36 h 48"/>
                <a:gd name="T22" fmla="*/ 115 w 153"/>
                <a:gd name="T23" fmla="*/ 40 h 48"/>
                <a:gd name="T24" fmla="*/ 131 w 153"/>
                <a:gd name="T25" fmla="*/ 36 h 48"/>
                <a:gd name="T26" fmla="*/ 139 w 153"/>
                <a:gd name="T27" fmla="*/ 40 h 48"/>
                <a:gd name="T28" fmla="*/ 150 w 153"/>
                <a:gd name="T29" fmla="*/ 40 h 48"/>
                <a:gd name="T30" fmla="*/ 153 w 153"/>
                <a:gd name="T31" fmla="*/ 33 h 48"/>
                <a:gd name="T32" fmla="*/ 142 w 153"/>
                <a:gd name="T33" fmla="*/ 33 h 48"/>
                <a:gd name="T34" fmla="*/ 145 w 153"/>
                <a:gd name="T35" fmla="*/ 22 h 48"/>
                <a:gd name="T36" fmla="*/ 126 w 153"/>
                <a:gd name="T37" fmla="*/ 33 h 48"/>
                <a:gd name="T38" fmla="*/ 131 w 153"/>
                <a:gd name="T39" fmla="*/ 18 h 48"/>
                <a:gd name="T40" fmla="*/ 118 w 153"/>
                <a:gd name="T41" fmla="*/ 22 h 48"/>
                <a:gd name="T42" fmla="*/ 118 w 153"/>
                <a:gd name="T43" fmla="*/ 25 h 48"/>
                <a:gd name="T44" fmla="*/ 112 w 153"/>
                <a:gd name="T45" fmla="*/ 18 h 48"/>
                <a:gd name="T46" fmla="*/ 107 w 153"/>
                <a:gd name="T47" fmla="*/ 25 h 48"/>
                <a:gd name="T48" fmla="*/ 104 w 153"/>
                <a:gd name="T49" fmla="*/ 18 h 48"/>
                <a:gd name="T50" fmla="*/ 102 w 153"/>
                <a:gd name="T51" fmla="*/ 25 h 48"/>
                <a:gd name="T52" fmla="*/ 102 w 153"/>
                <a:gd name="T53" fmla="*/ 18 h 48"/>
                <a:gd name="T54" fmla="*/ 88 w 153"/>
                <a:gd name="T55" fmla="*/ 29 h 48"/>
                <a:gd name="T56" fmla="*/ 91 w 153"/>
                <a:gd name="T57" fmla="*/ 10 h 48"/>
                <a:gd name="T58" fmla="*/ 72 w 153"/>
                <a:gd name="T59" fmla="*/ 18 h 48"/>
                <a:gd name="T60" fmla="*/ 75 w 153"/>
                <a:gd name="T61" fmla="*/ 18 h 48"/>
                <a:gd name="T62" fmla="*/ 83 w 153"/>
                <a:gd name="T63" fmla="*/ 14 h 48"/>
                <a:gd name="T64" fmla="*/ 85 w 153"/>
                <a:gd name="T65" fmla="*/ 25 h 48"/>
                <a:gd name="T66" fmla="*/ 32 w 153"/>
                <a:gd name="T67" fmla="*/ 25 h 48"/>
                <a:gd name="T68" fmla="*/ 24 w 153"/>
                <a:gd name="T69" fmla="*/ 18 h 48"/>
                <a:gd name="T70" fmla="*/ 21 w 153"/>
                <a:gd name="T71" fmla="*/ 10 h 48"/>
                <a:gd name="T72" fmla="*/ 13 w 153"/>
                <a:gd name="T73" fmla="*/ 18 h 48"/>
                <a:gd name="T74" fmla="*/ 7 w 153"/>
                <a:gd name="T75" fmla="*/ 2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3" h="48">
                  <a:moveTo>
                    <a:pt x="7" y="25"/>
                  </a:moveTo>
                  <a:cubicBezTo>
                    <a:pt x="8" y="22"/>
                    <a:pt x="10" y="21"/>
                    <a:pt x="13" y="22"/>
                  </a:cubicBezTo>
                  <a:cubicBezTo>
                    <a:pt x="12" y="34"/>
                    <a:pt x="27" y="35"/>
                    <a:pt x="32" y="29"/>
                  </a:cubicBezTo>
                  <a:cubicBezTo>
                    <a:pt x="29" y="39"/>
                    <a:pt x="37" y="33"/>
                    <a:pt x="37" y="33"/>
                  </a:cubicBezTo>
                  <a:cubicBezTo>
                    <a:pt x="37" y="33"/>
                    <a:pt x="37" y="36"/>
                    <a:pt x="37" y="36"/>
                  </a:cubicBezTo>
                  <a:cubicBezTo>
                    <a:pt x="46" y="38"/>
                    <a:pt x="64" y="39"/>
                    <a:pt x="69" y="40"/>
                  </a:cubicBezTo>
                  <a:cubicBezTo>
                    <a:pt x="84" y="43"/>
                    <a:pt x="84" y="41"/>
                    <a:pt x="94" y="40"/>
                  </a:cubicBezTo>
                  <a:cubicBezTo>
                    <a:pt x="99" y="39"/>
                    <a:pt x="101" y="40"/>
                    <a:pt x="104" y="36"/>
                  </a:cubicBezTo>
                  <a:cubicBezTo>
                    <a:pt x="106" y="35"/>
                    <a:pt x="113" y="37"/>
                    <a:pt x="115" y="36"/>
                  </a:cubicBezTo>
                  <a:cubicBezTo>
                    <a:pt x="115" y="36"/>
                    <a:pt x="115" y="33"/>
                    <a:pt x="115" y="33"/>
                  </a:cubicBezTo>
                  <a:cubicBezTo>
                    <a:pt x="116" y="31"/>
                    <a:pt x="124" y="34"/>
                    <a:pt x="123" y="36"/>
                  </a:cubicBezTo>
                  <a:cubicBezTo>
                    <a:pt x="120" y="37"/>
                    <a:pt x="115" y="36"/>
                    <a:pt x="115" y="40"/>
                  </a:cubicBezTo>
                  <a:cubicBezTo>
                    <a:pt x="121" y="48"/>
                    <a:pt x="126" y="39"/>
                    <a:pt x="131" y="36"/>
                  </a:cubicBezTo>
                  <a:cubicBezTo>
                    <a:pt x="136" y="43"/>
                    <a:pt x="136" y="36"/>
                    <a:pt x="139" y="40"/>
                  </a:cubicBezTo>
                  <a:cubicBezTo>
                    <a:pt x="141" y="43"/>
                    <a:pt x="148" y="38"/>
                    <a:pt x="150" y="40"/>
                  </a:cubicBezTo>
                  <a:cubicBezTo>
                    <a:pt x="151" y="37"/>
                    <a:pt x="150" y="33"/>
                    <a:pt x="153" y="33"/>
                  </a:cubicBezTo>
                  <a:cubicBezTo>
                    <a:pt x="148" y="26"/>
                    <a:pt x="149" y="33"/>
                    <a:pt x="142" y="33"/>
                  </a:cubicBezTo>
                  <a:cubicBezTo>
                    <a:pt x="137" y="24"/>
                    <a:pt x="143" y="29"/>
                    <a:pt x="145" y="22"/>
                  </a:cubicBezTo>
                  <a:cubicBezTo>
                    <a:pt x="135" y="18"/>
                    <a:pt x="130" y="40"/>
                    <a:pt x="126" y="33"/>
                  </a:cubicBezTo>
                  <a:cubicBezTo>
                    <a:pt x="122" y="21"/>
                    <a:pt x="134" y="30"/>
                    <a:pt x="131" y="18"/>
                  </a:cubicBezTo>
                  <a:cubicBezTo>
                    <a:pt x="123" y="19"/>
                    <a:pt x="121" y="15"/>
                    <a:pt x="118" y="22"/>
                  </a:cubicBezTo>
                  <a:cubicBezTo>
                    <a:pt x="118" y="22"/>
                    <a:pt x="122" y="24"/>
                    <a:pt x="118" y="25"/>
                  </a:cubicBezTo>
                  <a:cubicBezTo>
                    <a:pt x="118" y="25"/>
                    <a:pt x="114" y="17"/>
                    <a:pt x="112" y="18"/>
                  </a:cubicBezTo>
                  <a:cubicBezTo>
                    <a:pt x="111" y="18"/>
                    <a:pt x="112" y="30"/>
                    <a:pt x="107" y="25"/>
                  </a:cubicBezTo>
                  <a:cubicBezTo>
                    <a:pt x="106" y="22"/>
                    <a:pt x="107" y="18"/>
                    <a:pt x="104" y="18"/>
                  </a:cubicBezTo>
                  <a:cubicBezTo>
                    <a:pt x="104" y="20"/>
                    <a:pt x="104" y="26"/>
                    <a:pt x="102" y="25"/>
                  </a:cubicBezTo>
                  <a:cubicBezTo>
                    <a:pt x="101" y="25"/>
                    <a:pt x="102" y="18"/>
                    <a:pt x="102" y="18"/>
                  </a:cubicBezTo>
                  <a:cubicBezTo>
                    <a:pt x="96" y="14"/>
                    <a:pt x="96" y="25"/>
                    <a:pt x="88" y="29"/>
                  </a:cubicBezTo>
                  <a:cubicBezTo>
                    <a:pt x="89" y="25"/>
                    <a:pt x="99" y="15"/>
                    <a:pt x="91" y="10"/>
                  </a:cubicBezTo>
                  <a:cubicBezTo>
                    <a:pt x="87" y="22"/>
                    <a:pt x="73" y="0"/>
                    <a:pt x="72" y="18"/>
                  </a:cubicBezTo>
                  <a:cubicBezTo>
                    <a:pt x="75" y="19"/>
                    <a:pt x="78" y="22"/>
                    <a:pt x="75" y="18"/>
                  </a:cubicBezTo>
                  <a:cubicBezTo>
                    <a:pt x="75" y="14"/>
                    <a:pt x="79" y="14"/>
                    <a:pt x="83" y="14"/>
                  </a:cubicBezTo>
                  <a:cubicBezTo>
                    <a:pt x="83" y="19"/>
                    <a:pt x="84" y="22"/>
                    <a:pt x="85" y="25"/>
                  </a:cubicBezTo>
                  <a:cubicBezTo>
                    <a:pt x="61" y="26"/>
                    <a:pt x="50" y="22"/>
                    <a:pt x="32" y="25"/>
                  </a:cubicBezTo>
                  <a:cubicBezTo>
                    <a:pt x="28" y="24"/>
                    <a:pt x="27" y="19"/>
                    <a:pt x="24" y="18"/>
                  </a:cubicBezTo>
                  <a:cubicBezTo>
                    <a:pt x="23" y="24"/>
                    <a:pt x="20" y="18"/>
                    <a:pt x="21" y="10"/>
                  </a:cubicBezTo>
                  <a:cubicBezTo>
                    <a:pt x="16" y="9"/>
                    <a:pt x="16" y="15"/>
                    <a:pt x="13" y="18"/>
                  </a:cubicBezTo>
                  <a:cubicBezTo>
                    <a:pt x="14" y="8"/>
                    <a:pt x="0" y="26"/>
                    <a:pt x="7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6" name="Freeform 138"/>
            <p:cNvSpPr>
              <a:spLocks/>
            </p:cNvSpPr>
            <p:nvPr userDrawn="1"/>
          </p:nvSpPr>
          <p:spPr bwMode="auto">
            <a:xfrm>
              <a:off x="5439676" y="1792433"/>
              <a:ext cx="116898" cy="67183"/>
            </a:xfrm>
            <a:custGeom>
              <a:avLst/>
              <a:gdLst>
                <a:gd name="T0" fmla="*/ 24 w 37"/>
                <a:gd name="T1" fmla="*/ 15 h 21"/>
                <a:gd name="T2" fmla="*/ 35 w 37"/>
                <a:gd name="T3" fmla="*/ 19 h 21"/>
                <a:gd name="T4" fmla="*/ 37 w 37"/>
                <a:gd name="T5" fmla="*/ 4 h 21"/>
                <a:gd name="T6" fmla="*/ 16 w 37"/>
                <a:gd name="T7" fmla="*/ 12 h 21"/>
                <a:gd name="T8" fmla="*/ 10 w 37"/>
                <a:gd name="T9" fmla="*/ 8 h 21"/>
                <a:gd name="T10" fmla="*/ 8 w 37"/>
                <a:gd name="T11" fmla="*/ 12 h 21"/>
                <a:gd name="T12" fmla="*/ 0 w 37"/>
                <a:gd name="T13" fmla="*/ 12 h 21"/>
                <a:gd name="T14" fmla="*/ 0 w 37"/>
                <a:gd name="T15" fmla="*/ 19 h 21"/>
                <a:gd name="T16" fmla="*/ 24 w 37"/>
                <a:gd name="T1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21">
                  <a:moveTo>
                    <a:pt x="24" y="15"/>
                  </a:moveTo>
                  <a:cubicBezTo>
                    <a:pt x="28" y="16"/>
                    <a:pt x="29" y="21"/>
                    <a:pt x="35" y="19"/>
                  </a:cubicBezTo>
                  <a:cubicBezTo>
                    <a:pt x="34" y="13"/>
                    <a:pt x="35" y="8"/>
                    <a:pt x="37" y="4"/>
                  </a:cubicBezTo>
                  <a:cubicBezTo>
                    <a:pt x="27" y="0"/>
                    <a:pt x="22" y="10"/>
                    <a:pt x="16" y="12"/>
                  </a:cubicBezTo>
                  <a:cubicBezTo>
                    <a:pt x="13" y="12"/>
                    <a:pt x="13" y="8"/>
                    <a:pt x="10" y="8"/>
                  </a:cubicBezTo>
                  <a:cubicBezTo>
                    <a:pt x="11" y="8"/>
                    <a:pt x="9" y="11"/>
                    <a:pt x="8" y="12"/>
                  </a:cubicBezTo>
                  <a:cubicBezTo>
                    <a:pt x="7" y="12"/>
                    <a:pt x="0" y="12"/>
                    <a:pt x="0" y="12"/>
                  </a:cubicBezTo>
                  <a:cubicBezTo>
                    <a:pt x="0" y="12"/>
                    <a:pt x="0" y="19"/>
                    <a:pt x="0" y="19"/>
                  </a:cubicBezTo>
                  <a:cubicBezTo>
                    <a:pt x="7" y="19"/>
                    <a:pt x="15" y="14"/>
                    <a:pt x="2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7" name="Freeform 139"/>
            <p:cNvSpPr>
              <a:spLocks/>
            </p:cNvSpPr>
            <p:nvPr userDrawn="1"/>
          </p:nvSpPr>
          <p:spPr bwMode="auto">
            <a:xfrm>
              <a:off x="9003041" y="1796464"/>
              <a:ext cx="149145" cy="139740"/>
            </a:xfrm>
            <a:custGeom>
              <a:avLst/>
              <a:gdLst>
                <a:gd name="T0" fmla="*/ 36 w 47"/>
                <a:gd name="T1" fmla="*/ 11 h 44"/>
                <a:gd name="T2" fmla="*/ 36 w 47"/>
                <a:gd name="T3" fmla="*/ 3 h 44"/>
                <a:gd name="T4" fmla="*/ 25 w 47"/>
                <a:gd name="T5" fmla="*/ 0 h 44"/>
                <a:gd name="T6" fmla="*/ 22 w 47"/>
                <a:gd name="T7" fmla="*/ 18 h 44"/>
                <a:gd name="T8" fmla="*/ 9 w 47"/>
                <a:gd name="T9" fmla="*/ 18 h 44"/>
                <a:gd name="T10" fmla="*/ 6 w 47"/>
                <a:gd name="T11" fmla="*/ 18 h 44"/>
                <a:gd name="T12" fmla="*/ 14 w 47"/>
                <a:gd name="T13" fmla="*/ 44 h 44"/>
                <a:gd name="T14" fmla="*/ 19 w 47"/>
                <a:gd name="T15" fmla="*/ 26 h 44"/>
                <a:gd name="T16" fmla="*/ 30 w 47"/>
                <a:gd name="T17" fmla="*/ 29 h 44"/>
                <a:gd name="T18" fmla="*/ 46 w 47"/>
                <a:gd name="T19" fmla="*/ 18 h 44"/>
                <a:gd name="T20" fmla="*/ 36 w 47"/>
                <a:gd name="T21" fmla="*/ 1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44">
                  <a:moveTo>
                    <a:pt x="36" y="11"/>
                  </a:moveTo>
                  <a:cubicBezTo>
                    <a:pt x="35" y="9"/>
                    <a:pt x="36" y="4"/>
                    <a:pt x="36" y="3"/>
                  </a:cubicBezTo>
                  <a:cubicBezTo>
                    <a:pt x="33" y="0"/>
                    <a:pt x="26" y="5"/>
                    <a:pt x="25" y="0"/>
                  </a:cubicBezTo>
                  <a:cubicBezTo>
                    <a:pt x="17" y="6"/>
                    <a:pt x="28" y="18"/>
                    <a:pt x="22" y="18"/>
                  </a:cubicBezTo>
                  <a:cubicBezTo>
                    <a:pt x="22" y="10"/>
                    <a:pt x="15" y="23"/>
                    <a:pt x="9" y="18"/>
                  </a:cubicBezTo>
                  <a:cubicBezTo>
                    <a:pt x="9" y="16"/>
                    <a:pt x="7" y="14"/>
                    <a:pt x="6" y="18"/>
                  </a:cubicBezTo>
                  <a:cubicBezTo>
                    <a:pt x="18" y="21"/>
                    <a:pt x="0" y="42"/>
                    <a:pt x="14" y="44"/>
                  </a:cubicBezTo>
                  <a:cubicBezTo>
                    <a:pt x="19" y="44"/>
                    <a:pt x="9" y="25"/>
                    <a:pt x="19" y="26"/>
                  </a:cubicBezTo>
                  <a:cubicBezTo>
                    <a:pt x="20" y="31"/>
                    <a:pt x="26" y="29"/>
                    <a:pt x="30" y="29"/>
                  </a:cubicBezTo>
                  <a:cubicBezTo>
                    <a:pt x="26" y="14"/>
                    <a:pt x="47" y="29"/>
                    <a:pt x="46" y="18"/>
                  </a:cubicBezTo>
                  <a:cubicBezTo>
                    <a:pt x="44" y="16"/>
                    <a:pt x="36" y="15"/>
                    <a:pt x="3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8" name="Freeform 140"/>
            <p:cNvSpPr>
              <a:spLocks/>
            </p:cNvSpPr>
            <p:nvPr userDrawn="1"/>
          </p:nvSpPr>
          <p:spPr bwMode="auto">
            <a:xfrm>
              <a:off x="5772902" y="1805869"/>
              <a:ext cx="40310" cy="41653"/>
            </a:xfrm>
            <a:custGeom>
              <a:avLst/>
              <a:gdLst>
                <a:gd name="T0" fmla="*/ 13 w 13"/>
                <a:gd name="T1" fmla="*/ 4 h 13"/>
                <a:gd name="T2" fmla="*/ 0 w 13"/>
                <a:gd name="T3" fmla="*/ 4 h 13"/>
                <a:gd name="T4" fmla="*/ 13 w 13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13" y="4"/>
                  </a:moveTo>
                  <a:cubicBezTo>
                    <a:pt x="8" y="2"/>
                    <a:pt x="0" y="0"/>
                    <a:pt x="0" y="4"/>
                  </a:cubicBezTo>
                  <a:cubicBezTo>
                    <a:pt x="1" y="6"/>
                    <a:pt x="12" y="13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9" name="Freeform 141"/>
            <p:cNvSpPr>
              <a:spLocks/>
            </p:cNvSpPr>
            <p:nvPr userDrawn="1"/>
          </p:nvSpPr>
          <p:spPr bwMode="auto">
            <a:xfrm>
              <a:off x="8429301" y="1770934"/>
              <a:ext cx="30904" cy="104805"/>
            </a:xfrm>
            <a:custGeom>
              <a:avLst/>
              <a:gdLst>
                <a:gd name="T0" fmla="*/ 10 w 10"/>
                <a:gd name="T1" fmla="*/ 30 h 33"/>
                <a:gd name="T2" fmla="*/ 4 w 10"/>
                <a:gd name="T3" fmla="*/ 19 h 33"/>
                <a:gd name="T4" fmla="*/ 10 w 10"/>
                <a:gd name="T5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33">
                  <a:moveTo>
                    <a:pt x="10" y="30"/>
                  </a:moveTo>
                  <a:cubicBezTo>
                    <a:pt x="10" y="22"/>
                    <a:pt x="6" y="22"/>
                    <a:pt x="4" y="19"/>
                  </a:cubicBezTo>
                  <a:cubicBezTo>
                    <a:pt x="0" y="0"/>
                    <a:pt x="1" y="33"/>
                    <a:pt x="1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0" name="Freeform 142"/>
            <p:cNvSpPr>
              <a:spLocks/>
            </p:cNvSpPr>
            <p:nvPr userDrawn="1"/>
          </p:nvSpPr>
          <p:spPr bwMode="auto">
            <a:xfrm>
              <a:off x="8485735" y="1817962"/>
              <a:ext cx="25529" cy="67183"/>
            </a:xfrm>
            <a:custGeom>
              <a:avLst/>
              <a:gdLst>
                <a:gd name="T0" fmla="*/ 5 w 8"/>
                <a:gd name="T1" fmla="*/ 7 h 21"/>
                <a:gd name="T2" fmla="*/ 8 w 8"/>
                <a:gd name="T3" fmla="*/ 0 h 21"/>
                <a:gd name="T4" fmla="*/ 2 w 8"/>
                <a:gd name="T5" fmla="*/ 7 h 21"/>
                <a:gd name="T6" fmla="*/ 5 w 8"/>
                <a:gd name="T7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1">
                  <a:moveTo>
                    <a:pt x="5" y="7"/>
                  </a:moveTo>
                  <a:cubicBezTo>
                    <a:pt x="7" y="7"/>
                    <a:pt x="8" y="4"/>
                    <a:pt x="8" y="0"/>
                  </a:cubicBezTo>
                  <a:cubicBezTo>
                    <a:pt x="4" y="0"/>
                    <a:pt x="5" y="6"/>
                    <a:pt x="2" y="7"/>
                  </a:cubicBezTo>
                  <a:cubicBezTo>
                    <a:pt x="0" y="21"/>
                    <a:pt x="7" y="21"/>
                    <a:pt x="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1" name="Freeform 143"/>
            <p:cNvSpPr>
              <a:spLocks/>
            </p:cNvSpPr>
            <p:nvPr userDrawn="1"/>
          </p:nvSpPr>
          <p:spPr bwMode="auto">
            <a:xfrm>
              <a:off x="8651004" y="1817962"/>
              <a:ext cx="142427" cy="139740"/>
            </a:xfrm>
            <a:custGeom>
              <a:avLst/>
              <a:gdLst>
                <a:gd name="T0" fmla="*/ 9 w 45"/>
                <a:gd name="T1" fmla="*/ 37 h 44"/>
                <a:gd name="T2" fmla="*/ 20 w 45"/>
                <a:gd name="T3" fmla="*/ 33 h 44"/>
                <a:gd name="T4" fmla="*/ 17 w 45"/>
                <a:gd name="T5" fmla="*/ 30 h 44"/>
                <a:gd name="T6" fmla="*/ 31 w 45"/>
                <a:gd name="T7" fmla="*/ 30 h 44"/>
                <a:gd name="T8" fmla="*/ 36 w 45"/>
                <a:gd name="T9" fmla="*/ 44 h 44"/>
                <a:gd name="T10" fmla="*/ 36 w 45"/>
                <a:gd name="T11" fmla="*/ 0 h 44"/>
                <a:gd name="T12" fmla="*/ 17 w 45"/>
                <a:gd name="T13" fmla="*/ 22 h 44"/>
                <a:gd name="T14" fmla="*/ 1 w 45"/>
                <a:gd name="T15" fmla="*/ 19 h 44"/>
                <a:gd name="T16" fmla="*/ 9 w 45"/>
                <a:gd name="T17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44">
                  <a:moveTo>
                    <a:pt x="9" y="37"/>
                  </a:moveTo>
                  <a:cubicBezTo>
                    <a:pt x="10" y="24"/>
                    <a:pt x="21" y="44"/>
                    <a:pt x="20" y="33"/>
                  </a:cubicBezTo>
                  <a:cubicBezTo>
                    <a:pt x="19" y="33"/>
                    <a:pt x="17" y="33"/>
                    <a:pt x="17" y="30"/>
                  </a:cubicBezTo>
                  <a:cubicBezTo>
                    <a:pt x="20" y="19"/>
                    <a:pt x="26" y="32"/>
                    <a:pt x="31" y="30"/>
                  </a:cubicBezTo>
                  <a:cubicBezTo>
                    <a:pt x="30" y="38"/>
                    <a:pt x="32" y="43"/>
                    <a:pt x="36" y="44"/>
                  </a:cubicBezTo>
                  <a:cubicBezTo>
                    <a:pt x="29" y="30"/>
                    <a:pt x="45" y="15"/>
                    <a:pt x="36" y="0"/>
                  </a:cubicBezTo>
                  <a:cubicBezTo>
                    <a:pt x="26" y="1"/>
                    <a:pt x="24" y="15"/>
                    <a:pt x="17" y="22"/>
                  </a:cubicBezTo>
                  <a:cubicBezTo>
                    <a:pt x="8" y="21"/>
                    <a:pt x="11" y="12"/>
                    <a:pt x="1" y="19"/>
                  </a:cubicBezTo>
                  <a:cubicBezTo>
                    <a:pt x="0" y="30"/>
                    <a:pt x="5" y="34"/>
                    <a:pt x="9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2" name="Freeform 144"/>
            <p:cNvSpPr>
              <a:spLocks/>
            </p:cNvSpPr>
            <p:nvPr userDrawn="1"/>
          </p:nvSpPr>
          <p:spPr bwMode="auto">
            <a:xfrm>
              <a:off x="5568667" y="1917392"/>
              <a:ext cx="48371" cy="30904"/>
            </a:xfrm>
            <a:custGeom>
              <a:avLst/>
              <a:gdLst>
                <a:gd name="T0" fmla="*/ 10 w 15"/>
                <a:gd name="T1" fmla="*/ 6 h 10"/>
                <a:gd name="T2" fmla="*/ 15 w 15"/>
                <a:gd name="T3" fmla="*/ 10 h 10"/>
                <a:gd name="T4" fmla="*/ 10 w 15"/>
                <a:gd name="T5" fmla="*/ 2 h 10"/>
                <a:gd name="T6" fmla="*/ 10 w 15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0">
                  <a:moveTo>
                    <a:pt x="10" y="6"/>
                  </a:moveTo>
                  <a:cubicBezTo>
                    <a:pt x="10" y="9"/>
                    <a:pt x="12" y="10"/>
                    <a:pt x="15" y="10"/>
                  </a:cubicBezTo>
                  <a:cubicBezTo>
                    <a:pt x="15" y="5"/>
                    <a:pt x="10" y="6"/>
                    <a:pt x="10" y="2"/>
                  </a:cubicBezTo>
                  <a:cubicBezTo>
                    <a:pt x="0" y="0"/>
                    <a:pt x="0" y="9"/>
                    <a:pt x="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3" name="Freeform 145"/>
            <p:cNvSpPr>
              <a:spLocks/>
            </p:cNvSpPr>
            <p:nvPr userDrawn="1"/>
          </p:nvSpPr>
          <p:spPr bwMode="auto">
            <a:xfrm>
              <a:off x="6854541" y="1948296"/>
              <a:ext cx="92712" cy="158551"/>
            </a:xfrm>
            <a:custGeom>
              <a:avLst/>
              <a:gdLst>
                <a:gd name="T0" fmla="*/ 14 w 29"/>
                <a:gd name="T1" fmla="*/ 40 h 50"/>
                <a:gd name="T2" fmla="*/ 5 w 29"/>
                <a:gd name="T3" fmla="*/ 33 h 50"/>
                <a:gd name="T4" fmla="*/ 27 w 29"/>
                <a:gd name="T5" fmla="*/ 37 h 50"/>
                <a:gd name="T6" fmla="*/ 19 w 29"/>
                <a:gd name="T7" fmla="*/ 22 h 50"/>
                <a:gd name="T8" fmla="*/ 19 w 29"/>
                <a:gd name="T9" fmla="*/ 7 h 50"/>
                <a:gd name="T10" fmla="*/ 5 w 29"/>
                <a:gd name="T11" fmla="*/ 0 h 50"/>
                <a:gd name="T12" fmla="*/ 3 w 29"/>
                <a:gd name="T13" fmla="*/ 14 h 50"/>
                <a:gd name="T14" fmla="*/ 11 w 29"/>
                <a:gd name="T15" fmla="*/ 26 h 50"/>
                <a:gd name="T16" fmla="*/ 3 w 29"/>
                <a:gd name="T17" fmla="*/ 18 h 50"/>
                <a:gd name="T18" fmla="*/ 14 w 29"/>
                <a:gd name="T19" fmla="*/ 4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50">
                  <a:moveTo>
                    <a:pt x="14" y="40"/>
                  </a:moveTo>
                  <a:cubicBezTo>
                    <a:pt x="10" y="39"/>
                    <a:pt x="7" y="36"/>
                    <a:pt x="5" y="33"/>
                  </a:cubicBezTo>
                  <a:cubicBezTo>
                    <a:pt x="13" y="30"/>
                    <a:pt x="19" y="29"/>
                    <a:pt x="27" y="37"/>
                  </a:cubicBezTo>
                  <a:cubicBezTo>
                    <a:pt x="29" y="25"/>
                    <a:pt x="20" y="29"/>
                    <a:pt x="19" y="22"/>
                  </a:cubicBezTo>
                  <a:cubicBezTo>
                    <a:pt x="19" y="17"/>
                    <a:pt x="19" y="12"/>
                    <a:pt x="19" y="7"/>
                  </a:cubicBezTo>
                  <a:cubicBezTo>
                    <a:pt x="10" y="10"/>
                    <a:pt x="11" y="1"/>
                    <a:pt x="5" y="0"/>
                  </a:cubicBezTo>
                  <a:cubicBezTo>
                    <a:pt x="6" y="6"/>
                    <a:pt x="5" y="11"/>
                    <a:pt x="3" y="14"/>
                  </a:cubicBezTo>
                  <a:cubicBezTo>
                    <a:pt x="10" y="12"/>
                    <a:pt x="12" y="16"/>
                    <a:pt x="11" y="26"/>
                  </a:cubicBezTo>
                  <a:cubicBezTo>
                    <a:pt x="7" y="25"/>
                    <a:pt x="6" y="19"/>
                    <a:pt x="3" y="18"/>
                  </a:cubicBezTo>
                  <a:cubicBezTo>
                    <a:pt x="0" y="32"/>
                    <a:pt x="8" y="50"/>
                    <a:pt x="14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4" name="Freeform 146"/>
            <p:cNvSpPr>
              <a:spLocks/>
            </p:cNvSpPr>
            <p:nvPr userDrawn="1"/>
          </p:nvSpPr>
          <p:spPr bwMode="auto">
            <a:xfrm>
              <a:off x="6385607" y="1989949"/>
              <a:ext cx="56433" cy="47028"/>
            </a:xfrm>
            <a:custGeom>
              <a:avLst/>
              <a:gdLst>
                <a:gd name="T0" fmla="*/ 6 w 18"/>
                <a:gd name="T1" fmla="*/ 13 h 15"/>
                <a:gd name="T2" fmla="*/ 14 w 18"/>
                <a:gd name="T3" fmla="*/ 1 h 15"/>
                <a:gd name="T4" fmla="*/ 6 w 18"/>
                <a:gd name="T5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6" y="13"/>
                  </a:moveTo>
                  <a:cubicBezTo>
                    <a:pt x="4" y="4"/>
                    <a:pt x="18" y="15"/>
                    <a:pt x="14" y="1"/>
                  </a:cubicBezTo>
                  <a:cubicBezTo>
                    <a:pt x="8" y="0"/>
                    <a:pt x="0" y="11"/>
                    <a:pt x="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5" name="Freeform 147"/>
            <p:cNvSpPr>
              <a:spLocks/>
            </p:cNvSpPr>
            <p:nvPr userDrawn="1"/>
          </p:nvSpPr>
          <p:spPr bwMode="auto">
            <a:xfrm>
              <a:off x="7387971" y="2204934"/>
              <a:ext cx="47028" cy="48371"/>
            </a:xfrm>
            <a:custGeom>
              <a:avLst/>
              <a:gdLst>
                <a:gd name="T0" fmla="*/ 15 w 15"/>
                <a:gd name="T1" fmla="*/ 0 h 15"/>
                <a:gd name="T2" fmla="*/ 1 w 15"/>
                <a:gd name="T3" fmla="*/ 0 h 15"/>
                <a:gd name="T4" fmla="*/ 15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5" y="0"/>
                  </a:moveTo>
                  <a:cubicBezTo>
                    <a:pt x="8" y="0"/>
                    <a:pt x="7" y="7"/>
                    <a:pt x="1" y="0"/>
                  </a:cubicBezTo>
                  <a:cubicBezTo>
                    <a:pt x="0" y="15"/>
                    <a:pt x="14" y="5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6" name="Freeform 148"/>
            <p:cNvSpPr>
              <a:spLocks/>
            </p:cNvSpPr>
            <p:nvPr userDrawn="1"/>
          </p:nvSpPr>
          <p:spPr bwMode="auto">
            <a:xfrm>
              <a:off x="3808483" y="3544555"/>
              <a:ext cx="44341" cy="57777"/>
            </a:xfrm>
            <a:custGeom>
              <a:avLst/>
              <a:gdLst>
                <a:gd name="T0" fmla="*/ 11 w 14"/>
                <a:gd name="T1" fmla="*/ 3 h 18"/>
                <a:gd name="T2" fmla="*/ 13 w 14"/>
                <a:gd name="T3" fmla="*/ 0 h 18"/>
                <a:gd name="T4" fmla="*/ 0 w 14"/>
                <a:gd name="T5" fmla="*/ 14 h 18"/>
                <a:gd name="T6" fmla="*/ 11 w 14"/>
                <a:gd name="T7" fmla="*/ 18 h 18"/>
                <a:gd name="T8" fmla="*/ 11 w 14"/>
                <a:gd name="T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8">
                  <a:moveTo>
                    <a:pt x="11" y="3"/>
                  </a:moveTo>
                  <a:cubicBezTo>
                    <a:pt x="11" y="7"/>
                    <a:pt x="14" y="6"/>
                    <a:pt x="13" y="0"/>
                  </a:cubicBezTo>
                  <a:cubicBezTo>
                    <a:pt x="7" y="2"/>
                    <a:pt x="0" y="3"/>
                    <a:pt x="0" y="14"/>
                  </a:cubicBezTo>
                  <a:cubicBezTo>
                    <a:pt x="5" y="14"/>
                    <a:pt x="8" y="15"/>
                    <a:pt x="11" y="18"/>
                  </a:cubicBezTo>
                  <a:cubicBezTo>
                    <a:pt x="13" y="11"/>
                    <a:pt x="3" y="6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7" name="Freeform 149"/>
            <p:cNvSpPr>
              <a:spLocks/>
            </p:cNvSpPr>
            <p:nvPr userDrawn="1"/>
          </p:nvSpPr>
          <p:spPr bwMode="auto">
            <a:xfrm>
              <a:off x="2630100" y="3649360"/>
              <a:ext cx="79275" cy="48371"/>
            </a:xfrm>
            <a:custGeom>
              <a:avLst/>
              <a:gdLst>
                <a:gd name="T0" fmla="*/ 5 w 25"/>
                <a:gd name="T1" fmla="*/ 11 h 15"/>
                <a:gd name="T2" fmla="*/ 0 w 25"/>
                <a:gd name="T3" fmla="*/ 7 h 15"/>
                <a:gd name="T4" fmla="*/ 5 w 25"/>
                <a:gd name="T5" fmla="*/ 15 h 15"/>
                <a:gd name="T6" fmla="*/ 5 w 25"/>
                <a:gd name="T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5">
                  <a:moveTo>
                    <a:pt x="5" y="11"/>
                  </a:moveTo>
                  <a:cubicBezTo>
                    <a:pt x="4" y="10"/>
                    <a:pt x="2" y="0"/>
                    <a:pt x="0" y="7"/>
                  </a:cubicBezTo>
                  <a:cubicBezTo>
                    <a:pt x="3" y="8"/>
                    <a:pt x="4" y="11"/>
                    <a:pt x="5" y="15"/>
                  </a:cubicBezTo>
                  <a:cubicBezTo>
                    <a:pt x="25" y="12"/>
                    <a:pt x="12" y="15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8" name="Freeform 150"/>
            <p:cNvSpPr>
              <a:spLocks/>
            </p:cNvSpPr>
            <p:nvPr userDrawn="1"/>
          </p:nvSpPr>
          <p:spPr bwMode="auto">
            <a:xfrm>
              <a:off x="3074849" y="4150542"/>
              <a:ext cx="44341" cy="108836"/>
            </a:xfrm>
            <a:custGeom>
              <a:avLst/>
              <a:gdLst>
                <a:gd name="T0" fmla="*/ 5 w 14"/>
                <a:gd name="T1" fmla="*/ 27 h 34"/>
                <a:gd name="T2" fmla="*/ 2 w 14"/>
                <a:gd name="T3" fmla="*/ 19 h 34"/>
                <a:gd name="T4" fmla="*/ 11 w 14"/>
                <a:gd name="T5" fmla="*/ 19 h 34"/>
                <a:gd name="T6" fmla="*/ 8 w 14"/>
                <a:gd name="T7" fmla="*/ 1 h 34"/>
                <a:gd name="T8" fmla="*/ 2 w 14"/>
                <a:gd name="T9" fmla="*/ 5 h 34"/>
                <a:gd name="T10" fmla="*/ 0 w 14"/>
                <a:gd name="T11" fmla="*/ 23 h 34"/>
                <a:gd name="T12" fmla="*/ 5 w 14"/>
                <a:gd name="T1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34">
                  <a:moveTo>
                    <a:pt x="5" y="27"/>
                  </a:moveTo>
                  <a:cubicBezTo>
                    <a:pt x="5" y="23"/>
                    <a:pt x="3" y="22"/>
                    <a:pt x="2" y="19"/>
                  </a:cubicBezTo>
                  <a:cubicBezTo>
                    <a:pt x="5" y="19"/>
                    <a:pt x="8" y="19"/>
                    <a:pt x="11" y="19"/>
                  </a:cubicBezTo>
                  <a:cubicBezTo>
                    <a:pt x="9" y="14"/>
                    <a:pt x="14" y="0"/>
                    <a:pt x="8" y="1"/>
                  </a:cubicBezTo>
                  <a:cubicBezTo>
                    <a:pt x="7" y="4"/>
                    <a:pt x="6" y="5"/>
                    <a:pt x="2" y="5"/>
                  </a:cubicBezTo>
                  <a:cubicBezTo>
                    <a:pt x="3" y="13"/>
                    <a:pt x="2" y="19"/>
                    <a:pt x="0" y="23"/>
                  </a:cubicBezTo>
                  <a:cubicBezTo>
                    <a:pt x="4" y="23"/>
                    <a:pt x="3" y="34"/>
                    <a:pt x="5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9" name="Freeform 151"/>
            <p:cNvSpPr>
              <a:spLocks/>
            </p:cNvSpPr>
            <p:nvPr userDrawn="1"/>
          </p:nvSpPr>
          <p:spPr bwMode="auto">
            <a:xfrm>
              <a:off x="3096347" y="4173384"/>
              <a:ext cx="67183" cy="85994"/>
            </a:xfrm>
            <a:custGeom>
              <a:avLst/>
              <a:gdLst>
                <a:gd name="T0" fmla="*/ 12 w 21"/>
                <a:gd name="T1" fmla="*/ 1 h 27"/>
                <a:gd name="T2" fmla="*/ 6 w 21"/>
                <a:gd name="T3" fmla="*/ 9 h 27"/>
                <a:gd name="T4" fmla="*/ 6 w 21"/>
                <a:gd name="T5" fmla="*/ 16 h 27"/>
                <a:gd name="T6" fmla="*/ 1 w 21"/>
                <a:gd name="T7" fmla="*/ 20 h 27"/>
                <a:gd name="T8" fmla="*/ 9 w 21"/>
                <a:gd name="T9" fmla="*/ 16 h 27"/>
                <a:gd name="T10" fmla="*/ 20 w 21"/>
                <a:gd name="T11" fmla="*/ 16 h 27"/>
                <a:gd name="T12" fmla="*/ 12 w 21"/>
                <a:gd name="T13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7">
                  <a:moveTo>
                    <a:pt x="12" y="1"/>
                  </a:moveTo>
                  <a:cubicBezTo>
                    <a:pt x="14" y="9"/>
                    <a:pt x="8" y="6"/>
                    <a:pt x="6" y="9"/>
                  </a:cubicBezTo>
                  <a:cubicBezTo>
                    <a:pt x="5" y="10"/>
                    <a:pt x="7" y="15"/>
                    <a:pt x="6" y="16"/>
                  </a:cubicBezTo>
                  <a:cubicBezTo>
                    <a:pt x="5" y="18"/>
                    <a:pt x="0" y="15"/>
                    <a:pt x="1" y="20"/>
                  </a:cubicBezTo>
                  <a:cubicBezTo>
                    <a:pt x="7" y="27"/>
                    <a:pt x="4" y="19"/>
                    <a:pt x="9" y="16"/>
                  </a:cubicBezTo>
                  <a:cubicBezTo>
                    <a:pt x="13" y="16"/>
                    <a:pt x="16" y="16"/>
                    <a:pt x="20" y="16"/>
                  </a:cubicBezTo>
                  <a:cubicBezTo>
                    <a:pt x="21" y="7"/>
                    <a:pt x="19" y="0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0" name="Freeform 152"/>
            <p:cNvSpPr>
              <a:spLocks/>
            </p:cNvSpPr>
            <p:nvPr userDrawn="1"/>
          </p:nvSpPr>
          <p:spPr bwMode="auto">
            <a:xfrm>
              <a:off x="2874645" y="4319842"/>
              <a:ext cx="44341" cy="100774"/>
            </a:xfrm>
            <a:custGeom>
              <a:avLst/>
              <a:gdLst>
                <a:gd name="T0" fmla="*/ 12 w 14"/>
                <a:gd name="T1" fmla="*/ 3 h 32"/>
                <a:gd name="T2" fmla="*/ 6 w 14"/>
                <a:gd name="T3" fmla="*/ 18 h 32"/>
                <a:gd name="T4" fmla="*/ 9 w 14"/>
                <a:gd name="T5" fmla="*/ 15 h 32"/>
                <a:gd name="T6" fmla="*/ 12 w 14"/>
                <a:gd name="T7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2">
                  <a:moveTo>
                    <a:pt x="12" y="3"/>
                  </a:moveTo>
                  <a:cubicBezTo>
                    <a:pt x="5" y="0"/>
                    <a:pt x="0" y="16"/>
                    <a:pt x="6" y="18"/>
                  </a:cubicBezTo>
                  <a:cubicBezTo>
                    <a:pt x="7" y="16"/>
                    <a:pt x="7" y="14"/>
                    <a:pt x="9" y="15"/>
                  </a:cubicBezTo>
                  <a:cubicBezTo>
                    <a:pt x="14" y="32"/>
                    <a:pt x="7" y="7"/>
                    <a:pt x="1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1" name="Freeform 153"/>
            <p:cNvSpPr>
              <a:spLocks/>
            </p:cNvSpPr>
            <p:nvPr userDrawn="1"/>
          </p:nvSpPr>
          <p:spPr bwMode="auto">
            <a:xfrm>
              <a:off x="2767153" y="4376275"/>
              <a:ext cx="60464" cy="48371"/>
            </a:xfrm>
            <a:custGeom>
              <a:avLst/>
              <a:gdLst>
                <a:gd name="T0" fmla="*/ 5 w 19"/>
                <a:gd name="T1" fmla="*/ 11 h 15"/>
                <a:gd name="T2" fmla="*/ 0 w 19"/>
                <a:gd name="T3" fmla="*/ 15 h 15"/>
                <a:gd name="T4" fmla="*/ 11 w 19"/>
                <a:gd name="T5" fmla="*/ 15 h 15"/>
                <a:gd name="T6" fmla="*/ 16 w 19"/>
                <a:gd name="T7" fmla="*/ 0 h 15"/>
                <a:gd name="T8" fmla="*/ 5 w 19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5" y="11"/>
                  </a:moveTo>
                  <a:cubicBezTo>
                    <a:pt x="7" y="10"/>
                    <a:pt x="0" y="7"/>
                    <a:pt x="0" y="15"/>
                  </a:cubicBezTo>
                  <a:cubicBezTo>
                    <a:pt x="4" y="15"/>
                    <a:pt x="7" y="15"/>
                    <a:pt x="11" y="15"/>
                  </a:cubicBezTo>
                  <a:cubicBezTo>
                    <a:pt x="8" y="3"/>
                    <a:pt x="19" y="12"/>
                    <a:pt x="16" y="0"/>
                  </a:cubicBezTo>
                  <a:cubicBezTo>
                    <a:pt x="9" y="2"/>
                    <a:pt x="10" y="7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2" name="Freeform 154"/>
            <p:cNvSpPr>
              <a:spLocks/>
            </p:cNvSpPr>
            <p:nvPr userDrawn="1"/>
          </p:nvSpPr>
          <p:spPr bwMode="auto">
            <a:xfrm>
              <a:off x="2842397" y="4360151"/>
              <a:ext cx="92712" cy="155864"/>
            </a:xfrm>
            <a:custGeom>
              <a:avLst/>
              <a:gdLst>
                <a:gd name="T0" fmla="*/ 16 w 29"/>
                <a:gd name="T1" fmla="*/ 27 h 49"/>
                <a:gd name="T2" fmla="*/ 11 w 29"/>
                <a:gd name="T3" fmla="*/ 13 h 49"/>
                <a:gd name="T4" fmla="*/ 0 w 29"/>
                <a:gd name="T5" fmla="*/ 13 h 49"/>
                <a:gd name="T6" fmla="*/ 8 w 29"/>
                <a:gd name="T7" fmla="*/ 31 h 49"/>
                <a:gd name="T8" fmla="*/ 6 w 29"/>
                <a:gd name="T9" fmla="*/ 46 h 49"/>
                <a:gd name="T10" fmla="*/ 14 w 29"/>
                <a:gd name="T11" fmla="*/ 31 h 49"/>
                <a:gd name="T12" fmla="*/ 24 w 29"/>
                <a:gd name="T13" fmla="*/ 27 h 49"/>
                <a:gd name="T14" fmla="*/ 27 w 29"/>
                <a:gd name="T15" fmla="*/ 31 h 49"/>
                <a:gd name="T16" fmla="*/ 16 w 29"/>
                <a:gd name="T17" fmla="*/ 2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49">
                  <a:moveTo>
                    <a:pt x="16" y="27"/>
                  </a:moveTo>
                  <a:cubicBezTo>
                    <a:pt x="11" y="21"/>
                    <a:pt x="14" y="16"/>
                    <a:pt x="11" y="13"/>
                  </a:cubicBezTo>
                  <a:cubicBezTo>
                    <a:pt x="9" y="27"/>
                    <a:pt x="1" y="0"/>
                    <a:pt x="0" y="13"/>
                  </a:cubicBezTo>
                  <a:cubicBezTo>
                    <a:pt x="4" y="17"/>
                    <a:pt x="4" y="27"/>
                    <a:pt x="8" y="31"/>
                  </a:cubicBezTo>
                  <a:cubicBezTo>
                    <a:pt x="9" y="38"/>
                    <a:pt x="8" y="43"/>
                    <a:pt x="6" y="46"/>
                  </a:cubicBezTo>
                  <a:cubicBezTo>
                    <a:pt x="18" y="49"/>
                    <a:pt x="9" y="32"/>
                    <a:pt x="14" y="31"/>
                  </a:cubicBezTo>
                  <a:cubicBezTo>
                    <a:pt x="19" y="39"/>
                    <a:pt x="21" y="32"/>
                    <a:pt x="24" y="27"/>
                  </a:cubicBezTo>
                  <a:cubicBezTo>
                    <a:pt x="25" y="30"/>
                    <a:pt x="25" y="32"/>
                    <a:pt x="27" y="31"/>
                  </a:cubicBezTo>
                  <a:cubicBezTo>
                    <a:pt x="29" y="18"/>
                    <a:pt x="18" y="25"/>
                    <a:pt x="1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3" name="Freeform 155"/>
            <p:cNvSpPr>
              <a:spLocks/>
            </p:cNvSpPr>
            <p:nvPr userDrawn="1"/>
          </p:nvSpPr>
          <p:spPr bwMode="auto">
            <a:xfrm>
              <a:off x="3156812" y="4385681"/>
              <a:ext cx="57777" cy="216328"/>
            </a:xfrm>
            <a:custGeom>
              <a:avLst/>
              <a:gdLst>
                <a:gd name="T0" fmla="*/ 11 w 18"/>
                <a:gd name="T1" fmla="*/ 12 h 68"/>
                <a:gd name="T2" fmla="*/ 1 w 18"/>
                <a:gd name="T3" fmla="*/ 12 h 68"/>
                <a:gd name="T4" fmla="*/ 3 w 18"/>
                <a:gd name="T5" fmla="*/ 16 h 68"/>
                <a:gd name="T6" fmla="*/ 1 w 18"/>
                <a:gd name="T7" fmla="*/ 27 h 68"/>
                <a:gd name="T8" fmla="*/ 9 w 18"/>
                <a:gd name="T9" fmla="*/ 19 h 68"/>
                <a:gd name="T10" fmla="*/ 11 w 18"/>
                <a:gd name="T11" fmla="*/ 38 h 68"/>
                <a:gd name="T12" fmla="*/ 6 w 18"/>
                <a:gd name="T13" fmla="*/ 60 h 68"/>
                <a:gd name="T14" fmla="*/ 6 w 18"/>
                <a:gd name="T15" fmla="*/ 68 h 68"/>
                <a:gd name="T16" fmla="*/ 14 w 18"/>
                <a:gd name="T17" fmla="*/ 56 h 68"/>
                <a:gd name="T18" fmla="*/ 14 w 18"/>
                <a:gd name="T19" fmla="*/ 34 h 68"/>
                <a:gd name="T20" fmla="*/ 11 w 18"/>
                <a:gd name="T21" fmla="*/ 1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68">
                  <a:moveTo>
                    <a:pt x="11" y="12"/>
                  </a:moveTo>
                  <a:cubicBezTo>
                    <a:pt x="9" y="26"/>
                    <a:pt x="2" y="0"/>
                    <a:pt x="1" y="12"/>
                  </a:cubicBezTo>
                  <a:cubicBezTo>
                    <a:pt x="2" y="12"/>
                    <a:pt x="4" y="13"/>
                    <a:pt x="3" y="16"/>
                  </a:cubicBezTo>
                  <a:cubicBezTo>
                    <a:pt x="3" y="20"/>
                    <a:pt x="0" y="21"/>
                    <a:pt x="1" y="27"/>
                  </a:cubicBezTo>
                  <a:cubicBezTo>
                    <a:pt x="6" y="28"/>
                    <a:pt x="6" y="22"/>
                    <a:pt x="9" y="19"/>
                  </a:cubicBezTo>
                  <a:cubicBezTo>
                    <a:pt x="8" y="28"/>
                    <a:pt x="9" y="34"/>
                    <a:pt x="11" y="38"/>
                  </a:cubicBezTo>
                  <a:cubicBezTo>
                    <a:pt x="5" y="38"/>
                    <a:pt x="6" y="50"/>
                    <a:pt x="6" y="60"/>
                  </a:cubicBezTo>
                  <a:cubicBezTo>
                    <a:pt x="6" y="64"/>
                    <a:pt x="2" y="66"/>
                    <a:pt x="6" y="68"/>
                  </a:cubicBezTo>
                  <a:cubicBezTo>
                    <a:pt x="9" y="64"/>
                    <a:pt x="11" y="60"/>
                    <a:pt x="14" y="56"/>
                  </a:cubicBezTo>
                  <a:cubicBezTo>
                    <a:pt x="12" y="46"/>
                    <a:pt x="12" y="45"/>
                    <a:pt x="14" y="34"/>
                  </a:cubicBezTo>
                  <a:cubicBezTo>
                    <a:pt x="9" y="25"/>
                    <a:pt x="18" y="19"/>
                    <a:pt x="1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4" name="Freeform 156"/>
            <p:cNvSpPr>
              <a:spLocks/>
            </p:cNvSpPr>
            <p:nvPr userDrawn="1"/>
          </p:nvSpPr>
          <p:spPr bwMode="auto">
            <a:xfrm>
              <a:off x="2709376" y="4439427"/>
              <a:ext cx="57777" cy="118241"/>
            </a:xfrm>
            <a:custGeom>
              <a:avLst/>
              <a:gdLst>
                <a:gd name="T0" fmla="*/ 7 w 18"/>
                <a:gd name="T1" fmla="*/ 2 h 37"/>
                <a:gd name="T2" fmla="*/ 2 w 18"/>
                <a:gd name="T3" fmla="*/ 17 h 37"/>
                <a:gd name="T4" fmla="*/ 10 w 18"/>
                <a:gd name="T5" fmla="*/ 32 h 37"/>
                <a:gd name="T6" fmla="*/ 13 w 18"/>
                <a:gd name="T7" fmla="*/ 36 h 37"/>
                <a:gd name="T8" fmla="*/ 15 w 18"/>
                <a:gd name="T9" fmla="*/ 17 h 37"/>
                <a:gd name="T10" fmla="*/ 15 w 18"/>
                <a:gd name="T11" fmla="*/ 10 h 37"/>
                <a:gd name="T12" fmla="*/ 18 w 18"/>
                <a:gd name="T13" fmla="*/ 10 h 37"/>
                <a:gd name="T14" fmla="*/ 7 w 18"/>
                <a:gd name="T15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37">
                  <a:moveTo>
                    <a:pt x="7" y="2"/>
                  </a:moveTo>
                  <a:cubicBezTo>
                    <a:pt x="11" y="12"/>
                    <a:pt x="11" y="28"/>
                    <a:pt x="2" y="17"/>
                  </a:cubicBezTo>
                  <a:cubicBezTo>
                    <a:pt x="0" y="29"/>
                    <a:pt x="11" y="22"/>
                    <a:pt x="10" y="32"/>
                  </a:cubicBezTo>
                  <a:cubicBezTo>
                    <a:pt x="7" y="32"/>
                    <a:pt x="8" y="37"/>
                    <a:pt x="13" y="36"/>
                  </a:cubicBezTo>
                  <a:cubicBezTo>
                    <a:pt x="12" y="27"/>
                    <a:pt x="13" y="21"/>
                    <a:pt x="15" y="17"/>
                  </a:cubicBezTo>
                  <a:cubicBezTo>
                    <a:pt x="13" y="17"/>
                    <a:pt x="12" y="11"/>
                    <a:pt x="15" y="10"/>
                  </a:cubicBezTo>
                  <a:cubicBezTo>
                    <a:pt x="15" y="12"/>
                    <a:pt x="18" y="14"/>
                    <a:pt x="18" y="10"/>
                  </a:cubicBezTo>
                  <a:cubicBezTo>
                    <a:pt x="13" y="10"/>
                    <a:pt x="15" y="0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5" name="Freeform 157"/>
            <p:cNvSpPr>
              <a:spLocks/>
            </p:cNvSpPr>
            <p:nvPr userDrawn="1"/>
          </p:nvSpPr>
          <p:spPr bwMode="auto">
            <a:xfrm>
              <a:off x="3214589" y="4446145"/>
              <a:ext cx="30904" cy="60464"/>
            </a:xfrm>
            <a:custGeom>
              <a:avLst/>
              <a:gdLst>
                <a:gd name="T0" fmla="*/ 10 w 10"/>
                <a:gd name="T1" fmla="*/ 15 h 19"/>
                <a:gd name="T2" fmla="*/ 2 w 10"/>
                <a:gd name="T3" fmla="*/ 0 h 19"/>
                <a:gd name="T4" fmla="*/ 2 w 10"/>
                <a:gd name="T5" fmla="*/ 19 h 19"/>
                <a:gd name="T6" fmla="*/ 7 w 10"/>
                <a:gd name="T7" fmla="*/ 19 h 19"/>
                <a:gd name="T8" fmla="*/ 10 w 10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9">
                  <a:moveTo>
                    <a:pt x="10" y="15"/>
                  </a:moveTo>
                  <a:cubicBezTo>
                    <a:pt x="2" y="17"/>
                    <a:pt x="7" y="1"/>
                    <a:pt x="2" y="0"/>
                  </a:cubicBezTo>
                  <a:cubicBezTo>
                    <a:pt x="0" y="12"/>
                    <a:pt x="7" y="12"/>
                    <a:pt x="2" y="19"/>
                  </a:cubicBezTo>
                  <a:cubicBezTo>
                    <a:pt x="3" y="19"/>
                    <a:pt x="5" y="19"/>
                    <a:pt x="7" y="19"/>
                  </a:cubicBezTo>
                  <a:cubicBezTo>
                    <a:pt x="9" y="19"/>
                    <a:pt x="10" y="18"/>
                    <a:pt x="1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6" name="Freeform 158"/>
            <p:cNvSpPr>
              <a:spLocks/>
            </p:cNvSpPr>
            <p:nvPr userDrawn="1"/>
          </p:nvSpPr>
          <p:spPr bwMode="auto">
            <a:xfrm>
              <a:off x="2998261" y="4427334"/>
              <a:ext cx="92712" cy="100774"/>
            </a:xfrm>
            <a:custGeom>
              <a:avLst/>
              <a:gdLst>
                <a:gd name="T0" fmla="*/ 21 w 29"/>
                <a:gd name="T1" fmla="*/ 25 h 32"/>
                <a:gd name="T2" fmla="*/ 2 w 29"/>
                <a:gd name="T3" fmla="*/ 14 h 32"/>
                <a:gd name="T4" fmla="*/ 5 w 29"/>
                <a:gd name="T5" fmla="*/ 21 h 32"/>
                <a:gd name="T6" fmla="*/ 0 w 29"/>
                <a:gd name="T7" fmla="*/ 25 h 32"/>
                <a:gd name="T8" fmla="*/ 13 w 29"/>
                <a:gd name="T9" fmla="*/ 18 h 32"/>
                <a:gd name="T10" fmla="*/ 16 w 29"/>
                <a:gd name="T11" fmla="*/ 32 h 32"/>
                <a:gd name="T12" fmla="*/ 29 w 29"/>
                <a:gd name="T13" fmla="*/ 32 h 32"/>
                <a:gd name="T14" fmla="*/ 29 w 29"/>
                <a:gd name="T15" fmla="*/ 14 h 32"/>
                <a:gd name="T16" fmla="*/ 19 w 29"/>
                <a:gd name="T17" fmla="*/ 10 h 32"/>
                <a:gd name="T18" fmla="*/ 21 w 29"/>
                <a:gd name="T19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2">
                  <a:moveTo>
                    <a:pt x="21" y="25"/>
                  </a:moveTo>
                  <a:cubicBezTo>
                    <a:pt x="15" y="24"/>
                    <a:pt x="11" y="0"/>
                    <a:pt x="2" y="14"/>
                  </a:cubicBezTo>
                  <a:cubicBezTo>
                    <a:pt x="4" y="15"/>
                    <a:pt x="5" y="17"/>
                    <a:pt x="5" y="21"/>
                  </a:cubicBezTo>
                  <a:cubicBezTo>
                    <a:pt x="3" y="22"/>
                    <a:pt x="0" y="21"/>
                    <a:pt x="0" y="25"/>
                  </a:cubicBezTo>
                  <a:cubicBezTo>
                    <a:pt x="9" y="21"/>
                    <a:pt x="8" y="26"/>
                    <a:pt x="13" y="18"/>
                  </a:cubicBezTo>
                  <a:cubicBezTo>
                    <a:pt x="13" y="24"/>
                    <a:pt x="14" y="29"/>
                    <a:pt x="16" y="32"/>
                  </a:cubicBezTo>
                  <a:cubicBezTo>
                    <a:pt x="22" y="32"/>
                    <a:pt x="24" y="25"/>
                    <a:pt x="29" y="32"/>
                  </a:cubicBezTo>
                  <a:cubicBezTo>
                    <a:pt x="29" y="26"/>
                    <a:pt x="29" y="20"/>
                    <a:pt x="29" y="14"/>
                  </a:cubicBezTo>
                  <a:cubicBezTo>
                    <a:pt x="25" y="14"/>
                    <a:pt x="21" y="13"/>
                    <a:pt x="19" y="10"/>
                  </a:cubicBezTo>
                  <a:cubicBezTo>
                    <a:pt x="15" y="19"/>
                    <a:pt x="29" y="22"/>
                    <a:pt x="21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7" name="Freeform 159"/>
            <p:cNvSpPr>
              <a:spLocks/>
            </p:cNvSpPr>
            <p:nvPr userDrawn="1"/>
          </p:nvSpPr>
          <p:spPr bwMode="auto">
            <a:xfrm>
              <a:off x="2970044" y="4494517"/>
              <a:ext cx="53746" cy="84650"/>
            </a:xfrm>
            <a:custGeom>
              <a:avLst/>
              <a:gdLst>
                <a:gd name="T0" fmla="*/ 9 w 17"/>
                <a:gd name="T1" fmla="*/ 19 h 27"/>
                <a:gd name="T2" fmla="*/ 17 w 17"/>
                <a:gd name="T3" fmla="*/ 19 h 27"/>
                <a:gd name="T4" fmla="*/ 9 w 17"/>
                <a:gd name="T5" fmla="*/ 15 h 27"/>
                <a:gd name="T6" fmla="*/ 0 w 17"/>
                <a:gd name="T7" fmla="*/ 19 h 27"/>
                <a:gd name="T8" fmla="*/ 9 w 17"/>
                <a:gd name="T9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7">
                  <a:moveTo>
                    <a:pt x="9" y="19"/>
                  </a:moveTo>
                  <a:cubicBezTo>
                    <a:pt x="9" y="27"/>
                    <a:pt x="16" y="27"/>
                    <a:pt x="17" y="19"/>
                  </a:cubicBezTo>
                  <a:cubicBezTo>
                    <a:pt x="12" y="16"/>
                    <a:pt x="3" y="0"/>
                    <a:pt x="9" y="15"/>
                  </a:cubicBezTo>
                  <a:cubicBezTo>
                    <a:pt x="5" y="16"/>
                    <a:pt x="1" y="14"/>
                    <a:pt x="0" y="19"/>
                  </a:cubicBezTo>
                  <a:cubicBezTo>
                    <a:pt x="4" y="20"/>
                    <a:pt x="5" y="23"/>
                    <a:pt x="9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8" name="Freeform 160"/>
            <p:cNvSpPr>
              <a:spLocks/>
            </p:cNvSpPr>
            <p:nvPr userDrawn="1"/>
          </p:nvSpPr>
          <p:spPr bwMode="auto">
            <a:xfrm>
              <a:off x="2979450" y="4636944"/>
              <a:ext cx="57777" cy="126303"/>
            </a:xfrm>
            <a:custGeom>
              <a:avLst/>
              <a:gdLst>
                <a:gd name="T0" fmla="*/ 8 w 18"/>
                <a:gd name="T1" fmla="*/ 25 h 40"/>
                <a:gd name="T2" fmla="*/ 6 w 18"/>
                <a:gd name="T3" fmla="*/ 0 h 40"/>
                <a:gd name="T4" fmla="*/ 0 w 18"/>
                <a:gd name="T5" fmla="*/ 18 h 40"/>
                <a:gd name="T6" fmla="*/ 6 w 18"/>
                <a:gd name="T7" fmla="*/ 40 h 40"/>
                <a:gd name="T8" fmla="*/ 14 w 18"/>
                <a:gd name="T9" fmla="*/ 40 h 40"/>
                <a:gd name="T10" fmla="*/ 8 w 18"/>
                <a:gd name="T11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0">
                  <a:moveTo>
                    <a:pt x="8" y="25"/>
                  </a:moveTo>
                  <a:cubicBezTo>
                    <a:pt x="7" y="19"/>
                    <a:pt x="14" y="6"/>
                    <a:pt x="6" y="0"/>
                  </a:cubicBezTo>
                  <a:cubicBezTo>
                    <a:pt x="3" y="12"/>
                    <a:pt x="14" y="21"/>
                    <a:pt x="0" y="18"/>
                  </a:cubicBezTo>
                  <a:cubicBezTo>
                    <a:pt x="1" y="31"/>
                    <a:pt x="12" y="25"/>
                    <a:pt x="6" y="40"/>
                  </a:cubicBezTo>
                  <a:cubicBezTo>
                    <a:pt x="8" y="40"/>
                    <a:pt x="11" y="40"/>
                    <a:pt x="14" y="40"/>
                  </a:cubicBezTo>
                  <a:cubicBezTo>
                    <a:pt x="18" y="31"/>
                    <a:pt x="9" y="32"/>
                    <a:pt x="8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9" name="Freeform 161"/>
            <p:cNvSpPr>
              <a:spLocks/>
            </p:cNvSpPr>
            <p:nvPr userDrawn="1"/>
          </p:nvSpPr>
          <p:spPr bwMode="auto">
            <a:xfrm>
              <a:off x="3046632" y="4667848"/>
              <a:ext cx="91368" cy="118241"/>
            </a:xfrm>
            <a:custGeom>
              <a:avLst/>
              <a:gdLst>
                <a:gd name="T0" fmla="*/ 25 w 29"/>
                <a:gd name="T1" fmla="*/ 19 h 37"/>
                <a:gd name="T2" fmla="*/ 9 w 29"/>
                <a:gd name="T3" fmla="*/ 15 h 37"/>
                <a:gd name="T4" fmla="*/ 1 w 29"/>
                <a:gd name="T5" fmla="*/ 23 h 37"/>
                <a:gd name="T6" fmla="*/ 11 w 29"/>
                <a:gd name="T7" fmla="*/ 34 h 37"/>
                <a:gd name="T8" fmla="*/ 17 w 29"/>
                <a:gd name="T9" fmla="*/ 27 h 37"/>
                <a:gd name="T10" fmla="*/ 25 w 29"/>
                <a:gd name="T11" fmla="*/ 30 h 37"/>
                <a:gd name="T12" fmla="*/ 25 w 29"/>
                <a:gd name="T13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37">
                  <a:moveTo>
                    <a:pt x="25" y="19"/>
                  </a:moveTo>
                  <a:cubicBezTo>
                    <a:pt x="19" y="36"/>
                    <a:pt x="14" y="0"/>
                    <a:pt x="9" y="15"/>
                  </a:cubicBezTo>
                  <a:cubicBezTo>
                    <a:pt x="17" y="23"/>
                    <a:pt x="0" y="9"/>
                    <a:pt x="1" y="23"/>
                  </a:cubicBezTo>
                  <a:cubicBezTo>
                    <a:pt x="8" y="22"/>
                    <a:pt x="3" y="37"/>
                    <a:pt x="11" y="34"/>
                  </a:cubicBezTo>
                  <a:cubicBezTo>
                    <a:pt x="15" y="34"/>
                    <a:pt x="14" y="28"/>
                    <a:pt x="17" y="27"/>
                  </a:cubicBezTo>
                  <a:cubicBezTo>
                    <a:pt x="17" y="31"/>
                    <a:pt x="21" y="31"/>
                    <a:pt x="25" y="30"/>
                  </a:cubicBezTo>
                  <a:cubicBezTo>
                    <a:pt x="24" y="24"/>
                    <a:pt x="29" y="21"/>
                    <a:pt x="2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0" name="Freeform 162"/>
            <p:cNvSpPr>
              <a:spLocks/>
            </p:cNvSpPr>
            <p:nvPr userDrawn="1"/>
          </p:nvSpPr>
          <p:spPr bwMode="auto">
            <a:xfrm>
              <a:off x="3191747" y="4753841"/>
              <a:ext cx="79275" cy="67183"/>
            </a:xfrm>
            <a:custGeom>
              <a:avLst/>
              <a:gdLst>
                <a:gd name="T0" fmla="*/ 0 w 25"/>
                <a:gd name="T1" fmla="*/ 11 h 21"/>
                <a:gd name="T2" fmla="*/ 14 w 25"/>
                <a:gd name="T3" fmla="*/ 18 h 21"/>
                <a:gd name="T4" fmla="*/ 25 w 25"/>
                <a:gd name="T5" fmla="*/ 7 h 21"/>
                <a:gd name="T6" fmla="*/ 14 w 25"/>
                <a:gd name="T7" fmla="*/ 11 h 21"/>
                <a:gd name="T8" fmla="*/ 0 w 25"/>
                <a:gd name="T9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1">
                  <a:moveTo>
                    <a:pt x="0" y="11"/>
                  </a:moveTo>
                  <a:cubicBezTo>
                    <a:pt x="9" y="8"/>
                    <a:pt x="6" y="21"/>
                    <a:pt x="14" y="18"/>
                  </a:cubicBezTo>
                  <a:cubicBezTo>
                    <a:pt x="18" y="14"/>
                    <a:pt x="22" y="12"/>
                    <a:pt x="25" y="7"/>
                  </a:cubicBezTo>
                  <a:cubicBezTo>
                    <a:pt x="20" y="7"/>
                    <a:pt x="19" y="11"/>
                    <a:pt x="14" y="11"/>
                  </a:cubicBezTo>
                  <a:cubicBezTo>
                    <a:pt x="11" y="11"/>
                    <a:pt x="2" y="0"/>
                    <a:pt x="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1" name="Freeform 163"/>
            <p:cNvSpPr>
              <a:spLocks/>
            </p:cNvSpPr>
            <p:nvPr userDrawn="1"/>
          </p:nvSpPr>
          <p:spPr bwMode="auto">
            <a:xfrm>
              <a:off x="3030508" y="3239546"/>
              <a:ext cx="69870" cy="64495"/>
            </a:xfrm>
            <a:custGeom>
              <a:avLst/>
              <a:gdLst>
                <a:gd name="T0" fmla="*/ 19 w 22"/>
                <a:gd name="T1" fmla="*/ 0 h 20"/>
                <a:gd name="T2" fmla="*/ 3 w 22"/>
                <a:gd name="T3" fmla="*/ 0 h 20"/>
                <a:gd name="T4" fmla="*/ 0 w 22"/>
                <a:gd name="T5" fmla="*/ 11 h 20"/>
                <a:gd name="T6" fmla="*/ 22 w 22"/>
                <a:gd name="T7" fmla="*/ 18 h 20"/>
                <a:gd name="T8" fmla="*/ 19 w 22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0">
                  <a:moveTo>
                    <a:pt x="19" y="0"/>
                  </a:moveTo>
                  <a:cubicBezTo>
                    <a:pt x="14" y="0"/>
                    <a:pt x="9" y="0"/>
                    <a:pt x="3" y="0"/>
                  </a:cubicBezTo>
                  <a:cubicBezTo>
                    <a:pt x="3" y="5"/>
                    <a:pt x="2" y="8"/>
                    <a:pt x="0" y="11"/>
                  </a:cubicBezTo>
                  <a:cubicBezTo>
                    <a:pt x="6" y="15"/>
                    <a:pt x="11" y="20"/>
                    <a:pt x="22" y="18"/>
                  </a:cubicBezTo>
                  <a:cubicBezTo>
                    <a:pt x="21" y="5"/>
                    <a:pt x="15" y="13"/>
                    <a:pt x="1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2" name="Freeform 164"/>
            <p:cNvSpPr>
              <a:spLocks/>
            </p:cNvSpPr>
            <p:nvPr userDrawn="1"/>
          </p:nvSpPr>
          <p:spPr bwMode="auto">
            <a:xfrm>
              <a:off x="3116502" y="4325216"/>
              <a:ext cx="44341" cy="64495"/>
            </a:xfrm>
            <a:custGeom>
              <a:avLst/>
              <a:gdLst>
                <a:gd name="T0" fmla="*/ 6 w 14"/>
                <a:gd name="T1" fmla="*/ 1 h 20"/>
                <a:gd name="T2" fmla="*/ 3 w 14"/>
                <a:gd name="T3" fmla="*/ 20 h 20"/>
                <a:gd name="T4" fmla="*/ 14 w 14"/>
                <a:gd name="T5" fmla="*/ 20 h 20"/>
                <a:gd name="T6" fmla="*/ 6 w 14"/>
                <a:gd name="T7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0">
                  <a:moveTo>
                    <a:pt x="6" y="1"/>
                  </a:moveTo>
                  <a:cubicBezTo>
                    <a:pt x="0" y="9"/>
                    <a:pt x="8" y="13"/>
                    <a:pt x="3" y="20"/>
                  </a:cubicBezTo>
                  <a:cubicBezTo>
                    <a:pt x="7" y="20"/>
                    <a:pt x="10" y="20"/>
                    <a:pt x="14" y="20"/>
                  </a:cubicBezTo>
                  <a:cubicBezTo>
                    <a:pt x="14" y="9"/>
                    <a:pt x="14" y="0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3" name="Freeform 165"/>
            <p:cNvSpPr>
              <a:spLocks/>
            </p:cNvSpPr>
            <p:nvPr userDrawn="1"/>
          </p:nvSpPr>
          <p:spPr bwMode="auto">
            <a:xfrm>
              <a:off x="7714479" y="2323175"/>
              <a:ext cx="4031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4" name="Freeform 166"/>
            <p:cNvSpPr>
              <a:spLocks/>
            </p:cNvSpPr>
            <p:nvPr userDrawn="1"/>
          </p:nvSpPr>
          <p:spPr bwMode="auto">
            <a:xfrm>
              <a:off x="2783277" y="4115607"/>
              <a:ext cx="56433" cy="51059"/>
            </a:xfrm>
            <a:custGeom>
              <a:avLst/>
              <a:gdLst>
                <a:gd name="T0" fmla="*/ 11 w 18"/>
                <a:gd name="T1" fmla="*/ 8 h 16"/>
                <a:gd name="T2" fmla="*/ 14 w 18"/>
                <a:gd name="T3" fmla="*/ 16 h 16"/>
                <a:gd name="T4" fmla="*/ 6 w 18"/>
                <a:gd name="T5" fmla="*/ 5 h 16"/>
                <a:gd name="T6" fmla="*/ 6 w 18"/>
                <a:gd name="T7" fmla="*/ 1 h 16"/>
                <a:gd name="T8" fmla="*/ 0 w 18"/>
                <a:gd name="T9" fmla="*/ 1 h 16"/>
                <a:gd name="T10" fmla="*/ 11 w 1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6">
                  <a:moveTo>
                    <a:pt x="11" y="8"/>
                  </a:moveTo>
                  <a:cubicBezTo>
                    <a:pt x="12" y="11"/>
                    <a:pt x="11" y="16"/>
                    <a:pt x="14" y="16"/>
                  </a:cubicBezTo>
                  <a:cubicBezTo>
                    <a:pt x="18" y="2"/>
                    <a:pt x="9" y="7"/>
                    <a:pt x="6" y="5"/>
                  </a:cubicBezTo>
                  <a:cubicBezTo>
                    <a:pt x="5" y="4"/>
                    <a:pt x="6" y="1"/>
                    <a:pt x="6" y="1"/>
                  </a:cubicBezTo>
                  <a:cubicBezTo>
                    <a:pt x="5" y="0"/>
                    <a:pt x="1" y="2"/>
                    <a:pt x="0" y="1"/>
                  </a:cubicBezTo>
                  <a:cubicBezTo>
                    <a:pt x="2" y="6"/>
                    <a:pt x="6" y="8"/>
                    <a:pt x="1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5" name="Freeform 167"/>
            <p:cNvSpPr>
              <a:spLocks/>
            </p:cNvSpPr>
            <p:nvPr userDrawn="1"/>
          </p:nvSpPr>
          <p:spPr bwMode="auto">
            <a:xfrm>
              <a:off x="3414793" y="2509943"/>
              <a:ext cx="2687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6" name="Freeform 168"/>
            <p:cNvSpPr>
              <a:spLocks noEditPoints="1"/>
            </p:cNvSpPr>
            <p:nvPr userDrawn="1"/>
          </p:nvSpPr>
          <p:spPr bwMode="auto">
            <a:xfrm>
              <a:off x="2541419" y="1687628"/>
              <a:ext cx="6608080" cy="4310435"/>
            </a:xfrm>
            <a:custGeom>
              <a:avLst/>
              <a:gdLst>
                <a:gd name="T0" fmla="*/ 1924 w 2082"/>
                <a:gd name="T1" fmla="*/ 100 h 1358"/>
                <a:gd name="T2" fmla="*/ 1692 w 2082"/>
                <a:gd name="T3" fmla="*/ 41 h 1358"/>
                <a:gd name="T4" fmla="*/ 1606 w 2082"/>
                <a:gd name="T5" fmla="*/ 174 h 1358"/>
                <a:gd name="T6" fmla="*/ 1364 w 2082"/>
                <a:gd name="T7" fmla="*/ 145 h 1358"/>
                <a:gd name="T8" fmla="*/ 1063 w 2082"/>
                <a:gd name="T9" fmla="*/ 100 h 1358"/>
                <a:gd name="T10" fmla="*/ 738 w 2082"/>
                <a:gd name="T11" fmla="*/ 78 h 1358"/>
                <a:gd name="T12" fmla="*/ 356 w 2082"/>
                <a:gd name="T13" fmla="*/ 22 h 1358"/>
                <a:gd name="T14" fmla="*/ 17 w 2082"/>
                <a:gd name="T15" fmla="*/ 333 h 1358"/>
                <a:gd name="T16" fmla="*/ 36 w 2082"/>
                <a:gd name="T17" fmla="*/ 751 h 1358"/>
                <a:gd name="T18" fmla="*/ 176 w 2082"/>
                <a:gd name="T19" fmla="*/ 662 h 1358"/>
                <a:gd name="T20" fmla="*/ 243 w 2082"/>
                <a:gd name="T21" fmla="*/ 884 h 1358"/>
                <a:gd name="T22" fmla="*/ 698 w 2082"/>
                <a:gd name="T23" fmla="*/ 1210 h 1358"/>
                <a:gd name="T24" fmla="*/ 1101 w 2082"/>
                <a:gd name="T25" fmla="*/ 1287 h 1358"/>
                <a:gd name="T26" fmla="*/ 1480 w 2082"/>
                <a:gd name="T27" fmla="*/ 1317 h 1358"/>
                <a:gd name="T28" fmla="*/ 1881 w 2082"/>
                <a:gd name="T29" fmla="*/ 1350 h 1358"/>
                <a:gd name="T30" fmla="*/ 189 w 2082"/>
                <a:gd name="T31" fmla="*/ 644 h 1358"/>
                <a:gd name="T32" fmla="*/ 146 w 2082"/>
                <a:gd name="T33" fmla="*/ 403 h 1358"/>
                <a:gd name="T34" fmla="*/ 111 w 2082"/>
                <a:gd name="T35" fmla="*/ 599 h 1358"/>
                <a:gd name="T36" fmla="*/ 135 w 2082"/>
                <a:gd name="T37" fmla="*/ 485 h 1358"/>
                <a:gd name="T38" fmla="*/ 165 w 2082"/>
                <a:gd name="T39" fmla="*/ 267 h 1358"/>
                <a:gd name="T40" fmla="*/ 74 w 2082"/>
                <a:gd name="T41" fmla="*/ 218 h 1358"/>
                <a:gd name="T42" fmla="*/ 130 w 2082"/>
                <a:gd name="T43" fmla="*/ 659 h 1358"/>
                <a:gd name="T44" fmla="*/ 157 w 2082"/>
                <a:gd name="T45" fmla="*/ 448 h 1358"/>
                <a:gd name="T46" fmla="*/ 447 w 2082"/>
                <a:gd name="T47" fmla="*/ 648 h 1358"/>
                <a:gd name="T48" fmla="*/ 353 w 2082"/>
                <a:gd name="T49" fmla="*/ 755 h 1358"/>
                <a:gd name="T50" fmla="*/ 267 w 2082"/>
                <a:gd name="T51" fmla="*/ 537 h 1358"/>
                <a:gd name="T52" fmla="*/ 246 w 2082"/>
                <a:gd name="T53" fmla="*/ 448 h 1358"/>
                <a:gd name="T54" fmla="*/ 386 w 2082"/>
                <a:gd name="T55" fmla="*/ 307 h 1358"/>
                <a:gd name="T56" fmla="*/ 375 w 2082"/>
                <a:gd name="T57" fmla="*/ 311 h 1358"/>
                <a:gd name="T58" fmla="*/ 321 w 2082"/>
                <a:gd name="T59" fmla="*/ 570 h 1358"/>
                <a:gd name="T60" fmla="*/ 316 w 2082"/>
                <a:gd name="T61" fmla="*/ 385 h 1358"/>
                <a:gd name="T62" fmla="*/ 294 w 2082"/>
                <a:gd name="T63" fmla="*/ 699 h 1358"/>
                <a:gd name="T64" fmla="*/ 351 w 2082"/>
                <a:gd name="T65" fmla="*/ 651 h 1358"/>
                <a:gd name="T66" fmla="*/ 412 w 2082"/>
                <a:gd name="T67" fmla="*/ 614 h 1358"/>
                <a:gd name="T68" fmla="*/ 353 w 2082"/>
                <a:gd name="T69" fmla="*/ 307 h 1358"/>
                <a:gd name="T70" fmla="*/ 275 w 2082"/>
                <a:gd name="T71" fmla="*/ 178 h 1358"/>
                <a:gd name="T72" fmla="*/ 230 w 2082"/>
                <a:gd name="T73" fmla="*/ 163 h 1358"/>
                <a:gd name="T74" fmla="*/ 254 w 2082"/>
                <a:gd name="T75" fmla="*/ 670 h 1358"/>
                <a:gd name="T76" fmla="*/ 308 w 2082"/>
                <a:gd name="T77" fmla="*/ 762 h 1358"/>
                <a:gd name="T78" fmla="*/ 496 w 2082"/>
                <a:gd name="T79" fmla="*/ 807 h 1358"/>
                <a:gd name="T80" fmla="*/ 918 w 2082"/>
                <a:gd name="T81" fmla="*/ 1235 h 1358"/>
                <a:gd name="T82" fmla="*/ 1176 w 2082"/>
                <a:gd name="T83" fmla="*/ 1217 h 1358"/>
                <a:gd name="T84" fmla="*/ 1260 w 2082"/>
                <a:gd name="T85" fmla="*/ 237 h 1358"/>
                <a:gd name="T86" fmla="*/ 1319 w 2082"/>
                <a:gd name="T87" fmla="*/ 196 h 1358"/>
                <a:gd name="T88" fmla="*/ 1566 w 2082"/>
                <a:gd name="T89" fmla="*/ 263 h 1358"/>
                <a:gd name="T90" fmla="*/ 1448 w 2082"/>
                <a:gd name="T91" fmla="*/ 167 h 1358"/>
                <a:gd name="T92" fmla="*/ 1367 w 2082"/>
                <a:gd name="T93" fmla="*/ 599 h 1358"/>
                <a:gd name="T94" fmla="*/ 1415 w 2082"/>
                <a:gd name="T95" fmla="*/ 1306 h 1358"/>
                <a:gd name="T96" fmla="*/ 1467 w 2082"/>
                <a:gd name="T97" fmla="*/ 640 h 1358"/>
                <a:gd name="T98" fmla="*/ 1553 w 2082"/>
                <a:gd name="T99" fmla="*/ 1291 h 1358"/>
                <a:gd name="T100" fmla="*/ 2055 w 2082"/>
                <a:gd name="T101" fmla="*/ 562 h 1358"/>
                <a:gd name="T102" fmla="*/ 1996 w 2082"/>
                <a:gd name="T103" fmla="*/ 537 h 1358"/>
                <a:gd name="T104" fmla="*/ 1948 w 2082"/>
                <a:gd name="T105" fmla="*/ 178 h 1358"/>
                <a:gd name="T106" fmla="*/ 1918 w 2082"/>
                <a:gd name="T107" fmla="*/ 71 h 1358"/>
                <a:gd name="T108" fmla="*/ 1840 w 2082"/>
                <a:gd name="T109" fmla="*/ 170 h 1358"/>
                <a:gd name="T110" fmla="*/ 1738 w 2082"/>
                <a:gd name="T111" fmla="*/ 1265 h 1358"/>
                <a:gd name="T112" fmla="*/ 1730 w 2082"/>
                <a:gd name="T113" fmla="*/ 603 h 1358"/>
                <a:gd name="T114" fmla="*/ 1666 w 2082"/>
                <a:gd name="T115" fmla="*/ 215 h 1358"/>
                <a:gd name="T116" fmla="*/ 1746 w 2082"/>
                <a:gd name="T117" fmla="*/ 1295 h 1358"/>
                <a:gd name="T118" fmla="*/ 1811 w 2082"/>
                <a:gd name="T119" fmla="*/ 1254 h 1358"/>
                <a:gd name="T120" fmla="*/ 1848 w 2082"/>
                <a:gd name="T121" fmla="*/ 215 h 1358"/>
                <a:gd name="T122" fmla="*/ 1899 w 2082"/>
                <a:gd name="T123" fmla="*/ 1199 h 1358"/>
                <a:gd name="T124" fmla="*/ 2039 w 2082"/>
                <a:gd name="T125" fmla="*/ 1306 h 1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82" h="1358">
                  <a:moveTo>
                    <a:pt x="2050" y="100"/>
                  </a:moveTo>
                  <a:cubicBezTo>
                    <a:pt x="2048" y="103"/>
                    <a:pt x="2053" y="115"/>
                    <a:pt x="2045" y="119"/>
                  </a:cubicBezTo>
                  <a:cubicBezTo>
                    <a:pt x="2041" y="120"/>
                    <a:pt x="2037" y="118"/>
                    <a:pt x="2034" y="119"/>
                  </a:cubicBezTo>
                  <a:cubicBezTo>
                    <a:pt x="2032" y="131"/>
                    <a:pt x="2045" y="123"/>
                    <a:pt x="2042" y="137"/>
                  </a:cubicBezTo>
                  <a:cubicBezTo>
                    <a:pt x="2047" y="138"/>
                    <a:pt x="2047" y="132"/>
                    <a:pt x="2050" y="130"/>
                  </a:cubicBezTo>
                  <a:cubicBezTo>
                    <a:pt x="2050" y="133"/>
                    <a:pt x="2050" y="137"/>
                    <a:pt x="2050" y="141"/>
                  </a:cubicBezTo>
                  <a:cubicBezTo>
                    <a:pt x="2057" y="143"/>
                    <a:pt x="2071" y="136"/>
                    <a:pt x="2074" y="145"/>
                  </a:cubicBezTo>
                  <a:cubicBezTo>
                    <a:pt x="2074" y="147"/>
                    <a:pt x="2074" y="152"/>
                    <a:pt x="2072" y="152"/>
                  </a:cubicBezTo>
                  <a:cubicBezTo>
                    <a:pt x="2067" y="151"/>
                    <a:pt x="2062" y="141"/>
                    <a:pt x="2058" y="145"/>
                  </a:cubicBezTo>
                  <a:cubicBezTo>
                    <a:pt x="2057" y="146"/>
                    <a:pt x="2059" y="153"/>
                    <a:pt x="2055" y="152"/>
                  </a:cubicBezTo>
                  <a:cubicBezTo>
                    <a:pt x="2053" y="144"/>
                    <a:pt x="2049" y="139"/>
                    <a:pt x="2039" y="141"/>
                  </a:cubicBezTo>
                  <a:cubicBezTo>
                    <a:pt x="2041" y="153"/>
                    <a:pt x="2037" y="158"/>
                    <a:pt x="2037" y="167"/>
                  </a:cubicBezTo>
                  <a:cubicBezTo>
                    <a:pt x="2048" y="170"/>
                    <a:pt x="2047" y="157"/>
                    <a:pt x="2053" y="152"/>
                  </a:cubicBezTo>
                  <a:cubicBezTo>
                    <a:pt x="2050" y="162"/>
                    <a:pt x="2057" y="162"/>
                    <a:pt x="2055" y="170"/>
                  </a:cubicBezTo>
                  <a:cubicBezTo>
                    <a:pt x="2059" y="171"/>
                    <a:pt x="2062" y="171"/>
                    <a:pt x="2061" y="178"/>
                  </a:cubicBezTo>
                  <a:cubicBezTo>
                    <a:pt x="2057" y="172"/>
                    <a:pt x="2050" y="170"/>
                    <a:pt x="2045" y="167"/>
                  </a:cubicBezTo>
                  <a:cubicBezTo>
                    <a:pt x="2042" y="172"/>
                    <a:pt x="2043" y="181"/>
                    <a:pt x="2034" y="178"/>
                  </a:cubicBezTo>
                  <a:cubicBezTo>
                    <a:pt x="2038" y="165"/>
                    <a:pt x="2033" y="151"/>
                    <a:pt x="2037" y="137"/>
                  </a:cubicBezTo>
                  <a:cubicBezTo>
                    <a:pt x="2032" y="137"/>
                    <a:pt x="2034" y="128"/>
                    <a:pt x="2029" y="130"/>
                  </a:cubicBezTo>
                  <a:cubicBezTo>
                    <a:pt x="2028" y="137"/>
                    <a:pt x="2032" y="137"/>
                    <a:pt x="2034" y="141"/>
                  </a:cubicBezTo>
                  <a:cubicBezTo>
                    <a:pt x="2028" y="144"/>
                    <a:pt x="2032" y="154"/>
                    <a:pt x="2031" y="159"/>
                  </a:cubicBezTo>
                  <a:cubicBezTo>
                    <a:pt x="2031" y="160"/>
                    <a:pt x="2029" y="160"/>
                    <a:pt x="2029" y="163"/>
                  </a:cubicBezTo>
                  <a:cubicBezTo>
                    <a:pt x="2028" y="168"/>
                    <a:pt x="2028" y="171"/>
                    <a:pt x="2026" y="174"/>
                  </a:cubicBezTo>
                  <a:cubicBezTo>
                    <a:pt x="2023" y="180"/>
                    <a:pt x="2024" y="190"/>
                    <a:pt x="2020" y="193"/>
                  </a:cubicBezTo>
                  <a:cubicBezTo>
                    <a:pt x="2013" y="185"/>
                    <a:pt x="2023" y="171"/>
                    <a:pt x="2026" y="167"/>
                  </a:cubicBezTo>
                  <a:cubicBezTo>
                    <a:pt x="2027" y="155"/>
                    <a:pt x="2019" y="157"/>
                    <a:pt x="2018" y="148"/>
                  </a:cubicBezTo>
                  <a:cubicBezTo>
                    <a:pt x="2021" y="148"/>
                    <a:pt x="2022" y="153"/>
                    <a:pt x="2026" y="152"/>
                  </a:cubicBezTo>
                  <a:cubicBezTo>
                    <a:pt x="2029" y="152"/>
                    <a:pt x="2029" y="142"/>
                    <a:pt x="2026" y="141"/>
                  </a:cubicBezTo>
                  <a:cubicBezTo>
                    <a:pt x="2026" y="156"/>
                    <a:pt x="2022" y="141"/>
                    <a:pt x="2020" y="137"/>
                  </a:cubicBezTo>
                  <a:cubicBezTo>
                    <a:pt x="2012" y="140"/>
                    <a:pt x="2015" y="140"/>
                    <a:pt x="2007" y="137"/>
                  </a:cubicBezTo>
                  <a:cubicBezTo>
                    <a:pt x="2000" y="144"/>
                    <a:pt x="2009" y="172"/>
                    <a:pt x="2002" y="178"/>
                  </a:cubicBezTo>
                  <a:cubicBezTo>
                    <a:pt x="1999" y="168"/>
                    <a:pt x="1995" y="172"/>
                    <a:pt x="1999" y="167"/>
                  </a:cubicBezTo>
                  <a:cubicBezTo>
                    <a:pt x="2001" y="164"/>
                    <a:pt x="1990" y="162"/>
                    <a:pt x="1991" y="159"/>
                  </a:cubicBezTo>
                  <a:cubicBezTo>
                    <a:pt x="1990" y="153"/>
                    <a:pt x="1995" y="150"/>
                    <a:pt x="1991" y="148"/>
                  </a:cubicBezTo>
                  <a:cubicBezTo>
                    <a:pt x="1991" y="150"/>
                    <a:pt x="1989" y="152"/>
                    <a:pt x="1988" y="148"/>
                  </a:cubicBezTo>
                  <a:cubicBezTo>
                    <a:pt x="1994" y="147"/>
                    <a:pt x="1995" y="141"/>
                    <a:pt x="1999" y="137"/>
                  </a:cubicBezTo>
                  <a:cubicBezTo>
                    <a:pt x="2000" y="143"/>
                    <a:pt x="2002" y="136"/>
                    <a:pt x="2007" y="137"/>
                  </a:cubicBezTo>
                  <a:cubicBezTo>
                    <a:pt x="2009" y="134"/>
                    <a:pt x="2008" y="129"/>
                    <a:pt x="2010" y="126"/>
                  </a:cubicBezTo>
                  <a:cubicBezTo>
                    <a:pt x="2010" y="126"/>
                    <a:pt x="2012" y="126"/>
                    <a:pt x="2012" y="126"/>
                  </a:cubicBezTo>
                  <a:cubicBezTo>
                    <a:pt x="2013" y="121"/>
                    <a:pt x="2010" y="118"/>
                    <a:pt x="2010" y="115"/>
                  </a:cubicBezTo>
                  <a:cubicBezTo>
                    <a:pt x="2010" y="115"/>
                    <a:pt x="2013" y="114"/>
                    <a:pt x="2012" y="111"/>
                  </a:cubicBezTo>
                  <a:cubicBezTo>
                    <a:pt x="2012" y="111"/>
                    <a:pt x="2007" y="109"/>
                    <a:pt x="2007" y="108"/>
                  </a:cubicBezTo>
                  <a:cubicBezTo>
                    <a:pt x="2007" y="113"/>
                    <a:pt x="2007" y="120"/>
                    <a:pt x="2002" y="119"/>
                  </a:cubicBezTo>
                  <a:cubicBezTo>
                    <a:pt x="2001" y="112"/>
                    <a:pt x="2005" y="111"/>
                    <a:pt x="2004" y="104"/>
                  </a:cubicBezTo>
                  <a:cubicBezTo>
                    <a:pt x="2001" y="104"/>
                    <a:pt x="1998" y="106"/>
                    <a:pt x="1996" y="108"/>
                  </a:cubicBezTo>
                  <a:cubicBezTo>
                    <a:pt x="2003" y="102"/>
                    <a:pt x="1993" y="95"/>
                    <a:pt x="1988" y="96"/>
                  </a:cubicBezTo>
                  <a:cubicBezTo>
                    <a:pt x="1985" y="98"/>
                    <a:pt x="1986" y="102"/>
                    <a:pt x="1983" y="104"/>
                  </a:cubicBezTo>
                  <a:cubicBezTo>
                    <a:pt x="1983" y="99"/>
                    <a:pt x="1984" y="96"/>
                    <a:pt x="1986" y="93"/>
                  </a:cubicBezTo>
                  <a:cubicBezTo>
                    <a:pt x="1982" y="93"/>
                    <a:pt x="1978" y="93"/>
                    <a:pt x="1975" y="93"/>
                  </a:cubicBezTo>
                  <a:cubicBezTo>
                    <a:pt x="1974" y="97"/>
                    <a:pt x="1975" y="103"/>
                    <a:pt x="1972" y="104"/>
                  </a:cubicBezTo>
                  <a:cubicBezTo>
                    <a:pt x="1969" y="104"/>
                    <a:pt x="1970" y="97"/>
                    <a:pt x="1967" y="96"/>
                  </a:cubicBezTo>
                  <a:cubicBezTo>
                    <a:pt x="1967" y="97"/>
                    <a:pt x="1960" y="104"/>
                    <a:pt x="1956" y="100"/>
                  </a:cubicBezTo>
                  <a:cubicBezTo>
                    <a:pt x="1955" y="90"/>
                    <a:pt x="1948" y="87"/>
                    <a:pt x="1940" y="85"/>
                  </a:cubicBezTo>
                  <a:cubicBezTo>
                    <a:pt x="1939" y="93"/>
                    <a:pt x="1943" y="93"/>
                    <a:pt x="1945" y="96"/>
                  </a:cubicBezTo>
                  <a:cubicBezTo>
                    <a:pt x="1936" y="90"/>
                    <a:pt x="1937" y="97"/>
                    <a:pt x="1932" y="104"/>
                  </a:cubicBezTo>
                  <a:cubicBezTo>
                    <a:pt x="1930" y="93"/>
                    <a:pt x="1936" y="93"/>
                    <a:pt x="1934" y="82"/>
                  </a:cubicBezTo>
                  <a:cubicBezTo>
                    <a:pt x="1924" y="83"/>
                    <a:pt x="1936" y="98"/>
                    <a:pt x="1924" y="100"/>
                  </a:cubicBezTo>
                  <a:cubicBezTo>
                    <a:pt x="1928" y="88"/>
                    <a:pt x="1922" y="81"/>
                    <a:pt x="1924" y="63"/>
                  </a:cubicBezTo>
                  <a:cubicBezTo>
                    <a:pt x="1920" y="64"/>
                    <a:pt x="1915" y="60"/>
                    <a:pt x="1916" y="56"/>
                  </a:cubicBezTo>
                  <a:cubicBezTo>
                    <a:pt x="1916" y="56"/>
                    <a:pt x="1920" y="54"/>
                    <a:pt x="1918" y="52"/>
                  </a:cubicBezTo>
                  <a:cubicBezTo>
                    <a:pt x="1914" y="48"/>
                    <a:pt x="1902" y="50"/>
                    <a:pt x="1905" y="52"/>
                  </a:cubicBezTo>
                  <a:cubicBezTo>
                    <a:pt x="1908" y="54"/>
                    <a:pt x="1910" y="57"/>
                    <a:pt x="1910" y="63"/>
                  </a:cubicBezTo>
                  <a:cubicBezTo>
                    <a:pt x="1905" y="59"/>
                    <a:pt x="1897" y="69"/>
                    <a:pt x="1905" y="71"/>
                  </a:cubicBezTo>
                  <a:cubicBezTo>
                    <a:pt x="1905" y="67"/>
                    <a:pt x="1910" y="66"/>
                    <a:pt x="1910" y="71"/>
                  </a:cubicBezTo>
                  <a:cubicBezTo>
                    <a:pt x="1909" y="76"/>
                    <a:pt x="1906" y="80"/>
                    <a:pt x="1902" y="82"/>
                  </a:cubicBezTo>
                  <a:cubicBezTo>
                    <a:pt x="1896" y="73"/>
                    <a:pt x="1893" y="76"/>
                    <a:pt x="1886" y="82"/>
                  </a:cubicBezTo>
                  <a:cubicBezTo>
                    <a:pt x="1884" y="95"/>
                    <a:pt x="1889" y="100"/>
                    <a:pt x="1891" y="108"/>
                  </a:cubicBezTo>
                  <a:cubicBezTo>
                    <a:pt x="1888" y="112"/>
                    <a:pt x="1881" y="109"/>
                    <a:pt x="1878" y="104"/>
                  </a:cubicBezTo>
                  <a:cubicBezTo>
                    <a:pt x="1881" y="102"/>
                    <a:pt x="1884" y="99"/>
                    <a:pt x="1883" y="93"/>
                  </a:cubicBezTo>
                  <a:cubicBezTo>
                    <a:pt x="1877" y="93"/>
                    <a:pt x="1875" y="100"/>
                    <a:pt x="1873" y="89"/>
                  </a:cubicBezTo>
                  <a:cubicBezTo>
                    <a:pt x="1871" y="83"/>
                    <a:pt x="1876" y="67"/>
                    <a:pt x="1870" y="67"/>
                  </a:cubicBezTo>
                  <a:cubicBezTo>
                    <a:pt x="1870" y="84"/>
                    <a:pt x="1861" y="97"/>
                    <a:pt x="1862" y="111"/>
                  </a:cubicBezTo>
                  <a:cubicBezTo>
                    <a:pt x="1862" y="119"/>
                    <a:pt x="1874" y="123"/>
                    <a:pt x="1865" y="130"/>
                  </a:cubicBezTo>
                  <a:cubicBezTo>
                    <a:pt x="1854" y="127"/>
                    <a:pt x="1867" y="117"/>
                    <a:pt x="1856" y="115"/>
                  </a:cubicBezTo>
                  <a:cubicBezTo>
                    <a:pt x="1852" y="121"/>
                    <a:pt x="1857" y="147"/>
                    <a:pt x="1848" y="156"/>
                  </a:cubicBezTo>
                  <a:cubicBezTo>
                    <a:pt x="1850" y="144"/>
                    <a:pt x="1844" y="145"/>
                    <a:pt x="1846" y="133"/>
                  </a:cubicBezTo>
                  <a:cubicBezTo>
                    <a:pt x="1855" y="137"/>
                    <a:pt x="1850" y="122"/>
                    <a:pt x="1851" y="115"/>
                  </a:cubicBezTo>
                  <a:cubicBezTo>
                    <a:pt x="1842" y="117"/>
                    <a:pt x="1840" y="91"/>
                    <a:pt x="1846" y="85"/>
                  </a:cubicBezTo>
                  <a:cubicBezTo>
                    <a:pt x="1849" y="86"/>
                    <a:pt x="1852" y="105"/>
                    <a:pt x="1856" y="93"/>
                  </a:cubicBezTo>
                  <a:cubicBezTo>
                    <a:pt x="1850" y="85"/>
                    <a:pt x="1863" y="96"/>
                    <a:pt x="1865" y="89"/>
                  </a:cubicBezTo>
                  <a:cubicBezTo>
                    <a:pt x="1865" y="79"/>
                    <a:pt x="1863" y="68"/>
                    <a:pt x="1867" y="63"/>
                  </a:cubicBezTo>
                  <a:cubicBezTo>
                    <a:pt x="1862" y="62"/>
                    <a:pt x="1861" y="67"/>
                    <a:pt x="1856" y="67"/>
                  </a:cubicBezTo>
                  <a:cubicBezTo>
                    <a:pt x="1853" y="67"/>
                    <a:pt x="1852" y="59"/>
                    <a:pt x="1848" y="60"/>
                  </a:cubicBezTo>
                  <a:cubicBezTo>
                    <a:pt x="1847" y="60"/>
                    <a:pt x="1847" y="65"/>
                    <a:pt x="1843" y="63"/>
                  </a:cubicBezTo>
                  <a:cubicBezTo>
                    <a:pt x="1843" y="63"/>
                    <a:pt x="1843" y="57"/>
                    <a:pt x="1843" y="56"/>
                  </a:cubicBezTo>
                  <a:cubicBezTo>
                    <a:pt x="1837" y="57"/>
                    <a:pt x="1832" y="60"/>
                    <a:pt x="1827" y="63"/>
                  </a:cubicBezTo>
                  <a:cubicBezTo>
                    <a:pt x="1827" y="57"/>
                    <a:pt x="1827" y="50"/>
                    <a:pt x="1822" y="52"/>
                  </a:cubicBezTo>
                  <a:cubicBezTo>
                    <a:pt x="1821" y="56"/>
                    <a:pt x="1822" y="63"/>
                    <a:pt x="1819" y="63"/>
                  </a:cubicBezTo>
                  <a:cubicBezTo>
                    <a:pt x="1817" y="57"/>
                    <a:pt x="1816" y="65"/>
                    <a:pt x="1813" y="67"/>
                  </a:cubicBezTo>
                  <a:cubicBezTo>
                    <a:pt x="1810" y="55"/>
                    <a:pt x="1818" y="58"/>
                    <a:pt x="1819" y="52"/>
                  </a:cubicBezTo>
                  <a:cubicBezTo>
                    <a:pt x="1810" y="55"/>
                    <a:pt x="1813" y="55"/>
                    <a:pt x="1808" y="48"/>
                  </a:cubicBezTo>
                  <a:cubicBezTo>
                    <a:pt x="1809" y="54"/>
                    <a:pt x="1798" y="61"/>
                    <a:pt x="1797" y="52"/>
                  </a:cubicBezTo>
                  <a:cubicBezTo>
                    <a:pt x="1796" y="44"/>
                    <a:pt x="1808" y="57"/>
                    <a:pt x="1800" y="48"/>
                  </a:cubicBezTo>
                  <a:cubicBezTo>
                    <a:pt x="1798" y="36"/>
                    <a:pt x="1792" y="64"/>
                    <a:pt x="1792" y="48"/>
                  </a:cubicBezTo>
                  <a:cubicBezTo>
                    <a:pt x="1792" y="43"/>
                    <a:pt x="1783" y="41"/>
                    <a:pt x="1778" y="41"/>
                  </a:cubicBezTo>
                  <a:cubicBezTo>
                    <a:pt x="1778" y="45"/>
                    <a:pt x="1779" y="51"/>
                    <a:pt x="1776" y="52"/>
                  </a:cubicBezTo>
                  <a:cubicBezTo>
                    <a:pt x="1778" y="34"/>
                    <a:pt x="1767" y="40"/>
                    <a:pt x="1765" y="41"/>
                  </a:cubicBezTo>
                  <a:cubicBezTo>
                    <a:pt x="1756" y="44"/>
                    <a:pt x="1758" y="34"/>
                    <a:pt x="1752" y="37"/>
                  </a:cubicBezTo>
                  <a:cubicBezTo>
                    <a:pt x="1750" y="38"/>
                    <a:pt x="1752" y="46"/>
                    <a:pt x="1749" y="45"/>
                  </a:cubicBezTo>
                  <a:cubicBezTo>
                    <a:pt x="1748" y="40"/>
                    <a:pt x="1749" y="34"/>
                    <a:pt x="1746" y="34"/>
                  </a:cubicBezTo>
                  <a:cubicBezTo>
                    <a:pt x="1744" y="42"/>
                    <a:pt x="1729" y="44"/>
                    <a:pt x="1727" y="30"/>
                  </a:cubicBezTo>
                  <a:cubicBezTo>
                    <a:pt x="1728" y="24"/>
                    <a:pt x="1734" y="27"/>
                    <a:pt x="1735" y="22"/>
                  </a:cubicBezTo>
                  <a:cubicBezTo>
                    <a:pt x="1735" y="23"/>
                    <a:pt x="1731" y="19"/>
                    <a:pt x="1735" y="19"/>
                  </a:cubicBezTo>
                  <a:cubicBezTo>
                    <a:pt x="1741" y="16"/>
                    <a:pt x="1741" y="27"/>
                    <a:pt x="1744" y="26"/>
                  </a:cubicBezTo>
                  <a:cubicBezTo>
                    <a:pt x="1744" y="26"/>
                    <a:pt x="1749" y="14"/>
                    <a:pt x="1749" y="22"/>
                  </a:cubicBezTo>
                  <a:cubicBezTo>
                    <a:pt x="1749" y="28"/>
                    <a:pt x="1755" y="27"/>
                    <a:pt x="1757" y="30"/>
                  </a:cubicBezTo>
                  <a:cubicBezTo>
                    <a:pt x="1757" y="26"/>
                    <a:pt x="1757" y="19"/>
                    <a:pt x="1760" y="19"/>
                  </a:cubicBezTo>
                  <a:cubicBezTo>
                    <a:pt x="1759" y="25"/>
                    <a:pt x="1763" y="29"/>
                    <a:pt x="1765" y="22"/>
                  </a:cubicBezTo>
                  <a:cubicBezTo>
                    <a:pt x="1751" y="5"/>
                    <a:pt x="1742" y="19"/>
                    <a:pt x="1725" y="11"/>
                  </a:cubicBezTo>
                  <a:cubicBezTo>
                    <a:pt x="1719" y="18"/>
                    <a:pt x="1724" y="25"/>
                    <a:pt x="1725" y="34"/>
                  </a:cubicBezTo>
                  <a:cubicBezTo>
                    <a:pt x="1716" y="39"/>
                    <a:pt x="1713" y="35"/>
                    <a:pt x="1703" y="34"/>
                  </a:cubicBezTo>
                  <a:cubicBezTo>
                    <a:pt x="1703" y="37"/>
                    <a:pt x="1703" y="40"/>
                    <a:pt x="1700" y="41"/>
                  </a:cubicBezTo>
                  <a:cubicBezTo>
                    <a:pt x="1698" y="42"/>
                    <a:pt x="1698" y="38"/>
                    <a:pt x="1698" y="37"/>
                  </a:cubicBezTo>
                  <a:cubicBezTo>
                    <a:pt x="1695" y="36"/>
                    <a:pt x="1694" y="41"/>
                    <a:pt x="1692" y="41"/>
                  </a:cubicBezTo>
                  <a:cubicBezTo>
                    <a:pt x="1693" y="41"/>
                    <a:pt x="1691" y="38"/>
                    <a:pt x="1690" y="37"/>
                  </a:cubicBezTo>
                  <a:cubicBezTo>
                    <a:pt x="1687" y="36"/>
                    <a:pt x="1684" y="38"/>
                    <a:pt x="1682" y="37"/>
                  </a:cubicBezTo>
                  <a:cubicBezTo>
                    <a:pt x="1681" y="40"/>
                    <a:pt x="1682" y="45"/>
                    <a:pt x="1679" y="45"/>
                  </a:cubicBezTo>
                  <a:cubicBezTo>
                    <a:pt x="1676" y="36"/>
                    <a:pt x="1666" y="51"/>
                    <a:pt x="1666" y="34"/>
                  </a:cubicBezTo>
                  <a:cubicBezTo>
                    <a:pt x="1670" y="34"/>
                    <a:pt x="1675" y="34"/>
                    <a:pt x="1679" y="34"/>
                  </a:cubicBezTo>
                  <a:cubicBezTo>
                    <a:pt x="1680" y="18"/>
                    <a:pt x="1672" y="29"/>
                    <a:pt x="1671" y="22"/>
                  </a:cubicBezTo>
                  <a:cubicBezTo>
                    <a:pt x="1673" y="22"/>
                    <a:pt x="1674" y="22"/>
                    <a:pt x="1674" y="19"/>
                  </a:cubicBezTo>
                  <a:cubicBezTo>
                    <a:pt x="1665" y="23"/>
                    <a:pt x="1657" y="20"/>
                    <a:pt x="1652" y="22"/>
                  </a:cubicBezTo>
                  <a:cubicBezTo>
                    <a:pt x="1651" y="23"/>
                    <a:pt x="1648" y="29"/>
                    <a:pt x="1647" y="30"/>
                  </a:cubicBezTo>
                  <a:cubicBezTo>
                    <a:pt x="1644" y="32"/>
                    <a:pt x="1641" y="30"/>
                    <a:pt x="1639" y="34"/>
                  </a:cubicBezTo>
                  <a:cubicBezTo>
                    <a:pt x="1636" y="38"/>
                    <a:pt x="1638" y="46"/>
                    <a:pt x="1636" y="52"/>
                  </a:cubicBezTo>
                  <a:cubicBezTo>
                    <a:pt x="1635" y="55"/>
                    <a:pt x="1629" y="55"/>
                    <a:pt x="1628" y="60"/>
                  </a:cubicBezTo>
                  <a:cubicBezTo>
                    <a:pt x="1640" y="53"/>
                    <a:pt x="1641" y="69"/>
                    <a:pt x="1644" y="71"/>
                  </a:cubicBezTo>
                  <a:cubicBezTo>
                    <a:pt x="1649" y="73"/>
                    <a:pt x="1655" y="66"/>
                    <a:pt x="1660" y="74"/>
                  </a:cubicBezTo>
                  <a:cubicBezTo>
                    <a:pt x="1647" y="75"/>
                    <a:pt x="1648" y="95"/>
                    <a:pt x="1633" y="93"/>
                  </a:cubicBezTo>
                  <a:cubicBezTo>
                    <a:pt x="1633" y="98"/>
                    <a:pt x="1633" y="103"/>
                    <a:pt x="1633" y="108"/>
                  </a:cubicBezTo>
                  <a:cubicBezTo>
                    <a:pt x="1637" y="108"/>
                    <a:pt x="1643" y="106"/>
                    <a:pt x="1644" y="111"/>
                  </a:cubicBezTo>
                  <a:cubicBezTo>
                    <a:pt x="1644" y="115"/>
                    <a:pt x="1646" y="116"/>
                    <a:pt x="1647" y="119"/>
                  </a:cubicBezTo>
                  <a:cubicBezTo>
                    <a:pt x="1642" y="122"/>
                    <a:pt x="1637" y="125"/>
                    <a:pt x="1631" y="126"/>
                  </a:cubicBezTo>
                  <a:cubicBezTo>
                    <a:pt x="1629" y="139"/>
                    <a:pt x="1641" y="132"/>
                    <a:pt x="1641" y="141"/>
                  </a:cubicBezTo>
                  <a:cubicBezTo>
                    <a:pt x="1649" y="136"/>
                    <a:pt x="1647" y="141"/>
                    <a:pt x="1652" y="141"/>
                  </a:cubicBezTo>
                  <a:cubicBezTo>
                    <a:pt x="1652" y="141"/>
                    <a:pt x="1653" y="138"/>
                    <a:pt x="1655" y="137"/>
                  </a:cubicBezTo>
                  <a:cubicBezTo>
                    <a:pt x="1657" y="137"/>
                    <a:pt x="1660" y="138"/>
                    <a:pt x="1660" y="141"/>
                  </a:cubicBezTo>
                  <a:cubicBezTo>
                    <a:pt x="1654" y="143"/>
                    <a:pt x="1646" y="144"/>
                    <a:pt x="1647" y="156"/>
                  </a:cubicBezTo>
                  <a:cubicBezTo>
                    <a:pt x="1654" y="158"/>
                    <a:pt x="1664" y="145"/>
                    <a:pt x="1668" y="156"/>
                  </a:cubicBezTo>
                  <a:cubicBezTo>
                    <a:pt x="1657" y="155"/>
                    <a:pt x="1652" y="162"/>
                    <a:pt x="1652" y="178"/>
                  </a:cubicBezTo>
                  <a:cubicBezTo>
                    <a:pt x="1663" y="184"/>
                    <a:pt x="1653" y="162"/>
                    <a:pt x="1660" y="163"/>
                  </a:cubicBezTo>
                  <a:cubicBezTo>
                    <a:pt x="1666" y="165"/>
                    <a:pt x="1678" y="158"/>
                    <a:pt x="1679" y="167"/>
                  </a:cubicBezTo>
                  <a:cubicBezTo>
                    <a:pt x="1678" y="179"/>
                    <a:pt x="1663" y="178"/>
                    <a:pt x="1663" y="185"/>
                  </a:cubicBezTo>
                  <a:cubicBezTo>
                    <a:pt x="1662" y="195"/>
                    <a:pt x="1655" y="189"/>
                    <a:pt x="1655" y="196"/>
                  </a:cubicBezTo>
                  <a:cubicBezTo>
                    <a:pt x="1661" y="199"/>
                    <a:pt x="1656" y="217"/>
                    <a:pt x="1657" y="226"/>
                  </a:cubicBezTo>
                  <a:cubicBezTo>
                    <a:pt x="1644" y="218"/>
                    <a:pt x="1654" y="243"/>
                    <a:pt x="1647" y="244"/>
                  </a:cubicBezTo>
                  <a:cubicBezTo>
                    <a:pt x="1648" y="231"/>
                    <a:pt x="1642" y="234"/>
                    <a:pt x="1641" y="230"/>
                  </a:cubicBezTo>
                  <a:cubicBezTo>
                    <a:pt x="1641" y="229"/>
                    <a:pt x="1646" y="230"/>
                    <a:pt x="1647" y="230"/>
                  </a:cubicBezTo>
                  <a:cubicBezTo>
                    <a:pt x="1648" y="228"/>
                    <a:pt x="1643" y="223"/>
                    <a:pt x="1644" y="222"/>
                  </a:cubicBezTo>
                  <a:cubicBezTo>
                    <a:pt x="1643" y="209"/>
                    <a:pt x="1637" y="235"/>
                    <a:pt x="1636" y="222"/>
                  </a:cubicBezTo>
                  <a:cubicBezTo>
                    <a:pt x="1636" y="208"/>
                    <a:pt x="1640" y="201"/>
                    <a:pt x="1644" y="193"/>
                  </a:cubicBezTo>
                  <a:cubicBezTo>
                    <a:pt x="1642" y="193"/>
                    <a:pt x="1640" y="192"/>
                    <a:pt x="1639" y="193"/>
                  </a:cubicBezTo>
                  <a:cubicBezTo>
                    <a:pt x="1635" y="194"/>
                    <a:pt x="1637" y="196"/>
                    <a:pt x="1636" y="200"/>
                  </a:cubicBezTo>
                  <a:cubicBezTo>
                    <a:pt x="1636" y="200"/>
                    <a:pt x="1633" y="200"/>
                    <a:pt x="1633" y="200"/>
                  </a:cubicBezTo>
                  <a:cubicBezTo>
                    <a:pt x="1632" y="203"/>
                    <a:pt x="1634" y="211"/>
                    <a:pt x="1633" y="215"/>
                  </a:cubicBezTo>
                  <a:cubicBezTo>
                    <a:pt x="1633" y="219"/>
                    <a:pt x="1630" y="220"/>
                    <a:pt x="1631" y="226"/>
                  </a:cubicBezTo>
                  <a:cubicBezTo>
                    <a:pt x="1631" y="231"/>
                    <a:pt x="1635" y="233"/>
                    <a:pt x="1633" y="241"/>
                  </a:cubicBezTo>
                  <a:cubicBezTo>
                    <a:pt x="1628" y="234"/>
                    <a:pt x="1627" y="240"/>
                    <a:pt x="1620" y="241"/>
                  </a:cubicBezTo>
                  <a:cubicBezTo>
                    <a:pt x="1620" y="231"/>
                    <a:pt x="1608" y="237"/>
                    <a:pt x="1612" y="222"/>
                  </a:cubicBezTo>
                  <a:cubicBezTo>
                    <a:pt x="1615" y="223"/>
                    <a:pt x="1617" y="227"/>
                    <a:pt x="1623" y="226"/>
                  </a:cubicBezTo>
                  <a:cubicBezTo>
                    <a:pt x="1622" y="215"/>
                    <a:pt x="1623" y="213"/>
                    <a:pt x="1628" y="218"/>
                  </a:cubicBezTo>
                  <a:cubicBezTo>
                    <a:pt x="1625" y="212"/>
                    <a:pt x="1629" y="201"/>
                    <a:pt x="1630" y="200"/>
                  </a:cubicBezTo>
                  <a:cubicBezTo>
                    <a:pt x="1629" y="199"/>
                    <a:pt x="1624" y="199"/>
                    <a:pt x="1625" y="196"/>
                  </a:cubicBezTo>
                  <a:cubicBezTo>
                    <a:pt x="1627" y="193"/>
                    <a:pt x="1637" y="199"/>
                    <a:pt x="1633" y="189"/>
                  </a:cubicBezTo>
                  <a:cubicBezTo>
                    <a:pt x="1629" y="189"/>
                    <a:pt x="1624" y="189"/>
                    <a:pt x="1620" y="189"/>
                  </a:cubicBezTo>
                  <a:cubicBezTo>
                    <a:pt x="1620" y="202"/>
                    <a:pt x="1621" y="215"/>
                    <a:pt x="1614" y="218"/>
                  </a:cubicBezTo>
                  <a:cubicBezTo>
                    <a:pt x="1614" y="211"/>
                    <a:pt x="1607" y="224"/>
                    <a:pt x="1606" y="211"/>
                  </a:cubicBezTo>
                  <a:cubicBezTo>
                    <a:pt x="1612" y="210"/>
                    <a:pt x="1618" y="210"/>
                    <a:pt x="1617" y="200"/>
                  </a:cubicBezTo>
                  <a:cubicBezTo>
                    <a:pt x="1612" y="198"/>
                    <a:pt x="1601" y="205"/>
                    <a:pt x="1601" y="196"/>
                  </a:cubicBezTo>
                  <a:cubicBezTo>
                    <a:pt x="1602" y="191"/>
                    <a:pt x="1605" y="189"/>
                    <a:pt x="1604" y="182"/>
                  </a:cubicBezTo>
                  <a:cubicBezTo>
                    <a:pt x="1590" y="179"/>
                    <a:pt x="1607" y="180"/>
                    <a:pt x="1606" y="174"/>
                  </a:cubicBezTo>
                  <a:cubicBezTo>
                    <a:pt x="1603" y="174"/>
                    <a:pt x="1599" y="175"/>
                    <a:pt x="1598" y="170"/>
                  </a:cubicBezTo>
                  <a:cubicBezTo>
                    <a:pt x="1610" y="173"/>
                    <a:pt x="1596" y="163"/>
                    <a:pt x="1604" y="163"/>
                  </a:cubicBezTo>
                  <a:cubicBezTo>
                    <a:pt x="1606" y="176"/>
                    <a:pt x="1618" y="182"/>
                    <a:pt x="1612" y="196"/>
                  </a:cubicBezTo>
                  <a:cubicBezTo>
                    <a:pt x="1622" y="199"/>
                    <a:pt x="1615" y="179"/>
                    <a:pt x="1617" y="170"/>
                  </a:cubicBezTo>
                  <a:cubicBezTo>
                    <a:pt x="1618" y="169"/>
                    <a:pt x="1624" y="171"/>
                    <a:pt x="1623" y="167"/>
                  </a:cubicBezTo>
                  <a:cubicBezTo>
                    <a:pt x="1621" y="167"/>
                    <a:pt x="1619" y="166"/>
                    <a:pt x="1620" y="163"/>
                  </a:cubicBezTo>
                  <a:cubicBezTo>
                    <a:pt x="1617" y="163"/>
                    <a:pt x="1617" y="160"/>
                    <a:pt x="1614" y="159"/>
                  </a:cubicBezTo>
                  <a:cubicBezTo>
                    <a:pt x="1613" y="164"/>
                    <a:pt x="1612" y="168"/>
                    <a:pt x="1609" y="170"/>
                  </a:cubicBezTo>
                  <a:cubicBezTo>
                    <a:pt x="1614" y="153"/>
                    <a:pt x="1602" y="159"/>
                    <a:pt x="1598" y="152"/>
                  </a:cubicBezTo>
                  <a:cubicBezTo>
                    <a:pt x="1598" y="147"/>
                    <a:pt x="1614" y="147"/>
                    <a:pt x="1604" y="141"/>
                  </a:cubicBezTo>
                  <a:cubicBezTo>
                    <a:pt x="1602" y="152"/>
                    <a:pt x="1600" y="135"/>
                    <a:pt x="1596" y="137"/>
                  </a:cubicBezTo>
                  <a:cubicBezTo>
                    <a:pt x="1596" y="143"/>
                    <a:pt x="1588" y="139"/>
                    <a:pt x="1588" y="145"/>
                  </a:cubicBezTo>
                  <a:cubicBezTo>
                    <a:pt x="1590" y="148"/>
                    <a:pt x="1597" y="146"/>
                    <a:pt x="1596" y="156"/>
                  </a:cubicBezTo>
                  <a:cubicBezTo>
                    <a:pt x="1579" y="151"/>
                    <a:pt x="1596" y="170"/>
                    <a:pt x="1588" y="174"/>
                  </a:cubicBezTo>
                  <a:cubicBezTo>
                    <a:pt x="1584" y="174"/>
                    <a:pt x="1582" y="168"/>
                    <a:pt x="1580" y="174"/>
                  </a:cubicBezTo>
                  <a:cubicBezTo>
                    <a:pt x="1591" y="170"/>
                    <a:pt x="1585" y="192"/>
                    <a:pt x="1585" y="193"/>
                  </a:cubicBezTo>
                  <a:cubicBezTo>
                    <a:pt x="1585" y="194"/>
                    <a:pt x="1592" y="192"/>
                    <a:pt x="1590" y="196"/>
                  </a:cubicBezTo>
                  <a:cubicBezTo>
                    <a:pt x="1583" y="199"/>
                    <a:pt x="1588" y="217"/>
                    <a:pt x="1580" y="218"/>
                  </a:cubicBezTo>
                  <a:cubicBezTo>
                    <a:pt x="1574" y="217"/>
                    <a:pt x="1574" y="208"/>
                    <a:pt x="1569" y="207"/>
                  </a:cubicBezTo>
                  <a:cubicBezTo>
                    <a:pt x="1568" y="210"/>
                    <a:pt x="1569" y="215"/>
                    <a:pt x="1566" y="215"/>
                  </a:cubicBezTo>
                  <a:cubicBezTo>
                    <a:pt x="1564" y="204"/>
                    <a:pt x="1570" y="205"/>
                    <a:pt x="1569" y="196"/>
                  </a:cubicBezTo>
                  <a:cubicBezTo>
                    <a:pt x="1564" y="198"/>
                    <a:pt x="1560" y="183"/>
                    <a:pt x="1566" y="182"/>
                  </a:cubicBezTo>
                  <a:cubicBezTo>
                    <a:pt x="1566" y="188"/>
                    <a:pt x="1569" y="190"/>
                    <a:pt x="1574" y="189"/>
                  </a:cubicBezTo>
                  <a:cubicBezTo>
                    <a:pt x="1573" y="199"/>
                    <a:pt x="1575" y="205"/>
                    <a:pt x="1582" y="204"/>
                  </a:cubicBezTo>
                  <a:cubicBezTo>
                    <a:pt x="1581" y="191"/>
                    <a:pt x="1575" y="199"/>
                    <a:pt x="1580" y="185"/>
                  </a:cubicBezTo>
                  <a:cubicBezTo>
                    <a:pt x="1568" y="190"/>
                    <a:pt x="1575" y="170"/>
                    <a:pt x="1569" y="167"/>
                  </a:cubicBezTo>
                  <a:cubicBezTo>
                    <a:pt x="1565" y="181"/>
                    <a:pt x="1568" y="156"/>
                    <a:pt x="1563" y="159"/>
                  </a:cubicBezTo>
                  <a:cubicBezTo>
                    <a:pt x="1558" y="172"/>
                    <a:pt x="1554" y="153"/>
                    <a:pt x="1547" y="156"/>
                  </a:cubicBezTo>
                  <a:cubicBezTo>
                    <a:pt x="1550" y="161"/>
                    <a:pt x="1548" y="171"/>
                    <a:pt x="1550" y="174"/>
                  </a:cubicBezTo>
                  <a:cubicBezTo>
                    <a:pt x="1552" y="177"/>
                    <a:pt x="1557" y="177"/>
                    <a:pt x="1558" y="182"/>
                  </a:cubicBezTo>
                  <a:cubicBezTo>
                    <a:pt x="1554" y="182"/>
                    <a:pt x="1553" y="188"/>
                    <a:pt x="1550" y="189"/>
                  </a:cubicBezTo>
                  <a:cubicBezTo>
                    <a:pt x="1547" y="176"/>
                    <a:pt x="1530" y="182"/>
                    <a:pt x="1523" y="174"/>
                  </a:cubicBezTo>
                  <a:cubicBezTo>
                    <a:pt x="1522" y="177"/>
                    <a:pt x="1521" y="178"/>
                    <a:pt x="1518" y="178"/>
                  </a:cubicBezTo>
                  <a:cubicBezTo>
                    <a:pt x="1518" y="166"/>
                    <a:pt x="1510" y="187"/>
                    <a:pt x="1510" y="174"/>
                  </a:cubicBezTo>
                  <a:cubicBezTo>
                    <a:pt x="1510" y="169"/>
                    <a:pt x="1514" y="168"/>
                    <a:pt x="1515" y="163"/>
                  </a:cubicBezTo>
                  <a:cubicBezTo>
                    <a:pt x="1504" y="168"/>
                    <a:pt x="1506" y="156"/>
                    <a:pt x="1502" y="152"/>
                  </a:cubicBezTo>
                  <a:cubicBezTo>
                    <a:pt x="1501" y="156"/>
                    <a:pt x="1501" y="161"/>
                    <a:pt x="1496" y="159"/>
                  </a:cubicBezTo>
                  <a:cubicBezTo>
                    <a:pt x="1498" y="156"/>
                    <a:pt x="1502" y="146"/>
                    <a:pt x="1493" y="148"/>
                  </a:cubicBezTo>
                  <a:cubicBezTo>
                    <a:pt x="1485" y="147"/>
                    <a:pt x="1500" y="159"/>
                    <a:pt x="1491" y="159"/>
                  </a:cubicBezTo>
                  <a:cubicBezTo>
                    <a:pt x="1489" y="154"/>
                    <a:pt x="1487" y="150"/>
                    <a:pt x="1483" y="148"/>
                  </a:cubicBezTo>
                  <a:cubicBezTo>
                    <a:pt x="1483" y="164"/>
                    <a:pt x="1458" y="151"/>
                    <a:pt x="1450" y="156"/>
                  </a:cubicBezTo>
                  <a:cubicBezTo>
                    <a:pt x="1450" y="152"/>
                    <a:pt x="1450" y="148"/>
                    <a:pt x="1450" y="145"/>
                  </a:cubicBezTo>
                  <a:cubicBezTo>
                    <a:pt x="1445" y="143"/>
                    <a:pt x="1445" y="151"/>
                    <a:pt x="1442" y="152"/>
                  </a:cubicBezTo>
                  <a:cubicBezTo>
                    <a:pt x="1438" y="154"/>
                    <a:pt x="1433" y="151"/>
                    <a:pt x="1429" y="152"/>
                  </a:cubicBezTo>
                  <a:cubicBezTo>
                    <a:pt x="1428" y="150"/>
                    <a:pt x="1430" y="142"/>
                    <a:pt x="1429" y="141"/>
                  </a:cubicBezTo>
                  <a:cubicBezTo>
                    <a:pt x="1425" y="137"/>
                    <a:pt x="1406" y="140"/>
                    <a:pt x="1391" y="137"/>
                  </a:cubicBezTo>
                  <a:cubicBezTo>
                    <a:pt x="1388" y="137"/>
                    <a:pt x="1388" y="134"/>
                    <a:pt x="1383" y="133"/>
                  </a:cubicBezTo>
                  <a:cubicBezTo>
                    <a:pt x="1375" y="133"/>
                    <a:pt x="1377" y="140"/>
                    <a:pt x="1373" y="133"/>
                  </a:cubicBezTo>
                  <a:cubicBezTo>
                    <a:pt x="1370" y="130"/>
                    <a:pt x="1351" y="133"/>
                    <a:pt x="1354" y="137"/>
                  </a:cubicBezTo>
                  <a:cubicBezTo>
                    <a:pt x="1355" y="144"/>
                    <a:pt x="1366" y="137"/>
                    <a:pt x="1367" y="145"/>
                  </a:cubicBezTo>
                  <a:cubicBezTo>
                    <a:pt x="1362" y="152"/>
                    <a:pt x="1368" y="161"/>
                    <a:pt x="1367" y="163"/>
                  </a:cubicBezTo>
                  <a:cubicBezTo>
                    <a:pt x="1367" y="164"/>
                    <a:pt x="1362" y="162"/>
                    <a:pt x="1362" y="163"/>
                  </a:cubicBezTo>
                  <a:cubicBezTo>
                    <a:pt x="1361" y="164"/>
                    <a:pt x="1362" y="170"/>
                    <a:pt x="1362" y="170"/>
                  </a:cubicBezTo>
                  <a:cubicBezTo>
                    <a:pt x="1359" y="172"/>
                    <a:pt x="1354" y="170"/>
                    <a:pt x="1354" y="167"/>
                  </a:cubicBezTo>
                  <a:cubicBezTo>
                    <a:pt x="1357" y="166"/>
                    <a:pt x="1360" y="166"/>
                    <a:pt x="1359" y="159"/>
                  </a:cubicBezTo>
                  <a:cubicBezTo>
                    <a:pt x="1352" y="162"/>
                    <a:pt x="1349" y="158"/>
                    <a:pt x="1351" y="148"/>
                  </a:cubicBezTo>
                  <a:cubicBezTo>
                    <a:pt x="1354" y="153"/>
                    <a:pt x="1364" y="154"/>
                    <a:pt x="1364" y="145"/>
                  </a:cubicBezTo>
                  <a:cubicBezTo>
                    <a:pt x="1352" y="148"/>
                    <a:pt x="1351" y="136"/>
                    <a:pt x="1346" y="130"/>
                  </a:cubicBezTo>
                  <a:cubicBezTo>
                    <a:pt x="1345" y="135"/>
                    <a:pt x="1347" y="138"/>
                    <a:pt x="1348" y="141"/>
                  </a:cubicBezTo>
                  <a:cubicBezTo>
                    <a:pt x="1345" y="141"/>
                    <a:pt x="1342" y="143"/>
                    <a:pt x="1340" y="145"/>
                  </a:cubicBezTo>
                  <a:cubicBezTo>
                    <a:pt x="1339" y="140"/>
                    <a:pt x="1332" y="144"/>
                    <a:pt x="1329" y="141"/>
                  </a:cubicBezTo>
                  <a:cubicBezTo>
                    <a:pt x="1328" y="139"/>
                    <a:pt x="1330" y="132"/>
                    <a:pt x="1327" y="133"/>
                  </a:cubicBezTo>
                  <a:cubicBezTo>
                    <a:pt x="1322" y="151"/>
                    <a:pt x="1306" y="131"/>
                    <a:pt x="1297" y="141"/>
                  </a:cubicBezTo>
                  <a:cubicBezTo>
                    <a:pt x="1297" y="136"/>
                    <a:pt x="1298" y="133"/>
                    <a:pt x="1300" y="130"/>
                  </a:cubicBezTo>
                  <a:cubicBezTo>
                    <a:pt x="1291" y="132"/>
                    <a:pt x="1293" y="117"/>
                    <a:pt x="1286" y="126"/>
                  </a:cubicBezTo>
                  <a:cubicBezTo>
                    <a:pt x="1287" y="121"/>
                    <a:pt x="1285" y="118"/>
                    <a:pt x="1284" y="115"/>
                  </a:cubicBezTo>
                  <a:cubicBezTo>
                    <a:pt x="1283" y="112"/>
                    <a:pt x="1284" y="108"/>
                    <a:pt x="1281" y="108"/>
                  </a:cubicBezTo>
                  <a:cubicBezTo>
                    <a:pt x="1281" y="117"/>
                    <a:pt x="1280" y="123"/>
                    <a:pt x="1276" y="126"/>
                  </a:cubicBezTo>
                  <a:cubicBezTo>
                    <a:pt x="1268" y="131"/>
                    <a:pt x="1262" y="116"/>
                    <a:pt x="1260" y="126"/>
                  </a:cubicBezTo>
                  <a:cubicBezTo>
                    <a:pt x="1262" y="127"/>
                    <a:pt x="1263" y="129"/>
                    <a:pt x="1262" y="133"/>
                  </a:cubicBezTo>
                  <a:cubicBezTo>
                    <a:pt x="1255" y="133"/>
                    <a:pt x="1248" y="133"/>
                    <a:pt x="1241" y="133"/>
                  </a:cubicBezTo>
                  <a:cubicBezTo>
                    <a:pt x="1248" y="120"/>
                    <a:pt x="1234" y="134"/>
                    <a:pt x="1225" y="130"/>
                  </a:cubicBezTo>
                  <a:cubicBezTo>
                    <a:pt x="1225" y="109"/>
                    <a:pt x="1222" y="127"/>
                    <a:pt x="1219" y="126"/>
                  </a:cubicBezTo>
                  <a:cubicBezTo>
                    <a:pt x="1217" y="125"/>
                    <a:pt x="1220" y="119"/>
                    <a:pt x="1217" y="119"/>
                  </a:cubicBezTo>
                  <a:cubicBezTo>
                    <a:pt x="1216" y="119"/>
                    <a:pt x="1216" y="126"/>
                    <a:pt x="1214" y="126"/>
                  </a:cubicBezTo>
                  <a:cubicBezTo>
                    <a:pt x="1213" y="126"/>
                    <a:pt x="1211" y="117"/>
                    <a:pt x="1208" y="119"/>
                  </a:cubicBezTo>
                  <a:cubicBezTo>
                    <a:pt x="1208" y="122"/>
                    <a:pt x="1208" y="126"/>
                    <a:pt x="1206" y="126"/>
                  </a:cubicBezTo>
                  <a:cubicBezTo>
                    <a:pt x="1205" y="122"/>
                    <a:pt x="1206" y="116"/>
                    <a:pt x="1203" y="115"/>
                  </a:cubicBezTo>
                  <a:cubicBezTo>
                    <a:pt x="1197" y="120"/>
                    <a:pt x="1207" y="124"/>
                    <a:pt x="1200" y="126"/>
                  </a:cubicBezTo>
                  <a:cubicBezTo>
                    <a:pt x="1197" y="125"/>
                    <a:pt x="1197" y="120"/>
                    <a:pt x="1198" y="115"/>
                  </a:cubicBezTo>
                  <a:cubicBezTo>
                    <a:pt x="1190" y="116"/>
                    <a:pt x="1179" y="112"/>
                    <a:pt x="1179" y="122"/>
                  </a:cubicBezTo>
                  <a:cubicBezTo>
                    <a:pt x="1182" y="123"/>
                    <a:pt x="1187" y="122"/>
                    <a:pt x="1187" y="126"/>
                  </a:cubicBezTo>
                  <a:cubicBezTo>
                    <a:pt x="1182" y="126"/>
                    <a:pt x="1178" y="126"/>
                    <a:pt x="1173" y="126"/>
                  </a:cubicBezTo>
                  <a:cubicBezTo>
                    <a:pt x="1170" y="121"/>
                    <a:pt x="1172" y="105"/>
                    <a:pt x="1165" y="115"/>
                  </a:cubicBezTo>
                  <a:cubicBezTo>
                    <a:pt x="1169" y="103"/>
                    <a:pt x="1161" y="106"/>
                    <a:pt x="1160" y="100"/>
                  </a:cubicBezTo>
                  <a:cubicBezTo>
                    <a:pt x="1164" y="100"/>
                    <a:pt x="1170" y="101"/>
                    <a:pt x="1171" y="96"/>
                  </a:cubicBezTo>
                  <a:cubicBezTo>
                    <a:pt x="1163" y="97"/>
                    <a:pt x="1168" y="78"/>
                    <a:pt x="1160" y="78"/>
                  </a:cubicBezTo>
                  <a:cubicBezTo>
                    <a:pt x="1157" y="87"/>
                    <a:pt x="1168" y="93"/>
                    <a:pt x="1160" y="96"/>
                  </a:cubicBezTo>
                  <a:cubicBezTo>
                    <a:pt x="1158" y="94"/>
                    <a:pt x="1145" y="88"/>
                    <a:pt x="1144" y="96"/>
                  </a:cubicBezTo>
                  <a:cubicBezTo>
                    <a:pt x="1147" y="100"/>
                    <a:pt x="1151" y="101"/>
                    <a:pt x="1157" y="100"/>
                  </a:cubicBezTo>
                  <a:cubicBezTo>
                    <a:pt x="1161" y="105"/>
                    <a:pt x="1161" y="118"/>
                    <a:pt x="1155" y="119"/>
                  </a:cubicBezTo>
                  <a:cubicBezTo>
                    <a:pt x="1154" y="112"/>
                    <a:pt x="1145" y="98"/>
                    <a:pt x="1141" y="108"/>
                  </a:cubicBezTo>
                  <a:cubicBezTo>
                    <a:pt x="1144" y="109"/>
                    <a:pt x="1145" y="112"/>
                    <a:pt x="1147" y="115"/>
                  </a:cubicBezTo>
                  <a:cubicBezTo>
                    <a:pt x="1149" y="118"/>
                    <a:pt x="1152" y="119"/>
                    <a:pt x="1155" y="122"/>
                  </a:cubicBezTo>
                  <a:cubicBezTo>
                    <a:pt x="1156" y="123"/>
                    <a:pt x="1154" y="128"/>
                    <a:pt x="1155" y="130"/>
                  </a:cubicBezTo>
                  <a:cubicBezTo>
                    <a:pt x="1156" y="132"/>
                    <a:pt x="1161" y="129"/>
                    <a:pt x="1160" y="133"/>
                  </a:cubicBezTo>
                  <a:cubicBezTo>
                    <a:pt x="1155" y="134"/>
                    <a:pt x="1162" y="140"/>
                    <a:pt x="1157" y="141"/>
                  </a:cubicBezTo>
                  <a:cubicBezTo>
                    <a:pt x="1151" y="135"/>
                    <a:pt x="1147" y="142"/>
                    <a:pt x="1144" y="137"/>
                  </a:cubicBezTo>
                  <a:cubicBezTo>
                    <a:pt x="1140" y="131"/>
                    <a:pt x="1131" y="142"/>
                    <a:pt x="1131" y="141"/>
                  </a:cubicBezTo>
                  <a:cubicBezTo>
                    <a:pt x="1134" y="132"/>
                    <a:pt x="1120" y="129"/>
                    <a:pt x="1128" y="126"/>
                  </a:cubicBezTo>
                  <a:cubicBezTo>
                    <a:pt x="1134" y="127"/>
                    <a:pt x="1139" y="134"/>
                    <a:pt x="1141" y="122"/>
                  </a:cubicBezTo>
                  <a:cubicBezTo>
                    <a:pt x="1134" y="123"/>
                    <a:pt x="1132" y="117"/>
                    <a:pt x="1133" y="108"/>
                  </a:cubicBezTo>
                  <a:cubicBezTo>
                    <a:pt x="1124" y="111"/>
                    <a:pt x="1113" y="109"/>
                    <a:pt x="1098" y="104"/>
                  </a:cubicBezTo>
                  <a:cubicBezTo>
                    <a:pt x="1092" y="109"/>
                    <a:pt x="1102" y="113"/>
                    <a:pt x="1096" y="115"/>
                  </a:cubicBezTo>
                  <a:cubicBezTo>
                    <a:pt x="1091" y="115"/>
                    <a:pt x="1086" y="114"/>
                    <a:pt x="1087" y="122"/>
                  </a:cubicBezTo>
                  <a:cubicBezTo>
                    <a:pt x="1097" y="123"/>
                    <a:pt x="1095" y="117"/>
                    <a:pt x="1098" y="122"/>
                  </a:cubicBezTo>
                  <a:cubicBezTo>
                    <a:pt x="1099" y="123"/>
                    <a:pt x="1103" y="122"/>
                    <a:pt x="1104" y="122"/>
                  </a:cubicBezTo>
                  <a:cubicBezTo>
                    <a:pt x="1109" y="123"/>
                    <a:pt x="1123" y="119"/>
                    <a:pt x="1122" y="130"/>
                  </a:cubicBezTo>
                  <a:cubicBezTo>
                    <a:pt x="1119" y="130"/>
                    <a:pt x="1120" y="136"/>
                    <a:pt x="1117" y="137"/>
                  </a:cubicBezTo>
                  <a:cubicBezTo>
                    <a:pt x="1117" y="135"/>
                    <a:pt x="1117" y="132"/>
                    <a:pt x="1117" y="130"/>
                  </a:cubicBezTo>
                  <a:cubicBezTo>
                    <a:pt x="1104" y="125"/>
                    <a:pt x="1081" y="135"/>
                    <a:pt x="1085" y="108"/>
                  </a:cubicBezTo>
                  <a:cubicBezTo>
                    <a:pt x="1079" y="105"/>
                    <a:pt x="1073" y="95"/>
                    <a:pt x="1071" y="108"/>
                  </a:cubicBezTo>
                  <a:cubicBezTo>
                    <a:pt x="1076" y="105"/>
                    <a:pt x="1083" y="115"/>
                    <a:pt x="1077" y="115"/>
                  </a:cubicBezTo>
                  <a:cubicBezTo>
                    <a:pt x="1069" y="112"/>
                    <a:pt x="1070" y="101"/>
                    <a:pt x="1063" y="100"/>
                  </a:cubicBezTo>
                  <a:cubicBezTo>
                    <a:pt x="1063" y="100"/>
                    <a:pt x="1063" y="106"/>
                    <a:pt x="1061" y="104"/>
                  </a:cubicBezTo>
                  <a:cubicBezTo>
                    <a:pt x="1059" y="103"/>
                    <a:pt x="1060" y="94"/>
                    <a:pt x="1058" y="93"/>
                  </a:cubicBezTo>
                  <a:cubicBezTo>
                    <a:pt x="1055" y="91"/>
                    <a:pt x="1050" y="94"/>
                    <a:pt x="1047" y="93"/>
                  </a:cubicBezTo>
                  <a:cubicBezTo>
                    <a:pt x="1048" y="102"/>
                    <a:pt x="1043" y="104"/>
                    <a:pt x="1039" y="108"/>
                  </a:cubicBezTo>
                  <a:cubicBezTo>
                    <a:pt x="1041" y="93"/>
                    <a:pt x="1031" y="110"/>
                    <a:pt x="1028" y="111"/>
                  </a:cubicBezTo>
                  <a:cubicBezTo>
                    <a:pt x="1028" y="111"/>
                    <a:pt x="1029" y="104"/>
                    <a:pt x="1028" y="104"/>
                  </a:cubicBezTo>
                  <a:cubicBezTo>
                    <a:pt x="1025" y="99"/>
                    <a:pt x="1017" y="111"/>
                    <a:pt x="1020" y="115"/>
                  </a:cubicBezTo>
                  <a:cubicBezTo>
                    <a:pt x="1031" y="116"/>
                    <a:pt x="1046" y="111"/>
                    <a:pt x="1050" y="122"/>
                  </a:cubicBezTo>
                  <a:cubicBezTo>
                    <a:pt x="1039" y="118"/>
                    <a:pt x="1033" y="124"/>
                    <a:pt x="1018" y="122"/>
                  </a:cubicBezTo>
                  <a:cubicBezTo>
                    <a:pt x="1015" y="105"/>
                    <a:pt x="1020" y="94"/>
                    <a:pt x="1012" y="89"/>
                  </a:cubicBezTo>
                  <a:cubicBezTo>
                    <a:pt x="1008" y="103"/>
                    <a:pt x="1014" y="113"/>
                    <a:pt x="1009" y="119"/>
                  </a:cubicBezTo>
                  <a:cubicBezTo>
                    <a:pt x="1007" y="114"/>
                    <a:pt x="1008" y="111"/>
                    <a:pt x="1007" y="104"/>
                  </a:cubicBezTo>
                  <a:cubicBezTo>
                    <a:pt x="1006" y="101"/>
                    <a:pt x="1004" y="101"/>
                    <a:pt x="1004" y="100"/>
                  </a:cubicBezTo>
                  <a:cubicBezTo>
                    <a:pt x="1003" y="97"/>
                    <a:pt x="1007" y="95"/>
                    <a:pt x="1007" y="93"/>
                  </a:cubicBezTo>
                  <a:cubicBezTo>
                    <a:pt x="1006" y="90"/>
                    <a:pt x="999" y="89"/>
                    <a:pt x="1001" y="82"/>
                  </a:cubicBezTo>
                  <a:cubicBezTo>
                    <a:pt x="1005" y="81"/>
                    <a:pt x="1009" y="82"/>
                    <a:pt x="1009" y="78"/>
                  </a:cubicBezTo>
                  <a:cubicBezTo>
                    <a:pt x="1006" y="78"/>
                    <a:pt x="1002" y="78"/>
                    <a:pt x="999" y="78"/>
                  </a:cubicBezTo>
                  <a:cubicBezTo>
                    <a:pt x="999" y="84"/>
                    <a:pt x="998" y="89"/>
                    <a:pt x="996" y="93"/>
                  </a:cubicBezTo>
                  <a:cubicBezTo>
                    <a:pt x="998" y="94"/>
                    <a:pt x="1008" y="103"/>
                    <a:pt x="1001" y="104"/>
                  </a:cubicBezTo>
                  <a:cubicBezTo>
                    <a:pt x="993" y="107"/>
                    <a:pt x="998" y="92"/>
                    <a:pt x="991" y="93"/>
                  </a:cubicBezTo>
                  <a:cubicBezTo>
                    <a:pt x="982" y="104"/>
                    <a:pt x="968" y="88"/>
                    <a:pt x="966" y="96"/>
                  </a:cubicBezTo>
                  <a:cubicBezTo>
                    <a:pt x="970" y="98"/>
                    <a:pt x="972" y="100"/>
                    <a:pt x="975" y="104"/>
                  </a:cubicBezTo>
                  <a:cubicBezTo>
                    <a:pt x="972" y="107"/>
                    <a:pt x="974" y="111"/>
                    <a:pt x="972" y="122"/>
                  </a:cubicBezTo>
                  <a:cubicBezTo>
                    <a:pt x="970" y="124"/>
                    <a:pt x="959" y="131"/>
                    <a:pt x="958" y="122"/>
                  </a:cubicBezTo>
                  <a:cubicBezTo>
                    <a:pt x="958" y="115"/>
                    <a:pt x="962" y="115"/>
                    <a:pt x="964" y="111"/>
                  </a:cubicBezTo>
                  <a:cubicBezTo>
                    <a:pt x="959" y="110"/>
                    <a:pt x="965" y="105"/>
                    <a:pt x="961" y="104"/>
                  </a:cubicBezTo>
                  <a:cubicBezTo>
                    <a:pt x="959" y="113"/>
                    <a:pt x="952" y="91"/>
                    <a:pt x="950" y="108"/>
                  </a:cubicBezTo>
                  <a:cubicBezTo>
                    <a:pt x="952" y="108"/>
                    <a:pt x="956" y="108"/>
                    <a:pt x="956" y="111"/>
                  </a:cubicBezTo>
                  <a:cubicBezTo>
                    <a:pt x="951" y="111"/>
                    <a:pt x="947" y="109"/>
                    <a:pt x="945" y="104"/>
                  </a:cubicBezTo>
                  <a:cubicBezTo>
                    <a:pt x="947" y="95"/>
                    <a:pt x="949" y="87"/>
                    <a:pt x="940" y="85"/>
                  </a:cubicBezTo>
                  <a:cubicBezTo>
                    <a:pt x="937" y="99"/>
                    <a:pt x="947" y="108"/>
                    <a:pt x="937" y="111"/>
                  </a:cubicBezTo>
                  <a:cubicBezTo>
                    <a:pt x="935" y="94"/>
                    <a:pt x="924" y="96"/>
                    <a:pt x="918" y="108"/>
                  </a:cubicBezTo>
                  <a:cubicBezTo>
                    <a:pt x="917" y="99"/>
                    <a:pt x="919" y="93"/>
                    <a:pt x="921" y="89"/>
                  </a:cubicBezTo>
                  <a:cubicBezTo>
                    <a:pt x="912" y="83"/>
                    <a:pt x="904" y="87"/>
                    <a:pt x="894" y="89"/>
                  </a:cubicBezTo>
                  <a:cubicBezTo>
                    <a:pt x="890" y="84"/>
                    <a:pt x="890" y="75"/>
                    <a:pt x="894" y="71"/>
                  </a:cubicBezTo>
                  <a:cubicBezTo>
                    <a:pt x="890" y="71"/>
                    <a:pt x="887" y="71"/>
                    <a:pt x="883" y="71"/>
                  </a:cubicBezTo>
                  <a:cubicBezTo>
                    <a:pt x="881" y="82"/>
                    <a:pt x="892" y="75"/>
                    <a:pt x="889" y="89"/>
                  </a:cubicBezTo>
                  <a:cubicBezTo>
                    <a:pt x="875" y="87"/>
                    <a:pt x="875" y="90"/>
                    <a:pt x="867" y="82"/>
                  </a:cubicBezTo>
                  <a:cubicBezTo>
                    <a:pt x="865" y="94"/>
                    <a:pt x="858" y="80"/>
                    <a:pt x="856" y="82"/>
                  </a:cubicBezTo>
                  <a:cubicBezTo>
                    <a:pt x="854" y="83"/>
                    <a:pt x="856" y="95"/>
                    <a:pt x="851" y="93"/>
                  </a:cubicBezTo>
                  <a:cubicBezTo>
                    <a:pt x="853" y="81"/>
                    <a:pt x="847" y="81"/>
                    <a:pt x="843" y="78"/>
                  </a:cubicBezTo>
                  <a:cubicBezTo>
                    <a:pt x="841" y="96"/>
                    <a:pt x="839" y="103"/>
                    <a:pt x="843" y="115"/>
                  </a:cubicBezTo>
                  <a:cubicBezTo>
                    <a:pt x="838" y="115"/>
                    <a:pt x="834" y="115"/>
                    <a:pt x="829" y="115"/>
                  </a:cubicBezTo>
                  <a:cubicBezTo>
                    <a:pt x="829" y="109"/>
                    <a:pt x="829" y="103"/>
                    <a:pt x="827" y="100"/>
                  </a:cubicBezTo>
                  <a:cubicBezTo>
                    <a:pt x="829" y="94"/>
                    <a:pt x="840" y="101"/>
                    <a:pt x="837" y="89"/>
                  </a:cubicBezTo>
                  <a:cubicBezTo>
                    <a:pt x="830" y="90"/>
                    <a:pt x="826" y="88"/>
                    <a:pt x="827" y="78"/>
                  </a:cubicBezTo>
                  <a:cubicBezTo>
                    <a:pt x="818" y="75"/>
                    <a:pt x="823" y="91"/>
                    <a:pt x="813" y="85"/>
                  </a:cubicBezTo>
                  <a:cubicBezTo>
                    <a:pt x="817" y="72"/>
                    <a:pt x="806" y="62"/>
                    <a:pt x="802" y="71"/>
                  </a:cubicBezTo>
                  <a:cubicBezTo>
                    <a:pt x="808" y="70"/>
                    <a:pt x="811" y="74"/>
                    <a:pt x="810" y="82"/>
                  </a:cubicBezTo>
                  <a:cubicBezTo>
                    <a:pt x="807" y="85"/>
                    <a:pt x="801" y="85"/>
                    <a:pt x="797" y="89"/>
                  </a:cubicBezTo>
                  <a:cubicBezTo>
                    <a:pt x="797" y="82"/>
                    <a:pt x="797" y="74"/>
                    <a:pt x="797" y="67"/>
                  </a:cubicBezTo>
                  <a:cubicBezTo>
                    <a:pt x="784" y="67"/>
                    <a:pt x="795" y="82"/>
                    <a:pt x="789" y="85"/>
                  </a:cubicBezTo>
                  <a:cubicBezTo>
                    <a:pt x="776" y="81"/>
                    <a:pt x="771" y="88"/>
                    <a:pt x="765" y="78"/>
                  </a:cubicBezTo>
                  <a:cubicBezTo>
                    <a:pt x="758" y="79"/>
                    <a:pt x="755" y="84"/>
                    <a:pt x="746" y="82"/>
                  </a:cubicBezTo>
                  <a:cubicBezTo>
                    <a:pt x="746" y="78"/>
                    <a:pt x="744" y="77"/>
                    <a:pt x="743" y="74"/>
                  </a:cubicBezTo>
                  <a:cubicBezTo>
                    <a:pt x="744" y="70"/>
                    <a:pt x="747" y="67"/>
                    <a:pt x="741" y="67"/>
                  </a:cubicBezTo>
                  <a:cubicBezTo>
                    <a:pt x="732" y="66"/>
                    <a:pt x="747" y="78"/>
                    <a:pt x="738" y="78"/>
                  </a:cubicBezTo>
                  <a:cubicBezTo>
                    <a:pt x="733" y="78"/>
                    <a:pt x="736" y="66"/>
                    <a:pt x="730" y="67"/>
                  </a:cubicBezTo>
                  <a:cubicBezTo>
                    <a:pt x="729" y="71"/>
                    <a:pt x="727" y="73"/>
                    <a:pt x="724" y="74"/>
                  </a:cubicBezTo>
                  <a:cubicBezTo>
                    <a:pt x="718" y="57"/>
                    <a:pt x="687" y="71"/>
                    <a:pt x="681" y="52"/>
                  </a:cubicBezTo>
                  <a:cubicBezTo>
                    <a:pt x="691" y="55"/>
                    <a:pt x="692" y="44"/>
                    <a:pt x="700" y="45"/>
                  </a:cubicBezTo>
                  <a:cubicBezTo>
                    <a:pt x="700" y="48"/>
                    <a:pt x="700" y="52"/>
                    <a:pt x="700" y="56"/>
                  </a:cubicBezTo>
                  <a:cubicBezTo>
                    <a:pt x="707" y="55"/>
                    <a:pt x="710" y="49"/>
                    <a:pt x="714" y="45"/>
                  </a:cubicBezTo>
                  <a:cubicBezTo>
                    <a:pt x="710" y="41"/>
                    <a:pt x="707" y="34"/>
                    <a:pt x="703" y="30"/>
                  </a:cubicBezTo>
                  <a:cubicBezTo>
                    <a:pt x="702" y="34"/>
                    <a:pt x="700" y="38"/>
                    <a:pt x="698" y="41"/>
                  </a:cubicBezTo>
                  <a:cubicBezTo>
                    <a:pt x="697" y="31"/>
                    <a:pt x="693" y="46"/>
                    <a:pt x="687" y="41"/>
                  </a:cubicBezTo>
                  <a:cubicBezTo>
                    <a:pt x="687" y="35"/>
                    <a:pt x="680" y="38"/>
                    <a:pt x="681" y="30"/>
                  </a:cubicBezTo>
                  <a:cubicBezTo>
                    <a:pt x="673" y="25"/>
                    <a:pt x="679" y="42"/>
                    <a:pt x="671" y="37"/>
                  </a:cubicBezTo>
                  <a:cubicBezTo>
                    <a:pt x="667" y="38"/>
                    <a:pt x="668" y="30"/>
                    <a:pt x="665" y="30"/>
                  </a:cubicBezTo>
                  <a:cubicBezTo>
                    <a:pt x="664" y="30"/>
                    <a:pt x="664" y="36"/>
                    <a:pt x="660" y="34"/>
                  </a:cubicBezTo>
                  <a:cubicBezTo>
                    <a:pt x="659" y="33"/>
                    <a:pt x="660" y="27"/>
                    <a:pt x="660" y="26"/>
                  </a:cubicBezTo>
                  <a:cubicBezTo>
                    <a:pt x="646" y="29"/>
                    <a:pt x="636" y="25"/>
                    <a:pt x="630" y="15"/>
                  </a:cubicBezTo>
                  <a:cubicBezTo>
                    <a:pt x="631" y="22"/>
                    <a:pt x="627" y="22"/>
                    <a:pt x="625" y="26"/>
                  </a:cubicBezTo>
                  <a:cubicBezTo>
                    <a:pt x="626" y="26"/>
                    <a:pt x="628" y="29"/>
                    <a:pt x="625" y="30"/>
                  </a:cubicBezTo>
                  <a:cubicBezTo>
                    <a:pt x="625" y="26"/>
                    <a:pt x="621" y="24"/>
                    <a:pt x="625" y="22"/>
                  </a:cubicBezTo>
                  <a:cubicBezTo>
                    <a:pt x="626" y="18"/>
                    <a:pt x="629" y="15"/>
                    <a:pt x="622" y="15"/>
                  </a:cubicBezTo>
                  <a:cubicBezTo>
                    <a:pt x="618" y="15"/>
                    <a:pt x="621" y="25"/>
                    <a:pt x="617" y="26"/>
                  </a:cubicBezTo>
                  <a:cubicBezTo>
                    <a:pt x="608" y="12"/>
                    <a:pt x="600" y="36"/>
                    <a:pt x="593" y="34"/>
                  </a:cubicBezTo>
                  <a:cubicBezTo>
                    <a:pt x="591" y="33"/>
                    <a:pt x="590" y="22"/>
                    <a:pt x="587" y="22"/>
                  </a:cubicBezTo>
                  <a:cubicBezTo>
                    <a:pt x="587" y="28"/>
                    <a:pt x="588" y="36"/>
                    <a:pt x="585" y="37"/>
                  </a:cubicBezTo>
                  <a:cubicBezTo>
                    <a:pt x="584" y="33"/>
                    <a:pt x="580" y="33"/>
                    <a:pt x="577" y="34"/>
                  </a:cubicBezTo>
                  <a:cubicBezTo>
                    <a:pt x="578" y="24"/>
                    <a:pt x="571" y="26"/>
                    <a:pt x="568" y="22"/>
                  </a:cubicBezTo>
                  <a:cubicBezTo>
                    <a:pt x="568" y="26"/>
                    <a:pt x="566" y="27"/>
                    <a:pt x="566" y="30"/>
                  </a:cubicBezTo>
                  <a:cubicBezTo>
                    <a:pt x="566" y="34"/>
                    <a:pt x="570" y="36"/>
                    <a:pt x="566" y="37"/>
                  </a:cubicBezTo>
                  <a:cubicBezTo>
                    <a:pt x="565" y="32"/>
                    <a:pt x="562" y="30"/>
                    <a:pt x="563" y="22"/>
                  </a:cubicBezTo>
                  <a:cubicBezTo>
                    <a:pt x="557" y="30"/>
                    <a:pt x="548" y="16"/>
                    <a:pt x="542" y="26"/>
                  </a:cubicBezTo>
                  <a:cubicBezTo>
                    <a:pt x="544" y="30"/>
                    <a:pt x="547" y="34"/>
                    <a:pt x="550" y="37"/>
                  </a:cubicBezTo>
                  <a:cubicBezTo>
                    <a:pt x="541" y="38"/>
                    <a:pt x="542" y="26"/>
                    <a:pt x="531" y="30"/>
                  </a:cubicBezTo>
                  <a:cubicBezTo>
                    <a:pt x="528" y="24"/>
                    <a:pt x="527" y="18"/>
                    <a:pt x="520" y="19"/>
                  </a:cubicBezTo>
                  <a:cubicBezTo>
                    <a:pt x="519" y="16"/>
                    <a:pt x="520" y="12"/>
                    <a:pt x="517" y="11"/>
                  </a:cubicBezTo>
                  <a:cubicBezTo>
                    <a:pt x="519" y="29"/>
                    <a:pt x="509" y="18"/>
                    <a:pt x="515" y="26"/>
                  </a:cubicBezTo>
                  <a:cubicBezTo>
                    <a:pt x="516" y="28"/>
                    <a:pt x="517" y="34"/>
                    <a:pt x="515" y="34"/>
                  </a:cubicBezTo>
                  <a:cubicBezTo>
                    <a:pt x="510" y="32"/>
                    <a:pt x="513" y="19"/>
                    <a:pt x="504" y="22"/>
                  </a:cubicBezTo>
                  <a:cubicBezTo>
                    <a:pt x="501" y="29"/>
                    <a:pt x="512" y="35"/>
                    <a:pt x="504" y="37"/>
                  </a:cubicBezTo>
                  <a:cubicBezTo>
                    <a:pt x="500" y="33"/>
                    <a:pt x="503" y="19"/>
                    <a:pt x="496" y="19"/>
                  </a:cubicBezTo>
                  <a:cubicBezTo>
                    <a:pt x="497" y="29"/>
                    <a:pt x="486" y="10"/>
                    <a:pt x="485" y="22"/>
                  </a:cubicBezTo>
                  <a:cubicBezTo>
                    <a:pt x="489" y="25"/>
                    <a:pt x="492" y="28"/>
                    <a:pt x="493" y="34"/>
                  </a:cubicBezTo>
                  <a:cubicBezTo>
                    <a:pt x="487" y="29"/>
                    <a:pt x="483" y="43"/>
                    <a:pt x="482" y="34"/>
                  </a:cubicBezTo>
                  <a:cubicBezTo>
                    <a:pt x="482" y="29"/>
                    <a:pt x="487" y="30"/>
                    <a:pt x="488" y="26"/>
                  </a:cubicBezTo>
                  <a:cubicBezTo>
                    <a:pt x="488" y="26"/>
                    <a:pt x="482" y="22"/>
                    <a:pt x="482" y="19"/>
                  </a:cubicBezTo>
                  <a:cubicBezTo>
                    <a:pt x="483" y="17"/>
                    <a:pt x="489" y="15"/>
                    <a:pt x="488" y="11"/>
                  </a:cubicBezTo>
                  <a:cubicBezTo>
                    <a:pt x="479" y="8"/>
                    <a:pt x="484" y="24"/>
                    <a:pt x="477" y="22"/>
                  </a:cubicBezTo>
                  <a:cubicBezTo>
                    <a:pt x="467" y="27"/>
                    <a:pt x="462" y="15"/>
                    <a:pt x="458" y="22"/>
                  </a:cubicBezTo>
                  <a:cubicBezTo>
                    <a:pt x="459" y="22"/>
                    <a:pt x="462" y="26"/>
                    <a:pt x="458" y="26"/>
                  </a:cubicBezTo>
                  <a:cubicBezTo>
                    <a:pt x="459" y="16"/>
                    <a:pt x="441" y="31"/>
                    <a:pt x="445" y="15"/>
                  </a:cubicBezTo>
                  <a:cubicBezTo>
                    <a:pt x="440" y="14"/>
                    <a:pt x="439" y="20"/>
                    <a:pt x="437" y="22"/>
                  </a:cubicBezTo>
                  <a:cubicBezTo>
                    <a:pt x="435" y="18"/>
                    <a:pt x="434" y="14"/>
                    <a:pt x="431" y="11"/>
                  </a:cubicBezTo>
                  <a:cubicBezTo>
                    <a:pt x="425" y="29"/>
                    <a:pt x="405" y="19"/>
                    <a:pt x="399" y="30"/>
                  </a:cubicBezTo>
                  <a:cubicBezTo>
                    <a:pt x="397" y="25"/>
                    <a:pt x="393" y="23"/>
                    <a:pt x="388" y="22"/>
                  </a:cubicBezTo>
                  <a:cubicBezTo>
                    <a:pt x="388" y="18"/>
                    <a:pt x="388" y="14"/>
                    <a:pt x="383" y="15"/>
                  </a:cubicBezTo>
                  <a:cubicBezTo>
                    <a:pt x="378" y="18"/>
                    <a:pt x="379" y="29"/>
                    <a:pt x="372" y="30"/>
                  </a:cubicBezTo>
                  <a:cubicBezTo>
                    <a:pt x="372" y="26"/>
                    <a:pt x="370" y="26"/>
                    <a:pt x="367" y="26"/>
                  </a:cubicBezTo>
                  <a:cubicBezTo>
                    <a:pt x="364" y="26"/>
                    <a:pt x="365" y="23"/>
                    <a:pt x="364" y="22"/>
                  </a:cubicBezTo>
                  <a:cubicBezTo>
                    <a:pt x="362" y="21"/>
                    <a:pt x="359" y="23"/>
                    <a:pt x="356" y="22"/>
                  </a:cubicBezTo>
                  <a:cubicBezTo>
                    <a:pt x="354" y="22"/>
                    <a:pt x="352" y="19"/>
                    <a:pt x="351" y="19"/>
                  </a:cubicBezTo>
                  <a:cubicBezTo>
                    <a:pt x="349" y="19"/>
                    <a:pt x="348" y="30"/>
                    <a:pt x="343" y="26"/>
                  </a:cubicBezTo>
                  <a:cubicBezTo>
                    <a:pt x="342" y="21"/>
                    <a:pt x="344" y="13"/>
                    <a:pt x="340" y="11"/>
                  </a:cubicBezTo>
                  <a:cubicBezTo>
                    <a:pt x="339" y="14"/>
                    <a:pt x="340" y="19"/>
                    <a:pt x="337" y="19"/>
                  </a:cubicBezTo>
                  <a:cubicBezTo>
                    <a:pt x="333" y="23"/>
                    <a:pt x="333" y="20"/>
                    <a:pt x="329" y="19"/>
                  </a:cubicBezTo>
                  <a:cubicBezTo>
                    <a:pt x="324" y="17"/>
                    <a:pt x="321" y="23"/>
                    <a:pt x="318" y="22"/>
                  </a:cubicBezTo>
                  <a:cubicBezTo>
                    <a:pt x="317" y="22"/>
                    <a:pt x="317" y="18"/>
                    <a:pt x="313" y="19"/>
                  </a:cubicBezTo>
                  <a:cubicBezTo>
                    <a:pt x="311" y="19"/>
                    <a:pt x="312" y="23"/>
                    <a:pt x="308" y="22"/>
                  </a:cubicBezTo>
                  <a:cubicBezTo>
                    <a:pt x="307" y="22"/>
                    <a:pt x="303" y="15"/>
                    <a:pt x="302" y="15"/>
                  </a:cubicBezTo>
                  <a:cubicBezTo>
                    <a:pt x="288" y="21"/>
                    <a:pt x="275" y="26"/>
                    <a:pt x="265" y="15"/>
                  </a:cubicBezTo>
                  <a:cubicBezTo>
                    <a:pt x="265" y="21"/>
                    <a:pt x="253" y="23"/>
                    <a:pt x="251" y="22"/>
                  </a:cubicBezTo>
                  <a:cubicBezTo>
                    <a:pt x="249" y="22"/>
                    <a:pt x="249" y="19"/>
                    <a:pt x="249" y="19"/>
                  </a:cubicBezTo>
                  <a:cubicBezTo>
                    <a:pt x="243" y="18"/>
                    <a:pt x="234" y="31"/>
                    <a:pt x="235" y="15"/>
                  </a:cubicBezTo>
                  <a:cubicBezTo>
                    <a:pt x="225" y="18"/>
                    <a:pt x="215" y="19"/>
                    <a:pt x="205" y="22"/>
                  </a:cubicBezTo>
                  <a:cubicBezTo>
                    <a:pt x="202" y="22"/>
                    <a:pt x="201" y="18"/>
                    <a:pt x="200" y="15"/>
                  </a:cubicBezTo>
                  <a:cubicBezTo>
                    <a:pt x="195" y="12"/>
                    <a:pt x="195" y="21"/>
                    <a:pt x="189" y="22"/>
                  </a:cubicBezTo>
                  <a:cubicBezTo>
                    <a:pt x="189" y="22"/>
                    <a:pt x="187" y="18"/>
                    <a:pt x="184" y="19"/>
                  </a:cubicBezTo>
                  <a:cubicBezTo>
                    <a:pt x="184" y="19"/>
                    <a:pt x="184" y="22"/>
                    <a:pt x="184" y="22"/>
                  </a:cubicBezTo>
                  <a:cubicBezTo>
                    <a:pt x="182" y="25"/>
                    <a:pt x="166" y="23"/>
                    <a:pt x="165" y="22"/>
                  </a:cubicBezTo>
                  <a:cubicBezTo>
                    <a:pt x="161" y="21"/>
                    <a:pt x="162" y="19"/>
                    <a:pt x="160" y="22"/>
                  </a:cubicBezTo>
                  <a:cubicBezTo>
                    <a:pt x="158" y="26"/>
                    <a:pt x="145" y="22"/>
                    <a:pt x="144" y="22"/>
                  </a:cubicBezTo>
                  <a:cubicBezTo>
                    <a:pt x="140" y="24"/>
                    <a:pt x="140" y="26"/>
                    <a:pt x="138" y="22"/>
                  </a:cubicBezTo>
                  <a:cubicBezTo>
                    <a:pt x="138" y="22"/>
                    <a:pt x="134" y="23"/>
                    <a:pt x="133" y="22"/>
                  </a:cubicBezTo>
                  <a:cubicBezTo>
                    <a:pt x="123" y="21"/>
                    <a:pt x="120" y="19"/>
                    <a:pt x="114" y="19"/>
                  </a:cubicBezTo>
                  <a:cubicBezTo>
                    <a:pt x="110" y="18"/>
                    <a:pt x="111" y="23"/>
                    <a:pt x="109" y="19"/>
                  </a:cubicBezTo>
                  <a:cubicBezTo>
                    <a:pt x="108" y="18"/>
                    <a:pt x="104" y="19"/>
                    <a:pt x="103" y="19"/>
                  </a:cubicBezTo>
                  <a:cubicBezTo>
                    <a:pt x="99" y="17"/>
                    <a:pt x="97" y="16"/>
                    <a:pt x="95" y="19"/>
                  </a:cubicBezTo>
                  <a:cubicBezTo>
                    <a:pt x="95" y="19"/>
                    <a:pt x="91" y="19"/>
                    <a:pt x="90" y="19"/>
                  </a:cubicBezTo>
                  <a:cubicBezTo>
                    <a:pt x="80" y="19"/>
                    <a:pt x="79" y="14"/>
                    <a:pt x="76" y="19"/>
                  </a:cubicBezTo>
                  <a:cubicBezTo>
                    <a:pt x="74" y="23"/>
                    <a:pt x="64" y="15"/>
                    <a:pt x="63" y="15"/>
                  </a:cubicBezTo>
                  <a:cubicBezTo>
                    <a:pt x="55" y="13"/>
                    <a:pt x="48" y="12"/>
                    <a:pt x="39" y="11"/>
                  </a:cubicBezTo>
                  <a:cubicBezTo>
                    <a:pt x="39" y="7"/>
                    <a:pt x="42" y="6"/>
                    <a:pt x="41" y="0"/>
                  </a:cubicBezTo>
                  <a:cubicBezTo>
                    <a:pt x="28" y="7"/>
                    <a:pt x="16" y="24"/>
                    <a:pt x="12" y="37"/>
                  </a:cubicBezTo>
                  <a:cubicBezTo>
                    <a:pt x="11" y="39"/>
                    <a:pt x="9" y="43"/>
                    <a:pt x="9" y="45"/>
                  </a:cubicBezTo>
                  <a:cubicBezTo>
                    <a:pt x="9" y="48"/>
                    <a:pt x="7" y="47"/>
                    <a:pt x="7" y="48"/>
                  </a:cubicBezTo>
                  <a:cubicBezTo>
                    <a:pt x="4" y="56"/>
                    <a:pt x="5" y="69"/>
                    <a:pt x="4" y="78"/>
                  </a:cubicBezTo>
                  <a:cubicBezTo>
                    <a:pt x="4" y="78"/>
                    <a:pt x="2" y="79"/>
                    <a:pt x="1" y="82"/>
                  </a:cubicBezTo>
                  <a:cubicBezTo>
                    <a:pt x="0" y="85"/>
                    <a:pt x="2" y="89"/>
                    <a:pt x="1" y="93"/>
                  </a:cubicBezTo>
                  <a:cubicBezTo>
                    <a:pt x="18" y="99"/>
                    <a:pt x="3" y="124"/>
                    <a:pt x="4" y="141"/>
                  </a:cubicBezTo>
                  <a:cubicBezTo>
                    <a:pt x="9" y="138"/>
                    <a:pt x="8" y="146"/>
                    <a:pt x="9" y="148"/>
                  </a:cubicBezTo>
                  <a:cubicBezTo>
                    <a:pt x="12" y="151"/>
                    <a:pt x="18" y="149"/>
                    <a:pt x="17" y="156"/>
                  </a:cubicBezTo>
                  <a:cubicBezTo>
                    <a:pt x="15" y="156"/>
                    <a:pt x="14" y="156"/>
                    <a:pt x="12" y="156"/>
                  </a:cubicBezTo>
                  <a:cubicBezTo>
                    <a:pt x="15" y="172"/>
                    <a:pt x="3" y="168"/>
                    <a:pt x="4" y="182"/>
                  </a:cubicBezTo>
                  <a:cubicBezTo>
                    <a:pt x="7" y="182"/>
                    <a:pt x="11" y="181"/>
                    <a:pt x="12" y="185"/>
                  </a:cubicBezTo>
                  <a:cubicBezTo>
                    <a:pt x="13" y="199"/>
                    <a:pt x="19" y="203"/>
                    <a:pt x="15" y="215"/>
                  </a:cubicBezTo>
                  <a:cubicBezTo>
                    <a:pt x="20" y="212"/>
                    <a:pt x="18" y="220"/>
                    <a:pt x="20" y="222"/>
                  </a:cubicBezTo>
                  <a:cubicBezTo>
                    <a:pt x="21" y="224"/>
                    <a:pt x="26" y="222"/>
                    <a:pt x="25" y="226"/>
                  </a:cubicBezTo>
                  <a:cubicBezTo>
                    <a:pt x="25" y="232"/>
                    <a:pt x="26" y="237"/>
                    <a:pt x="28" y="241"/>
                  </a:cubicBezTo>
                  <a:cubicBezTo>
                    <a:pt x="25" y="241"/>
                    <a:pt x="23" y="241"/>
                    <a:pt x="20" y="241"/>
                  </a:cubicBezTo>
                  <a:cubicBezTo>
                    <a:pt x="23" y="252"/>
                    <a:pt x="22" y="255"/>
                    <a:pt x="17" y="263"/>
                  </a:cubicBezTo>
                  <a:cubicBezTo>
                    <a:pt x="22" y="264"/>
                    <a:pt x="24" y="257"/>
                    <a:pt x="25" y="263"/>
                  </a:cubicBezTo>
                  <a:cubicBezTo>
                    <a:pt x="24" y="268"/>
                    <a:pt x="20" y="270"/>
                    <a:pt x="15" y="270"/>
                  </a:cubicBezTo>
                  <a:cubicBezTo>
                    <a:pt x="12" y="282"/>
                    <a:pt x="22" y="278"/>
                    <a:pt x="23" y="285"/>
                  </a:cubicBezTo>
                  <a:cubicBezTo>
                    <a:pt x="14" y="288"/>
                    <a:pt x="18" y="297"/>
                    <a:pt x="15" y="300"/>
                  </a:cubicBezTo>
                  <a:cubicBezTo>
                    <a:pt x="7" y="310"/>
                    <a:pt x="12" y="294"/>
                    <a:pt x="7" y="292"/>
                  </a:cubicBezTo>
                  <a:cubicBezTo>
                    <a:pt x="1" y="306"/>
                    <a:pt x="12" y="313"/>
                    <a:pt x="15" y="322"/>
                  </a:cubicBezTo>
                  <a:cubicBezTo>
                    <a:pt x="16" y="325"/>
                    <a:pt x="9" y="334"/>
                    <a:pt x="17" y="333"/>
                  </a:cubicBezTo>
                  <a:cubicBezTo>
                    <a:pt x="18" y="329"/>
                    <a:pt x="17" y="323"/>
                    <a:pt x="20" y="322"/>
                  </a:cubicBezTo>
                  <a:cubicBezTo>
                    <a:pt x="19" y="334"/>
                    <a:pt x="25" y="335"/>
                    <a:pt x="23" y="348"/>
                  </a:cubicBezTo>
                  <a:cubicBezTo>
                    <a:pt x="22" y="352"/>
                    <a:pt x="6" y="352"/>
                    <a:pt x="15" y="355"/>
                  </a:cubicBezTo>
                  <a:cubicBezTo>
                    <a:pt x="23" y="357"/>
                    <a:pt x="26" y="347"/>
                    <a:pt x="28" y="359"/>
                  </a:cubicBezTo>
                  <a:cubicBezTo>
                    <a:pt x="25" y="358"/>
                    <a:pt x="23" y="353"/>
                    <a:pt x="23" y="363"/>
                  </a:cubicBezTo>
                  <a:cubicBezTo>
                    <a:pt x="31" y="367"/>
                    <a:pt x="29" y="357"/>
                    <a:pt x="33" y="355"/>
                  </a:cubicBezTo>
                  <a:cubicBezTo>
                    <a:pt x="34" y="363"/>
                    <a:pt x="43" y="359"/>
                    <a:pt x="44" y="366"/>
                  </a:cubicBezTo>
                  <a:cubicBezTo>
                    <a:pt x="39" y="374"/>
                    <a:pt x="45" y="374"/>
                    <a:pt x="47" y="381"/>
                  </a:cubicBezTo>
                  <a:cubicBezTo>
                    <a:pt x="43" y="380"/>
                    <a:pt x="42" y="377"/>
                    <a:pt x="39" y="381"/>
                  </a:cubicBezTo>
                  <a:cubicBezTo>
                    <a:pt x="41" y="369"/>
                    <a:pt x="33" y="376"/>
                    <a:pt x="33" y="381"/>
                  </a:cubicBezTo>
                  <a:cubicBezTo>
                    <a:pt x="40" y="382"/>
                    <a:pt x="43" y="388"/>
                    <a:pt x="47" y="392"/>
                  </a:cubicBezTo>
                  <a:cubicBezTo>
                    <a:pt x="42" y="392"/>
                    <a:pt x="38" y="392"/>
                    <a:pt x="33" y="392"/>
                  </a:cubicBezTo>
                  <a:cubicBezTo>
                    <a:pt x="31" y="404"/>
                    <a:pt x="41" y="399"/>
                    <a:pt x="39" y="411"/>
                  </a:cubicBezTo>
                  <a:cubicBezTo>
                    <a:pt x="45" y="416"/>
                    <a:pt x="50" y="400"/>
                    <a:pt x="52" y="411"/>
                  </a:cubicBezTo>
                  <a:cubicBezTo>
                    <a:pt x="49" y="411"/>
                    <a:pt x="46" y="412"/>
                    <a:pt x="47" y="418"/>
                  </a:cubicBezTo>
                  <a:cubicBezTo>
                    <a:pt x="47" y="423"/>
                    <a:pt x="51" y="422"/>
                    <a:pt x="52" y="426"/>
                  </a:cubicBezTo>
                  <a:cubicBezTo>
                    <a:pt x="46" y="425"/>
                    <a:pt x="42" y="427"/>
                    <a:pt x="41" y="433"/>
                  </a:cubicBezTo>
                  <a:cubicBezTo>
                    <a:pt x="45" y="434"/>
                    <a:pt x="44" y="439"/>
                    <a:pt x="44" y="444"/>
                  </a:cubicBezTo>
                  <a:cubicBezTo>
                    <a:pt x="52" y="450"/>
                    <a:pt x="56" y="439"/>
                    <a:pt x="58" y="455"/>
                  </a:cubicBezTo>
                  <a:cubicBezTo>
                    <a:pt x="48" y="458"/>
                    <a:pt x="46" y="451"/>
                    <a:pt x="41" y="448"/>
                  </a:cubicBezTo>
                  <a:cubicBezTo>
                    <a:pt x="45" y="457"/>
                    <a:pt x="31" y="459"/>
                    <a:pt x="39" y="463"/>
                  </a:cubicBezTo>
                  <a:cubicBezTo>
                    <a:pt x="39" y="458"/>
                    <a:pt x="46" y="458"/>
                    <a:pt x="47" y="463"/>
                  </a:cubicBezTo>
                  <a:cubicBezTo>
                    <a:pt x="36" y="459"/>
                    <a:pt x="51" y="487"/>
                    <a:pt x="36" y="485"/>
                  </a:cubicBezTo>
                  <a:cubicBezTo>
                    <a:pt x="38" y="499"/>
                    <a:pt x="44" y="506"/>
                    <a:pt x="47" y="518"/>
                  </a:cubicBezTo>
                  <a:cubicBezTo>
                    <a:pt x="39" y="526"/>
                    <a:pt x="47" y="532"/>
                    <a:pt x="39" y="537"/>
                  </a:cubicBezTo>
                  <a:cubicBezTo>
                    <a:pt x="40" y="534"/>
                    <a:pt x="36" y="533"/>
                    <a:pt x="36" y="533"/>
                  </a:cubicBezTo>
                  <a:cubicBezTo>
                    <a:pt x="36" y="530"/>
                    <a:pt x="39" y="528"/>
                    <a:pt x="39" y="529"/>
                  </a:cubicBezTo>
                  <a:cubicBezTo>
                    <a:pt x="38" y="525"/>
                    <a:pt x="36" y="520"/>
                    <a:pt x="36" y="518"/>
                  </a:cubicBezTo>
                  <a:cubicBezTo>
                    <a:pt x="36" y="518"/>
                    <a:pt x="41" y="517"/>
                    <a:pt x="41" y="514"/>
                  </a:cubicBezTo>
                  <a:cubicBezTo>
                    <a:pt x="42" y="511"/>
                    <a:pt x="37" y="508"/>
                    <a:pt x="36" y="507"/>
                  </a:cubicBezTo>
                  <a:cubicBezTo>
                    <a:pt x="31" y="519"/>
                    <a:pt x="41" y="530"/>
                    <a:pt x="28" y="533"/>
                  </a:cubicBezTo>
                  <a:cubicBezTo>
                    <a:pt x="28" y="539"/>
                    <a:pt x="28" y="545"/>
                    <a:pt x="28" y="551"/>
                  </a:cubicBezTo>
                  <a:cubicBezTo>
                    <a:pt x="38" y="557"/>
                    <a:pt x="29" y="535"/>
                    <a:pt x="39" y="540"/>
                  </a:cubicBezTo>
                  <a:cubicBezTo>
                    <a:pt x="34" y="547"/>
                    <a:pt x="38" y="550"/>
                    <a:pt x="39" y="559"/>
                  </a:cubicBezTo>
                  <a:cubicBezTo>
                    <a:pt x="37" y="560"/>
                    <a:pt x="34" y="559"/>
                    <a:pt x="33" y="562"/>
                  </a:cubicBezTo>
                  <a:cubicBezTo>
                    <a:pt x="37" y="572"/>
                    <a:pt x="41" y="556"/>
                    <a:pt x="44" y="566"/>
                  </a:cubicBezTo>
                  <a:cubicBezTo>
                    <a:pt x="39" y="564"/>
                    <a:pt x="36" y="583"/>
                    <a:pt x="41" y="585"/>
                  </a:cubicBezTo>
                  <a:cubicBezTo>
                    <a:pt x="45" y="579"/>
                    <a:pt x="46" y="569"/>
                    <a:pt x="52" y="566"/>
                  </a:cubicBezTo>
                  <a:cubicBezTo>
                    <a:pt x="57" y="573"/>
                    <a:pt x="50" y="579"/>
                    <a:pt x="47" y="585"/>
                  </a:cubicBezTo>
                  <a:cubicBezTo>
                    <a:pt x="44" y="585"/>
                    <a:pt x="44" y="588"/>
                    <a:pt x="41" y="588"/>
                  </a:cubicBezTo>
                  <a:cubicBezTo>
                    <a:pt x="35" y="593"/>
                    <a:pt x="31" y="579"/>
                    <a:pt x="31" y="588"/>
                  </a:cubicBezTo>
                  <a:cubicBezTo>
                    <a:pt x="34" y="598"/>
                    <a:pt x="52" y="589"/>
                    <a:pt x="49" y="607"/>
                  </a:cubicBezTo>
                  <a:cubicBezTo>
                    <a:pt x="46" y="602"/>
                    <a:pt x="38" y="604"/>
                    <a:pt x="39" y="614"/>
                  </a:cubicBezTo>
                  <a:cubicBezTo>
                    <a:pt x="49" y="609"/>
                    <a:pt x="45" y="622"/>
                    <a:pt x="47" y="625"/>
                  </a:cubicBezTo>
                  <a:cubicBezTo>
                    <a:pt x="48" y="627"/>
                    <a:pt x="53" y="625"/>
                    <a:pt x="52" y="629"/>
                  </a:cubicBezTo>
                  <a:cubicBezTo>
                    <a:pt x="50" y="649"/>
                    <a:pt x="39" y="636"/>
                    <a:pt x="33" y="648"/>
                  </a:cubicBezTo>
                  <a:cubicBezTo>
                    <a:pt x="42" y="647"/>
                    <a:pt x="35" y="663"/>
                    <a:pt x="36" y="670"/>
                  </a:cubicBezTo>
                  <a:cubicBezTo>
                    <a:pt x="36" y="670"/>
                    <a:pt x="41" y="671"/>
                    <a:pt x="41" y="673"/>
                  </a:cubicBezTo>
                  <a:cubicBezTo>
                    <a:pt x="42" y="678"/>
                    <a:pt x="37" y="679"/>
                    <a:pt x="39" y="684"/>
                  </a:cubicBezTo>
                  <a:cubicBezTo>
                    <a:pt x="41" y="685"/>
                    <a:pt x="42" y="688"/>
                    <a:pt x="41" y="692"/>
                  </a:cubicBezTo>
                  <a:cubicBezTo>
                    <a:pt x="46" y="692"/>
                    <a:pt x="51" y="691"/>
                    <a:pt x="49" y="699"/>
                  </a:cubicBezTo>
                  <a:cubicBezTo>
                    <a:pt x="46" y="699"/>
                    <a:pt x="46" y="695"/>
                    <a:pt x="41" y="696"/>
                  </a:cubicBezTo>
                  <a:cubicBezTo>
                    <a:pt x="45" y="707"/>
                    <a:pt x="37" y="705"/>
                    <a:pt x="36" y="710"/>
                  </a:cubicBezTo>
                  <a:cubicBezTo>
                    <a:pt x="40" y="712"/>
                    <a:pt x="43" y="716"/>
                    <a:pt x="44" y="721"/>
                  </a:cubicBezTo>
                  <a:cubicBezTo>
                    <a:pt x="39" y="722"/>
                    <a:pt x="36" y="721"/>
                    <a:pt x="33" y="718"/>
                  </a:cubicBezTo>
                  <a:cubicBezTo>
                    <a:pt x="31" y="730"/>
                    <a:pt x="36" y="732"/>
                    <a:pt x="39" y="736"/>
                  </a:cubicBezTo>
                  <a:cubicBezTo>
                    <a:pt x="31" y="730"/>
                    <a:pt x="31" y="752"/>
                    <a:pt x="36" y="751"/>
                  </a:cubicBezTo>
                  <a:cubicBezTo>
                    <a:pt x="38" y="733"/>
                    <a:pt x="37" y="755"/>
                    <a:pt x="41" y="755"/>
                  </a:cubicBezTo>
                  <a:cubicBezTo>
                    <a:pt x="40" y="748"/>
                    <a:pt x="49" y="736"/>
                    <a:pt x="49" y="744"/>
                  </a:cubicBezTo>
                  <a:cubicBezTo>
                    <a:pt x="49" y="751"/>
                    <a:pt x="42" y="748"/>
                    <a:pt x="44" y="759"/>
                  </a:cubicBezTo>
                  <a:cubicBezTo>
                    <a:pt x="47" y="757"/>
                    <a:pt x="53" y="769"/>
                    <a:pt x="47" y="770"/>
                  </a:cubicBezTo>
                  <a:cubicBezTo>
                    <a:pt x="50" y="760"/>
                    <a:pt x="38" y="753"/>
                    <a:pt x="36" y="762"/>
                  </a:cubicBezTo>
                  <a:cubicBezTo>
                    <a:pt x="42" y="763"/>
                    <a:pt x="42" y="772"/>
                    <a:pt x="39" y="777"/>
                  </a:cubicBezTo>
                  <a:cubicBezTo>
                    <a:pt x="44" y="781"/>
                    <a:pt x="48" y="766"/>
                    <a:pt x="49" y="777"/>
                  </a:cubicBezTo>
                  <a:cubicBezTo>
                    <a:pt x="51" y="791"/>
                    <a:pt x="38" y="783"/>
                    <a:pt x="36" y="792"/>
                  </a:cubicBezTo>
                  <a:cubicBezTo>
                    <a:pt x="39" y="792"/>
                    <a:pt x="39" y="798"/>
                    <a:pt x="39" y="803"/>
                  </a:cubicBezTo>
                  <a:cubicBezTo>
                    <a:pt x="44" y="807"/>
                    <a:pt x="50" y="809"/>
                    <a:pt x="52" y="818"/>
                  </a:cubicBezTo>
                  <a:cubicBezTo>
                    <a:pt x="48" y="814"/>
                    <a:pt x="46" y="814"/>
                    <a:pt x="44" y="821"/>
                  </a:cubicBezTo>
                  <a:cubicBezTo>
                    <a:pt x="46" y="828"/>
                    <a:pt x="57" y="821"/>
                    <a:pt x="58" y="829"/>
                  </a:cubicBezTo>
                  <a:cubicBezTo>
                    <a:pt x="58" y="837"/>
                    <a:pt x="57" y="843"/>
                    <a:pt x="52" y="844"/>
                  </a:cubicBezTo>
                  <a:cubicBezTo>
                    <a:pt x="52" y="839"/>
                    <a:pt x="56" y="838"/>
                    <a:pt x="55" y="832"/>
                  </a:cubicBezTo>
                  <a:cubicBezTo>
                    <a:pt x="47" y="831"/>
                    <a:pt x="49" y="839"/>
                    <a:pt x="44" y="840"/>
                  </a:cubicBezTo>
                  <a:cubicBezTo>
                    <a:pt x="45" y="840"/>
                    <a:pt x="42" y="833"/>
                    <a:pt x="41" y="832"/>
                  </a:cubicBezTo>
                  <a:cubicBezTo>
                    <a:pt x="39" y="831"/>
                    <a:pt x="37" y="838"/>
                    <a:pt x="36" y="840"/>
                  </a:cubicBezTo>
                  <a:cubicBezTo>
                    <a:pt x="39" y="841"/>
                    <a:pt x="42" y="845"/>
                    <a:pt x="41" y="851"/>
                  </a:cubicBezTo>
                  <a:cubicBezTo>
                    <a:pt x="45" y="852"/>
                    <a:pt x="49" y="845"/>
                    <a:pt x="49" y="851"/>
                  </a:cubicBezTo>
                  <a:cubicBezTo>
                    <a:pt x="49" y="852"/>
                    <a:pt x="47" y="858"/>
                    <a:pt x="47" y="858"/>
                  </a:cubicBezTo>
                  <a:cubicBezTo>
                    <a:pt x="55" y="864"/>
                    <a:pt x="56" y="859"/>
                    <a:pt x="63" y="858"/>
                  </a:cubicBezTo>
                  <a:cubicBezTo>
                    <a:pt x="62" y="864"/>
                    <a:pt x="67" y="868"/>
                    <a:pt x="68" y="862"/>
                  </a:cubicBezTo>
                  <a:cubicBezTo>
                    <a:pt x="64" y="862"/>
                    <a:pt x="73" y="838"/>
                    <a:pt x="66" y="832"/>
                  </a:cubicBezTo>
                  <a:cubicBezTo>
                    <a:pt x="76" y="835"/>
                    <a:pt x="67" y="801"/>
                    <a:pt x="79" y="818"/>
                  </a:cubicBezTo>
                  <a:cubicBezTo>
                    <a:pt x="81" y="807"/>
                    <a:pt x="75" y="808"/>
                    <a:pt x="76" y="799"/>
                  </a:cubicBezTo>
                  <a:cubicBezTo>
                    <a:pt x="70" y="800"/>
                    <a:pt x="66" y="798"/>
                    <a:pt x="66" y="792"/>
                  </a:cubicBezTo>
                  <a:cubicBezTo>
                    <a:pt x="71" y="792"/>
                    <a:pt x="65" y="787"/>
                    <a:pt x="66" y="784"/>
                  </a:cubicBezTo>
                  <a:cubicBezTo>
                    <a:pt x="66" y="783"/>
                    <a:pt x="71" y="785"/>
                    <a:pt x="71" y="784"/>
                  </a:cubicBezTo>
                  <a:cubicBezTo>
                    <a:pt x="73" y="780"/>
                    <a:pt x="69" y="763"/>
                    <a:pt x="76" y="766"/>
                  </a:cubicBezTo>
                  <a:cubicBezTo>
                    <a:pt x="70" y="760"/>
                    <a:pt x="77" y="755"/>
                    <a:pt x="76" y="751"/>
                  </a:cubicBezTo>
                  <a:cubicBezTo>
                    <a:pt x="76" y="749"/>
                    <a:pt x="64" y="739"/>
                    <a:pt x="74" y="736"/>
                  </a:cubicBezTo>
                  <a:cubicBezTo>
                    <a:pt x="77" y="741"/>
                    <a:pt x="86" y="739"/>
                    <a:pt x="90" y="744"/>
                  </a:cubicBezTo>
                  <a:cubicBezTo>
                    <a:pt x="88" y="735"/>
                    <a:pt x="86" y="726"/>
                    <a:pt x="95" y="725"/>
                  </a:cubicBezTo>
                  <a:cubicBezTo>
                    <a:pt x="92" y="739"/>
                    <a:pt x="100" y="756"/>
                    <a:pt x="106" y="744"/>
                  </a:cubicBezTo>
                  <a:cubicBezTo>
                    <a:pt x="102" y="741"/>
                    <a:pt x="101" y="739"/>
                    <a:pt x="103" y="736"/>
                  </a:cubicBezTo>
                  <a:cubicBezTo>
                    <a:pt x="104" y="736"/>
                    <a:pt x="96" y="719"/>
                    <a:pt x="103" y="721"/>
                  </a:cubicBezTo>
                  <a:cubicBezTo>
                    <a:pt x="107" y="735"/>
                    <a:pt x="113" y="734"/>
                    <a:pt x="109" y="751"/>
                  </a:cubicBezTo>
                  <a:cubicBezTo>
                    <a:pt x="113" y="751"/>
                    <a:pt x="117" y="752"/>
                    <a:pt x="119" y="755"/>
                  </a:cubicBezTo>
                  <a:cubicBezTo>
                    <a:pt x="119" y="746"/>
                    <a:pt x="114" y="739"/>
                    <a:pt x="122" y="736"/>
                  </a:cubicBezTo>
                  <a:cubicBezTo>
                    <a:pt x="122" y="752"/>
                    <a:pt x="124" y="745"/>
                    <a:pt x="128" y="740"/>
                  </a:cubicBezTo>
                  <a:cubicBezTo>
                    <a:pt x="125" y="764"/>
                    <a:pt x="138" y="764"/>
                    <a:pt x="149" y="770"/>
                  </a:cubicBezTo>
                  <a:cubicBezTo>
                    <a:pt x="149" y="765"/>
                    <a:pt x="150" y="761"/>
                    <a:pt x="154" y="762"/>
                  </a:cubicBezTo>
                  <a:cubicBezTo>
                    <a:pt x="155" y="758"/>
                    <a:pt x="155" y="753"/>
                    <a:pt x="160" y="755"/>
                  </a:cubicBezTo>
                  <a:cubicBezTo>
                    <a:pt x="163" y="767"/>
                    <a:pt x="151" y="758"/>
                    <a:pt x="154" y="770"/>
                  </a:cubicBezTo>
                  <a:cubicBezTo>
                    <a:pt x="158" y="769"/>
                    <a:pt x="164" y="771"/>
                    <a:pt x="165" y="766"/>
                  </a:cubicBezTo>
                  <a:cubicBezTo>
                    <a:pt x="161" y="766"/>
                    <a:pt x="165" y="762"/>
                    <a:pt x="165" y="762"/>
                  </a:cubicBezTo>
                  <a:cubicBezTo>
                    <a:pt x="165" y="760"/>
                    <a:pt x="162" y="756"/>
                    <a:pt x="163" y="755"/>
                  </a:cubicBezTo>
                  <a:cubicBezTo>
                    <a:pt x="163" y="751"/>
                    <a:pt x="168" y="752"/>
                    <a:pt x="168" y="744"/>
                  </a:cubicBezTo>
                  <a:cubicBezTo>
                    <a:pt x="168" y="744"/>
                    <a:pt x="165" y="744"/>
                    <a:pt x="165" y="744"/>
                  </a:cubicBezTo>
                  <a:cubicBezTo>
                    <a:pt x="163" y="741"/>
                    <a:pt x="161" y="721"/>
                    <a:pt x="168" y="729"/>
                  </a:cubicBezTo>
                  <a:cubicBezTo>
                    <a:pt x="169" y="715"/>
                    <a:pt x="157" y="719"/>
                    <a:pt x="160" y="703"/>
                  </a:cubicBezTo>
                  <a:cubicBezTo>
                    <a:pt x="166" y="702"/>
                    <a:pt x="171" y="699"/>
                    <a:pt x="176" y="696"/>
                  </a:cubicBezTo>
                  <a:cubicBezTo>
                    <a:pt x="176" y="691"/>
                    <a:pt x="176" y="686"/>
                    <a:pt x="176" y="681"/>
                  </a:cubicBezTo>
                  <a:cubicBezTo>
                    <a:pt x="165" y="683"/>
                    <a:pt x="174" y="672"/>
                    <a:pt x="173" y="670"/>
                  </a:cubicBezTo>
                  <a:cubicBezTo>
                    <a:pt x="173" y="667"/>
                    <a:pt x="168" y="666"/>
                    <a:pt x="168" y="662"/>
                  </a:cubicBezTo>
                  <a:cubicBezTo>
                    <a:pt x="167" y="658"/>
                    <a:pt x="168" y="652"/>
                    <a:pt x="170" y="651"/>
                  </a:cubicBezTo>
                  <a:cubicBezTo>
                    <a:pt x="174" y="653"/>
                    <a:pt x="173" y="659"/>
                    <a:pt x="176" y="662"/>
                  </a:cubicBezTo>
                  <a:cubicBezTo>
                    <a:pt x="175" y="661"/>
                    <a:pt x="177" y="658"/>
                    <a:pt x="178" y="658"/>
                  </a:cubicBezTo>
                  <a:cubicBezTo>
                    <a:pt x="177" y="659"/>
                    <a:pt x="188" y="675"/>
                    <a:pt x="187" y="662"/>
                  </a:cubicBezTo>
                  <a:cubicBezTo>
                    <a:pt x="184" y="661"/>
                    <a:pt x="183" y="655"/>
                    <a:pt x="181" y="651"/>
                  </a:cubicBezTo>
                  <a:cubicBezTo>
                    <a:pt x="177" y="641"/>
                    <a:pt x="184" y="646"/>
                    <a:pt x="181" y="636"/>
                  </a:cubicBezTo>
                  <a:cubicBezTo>
                    <a:pt x="181" y="634"/>
                    <a:pt x="176" y="634"/>
                    <a:pt x="176" y="629"/>
                  </a:cubicBezTo>
                  <a:cubicBezTo>
                    <a:pt x="176" y="629"/>
                    <a:pt x="181" y="626"/>
                    <a:pt x="181" y="625"/>
                  </a:cubicBezTo>
                  <a:cubicBezTo>
                    <a:pt x="184" y="619"/>
                    <a:pt x="180" y="610"/>
                    <a:pt x="184" y="607"/>
                  </a:cubicBezTo>
                  <a:cubicBezTo>
                    <a:pt x="177" y="609"/>
                    <a:pt x="174" y="605"/>
                    <a:pt x="176" y="596"/>
                  </a:cubicBezTo>
                  <a:cubicBezTo>
                    <a:pt x="181" y="595"/>
                    <a:pt x="182" y="600"/>
                    <a:pt x="187" y="599"/>
                  </a:cubicBezTo>
                  <a:cubicBezTo>
                    <a:pt x="187" y="597"/>
                    <a:pt x="187" y="592"/>
                    <a:pt x="189" y="592"/>
                  </a:cubicBezTo>
                  <a:cubicBezTo>
                    <a:pt x="189" y="597"/>
                    <a:pt x="190" y="606"/>
                    <a:pt x="192" y="599"/>
                  </a:cubicBezTo>
                  <a:cubicBezTo>
                    <a:pt x="191" y="591"/>
                    <a:pt x="193" y="586"/>
                    <a:pt x="197" y="585"/>
                  </a:cubicBezTo>
                  <a:cubicBezTo>
                    <a:pt x="195" y="598"/>
                    <a:pt x="197" y="594"/>
                    <a:pt x="195" y="607"/>
                  </a:cubicBezTo>
                  <a:cubicBezTo>
                    <a:pt x="202" y="604"/>
                    <a:pt x="193" y="624"/>
                    <a:pt x="200" y="622"/>
                  </a:cubicBezTo>
                  <a:cubicBezTo>
                    <a:pt x="206" y="611"/>
                    <a:pt x="195" y="608"/>
                    <a:pt x="200" y="603"/>
                  </a:cubicBezTo>
                  <a:cubicBezTo>
                    <a:pt x="208" y="613"/>
                    <a:pt x="210" y="635"/>
                    <a:pt x="200" y="644"/>
                  </a:cubicBezTo>
                  <a:cubicBezTo>
                    <a:pt x="197" y="640"/>
                    <a:pt x="191" y="640"/>
                    <a:pt x="184" y="640"/>
                  </a:cubicBezTo>
                  <a:cubicBezTo>
                    <a:pt x="185" y="650"/>
                    <a:pt x="187" y="658"/>
                    <a:pt x="192" y="662"/>
                  </a:cubicBezTo>
                  <a:cubicBezTo>
                    <a:pt x="187" y="664"/>
                    <a:pt x="193" y="667"/>
                    <a:pt x="192" y="673"/>
                  </a:cubicBezTo>
                  <a:cubicBezTo>
                    <a:pt x="185" y="673"/>
                    <a:pt x="184" y="666"/>
                    <a:pt x="181" y="677"/>
                  </a:cubicBezTo>
                  <a:cubicBezTo>
                    <a:pt x="188" y="675"/>
                    <a:pt x="175" y="694"/>
                    <a:pt x="184" y="696"/>
                  </a:cubicBezTo>
                  <a:cubicBezTo>
                    <a:pt x="188" y="691"/>
                    <a:pt x="184" y="676"/>
                    <a:pt x="195" y="681"/>
                  </a:cubicBezTo>
                  <a:cubicBezTo>
                    <a:pt x="194" y="668"/>
                    <a:pt x="199" y="665"/>
                    <a:pt x="203" y="659"/>
                  </a:cubicBezTo>
                  <a:cubicBezTo>
                    <a:pt x="207" y="661"/>
                    <a:pt x="202" y="677"/>
                    <a:pt x="211" y="673"/>
                  </a:cubicBezTo>
                  <a:cubicBezTo>
                    <a:pt x="212" y="667"/>
                    <a:pt x="207" y="664"/>
                    <a:pt x="211" y="662"/>
                  </a:cubicBezTo>
                  <a:cubicBezTo>
                    <a:pt x="213" y="663"/>
                    <a:pt x="216" y="662"/>
                    <a:pt x="216" y="666"/>
                  </a:cubicBezTo>
                  <a:cubicBezTo>
                    <a:pt x="212" y="668"/>
                    <a:pt x="216" y="680"/>
                    <a:pt x="211" y="681"/>
                  </a:cubicBezTo>
                  <a:cubicBezTo>
                    <a:pt x="205" y="679"/>
                    <a:pt x="206" y="670"/>
                    <a:pt x="200" y="677"/>
                  </a:cubicBezTo>
                  <a:cubicBezTo>
                    <a:pt x="199" y="691"/>
                    <a:pt x="201" y="701"/>
                    <a:pt x="205" y="707"/>
                  </a:cubicBezTo>
                  <a:cubicBezTo>
                    <a:pt x="199" y="706"/>
                    <a:pt x="197" y="700"/>
                    <a:pt x="195" y="710"/>
                  </a:cubicBezTo>
                  <a:cubicBezTo>
                    <a:pt x="202" y="714"/>
                    <a:pt x="191" y="722"/>
                    <a:pt x="195" y="733"/>
                  </a:cubicBezTo>
                  <a:cubicBezTo>
                    <a:pt x="200" y="736"/>
                    <a:pt x="204" y="722"/>
                    <a:pt x="205" y="733"/>
                  </a:cubicBezTo>
                  <a:cubicBezTo>
                    <a:pt x="200" y="731"/>
                    <a:pt x="200" y="738"/>
                    <a:pt x="197" y="740"/>
                  </a:cubicBezTo>
                  <a:cubicBezTo>
                    <a:pt x="196" y="740"/>
                    <a:pt x="194" y="741"/>
                    <a:pt x="195" y="744"/>
                  </a:cubicBezTo>
                  <a:cubicBezTo>
                    <a:pt x="203" y="747"/>
                    <a:pt x="208" y="728"/>
                    <a:pt x="211" y="736"/>
                  </a:cubicBezTo>
                  <a:cubicBezTo>
                    <a:pt x="204" y="742"/>
                    <a:pt x="210" y="762"/>
                    <a:pt x="211" y="770"/>
                  </a:cubicBezTo>
                  <a:cubicBezTo>
                    <a:pt x="211" y="779"/>
                    <a:pt x="211" y="789"/>
                    <a:pt x="211" y="799"/>
                  </a:cubicBezTo>
                  <a:cubicBezTo>
                    <a:pt x="201" y="797"/>
                    <a:pt x="199" y="806"/>
                    <a:pt x="189" y="803"/>
                  </a:cubicBezTo>
                  <a:cubicBezTo>
                    <a:pt x="188" y="817"/>
                    <a:pt x="206" y="804"/>
                    <a:pt x="200" y="825"/>
                  </a:cubicBezTo>
                  <a:cubicBezTo>
                    <a:pt x="209" y="826"/>
                    <a:pt x="206" y="811"/>
                    <a:pt x="214" y="810"/>
                  </a:cubicBezTo>
                  <a:cubicBezTo>
                    <a:pt x="218" y="823"/>
                    <a:pt x="214" y="823"/>
                    <a:pt x="214" y="840"/>
                  </a:cubicBezTo>
                  <a:cubicBezTo>
                    <a:pt x="208" y="837"/>
                    <a:pt x="203" y="852"/>
                    <a:pt x="208" y="851"/>
                  </a:cubicBezTo>
                  <a:cubicBezTo>
                    <a:pt x="209" y="847"/>
                    <a:pt x="212" y="847"/>
                    <a:pt x="216" y="847"/>
                  </a:cubicBezTo>
                  <a:cubicBezTo>
                    <a:pt x="210" y="855"/>
                    <a:pt x="219" y="859"/>
                    <a:pt x="214" y="866"/>
                  </a:cubicBezTo>
                  <a:cubicBezTo>
                    <a:pt x="223" y="869"/>
                    <a:pt x="216" y="849"/>
                    <a:pt x="224" y="851"/>
                  </a:cubicBezTo>
                  <a:cubicBezTo>
                    <a:pt x="227" y="854"/>
                    <a:pt x="225" y="865"/>
                    <a:pt x="232" y="862"/>
                  </a:cubicBezTo>
                  <a:cubicBezTo>
                    <a:pt x="229" y="850"/>
                    <a:pt x="241" y="859"/>
                    <a:pt x="238" y="847"/>
                  </a:cubicBezTo>
                  <a:cubicBezTo>
                    <a:pt x="229" y="843"/>
                    <a:pt x="236" y="859"/>
                    <a:pt x="227" y="855"/>
                  </a:cubicBezTo>
                  <a:cubicBezTo>
                    <a:pt x="231" y="840"/>
                    <a:pt x="220" y="847"/>
                    <a:pt x="219" y="840"/>
                  </a:cubicBezTo>
                  <a:cubicBezTo>
                    <a:pt x="222" y="837"/>
                    <a:pt x="226" y="835"/>
                    <a:pt x="232" y="836"/>
                  </a:cubicBezTo>
                  <a:cubicBezTo>
                    <a:pt x="233" y="831"/>
                    <a:pt x="231" y="822"/>
                    <a:pt x="235" y="821"/>
                  </a:cubicBezTo>
                  <a:cubicBezTo>
                    <a:pt x="239" y="830"/>
                    <a:pt x="243" y="815"/>
                    <a:pt x="246" y="825"/>
                  </a:cubicBezTo>
                  <a:cubicBezTo>
                    <a:pt x="242" y="834"/>
                    <a:pt x="247" y="832"/>
                    <a:pt x="243" y="836"/>
                  </a:cubicBezTo>
                  <a:cubicBezTo>
                    <a:pt x="242" y="837"/>
                    <a:pt x="243" y="842"/>
                    <a:pt x="243" y="844"/>
                  </a:cubicBezTo>
                  <a:cubicBezTo>
                    <a:pt x="240" y="853"/>
                    <a:pt x="245" y="849"/>
                    <a:pt x="243" y="858"/>
                  </a:cubicBezTo>
                  <a:cubicBezTo>
                    <a:pt x="243" y="861"/>
                    <a:pt x="235" y="862"/>
                    <a:pt x="238" y="869"/>
                  </a:cubicBezTo>
                  <a:cubicBezTo>
                    <a:pt x="241" y="872"/>
                    <a:pt x="243" y="877"/>
                    <a:pt x="243" y="884"/>
                  </a:cubicBezTo>
                  <a:cubicBezTo>
                    <a:pt x="240" y="885"/>
                    <a:pt x="239" y="879"/>
                    <a:pt x="238" y="884"/>
                  </a:cubicBezTo>
                  <a:cubicBezTo>
                    <a:pt x="241" y="885"/>
                    <a:pt x="241" y="890"/>
                    <a:pt x="240" y="895"/>
                  </a:cubicBezTo>
                  <a:cubicBezTo>
                    <a:pt x="237" y="896"/>
                    <a:pt x="233" y="895"/>
                    <a:pt x="232" y="899"/>
                  </a:cubicBezTo>
                  <a:cubicBezTo>
                    <a:pt x="238" y="898"/>
                    <a:pt x="234" y="912"/>
                    <a:pt x="235" y="918"/>
                  </a:cubicBezTo>
                  <a:cubicBezTo>
                    <a:pt x="245" y="916"/>
                    <a:pt x="249" y="907"/>
                    <a:pt x="251" y="895"/>
                  </a:cubicBezTo>
                  <a:cubicBezTo>
                    <a:pt x="249" y="894"/>
                    <a:pt x="246" y="895"/>
                    <a:pt x="246" y="892"/>
                  </a:cubicBezTo>
                  <a:cubicBezTo>
                    <a:pt x="254" y="879"/>
                    <a:pt x="238" y="856"/>
                    <a:pt x="254" y="855"/>
                  </a:cubicBezTo>
                  <a:cubicBezTo>
                    <a:pt x="255" y="866"/>
                    <a:pt x="249" y="868"/>
                    <a:pt x="251" y="881"/>
                  </a:cubicBezTo>
                  <a:cubicBezTo>
                    <a:pt x="256" y="879"/>
                    <a:pt x="257" y="886"/>
                    <a:pt x="259" y="888"/>
                  </a:cubicBezTo>
                  <a:cubicBezTo>
                    <a:pt x="265" y="875"/>
                    <a:pt x="267" y="899"/>
                    <a:pt x="273" y="899"/>
                  </a:cubicBezTo>
                  <a:cubicBezTo>
                    <a:pt x="273" y="895"/>
                    <a:pt x="277" y="894"/>
                    <a:pt x="278" y="899"/>
                  </a:cubicBezTo>
                  <a:cubicBezTo>
                    <a:pt x="283" y="911"/>
                    <a:pt x="268" y="914"/>
                    <a:pt x="275" y="918"/>
                  </a:cubicBezTo>
                  <a:cubicBezTo>
                    <a:pt x="276" y="909"/>
                    <a:pt x="287" y="916"/>
                    <a:pt x="292" y="914"/>
                  </a:cubicBezTo>
                  <a:cubicBezTo>
                    <a:pt x="291" y="919"/>
                    <a:pt x="293" y="922"/>
                    <a:pt x="294" y="925"/>
                  </a:cubicBezTo>
                  <a:cubicBezTo>
                    <a:pt x="304" y="925"/>
                    <a:pt x="310" y="931"/>
                    <a:pt x="313" y="940"/>
                  </a:cubicBezTo>
                  <a:cubicBezTo>
                    <a:pt x="312" y="940"/>
                    <a:pt x="310" y="943"/>
                    <a:pt x="313" y="943"/>
                  </a:cubicBezTo>
                  <a:cubicBezTo>
                    <a:pt x="314" y="937"/>
                    <a:pt x="319" y="941"/>
                    <a:pt x="321" y="943"/>
                  </a:cubicBezTo>
                  <a:cubicBezTo>
                    <a:pt x="323" y="945"/>
                    <a:pt x="325" y="946"/>
                    <a:pt x="326" y="947"/>
                  </a:cubicBezTo>
                  <a:cubicBezTo>
                    <a:pt x="329" y="949"/>
                    <a:pt x="332" y="954"/>
                    <a:pt x="335" y="954"/>
                  </a:cubicBezTo>
                  <a:cubicBezTo>
                    <a:pt x="334" y="954"/>
                    <a:pt x="335" y="948"/>
                    <a:pt x="337" y="951"/>
                  </a:cubicBezTo>
                  <a:cubicBezTo>
                    <a:pt x="339" y="953"/>
                    <a:pt x="336" y="958"/>
                    <a:pt x="340" y="958"/>
                  </a:cubicBezTo>
                  <a:cubicBezTo>
                    <a:pt x="344" y="959"/>
                    <a:pt x="345" y="969"/>
                    <a:pt x="345" y="973"/>
                  </a:cubicBezTo>
                  <a:cubicBezTo>
                    <a:pt x="364" y="976"/>
                    <a:pt x="367" y="1002"/>
                    <a:pt x="388" y="1003"/>
                  </a:cubicBezTo>
                  <a:cubicBezTo>
                    <a:pt x="391" y="1008"/>
                    <a:pt x="394" y="1015"/>
                    <a:pt x="396" y="1017"/>
                  </a:cubicBezTo>
                  <a:cubicBezTo>
                    <a:pt x="400" y="1021"/>
                    <a:pt x="406" y="1018"/>
                    <a:pt x="410" y="1021"/>
                  </a:cubicBezTo>
                  <a:cubicBezTo>
                    <a:pt x="411" y="1022"/>
                    <a:pt x="411" y="1028"/>
                    <a:pt x="412" y="1028"/>
                  </a:cubicBezTo>
                  <a:cubicBezTo>
                    <a:pt x="415" y="1030"/>
                    <a:pt x="418" y="1028"/>
                    <a:pt x="421" y="1028"/>
                  </a:cubicBezTo>
                  <a:cubicBezTo>
                    <a:pt x="421" y="1029"/>
                    <a:pt x="420" y="1032"/>
                    <a:pt x="421" y="1032"/>
                  </a:cubicBezTo>
                  <a:cubicBezTo>
                    <a:pt x="421" y="1033"/>
                    <a:pt x="428" y="1035"/>
                    <a:pt x="429" y="1036"/>
                  </a:cubicBezTo>
                  <a:cubicBezTo>
                    <a:pt x="433" y="1040"/>
                    <a:pt x="436" y="1038"/>
                    <a:pt x="442" y="1040"/>
                  </a:cubicBezTo>
                  <a:cubicBezTo>
                    <a:pt x="442" y="1040"/>
                    <a:pt x="443" y="1043"/>
                    <a:pt x="445" y="1043"/>
                  </a:cubicBezTo>
                  <a:cubicBezTo>
                    <a:pt x="448" y="1044"/>
                    <a:pt x="450" y="1046"/>
                    <a:pt x="453" y="1047"/>
                  </a:cubicBezTo>
                  <a:cubicBezTo>
                    <a:pt x="460" y="1049"/>
                    <a:pt x="461" y="1051"/>
                    <a:pt x="464" y="1058"/>
                  </a:cubicBezTo>
                  <a:cubicBezTo>
                    <a:pt x="469" y="1058"/>
                    <a:pt x="474" y="1058"/>
                    <a:pt x="480" y="1058"/>
                  </a:cubicBezTo>
                  <a:cubicBezTo>
                    <a:pt x="480" y="1065"/>
                    <a:pt x="481" y="1064"/>
                    <a:pt x="485" y="1065"/>
                  </a:cubicBezTo>
                  <a:cubicBezTo>
                    <a:pt x="486" y="1066"/>
                    <a:pt x="489" y="1069"/>
                    <a:pt x="488" y="1069"/>
                  </a:cubicBezTo>
                  <a:cubicBezTo>
                    <a:pt x="491" y="1069"/>
                    <a:pt x="495" y="1065"/>
                    <a:pt x="496" y="1065"/>
                  </a:cubicBezTo>
                  <a:cubicBezTo>
                    <a:pt x="496" y="1066"/>
                    <a:pt x="495" y="1072"/>
                    <a:pt x="496" y="1073"/>
                  </a:cubicBezTo>
                  <a:cubicBezTo>
                    <a:pt x="497" y="1074"/>
                    <a:pt x="500" y="1072"/>
                    <a:pt x="501" y="1073"/>
                  </a:cubicBezTo>
                  <a:cubicBezTo>
                    <a:pt x="502" y="1073"/>
                    <a:pt x="505" y="1077"/>
                    <a:pt x="504" y="1077"/>
                  </a:cubicBezTo>
                  <a:cubicBezTo>
                    <a:pt x="507" y="1077"/>
                    <a:pt x="511" y="1072"/>
                    <a:pt x="512" y="1073"/>
                  </a:cubicBezTo>
                  <a:cubicBezTo>
                    <a:pt x="514" y="1074"/>
                    <a:pt x="515" y="1082"/>
                    <a:pt x="517" y="1084"/>
                  </a:cubicBezTo>
                  <a:cubicBezTo>
                    <a:pt x="526" y="1087"/>
                    <a:pt x="523" y="1074"/>
                    <a:pt x="531" y="1077"/>
                  </a:cubicBezTo>
                  <a:cubicBezTo>
                    <a:pt x="532" y="1087"/>
                    <a:pt x="545" y="1082"/>
                    <a:pt x="542" y="1099"/>
                  </a:cubicBezTo>
                  <a:cubicBezTo>
                    <a:pt x="550" y="1098"/>
                    <a:pt x="553" y="1105"/>
                    <a:pt x="563" y="1102"/>
                  </a:cubicBezTo>
                  <a:cubicBezTo>
                    <a:pt x="565" y="1112"/>
                    <a:pt x="571" y="1117"/>
                    <a:pt x="574" y="1125"/>
                  </a:cubicBezTo>
                  <a:cubicBezTo>
                    <a:pt x="576" y="1129"/>
                    <a:pt x="574" y="1129"/>
                    <a:pt x="577" y="1132"/>
                  </a:cubicBezTo>
                  <a:cubicBezTo>
                    <a:pt x="577" y="1133"/>
                    <a:pt x="576" y="1138"/>
                    <a:pt x="577" y="1139"/>
                  </a:cubicBezTo>
                  <a:cubicBezTo>
                    <a:pt x="577" y="1140"/>
                    <a:pt x="579" y="1139"/>
                    <a:pt x="579" y="1139"/>
                  </a:cubicBezTo>
                  <a:cubicBezTo>
                    <a:pt x="580" y="1140"/>
                    <a:pt x="579" y="1145"/>
                    <a:pt x="579" y="1147"/>
                  </a:cubicBezTo>
                  <a:cubicBezTo>
                    <a:pt x="580" y="1148"/>
                    <a:pt x="584" y="1149"/>
                    <a:pt x="585" y="1151"/>
                  </a:cubicBezTo>
                  <a:cubicBezTo>
                    <a:pt x="586" y="1154"/>
                    <a:pt x="585" y="1159"/>
                    <a:pt x="587" y="1162"/>
                  </a:cubicBezTo>
                  <a:cubicBezTo>
                    <a:pt x="589" y="1165"/>
                    <a:pt x="593" y="1163"/>
                    <a:pt x="595" y="1165"/>
                  </a:cubicBezTo>
                  <a:cubicBezTo>
                    <a:pt x="599" y="1169"/>
                    <a:pt x="603" y="1175"/>
                    <a:pt x="606" y="1180"/>
                  </a:cubicBezTo>
                  <a:cubicBezTo>
                    <a:pt x="611" y="1186"/>
                    <a:pt x="614" y="1193"/>
                    <a:pt x="617" y="1199"/>
                  </a:cubicBezTo>
                  <a:cubicBezTo>
                    <a:pt x="634" y="1201"/>
                    <a:pt x="644" y="1194"/>
                    <a:pt x="660" y="1195"/>
                  </a:cubicBezTo>
                  <a:cubicBezTo>
                    <a:pt x="670" y="1210"/>
                    <a:pt x="684" y="1205"/>
                    <a:pt x="698" y="1210"/>
                  </a:cubicBezTo>
                  <a:cubicBezTo>
                    <a:pt x="699" y="1210"/>
                    <a:pt x="702" y="1216"/>
                    <a:pt x="703" y="1217"/>
                  </a:cubicBezTo>
                  <a:cubicBezTo>
                    <a:pt x="706" y="1218"/>
                    <a:pt x="710" y="1216"/>
                    <a:pt x="714" y="1217"/>
                  </a:cubicBezTo>
                  <a:cubicBezTo>
                    <a:pt x="714" y="1217"/>
                    <a:pt x="714" y="1220"/>
                    <a:pt x="716" y="1221"/>
                  </a:cubicBezTo>
                  <a:cubicBezTo>
                    <a:pt x="720" y="1222"/>
                    <a:pt x="722" y="1222"/>
                    <a:pt x="724" y="1225"/>
                  </a:cubicBezTo>
                  <a:cubicBezTo>
                    <a:pt x="730" y="1230"/>
                    <a:pt x="736" y="1226"/>
                    <a:pt x="743" y="1228"/>
                  </a:cubicBezTo>
                  <a:cubicBezTo>
                    <a:pt x="744" y="1228"/>
                    <a:pt x="747" y="1235"/>
                    <a:pt x="749" y="1235"/>
                  </a:cubicBezTo>
                  <a:cubicBezTo>
                    <a:pt x="752" y="1237"/>
                    <a:pt x="755" y="1232"/>
                    <a:pt x="757" y="1232"/>
                  </a:cubicBezTo>
                  <a:cubicBezTo>
                    <a:pt x="756" y="1232"/>
                    <a:pt x="758" y="1235"/>
                    <a:pt x="759" y="1235"/>
                  </a:cubicBezTo>
                  <a:cubicBezTo>
                    <a:pt x="763" y="1237"/>
                    <a:pt x="765" y="1238"/>
                    <a:pt x="767" y="1239"/>
                  </a:cubicBezTo>
                  <a:cubicBezTo>
                    <a:pt x="775" y="1242"/>
                    <a:pt x="773" y="1245"/>
                    <a:pt x="778" y="1247"/>
                  </a:cubicBezTo>
                  <a:cubicBezTo>
                    <a:pt x="777" y="1246"/>
                    <a:pt x="780" y="1243"/>
                    <a:pt x="781" y="1243"/>
                  </a:cubicBezTo>
                  <a:cubicBezTo>
                    <a:pt x="784" y="1242"/>
                    <a:pt x="788" y="1245"/>
                    <a:pt x="789" y="1247"/>
                  </a:cubicBezTo>
                  <a:cubicBezTo>
                    <a:pt x="795" y="1255"/>
                    <a:pt x="799" y="1246"/>
                    <a:pt x="805" y="1247"/>
                  </a:cubicBezTo>
                  <a:cubicBezTo>
                    <a:pt x="805" y="1247"/>
                    <a:pt x="806" y="1250"/>
                    <a:pt x="808" y="1250"/>
                  </a:cubicBezTo>
                  <a:cubicBezTo>
                    <a:pt x="809" y="1251"/>
                    <a:pt x="812" y="1250"/>
                    <a:pt x="813" y="1250"/>
                  </a:cubicBezTo>
                  <a:cubicBezTo>
                    <a:pt x="813" y="1251"/>
                    <a:pt x="813" y="1254"/>
                    <a:pt x="813" y="1254"/>
                  </a:cubicBezTo>
                  <a:cubicBezTo>
                    <a:pt x="817" y="1256"/>
                    <a:pt x="823" y="1255"/>
                    <a:pt x="827" y="1258"/>
                  </a:cubicBezTo>
                  <a:cubicBezTo>
                    <a:pt x="827" y="1255"/>
                    <a:pt x="827" y="1250"/>
                    <a:pt x="829" y="1250"/>
                  </a:cubicBezTo>
                  <a:cubicBezTo>
                    <a:pt x="835" y="1258"/>
                    <a:pt x="835" y="1249"/>
                    <a:pt x="840" y="1247"/>
                  </a:cubicBezTo>
                  <a:cubicBezTo>
                    <a:pt x="840" y="1252"/>
                    <a:pt x="840" y="1257"/>
                    <a:pt x="840" y="1261"/>
                  </a:cubicBezTo>
                  <a:cubicBezTo>
                    <a:pt x="845" y="1263"/>
                    <a:pt x="845" y="1256"/>
                    <a:pt x="848" y="1254"/>
                  </a:cubicBezTo>
                  <a:cubicBezTo>
                    <a:pt x="849" y="1258"/>
                    <a:pt x="851" y="1260"/>
                    <a:pt x="854" y="1261"/>
                  </a:cubicBezTo>
                  <a:cubicBezTo>
                    <a:pt x="854" y="1257"/>
                    <a:pt x="853" y="1251"/>
                    <a:pt x="856" y="1250"/>
                  </a:cubicBezTo>
                  <a:cubicBezTo>
                    <a:pt x="864" y="1260"/>
                    <a:pt x="866" y="1254"/>
                    <a:pt x="878" y="1258"/>
                  </a:cubicBezTo>
                  <a:cubicBezTo>
                    <a:pt x="878" y="1262"/>
                    <a:pt x="878" y="1266"/>
                    <a:pt x="883" y="1265"/>
                  </a:cubicBezTo>
                  <a:cubicBezTo>
                    <a:pt x="884" y="1253"/>
                    <a:pt x="888" y="1263"/>
                    <a:pt x="897" y="1258"/>
                  </a:cubicBezTo>
                  <a:cubicBezTo>
                    <a:pt x="896" y="1264"/>
                    <a:pt x="899" y="1267"/>
                    <a:pt x="902" y="1269"/>
                  </a:cubicBezTo>
                  <a:cubicBezTo>
                    <a:pt x="904" y="1263"/>
                    <a:pt x="905" y="1269"/>
                    <a:pt x="907" y="1265"/>
                  </a:cubicBezTo>
                  <a:cubicBezTo>
                    <a:pt x="911" y="1260"/>
                    <a:pt x="921" y="1269"/>
                    <a:pt x="921" y="1269"/>
                  </a:cubicBezTo>
                  <a:cubicBezTo>
                    <a:pt x="923" y="1268"/>
                    <a:pt x="926" y="1255"/>
                    <a:pt x="931" y="1261"/>
                  </a:cubicBezTo>
                  <a:cubicBezTo>
                    <a:pt x="930" y="1276"/>
                    <a:pt x="940" y="1266"/>
                    <a:pt x="945" y="1265"/>
                  </a:cubicBezTo>
                  <a:cubicBezTo>
                    <a:pt x="948" y="1265"/>
                    <a:pt x="949" y="1269"/>
                    <a:pt x="953" y="1269"/>
                  </a:cubicBezTo>
                  <a:cubicBezTo>
                    <a:pt x="952" y="1269"/>
                    <a:pt x="955" y="1265"/>
                    <a:pt x="956" y="1265"/>
                  </a:cubicBezTo>
                  <a:cubicBezTo>
                    <a:pt x="968" y="1258"/>
                    <a:pt x="952" y="1267"/>
                    <a:pt x="953" y="1258"/>
                  </a:cubicBezTo>
                  <a:cubicBezTo>
                    <a:pt x="957" y="1258"/>
                    <a:pt x="959" y="1256"/>
                    <a:pt x="961" y="1254"/>
                  </a:cubicBezTo>
                  <a:cubicBezTo>
                    <a:pt x="966" y="1259"/>
                    <a:pt x="961" y="1276"/>
                    <a:pt x="969" y="1276"/>
                  </a:cubicBezTo>
                  <a:cubicBezTo>
                    <a:pt x="968" y="1266"/>
                    <a:pt x="984" y="1279"/>
                    <a:pt x="983" y="1269"/>
                  </a:cubicBezTo>
                  <a:cubicBezTo>
                    <a:pt x="980" y="1268"/>
                    <a:pt x="978" y="1265"/>
                    <a:pt x="977" y="1261"/>
                  </a:cubicBezTo>
                  <a:cubicBezTo>
                    <a:pt x="990" y="1261"/>
                    <a:pt x="987" y="1259"/>
                    <a:pt x="999" y="1254"/>
                  </a:cubicBezTo>
                  <a:cubicBezTo>
                    <a:pt x="999" y="1260"/>
                    <a:pt x="998" y="1268"/>
                    <a:pt x="1001" y="1269"/>
                  </a:cubicBezTo>
                  <a:cubicBezTo>
                    <a:pt x="1002" y="1264"/>
                    <a:pt x="1002" y="1260"/>
                    <a:pt x="1007" y="1261"/>
                  </a:cubicBezTo>
                  <a:cubicBezTo>
                    <a:pt x="1007" y="1269"/>
                    <a:pt x="999" y="1266"/>
                    <a:pt x="1001" y="1276"/>
                  </a:cubicBezTo>
                  <a:cubicBezTo>
                    <a:pt x="1010" y="1279"/>
                    <a:pt x="1007" y="1267"/>
                    <a:pt x="1012" y="1265"/>
                  </a:cubicBezTo>
                  <a:cubicBezTo>
                    <a:pt x="1016" y="1264"/>
                    <a:pt x="1016" y="1272"/>
                    <a:pt x="1018" y="1273"/>
                  </a:cubicBezTo>
                  <a:cubicBezTo>
                    <a:pt x="1023" y="1275"/>
                    <a:pt x="1027" y="1266"/>
                    <a:pt x="1031" y="1269"/>
                  </a:cubicBezTo>
                  <a:cubicBezTo>
                    <a:pt x="1037" y="1273"/>
                    <a:pt x="1028" y="1282"/>
                    <a:pt x="1034" y="1280"/>
                  </a:cubicBezTo>
                  <a:cubicBezTo>
                    <a:pt x="1036" y="1279"/>
                    <a:pt x="1040" y="1267"/>
                    <a:pt x="1042" y="1265"/>
                  </a:cubicBezTo>
                  <a:cubicBezTo>
                    <a:pt x="1037" y="1264"/>
                    <a:pt x="1035" y="1271"/>
                    <a:pt x="1034" y="1265"/>
                  </a:cubicBezTo>
                  <a:cubicBezTo>
                    <a:pt x="1037" y="1255"/>
                    <a:pt x="1046" y="1268"/>
                    <a:pt x="1050" y="1269"/>
                  </a:cubicBezTo>
                  <a:cubicBezTo>
                    <a:pt x="1050" y="1254"/>
                    <a:pt x="1054" y="1269"/>
                    <a:pt x="1058" y="1269"/>
                  </a:cubicBezTo>
                  <a:cubicBezTo>
                    <a:pt x="1059" y="1269"/>
                    <a:pt x="1059" y="1263"/>
                    <a:pt x="1063" y="1265"/>
                  </a:cubicBezTo>
                  <a:cubicBezTo>
                    <a:pt x="1063" y="1265"/>
                    <a:pt x="1066" y="1269"/>
                    <a:pt x="1066" y="1269"/>
                  </a:cubicBezTo>
                  <a:cubicBezTo>
                    <a:pt x="1072" y="1275"/>
                    <a:pt x="1069" y="1268"/>
                    <a:pt x="1077" y="1269"/>
                  </a:cubicBezTo>
                  <a:cubicBezTo>
                    <a:pt x="1071" y="1277"/>
                    <a:pt x="1078" y="1277"/>
                    <a:pt x="1082" y="1273"/>
                  </a:cubicBezTo>
                  <a:cubicBezTo>
                    <a:pt x="1080" y="1284"/>
                    <a:pt x="1086" y="1284"/>
                    <a:pt x="1090" y="1287"/>
                  </a:cubicBezTo>
                  <a:cubicBezTo>
                    <a:pt x="1090" y="1281"/>
                    <a:pt x="1092" y="1278"/>
                    <a:pt x="1096" y="1276"/>
                  </a:cubicBezTo>
                  <a:cubicBezTo>
                    <a:pt x="1096" y="1282"/>
                    <a:pt x="1095" y="1289"/>
                    <a:pt x="1101" y="1287"/>
                  </a:cubicBezTo>
                  <a:cubicBezTo>
                    <a:pt x="1101" y="1281"/>
                    <a:pt x="1100" y="1276"/>
                    <a:pt x="1098" y="1273"/>
                  </a:cubicBezTo>
                  <a:cubicBezTo>
                    <a:pt x="1102" y="1273"/>
                    <a:pt x="1104" y="1271"/>
                    <a:pt x="1106" y="1269"/>
                  </a:cubicBezTo>
                  <a:cubicBezTo>
                    <a:pt x="1109" y="1274"/>
                    <a:pt x="1110" y="1284"/>
                    <a:pt x="1114" y="1287"/>
                  </a:cubicBezTo>
                  <a:cubicBezTo>
                    <a:pt x="1119" y="1280"/>
                    <a:pt x="1115" y="1278"/>
                    <a:pt x="1114" y="1269"/>
                  </a:cubicBezTo>
                  <a:cubicBezTo>
                    <a:pt x="1117" y="1275"/>
                    <a:pt x="1124" y="1269"/>
                    <a:pt x="1128" y="1273"/>
                  </a:cubicBezTo>
                  <a:cubicBezTo>
                    <a:pt x="1130" y="1274"/>
                    <a:pt x="1128" y="1285"/>
                    <a:pt x="1133" y="1284"/>
                  </a:cubicBezTo>
                  <a:cubicBezTo>
                    <a:pt x="1134" y="1279"/>
                    <a:pt x="1133" y="1273"/>
                    <a:pt x="1136" y="1273"/>
                  </a:cubicBezTo>
                  <a:cubicBezTo>
                    <a:pt x="1136" y="1277"/>
                    <a:pt x="1140" y="1277"/>
                    <a:pt x="1144" y="1276"/>
                  </a:cubicBezTo>
                  <a:cubicBezTo>
                    <a:pt x="1143" y="1284"/>
                    <a:pt x="1148" y="1284"/>
                    <a:pt x="1149" y="1287"/>
                  </a:cubicBezTo>
                  <a:cubicBezTo>
                    <a:pt x="1147" y="1288"/>
                    <a:pt x="1146" y="1290"/>
                    <a:pt x="1147" y="1295"/>
                  </a:cubicBezTo>
                  <a:cubicBezTo>
                    <a:pt x="1157" y="1295"/>
                    <a:pt x="1158" y="1280"/>
                    <a:pt x="1163" y="1273"/>
                  </a:cubicBezTo>
                  <a:cubicBezTo>
                    <a:pt x="1166" y="1273"/>
                    <a:pt x="1170" y="1273"/>
                    <a:pt x="1173" y="1273"/>
                  </a:cubicBezTo>
                  <a:cubicBezTo>
                    <a:pt x="1173" y="1282"/>
                    <a:pt x="1174" y="1288"/>
                    <a:pt x="1181" y="1287"/>
                  </a:cubicBezTo>
                  <a:cubicBezTo>
                    <a:pt x="1182" y="1282"/>
                    <a:pt x="1181" y="1274"/>
                    <a:pt x="1184" y="1273"/>
                  </a:cubicBezTo>
                  <a:cubicBezTo>
                    <a:pt x="1184" y="1277"/>
                    <a:pt x="1188" y="1274"/>
                    <a:pt x="1190" y="1276"/>
                  </a:cubicBezTo>
                  <a:cubicBezTo>
                    <a:pt x="1190" y="1277"/>
                    <a:pt x="1189" y="1283"/>
                    <a:pt x="1190" y="1284"/>
                  </a:cubicBezTo>
                  <a:cubicBezTo>
                    <a:pt x="1195" y="1287"/>
                    <a:pt x="1202" y="1281"/>
                    <a:pt x="1208" y="1280"/>
                  </a:cubicBezTo>
                  <a:cubicBezTo>
                    <a:pt x="1218" y="1287"/>
                    <a:pt x="1208" y="1278"/>
                    <a:pt x="1214" y="1276"/>
                  </a:cubicBezTo>
                  <a:cubicBezTo>
                    <a:pt x="1221" y="1282"/>
                    <a:pt x="1207" y="1306"/>
                    <a:pt x="1222" y="1306"/>
                  </a:cubicBezTo>
                  <a:cubicBezTo>
                    <a:pt x="1223" y="1300"/>
                    <a:pt x="1219" y="1287"/>
                    <a:pt x="1225" y="1287"/>
                  </a:cubicBezTo>
                  <a:cubicBezTo>
                    <a:pt x="1229" y="1301"/>
                    <a:pt x="1233" y="1282"/>
                    <a:pt x="1235" y="1280"/>
                  </a:cubicBezTo>
                  <a:cubicBezTo>
                    <a:pt x="1236" y="1281"/>
                    <a:pt x="1234" y="1290"/>
                    <a:pt x="1235" y="1291"/>
                  </a:cubicBezTo>
                  <a:cubicBezTo>
                    <a:pt x="1244" y="1297"/>
                    <a:pt x="1256" y="1287"/>
                    <a:pt x="1249" y="1306"/>
                  </a:cubicBezTo>
                  <a:cubicBezTo>
                    <a:pt x="1262" y="1313"/>
                    <a:pt x="1253" y="1289"/>
                    <a:pt x="1260" y="1287"/>
                  </a:cubicBezTo>
                  <a:cubicBezTo>
                    <a:pt x="1260" y="1291"/>
                    <a:pt x="1260" y="1295"/>
                    <a:pt x="1260" y="1298"/>
                  </a:cubicBezTo>
                  <a:cubicBezTo>
                    <a:pt x="1268" y="1302"/>
                    <a:pt x="1263" y="1286"/>
                    <a:pt x="1270" y="1287"/>
                  </a:cubicBezTo>
                  <a:cubicBezTo>
                    <a:pt x="1275" y="1289"/>
                    <a:pt x="1277" y="1282"/>
                    <a:pt x="1278" y="1287"/>
                  </a:cubicBezTo>
                  <a:cubicBezTo>
                    <a:pt x="1276" y="1292"/>
                    <a:pt x="1275" y="1297"/>
                    <a:pt x="1276" y="1306"/>
                  </a:cubicBezTo>
                  <a:cubicBezTo>
                    <a:pt x="1285" y="1306"/>
                    <a:pt x="1280" y="1287"/>
                    <a:pt x="1289" y="1287"/>
                  </a:cubicBezTo>
                  <a:cubicBezTo>
                    <a:pt x="1289" y="1294"/>
                    <a:pt x="1291" y="1300"/>
                    <a:pt x="1294" y="1302"/>
                  </a:cubicBezTo>
                  <a:cubicBezTo>
                    <a:pt x="1296" y="1295"/>
                    <a:pt x="1295" y="1286"/>
                    <a:pt x="1303" y="1287"/>
                  </a:cubicBezTo>
                  <a:cubicBezTo>
                    <a:pt x="1304" y="1295"/>
                    <a:pt x="1299" y="1312"/>
                    <a:pt x="1305" y="1313"/>
                  </a:cubicBezTo>
                  <a:cubicBezTo>
                    <a:pt x="1309" y="1311"/>
                    <a:pt x="1306" y="1299"/>
                    <a:pt x="1311" y="1298"/>
                  </a:cubicBezTo>
                  <a:cubicBezTo>
                    <a:pt x="1316" y="1300"/>
                    <a:pt x="1316" y="1293"/>
                    <a:pt x="1319" y="1291"/>
                  </a:cubicBezTo>
                  <a:cubicBezTo>
                    <a:pt x="1322" y="1291"/>
                    <a:pt x="1325" y="1289"/>
                    <a:pt x="1327" y="1287"/>
                  </a:cubicBezTo>
                  <a:cubicBezTo>
                    <a:pt x="1328" y="1296"/>
                    <a:pt x="1319" y="1291"/>
                    <a:pt x="1319" y="1298"/>
                  </a:cubicBezTo>
                  <a:cubicBezTo>
                    <a:pt x="1326" y="1309"/>
                    <a:pt x="1327" y="1291"/>
                    <a:pt x="1338" y="1295"/>
                  </a:cubicBezTo>
                  <a:cubicBezTo>
                    <a:pt x="1342" y="1297"/>
                    <a:pt x="1337" y="1312"/>
                    <a:pt x="1343" y="1313"/>
                  </a:cubicBezTo>
                  <a:cubicBezTo>
                    <a:pt x="1353" y="1295"/>
                    <a:pt x="1338" y="1295"/>
                    <a:pt x="1338" y="1284"/>
                  </a:cubicBezTo>
                  <a:cubicBezTo>
                    <a:pt x="1345" y="1284"/>
                    <a:pt x="1350" y="1288"/>
                    <a:pt x="1348" y="1302"/>
                  </a:cubicBezTo>
                  <a:cubicBezTo>
                    <a:pt x="1352" y="1302"/>
                    <a:pt x="1355" y="1302"/>
                    <a:pt x="1359" y="1302"/>
                  </a:cubicBezTo>
                  <a:cubicBezTo>
                    <a:pt x="1359" y="1290"/>
                    <a:pt x="1353" y="1284"/>
                    <a:pt x="1364" y="1284"/>
                  </a:cubicBezTo>
                  <a:cubicBezTo>
                    <a:pt x="1363" y="1297"/>
                    <a:pt x="1367" y="1305"/>
                    <a:pt x="1375" y="1306"/>
                  </a:cubicBezTo>
                  <a:cubicBezTo>
                    <a:pt x="1376" y="1300"/>
                    <a:pt x="1374" y="1292"/>
                    <a:pt x="1378" y="1291"/>
                  </a:cubicBezTo>
                  <a:cubicBezTo>
                    <a:pt x="1383" y="1292"/>
                    <a:pt x="1380" y="1300"/>
                    <a:pt x="1383" y="1295"/>
                  </a:cubicBezTo>
                  <a:cubicBezTo>
                    <a:pt x="1385" y="1292"/>
                    <a:pt x="1388" y="1292"/>
                    <a:pt x="1391" y="1291"/>
                  </a:cubicBezTo>
                  <a:cubicBezTo>
                    <a:pt x="1387" y="1304"/>
                    <a:pt x="1400" y="1293"/>
                    <a:pt x="1399" y="1302"/>
                  </a:cubicBezTo>
                  <a:cubicBezTo>
                    <a:pt x="1398" y="1309"/>
                    <a:pt x="1389" y="1305"/>
                    <a:pt x="1391" y="1317"/>
                  </a:cubicBezTo>
                  <a:cubicBezTo>
                    <a:pt x="1399" y="1320"/>
                    <a:pt x="1397" y="1310"/>
                    <a:pt x="1402" y="1309"/>
                  </a:cubicBezTo>
                  <a:cubicBezTo>
                    <a:pt x="1403" y="1314"/>
                    <a:pt x="1406" y="1314"/>
                    <a:pt x="1410" y="1313"/>
                  </a:cubicBezTo>
                  <a:cubicBezTo>
                    <a:pt x="1411" y="1318"/>
                    <a:pt x="1414" y="1321"/>
                    <a:pt x="1418" y="1321"/>
                  </a:cubicBezTo>
                  <a:cubicBezTo>
                    <a:pt x="1422" y="1307"/>
                    <a:pt x="1414" y="1301"/>
                    <a:pt x="1424" y="1295"/>
                  </a:cubicBezTo>
                  <a:cubicBezTo>
                    <a:pt x="1423" y="1303"/>
                    <a:pt x="1424" y="1309"/>
                    <a:pt x="1426" y="1313"/>
                  </a:cubicBezTo>
                  <a:cubicBezTo>
                    <a:pt x="1441" y="1318"/>
                    <a:pt x="1443" y="1304"/>
                    <a:pt x="1450" y="1298"/>
                  </a:cubicBezTo>
                  <a:cubicBezTo>
                    <a:pt x="1449" y="1312"/>
                    <a:pt x="1447" y="1315"/>
                    <a:pt x="1456" y="1321"/>
                  </a:cubicBezTo>
                  <a:cubicBezTo>
                    <a:pt x="1456" y="1313"/>
                    <a:pt x="1463" y="1313"/>
                    <a:pt x="1469" y="1313"/>
                  </a:cubicBezTo>
                  <a:cubicBezTo>
                    <a:pt x="1465" y="1324"/>
                    <a:pt x="1481" y="1323"/>
                    <a:pt x="1480" y="1317"/>
                  </a:cubicBezTo>
                  <a:cubicBezTo>
                    <a:pt x="1471" y="1314"/>
                    <a:pt x="1477" y="1305"/>
                    <a:pt x="1480" y="1302"/>
                  </a:cubicBezTo>
                  <a:cubicBezTo>
                    <a:pt x="1483" y="1299"/>
                    <a:pt x="1487" y="1307"/>
                    <a:pt x="1491" y="1306"/>
                  </a:cubicBezTo>
                  <a:cubicBezTo>
                    <a:pt x="1492" y="1305"/>
                    <a:pt x="1493" y="1298"/>
                    <a:pt x="1496" y="1298"/>
                  </a:cubicBezTo>
                  <a:cubicBezTo>
                    <a:pt x="1497" y="1298"/>
                    <a:pt x="1496" y="1305"/>
                    <a:pt x="1496" y="1306"/>
                  </a:cubicBezTo>
                  <a:cubicBezTo>
                    <a:pt x="1498" y="1309"/>
                    <a:pt x="1507" y="1304"/>
                    <a:pt x="1510" y="1306"/>
                  </a:cubicBezTo>
                  <a:cubicBezTo>
                    <a:pt x="1511" y="1313"/>
                    <a:pt x="1511" y="1322"/>
                    <a:pt x="1518" y="1321"/>
                  </a:cubicBezTo>
                  <a:cubicBezTo>
                    <a:pt x="1520" y="1309"/>
                    <a:pt x="1513" y="1309"/>
                    <a:pt x="1512" y="1302"/>
                  </a:cubicBezTo>
                  <a:cubicBezTo>
                    <a:pt x="1520" y="1305"/>
                    <a:pt x="1519" y="1297"/>
                    <a:pt x="1526" y="1298"/>
                  </a:cubicBezTo>
                  <a:cubicBezTo>
                    <a:pt x="1525" y="1309"/>
                    <a:pt x="1536" y="1302"/>
                    <a:pt x="1536" y="1309"/>
                  </a:cubicBezTo>
                  <a:cubicBezTo>
                    <a:pt x="1536" y="1316"/>
                    <a:pt x="1537" y="1321"/>
                    <a:pt x="1539" y="1324"/>
                  </a:cubicBezTo>
                  <a:cubicBezTo>
                    <a:pt x="1548" y="1321"/>
                    <a:pt x="1551" y="1313"/>
                    <a:pt x="1558" y="1324"/>
                  </a:cubicBezTo>
                  <a:cubicBezTo>
                    <a:pt x="1558" y="1321"/>
                    <a:pt x="1560" y="1320"/>
                    <a:pt x="1561" y="1317"/>
                  </a:cubicBezTo>
                  <a:cubicBezTo>
                    <a:pt x="1561" y="1313"/>
                    <a:pt x="1557" y="1311"/>
                    <a:pt x="1561" y="1309"/>
                  </a:cubicBezTo>
                  <a:cubicBezTo>
                    <a:pt x="1569" y="1304"/>
                    <a:pt x="1570" y="1313"/>
                    <a:pt x="1577" y="1306"/>
                  </a:cubicBezTo>
                  <a:cubicBezTo>
                    <a:pt x="1582" y="1313"/>
                    <a:pt x="1575" y="1313"/>
                    <a:pt x="1577" y="1324"/>
                  </a:cubicBezTo>
                  <a:cubicBezTo>
                    <a:pt x="1582" y="1325"/>
                    <a:pt x="1582" y="1319"/>
                    <a:pt x="1585" y="1317"/>
                  </a:cubicBezTo>
                  <a:cubicBezTo>
                    <a:pt x="1590" y="1317"/>
                    <a:pt x="1588" y="1307"/>
                    <a:pt x="1596" y="1309"/>
                  </a:cubicBezTo>
                  <a:cubicBezTo>
                    <a:pt x="1596" y="1331"/>
                    <a:pt x="1611" y="1299"/>
                    <a:pt x="1612" y="1309"/>
                  </a:cubicBezTo>
                  <a:cubicBezTo>
                    <a:pt x="1611" y="1317"/>
                    <a:pt x="1606" y="1319"/>
                    <a:pt x="1606" y="1328"/>
                  </a:cubicBezTo>
                  <a:cubicBezTo>
                    <a:pt x="1616" y="1329"/>
                    <a:pt x="1616" y="1317"/>
                    <a:pt x="1625" y="1317"/>
                  </a:cubicBezTo>
                  <a:cubicBezTo>
                    <a:pt x="1625" y="1322"/>
                    <a:pt x="1630" y="1320"/>
                    <a:pt x="1631" y="1324"/>
                  </a:cubicBezTo>
                  <a:cubicBezTo>
                    <a:pt x="1622" y="1328"/>
                    <a:pt x="1628" y="1333"/>
                    <a:pt x="1631" y="1339"/>
                  </a:cubicBezTo>
                  <a:cubicBezTo>
                    <a:pt x="1636" y="1339"/>
                    <a:pt x="1644" y="1332"/>
                    <a:pt x="1644" y="1332"/>
                  </a:cubicBezTo>
                  <a:cubicBezTo>
                    <a:pt x="1644" y="1332"/>
                    <a:pt x="1644" y="1339"/>
                    <a:pt x="1644" y="1339"/>
                  </a:cubicBezTo>
                  <a:cubicBezTo>
                    <a:pt x="1652" y="1336"/>
                    <a:pt x="1652" y="1336"/>
                    <a:pt x="1660" y="1324"/>
                  </a:cubicBezTo>
                  <a:cubicBezTo>
                    <a:pt x="1661" y="1329"/>
                    <a:pt x="1661" y="1333"/>
                    <a:pt x="1666" y="1332"/>
                  </a:cubicBezTo>
                  <a:cubicBezTo>
                    <a:pt x="1666" y="1327"/>
                    <a:pt x="1666" y="1323"/>
                    <a:pt x="1671" y="1324"/>
                  </a:cubicBezTo>
                  <a:cubicBezTo>
                    <a:pt x="1672" y="1320"/>
                    <a:pt x="1674" y="1316"/>
                    <a:pt x="1676" y="1313"/>
                  </a:cubicBezTo>
                  <a:cubicBezTo>
                    <a:pt x="1678" y="1320"/>
                    <a:pt x="1673" y="1336"/>
                    <a:pt x="1682" y="1332"/>
                  </a:cubicBezTo>
                  <a:cubicBezTo>
                    <a:pt x="1680" y="1318"/>
                    <a:pt x="1684" y="1312"/>
                    <a:pt x="1687" y="1306"/>
                  </a:cubicBezTo>
                  <a:cubicBezTo>
                    <a:pt x="1684" y="1304"/>
                    <a:pt x="1681" y="1302"/>
                    <a:pt x="1679" y="1298"/>
                  </a:cubicBezTo>
                  <a:cubicBezTo>
                    <a:pt x="1691" y="1301"/>
                    <a:pt x="1683" y="1284"/>
                    <a:pt x="1687" y="1284"/>
                  </a:cubicBezTo>
                  <a:cubicBezTo>
                    <a:pt x="1691" y="1285"/>
                    <a:pt x="1692" y="1288"/>
                    <a:pt x="1695" y="1284"/>
                  </a:cubicBezTo>
                  <a:cubicBezTo>
                    <a:pt x="1695" y="1290"/>
                    <a:pt x="1696" y="1295"/>
                    <a:pt x="1698" y="1298"/>
                  </a:cubicBezTo>
                  <a:cubicBezTo>
                    <a:pt x="1693" y="1298"/>
                    <a:pt x="1691" y="1301"/>
                    <a:pt x="1690" y="1306"/>
                  </a:cubicBezTo>
                  <a:cubicBezTo>
                    <a:pt x="1698" y="1306"/>
                    <a:pt x="1706" y="1306"/>
                    <a:pt x="1714" y="1306"/>
                  </a:cubicBezTo>
                  <a:cubicBezTo>
                    <a:pt x="1719" y="1315"/>
                    <a:pt x="1719" y="1332"/>
                    <a:pt x="1725" y="1339"/>
                  </a:cubicBezTo>
                  <a:cubicBezTo>
                    <a:pt x="1735" y="1342"/>
                    <a:pt x="1735" y="1331"/>
                    <a:pt x="1744" y="1332"/>
                  </a:cubicBezTo>
                  <a:cubicBezTo>
                    <a:pt x="1744" y="1337"/>
                    <a:pt x="1742" y="1340"/>
                    <a:pt x="1741" y="1343"/>
                  </a:cubicBezTo>
                  <a:cubicBezTo>
                    <a:pt x="1751" y="1347"/>
                    <a:pt x="1749" y="1334"/>
                    <a:pt x="1757" y="1335"/>
                  </a:cubicBezTo>
                  <a:cubicBezTo>
                    <a:pt x="1759" y="1342"/>
                    <a:pt x="1766" y="1342"/>
                    <a:pt x="1770" y="1347"/>
                  </a:cubicBezTo>
                  <a:cubicBezTo>
                    <a:pt x="1776" y="1344"/>
                    <a:pt x="1770" y="1326"/>
                    <a:pt x="1776" y="1324"/>
                  </a:cubicBezTo>
                  <a:cubicBezTo>
                    <a:pt x="1776" y="1330"/>
                    <a:pt x="1775" y="1338"/>
                    <a:pt x="1778" y="1339"/>
                  </a:cubicBezTo>
                  <a:cubicBezTo>
                    <a:pt x="1780" y="1335"/>
                    <a:pt x="1782" y="1332"/>
                    <a:pt x="1787" y="1332"/>
                  </a:cubicBezTo>
                  <a:cubicBezTo>
                    <a:pt x="1792" y="1337"/>
                    <a:pt x="1802" y="1326"/>
                    <a:pt x="1811" y="1324"/>
                  </a:cubicBezTo>
                  <a:cubicBezTo>
                    <a:pt x="1811" y="1329"/>
                    <a:pt x="1811" y="1334"/>
                    <a:pt x="1811" y="1339"/>
                  </a:cubicBezTo>
                  <a:cubicBezTo>
                    <a:pt x="1813" y="1339"/>
                    <a:pt x="1816" y="1339"/>
                    <a:pt x="1819" y="1339"/>
                  </a:cubicBezTo>
                  <a:cubicBezTo>
                    <a:pt x="1826" y="1334"/>
                    <a:pt x="1813" y="1320"/>
                    <a:pt x="1819" y="1317"/>
                  </a:cubicBezTo>
                  <a:cubicBezTo>
                    <a:pt x="1824" y="1321"/>
                    <a:pt x="1828" y="1327"/>
                    <a:pt x="1832" y="1332"/>
                  </a:cubicBezTo>
                  <a:cubicBezTo>
                    <a:pt x="1832" y="1337"/>
                    <a:pt x="1828" y="1335"/>
                    <a:pt x="1827" y="1339"/>
                  </a:cubicBezTo>
                  <a:cubicBezTo>
                    <a:pt x="1832" y="1342"/>
                    <a:pt x="1835" y="1348"/>
                    <a:pt x="1840" y="1350"/>
                  </a:cubicBezTo>
                  <a:cubicBezTo>
                    <a:pt x="1840" y="1339"/>
                    <a:pt x="1850" y="1346"/>
                    <a:pt x="1854" y="1343"/>
                  </a:cubicBezTo>
                  <a:cubicBezTo>
                    <a:pt x="1855" y="1342"/>
                    <a:pt x="1858" y="1337"/>
                    <a:pt x="1859" y="1335"/>
                  </a:cubicBezTo>
                  <a:cubicBezTo>
                    <a:pt x="1861" y="1333"/>
                    <a:pt x="1861" y="1328"/>
                    <a:pt x="1865" y="1328"/>
                  </a:cubicBezTo>
                  <a:cubicBezTo>
                    <a:pt x="1864" y="1337"/>
                    <a:pt x="1859" y="1340"/>
                    <a:pt x="1867" y="1343"/>
                  </a:cubicBezTo>
                  <a:cubicBezTo>
                    <a:pt x="1867" y="1334"/>
                    <a:pt x="1869" y="1327"/>
                    <a:pt x="1873" y="1324"/>
                  </a:cubicBezTo>
                  <a:cubicBezTo>
                    <a:pt x="1877" y="1331"/>
                    <a:pt x="1874" y="1347"/>
                    <a:pt x="1881" y="1350"/>
                  </a:cubicBezTo>
                  <a:cubicBezTo>
                    <a:pt x="1877" y="1329"/>
                    <a:pt x="1890" y="1349"/>
                    <a:pt x="1891" y="1339"/>
                  </a:cubicBezTo>
                  <a:cubicBezTo>
                    <a:pt x="1888" y="1338"/>
                    <a:pt x="1887" y="1335"/>
                    <a:pt x="1886" y="1332"/>
                  </a:cubicBezTo>
                  <a:cubicBezTo>
                    <a:pt x="1891" y="1332"/>
                    <a:pt x="1894" y="1331"/>
                    <a:pt x="1897" y="1328"/>
                  </a:cubicBezTo>
                  <a:cubicBezTo>
                    <a:pt x="1899" y="1340"/>
                    <a:pt x="1899" y="1336"/>
                    <a:pt x="1894" y="1343"/>
                  </a:cubicBezTo>
                  <a:cubicBezTo>
                    <a:pt x="1904" y="1347"/>
                    <a:pt x="1902" y="1334"/>
                    <a:pt x="1910" y="1335"/>
                  </a:cubicBezTo>
                  <a:cubicBezTo>
                    <a:pt x="1904" y="1343"/>
                    <a:pt x="1911" y="1347"/>
                    <a:pt x="1913" y="1354"/>
                  </a:cubicBezTo>
                  <a:cubicBezTo>
                    <a:pt x="1917" y="1354"/>
                    <a:pt x="1919" y="1352"/>
                    <a:pt x="1921" y="1350"/>
                  </a:cubicBezTo>
                  <a:cubicBezTo>
                    <a:pt x="1921" y="1344"/>
                    <a:pt x="1928" y="1348"/>
                    <a:pt x="1929" y="1343"/>
                  </a:cubicBezTo>
                  <a:cubicBezTo>
                    <a:pt x="1925" y="1343"/>
                    <a:pt x="1929" y="1340"/>
                    <a:pt x="1929" y="1339"/>
                  </a:cubicBezTo>
                  <a:cubicBezTo>
                    <a:pt x="1929" y="1334"/>
                    <a:pt x="1928" y="1331"/>
                    <a:pt x="1926" y="1328"/>
                  </a:cubicBezTo>
                  <a:cubicBezTo>
                    <a:pt x="1930" y="1329"/>
                    <a:pt x="1936" y="1327"/>
                    <a:pt x="1937" y="1332"/>
                  </a:cubicBezTo>
                  <a:cubicBezTo>
                    <a:pt x="1934" y="1332"/>
                    <a:pt x="1931" y="1333"/>
                    <a:pt x="1932" y="1339"/>
                  </a:cubicBezTo>
                  <a:cubicBezTo>
                    <a:pt x="1938" y="1348"/>
                    <a:pt x="1939" y="1333"/>
                    <a:pt x="1945" y="1332"/>
                  </a:cubicBezTo>
                  <a:cubicBezTo>
                    <a:pt x="1949" y="1336"/>
                    <a:pt x="1946" y="1350"/>
                    <a:pt x="1953" y="1350"/>
                  </a:cubicBezTo>
                  <a:cubicBezTo>
                    <a:pt x="1954" y="1346"/>
                    <a:pt x="1953" y="1340"/>
                    <a:pt x="1956" y="1339"/>
                  </a:cubicBezTo>
                  <a:cubicBezTo>
                    <a:pt x="1956" y="1344"/>
                    <a:pt x="1961" y="1343"/>
                    <a:pt x="1961" y="1347"/>
                  </a:cubicBezTo>
                  <a:cubicBezTo>
                    <a:pt x="1962" y="1351"/>
                    <a:pt x="1965" y="1354"/>
                    <a:pt x="1969" y="1354"/>
                  </a:cubicBezTo>
                  <a:cubicBezTo>
                    <a:pt x="1973" y="1353"/>
                    <a:pt x="1973" y="1349"/>
                    <a:pt x="1975" y="1347"/>
                  </a:cubicBezTo>
                  <a:cubicBezTo>
                    <a:pt x="1975" y="1345"/>
                    <a:pt x="1980" y="1339"/>
                    <a:pt x="1980" y="1339"/>
                  </a:cubicBezTo>
                  <a:cubicBezTo>
                    <a:pt x="1982" y="1333"/>
                    <a:pt x="1976" y="1330"/>
                    <a:pt x="1980" y="1328"/>
                  </a:cubicBezTo>
                  <a:cubicBezTo>
                    <a:pt x="1988" y="1331"/>
                    <a:pt x="1984" y="1349"/>
                    <a:pt x="1994" y="1350"/>
                  </a:cubicBezTo>
                  <a:cubicBezTo>
                    <a:pt x="1995" y="1345"/>
                    <a:pt x="1998" y="1341"/>
                    <a:pt x="2002" y="1339"/>
                  </a:cubicBezTo>
                  <a:cubicBezTo>
                    <a:pt x="2002" y="1334"/>
                    <a:pt x="2001" y="1325"/>
                    <a:pt x="2004" y="1324"/>
                  </a:cubicBezTo>
                  <a:cubicBezTo>
                    <a:pt x="2008" y="1326"/>
                    <a:pt x="2010" y="1329"/>
                    <a:pt x="2010" y="1335"/>
                  </a:cubicBezTo>
                  <a:cubicBezTo>
                    <a:pt x="2018" y="1342"/>
                    <a:pt x="2021" y="1322"/>
                    <a:pt x="2023" y="1332"/>
                  </a:cubicBezTo>
                  <a:cubicBezTo>
                    <a:pt x="2019" y="1335"/>
                    <a:pt x="2019" y="1344"/>
                    <a:pt x="2018" y="1350"/>
                  </a:cubicBezTo>
                  <a:cubicBezTo>
                    <a:pt x="2025" y="1351"/>
                    <a:pt x="2029" y="1357"/>
                    <a:pt x="2037" y="1358"/>
                  </a:cubicBezTo>
                  <a:cubicBezTo>
                    <a:pt x="2046" y="1349"/>
                    <a:pt x="2032" y="1329"/>
                    <a:pt x="2037" y="1328"/>
                  </a:cubicBezTo>
                  <a:cubicBezTo>
                    <a:pt x="2047" y="1331"/>
                    <a:pt x="2040" y="1341"/>
                    <a:pt x="2045" y="1347"/>
                  </a:cubicBezTo>
                  <a:cubicBezTo>
                    <a:pt x="2046" y="1342"/>
                    <a:pt x="2048" y="1338"/>
                    <a:pt x="2050" y="1335"/>
                  </a:cubicBezTo>
                  <a:cubicBezTo>
                    <a:pt x="2057" y="1340"/>
                    <a:pt x="2043" y="1351"/>
                    <a:pt x="2055" y="1350"/>
                  </a:cubicBezTo>
                  <a:cubicBezTo>
                    <a:pt x="2056" y="1345"/>
                    <a:pt x="2075" y="1337"/>
                    <a:pt x="2079" y="1335"/>
                  </a:cubicBezTo>
                  <a:cubicBezTo>
                    <a:pt x="2079" y="68"/>
                    <a:pt x="2079" y="68"/>
                    <a:pt x="2079" y="68"/>
                  </a:cubicBezTo>
                  <a:cubicBezTo>
                    <a:pt x="2079" y="68"/>
                    <a:pt x="2061" y="100"/>
                    <a:pt x="2061" y="100"/>
                  </a:cubicBezTo>
                  <a:cubicBezTo>
                    <a:pt x="2059" y="102"/>
                    <a:pt x="2052" y="98"/>
                    <a:pt x="2050" y="100"/>
                  </a:cubicBezTo>
                  <a:close/>
                  <a:moveTo>
                    <a:pt x="28" y="300"/>
                  </a:moveTo>
                  <a:cubicBezTo>
                    <a:pt x="24" y="315"/>
                    <a:pt x="23" y="298"/>
                    <a:pt x="17" y="296"/>
                  </a:cubicBezTo>
                  <a:cubicBezTo>
                    <a:pt x="22" y="283"/>
                    <a:pt x="21" y="305"/>
                    <a:pt x="28" y="300"/>
                  </a:cubicBezTo>
                  <a:close/>
                  <a:moveTo>
                    <a:pt x="17" y="318"/>
                  </a:moveTo>
                  <a:cubicBezTo>
                    <a:pt x="15" y="316"/>
                    <a:pt x="24" y="315"/>
                    <a:pt x="25" y="315"/>
                  </a:cubicBezTo>
                  <a:cubicBezTo>
                    <a:pt x="25" y="315"/>
                    <a:pt x="25" y="311"/>
                    <a:pt x="25" y="311"/>
                  </a:cubicBezTo>
                  <a:cubicBezTo>
                    <a:pt x="35" y="313"/>
                    <a:pt x="21" y="323"/>
                    <a:pt x="17" y="318"/>
                  </a:cubicBezTo>
                  <a:close/>
                  <a:moveTo>
                    <a:pt x="31" y="311"/>
                  </a:moveTo>
                  <a:cubicBezTo>
                    <a:pt x="32" y="307"/>
                    <a:pt x="43" y="299"/>
                    <a:pt x="36" y="296"/>
                  </a:cubicBezTo>
                  <a:cubicBezTo>
                    <a:pt x="44" y="282"/>
                    <a:pt x="44" y="321"/>
                    <a:pt x="31" y="311"/>
                  </a:cubicBezTo>
                  <a:close/>
                  <a:moveTo>
                    <a:pt x="39" y="352"/>
                  </a:moveTo>
                  <a:cubicBezTo>
                    <a:pt x="40" y="347"/>
                    <a:pt x="42" y="344"/>
                    <a:pt x="47" y="344"/>
                  </a:cubicBezTo>
                  <a:cubicBezTo>
                    <a:pt x="46" y="349"/>
                    <a:pt x="43" y="352"/>
                    <a:pt x="39" y="352"/>
                  </a:cubicBezTo>
                  <a:close/>
                  <a:moveTo>
                    <a:pt x="41" y="215"/>
                  </a:moveTo>
                  <a:cubicBezTo>
                    <a:pt x="45" y="216"/>
                    <a:pt x="47" y="220"/>
                    <a:pt x="47" y="226"/>
                  </a:cubicBezTo>
                  <a:cubicBezTo>
                    <a:pt x="44" y="224"/>
                    <a:pt x="41" y="221"/>
                    <a:pt x="41" y="215"/>
                  </a:cubicBezTo>
                  <a:close/>
                  <a:moveTo>
                    <a:pt x="41" y="677"/>
                  </a:moveTo>
                  <a:cubicBezTo>
                    <a:pt x="43" y="675"/>
                    <a:pt x="49" y="681"/>
                    <a:pt x="49" y="681"/>
                  </a:cubicBezTo>
                  <a:cubicBezTo>
                    <a:pt x="53" y="694"/>
                    <a:pt x="36" y="684"/>
                    <a:pt x="41" y="677"/>
                  </a:cubicBezTo>
                  <a:close/>
                  <a:moveTo>
                    <a:pt x="189" y="644"/>
                  </a:moveTo>
                  <a:cubicBezTo>
                    <a:pt x="194" y="643"/>
                    <a:pt x="194" y="647"/>
                    <a:pt x="197" y="648"/>
                  </a:cubicBezTo>
                  <a:cubicBezTo>
                    <a:pt x="198" y="655"/>
                    <a:pt x="185" y="653"/>
                    <a:pt x="189" y="644"/>
                  </a:cubicBezTo>
                  <a:close/>
                  <a:moveTo>
                    <a:pt x="192" y="337"/>
                  </a:moveTo>
                  <a:cubicBezTo>
                    <a:pt x="191" y="343"/>
                    <a:pt x="184" y="340"/>
                    <a:pt x="187" y="352"/>
                  </a:cubicBezTo>
                  <a:cubicBezTo>
                    <a:pt x="180" y="351"/>
                    <a:pt x="180" y="342"/>
                    <a:pt x="184" y="337"/>
                  </a:cubicBezTo>
                  <a:cubicBezTo>
                    <a:pt x="176" y="325"/>
                    <a:pt x="165" y="336"/>
                    <a:pt x="154" y="329"/>
                  </a:cubicBezTo>
                  <a:cubicBezTo>
                    <a:pt x="156" y="332"/>
                    <a:pt x="157" y="335"/>
                    <a:pt x="157" y="341"/>
                  </a:cubicBezTo>
                  <a:cubicBezTo>
                    <a:pt x="165" y="336"/>
                    <a:pt x="169" y="339"/>
                    <a:pt x="170" y="352"/>
                  </a:cubicBezTo>
                  <a:cubicBezTo>
                    <a:pt x="167" y="350"/>
                    <a:pt x="166" y="345"/>
                    <a:pt x="163" y="344"/>
                  </a:cubicBezTo>
                  <a:cubicBezTo>
                    <a:pt x="161" y="352"/>
                    <a:pt x="168" y="350"/>
                    <a:pt x="168" y="355"/>
                  </a:cubicBezTo>
                  <a:cubicBezTo>
                    <a:pt x="171" y="356"/>
                    <a:pt x="170" y="363"/>
                    <a:pt x="173" y="363"/>
                  </a:cubicBezTo>
                  <a:cubicBezTo>
                    <a:pt x="172" y="371"/>
                    <a:pt x="158" y="362"/>
                    <a:pt x="160" y="374"/>
                  </a:cubicBezTo>
                  <a:cubicBezTo>
                    <a:pt x="156" y="373"/>
                    <a:pt x="158" y="365"/>
                    <a:pt x="157" y="359"/>
                  </a:cubicBezTo>
                  <a:cubicBezTo>
                    <a:pt x="161" y="359"/>
                    <a:pt x="164" y="359"/>
                    <a:pt x="168" y="359"/>
                  </a:cubicBezTo>
                  <a:cubicBezTo>
                    <a:pt x="168" y="353"/>
                    <a:pt x="162" y="358"/>
                    <a:pt x="160" y="355"/>
                  </a:cubicBezTo>
                  <a:cubicBezTo>
                    <a:pt x="157" y="353"/>
                    <a:pt x="162" y="337"/>
                    <a:pt x="152" y="344"/>
                  </a:cubicBezTo>
                  <a:cubicBezTo>
                    <a:pt x="153" y="331"/>
                    <a:pt x="149" y="325"/>
                    <a:pt x="144" y="322"/>
                  </a:cubicBezTo>
                  <a:cubicBezTo>
                    <a:pt x="144" y="318"/>
                    <a:pt x="149" y="320"/>
                    <a:pt x="149" y="315"/>
                  </a:cubicBezTo>
                  <a:cubicBezTo>
                    <a:pt x="149" y="307"/>
                    <a:pt x="139" y="313"/>
                    <a:pt x="135" y="311"/>
                  </a:cubicBezTo>
                  <a:cubicBezTo>
                    <a:pt x="135" y="318"/>
                    <a:pt x="139" y="319"/>
                    <a:pt x="138" y="326"/>
                  </a:cubicBezTo>
                  <a:cubicBezTo>
                    <a:pt x="136" y="323"/>
                    <a:pt x="131" y="320"/>
                    <a:pt x="130" y="326"/>
                  </a:cubicBezTo>
                  <a:cubicBezTo>
                    <a:pt x="123" y="323"/>
                    <a:pt x="135" y="316"/>
                    <a:pt x="133" y="307"/>
                  </a:cubicBezTo>
                  <a:cubicBezTo>
                    <a:pt x="144" y="301"/>
                    <a:pt x="153" y="317"/>
                    <a:pt x="154" y="311"/>
                  </a:cubicBezTo>
                  <a:cubicBezTo>
                    <a:pt x="163" y="315"/>
                    <a:pt x="151" y="321"/>
                    <a:pt x="152" y="326"/>
                  </a:cubicBezTo>
                  <a:cubicBezTo>
                    <a:pt x="160" y="328"/>
                    <a:pt x="160" y="319"/>
                    <a:pt x="168" y="322"/>
                  </a:cubicBezTo>
                  <a:cubicBezTo>
                    <a:pt x="171" y="316"/>
                    <a:pt x="163" y="315"/>
                    <a:pt x="163" y="315"/>
                  </a:cubicBezTo>
                  <a:cubicBezTo>
                    <a:pt x="162" y="309"/>
                    <a:pt x="171" y="313"/>
                    <a:pt x="170" y="307"/>
                  </a:cubicBezTo>
                  <a:cubicBezTo>
                    <a:pt x="171" y="297"/>
                    <a:pt x="154" y="310"/>
                    <a:pt x="154" y="300"/>
                  </a:cubicBezTo>
                  <a:cubicBezTo>
                    <a:pt x="151" y="298"/>
                    <a:pt x="140" y="304"/>
                    <a:pt x="141" y="296"/>
                  </a:cubicBezTo>
                  <a:cubicBezTo>
                    <a:pt x="145" y="296"/>
                    <a:pt x="150" y="296"/>
                    <a:pt x="154" y="296"/>
                  </a:cubicBezTo>
                  <a:cubicBezTo>
                    <a:pt x="159" y="296"/>
                    <a:pt x="160" y="301"/>
                    <a:pt x="165" y="300"/>
                  </a:cubicBezTo>
                  <a:cubicBezTo>
                    <a:pt x="169" y="298"/>
                    <a:pt x="165" y="297"/>
                    <a:pt x="165" y="292"/>
                  </a:cubicBezTo>
                  <a:cubicBezTo>
                    <a:pt x="168" y="293"/>
                    <a:pt x="170" y="292"/>
                    <a:pt x="170" y="289"/>
                  </a:cubicBezTo>
                  <a:cubicBezTo>
                    <a:pt x="176" y="289"/>
                    <a:pt x="171" y="297"/>
                    <a:pt x="170" y="296"/>
                  </a:cubicBezTo>
                  <a:cubicBezTo>
                    <a:pt x="173" y="308"/>
                    <a:pt x="177" y="297"/>
                    <a:pt x="187" y="304"/>
                  </a:cubicBezTo>
                  <a:cubicBezTo>
                    <a:pt x="186" y="309"/>
                    <a:pt x="180" y="307"/>
                    <a:pt x="176" y="307"/>
                  </a:cubicBezTo>
                  <a:cubicBezTo>
                    <a:pt x="172" y="310"/>
                    <a:pt x="172" y="319"/>
                    <a:pt x="170" y="326"/>
                  </a:cubicBezTo>
                  <a:cubicBezTo>
                    <a:pt x="181" y="328"/>
                    <a:pt x="179" y="301"/>
                    <a:pt x="189" y="315"/>
                  </a:cubicBezTo>
                  <a:cubicBezTo>
                    <a:pt x="191" y="320"/>
                    <a:pt x="182" y="316"/>
                    <a:pt x="181" y="318"/>
                  </a:cubicBezTo>
                  <a:cubicBezTo>
                    <a:pt x="180" y="323"/>
                    <a:pt x="188" y="320"/>
                    <a:pt x="189" y="322"/>
                  </a:cubicBezTo>
                  <a:cubicBezTo>
                    <a:pt x="192" y="325"/>
                    <a:pt x="187" y="338"/>
                    <a:pt x="192" y="337"/>
                  </a:cubicBezTo>
                  <a:close/>
                  <a:moveTo>
                    <a:pt x="189" y="422"/>
                  </a:moveTo>
                  <a:cubicBezTo>
                    <a:pt x="190" y="425"/>
                    <a:pt x="178" y="426"/>
                    <a:pt x="173" y="422"/>
                  </a:cubicBezTo>
                  <a:cubicBezTo>
                    <a:pt x="171" y="420"/>
                    <a:pt x="181" y="416"/>
                    <a:pt x="181" y="418"/>
                  </a:cubicBezTo>
                  <a:cubicBezTo>
                    <a:pt x="180" y="412"/>
                    <a:pt x="176" y="418"/>
                    <a:pt x="173" y="415"/>
                  </a:cubicBezTo>
                  <a:cubicBezTo>
                    <a:pt x="173" y="414"/>
                    <a:pt x="172" y="408"/>
                    <a:pt x="170" y="411"/>
                  </a:cubicBezTo>
                  <a:cubicBezTo>
                    <a:pt x="170" y="411"/>
                    <a:pt x="170" y="415"/>
                    <a:pt x="170" y="415"/>
                  </a:cubicBezTo>
                  <a:cubicBezTo>
                    <a:pt x="168" y="414"/>
                    <a:pt x="166" y="412"/>
                    <a:pt x="163" y="411"/>
                  </a:cubicBezTo>
                  <a:cubicBezTo>
                    <a:pt x="159" y="410"/>
                    <a:pt x="157" y="407"/>
                    <a:pt x="154" y="407"/>
                  </a:cubicBezTo>
                  <a:cubicBezTo>
                    <a:pt x="152" y="407"/>
                    <a:pt x="151" y="414"/>
                    <a:pt x="152" y="415"/>
                  </a:cubicBezTo>
                  <a:cubicBezTo>
                    <a:pt x="148" y="414"/>
                    <a:pt x="151" y="409"/>
                    <a:pt x="149" y="407"/>
                  </a:cubicBezTo>
                  <a:cubicBezTo>
                    <a:pt x="146" y="405"/>
                    <a:pt x="137" y="416"/>
                    <a:pt x="138" y="403"/>
                  </a:cubicBezTo>
                  <a:cubicBezTo>
                    <a:pt x="131" y="406"/>
                    <a:pt x="134" y="405"/>
                    <a:pt x="128" y="403"/>
                  </a:cubicBezTo>
                  <a:cubicBezTo>
                    <a:pt x="123" y="402"/>
                    <a:pt x="113" y="406"/>
                    <a:pt x="117" y="396"/>
                  </a:cubicBezTo>
                  <a:cubicBezTo>
                    <a:pt x="124" y="396"/>
                    <a:pt x="122" y="402"/>
                    <a:pt x="128" y="396"/>
                  </a:cubicBezTo>
                  <a:cubicBezTo>
                    <a:pt x="127" y="392"/>
                    <a:pt x="123" y="393"/>
                    <a:pt x="119" y="392"/>
                  </a:cubicBezTo>
                  <a:cubicBezTo>
                    <a:pt x="123" y="376"/>
                    <a:pt x="130" y="393"/>
                    <a:pt x="133" y="400"/>
                  </a:cubicBezTo>
                  <a:cubicBezTo>
                    <a:pt x="137" y="403"/>
                    <a:pt x="141" y="396"/>
                    <a:pt x="141" y="396"/>
                  </a:cubicBezTo>
                  <a:cubicBezTo>
                    <a:pt x="144" y="396"/>
                    <a:pt x="145" y="403"/>
                    <a:pt x="146" y="403"/>
                  </a:cubicBezTo>
                  <a:cubicBezTo>
                    <a:pt x="147" y="404"/>
                    <a:pt x="158" y="393"/>
                    <a:pt x="160" y="403"/>
                  </a:cubicBezTo>
                  <a:cubicBezTo>
                    <a:pt x="162" y="403"/>
                    <a:pt x="162" y="400"/>
                    <a:pt x="165" y="400"/>
                  </a:cubicBezTo>
                  <a:cubicBezTo>
                    <a:pt x="162" y="396"/>
                    <a:pt x="164" y="386"/>
                    <a:pt x="157" y="389"/>
                  </a:cubicBezTo>
                  <a:cubicBezTo>
                    <a:pt x="159" y="385"/>
                    <a:pt x="163" y="385"/>
                    <a:pt x="163" y="378"/>
                  </a:cubicBezTo>
                  <a:cubicBezTo>
                    <a:pt x="167" y="378"/>
                    <a:pt x="171" y="378"/>
                    <a:pt x="176" y="378"/>
                  </a:cubicBezTo>
                  <a:cubicBezTo>
                    <a:pt x="176" y="386"/>
                    <a:pt x="174" y="389"/>
                    <a:pt x="168" y="389"/>
                  </a:cubicBezTo>
                  <a:cubicBezTo>
                    <a:pt x="167" y="398"/>
                    <a:pt x="173" y="397"/>
                    <a:pt x="170" y="407"/>
                  </a:cubicBezTo>
                  <a:cubicBezTo>
                    <a:pt x="174" y="408"/>
                    <a:pt x="175" y="406"/>
                    <a:pt x="176" y="403"/>
                  </a:cubicBezTo>
                  <a:cubicBezTo>
                    <a:pt x="183" y="412"/>
                    <a:pt x="183" y="408"/>
                    <a:pt x="192" y="411"/>
                  </a:cubicBezTo>
                  <a:cubicBezTo>
                    <a:pt x="192" y="414"/>
                    <a:pt x="189" y="414"/>
                    <a:pt x="187" y="415"/>
                  </a:cubicBezTo>
                  <a:cubicBezTo>
                    <a:pt x="186" y="419"/>
                    <a:pt x="187" y="421"/>
                    <a:pt x="189" y="422"/>
                  </a:cubicBezTo>
                  <a:close/>
                  <a:moveTo>
                    <a:pt x="168" y="440"/>
                  </a:moveTo>
                  <a:cubicBezTo>
                    <a:pt x="169" y="447"/>
                    <a:pt x="153" y="447"/>
                    <a:pt x="157" y="437"/>
                  </a:cubicBezTo>
                  <a:cubicBezTo>
                    <a:pt x="162" y="436"/>
                    <a:pt x="163" y="441"/>
                    <a:pt x="168" y="440"/>
                  </a:cubicBezTo>
                  <a:close/>
                  <a:moveTo>
                    <a:pt x="152" y="444"/>
                  </a:moveTo>
                  <a:cubicBezTo>
                    <a:pt x="149" y="438"/>
                    <a:pt x="142" y="443"/>
                    <a:pt x="138" y="440"/>
                  </a:cubicBezTo>
                  <a:cubicBezTo>
                    <a:pt x="136" y="439"/>
                    <a:pt x="137" y="433"/>
                    <a:pt x="133" y="433"/>
                  </a:cubicBezTo>
                  <a:cubicBezTo>
                    <a:pt x="130" y="433"/>
                    <a:pt x="131" y="428"/>
                    <a:pt x="130" y="426"/>
                  </a:cubicBezTo>
                  <a:cubicBezTo>
                    <a:pt x="127" y="426"/>
                    <a:pt x="128" y="432"/>
                    <a:pt x="128" y="437"/>
                  </a:cubicBezTo>
                  <a:cubicBezTo>
                    <a:pt x="122" y="435"/>
                    <a:pt x="116" y="435"/>
                    <a:pt x="117" y="426"/>
                  </a:cubicBezTo>
                  <a:cubicBezTo>
                    <a:pt x="109" y="425"/>
                    <a:pt x="111" y="432"/>
                    <a:pt x="106" y="426"/>
                  </a:cubicBezTo>
                  <a:cubicBezTo>
                    <a:pt x="109" y="409"/>
                    <a:pt x="114" y="425"/>
                    <a:pt x="119" y="426"/>
                  </a:cubicBezTo>
                  <a:cubicBezTo>
                    <a:pt x="124" y="426"/>
                    <a:pt x="125" y="421"/>
                    <a:pt x="130" y="422"/>
                  </a:cubicBezTo>
                  <a:cubicBezTo>
                    <a:pt x="133" y="430"/>
                    <a:pt x="138" y="435"/>
                    <a:pt x="146" y="437"/>
                  </a:cubicBezTo>
                  <a:cubicBezTo>
                    <a:pt x="153" y="438"/>
                    <a:pt x="145" y="420"/>
                    <a:pt x="154" y="426"/>
                  </a:cubicBezTo>
                  <a:cubicBezTo>
                    <a:pt x="157" y="430"/>
                    <a:pt x="157" y="433"/>
                    <a:pt x="152" y="433"/>
                  </a:cubicBezTo>
                  <a:cubicBezTo>
                    <a:pt x="155" y="438"/>
                    <a:pt x="153" y="439"/>
                    <a:pt x="152" y="444"/>
                  </a:cubicBezTo>
                  <a:close/>
                  <a:moveTo>
                    <a:pt x="141" y="518"/>
                  </a:moveTo>
                  <a:cubicBezTo>
                    <a:pt x="138" y="525"/>
                    <a:pt x="131" y="526"/>
                    <a:pt x="128" y="533"/>
                  </a:cubicBezTo>
                  <a:cubicBezTo>
                    <a:pt x="122" y="531"/>
                    <a:pt x="125" y="519"/>
                    <a:pt x="117" y="522"/>
                  </a:cubicBezTo>
                  <a:cubicBezTo>
                    <a:pt x="116" y="515"/>
                    <a:pt x="129" y="516"/>
                    <a:pt x="125" y="525"/>
                  </a:cubicBezTo>
                  <a:cubicBezTo>
                    <a:pt x="131" y="526"/>
                    <a:pt x="133" y="522"/>
                    <a:pt x="133" y="514"/>
                  </a:cubicBezTo>
                  <a:cubicBezTo>
                    <a:pt x="132" y="510"/>
                    <a:pt x="118" y="506"/>
                    <a:pt x="119" y="511"/>
                  </a:cubicBezTo>
                  <a:cubicBezTo>
                    <a:pt x="111" y="508"/>
                    <a:pt x="122" y="503"/>
                    <a:pt x="119" y="496"/>
                  </a:cubicBezTo>
                  <a:cubicBezTo>
                    <a:pt x="123" y="501"/>
                    <a:pt x="131" y="500"/>
                    <a:pt x="138" y="500"/>
                  </a:cubicBezTo>
                  <a:cubicBezTo>
                    <a:pt x="143" y="509"/>
                    <a:pt x="135" y="513"/>
                    <a:pt x="141" y="518"/>
                  </a:cubicBezTo>
                  <a:close/>
                  <a:moveTo>
                    <a:pt x="133" y="559"/>
                  </a:moveTo>
                  <a:cubicBezTo>
                    <a:pt x="135" y="545"/>
                    <a:pt x="145" y="579"/>
                    <a:pt x="133" y="574"/>
                  </a:cubicBezTo>
                  <a:cubicBezTo>
                    <a:pt x="129" y="565"/>
                    <a:pt x="140" y="560"/>
                    <a:pt x="133" y="559"/>
                  </a:cubicBezTo>
                  <a:close/>
                  <a:moveTo>
                    <a:pt x="130" y="533"/>
                  </a:moveTo>
                  <a:cubicBezTo>
                    <a:pt x="138" y="534"/>
                    <a:pt x="136" y="547"/>
                    <a:pt x="141" y="551"/>
                  </a:cubicBezTo>
                  <a:cubicBezTo>
                    <a:pt x="138" y="559"/>
                    <a:pt x="130" y="542"/>
                    <a:pt x="130" y="533"/>
                  </a:cubicBezTo>
                  <a:close/>
                  <a:moveTo>
                    <a:pt x="125" y="540"/>
                  </a:moveTo>
                  <a:cubicBezTo>
                    <a:pt x="123" y="539"/>
                    <a:pt x="118" y="542"/>
                    <a:pt x="117" y="540"/>
                  </a:cubicBezTo>
                  <a:cubicBezTo>
                    <a:pt x="112" y="531"/>
                    <a:pt x="134" y="538"/>
                    <a:pt x="128" y="548"/>
                  </a:cubicBezTo>
                  <a:cubicBezTo>
                    <a:pt x="126" y="550"/>
                    <a:pt x="125" y="540"/>
                    <a:pt x="125" y="540"/>
                  </a:cubicBezTo>
                  <a:close/>
                  <a:moveTo>
                    <a:pt x="125" y="574"/>
                  </a:moveTo>
                  <a:cubicBezTo>
                    <a:pt x="123" y="574"/>
                    <a:pt x="121" y="568"/>
                    <a:pt x="122" y="566"/>
                  </a:cubicBezTo>
                  <a:cubicBezTo>
                    <a:pt x="126" y="553"/>
                    <a:pt x="127" y="573"/>
                    <a:pt x="125" y="574"/>
                  </a:cubicBezTo>
                  <a:close/>
                  <a:moveTo>
                    <a:pt x="125" y="611"/>
                  </a:moveTo>
                  <a:cubicBezTo>
                    <a:pt x="124" y="615"/>
                    <a:pt x="122" y="613"/>
                    <a:pt x="122" y="611"/>
                  </a:cubicBezTo>
                  <a:cubicBezTo>
                    <a:pt x="120" y="612"/>
                    <a:pt x="117" y="614"/>
                    <a:pt x="117" y="618"/>
                  </a:cubicBezTo>
                  <a:cubicBezTo>
                    <a:pt x="110" y="616"/>
                    <a:pt x="116" y="604"/>
                    <a:pt x="122" y="607"/>
                  </a:cubicBezTo>
                  <a:cubicBezTo>
                    <a:pt x="122" y="610"/>
                    <a:pt x="123" y="610"/>
                    <a:pt x="125" y="611"/>
                  </a:cubicBezTo>
                  <a:close/>
                  <a:moveTo>
                    <a:pt x="111" y="599"/>
                  </a:moveTo>
                  <a:cubicBezTo>
                    <a:pt x="112" y="592"/>
                    <a:pt x="123" y="600"/>
                    <a:pt x="125" y="603"/>
                  </a:cubicBezTo>
                  <a:cubicBezTo>
                    <a:pt x="133" y="608"/>
                    <a:pt x="114" y="602"/>
                    <a:pt x="111" y="599"/>
                  </a:cubicBezTo>
                  <a:close/>
                  <a:moveTo>
                    <a:pt x="93" y="592"/>
                  </a:moveTo>
                  <a:cubicBezTo>
                    <a:pt x="95" y="592"/>
                    <a:pt x="95" y="597"/>
                    <a:pt x="95" y="599"/>
                  </a:cubicBezTo>
                  <a:cubicBezTo>
                    <a:pt x="97" y="594"/>
                    <a:pt x="106" y="599"/>
                    <a:pt x="106" y="592"/>
                  </a:cubicBezTo>
                  <a:cubicBezTo>
                    <a:pt x="109" y="593"/>
                    <a:pt x="109" y="599"/>
                    <a:pt x="106" y="599"/>
                  </a:cubicBezTo>
                  <a:cubicBezTo>
                    <a:pt x="99" y="598"/>
                    <a:pt x="104" y="614"/>
                    <a:pt x="95" y="611"/>
                  </a:cubicBezTo>
                  <a:cubicBezTo>
                    <a:pt x="96" y="602"/>
                    <a:pt x="90" y="603"/>
                    <a:pt x="93" y="592"/>
                  </a:cubicBezTo>
                  <a:close/>
                  <a:moveTo>
                    <a:pt x="93" y="389"/>
                  </a:moveTo>
                  <a:cubicBezTo>
                    <a:pt x="100" y="389"/>
                    <a:pt x="98" y="404"/>
                    <a:pt x="90" y="403"/>
                  </a:cubicBezTo>
                  <a:cubicBezTo>
                    <a:pt x="92" y="400"/>
                    <a:pt x="93" y="395"/>
                    <a:pt x="93" y="389"/>
                  </a:cubicBezTo>
                  <a:close/>
                  <a:moveTo>
                    <a:pt x="87" y="315"/>
                  </a:moveTo>
                  <a:cubicBezTo>
                    <a:pt x="87" y="312"/>
                    <a:pt x="87" y="310"/>
                    <a:pt x="87" y="307"/>
                  </a:cubicBezTo>
                  <a:cubicBezTo>
                    <a:pt x="89" y="308"/>
                    <a:pt x="90" y="306"/>
                    <a:pt x="90" y="304"/>
                  </a:cubicBezTo>
                  <a:cubicBezTo>
                    <a:pt x="95" y="302"/>
                    <a:pt x="94" y="320"/>
                    <a:pt x="87" y="315"/>
                  </a:cubicBezTo>
                  <a:close/>
                  <a:moveTo>
                    <a:pt x="122" y="352"/>
                  </a:moveTo>
                  <a:cubicBezTo>
                    <a:pt x="119" y="355"/>
                    <a:pt x="115" y="357"/>
                    <a:pt x="109" y="355"/>
                  </a:cubicBezTo>
                  <a:cubicBezTo>
                    <a:pt x="109" y="353"/>
                    <a:pt x="109" y="350"/>
                    <a:pt x="109" y="348"/>
                  </a:cubicBezTo>
                  <a:cubicBezTo>
                    <a:pt x="111" y="349"/>
                    <a:pt x="111" y="346"/>
                    <a:pt x="111" y="344"/>
                  </a:cubicBezTo>
                  <a:cubicBezTo>
                    <a:pt x="114" y="345"/>
                    <a:pt x="113" y="352"/>
                    <a:pt x="117" y="352"/>
                  </a:cubicBezTo>
                  <a:cubicBezTo>
                    <a:pt x="119" y="352"/>
                    <a:pt x="119" y="350"/>
                    <a:pt x="119" y="348"/>
                  </a:cubicBezTo>
                  <a:cubicBezTo>
                    <a:pt x="121" y="342"/>
                    <a:pt x="122" y="348"/>
                    <a:pt x="122" y="352"/>
                  </a:cubicBezTo>
                  <a:close/>
                  <a:moveTo>
                    <a:pt x="125" y="381"/>
                  </a:moveTo>
                  <a:cubicBezTo>
                    <a:pt x="115" y="380"/>
                    <a:pt x="118" y="372"/>
                    <a:pt x="119" y="363"/>
                  </a:cubicBezTo>
                  <a:cubicBezTo>
                    <a:pt x="123" y="366"/>
                    <a:pt x="123" y="375"/>
                    <a:pt x="125" y="381"/>
                  </a:cubicBezTo>
                  <a:close/>
                  <a:moveTo>
                    <a:pt x="106" y="318"/>
                  </a:moveTo>
                  <a:cubicBezTo>
                    <a:pt x="109" y="315"/>
                    <a:pt x="107" y="305"/>
                    <a:pt x="114" y="307"/>
                  </a:cubicBezTo>
                  <a:cubicBezTo>
                    <a:pt x="115" y="315"/>
                    <a:pt x="112" y="319"/>
                    <a:pt x="106" y="318"/>
                  </a:cubicBezTo>
                  <a:close/>
                  <a:moveTo>
                    <a:pt x="109" y="363"/>
                  </a:moveTo>
                  <a:cubicBezTo>
                    <a:pt x="110" y="369"/>
                    <a:pt x="117" y="366"/>
                    <a:pt x="114" y="378"/>
                  </a:cubicBezTo>
                  <a:cubicBezTo>
                    <a:pt x="102" y="376"/>
                    <a:pt x="110" y="370"/>
                    <a:pt x="106" y="359"/>
                  </a:cubicBezTo>
                  <a:cubicBezTo>
                    <a:pt x="108" y="358"/>
                    <a:pt x="109" y="360"/>
                    <a:pt x="109" y="363"/>
                  </a:cubicBezTo>
                  <a:close/>
                  <a:moveTo>
                    <a:pt x="114" y="407"/>
                  </a:moveTo>
                  <a:cubicBezTo>
                    <a:pt x="110" y="407"/>
                    <a:pt x="105" y="407"/>
                    <a:pt x="101" y="407"/>
                  </a:cubicBezTo>
                  <a:cubicBezTo>
                    <a:pt x="103" y="394"/>
                    <a:pt x="101" y="398"/>
                    <a:pt x="103" y="385"/>
                  </a:cubicBezTo>
                  <a:cubicBezTo>
                    <a:pt x="106" y="386"/>
                    <a:pt x="106" y="392"/>
                    <a:pt x="106" y="396"/>
                  </a:cubicBezTo>
                  <a:cubicBezTo>
                    <a:pt x="112" y="397"/>
                    <a:pt x="104" y="379"/>
                    <a:pt x="114" y="385"/>
                  </a:cubicBezTo>
                  <a:cubicBezTo>
                    <a:pt x="109" y="392"/>
                    <a:pt x="113" y="398"/>
                    <a:pt x="114" y="407"/>
                  </a:cubicBezTo>
                  <a:close/>
                  <a:moveTo>
                    <a:pt x="106" y="352"/>
                  </a:moveTo>
                  <a:cubicBezTo>
                    <a:pt x="102" y="368"/>
                    <a:pt x="95" y="334"/>
                    <a:pt x="106" y="341"/>
                  </a:cubicBezTo>
                  <a:cubicBezTo>
                    <a:pt x="104" y="344"/>
                    <a:pt x="102" y="351"/>
                    <a:pt x="106" y="352"/>
                  </a:cubicBezTo>
                  <a:close/>
                  <a:moveTo>
                    <a:pt x="103" y="433"/>
                  </a:moveTo>
                  <a:cubicBezTo>
                    <a:pt x="104" y="439"/>
                    <a:pt x="107" y="443"/>
                    <a:pt x="103" y="448"/>
                  </a:cubicBezTo>
                  <a:cubicBezTo>
                    <a:pt x="98" y="444"/>
                    <a:pt x="100" y="435"/>
                    <a:pt x="98" y="429"/>
                  </a:cubicBezTo>
                  <a:cubicBezTo>
                    <a:pt x="96" y="425"/>
                    <a:pt x="92" y="426"/>
                    <a:pt x="93" y="418"/>
                  </a:cubicBezTo>
                  <a:cubicBezTo>
                    <a:pt x="96" y="419"/>
                    <a:pt x="97" y="417"/>
                    <a:pt x="98" y="415"/>
                  </a:cubicBezTo>
                  <a:cubicBezTo>
                    <a:pt x="102" y="417"/>
                    <a:pt x="102" y="426"/>
                    <a:pt x="103" y="433"/>
                  </a:cubicBezTo>
                  <a:close/>
                  <a:moveTo>
                    <a:pt x="109" y="440"/>
                  </a:moveTo>
                  <a:cubicBezTo>
                    <a:pt x="111" y="440"/>
                    <a:pt x="114" y="440"/>
                    <a:pt x="117" y="440"/>
                  </a:cubicBezTo>
                  <a:cubicBezTo>
                    <a:pt x="117" y="447"/>
                    <a:pt x="112" y="455"/>
                    <a:pt x="114" y="459"/>
                  </a:cubicBezTo>
                  <a:cubicBezTo>
                    <a:pt x="115" y="461"/>
                    <a:pt x="117" y="456"/>
                    <a:pt x="117" y="455"/>
                  </a:cubicBezTo>
                  <a:cubicBezTo>
                    <a:pt x="117" y="454"/>
                    <a:pt x="121" y="457"/>
                    <a:pt x="119" y="459"/>
                  </a:cubicBezTo>
                  <a:cubicBezTo>
                    <a:pt x="115" y="464"/>
                    <a:pt x="120" y="463"/>
                    <a:pt x="117" y="474"/>
                  </a:cubicBezTo>
                  <a:cubicBezTo>
                    <a:pt x="111" y="475"/>
                    <a:pt x="108" y="473"/>
                    <a:pt x="109" y="466"/>
                  </a:cubicBezTo>
                  <a:cubicBezTo>
                    <a:pt x="104" y="468"/>
                    <a:pt x="106" y="478"/>
                    <a:pt x="98" y="474"/>
                  </a:cubicBezTo>
                  <a:cubicBezTo>
                    <a:pt x="103" y="465"/>
                    <a:pt x="104" y="463"/>
                    <a:pt x="95" y="459"/>
                  </a:cubicBezTo>
                  <a:cubicBezTo>
                    <a:pt x="96" y="456"/>
                    <a:pt x="104" y="448"/>
                    <a:pt x="103" y="455"/>
                  </a:cubicBezTo>
                  <a:cubicBezTo>
                    <a:pt x="112" y="452"/>
                    <a:pt x="104" y="447"/>
                    <a:pt x="109" y="440"/>
                  </a:cubicBezTo>
                  <a:close/>
                  <a:moveTo>
                    <a:pt x="135" y="485"/>
                  </a:moveTo>
                  <a:cubicBezTo>
                    <a:pt x="138" y="498"/>
                    <a:pt x="121" y="492"/>
                    <a:pt x="119" y="489"/>
                  </a:cubicBezTo>
                  <a:cubicBezTo>
                    <a:pt x="121" y="484"/>
                    <a:pt x="130" y="491"/>
                    <a:pt x="135" y="485"/>
                  </a:cubicBezTo>
                  <a:close/>
                  <a:moveTo>
                    <a:pt x="128" y="463"/>
                  </a:moveTo>
                  <a:cubicBezTo>
                    <a:pt x="128" y="456"/>
                    <a:pt x="134" y="461"/>
                    <a:pt x="135" y="452"/>
                  </a:cubicBezTo>
                  <a:cubicBezTo>
                    <a:pt x="139" y="452"/>
                    <a:pt x="137" y="455"/>
                    <a:pt x="135" y="455"/>
                  </a:cubicBezTo>
                  <a:cubicBezTo>
                    <a:pt x="133" y="469"/>
                    <a:pt x="135" y="473"/>
                    <a:pt x="133" y="481"/>
                  </a:cubicBezTo>
                  <a:cubicBezTo>
                    <a:pt x="127" y="482"/>
                    <a:pt x="123" y="480"/>
                    <a:pt x="122" y="474"/>
                  </a:cubicBezTo>
                  <a:cubicBezTo>
                    <a:pt x="121" y="466"/>
                    <a:pt x="127" y="468"/>
                    <a:pt x="128" y="463"/>
                  </a:cubicBezTo>
                  <a:close/>
                  <a:moveTo>
                    <a:pt x="111" y="507"/>
                  </a:moveTo>
                  <a:cubicBezTo>
                    <a:pt x="106" y="509"/>
                    <a:pt x="104" y="504"/>
                    <a:pt x="101" y="503"/>
                  </a:cubicBezTo>
                  <a:cubicBezTo>
                    <a:pt x="101" y="499"/>
                    <a:pt x="106" y="500"/>
                    <a:pt x="109" y="500"/>
                  </a:cubicBezTo>
                  <a:cubicBezTo>
                    <a:pt x="109" y="495"/>
                    <a:pt x="109" y="490"/>
                    <a:pt x="109" y="485"/>
                  </a:cubicBezTo>
                  <a:cubicBezTo>
                    <a:pt x="113" y="473"/>
                    <a:pt x="111" y="501"/>
                    <a:pt x="111" y="507"/>
                  </a:cubicBezTo>
                  <a:close/>
                  <a:moveTo>
                    <a:pt x="109" y="544"/>
                  </a:moveTo>
                  <a:cubicBezTo>
                    <a:pt x="103" y="544"/>
                    <a:pt x="105" y="534"/>
                    <a:pt x="98" y="537"/>
                  </a:cubicBezTo>
                  <a:cubicBezTo>
                    <a:pt x="90" y="526"/>
                    <a:pt x="110" y="542"/>
                    <a:pt x="109" y="533"/>
                  </a:cubicBezTo>
                  <a:cubicBezTo>
                    <a:pt x="113" y="534"/>
                    <a:pt x="108" y="538"/>
                    <a:pt x="109" y="544"/>
                  </a:cubicBezTo>
                  <a:close/>
                  <a:moveTo>
                    <a:pt x="101" y="585"/>
                  </a:moveTo>
                  <a:cubicBezTo>
                    <a:pt x="98" y="596"/>
                    <a:pt x="98" y="574"/>
                    <a:pt x="93" y="577"/>
                  </a:cubicBezTo>
                  <a:cubicBezTo>
                    <a:pt x="95" y="566"/>
                    <a:pt x="100" y="581"/>
                    <a:pt x="101" y="585"/>
                  </a:cubicBezTo>
                  <a:close/>
                  <a:moveTo>
                    <a:pt x="93" y="492"/>
                  </a:moveTo>
                  <a:cubicBezTo>
                    <a:pt x="101" y="479"/>
                    <a:pt x="102" y="503"/>
                    <a:pt x="93" y="492"/>
                  </a:cubicBezTo>
                  <a:close/>
                  <a:moveTo>
                    <a:pt x="111" y="607"/>
                  </a:moveTo>
                  <a:cubicBezTo>
                    <a:pt x="110" y="611"/>
                    <a:pt x="108" y="614"/>
                    <a:pt x="103" y="614"/>
                  </a:cubicBezTo>
                  <a:cubicBezTo>
                    <a:pt x="104" y="610"/>
                    <a:pt x="107" y="607"/>
                    <a:pt x="111" y="607"/>
                  </a:cubicBezTo>
                  <a:close/>
                  <a:moveTo>
                    <a:pt x="106" y="581"/>
                  </a:moveTo>
                  <a:cubicBezTo>
                    <a:pt x="106" y="577"/>
                    <a:pt x="111" y="578"/>
                    <a:pt x="114" y="577"/>
                  </a:cubicBezTo>
                  <a:cubicBezTo>
                    <a:pt x="114" y="567"/>
                    <a:pt x="110" y="570"/>
                    <a:pt x="114" y="562"/>
                  </a:cubicBezTo>
                  <a:cubicBezTo>
                    <a:pt x="123" y="565"/>
                    <a:pt x="111" y="586"/>
                    <a:pt x="117" y="585"/>
                  </a:cubicBezTo>
                  <a:cubicBezTo>
                    <a:pt x="114" y="596"/>
                    <a:pt x="108" y="583"/>
                    <a:pt x="106" y="581"/>
                  </a:cubicBezTo>
                  <a:close/>
                  <a:moveTo>
                    <a:pt x="128" y="352"/>
                  </a:moveTo>
                  <a:cubicBezTo>
                    <a:pt x="130" y="348"/>
                    <a:pt x="128" y="338"/>
                    <a:pt x="135" y="341"/>
                  </a:cubicBezTo>
                  <a:cubicBezTo>
                    <a:pt x="133" y="344"/>
                    <a:pt x="135" y="354"/>
                    <a:pt x="128" y="352"/>
                  </a:cubicBezTo>
                  <a:close/>
                  <a:moveTo>
                    <a:pt x="135" y="355"/>
                  </a:moveTo>
                  <a:cubicBezTo>
                    <a:pt x="135" y="358"/>
                    <a:pt x="135" y="360"/>
                    <a:pt x="135" y="363"/>
                  </a:cubicBezTo>
                  <a:cubicBezTo>
                    <a:pt x="134" y="363"/>
                    <a:pt x="132" y="363"/>
                    <a:pt x="130" y="363"/>
                  </a:cubicBezTo>
                  <a:cubicBezTo>
                    <a:pt x="130" y="360"/>
                    <a:pt x="130" y="358"/>
                    <a:pt x="130" y="355"/>
                  </a:cubicBezTo>
                  <a:cubicBezTo>
                    <a:pt x="132" y="355"/>
                    <a:pt x="134" y="355"/>
                    <a:pt x="135" y="355"/>
                  </a:cubicBezTo>
                  <a:close/>
                  <a:moveTo>
                    <a:pt x="141" y="333"/>
                  </a:moveTo>
                  <a:cubicBezTo>
                    <a:pt x="147" y="335"/>
                    <a:pt x="143" y="353"/>
                    <a:pt x="141" y="355"/>
                  </a:cubicBezTo>
                  <a:cubicBezTo>
                    <a:pt x="133" y="351"/>
                    <a:pt x="144" y="343"/>
                    <a:pt x="141" y="333"/>
                  </a:cubicBezTo>
                  <a:close/>
                  <a:moveTo>
                    <a:pt x="138" y="363"/>
                  </a:moveTo>
                  <a:cubicBezTo>
                    <a:pt x="139" y="358"/>
                    <a:pt x="143" y="360"/>
                    <a:pt x="146" y="359"/>
                  </a:cubicBezTo>
                  <a:cubicBezTo>
                    <a:pt x="149" y="359"/>
                    <a:pt x="148" y="355"/>
                    <a:pt x="149" y="352"/>
                  </a:cubicBezTo>
                  <a:cubicBezTo>
                    <a:pt x="155" y="350"/>
                    <a:pt x="154" y="357"/>
                    <a:pt x="154" y="363"/>
                  </a:cubicBezTo>
                  <a:cubicBezTo>
                    <a:pt x="150" y="370"/>
                    <a:pt x="148" y="360"/>
                    <a:pt x="138" y="363"/>
                  </a:cubicBezTo>
                  <a:close/>
                  <a:moveTo>
                    <a:pt x="149" y="378"/>
                  </a:moveTo>
                  <a:cubicBezTo>
                    <a:pt x="161" y="379"/>
                    <a:pt x="146" y="399"/>
                    <a:pt x="149" y="378"/>
                  </a:cubicBezTo>
                  <a:close/>
                  <a:moveTo>
                    <a:pt x="184" y="389"/>
                  </a:moveTo>
                  <a:cubicBezTo>
                    <a:pt x="185" y="396"/>
                    <a:pt x="172" y="394"/>
                    <a:pt x="176" y="385"/>
                  </a:cubicBezTo>
                  <a:cubicBezTo>
                    <a:pt x="180" y="384"/>
                    <a:pt x="181" y="388"/>
                    <a:pt x="184" y="389"/>
                  </a:cubicBezTo>
                  <a:close/>
                  <a:moveTo>
                    <a:pt x="160" y="263"/>
                  </a:moveTo>
                  <a:cubicBezTo>
                    <a:pt x="157" y="263"/>
                    <a:pt x="147" y="266"/>
                    <a:pt x="146" y="259"/>
                  </a:cubicBezTo>
                  <a:cubicBezTo>
                    <a:pt x="146" y="256"/>
                    <a:pt x="147" y="252"/>
                    <a:pt x="149" y="252"/>
                  </a:cubicBezTo>
                  <a:cubicBezTo>
                    <a:pt x="150" y="252"/>
                    <a:pt x="151" y="259"/>
                    <a:pt x="152" y="259"/>
                  </a:cubicBezTo>
                  <a:cubicBezTo>
                    <a:pt x="158" y="261"/>
                    <a:pt x="162" y="258"/>
                    <a:pt x="168" y="259"/>
                  </a:cubicBezTo>
                  <a:cubicBezTo>
                    <a:pt x="167" y="260"/>
                    <a:pt x="166" y="266"/>
                    <a:pt x="165" y="267"/>
                  </a:cubicBezTo>
                  <a:cubicBezTo>
                    <a:pt x="161" y="269"/>
                    <a:pt x="161" y="263"/>
                    <a:pt x="160" y="263"/>
                  </a:cubicBezTo>
                  <a:close/>
                  <a:moveTo>
                    <a:pt x="149" y="278"/>
                  </a:moveTo>
                  <a:cubicBezTo>
                    <a:pt x="148" y="276"/>
                    <a:pt x="156" y="267"/>
                    <a:pt x="160" y="274"/>
                  </a:cubicBezTo>
                  <a:cubicBezTo>
                    <a:pt x="161" y="277"/>
                    <a:pt x="151" y="280"/>
                    <a:pt x="149" y="278"/>
                  </a:cubicBezTo>
                  <a:close/>
                  <a:moveTo>
                    <a:pt x="189" y="263"/>
                  </a:moveTo>
                  <a:cubicBezTo>
                    <a:pt x="187" y="266"/>
                    <a:pt x="188" y="273"/>
                    <a:pt x="184" y="274"/>
                  </a:cubicBezTo>
                  <a:cubicBezTo>
                    <a:pt x="185" y="280"/>
                    <a:pt x="192" y="277"/>
                    <a:pt x="189" y="289"/>
                  </a:cubicBezTo>
                  <a:cubicBezTo>
                    <a:pt x="181" y="292"/>
                    <a:pt x="186" y="276"/>
                    <a:pt x="176" y="281"/>
                  </a:cubicBezTo>
                  <a:cubicBezTo>
                    <a:pt x="177" y="277"/>
                    <a:pt x="179" y="274"/>
                    <a:pt x="184" y="274"/>
                  </a:cubicBezTo>
                  <a:cubicBezTo>
                    <a:pt x="183" y="267"/>
                    <a:pt x="185" y="262"/>
                    <a:pt x="189" y="263"/>
                  </a:cubicBezTo>
                  <a:close/>
                  <a:moveTo>
                    <a:pt x="176" y="267"/>
                  </a:moveTo>
                  <a:cubicBezTo>
                    <a:pt x="176" y="264"/>
                    <a:pt x="179" y="263"/>
                    <a:pt x="179" y="259"/>
                  </a:cubicBezTo>
                  <a:cubicBezTo>
                    <a:pt x="178" y="256"/>
                    <a:pt x="175" y="256"/>
                    <a:pt x="173" y="255"/>
                  </a:cubicBezTo>
                  <a:cubicBezTo>
                    <a:pt x="174" y="251"/>
                    <a:pt x="178" y="250"/>
                    <a:pt x="179" y="244"/>
                  </a:cubicBezTo>
                  <a:cubicBezTo>
                    <a:pt x="187" y="245"/>
                    <a:pt x="184" y="267"/>
                    <a:pt x="176" y="267"/>
                  </a:cubicBezTo>
                  <a:close/>
                  <a:moveTo>
                    <a:pt x="176" y="170"/>
                  </a:moveTo>
                  <a:cubicBezTo>
                    <a:pt x="173" y="183"/>
                    <a:pt x="171" y="172"/>
                    <a:pt x="163" y="174"/>
                  </a:cubicBezTo>
                  <a:cubicBezTo>
                    <a:pt x="165" y="168"/>
                    <a:pt x="172" y="165"/>
                    <a:pt x="176" y="170"/>
                  </a:cubicBezTo>
                  <a:close/>
                  <a:moveTo>
                    <a:pt x="90" y="226"/>
                  </a:moveTo>
                  <a:cubicBezTo>
                    <a:pt x="90" y="223"/>
                    <a:pt x="90" y="221"/>
                    <a:pt x="90" y="218"/>
                  </a:cubicBezTo>
                  <a:cubicBezTo>
                    <a:pt x="98" y="225"/>
                    <a:pt x="99" y="216"/>
                    <a:pt x="111" y="218"/>
                  </a:cubicBezTo>
                  <a:cubicBezTo>
                    <a:pt x="117" y="219"/>
                    <a:pt x="117" y="225"/>
                    <a:pt x="125" y="222"/>
                  </a:cubicBezTo>
                  <a:cubicBezTo>
                    <a:pt x="128" y="221"/>
                    <a:pt x="135" y="218"/>
                    <a:pt x="141" y="226"/>
                  </a:cubicBezTo>
                  <a:cubicBezTo>
                    <a:pt x="142" y="228"/>
                    <a:pt x="158" y="224"/>
                    <a:pt x="165" y="226"/>
                  </a:cubicBezTo>
                  <a:cubicBezTo>
                    <a:pt x="171" y="227"/>
                    <a:pt x="184" y="227"/>
                    <a:pt x="181" y="241"/>
                  </a:cubicBezTo>
                  <a:cubicBezTo>
                    <a:pt x="178" y="240"/>
                    <a:pt x="180" y="233"/>
                    <a:pt x="176" y="233"/>
                  </a:cubicBezTo>
                  <a:cubicBezTo>
                    <a:pt x="172" y="234"/>
                    <a:pt x="174" y="243"/>
                    <a:pt x="173" y="248"/>
                  </a:cubicBezTo>
                  <a:cubicBezTo>
                    <a:pt x="163" y="239"/>
                    <a:pt x="175" y="252"/>
                    <a:pt x="168" y="255"/>
                  </a:cubicBezTo>
                  <a:cubicBezTo>
                    <a:pt x="160" y="259"/>
                    <a:pt x="166" y="248"/>
                    <a:pt x="165" y="248"/>
                  </a:cubicBezTo>
                  <a:cubicBezTo>
                    <a:pt x="164" y="247"/>
                    <a:pt x="158" y="255"/>
                    <a:pt x="154" y="252"/>
                  </a:cubicBezTo>
                  <a:cubicBezTo>
                    <a:pt x="154" y="246"/>
                    <a:pt x="146" y="250"/>
                    <a:pt x="146" y="244"/>
                  </a:cubicBezTo>
                  <a:cubicBezTo>
                    <a:pt x="144" y="247"/>
                    <a:pt x="142" y="251"/>
                    <a:pt x="141" y="255"/>
                  </a:cubicBezTo>
                  <a:cubicBezTo>
                    <a:pt x="132" y="249"/>
                    <a:pt x="129" y="242"/>
                    <a:pt x="133" y="226"/>
                  </a:cubicBezTo>
                  <a:cubicBezTo>
                    <a:pt x="131" y="226"/>
                    <a:pt x="129" y="226"/>
                    <a:pt x="128" y="226"/>
                  </a:cubicBezTo>
                  <a:cubicBezTo>
                    <a:pt x="124" y="227"/>
                    <a:pt x="125" y="233"/>
                    <a:pt x="128" y="233"/>
                  </a:cubicBezTo>
                  <a:cubicBezTo>
                    <a:pt x="127" y="237"/>
                    <a:pt x="124" y="236"/>
                    <a:pt x="122" y="237"/>
                  </a:cubicBezTo>
                  <a:cubicBezTo>
                    <a:pt x="125" y="249"/>
                    <a:pt x="122" y="245"/>
                    <a:pt x="122" y="259"/>
                  </a:cubicBezTo>
                  <a:cubicBezTo>
                    <a:pt x="118" y="256"/>
                    <a:pt x="118" y="247"/>
                    <a:pt x="117" y="241"/>
                  </a:cubicBezTo>
                  <a:cubicBezTo>
                    <a:pt x="112" y="242"/>
                    <a:pt x="110" y="249"/>
                    <a:pt x="103" y="248"/>
                  </a:cubicBezTo>
                  <a:cubicBezTo>
                    <a:pt x="101" y="231"/>
                    <a:pt x="108" y="240"/>
                    <a:pt x="114" y="241"/>
                  </a:cubicBezTo>
                  <a:cubicBezTo>
                    <a:pt x="116" y="231"/>
                    <a:pt x="109" y="234"/>
                    <a:pt x="106" y="230"/>
                  </a:cubicBezTo>
                  <a:cubicBezTo>
                    <a:pt x="99" y="228"/>
                    <a:pt x="103" y="243"/>
                    <a:pt x="98" y="244"/>
                  </a:cubicBezTo>
                  <a:cubicBezTo>
                    <a:pt x="84" y="246"/>
                    <a:pt x="104" y="223"/>
                    <a:pt x="87" y="230"/>
                  </a:cubicBezTo>
                  <a:cubicBezTo>
                    <a:pt x="87" y="226"/>
                    <a:pt x="88" y="226"/>
                    <a:pt x="90" y="226"/>
                  </a:cubicBezTo>
                  <a:close/>
                  <a:moveTo>
                    <a:pt x="58" y="407"/>
                  </a:moveTo>
                  <a:cubicBezTo>
                    <a:pt x="67" y="405"/>
                    <a:pt x="58" y="424"/>
                    <a:pt x="55" y="418"/>
                  </a:cubicBezTo>
                  <a:cubicBezTo>
                    <a:pt x="55" y="418"/>
                    <a:pt x="57" y="411"/>
                    <a:pt x="58" y="411"/>
                  </a:cubicBezTo>
                  <a:cubicBezTo>
                    <a:pt x="58" y="411"/>
                    <a:pt x="57" y="407"/>
                    <a:pt x="58" y="407"/>
                  </a:cubicBezTo>
                  <a:close/>
                  <a:moveTo>
                    <a:pt x="55" y="433"/>
                  </a:moveTo>
                  <a:cubicBezTo>
                    <a:pt x="54" y="425"/>
                    <a:pt x="59" y="426"/>
                    <a:pt x="63" y="426"/>
                  </a:cubicBezTo>
                  <a:cubicBezTo>
                    <a:pt x="62" y="430"/>
                    <a:pt x="60" y="433"/>
                    <a:pt x="55" y="433"/>
                  </a:cubicBezTo>
                  <a:close/>
                  <a:moveTo>
                    <a:pt x="60" y="655"/>
                  </a:moveTo>
                  <a:cubicBezTo>
                    <a:pt x="60" y="649"/>
                    <a:pt x="60" y="643"/>
                    <a:pt x="60" y="636"/>
                  </a:cubicBezTo>
                  <a:cubicBezTo>
                    <a:pt x="69" y="631"/>
                    <a:pt x="69" y="661"/>
                    <a:pt x="60" y="655"/>
                  </a:cubicBezTo>
                  <a:close/>
                  <a:moveTo>
                    <a:pt x="71" y="244"/>
                  </a:moveTo>
                  <a:cubicBezTo>
                    <a:pt x="75" y="239"/>
                    <a:pt x="75" y="230"/>
                    <a:pt x="66" y="233"/>
                  </a:cubicBezTo>
                  <a:cubicBezTo>
                    <a:pt x="68" y="228"/>
                    <a:pt x="73" y="226"/>
                    <a:pt x="74" y="218"/>
                  </a:cubicBezTo>
                  <a:cubicBezTo>
                    <a:pt x="77" y="218"/>
                    <a:pt x="75" y="224"/>
                    <a:pt x="76" y="226"/>
                  </a:cubicBezTo>
                  <a:cubicBezTo>
                    <a:pt x="80" y="233"/>
                    <a:pt x="89" y="230"/>
                    <a:pt x="90" y="241"/>
                  </a:cubicBezTo>
                  <a:cubicBezTo>
                    <a:pt x="88" y="233"/>
                    <a:pt x="80" y="243"/>
                    <a:pt x="79" y="237"/>
                  </a:cubicBezTo>
                  <a:cubicBezTo>
                    <a:pt x="76" y="239"/>
                    <a:pt x="76" y="246"/>
                    <a:pt x="71" y="244"/>
                  </a:cubicBezTo>
                  <a:close/>
                  <a:moveTo>
                    <a:pt x="93" y="721"/>
                  </a:moveTo>
                  <a:cubicBezTo>
                    <a:pt x="93" y="712"/>
                    <a:pt x="87" y="712"/>
                    <a:pt x="82" y="710"/>
                  </a:cubicBezTo>
                  <a:cubicBezTo>
                    <a:pt x="83" y="703"/>
                    <a:pt x="92" y="707"/>
                    <a:pt x="90" y="696"/>
                  </a:cubicBezTo>
                  <a:cubicBezTo>
                    <a:pt x="93" y="700"/>
                    <a:pt x="99" y="700"/>
                    <a:pt x="106" y="699"/>
                  </a:cubicBezTo>
                  <a:cubicBezTo>
                    <a:pt x="106" y="714"/>
                    <a:pt x="102" y="721"/>
                    <a:pt x="93" y="721"/>
                  </a:cubicBezTo>
                  <a:close/>
                  <a:moveTo>
                    <a:pt x="106" y="692"/>
                  </a:moveTo>
                  <a:cubicBezTo>
                    <a:pt x="104" y="692"/>
                    <a:pt x="102" y="692"/>
                    <a:pt x="101" y="692"/>
                  </a:cubicBezTo>
                  <a:cubicBezTo>
                    <a:pt x="101" y="689"/>
                    <a:pt x="101" y="687"/>
                    <a:pt x="101" y="684"/>
                  </a:cubicBezTo>
                  <a:cubicBezTo>
                    <a:pt x="102" y="684"/>
                    <a:pt x="104" y="684"/>
                    <a:pt x="106" y="684"/>
                  </a:cubicBezTo>
                  <a:cubicBezTo>
                    <a:pt x="106" y="687"/>
                    <a:pt x="106" y="689"/>
                    <a:pt x="106" y="692"/>
                  </a:cubicBezTo>
                  <a:close/>
                  <a:moveTo>
                    <a:pt x="109" y="677"/>
                  </a:moveTo>
                  <a:cubicBezTo>
                    <a:pt x="101" y="677"/>
                    <a:pt x="98" y="669"/>
                    <a:pt x="93" y="666"/>
                  </a:cubicBezTo>
                  <a:cubicBezTo>
                    <a:pt x="92" y="672"/>
                    <a:pt x="95" y="673"/>
                    <a:pt x="98" y="673"/>
                  </a:cubicBezTo>
                  <a:cubicBezTo>
                    <a:pt x="95" y="685"/>
                    <a:pt x="86" y="673"/>
                    <a:pt x="90" y="662"/>
                  </a:cubicBezTo>
                  <a:cubicBezTo>
                    <a:pt x="82" y="663"/>
                    <a:pt x="83" y="678"/>
                    <a:pt x="79" y="655"/>
                  </a:cubicBezTo>
                  <a:cubicBezTo>
                    <a:pt x="87" y="665"/>
                    <a:pt x="97" y="649"/>
                    <a:pt x="101" y="662"/>
                  </a:cubicBezTo>
                  <a:cubicBezTo>
                    <a:pt x="103" y="662"/>
                    <a:pt x="103" y="659"/>
                    <a:pt x="106" y="659"/>
                  </a:cubicBezTo>
                  <a:cubicBezTo>
                    <a:pt x="106" y="652"/>
                    <a:pt x="97" y="656"/>
                    <a:pt x="95" y="651"/>
                  </a:cubicBezTo>
                  <a:cubicBezTo>
                    <a:pt x="97" y="649"/>
                    <a:pt x="106" y="640"/>
                    <a:pt x="98" y="636"/>
                  </a:cubicBezTo>
                  <a:cubicBezTo>
                    <a:pt x="96" y="634"/>
                    <a:pt x="105" y="634"/>
                    <a:pt x="106" y="636"/>
                  </a:cubicBezTo>
                  <a:cubicBezTo>
                    <a:pt x="107" y="637"/>
                    <a:pt x="105" y="643"/>
                    <a:pt x="106" y="644"/>
                  </a:cubicBezTo>
                  <a:cubicBezTo>
                    <a:pt x="108" y="645"/>
                    <a:pt x="112" y="643"/>
                    <a:pt x="114" y="644"/>
                  </a:cubicBezTo>
                  <a:cubicBezTo>
                    <a:pt x="115" y="648"/>
                    <a:pt x="109" y="646"/>
                    <a:pt x="109" y="648"/>
                  </a:cubicBezTo>
                  <a:cubicBezTo>
                    <a:pt x="106" y="657"/>
                    <a:pt x="115" y="669"/>
                    <a:pt x="109" y="677"/>
                  </a:cubicBezTo>
                  <a:close/>
                  <a:moveTo>
                    <a:pt x="163" y="736"/>
                  </a:moveTo>
                  <a:cubicBezTo>
                    <a:pt x="160" y="749"/>
                    <a:pt x="157" y="732"/>
                    <a:pt x="154" y="733"/>
                  </a:cubicBezTo>
                  <a:cubicBezTo>
                    <a:pt x="150" y="739"/>
                    <a:pt x="155" y="742"/>
                    <a:pt x="152" y="755"/>
                  </a:cubicBezTo>
                  <a:cubicBezTo>
                    <a:pt x="149" y="755"/>
                    <a:pt x="150" y="750"/>
                    <a:pt x="149" y="747"/>
                  </a:cubicBezTo>
                  <a:cubicBezTo>
                    <a:pt x="149" y="739"/>
                    <a:pt x="144" y="737"/>
                    <a:pt x="146" y="725"/>
                  </a:cubicBezTo>
                  <a:cubicBezTo>
                    <a:pt x="149" y="726"/>
                    <a:pt x="151" y="724"/>
                    <a:pt x="152" y="721"/>
                  </a:cubicBezTo>
                  <a:cubicBezTo>
                    <a:pt x="156" y="726"/>
                    <a:pt x="158" y="732"/>
                    <a:pt x="163" y="736"/>
                  </a:cubicBezTo>
                  <a:close/>
                  <a:moveTo>
                    <a:pt x="173" y="688"/>
                  </a:moveTo>
                  <a:cubicBezTo>
                    <a:pt x="172" y="693"/>
                    <a:pt x="170" y="696"/>
                    <a:pt x="165" y="696"/>
                  </a:cubicBezTo>
                  <a:cubicBezTo>
                    <a:pt x="159" y="695"/>
                    <a:pt x="161" y="690"/>
                    <a:pt x="157" y="688"/>
                  </a:cubicBezTo>
                  <a:cubicBezTo>
                    <a:pt x="153" y="690"/>
                    <a:pt x="158" y="693"/>
                    <a:pt x="157" y="699"/>
                  </a:cubicBezTo>
                  <a:cubicBezTo>
                    <a:pt x="148" y="700"/>
                    <a:pt x="151" y="685"/>
                    <a:pt x="144" y="684"/>
                  </a:cubicBezTo>
                  <a:cubicBezTo>
                    <a:pt x="135" y="692"/>
                    <a:pt x="148" y="702"/>
                    <a:pt x="154" y="703"/>
                  </a:cubicBezTo>
                  <a:cubicBezTo>
                    <a:pt x="153" y="706"/>
                    <a:pt x="151" y="710"/>
                    <a:pt x="154" y="710"/>
                  </a:cubicBezTo>
                  <a:cubicBezTo>
                    <a:pt x="153" y="721"/>
                    <a:pt x="149" y="707"/>
                    <a:pt x="144" y="710"/>
                  </a:cubicBezTo>
                  <a:cubicBezTo>
                    <a:pt x="140" y="711"/>
                    <a:pt x="146" y="729"/>
                    <a:pt x="144" y="740"/>
                  </a:cubicBezTo>
                  <a:cubicBezTo>
                    <a:pt x="135" y="736"/>
                    <a:pt x="139" y="748"/>
                    <a:pt x="138" y="755"/>
                  </a:cubicBezTo>
                  <a:cubicBezTo>
                    <a:pt x="136" y="766"/>
                    <a:pt x="135" y="748"/>
                    <a:pt x="135" y="744"/>
                  </a:cubicBezTo>
                  <a:cubicBezTo>
                    <a:pt x="134" y="735"/>
                    <a:pt x="140" y="736"/>
                    <a:pt x="138" y="725"/>
                  </a:cubicBezTo>
                  <a:cubicBezTo>
                    <a:pt x="126" y="722"/>
                    <a:pt x="142" y="735"/>
                    <a:pt x="130" y="733"/>
                  </a:cubicBezTo>
                  <a:cubicBezTo>
                    <a:pt x="129" y="723"/>
                    <a:pt x="131" y="719"/>
                    <a:pt x="138" y="721"/>
                  </a:cubicBezTo>
                  <a:cubicBezTo>
                    <a:pt x="138" y="712"/>
                    <a:pt x="138" y="704"/>
                    <a:pt x="144" y="703"/>
                  </a:cubicBezTo>
                  <a:cubicBezTo>
                    <a:pt x="140" y="696"/>
                    <a:pt x="130" y="700"/>
                    <a:pt x="125" y="696"/>
                  </a:cubicBezTo>
                  <a:cubicBezTo>
                    <a:pt x="119" y="698"/>
                    <a:pt x="122" y="718"/>
                    <a:pt x="130" y="714"/>
                  </a:cubicBezTo>
                  <a:cubicBezTo>
                    <a:pt x="129" y="719"/>
                    <a:pt x="127" y="722"/>
                    <a:pt x="122" y="721"/>
                  </a:cubicBezTo>
                  <a:cubicBezTo>
                    <a:pt x="123" y="729"/>
                    <a:pt x="118" y="729"/>
                    <a:pt x="114" y="729"/>
                  </a:cubicBezTo>
                  <a:cubicBezTo>
                    <a:pt x="115" y="694"/>
                    <a:pt x="115" y="674"/>
                    <a:pt x="117" y="644"/>
                  </a:cubicBezTo>
                  <a:cubicBezTo>
                    <a:pt x="128" y="642"/>
                    <a:pt x="124" y="657"/>
                    <a:pt x="119" y="662"/>
                  </a:cubicBezTo>
                  <a:cubicBezTo>
                    <a:pt x="122" y="673"/>
                    <a:pt x="123" y="654"/>
                    <a:pt x="130" y="659"/>
                  </a:cubicBezTo>
                  <a:cubicBezTo>
                    <a:pt x="132" y="670"/>
                    <a:pt x="127" y="672"/>
                    <a:pt x="128" y="681"/>
                  </a:cubicBezTo>
                  <a:cubicBezTo>
                    <a:pt x="123" y="679"/>
                    <a:pt x="122" y="684"/>
                    <a:pt x="122" y="688"/>
                  </a:cubicBezTo>
                  <a:cubicBezTo>
                    <a:pt x="132" y="706"/>
                    <a:pt x="130" y="664"/>
                    <a:pt x="138" y="677"/>
                  </a:cubicBezTo>
                  <a:cubicBezTo>
                    <a:pt x="139" y="670"/>
                    <a:pt x="135" y="669"/>
                    <a:pt x="135" y="662"/>
                  </a:cubicBezTo>
                  <a:cubicBezTo>
                    <a:pt x="135" y="652"/>
                    <a:pt x="127" y="654"/>
                    <a:pt x="128" y="644"/>
                  </a:cubicBezTo>
                  <a:cubicBezTo>
                    <a:pt x="133" y="637"/>
                    <a:pt x="132" y="646"/>
                    <a:pt x="141" y="644"/>
                  </a:cubicBezTo>
                  <a:cubicBezTo>
                    <a:pt x="141" y="651"/>
                    <a:pt x="141" y="659"/>
                    <a:pt x="141" y="666"/>
                  </a:cubicBezTo>
                  <a:cubicBezTo>
                    <a:pt x="149" y="669"/>
                    <a:pt x="144" y="653"/>
                    <a:pt x="154" y="659"/>
                  </a:cubicBezTo>
                  <a:cubicBezTo>
                    <a:pt x="153" y="654"/>
                    <a:pt x="151" y="651"/>
                    <a:pt x="146" y="651"/>
                  </a:cubicBezTo>
                  <a:cubicBezTo>
                    <a:pt x="146" y="645"/>
                    <a:pt x="151" y="642"/>
                    <a:pt x="146" y="640"/>
                  </a:cubicBezTo>
                  <a:cubicBezTo>
                    <a:pt x="152" y="634"/>
                    <a:pt x="150" y="637"/>
                    <a:pt x="149" y="618"/>
                  </a:cubicBezTo>
                  <a:cubicBezTo>
                    <a:pt x="153" y="618"/>
                    <a:pt x="156" y="618"/>
                    <a:pt x="160" y="618"/>
                  </a:cubicBezTo>
                  <a:cubicBezTo>
                    <a:pt x="158" y="623"/>
                    <a:pt x="156" y="627"/>
                    <a:pt x="154" y="633"/>
                  </a:cubicBezTo>
                  <a:cubicBezTo>
                    <a:pt x="158" y="638"/>
                    <a:pt x="165" y="640"/>
                    <a:pt x="163" y="655"/>
                  </a:cubicBezTo>
                  <a:cubicBezTo>
                    <a:pt x="159" y="654"/>
                    <a:pt x="161" y="648"/>
                    <a:pt x="157" y="648"/>
                  </a:cubicBezTo>
                  <a:cubicBezTo>
                    <a:pt x="151" y="652"/>
                    <a:pt x="160" y="668"/>
                    <a:pt x="160" y="677"/>
                  </a:cubicBezTo>
                  <a:cubicBezTo>
                    <a:pt x="157" y="677"/>
                    <a:pt x="155" y="678"/>
                    <a:pt x="154" y="681"/>
                  </a:cubicBezTo>
                  <a:cubicBezTo>
                    <a:pt x="159" y="694"/>
                    <a:pt x="166" y="679"/>
                    <a:pt x="173" y="688"/>
                  </a:cubicBezTo>
                  <a:close/>
                  <a:moveTo>
                    <a:pt x="173" y="648"/>
                  </a:moveTo>
                  <a:cubicBezTo>
                    <a:pt x="170" y="648"/>
                    <a:pt x="172" y="643"/>
                    <a:pt x="170" y="640"/>
                  </a:cubicBezTo>
                  <a:cubicBezTo>
                    <a:pt x="168" y="633"/>
                    <a:pt x="164" y="631"/>
                    <a:pt x="168" y="625"/>
                  </a:cubicBezTo>
                  <a:cubicBezTo>
                    <a:pt x="175" y="630"/>
                    <a:pt x="176" y="637"/>
                    <a:pt x="173" y="648"/>
                  </a:cubicBezTo>
                  <a:close/>
                  <a:moveTo>
                    <a:pt x="189" y="577"/>
                  </a:moveTo>
                  <a:cubicBezTo>
                    <a:pt x="185" y="575"/>
                    <a:pt x="183" y="572"/>
                    <a:pt x="179" y="570"/>
                  </a:cubicBezTo>
                  <a:cubicBezTo>
                    <a:pt x="173" y="587"/>
                    <a:pt x="189" y="575"/>
                    <a:pt x="187" y="588"/>
                  </a:cubicBezTo>
                  <a:cubicBezTo>
                    <a:pt x="182" y="592"/>
                    <a:pt x="178" y="577"/>
                    <a:pt x="176" y="588"/>
                  </a:cubicBezTo>
                  <a:cubicBezTo>
                    <a:pt x="169" y="584"/>
                    <a:pt x="176" y="569"/>
                    <a:pt x="176" y="562"/>
                  </a:cubicBezTo>
                  <a:cubicBezTo>
                    <a:pt x="176" y="556"/>
                    <a:pt x="174" y="550"/>
                    <a:pt x="170" y="548"/>
                  </a:cubicBezTo>
                  <a:cubicBezTo>
                    <a:pt x="163" y="553"/>
                    <a:pt x="173" y="552"/>
                    <a:pt x="173" y="562"/>
                  </a:cubicBezTo>
                  <a:cubicBezTo>
                    <a:pt x="173" y="563"/>
                    <a:pt x="168" y="562"/>
                    <a:pt x="168" y="562"/>
                  </a:cubicBezTo>
                  <a:cubicBezTo>
                    <a:pt x="166" y="567"/>
                    <a:pt x="171" y="583"/>
                    <a:pt x="168" y="588"/>
                  </a:cubicBezTo>
                  <a:cubicBezTo>
                    <a:pt x="166" y="588"/>
                    <a:pt x="165" y="585"/>
                    <a:pt x="163" y="585"/>
                  </a:cubicBezTo>
                  <a:cubicBezTo>
                    <a:pt x="164" y="596"/>
                    <a:pt x="159" y="599"/>
                    <a:pt x="157" y="607"/>
                  </a:cubicBezTo>
                  <a:cubicBezTo>
                    <a:pt x="160" y="617"/>
                    <a:pt x="182" y="602"/>
                    <a:pt x="179" y="622"/>
                  </a:cubicBezTo>
                  <a:cubicBezTo>
                    <a:pt x="164" y="624"/>
                    <a:pt x="163" y="609"/>
                    <a:pt x="149" y="611"/>
                  </a:cubicBezTo>
                  <a:cubicBezTo>
                    <a:pt x="143" y="611"/>
                    <a:pt x="143" y="620"/>
                    <a:pt x="144" y="629"/>
                  </a:cubicBezTo>
                  <a:cubicBezTo>
                    <a:pt x="138" y="629"/>
                    <a:pt x="140" y="619"/>
                    <a:pt x="133" y="622"/>
                  </a:cubicBezTo>
                  <a:cubicBezTo>
                    <a:pt x="133" y="616"/>
                    <a:pt x="134" y="608"/>
                    <a:pt x="130" y="607"/>
                  </a:cubicBezTo>
                  <a:cubicBezTo>
                    <a:pt x="131" y="601"/>
                    <a:pt x="138" y="606"/>
                    <a:pt x="138" y="599"/>
                  </a:cubicBezTo>
                  <a:cubicBezTo>
                    <a:pt x="137" y="584"/>
                    <a:pt x="128" y="591"/>
                    <a:pt x="119" y="592"/>
                  </a:cubicBezTo>
                  <a:cubicBezTo>
                    <a:pt x="120" y="569"/>
                    <a:pt x="146" y="603"/>
                    <a:pt x="141" y="577"/>
                  </a:cubicBezTo>
                  <a:cubicBezTo>
                    <a:pt x="146" y="578"/>
                    <a:pt x="147" y="584"/>
                    <a:pt x="146" y="592"/>
                  </a:cubicBezTo>
                  <a:cubicBezTo>
                    <a:pt x="150" y="592"/>
                    <a:pt x="153" y="592"/>
                    <a:pt x="157" y="592"/>
                  </a:cubicBezTo>
                  <a:cubicBezTo>
                    <a:pt x="159" y="579"/>
                    <a:pt x="147" y="586"/>
                    <a:pt x="146" y="577"/>
                  </a:cubicBezTo>
                  <a:cubicBezTo>
                    <a:pt x="145" y="566"/>
                    <a:pt x="155" y="570"/>
                    <a:pt x="160" y="566"/>
                  </a:cubicBezTo>
                  <a:cubicBezTo>
                    <a:pt x="160" y="570"/>
                    <a:pt x="160" y="574"/>
                    <a:pt x="160" y="577"/>
                  </a:cubicBezTo>
                  <a:cubicBezTo>
                    <a:pt x="163" y="577"/>
                    <a:pt x="162" y="573"/>
                    <a:pt x="163" y="570"/>
                  </a:cubicBezTo>
                  <a:cubicBezTo>
                    <a:pt x="164" y="566"/>
                    <a:pt x="164" y="563"/>
                    <a:pt x="165" y="551"/>
                  </a:cubicBezTo>
                  <a:cubicBezTo>
                    <a:pt x="165" y="550"/>
                    <a:pt x="165" y="545"/>
                    <a:pt x="165" y="544"/>
                  </a:cubicBezTo>
                  <a:cubicBezTo>
                    <a:pt x="170" y="539"/>
                    <a:pt x="162" y="533"/>
                    <a:pt x="168" y="525"/>
                  </a:cubicBezTo>
                  <a:cubicBezTo>
                    <a:pt x="169" y="516"/>
                    <a:pt x="153" y="529"/>
                    <a:pt x="157" y="514"/>
                  </a:cubicBezTo>
                  <a:cubicBezTo>
                    <a:pt x="152" y="514"/>
                    <a:pt x="151" y="519"/>
                    <a:pt x="146" y="518"/>
                  </a:cubicBezTo>
                  <a:cubicBezTo>
                    <a:pt x="144" y="510"/>
                    <a:pt x="141" y="504"/>
                    <a:pt x="141" y="492"/>
                  </a:cubicBezTo>
                  <a:cubicBezTo>
                    <a:pt x="143" y="495"/>
                    <a:pt x="145" y="499"/>
                    <a:pt x="146" y="503"/>
                  </a:cubicBezTo>
                  <a:cubicBezTo>
                    <a:pt x="157" y="503"/>
                    <a:pt x="143" y="482"/>
                    <a:pt x="154" y="492"/>
                  </a:cubicBezTo>
                  <a:cubicBezTo>
                    <a:pt x="155" y="482"/>
                    <a:pt x="148" y="482"/>
                    <a:pt x="141" y="481"/>
                  </a:cubicBezTo>
                  <a:cubicBezTo>
                    <a:pt x="136" y="456"/>
                    <a:pt x="158" y="468"/>
                    <a:pt x="157" y="448"/>
                  </a:cubicBezTo>
                  <a:cubicBezTo>
                    <a:pt x="162" y="447"/>
                    <a:pt x="163" y="452"/>
                    <a:pt x="168" y="452"/>
                  </a:cubicBezTo>
                  <a:cubicBezTo>
                    <a:pt x="175" y="453"/>
                    <a:pt x="166" y="431"/>
                    <a:pt x="173" y="433"/>
                  </a:cubicBezTo>
                  <a:cubicBezTo>
                    <a:pt x="186" y="433"/>
                    <a:pt x="171" y="442"/>
                    <a:pt x="179" y="444"/>
                  </a:cubicBezTo>
                  <a:cubicBezTo>
                    <a:pt x="180" y="445"/>
                    <a:pt x="183" y="443"/>
                    <a:pt x="184" y="444"/>
                  </a:cubicBezTo>
                  <a:cubicBezTo>
                    <a:pt x="189" y="449"/>
                    <a:pt x="186" y="458"/>
                    <a:pt x="192" y="463"/>
                  </a:cubicBezTo>
                  <a:cubicBezTo>
                    <a:pt x="185" y="475"/>
                    <a:pt x="186" y="447"/>
                    <a:pt x="179" y="448"/>
                  </a:cubicBezTo>
                  <a:cubicBezTo>
                    <a:pt x="176" y="448"/>
                    <a:pt x="177" y="452"/>
                    <a:pt x="176" y="455"/>
                  </a:cubicBezTo>
                  <a:cubicBezTo>
                    <a:pt x="170" y="455"/>
                    <a:pt x="165" y="455"/>
                    <a:pt x="160" y="455"/>
                  </a:cubicBezTo>
                  <a:cubicBezTo>
                    <a:pt x="157" y="458"/>
                    <a:pt x="157" y="464"/>
                    <a:pt x="152" y="463"/>
                  </a:cubicBezTo>
                  <a:cubicBezTo>
                    <a:pt x="157" y="470"/>
                    <a:pt x="157" y="466"/>
                    <a:pt x="154" y="477"/>
                  </a:cubicBezTo>
                  <a:cubicBezTo>
                    <a:pt x="161" y="477"/>
                    <a:pt x="159" y="464"/>
                    <a:pt x="163" y="459"/>
                  </a:cubicBezTo>
                  <a:cubicBezTo>
                    <a:pt x="168" y="452"/>
                    <a:pt x="171" y="466"/>
                    <a:pt x="173" y="466"/>
                  </a:cubicBezTo>
                  <a:cubicBezTo>
                    <a:pt x="177" y="467"/>
                    <a:pt x="179" y="455"/>
                    <a:pt x="184" y="463"/>
                  </a:cubicBezTo>
                  <a:cubicBezTo>
                    <a:pt x="186" y="474"/>
                    <a:pt x="181" y="476"/>
                    <a:pt x="181" y="485"/>
                  </a:cubicBezTo>
                  <a:cubicBezTo>
                    <a:pt x="188" y="482"/>
                    <a:pt x="201" y="475"/>
                    <a:pt x="200" y="492"/>
                  </a:cubicBezTo>
                  <a:cubicBezTo>
                    <a:pt x="188" y="487"/>
                    <a:pt x="193" y="505"/>
                    <a:pt x="184" y="503"/>
                  </a:cubicBezTo>
                  <a:cubicBezTo>
                    <a:pt x="184" y="500"/>
                    <a:pt x="184" y="496"/>
                    <a:pt x="184" y="492"/>
                  </a:cubicBezTo>
                  <a:cubicBezTo>
                    <a:pt x="180" y="493"/>
                    <a:pt x="183" y="503"/>
                    <a:pt x="179" y="503"/>
                  </a:cubicBezTo>
                  <a:cubicBezTo>
                    <a:pt x="179" y="514"/>
                    <a:pt x="191" y="508"/>
                    <a:pt x="195" y="514"/>
                  </a:cubicBezTo>
                  <a:cubicBezTo>
                    <a:pt x="194" y="519"/>
                    <a:pt x="190" y="518"/>
                    <a:pt x="187" y="518"/>
                  </a:cubicBezTo>
                  <a:cubicBezTo>
                    <a:pt x="187" y="525"/>
                    <a:pt x="187" y="533"/>
                    <a:pt x="187" y="540"/>
                  </a:cubicBezTo>
                  <a:cubicBezTo>
                    <a:pt x="174" y="544"/>
                    <a:pt x="191" y="528"/>
                    <a:pt x="181" y="525"/>
                  </a:cubicBezTo>
                  <a:cubicBezTo>
                    <a:pt x="177" y="529"/>
                    <a:pt x="178" y="541"/>
                    <a:pt x="176" y="548"/>
                  </a:cubicBezTo>
                  <a:cubicBezTo>
                    <a:pt x="174" y="558"/>
                    <a:pt x="181" y="555"/>
                    <a:pt x="181" y="562"/>
                  </a:cubicBezTo>
                  <a:cubicBezTo>
                    <a:pt x="180" y="572"/>
                    <a:pt x="192" y="565"/>
                    <a:pt x="189" y="577"/>
                  </a:cubicBezTo>
                  <a:close/>
                  <a:moveTo>
                    <a:pt x="168" y="607"/>
                  </a:moveTo>
                  <a:cubicBezTo>
                    <a:pt x="160" y="604"/>
                    <a:pt x="165" y="601"/>
                    <a:pt x="165" y="592"/>
                  </a:cubicBezTo>
                  <a:cubicBezTo>
                    <a:pt x="168" y="593"/>
                    <a:pt x="167" y="599"/>
                    <a:pt x="170" y="599"/>
                  </a:cubicBezTo>
                  <a:cubicBezTo>
                    <a:pt x="176" y="599"/>
                    <a:pt x="168" y="604"/>
                    <a:pt x="168" y="607"/>
                  </a:cubicBezTo>
                  <a:close/>
                  <a:moveTo>
                    <a:pt x="149" y="525"/>
                  </a:moveTo>
                  <a:cubicBezTo>
                    <a:pt x="152" y="525"/>
                    <a:pt x="154" y="525"/>
                    <a:pt x="157" y="525"/>
                  </a:cubicBezTo>
                  <a:cubicBezTo>
                    <a:pt x="162" y="532"/>
                    <a:pt x="159" y="547"/>
                    <a:pt x="160" y="559"/>
                  </a:cubicBezTo>
                  <a:cubicBezTo>
                    <a:pt x="151" y="556"/>
                    <a:pt x="148" y="551"/>
                    <a:pt x="152" y="566"/>
                  </a:cubicBezTo>
                  <a:cubicBezTo>
                    <a:pt x="137" y="563"/>
                    <a:pt x="147" y="547"/>
                    <a:pt x="149" y="537"/>
                  </a:cubicBezTo>
                  <a:cubicBezTo>
                    <a:pt x="150" y="533"/>
                    <a:pt x="145" y="530"/>
                    <a:pt x="149" y="525"/>
                  </a:cubicBezTo>
                  <a:close/>
                  <a:moveTo>
                    <a:pt x="189" y="566"/>
                  </a:moveTo>
                  <a:cubicBezTo>
                    <a:pt x="185" y="563"/>
                    <a:pt x="181" y="561"/>
                    <a:pt x="181" y="551"/>
                  </a:cubicBezTo>
                  <a:cubicBezTo>
                    <a:pt x="183" y="554"/>
                    <a:pt x="189" y="557"/>
                    <a:pt x="189" y="551"/>
                  </a:cubicBezTo>
                  <a:cubicBezTo>
                    <a:pt x="196" y="552"/>
                    <a:pt x="190" y="564"/>
                    <a:pt x="189" y="566"/>
                  </a:cubicBezTo>
                  <a:close/>
                  <a:moveTo>
                    <a:pt x="195" y="548"/>
                  </a:moveTo>
                  <a:cubicBezTo>
                    <a:pt x="187" y="544"/>
                    <a:pt x="198" y="536"/>
                    <a:pt x="195" y="525"/>
                  </a:cubicBezTo>
                  <a:cubicBezTo>
                    <a:pt x="201" y="533"/>
                    <a:pt x="200" y="541"/>
                    <a:pt x="195" y="548"/>
                  </a:cubicBezTo>
                  <a:close/>
                  <a:moveTo>
                    <a:pt x="205" y="525"/>
                  </a:moveTo>
                  <a:cubicBezTo>
                    <a:pt x="202" y="525"/>
                    <a:pt x="205" y="514"/>
                    <a:pt x="200" y="514"/>
                  </a:cubicBezTo>
                  <a:cubicBezTo>
                    <a:pt x="200" y="511"/>
                    <a:pt x="201" y="511"/>
                    <a:pt x="203" y="511"/>
                  </a:cubicBezTo>
                  <a:cubicBezTo>
                    <a:pt x="205" y="511"/>
                    <a:pt x="206" y="511"/>
                    <a:pt x="208" y="511"/>
                  </a:cubicBezTo>
                  <a:cubicBezTo>
                    <a:pt x="208" y="517"/>
                    <a:pt x="205" y="519"/>
                    <a:pt x="205" y="525"/>
                  </a:cubicBezTo>
                  <a:close/>
                  <a:moveTo>
                    <a:pt x="208" y="285"/>
                  </a:moveTo>
                  <a:cubicBezTo>
                    <a:pt x="201" y="280"/>
                    <a:pt x="216" y="258"/>
                    <a:pt x="208" y="285"/>
                  </a:cubicBezTo>
                  <a:close/>
                  <a:moveTo>
                    <a:pt x="458" y="803"/>
                  </a:moveTo>
                  <a:cubicBezTo>
                    <a:pt x="458" y="809"/>
                    <a:pt x="442" y="796"/>
                    <a:pt x="445" y="814"/>
                  </a:cubicBezTo>
                  <a:cubicBezTo>
                    <a:pt x="440" y="822"/>
                    <a:pt x="445" y="790"/>
                    <a:pt x="447" y="784"/>
                  </a:cubicBezTo>
                  <a:cubicBezTo>
                    <a:pt x="456" y="788"/>
                    <a:pt x="447" y="799"/>
                    <a:pt x="458" y="803"/>
                  </a:cubicBezTo>
                  <a:close/>
                  <a:moveTo>
                    <a:pt x="453" y="655"/>
                  </a:moveTo>
                  <a:cubicBezTo>
                    <a:pt x="457" y="642"/>
                    <a:pt x="458" y="662"/>
                    <a:pt x="456" y="662"/>
                  </a:cubicBezTo>
                  <a:cubicBezTo>
                    <a:pt x="454" y="663"/>
                    <a:pt x="452" y="657"/>
                    <a:pt x="453" y="655"/>
                  </a:cubicBezTo>
                  <a:close/>
                  <a:moveTo>
                    <a:pt x="447" y="648"/>
                  </a:moveTo>
                  <a:cubicBezTo>
                    <a:pt x="455" y="651"/>
                    <a:pt x="446" y="659"/>
                    <a:pt x="447" y="666"/>
                  </a:cubicBezTo>
                  <a:cubicBezTo>
                    <a:pt x="448" y="670"/>
                    <a:pt x="451" y="669"/>
                    <a:pt x="453" y="670"/>
                  </a:cubicBezTo>
                  <a:cubicBezTo>
                    <a:pt x="452" y="679"/>
                    <a:pt x="444" y="671"/>
                    <a:pt x="442" y="670"/>
                  </a:cubicBezTo>
                  <a:cubicBezTo>
                    <a:pt x="439" y="670"/>
                    <a:pt x="440" y="674"/>
                    <a:pt x="439" y="677"/>
                  </a:cubicBezTo>
                  <a:cubicBezTo>
                    <a:pt x="435" y="677"/>
                    <a:pt x="430" y="677"/>
                    <a:pt x="426" y="677"/>
                  </a:cubicBezTo>
                  <a:cubicBezTo>
                    <a:pt x="427" y="671"/>
                    <a:pt x="434" y="674"/>
                    <a:pt x="431" y="662"/>
                  </a:cubicBezTo>
                  <a:cubicBezTo>
                    <a:pt x="434" y="665"/>
                    <a:pt x="437" y="666"/>
                    <a:pt x="442" y="666"/>
                  </a:cubicBezTo>
                  <a:cubicBezTo>
                    <a:pt x="448" y="665"/>
                    <a:pt x="443" y="650"/>
                    <a:pt x="447" y="648"/>
                  </a:cubicBezTo>
                  <a:close/>
                  <a:moveTo>
                    <a:pt x="423" y="799"/>
                  </a:moveTo>
                  <a:cubicBezTo>
                    <a:pt x="418" y="798"/>
                    <a:pt x="410" y="807"/>
                    <a:pt x="410" y="792"/>
                  </a:cubicBezTo>
                  <a:cubicBezTo>
                    <a:pt x="404" y="793"/>
                    <a:pt x="401" y="791"/>
                    <a:pt x="402" y="784"/>
                  </a:cubicBezTo>
                  <a:cubicBezTo>
                    <a:pt x="399" y="784"/>
                    <a:pt x="400" y="789"/>
                    <a:pt x="399" y="792"/>
                  </a:cubicBezTo>
                  <a:cubicBezTo>
                    <a:pt x="392" y="787"/>
                    <a:pt x="399" y="772"/>
                    <a:pt x="407" y="777"/>
                  </a:cubicBezTo>
                  <a:cubicBezTo>
                    <a:pt x="407" y="782"/>
                    <a:pt x="407" y="787"/>
                    <a:pt x="410" y="788"/>
                  </a:cubicBezTo>
                  <a:cubicBezTo>
                    <a:pt x="416" y="783"/>
                    <a:pt x="408" y="780"/>
                    <a:pt x="412" y="773"/>
                  </a:cubicBezTo>
                  <a:cubicBezTo>
                    <a:pt x="415" y="770"/>
                    <a:pt x="407" y="761"/>
                    <a:pt x="410" y="751"/>
                  </a:cubicBezTo>
                  <a:cubicBezTo>
                    <a:pt x="412" y="750"/>
                    <a:pt x="412" y="753"/>
                    <a:pt x="412" y="755"/>
                  </a:cubicBezTo>
                  <a:cubicBezTo>
                    <a:pt x="413" y="759"/>
                    <a:pt x="415" y="757"/>
                    <a:pt x="415" y="755"/>
                  </a:cubicBezTo>
                  <a:cubicBezTo>
                    <a:pt x="419" y="756"/>
                    <a:pt x="417" y="764"/>
                    <a:pt x="418" y="770"/>
                  </a:cubicBezTo>
                  <a:cubicBezTo>
                    <a:pt x="419" y="774"/>
                    <a:pt x="427" y="776"/>
                    <a:pt x="423" y="784"/>
                  </a:cubicBezTo>
                  <a:cubicBezTo>
                    <a:pt x="432" y="783"/>
                    <a:pt x="435" y="781"/>
                    <a:pt x="442" y="784"/>
                  </a:cubicBezTo>
                  <a:cubicBezTo>
                    <a:pt x="439" y="789"/>
                    <a:pt x="439" y="798"/>
                    <a:pt x="437" y="803"/>
                  </a:cubicBezTo>
                  <a:cubicBezTo>
                    <a:pt x="434" y="801"/>
                    <a:pt x="425" y="806"/>
                    <a:pt x="423" y="803"/>
                  </a:cubicBezTo>
                  <a:cubicBezTo>
                    <a:pt x="423" y="803"/>
                    <a:pt x="423" y="799"/>
                    <a:pt x="423" y="799"/>
                  </a:cubicBezTo>
                  <a:close/>
                  <a:moveTo>
                    <a:pt x="388" y="792"/>
                  </a:moveTo>
                  <a:cubicBezTo>
                    <a:pt x="385" y="790"/>
                    <a:pt x="384" y="785"/>
                    <a:pt x="380" y="784"/>
                  </a:cubicBezTo>
                  <a:cubicBezTo>
                    <a:pt x="378" y="787"/>
                    <a:pt x="378" y="793"/>
                    <a:pt x="372" y="792"/>
                  </a:cubicBezTo>
                  <a:cubicBezTo>
                    <a:pt x="376" y="787"/>
                    <a:pt x="377" y="770"/>
                    <a:pt x="370" y="770"/>
                  </a:cubicBezTo>
                  <a:cubicBezTo>
                    <a:pt x="367" y="773"/>
                    <a:pt x="364" y="777"/>
                    <a:pt x="361" y="781"/>
                  </a:cubicBezTo>
                  <a:cubicBezTo>
                    <a:pt x="356" y="779"/>
                    <a:pt x="356" y="775"/>
                    <a:pt x="359" y="770"/>
                  </a:cubicBezTo>
                  <a:cubicBezTo>
                    <a:pt x="351" y="769"/>
                    <a:pt x="353" y="776"/>
                    <a:pt x="348" y="770"/>
                  </a:cubicBezTo>
                  <a:cubicBezTo>
                    <a:pt x="349" y="765"/>
                    <a:pt x="353" y="764"/>
                    <a:pt x="353" y="759"/>
                  </a:cubicBezTo>
                  <a:cubicBezTo>
                    <a:pt x="357" y="764"/>
                    <a:pt x="359" y="770"/>
                    <a:pt x="359" y="755"/>
                  </a:cubicBezTo>
                  <a:cubicBezTo>
                    <a:pt x="367" y="752"/>
                    <a:pt x="362" y="767"/>
                    <a:pt x="370" y="766"/>
                  </a:cubicBezTo>
                  <a:cubicBezTo>
                    <a:pt x="373" y="765"/>
                    <a:pt x="373" y="755"/>
                    <a:pt x="370" y="755"/>
                  </a:cubicBezTo>
                  <a:cubicBezTo>
                    <a:pt x="373" y="750"/>
                    <a:pt x="373" y="742"/>
                    <a:pt x="372" y="733"/>
                  </a:cubicBezTo>
                  <a:cubicBezTo>
                    <a:pt x="383" y="730"/>
                    <a:pt x="373" y="757"/>
                    <a:pt x="386" y="751"/>
                  </a:cubicBezTo>
                  <a:cubicBezTo>
                    <a:pt x="383" y="755"/>
                    <a:pt x="385" y="765"/>
                    <a:pt x="378" y="762"/>
                  </a:cubicBezTo>
                  <a:cubicBezTo>
                    <a:pt x="384" y="771"/>
                    <a:pt x="380" y="772"/>
                    <a:pt x="383" y="781"/>
                  </a:cubicBezTo>
                  <a:cubicBezTo>
                    <a:pt x="386" y="778"/>
                    <a:pt x="386" y="772"/>
                    <a:pt x="391" y="773"/>
                  </a:cubicBezTo>
                  <a:cubicBezTo>
                    <a:pt x="398" y="782"/>
                    <a:pt x="387" y="780"/>
                    <a:pt x="388" y="792"/>
                  </a:cubicBezTo>
                  <a:close/>
                  <a:moveTo>
                    <a:pt x="345" y="740"/>
                  </a:moveTo>
                  <a:cubicBezTo>
                    <a:pt x="346" y="740"/>
                    <a:pt x="344" y="746"/>
                    <a:pt x="343" y="744"/>
                  </a:cubicBezTo>
                  <a:cubicBezTo>
                    <a:pt x="340" y="739"/>
                    <a:pt x="339" y="743"/>
                    <a:pt x="335" y="740"/>
                  </a:cubicBezTo>
                  <a:cubicBezTo>
                    <a:pt x="334" y="740"/>
                    <a:pt x="335" y="734"/>
                    <a:pt x="335" y="733"/>
                  </a:cubicBezTo>
                  <a:cubicBezTo>
                    <a:pt x="332" y="727"/>
                    <a:pt x="326" y="732"/>
                    <a:pt x="321" y="733"/>
                  </a:cubicBezTo>
                  <a:cubicBezTo>
                    <a:pt x="321" y="723"/>
                    <a:pt x="316" y="721"/>
                    <a:pt x="321" y="714"/>
                  </a:cubicBezTo>
                  <a:cubicBezTo>
                    <a:pt x="325" y="713"/>
                    <a:pt x="322" y="723"/>
                    <a:pt x="324" y="725"/>
                  </a:cubicBezTo>
                  <a:cubicBezTo>
                    <a:pt x="327" y="729"/>
                    <a:pt x="331" y="718"/>
                    <a:pt x="335" y="721"/>
                  </a:cubicBezTo>
                  <a:cubicBezTo>
                    <a:pt x="335" y="725"/>
                    <a:pt x="335" y="729"/>
                    <a:pt x="335" y="733"/>
                  </a:cubicBezTo>
                  <a:cubicBezTo>
                    <a:pt x="341" y="731"/>
                    <a:pt x="345" y="727"/>
                    <a:pt x="353" y="729"/>
                  </a:cubicBezTo>
                  <a:cubicBezTo>
                    <a:pt x="353" y="725"/>
                    <a:pt x="348" y="726"/>
                    <a:pt x="345" y="725"/>
                  </a:cubicBezTo>
                  <a:cubicBezTo>
                    <a:pt x="349" y="720"/>
                    <a:pt x="356" y="720"/>
                    <a:pt x="356" y="710"/>
                  </a:cubicBezTo>
                  <a:cubicBezTo>
                    <a:pt x="360" y="711"/>
                    <a:pt x="357" y="721"/>
                    <a:pt x="361" y="721"/>
                  </a:cubicBezTo>
                  <a:cubicBezTo>
                    <a:pt x="356" y="729"/>
                    <a:pt x="357" y="723"/>
                    <a:pt x="359" y="736"/>
                  </a:cubicBezTo>
                  <a:cubicBezTo>
                    <a:pt x="359" y="741"/>
                    <a:pt x="358" y="746"/>
                    <a:pt x="359" y="751"/>
                  </a:cubicBezTo>
                  <a:cubicBezTo>
                    <a:pt x="356" y="751"/>
                    <a:pt x="354" y="752"/>
                    <a:pt x="353" y="755"/>
                  </a:cubicBezTo>
                  <a:cubicBezTo>
                    <a:pt x="346" y="754"/>
                    <a:pt x="357" y="748"/>
                    <a:pt x="353" y="740"/>
                  </a:cubicBezTo>
                  <a:cubicBezTo>
                    <a:pt x="358" y="727"/>
                    <a:pt x="336" y="740"/>
                    <a:pt x="345" y="740"/>
                  </a:cubicBezTo>
                  <a:close/>
                  <a:moveTo>
                    <a:pt x="332" y="747"/>
                  </a:moveTo>
                  <a:cubicBezTo>
                    <a:pt x="337" y="748"/>
                    <a:pt x="345" y="744"/>
                    <a:pt x="343" y="755"/>
                  </a:cubicBezTo>
                  <a:cubicBezTo>
                    <a:pt x="340" y="755"/>
                    <a:pt x="340" y="753"/>
                    <a:pt x="340" y="751"/>
                  </a:cubicBezTo>
                  <a:cubicBezTo>
                    <a:pt x="337" y="751"/>
                    <a:pt x="338" y="756"/>
                    <a:pt x="337" y="759"/>
                  </a:cubicBezTo>
                  <a:cubicBezTo>
                    <a:pt x="335" y="758"/>
                    <a:pt x="335" y="755"/>
                    <a:pt x="332" y="755"/>
                  </a:cubicBezTo>
                  <a:cubicBezTo>
                    <a:pt x="332" y="752"/>
                    <a:pt x="332" y="750"/>
                    <a:pt x="332" y="747"/>
                  </a:cubicBezTo>
                  <a:close/>
                  <a:moveTo>
                    <a:pt x="326" y="744"/>
                  </a:moveTo>
                  <a:cubicBezTo>
                    <a:pt x="326" y="741"/>
                    <a:pt x="326" y="739"/>
                    <a:pt x="326" y="736"/>
                  </a:cubicBezTo>
                  <a:cubicBezTo>
                    <a:pt x="328" y="736"/>
                    <a:pt x="330" y="736"/>
                    <a:pt x="332" y="736"/>
                  </a:cubicBezTo>
                  <a:cubicBezTo>
                    <a:pt x="332" y="739"/>
                    <a:pt x="332" y="741"/>
                    <a:pt x="332" y="744"/>
                  </a:cubicBezTo>
                  <a:cubicBezTo>
                    <a:pt x="330" y="744"/>
                    <a:pt x="328" y="744"/>
                    <a:pt x="326" y="744"/>
                  </a:cubicBezTo>
                  <a:close/>
                  <a:moveTo>
                    <a:pt x="297" y="607"/>
                  </a:moveTo>
                  <a:cubicBezTo>
                    <a:pt x="296" y="598"/>
                    <a:pt x="309" y="609"/>
                    <a:pt x="305" y="596"/>
                  </a:cubicBezTo>
                  <a:cubicBezTo>
                    <a:pt x="309" y="598"/>
                    <a:pt x="312" y="601"/>
                    <a:pt x="316" y="603"/>
                  </a:cubicBezTo>
                  <a:cubicBezTo>
                    <a:pt x="317" y="607"/>
                    <a:pt x="311" y="605"/>
                    <a:pt x="310" y="607"/>
                  </a:cubicBezTo>
                  <a:cubicBezTo>
                    <a:pt x="310" y="609"/>
                    <a:pt x="314" y="613"/>
                    <a:pt x="313" y="618"/>
                  </a:cubicBezTo>
                  <a:cubicBezTo>
                    <a:pt x="313" y="619"/>
                    <a:pt x="310" y="618"/>
                    <a:pt x="310" y="622"/>
                  </a:cubicBezTo>
                  <a:cubicBezTo>
                    <a:pt x="310" y="635"/>
                    <a:pt x="315" y="658"/>
                    <a:pt x="302" y="655"/>
                  </a:cubicBezTo>
                  <a:cubicBezTo>
                    <a:pt x="303" y="651"/>
                    <a:pt x="308" y="652"/>
                    <a:pt x="308" y="648"/>
                  </a:cubicBezTo>
                  <a:cubicBezTo>
                    <a:pt x="306" y="644"/>
                    <a:pt x="301" y="644"/>
                    <a:pt x="302" y="636"/>
                  </a:cubicBezTo>
                  <a:cubicBezTo>
                    <a:pt x="302" y="635"/>
                    <a:pt x="305" y="631"/>
                    <a:pt x="305" y="633"/>
                  </a:cubicBezTo>
                  <a:cubicBezTo>
                    <a:pt x="305" y="625"/>
                    <a:pt x="296" y="624"/>
                    <a:pt x="300" y="614"/>
                  </a:cubicBezTo>
                  <a:cubicBezTo>
                    <a:pt x="302" y="617"/>
                    <a:pt x="304" y="621"/>
                    <a:pt x="305" y="625"/>
                  </a:cubicBezTo>
                  <a:cubicBezTo>
                    <a:pt x="313" y="619"/>
                    <a:pt x="305" y="604"/>
                    <a:pt x="297" y="607"/>
                  </a:cubicBezTo>
                  <a:close/>
                  <a:moveTo>
                    <a:pt x="289" y="562"/>
                  </a:moveTo>
                  <a:cubicBezTo>
                    <a:pt x="284" y="562"/>
                    <a:pt x="283" y="567"/>
                    <a:pt x="278" y="566"/>
                  </a:cubicBezTo>
                  <a:cubicBezTo>
                    <a:pt x="276" y="558"/>
                    <a:pt x="286" y="554"/>
                    <a:pt x="275" y="555"/>
                  </a:cubicBezTo>
                  <a:cubicBezTo>
                    <a:pt x="279" y="541"/>
                    <a:pt x="293" y="558"/>
                    <a:pt x="286" y="537"/>
                  </a:cubicBezTo>
                  <a:cubicBezTo>
                    <a:pt x="281" y="542"/>
                    <a:pt x="280" y="540"/>
                    <a:pt x="281" y="529"/>
                  </a:cubicBezTo>
                  <a:cubicBezTo>
                    <a:pt x="276" y="529"/>
                    <a:pt x="272" y="529"/>
                    <a:pt x="267" y="529"/>
                  </a:cubicBezTo>
                  <a:cubicBezTo>
                    <a:pt x="268" y="518"/>
                    <a:pt x="277" y="524"/>
                    <a:pt x="281" y="529"/>
                  </a:cubicBezTo>
                  <a:cubicBezTo>
                    <a:pt x="287" y="528"/>
                    <a:pt x="291" y="523"/>
                    <a:pt x="300" y="525"/>
                  </a:cubicBezTo>
                  <a:cubicBezTo>
                    <a:pt x="300" y="531"/>
                    <a:pt x="284" y="531"/>
                    <a:pt x="297" y="533"/>
                  </a:cubicBezTo>
                  <a:cubicBezTo>
                    <a:pt x="291" y="548"/>
                    <a:pt x="294" y="552"/>
                    <a:pt x="292" y="570"/>
                  </a:cubicBezTo>
                  <a:cubicBezTo>
                    <a:pt x="296" y="571"/>
                    <a:pt x="297" y="567"/>
                    <a:pt x="297" y="562"/>
                  </a:cubicBezTo>
                  <a:cubicBezTo>
                    <a:pt x="300" y="562"/>
                    <a:pt x="302" y="563"/>
                    <a:pt x="302" y="566"/>
                  </a:cubicBezTo>
                  <a:cubicBezTo>
                    <a:pt x="308" y="565"/>
                    <a:pt x="303" y="550"/>
                    <a:pt x="308" y="548"/>
                  </a:cubicBezTo>
                  <a:cubicBezTo>
                    <a:pt x="313" y="548"/>
                    <a:pt x="308" y="559"/>
                    <a:pt x="310" y="562"/>
                  </a:cubicBezTo>
                  <a:cubicBezTo>
                    <a:pt x="311" y="565"/>
                    <a:pt x="313" y="560"/>
                    <a:pt x="313" y="559"/>
                  </a:cubicBezTo>
                  <a:cubicBezTo>
                    <a:pt x="313" y="558"/>
                    <a:pt x="318" y="560"/>
                    <a:pt x="316" y="562"/>
                  </a:cubicBezTo>
                  <a:cubicBezTo>
                    <a:pt x="311" y="567"/>
                    <a:pt x="319" y="566"/>
                    <a:pt x="313" y="585"/>
                  </a:cubicBezTo>
                  <a:cubicBezTo>
                    <a:pt x="316" y="582"/>
                    <a:pt x="316" y="576"/>
                    <a:pt x="321" y="577"/>
                  </a:cubicBezTo>
                  <a:cubicBezTo>
                    <a:pt x="321" y="583"/>
                    <a:pt x="321" y="590"/>
                    <a:pt x="321" y="596"/>
                  </a:cubicBezTo>
                  <a:cubicBezTo>
                    <a:pt x="318" y="596"/>
                    <a:pt x="319" y="591"/>
                    <a:pt x="318" y="588"/>
                  </a:cubicBezTo>
                  <a:cubicBezTo>
                    <a:pt x="315" y="588"/>
                    <a:pt x="314" y="589"/>
                    <a:pt x="313" y="592"/>
                  </a:cubicBezTo>
                  <a:cubicBezTo>
                    <a:pt x="311" y="588"/>
                    <a:pt x="301" y="577"/>
                    <a:pt x="300" y="585"/>
                  </a:cubicBezTo>
                  <a:cubicBezTo>
                    <a:pt x="291" y="581"/>
                    <a:pt x="303" y="577"/>
                    <a:pt x="302" y="574"/>
                  </a:cubicBezTo>
                  <a:cubicBezTo>
                    <a:pt x="300" y="568"/>
                    <a:pt x="281" y="577"/>
                    <a:pt x="289" y="562"/>
                  </a:cubicBezTo>
                  <a:close/>
                  <a:moveTo>
                    <a:pt x="292" y="625"/>
                  </a:moveTo>
                  <a:cubicBezTo>
                    <a:pt x="284" y="626"/>
                    <a:pt x="285" y="615"/>
                    <a:pt x="281" y="611"/>
                  </a:cubicBezTo>
                  <a:cubicBezTo>
                    <a:pt x="277" y="615"/>
                    <a:pt x="274" y="615"/>
                    <a:pt x="270" y="611"/>
                  </a:cubicBezTo>
                  <a:cubicBezTo>
                    <a:pt x="270" y="606"/>
                    <a:pt x="270" y="601"/>
                    <a:pt x="270" y="596"/>
                  </a:cubicBezTo>
                  <a:cubicBezTo>
                    <a:pt x="270" y="591"/>
                    <a:pt x="273" y="588"/>
                    <a:pt x="273" y="585"/>
                  </a:cubicBezTo>
                  <a:cubicBezTo>
                    <a:pt x="272" y="579"/>
                    <a:pt x="268" y="575"/>
                    <a:pt x="267" y="570"/>
                  </a:cubicBezTo>
                  <a:cubicBezTo>
                    <a:pt x="267" y="560"/>
                    <a:pt x="271" y="550"/>
                    <a:pt x="267" y="537"/>
                  </a:cubicBezTo>
                  <a:cubicBezTo>
                    <a:pt x="270" y="538"/>
                    <a:pt x="272" y="540"/>
                    <a:pt x="273" y="544"/>
                  </a:cubicBezTo>
                  <a:cubicBezTo>
                    <a:pt x="272" y="543"/>
                    <a:pt x="269" y="546"/>
                    <a:pt x="270" y="548"/>
                  </a:cubicBezTo>
                  <a:cubicBezTo>
                    <a:pt x="272" y="550"/>
                    <a:pt x="274" y="557"/>
                    <a:pt x="273" y="574"/>
                  </a:cubicBezTo>
                  <a:cubicBezTo>
                    <a:pt x="273" y="578"/>
                    <a:pt x="275" y="576"/>
                    <a:pt x="275" y="574"/>
                  </a:cubicBezTo>
                  <a:cubicBezTo>
                    <a:pt x="283" y="571"/>
                    <a:pt x="273" y="591"/>
                    <a:pt x="281" y="588"/>
                  </a:cubicBezTo>
                  <a:cubicBezTo>
                    <a:pt x="280" y="597"/>
                    <a:pt x="280" y="606"/>
                    <a:pt x="283" y="611"/>
                  </a:cubicBezTo>
                  <a:cubicBezTo>
                    <a:pt x="287" y="609"/>
                    <a:pt x="286" y="601"/>
                    <a:pt x="286" y="596"/>
                  </a:cubicBezTo>
                  <a:cubicBezTo>
                    <a:pt x="289" y="598"/>
                    <a:pt x="289" y="604"/>
                    <a:pt x="294" y="603"/>
                  </a:cubicBezTo>
                  <a:cubicBezTo>
                    <a:pt x="294" y="612"/>
                    <a:pt x="290" y="614"/>
                    <a:pt x="292" y="625"/>
                  </a:cubicBezTo>
                  <a:close/>
                  <a:moveTo>
                    <a:pt x="283" y="644"/>
                  </a:moveTo>
                  <a:cubicBezTo>
                    <a:pt x="283" y="648"/>
                    <a:pt x="278" y="646"/>
                    <a:pt x="278" y="651"/>
                  </a:cubicBezTo>
                  <a:cubicBezTo>
                    <a:pt x="275" y="651"/>
                    <a:pt x="277" y="648"/>
                    <a:pt x="278" y="648"/>
                  </a:cubicBezTo>
                  <a:cubicBezTo>
                    <a:pt x="274" y="637"/>
                    <a:pt x="276" y="643"/>
                    <a:pt x="283" y="644"/>
                  </a:cubicBezTo>
                  <a:close/>
                  <a:moveTo>
                    <a:pt x="270" y="618"/>
                  </a:moveTo>
                  <a:cubicBezTo>
                    <a:pt x="274" y="617"/>
                    <a:pt x="275" y="621"/>
                    <a:pt x="278" y="622"/>
                  </a:cubicBezTo>
                  <a:cubicBezTo>
                    <a:pt x="279" y="629"/>
                    <a:pt x="266" y="627"/>
                    <a:pt x="270" y="618"/>
                  </a:cubicBezTo>
                  <a:close/>
                  <a:moveTo>
                    <a:pt x="273" y="636"/>
                  </a:moveTo>
                  <a:cubicBezTo>
                    <a:pt x="273" y="635"/>
                    <a:pt x="270" y="648"/>
                    <a:pt x="270" y="648"/>
                  </a:cubicBezTo>
                  <a:cubicBezTo>
                    <a:pt x="268" y="650"/>
                    <a:pt x="269" y="635"/>
                    <a:pt x="267" y="629"/>
                  </a:cubicBezTo>
                  <a:cubicBezTo>
                    <a:pt x="272" y="628"/>
                    <a:pt x="273" y="632"/>
                    <a:pt x="273" y="636"/>
                  </a:cubicBezTo>
                  <a:close/>
                  <a:moveTo>
                    <a:pt x="232" y="470"/>
                  </a:moveTo>
                  <a:cubicBezTo>
                    <a:pt x="227" y="469"/>
                    <a:pt x="230" y="456"/>
                    <a:pt x="224" y="455"/>
                  </a:cubicBezTo>
                  <a:cubicBezTo>
                    <a:pt x="216" y="446"/>
                    <a:pt x="232" y="459"/>
                    <a:pt x="230" y="452"/>
                  </a:cubicBezTo>
                  <a:cubicBezTo>
                    <a:pt x="235" y="451"/>
                    <a:pt x="231" y="465"/>
                    <a:pt x="232" y="470"/>
                  </a:cubicBezTo>
                  <a:close/>
                  <a:moveTo>
                    <a:pt x="232" y="581"/>
                  </a:moveTo>
                  <a:cubicBezTo>
                    <a:pt x="228" y="578"/>
                    <a:pt x="229" y="569"/>
                    <a:pt x="227" y="562"/>
                  </a:cubicBezTo>
                  <a:cubicBezTo>
                    <a:pt x="233" y="563"/>
                    <a:pt x="233" y="572"/>
                    <a:pt x="232" y="581"/>
                  </a:cubicBezTo>
                  <a:close/>
                  <a:moveTo>
                    <a:pt x="214" y="751"/>
                  </a:moveTo>
                  <a:cubicBezTo>
                    <a:pt x="213" y="741"/>
                    <a:pt x="215" y="735"/>
                    <a:pt x="222" y="736"/>
                  </a:cubicBezTo>
                  <a:cubicBezTo>
                    <a:pt x="222" y="746"/>
                    <a:pt x="221" y="752"/>
                    <a:pt x="214" y="751"/>
                  </a:cubicBezTo>
                  <a:close/>
                  <a:moveTo>
                    <a:pt x="219" y="766"/>
                  </a:moveTo>
                  <a:cubicBezTo>
                    <a:pt x="218" y="767"/>
                    <a:pt x="216" y="757"/>
                    <a:pt x="214" y="759"/>
                  </a:cubicBezTo>
                  <a:cubicBezTo>
                    <a:pt x="218" y="746"/>
                    <a:pt x="221" y="763"/>
                    <a:pt x="219" y="766"/>
                  </a:cubicBezTo>
                  <a:close/>
                  <a:moveTo>
                    <a:pt x="224" y="537"/>
                  </a:moveTo>
                  <a:cubicBezTo>
                    <a:pt x="223" y="538"/>
                    <a:pt x="221" y="527"/>
                    <a:pt x="219" y="529"/>
                  </a:cubicBezTo>
                  <a:cubicBezTo>
                    <a:pt x="224" y="517"/>
                    <a:pt x="226" y="534"/>
                    <a:pt x="224" y="537"/>
                  </a:cubicBezTo>
                  <a:close/>
                  <a:moveTo>
                    <a:pt x="224" y="381"/>
                  </a:moveTo>
                  <a:cubicBezTo>
                    <a:pt x="224" y="378"/>
                    <a:pt x="224" y="374"/>
                    <a:pt x="224" y="370"/>
                  </a:cubicBezTo>
                  <a:cubicBezTo>
                    <a:pt x="232" y="365"/>
                    <a:pt x="232" y="387"/>
                    <a:pt x="224" y="381"/>
                  </a:cubicBezTo>
                  <a:close/>
                  <a:moveTo>
                    <a:pt x="230" y="392"/>
                  </a:moveTo>
                  <a:cubicBezTo>
                    <a:pt x="220" y="384"/>
                    <a:pt x="242" y="388"/>
                    <a:pt x="235" y="370"/>
                  </a:cubicBezTo>
                  <a:cubicBezTo>
                    <a:pt x="237" y="372"/>
                    <a:pt x="239" y="374"/>
                    <a:pt x="243" y="374"/>
                  </a:cubicBezTo>
                  <a:cubicBezTo>
                    <a:pt x="240" y="378"/>
                    <a:pt x="235" y="381"/>
                    <a:pt x="238" y="392"/>
                  </a:cubicBezTo>
                  <a:cubicBezTo>
                    <a:pt x="233" y="393"/>
                    <a:pt x="231" y="386"/>
                    <a:pt x="230" y="392"/>
                  </a:cubicBezTo>
                  <a:close/>
                  <a:moveTo>
                    <a:pt x="249" y="433"/>
                  </a:moveTo>
                  <a:cubicBezTo>
                    <a:pt x="248" y="437"/>
                    <a:pt x="245" y="436"/>
                    <a:pt x="243" y="437"/>
                  </a:cubicBezTo>
                  <a:cubicBezTo>
                    <a:pt x="240" y="432"/>
                    <a:pt x="242" y="431"/>
                    <a:pt x="243" y="426"/>
                  </a:cubicBezTo>
                  <a:cubicBezTo>
                    <a:pt x="246" y="427"/>
                    <a:pt x="245" y="433"/>
                    <a:pt x="249" y="433"/>
                  </a:cubicBezTo>
                  <a:close/>
                  <a:moveTo>
                    <a:pt x="235" y="477"/>
                  </a:moveTo>
                  <a:cubicBezTo>
                    <a:pt x="239" y="478"/>
                    <a:pt x="236" y="488"/>
                    <a:pt x="240" y="489"/>
                  </a:cubicBezTo>
                  <a:cubicBezTo>
                    <a:pt x="237" y="500"/>
                    <a:pt x="233" y="485"/>
                    <a:pt x="235" y="477"/>
                  </a:cubicBezTo>
                  <a:close/>
                  <a:moveTo>
                    <a:pt x="238" y="466"/>
                  </a:moveTo>
                  <a:cubicBezTo>
                    <a:pt x="238" y="456"/>
                    <a:pt x="252" y="459"/>
                    <a:pt x="251" y="470"/>
                  </a:cubicBezTo>
                  <a:cubicBezTo>
                    <a:pt x="246" y="462"/>
                    <a:pt x="243" y="473"/>
                    <a:pt x="238" y="466"/>
                  </a:cubicBezTo>
                  <a:close/>
                  <a:moveTo>
                    <a:pt x="254" y="533"/>
                  </a:moveTo>
                  <a:cubicBezTo>
                    <a:pt x="248" y="545"/>
                    <a:pt x="243" y="520"/>
                    <a:pt x="254" y="533"/>
                  </a:cubicBezTo>
                  <a:close/>
                  <a:moveTo>
                    <a:pt x="246" y="448"/>
                  </a:moveTo>
                  <a:cubicBezTo>
                    <a:pt x="246" y="444"/>
                    <a:pt x="251" y="445"/>
                    <a:pt x="254" y="444"/>
                  </a:cubicBezTo>
                  <a:cubicBezTo>
                    <a:pt x="256" y="448"/>
                    <a:pt x="257" y="454"/>
                    <a:pt x="257" y="463"/>
                  </a:cubicBezTo>
                  <a:cubicBezTo>
                    <a:pt x="252" y="459"/>
                    <a:pt x="252" y="449"/>
                    <a:pt x="246" y="448"/>
                  </a:cubicBezTo>
                  <a:close/>
                  <a:moveTo>
                    <a:pt x="254" y="437"/>
                  </a:moveTo>
                  <a:cubicBezTo>
                    <a:pt x="254" y="434"/>
                    <a:pt x="253" y="433"/>
                    <a:pt x="251" y="433"/>
                  </a:cubicBezTo>
                  <a:cubicBezTo>
                    <a:pt x="251" y="429"/>
                    <a:pt x="254" y="430"/>
                    <a:pt x="257" y="429"/>
                  </a:cubicBezTo>
                  <a:cubicBezTo>
                    <a:pt x="255" y="426"/>
                    <a:pt x="254" y="423"/>
                    <a:pt x="251" y="422"/>
                  </a:cubicBezTo>
                  <a:cubicBezTo>
                    <a:pt x="252" y="418"/>
                    <a:pt x="256" y="419"/>
                    <a:pt x="259" y="418"/>
                  </a:cubicBezTo>
                  <a:cubicBezTo>
                    <a:pt x="259" y="424"/>
                    <a:pt x="259" y="431"/>
                    <a:pt x="259" y="437"/>
                  </a:cubicBezTo>
                  <a:cubicBezTo>
                    <a:pt x="257" y="437"/>
                    <a:pt x="256" y="437"/>
                    <a:pt x="254" y="437"/>
                  </a:cubicBezTo>
                  <a:close/>
                  <a:moveTo>
                    <a:pt x="259" y="359"/>
                  </a:moveTo>
                  <a:cubicBezTo>
                    <a:pt x="251" y="360"/>
                    <a:pt x="254" y="347"/>
                    <a:pt x="251" y="341"/>
                  </a:cubicBezTo>
                  <a:cubicBezTo>
                    <a:pt x="254" y="346"/>
                    <a:pt x="259" y="350"/>
                    <a:pt x="259" y="359"/>
                  </a:cubicBezTo>
                  <a:close/>
                  <a:moveTo>
                    <a:pt x="254" y="329"/>
                  </a:moveTo>
                  <a:cubicBezTo>
                    <a:pt x="253" y="320"/>
                    <a:pt x="258" y="318"/>
                    <a:pt x="259" y="311"/>
                  </a:cubicBezTo>
                  <a:cubicBezTo>
                    <a:pt x="264" y="312"/>
                    <a:pt x="260" y="332"/>
                    <a:pt x="254" y="329"/>
                  </a:cubicBezTo>
                  <a:close/>
                  <a:moveTo>
                    <a:pt x="259" y="448"/>
                  </a:moveTo>
                  <a:cubicBezTo>
                    <a:pt x="267" y="434"/>
                    <a:pt x="268" y="459"/>
                    <a:pt x="259" y="448"/>
                  </a:cubicBezTo>
                  <a:close/>
                  <a:moveTo>
                    <a:pt x="265" y="437"/>
                  </a:moveTo>
                  <a:cubicBezTo>
                    <a:pt x="264" y="432"/>
                    <a:pt x="265" y="430"/>
                    <a:pt x="267" y="429"/>
                  </a:cubicBezTo>
                  <a:cubicBezTo>
                    <a:pt x="259" y="417"/>
                    <a:pt x="276" y="429"/>
                    <a:pt x="267" y="418"/>
                  </a:cubicBezTo>
                  <a:cubicBezTo>
                    <a:pt x="270" y="407"/>
                    <a:pt x="275" y="422"/>
                    <a:pt x="278" y="422"/>
                  </a:cubicBezTo>
                  <a:cubicBezTo>
                    <a:pt x="279" y="429"/>
                    <a:pt x="263" y="430"/>
                    <a:pt x="273" y="437"/>
                  </a:cubicBezTo>
                  <a:cubicBezTo>
                    <a:pt x="272" y="442"/>
                    <a:pt x="269" y="435"/>
                    <a:pt x="265" y="437"/>
                  </a:cubicBezTo>
                  <a:close/>
                  <a:moveTo>
                    <a:pt x="294" y="270"/>
                  </a:moveTo>
                  <a:cubicBezTo>
                    <a:pt x="289" y="267"/>
                    <a:pt x="293" y="246"/>
                    <a:pt x="300" y="248"/>
                  </a:cubicBezTo>
                  <a:cubicBezTo>
                    <a:pt x="298" y="256"/>
                    <a:pt x="293" y="259"/>
                    <a:pt x="294" y="270"/>
                  </a:cubicBezTo>
                  <a:close/>
                  <a:moveTo>
                    <a:pt x="294" y="296"/>
                  </a:moveTo>
                  <a:cubicBezTo>
                    <a:pt x="292" y="296"/>
                    <a:pt x="289" y="296"/>
                    <a:pt x="286" y="296"/>
                  </a:cubicBezTo>
                  <a:cubicBezTo>
                    <a:pt x="286" y="294"/>
                    <a:pt x="286" y="291"/>
                    <a:pt x="286" y="289"/>
                  </a:cubicBezTo>
                  <a:cubicBezTo>
                    <a:pt x="292" y="288"/>
                    <a:pt x="295" y="290"/>
                    <a:pt x="294" y="296"/>
                  </a:cubicBezTo>
                  <a:close/>
                  <a:moveTo>
                    <a:pt x="294" y="333"/>
                  </a:moveTo>
                  <a:cubicBezTo>
                    <a:pt x="291" y="332"/>
                    <a:pt x="292" y="324"/>
                    <a:pt x="292" y="318"/>
                  </a:cubicBezTo>
                  <a:cubicBezTo>
                    <a:pt x="302" y="317"/>
                    <a:pt x="293" y="326"/>
                    <a:pt x="294" y="333"/>
                  </a:cubicBezTo>
                  <a:close/>
                  <a:moveTo>
                    <a:pt x="294" y="389"/>
                  </a:moveTo>
                  <a:cubicBezTo>
                    <a:pt x="297" y="390"/>
                    <a:pt x="296" y="396"/>
                    <a:pt x="300" y="396"/>
                  </a:cubicBezTo>
                  <a:cubicBezTo>
                    <a:pt x="297" y="401"/>
                    <a:pt x="292" y="403"/>
                    <a:pt x="292" y="411"/>
                  </a:cubicBezTo>
                  <a:cubicBezTo>
                    <a:pt x="284" y="406"/>
                    <a:pt x="296" y="398"/>
                    <a:pt x="294" y="389"/>
                  </a:cubicBezTo>
                  <a:close/>
                  <a:moveTo>
                    <a:pt x="343" y="248"/>
                  </a:moveTo>
                  <a:cubicBezTo>
                    <a:pt x="347" y="242"/>
                    <a:pt x="351" y="250"/>
                    <a:pt x="361" y="244"/>
                  </a:cubicBezTo>
                  <a:cubicBezTo>
                    <a:pt x="365" y="249"/>
                    <a:pt x="364" y="257"/>
                    <a:pt x="364" y="267"/>
                  </a:cubicBezTo>
                  <a:cubicBezTo>
                    <a:pt x="355" y="262"/>
                    <a:pt x="362" y="279"/>
                    <a:pt x="353" y="274"/>
                  </a:cubicBezTo>
                  <a:cubicBezTo>
                    <a:pt x="351" y="261"/>
                    <a:pt x="356" y="258"/>
                    <a:pt x="361" y="255"/>
                  </a:cubicBezTo>
                  <a:cubicBezTo>
                    <a:pt x="359" y="240"/>
                    <a:pt x="348" y="259"/>
                    <a:pt x="343" y="248"/>
                  </a:cubicBezTo>
                  <a:close/>
                  <a:moveTo>
                    <a:pt x="348" y="300"/>
                  </a:moveTo>
                  <a:cubicBezTo>
                    <a:pt x="344" y="297"/>
                    <a:pt x="338" y="297"/>
                    <a:pt x="340" y="285"/>
                  </a:cubicBezTo>
                  <a:cubicBezTo>
                    <a:pt x="342" y="284"/>
                    <a:pt x="342" y="286"/>
                    <a:pt x="343" y="289"/>
                  </a:cubicBezTo>
                  <a:cubicBezTo>
                    <a:pt x="344" y="293"/>
                    <a:pt x="349" y="293"/>
                    <a:pt x="348" y="300"/>
                  </a:cubicBezTo>
                  <a:close/>
                  <a:moveTo>
                    <a:pt x="383" y="263"/>
                  </a:moveTo>
                  <a:cubicBezTo>
                    <a:pt x="388" y="264"/>
                    <a:pt x="388" y="273"/>
                    <a:pt x="394" y="274"/>
                  </a:cubicBezTo>
                  <a:cubicBezTo>
                    <a:pt x="393" y="279"/>
                    <a:pt x="388" y="278"/>
                    <a:pt x="388" y="274"/>
                  </a:cubicBezTo>
                  <a:cubicBezTo>
                    <a:pt x="386" y="274"/>
                    <a:pt x="386" y="279"/>
                    <a:pt x="386" y="281"/>
                  </a:cubicBezTo>
                  <a:cubicBezTo>
                    <a:pt x="377" y="278"/>
                    <a:pt x="384" y="274"/>
                    <a:pt x="383" y="263"/>
                  </a:cubicBezTo>
                  <a:close/>
                  <a:moveTo>
                    <a:pt x="386" y="333"/>
                  </a:moveTo>
                  <a:cubicBezTo>
                    <a:pt x="381" y="330"/>
                    <a:pt x="379" y="320"/>
                    <a:pt x="383" y="315"/>
                  </a:cubicBezTo>
                  <a:cubicBezTo>
                    <a:pt x="389" y="314"/>
                    <a:pt x="384" y="328"/>
                    <a:pt x="386" y="333"/>
                  </a:cubicBezTo>
                  <a:close/>
                  <a:moveTo>
                    <a:pt x="386" y="307"/>
                  </a:moveTo>
                  <a:cubicBezTo>
                    <a:pt x="378" y="299"/>
                    <a:pt x="384" y="297"/>
                    <a:pt x="380" y="285"/>
                  </a:cubicBezTo>
                  <a:cubicBezTo>
                    <a:pt x="387" y="285"/>
                    <a:pt x="386" y="297"/>
                    <a:pt x="386" y="307"/>
                  </a:cubicBezTo>
                  <a:close/>
                  <a:moveTo>
                    <a:pt x="388" y="489"/>
                  </a:moveTo>
                  <a:cubicBezTo>
                    <a:pt x="389" y="489"/>
                    <a:pt x="388" y="496"/>
                    <a:pt x="388" y="496"/>
                  </a:cubicBezTo>
                  <a:cubicBezTo>
                    <a:pt x="390" y="496"/>
                    <a:pt x="393" y="491"/>
                    <a:pt x="394" y="489"/>
                  </a:cubicBezTo>
                  <a:cubicBezTo>
                    <a:pt x="395" y="487"/>
                    <a:pt x="397" y="495"/>
                    <a:pt x="396" y="496"/>
                  </a:cubicBezTo>
                  <a:cubicBezTo>
                    <a:pt x="396" y="497"/>
                    <a:pt x="391" y="495"/>
                    <a:pt x="391" y="496"/>
                  </a:cubicBezTo>
                  <a:cubicBezTo>
                    <a:pt x="389" y="502"/>
                    <a:pt x="392" y="510"/>
                    <a:pt x="383" y="511"/>
                  </a:cubicBezTo>
                  <a:cubicBezTo>
                    <a:pt x="379" y="520"/>
                    <a:pt x="389" y="519"/>
                    <a:pt x="391" y="522"/>
                  </a:cubicBezTo>
                  <a:cubicBezTo>
                    <a:pt x="393" y="526"/>
                    <a:pt x="389" y="536"/>
                    <a:pt x="396" y="533"/>
                  </a:cubicBezTo>
                  <a:cubicBezTo>
                    <a:pt x="398" y="544"/>
                    <a:pt x="391" y="545"/>
                    <a:pt x="383" y="544"/>
                  </a:cubicBezTo>
                  <a:cubicBezTo>
                    <a:pt x="381" y="537"/>
                    <a:pt x="386" y="534"/>
                    <a:pt x="386" y="529"/>
                  </a:cubicBezTo>
                  <a:cubicBezTo>
                    <a:pt x="384" y="522"/>
                    <a:pt x="380" y="526"/>
                    <a:pt x="378" y="522"/>
                  </a:cubicBezTo>
                  <a:cubicBezTo>
                    <a:pt x="376" y="519"/>
                    <a:pt x="380" y="513"/>
                    <a:pt x="380" y="514"/>
                  </a:cubicBezTo>
                  <a:cubicBezTo>
                    <a:pt x="375" y="506"/>
                    <a:pt x="375" y="505"/>
                    <a:pt x="367" y="507"/>
                  </a:cubicBezTo>
                  <a:cubicBezTo>
                    <a:pt x="366" y="499"/>
                    <a:pt x="369" y="497"/>
                    <a:pt x="370" y="492"/>
                  </a:cubicBezTo>
                  <a:cubicBezTo>
                    <a:pt x="375" y="493"/>
                    <a:pt x="371" y="504"/>
                    <a:pt x="378" y="503"/>
                  </a:cubicBezTo>
                  <a:cubicBezTo>
                    <a:pt x="380" y="504"/>
                    <a:pt x="380" y="502"/>
                    <a:pt x="380" y="500"/>
                  </a:cubicBezTo>
                  <a:cubicBezTo>
                    <a:pt x="380" y="496"/>
                    <a:pt x="377" y="497"/>
                    <a:pt x="375" y="496"/>
                  </a:cubicBezTo>
                  <a:cubicBezTo>
                    <a:pt x="374" y="492"/>
                    <a:pt x="376" y="488"/>
                    <a:pt x="378" y="489"/>
                  </a:cubicBezTo>
                  <a:cubicBezTo>
                    <a:pt x="378" y="489"/>
                    <a:pt x="380" y="496"/>
                    <a:pt x="380" y="496"/>
                  </a:cubicBezTo>
                  <a:cubicBezTo>
                    <a:pt x="381" y="496"/>
                    <a:pt x="385" y="484"/>
                    <a:pt x="388" y="489"/>
                  </a:cubicBezTo>
                  <a:close/>
                  <a:moveTo>
                    <a:pt x="404" y="296"/>
                  </a:moveTo>
                  <a:cubicBezTo>
                    <a:pt x="406" y="299"/>
                    <a:pt x="394" y="307"/>
                    <a:pt x="396" y="300"/>
                  </a:cubicBezTo>
                  <a:cubicBezTo>
                    <a:pt x="397" y="299"/>
                    <a:pt x="402" y="293"/>
                    <a:pt x="404" y="296"/>
                  </a:cubicBezTo>
                  <a:close/>
                  <a:moveTo>
                    <a:pt x="396" y="278"/>
                  </a:moveTo>
                  <a:cubicBezTo>
                    <a:pt x="397" y="275"/>
                    <a:pt x="399" y="274"/>
                    <a:pt x="399" y="270"/>
                  </a:cubicBezTo>
                  <a:cubicBezTo>
                    <a:pt x="401" y="271"/>
                    <a:pt x="402" y="274"/>
                    <a:pt x="404" y="274"/>
                  </a:cubicBezTo>
                  <a:cubicBezTo>
                    <a:pt x="404" y="277"/>
                    <a:pt x="402" y="278"/>
                    <a:pt x="402" y="281"/>
                  </a:cubicBezTo>
                  <a:cubicBezTo>
                    <a:pt x="400" y="281"/>
                    <a:pt x="399" y="278"/>
                    <a:pt x="396" y="278"/>
                  </a:cubicBezTo>
                  <a:close/>
                  <a:moveTo>
                    <a:pt x="421" y="525"/>
                  </a:moveTo>
                  <a:cubicBezTo>
                    <a:pt x="422" y="534"/>
                    <a:pt x="416" y="534"/>
                    <a:pt x="418" y="544"/>
                  </a:cubicBezTo>
                  <a:cubicBezTo>
                    <a:pt x="412" y="539"/>
                    <a:pt x="410" y="546"/>
                    <a:pt x="402" y="540"/>
                  </a:cubicBezTo>
                  <a:cubicBezTo>
                    <a:pt x="404" y="537"/>
                    <a:pt x="405" y="532"/>
                    <a:pt x="404" y="525"/>
                  </a:cubicBezTo>
                  <a:cubicBezTo>
                    <a:pt x="410" y="528"/>
                    <a:pt x="410" y="531"/>
                    <a:pt x="407" y="537"/>
                  </a:cubicBezTo>
                  <a:cubicBezTo>
                    <a:pt x="419" y="543"/>
                    <a:pt x="411" y="522"/>
                    <a:pt x="421" y="525"/>
                  </a:cubicBezTo>
                  <a:close/>
                  <a:moveTo>
                    <a:pt x="410" y="285"/>
                  </a:moveTo>
                  <a:cubicBezTo>
                    <a:pt x="422" y="287"/>
                    <a:pt x="407" y="307"/>
                    <a:pt x="410" y="285"/>
                  </a:cubicBezTo>
                  <a:close/>
                  <a:moveTo>
                    <a:pt x="412" y="281"/>
                  </a:moveTo>
                  <a:cubicBezTo>
                    <a:pt x="412" y="279"/>
                    <a:pt x="412" y="276"/>
                    <a:pt x="412" y="274"/>
                  </a:cubicBezTo>
                  <a:cubicBezTo>
                    <a:pt x="414" y="274"/>
                    <a:pt x="416" y="274"/>
                    <a:pt x="418" y="274"/>
                  </a:cubicBezTo>
                  <a:cubicBezTo>
                    <a:pt x="418" y="276"/>
                    <a:pt x="418" y="279"/>
                    <a:pt x="418" y="281"/>
                  </a:cubicBezTo>
                  <a:cubicBezTo>
                    <a:pt x="416" y="281"/>
                    <a:pt x="414" y="281"/>
                    <a:pt x="412" y="281"/>
                  </a:cubicBezTo>
                  <a:close/>
                  <a:moveTo>
                    <a:pt x="396" y="500"/>
                  </a:moveTo>
                  <a:cubicBezTo>
                    <a:pt x="403" y="501"/>
                    <a:pt x="403" y="509"/>
                    <a:pt x="399" y="514"/>
                  </a:cubicBezTo>
                  <a:cubicBezTo>
                    <a:pt x="395" y="513"/>
                    <a:pt x="397" y="505"/>
                    <a:pt x="396" y="500"/>
                  </a:cubicBezTo>
                  <a:close/>
                  <a:moveTo>
                    <a:pt x="351" y="489"/>
                  </a:moveTo>
                  <a:cubicBezTo>
                    <a:pt x="352" y="483"/>
                    <a:pt x="356" y="482"/>
                    <a:pt x="361" y="481"/>
                  </a:cubicBezTo>
                  <a:cubicBezTo>
                    <a:pt x="363" y="490"/>
                    <a:pt x="368" y="509"/>
                    <a:pt x="356" y="507"/>
                  </a:cubicBezTo>
                  <a:cubicBezTo>
                    <a:pt x="356" y="503"/>
                    <a:pt x="356" y="500"/>
                    <a:pt x="356" y="496"/>
                  </a:cubicBezTo>
                  <a:cubicBezTo>
                    <a:pt x="359" y="496"/>
                    <a:pt x="358" y="500"/>
                    <a:pt x="359" y="503"/>
                  </a:cubicBezTo>
                  <a:cubicBezTo>
                    <a:pt x="367" y="498"/>
                    <a:pt x="357" y="487"/>
                    <a:pt x="351" y="489"/>
                  </a:cubicBezTo>
                  <a:close/>
                  <a:moveTo>
                    <a:pt x="364" y="285"/>
                  </a:moveTo>
                  <a:cubicBezTo>
                    <a:pt x="363" y="279"/>
                    <a:pt x="379" y="280"/>
                    <a:pt x="372" y="289"/>
                  </a:cubicBezTo>
                  <a:cubicBezTo>
                    <a:pt x="373" y="287"/>
                    <a:pt x="364" y="285"/>
                    <a:pt x="364" y="285"/>
                  </a:cubicBezTo>
                  <a:close/>
                  <a:moveTo>
                    <a:pt x="372" y="296"/>
                  </a:moveTo>
                  <a:cubicBezTo>
                    <a:pt x="372" y="303"/>
                    <a:pt x="375" y="304"/>
                    <a:pt x="375" y="311"/>
                  </a:cubicBezTo>
                  <a:cubicBezTo>
                    <a:pt x="372" y="311"/>
                    <a:pt x="373" y="306"/>
                    <a:pt x="372" y="304"/>
                  </a:cubicBezTo>
                  <a:cubicBezTo>
                    <a:pt x="370" y="303"/>
                    <a:pt x="370" y="305"/>
                    <a:pt x="370" y="307"/>
                  </a:cubicBezTo>
                  <a:cubicBezTo>
                    <a:pt x="368" y="314"/>
                    <a:pt x="365" y="303"/>
                    <a:pt x="370" y="304"/>
                  </a:cubicBezTo>
                  <a:cubicBezTo>
                    <a:pt x="371" y="295"/>
                    <a:pt x="357" y="306"/>
                    <a:pt x="361" y="292"/>
                  </a:cubicBezTo>
                  <a:cubicBezTo>
                    <a:pt x="364" y="295"/>
                    <a:pt x="367" y="296"/>
                    <a:pt x="372" y="296"/>
                  </a:cubicBezTo>
                  <a:close/>
                  <a:moveTo>
                    <a:pt x="375" y="533"/>
                  </a:moveTo>
                  <a:cubicBezTo>
                    <a:pt x="367" y="548"/>
                    <a:pt x="368" y="521"/>
                    <a:pt x="361" y="522"/>
                  </a:cubicBezTo>
                  <a:cubicBezTo>
                    <a:pt x="363" y="511"/>
                    <a:pt x="367" y="525"/>
                    <a:pt x="372" y="522"/>
                  </a:cubicBezTo>
                  <a:cubicBezTo>
                    <a:pt x="372" y="527"/>
                    <a:pt x="372" y="532"/>
                    <a:pt x="375" y="533"/>
                  </a:cubicBezTo>
                  <a:close/>
                  <a:moveTo>
                    <a:pt x="364" y="474"/>
                  </a:moveTo>
                  <a:cubicBezTo>
                    <a:pt x="361" y="473"/>
                    <a:pt x="362" y="467"/>
                    <a:pt x="361" y="463"/>
                  </a:cubicBezTo>
                  <a:cubicBezTo>
                    <a:pt x="366" y="461"/>
                    <a:pt x="367" y="465"/>
                    <a:pt x="367" y="470"/>
                  </a:cubicBezTo>
                  <a:cubicBezTo>
                    <a:pt x="365" y="469"/>
                    <a:pt x="364" y="471"/>
                    <a:pt x="364" y="474"/>
                  </a:cubicBezTo>
                  <a:close/>
                  <a:moveTo>
                    <a:pt x="364" y="344"/>
                  </a:moveTo>
                  <a:cubicBezTo>
                    <a:pt x="363" y="336"/>
                    <a:pt x="369" y="339"/>
                    <a:pt x="370" y="333"/>
                  </a:cubicBezTo>
                  <a:cubicBezTo>
                    <a:pt x="373" y="334"/>
                    <a:pt x="372" y="340"/>
                    <a:pt x="372" y="344"/>
                  </a:cubicBezTo>
                  <a:cubicBezTo>
                    <a:pt x="370" y="344"/>
                    <a:pt x="367" y="344"/>
                    <a:pt x="364" y="344"/>
                  </a:cubicBezTo>
                  <a:close/>
                  <a:moveTo>
                    <a:pt x="361" y="555"/>
                  </a:moveTo>
                  <a:cubicBezTo>
                    <a:pt x="368" y="551"/>
                    <a:pt x="379" y="549"/>
                    <a:pt x="378" y="566"/>
                  </a:cubicBezTo>
                  <a:cubicBezTo>
                    <a:pt x="373" y="561"/>
                    <a:pt x="360" y="567"/>
                    <a:pt x="361" y="555"/>
                  </a:cubicBezTo>
                  <a:close/>
                  <a:moveTo>
                    <a:pt x="364" y="274"/>
                  </a:moveTo>
                  <a:cubicBezTo>
                    <a:pt x="366" y="269"/>
                    <a:pt x="370" y="267"/>
                    <a:pt x="375" y="267"/>
                  </a:cubicBezTo>
                  <a:cubicBezTo>
                    <a:pt x="378" y="278"/>
                    <a:pt x="369" y="273"/>
                    <a:pt x="364" y="274"/>
                  </a:cubicBezTo>
                  <a:close/>
                  <a:moveTo>
                    <a:pt x="353" y="363"/>
                  </a:moveTo>
                  <a:cubicBezTo>
                    <a:pt x="352" y="364"/>
                    <a:pt x="350" y="353"/>
                    <a:pt x="348" y="355"/>
                  </a:cubicBezTo>
                  <a:cubicBezTo>
                    <a:pt x="353" y="343"/>
                    <a:pt x="355" y="360"/>
                    <a:pt x="353" y="363"/>
                  </a:cubicBezTo>
                  <a:close/>
                  <a:moveTo>
                    <a:pt x="351" y="459"/>
                  </a:moveTo>
                  <a:cubicBezTo>
                    <a:pt x="351" y="463"/>
                    <a:pt x="351" y="466"/>
                    <a:pt x="351" y="470"/>
                  </a:cubicBezTo>
                  <a:cubicBezTo>
                    <a:pt x="348" y="470"/>
                    <a:pt x="349" y="465"/>
                    <a:pt x="348" y="463"/>
                  </a:cubicBezTo>
                  <a:cubicBezTo>
                    <a:pt x="346" y="466"/>
                    <a:pt x="341" y="465"/>
                    <a:pt x="337" y="459"/>
                  </a:cubicBezTo>
                  <a:cubicBezTo>
                    <a:pt x="336" y="456"/>
                    <a:pt x="334" y="454"/>
                    <a:pt x="335" y="448"/>
                  </a:cubicBezTo>
                  <a:cubicBezTo>
                    <a:pt x="337" y="451"/>
                    <a:pt x="339" y="454"/>
                    <a:pt x="340" y="459"/>
                  </a:cubicBezTo>
                  <a:cubicBezTo>
                    <a:pt x="344" y="459"/>
                    <a:pt x="347" y="459"/>
                    <a:pt x="351" y="459"/>
                  </a:cubicBezTo>
                  <a:close/>
                  <a:moveTo>
                    <a:pt x="340" y="559"/>
                  </a:moveTo>
                  <a:cubicBezTo>
                    <a:pt x="347" y="549"/>
                    <a:pt x="345" y="570"/>
                    <a:pt x="343" y="574"/>
                  </a:cubicBezTo>
                  <a:cubicBezTo>
                    <a:pt x="336" y="572"/>
                    <a:pt x="336" y="564"/>
                    <a:pt x="343" y="562"/>
                  </a:cubicBezTo>
                  <a:cubicBezTo>
                    <a:pt x="343" y="559"/>
                    <a:pt x="342" y="559"/>
                    <a:pt x="340" y="559"/>
                  </a:cubicBezTo>
                  <a:close/>
                  <a:moveTo>
                    <a:pt x="335" y="522"/>
                  </a:moveTo>
                  <a:cubicBezTo>
                    <a:pt x="334" y="521"/>
                    <a:pt x="335" y="518"/>
                    <a:pt x="335" y="518"/>
                  </a:cubicBezTo>
                  <a:cubicBezTo>
                    <a:pt x="332" y="517"/>
                    <a:pt x="320" y="521"/>
                    <a:pt x="324" y="511"/>
                  </a:cubicBezTo>
                  <a:cubicBezTo>
                    <a:pt x="334" y="513"/>
                    <a:pt x="331" y="517"/>
                    <a:pt x="329" y="503"/>
                  </a:cubicBezTo>
                  <a:cubicBezTo>
                    <a:pt x="332" y="503"/>
                    <a:pt x="335" y="503"/>
                    <a:pt x="337" y="503"/>
                  </a:cubicBezTo>
                  <a:cubicBezTo>
                    <a:pt x="334" y="516"/>
                    <a:pt x="336" y="519"/>
                    <a:pt x="345" y="514"/>
                  </a:cubicBezTo>
                  <a:cubicBezTo>
                    <a:pt x="347" y="517"/>
                    <a:pt x="338" y="528"/>
                    <a:pt x="335" y="522"/>
                  </a:cubicBezTo>
                  <a:close/>
                  <a:moveTo>
                    <a:pt x="324" y="707"/>
                  </a:moveTo>
                  <a:cubicBezTo>
                    <a:pt x="320" y="705"/>
                    <a:pt x="325" y="702"/>
                    <a:pt x="324" y="696"/>
                  </a:cubicBezTo>
                  <a:cubicBezTo>
                    <a:pt x="332" y="698"/>
                    <a:pt x="329" y="698"/>
                    <a:pt x="337" y="696"/>
                  </a:cubicBezTo>
                  <a:cubicBezTo>
                    <a:pt x="338" y="706"/>
                    <a:pt x="338" y="716"/>
                    <a:pt x="329" y="714"/>
                  </a:cubicBezTo>
                  <a:cubicBezTo>
                    <a:pt x="329" y="710"/>
                    <a:pt x="329" y="707"/>
                    <a:pt x="329" y="703"/>
                  </a:cubicBezTo>
                  <a:cubicBezTo>
                    <a:pt x="326" y="702"/>
                    <a:pt x="324" y="704"/>
                    <a:pt x="324" y="707"/>
                  </a:cubicBezTo>
                  <a:close/>
                  <a:moveTo>
                    <a:pt x="316" y="644"/>
                  </a:moveTo>
                  <a:cubicBezTo>
                    <a:pt x="322" y="632"/>
                    <a:pt x="323" y="658"/>
                    <a:pt x="324" y="666"/>
                  </a:cubicBezTo>
                  <a:cubicBezTo>
                    <a:pt x="308" y="668"/>
                    <a:pt x="324" y="649"/>
                    <a:pt x="316" y="644"/>
                  </a:cubicBezTo>
                  <a:close/>
                  <a:moveTo>
                    <a:pt x="335" y="562"/>
                  </a:moveTo>
                  <a:cubicBezTo>
                    <a:pt x="335" y="571"/>
                    <a:pt x="335" y="580"/>
                    <a:pt x="335" y="588"/>
                  </a:cubicBezTo>
                  <a:cubicBezTo>
                    <a:pt x="331" y="589"/>
                    <a:pt x="325" y="578"/>
                    <a:pt x="332" y="577"/>
                  </a:cubicBezTo>
                  <a:cubicBezTo>
                    <a:pt x="329" y="573"/>
                    <a:pt x="326" y="577"/>
                    <a:pt x="321" y="570"/>
                  </a:cubicBezTo>
                  <a:cubicBezTo>
                    <a:pt x="322" y="560"/>
                    <a:pt x="326" y="575"/>
                    <a:pt x="332" y="570"/>
                  </a:cubicBezTo>
                  <a:cubicBezTo>
                    <a:pt x="329" y="565"/>
                    <a:pt x="330" y="562"/>
                    <a:pt x="335" y="562"/>
                  </a:cubicBezTo>
                  <a:close/>
                  <a:moveTo>
                    <a:pt x="324" y="618"/>
                  </a:moveTo>
                  <a:cubicBezTo>
                    <a:pt x="327" y="616"/>
                    <a:pt x="327" y="609"/>
                    <a:pt x="332" y="611"/>
                  </a:cubicBezTo>
                  <a:cubicBezTo>
                    <a:pt x="333" y="620"/>
                    <a:pt x="326" y="620"/>
                    <a:pt x="321" y="622"/>
                  </a:cubicBezTo>
                  <a:cubicBezTo>
                    <a:pt x="321" y="618"/>
                    <a:pt x="322" y="618"/>
                    <a:pt x="324" y="618"/>
                  </a:cubicBezTo>
                  <a:close/>
                  <a:moveTo>
                    <a:pt x="337" y="677"/>
                  </a:moveTo>
                  <a:cubicBezTo>
                    <a:pt x="329" y="691"/>
                    <a:pt x="328" y="666"/>
                    <a:pt x="337" y="677"/>
                  </a:cubicBezTo>
                  <a:close/>
                  <a:moveTo>
                    <a:pt x="326" y="670"/>
                  </a:moveTo>
                  <a:cubicBezTo>
                    <a:pt x="326" y="662"/>
                    <a:pt x="327" y="658"/>
                    <a:pt x="332" y="659"/>
                  </a:cubicBezTo>
                  <a:cubicBezTo>
                    <a:pt x="332" y="652"/>
                    <a:pt x="332" y="646"/>
                    <a:pt x="332" y="640"/>
                  </a:cubicBezTo>
                  <a:cubicBezTo>
                    <a:pt x="341" y="642"/>
                    <a:pt x="339" y="675"/>
                    <a:pt x="326" y="670"/>
                  </a:cubicBezTo>
                  <a:close/>
                  <a:moveTo>
                    <a:pt x="326" y="555"/>
                  </a:moveTo>
                  <a:cubicBezTo>
                    <a:pt x="326" y="555"/>
                    <a:pt x="330" y="548"/>
                    <a:pt x="329" y="548"/>
                  </a:cubicBezTo>
                  <a:cubicBezTo>
                    <a:pt x="325" y="546"/>
                    <a:pt x="325" y="551"/>
                    <a:pt x="324" y="551"/>
                  </a:cubicBezTo>
                  <a:cubicBezTo>
                    <a:pt x="322" y="552"/>
                    <a:pt x="319" y="545"/>
                    <a:pt x="318" y="551"/>
                  </a:cubicBezTo>
                  <a:cubicBezTo>
                    <a:pt x="314" y="550"/>
                    <a:pt x="319" y="548"/>
                    <a:pt x="318" y="544"/>
                  </a:cubicBezTo>
                  <a:cubicBezTo>
                    <a:pt x="319" y="541"/>
                    <a:pt x="317" y="540"/>
                    <a:pt x="316" y="540"/>
                  </a:cubicBezTo>
                  <a:cubicBezTo>
                    <a:pt x="309" y="535"/>
                    <a:pt x="333" y="541"/>
                    <a:pt x="337" y="544"/>
                  </a:cubicBezTo>
                  <a:cubicBezTo>
                    <a:pt x="335" y="547"/>
                    <a:pt x="333" y="554"/>
                    <a:pt x="337" y="555"/>
                  </a:cubicBezTo>
                  <a:cubicBezTo>
                    <a:pt x="341" y="561"/>
                    <a:pt x="326" y="554"/>
                    <a:pt x="326" y="555"/>
                  </a:cubicBezTo>
                  <a:close/>
                  <a:moveTo>
                    <a:pt x="313" y="463"/>
                  </a:moveTo>
                  <a:cubicBezTo>
                    <a:pt x="313" y="463"/>
                    <a:pt x="318" y="467"/>
                    <a:pt x="318" y="466"/>
                  </a:cubicBezTo>
                  <a:cubicBezTo>
                    <a:pt x="318" y="467"/>
                    <a:pt x="312" y="474"/>
                    <a:pt x="313" y="474"/>
                  </a:cubicBezTo>
                  <a:cubicBezTo>
                    <a:pt x="309" y="473"/>
                    <a:pt x="313" y="471"/>
                    <a:pt x="313" y="470"/>
                  </a:cubicBezTo>
                  <a:cubicBezTo>
                    <a:pt x="314" y="469"/>
                    <a:pt x="312" y="463"/>
                    <a:pt x="313" y="463"/>
                  </a:cubicBezTo>
                  <a:close/>
                  <a:moveTo>
                    <a:pt x="345" y="492"/>
                  </a:moveTo>
                  <a:cubicBezTo>
                    <a:pt x="350" y="491"/>
                    <a:pt x="350" y="495"/>
                    <a:pt x="351" y="500"/>
                  </a:cubicBezTo>
                  <a:cubicBezTo>
                    <a:pt x="348" y="499"/>
                    <a:pt x="348" y="501"/>
                    <a:pt x="348" y="503"/>
                  </a:cubicBezTo>
                  <a:cubicBezTo>
                    <a:pt x="345" y="503"/>
                    <a:pt x="346" y="497"/>
                    <a:pt x="345" y="492"/>
                  </a:cubicBezTo>
                  <a:close/>
                  <a:moveTo>
                    <a:pt x="343" y="422"/>
                  </a:moveTo>
                  <a:cubicBezTo>
                    <a:pt x="337" y="422"/>
                    <a:pt x="339" y="412"/>
                    <a:pt x="332" y="415"/>
                  </a:cubicBezTo>
                  <a:cubicBezTo>
                    <a:pt x="334" y="406"/>
                    <a:pt x="345" y="413"/>
                    <a:pt x="343" y="422"/>
                  </a:cubicBezTo>
                  <a:close/>
                  <a:moveTo>
                    <a:pt x="340" y="477"/>
                  </a:moveTo>
                  <a:cubicBezTo>
                    <a:pt x="340" y="478"/>
                    <a:pt x="340" y="481"/>
                    <a:pt x="340" y="481"/>
                  </a:cubicBezTo>
                  <a:cubicBezTo>
                    <a:pt x="343" y="483"/>
                    <a:pt x="346" y="481"/>
                    <a:pt x="345" y="489"/>
                  </a:cubicBezTo>
                  <a:cubicBezTo>
                    <a:pt x="341" y="490"/>
                    <a:pt x="340" y="486"/>
                    <a:pt x="340" y="481"/>
                  </a:cubicBezTo>
                  <a:cubicBezTo>
                    <a:pt x="337" y="481"/>
                    <a:pt x="338" y="486"/>
                    <a:pt x="337" y="489"/>
                  </a:cubicBezTo>
                  <a:cubicBezTo>
                    <a:pt x="333" y="487"/>
                    <a:pt x="332" y="491"/>
                    <a:pt x="332" y="496"/>
                  </a:cubicBezTo>
                  <a:cubicBezTo>
                    <a:pt x="329" y="495"/>
                    <a:pt x="330" y="489"/>
                    <a:pt x="329" y="485"/>
                  </a:cubicBezTo>
                  <a:cubicBezTo>
                    <a:pt x="326" y="485"/>
                    <a:pt x="324" y="485"/>
                    <a:pt x="321" y="485"/>
                  </a:cubicBezTo>
                  <a:cubicBezTo>
                    <a:pt x="320" y="482"/>
                    <a:pt x="337" y="476"/>
                    <a:pt x="340" y="477"/>
                  </a:cubicBezTo>
                  <a:close/>
                  <a:moveTo>
                    <a:pt x="332" y="466"/>
                  </a:moveTo>
                  <a:cubicBezTo>
                    <a:pt x="326" y="477"/>
                    <a:pt x="323" y="454"/>
                    <a:pt x="324" y="444"/>
                  </a:cubicBezTo>
                  <a:cubicBezTo>
                    <a:pt x="327" y="447"/>
                    <a:pt x="327" y="453"/>
                    <a:pt x="332" y="452"/>
                  </a:cubicBezTo>
                  <a:cubicBezTo>
                    <a:pt x="331" y="454"/>
                    <a:pt x="325" y="466"/>
                    <a:pt x="332" y="466"/>
                  </a:cubicBezTo>
                  <a:close/>
                  <a:moveTo>
                    <a:pt x="329" y="411"/>
                  </a:moveTo>
                  <a:cubicBezTo>
                    <a:pt x="326" y="411"/>
                    <a:pt x="327" y="418"/>
                    <a:pt x="326" y="422"/>
                  </a:cubicBezTo>
                  <a:cubicBezTo>
                    <a:pt x="323" y="421"/>
                    <a:pt x="322" y="423"/>
                    <a:pt x="321" y="426"/>
                  </a:cubicBezTo>
                  <a:cubicBezTo>
                    <a:pt x="315" y="425"/>
                    <a:pt x="321" y="413"/>
                    <a:pt x="324" y="415"/>
                  </a:cubicBezTo>
                  <a:cubicBezTo>
                    <a:pt x="324" y="407"/>
                    <a:pt x="324" y="400"/>
                    <a:pt x="324" y="392"/>
                  </a:cubicBezTo>
                  <a:cubicBezTo>
                    <a:pt x="328" y="395"/>
                    <a:pt x="328" y="404"/>
                    <a:pt x="329" y="411"/>
                  </a:cubicBezTo>
                  <a:close/>
                  <a:moveTo>
                    <a:pt x="324" y="344"/>
                  </a:moveTo>
                  <a:cubicBezTo>
                    <a:pt x="328" y="343"/>
                    <a:pt x="329" y="347"/>
                    <a:pt x="329" y="352"/>
                  </a:cubicBezTo>
                  <a:cubicBezTo>
                    <a:pt x="327" y="351"/>
                    <a:pt x="327" y="353"/>
                    <a:pt x="326" y="355"/>
                  </a:cubicBezTo>
                  <a:cubicBezTo>
                    <a:pt x="323" y="355"/>
                    <a:pt x="324" y="349"/>
                    <a:pt x="324" y="344"/>
                  </a:cubicBezTo>
                  <a:close/>
                  <a:moveTo>
                    <a:pt x="316" y="385"/>
                  </a:moveTo>
                  <a:cubicBezTo>
                    <a:pt x="316" y="381"/>
                    <a:pt x="321" y="382"/>
                    <a:pt x="321" y="378"/>
                  </a:cubicBezTo>
                  <a:cubicBezTo>
                    <a:pt x="324" y="378"/>
                    <a:pt x="323" y="382"/>
                    <a:pt x="324" y="385"/>
                  </a:cubicBezTo>
                  <a:cubicBezTo>
                    <a:pt x="320" y="389"/>
                    <a:pt x="320" y="386"/>
                    <a:pt x="316" y="385"/>
                  </a:cubicBezTo>
                  <a:close/>
                  <a:moveTo>
                    <a:pt x="321" y="352"/>
                  </a:moveTo>
                  <a:cubicBezTo>
                    <a:pt x="318" y="354"/>
                    <a:pt x="319" y="348"/>
                    <a:pt x="318" y="348"/>
                  </a:cubicBezTo>
                  <a:cubicBezTo>
                    <a:pt x="317" y="347"/>
                    <a:pt x="311" y="349"/>
                    <a:pt x="310" y="348"/>
                  </a:cubicBezTo>
                  <a:cubicBezTo>
                    <a:pt x="307" y="343"/>
                    <a:pt x="323" y="336"/>
                    <a:pt x="321" y="352"/>
                  </a:cubicBezTo>
                  <a:close/>
                  <a:moveTo>
                    <a:pt x="310" y="537"/>
                  </a:moveTo>
                  <a:cubicBezTo>
                    <a:pt x="312" y="551"/>
                    <a:pt x="297" y="551"/>
                    <a:pt x="300" y="537"/>
                  </a:cubicBezTo>
                  <a:cubicBezTo>
                    <a:pt x="305" y="530"/>
                    <a:pt x="303" y="537"/>
                    <a:pt x="310" y="537"/>
                  </a:cubicBezTo>
                  <a:close/>
                  <a:moveTo>
                    <a:pt x="286" y="496"/>
                  </a:moveTo>
                  <a:cubicBezTo>
                    <a:pt x="285" y="489"/>
                    <a:pt x="284" y="493"/>
                    <a:pt x="286" y="481"/>
                  </a:cubicBezTo>
                  <a:cubicBezTo>
                    <a:pt x="293" y="485"/>
                    <a:pt x="293" y="499"/>
                    <a:pt x="286" y="503"/>
                  </a:cubicBezTo>
                  <a:cubicBezTo>
                    <a:pt x="281" y="512"/>
                    <a:pt x="287" y="503"/>
                    <a:pt x="286" y="496"/>
                  </a:cubicBezTo>
                  <a:close/>
                  <a:moveTo>
                    <a:pt x="286" y="466"/>
                  </a:moveTo>
                  <a:cubicBezTo>
                    <a:pt x="286" y="461"/>
                    <a:pt x="286" y="456"/>
                    <a:pt x="286" y="452"/>
                  </a:cubicBezTo>
                  <a:cubicBezTo>
                    <a:pt x="284" y="452"/>
                    <a:pt x="283" y="452"/>
                    <a:pt x="281" y="452"/>
                  </a:cubicBezTo>
                  <a:cubicBezTo>
                    <a:pt x="281" y="447"/>
                    <a:pt x="286" y="448"/>
                    <a:pt x="289" y="448"/>
                  </a:cubicBezTo>
                  <a:cubicBezTo>
                    <a:pt x="289" y="453"/>
                    <a:pt x="289" y="458"/>
                    <a:pt x="289" y="463"/>
                  </a:cubicBezTo>
                  <a:cubicBezTo>
                    <a:pt x="292" y="462"/>
                    <a:pt x="291" y="456"/>
                    <a:pt x="292" y="452"/>
                  </a:cubicBezTo>
                  <a:cubicBezTo>
                    <a:pt x="299" y="456"/>
                    <a:pt x="300" y="464"/>
                    <a:pt x="297" y="474"/>
                  </a:cubicBezTo>
                  <a:cubicBezTo>
                    <a:pt x="293" y="472"/>
                    <a:pt x="295" y="462"/>
                    <a:pt x="286" y="466"/>
                  </a:cubicBezTo>
                  <a:close/>
                  <a:moveTo>
                    <a:pt x="289" y="344"/>
                  </a:moveTo>
                  <a:cubicBezTo>
                    <a:pt x="283" y="356"/>
                    <a:pt x="278" y="331"/>
                    <a:pt x="289" y="344"/>
                  </a:cubicBezTo>
                  <a:close/>
                  <a:moveTo>
                    <a:pt x="286" y="326"/>
                  </a:moveTo>
                  <a:cubicBezTo>
                    <a:pt x="281" y="325"/>
                    <a:pt x="280" y="319"/>
                    <a:pt x="281" y="311"/>
                  </a:cubicBezTo>
                  <a:cubicBezTo>
                    <a:pt x="286" y="312"/>
                    <a:pt x="287" y="317"/>
                    <a:pt x="286" y="326"/>
                  </a:cubicBezTo>
                  <a:close/>
                  <a:moveTo>
                    <a:pt x="281" y="500"/>
                  </a:moveTo>
                  <a:cubicBezTo>
                    <a:pt x="271" y="494"/>
                    <a:pt x="277" y="485"/>
                    <a:pt x="278" y="481"/>
                  </a:cubicBezTo>
                  <a:cubicBezTo>
                    <a:pt x="279" y="478"/>
                    <a:pt x="281" y="479"/>
                    <a:pt x="281" y="481"/>
                  </a:cubicBezTo>
                  <a:cubicBezTo>
                    <a:pt x="280" y="488"/>
                    <a:pt x="279" y="486"/>
                    <a:pt x="281" y="500"/>
                  </a:cubicBezTo>
                  <a:close/>
                  <a:moveTo>
                    <a:pt x="270" y="366"/>
                  </a:moveTo>
                  <a:cubicBezTo>
                    <a:pt x="264" y="367"/>
                    <a:pt x="269" y="353"/>
                    <a:pt x="267" y="348"/>
                  </a:cubicBezTo>
                  <a:cubicBezTo>
                    <a:pt x="271" y="352"/>
                    <a:pt x="274" y="352"/>
                    <a:pt x="275" y="344"/>
                  </a:cubicBezTo>
                  <a:cubicBezTo>
                    <a:pt x="286" y="354"/>
                    <a:pt x="267" y="355"/>
                    <a:pt x="270" y="366"/>
                  </a:cubicBezTo>
                  <a:close/>
                  <a:moveTo>
                    <a:pt x="270" y="389"/>
                  </a:moveTo>
                  <a:cubicBezTo>
                    <a:pt x="280" y="400"/>
                    <a:pt x="262" y="401"/>
                    <a:pt x="270" y="389"/>
                  </a:cubicBezTo>
                  <a:close/>
                  <a:moveTo>
                    <a:pt x="270" y="452"/>
                  </a:moveTo>
                  <a:cubicBezTo>
                    <a:pt x="277" y="452"/>
                    <a:pt x="283" y="460"/>
                    <a:pt x="278" y="466"/>
                  </a:cubicBezTo>
                  <a:cubicBezTo>
                    <a:pt x="271" y="467"/>
                    <a:pt x="269" y="461"/>
                    <a:pt x="270" y="452"/>
                  </a:cubicBezTo>
                  <a:close/>
                  <a:moveTo>
                    <a:pt x="278" y="315"/>
                  </a:moveTo>
                  <a:cubicBezTo>
                    <a:pt x="274" y="323"/>
                    <a:pt x="270" y="307"/>
                    <a:pt x="270" y="322"/>
                  </a:cubicBezTo>
                  <a:cubicBezTo>
                    <a:pt x="258" y="316"/>
                    <a:pt x="280" y="308"/>
                    <a:pt x="270" y="304"/>
                  </a:cubicBezTo>
                  <a:cubicBezTo>
                    <a:pt x="272" y="297"/>
                    <a:pt x="275" y="303"/>
                    <a:pt x="278" y="304"/>
                  </a:cubicBezTo>
                  <a:cubicBezTo>
                    <a:pt x="280" y="290"/>
                    <a:pt x="269" y="294"/>
                    <a:pt x="265" y="289"/>
                  </a:cubicBezTo>
                  <a:cubicBezTo>
                    <a:pt x="265" y="280"/>
                    <a:pt x="271" y="291"/>
                    <a:pt x="273" y="289"/>
                  </a:cubicBezTo>
                  <a:cubicBezTo>
                    <a:pt x="276" y="285"/>
                    <a:pt x="274" y="289"/>
                    <a:pt x="283" y="289"/>
                  </a:cubicBezTo>
                  <a:cubicBezTo>
                    <a:pt x="284" y="300"/>
                    <a:pt x="276" y="301"/>
                    <a:pt x="278" y="315"/>
                  </a:cubicBezTo>
                  <a:close/>
                  <a:moveTo>
                    <a:pt x="305" y="696"/>
                  </a:moveTo>
                  <a:cubicBezTo>
                    <a:pt x="314" y="700"/>
                    <a:pt x="305" y="707"/>
                    <a:pt x="310" y="718"/>
                  </a:cubicBezTo>
                  <a:cubicBezTo>
                    <a:pt x="308" y="715"/>
                    <a:pt x="304" y="714"/>
                    <a:pt x="300" y="714"/>
                  </a:cubicBezTo>
                  <a:cubicBezTo>
                    <a:pt x="297" y="702"/>
                    <a:pt x="304" y="703"/>
                    <a:pt x="305" y="696"/>
                  </a:cubicBezTo>
                  <a:close/>
                  <a:moveTo>
                    <a:pt x="294" y="699"/>
                  </a:moveTo>
                  <a:cubicBezTo>
                    <a:pt x="294" y="697"/>
                    <a:pt x="294" y="694"/>
                    <a:pt x="294" y="692"/>
                  </a:cubicBezTo>
                  <a:cubicBezTo>
                    <a:pt x="296" y="692"/>
                    <a:pt x="298" y="692"/>
                    <a:pt x="300" y="692"/>
                  </a:cubicBezTo>
                  <a:cubicBezTo>
                    <a:pt x="300" y="694"/>
                    <a:pt x="300" y="697"/>
                    <a:pt x="300" y="699"/>
                  </a:cubicBezTo>
                  <a:cubicBezTo>
                    <a:pt x="298" y="699"/>
                    <a:pt x="296" y="699"/>
                    <a:pt x="294" y="699"/>
                  </a:cubicBezTo>
                  <a:close/>
                  <a:moveTo>
                    <a:pt x="316" y="721"/>
                  </a:moveTo>
                  <a:cubicBezTo>
                    <a:pt x="311" y="724"/>
                    <a:pt x="316" y="740"/>
                    <a:pt x="308" y="736"/>
                  </a:cubicBezTo>
                  <a:cubicBezTo>
                    <a:pt x="307" y="727"/>
                    <a:pt x="309" y="720"/>
                    <a:pt x="316" y="721"/>
                  </a:cubicBezTo>
                  <a:close/>
                  <a:moveTo>
                    <a:pt x="316" y="751"/>
                  </a:moveTo>
                  <a:cubicBezTo>
                    <a:pt x="324" y="737"/>
                    <a:pt x="325" y="762"/>
                    <a:pt x="316" y="751"/>
                  </a:cubicBezTo>
                  <a:close/>
                  <a:moveTo>
                    <a:pt x="351" y="681"/>
                  </a:moveTo>
                  <a:cubicBezTo>
                    <a:pt x="353" y="689"/>
                    <a:pt x="341" y="689"/>
                    <a:pt x="343" y="681"/>
                  </a:cubicBezTo>
                  <a:cubicBezTo>
                    <a:pt x="344" y="676"/>
                    <a:pt x="350" y="678"/>
                    <a:pt x="351" y="681"/>
                  </a:cubicBezTo>
                  <a:close/>
                  <a:moveTo>
                    <a:pt x="351" y="662"/>
                  </a:moveTo>
                  <a:cubicBezTo>
                    <a:pt x="356" y="670"/>
                    <a:pt x="359" y="680"/>
                    <a:pt x="367" y="684"/>
                  </a:cubicBezTo>
                  <a:cubicBezTo>
                    <a:pt x="365" y="687"/>
                    <a:pt x="364" y="691"/>
                    <a:pt x="364" y="696"/>
                  </a:cubicBezTo>
                  <a:cubicBezTo>
                    <a:pt x="361" y="696"/>
                    <a:pt x="363" y="690"/>
                    <a:pt x="361" y="688"/>
                  </a:cubicBezTo>
                  <a:cubicBezTo>
                    <a:pt x="357" y="680"/>
                    <a:pt x="349" y="678"/>
                    <a:pt x="351" y="662"/>
                  </a:cubicBezTo>
                  <a:close/>
                  <a:moveTo>
                    <a:pt x="348" y="718"/>
                  </a:moveTo>
                  <a:cubicBezTo>
                    <a:pt x="342" y="717"/>
                    <a:pt x="342" y="708"/>
                    <a:pt x="345" y="703"/>
                  </a:cubicBezTo>
                  <a:cubicBezTo>
                    <a:pt x="349" y="704"/>
                    <a:pt x="347" y="712"/>
                    <a:pt x="348" y="718"/>
                  </a:cubicBezTo>
                  <a:close/>
                  <a:moveTo>
                    <a:pt x="388" y="755"/>
                  </a:moveTo>
                  <a:cubicBezTo>
                    <a:pt x="389" y="750"/>
                    <a:pt x="396" y="752"/>
                    <a:pt x="396" y="755"/>
                  </a:cubicBezTo>
                  <a:cubicBezTo>
                    <a:pt x="399" y="763"/>
                    <a:pt x="387" y="763"/>
                    <a:pt x="388" y="755"/>
                  </a:cubicBezTo>
                  <a:close/>
                  <a:moveTo>
                    <a:pt x="399" y="684"/>
                  </a:moveTo>
                  <a:cubicBezTo>
                    <a:pt x="405" y="687"/>
                    <a:pt x="407" y="696"/>
                    <a:pt x="410" y="703"/>
                  </a:cubicBezTo>
                  <a:cubicBezTo>
                    <a:pt x="408" y="709"/>
                    <a:pt x="407" y="703"/>
                    <a:pt x="407" y="699"/>
                  </a:cubicBezTo>
                  <a:cubicBezTo>
                    <a:pt x="403" y="698"/>
                    <a:pt x="403" y="703"/>
                    <a:pt x="399" y="703"/>
                  </a:cubicBezTo>
                  <a:cubicBezTo>
                    <a:pt x="395" y="701"/>
                    <a:pt x="399" y="699"/>
                    <a:pt x="402" y="699"/>
                  </a:cubicBezTo>
                  <a:cubicBezTo>
                    <a:pt x="402" y="693"/>
                    <a:pt x="398" y="692"/>
                    <a:pt x="399" y="684"/>
                  </a:cubicBezTo>
                  <a:close/>
                  <a:moveTo>
                    <a:pt x="412" y="696"/>
                  </a:moveTo>
                  <a:cubicBezTo>
                    <a:pt x="412" y="692"/>
                    <a:pt x="412" y="688"/>
                    <a:pt x="412" y="684"/>
                  </a:cubicBezTo>
                  <a:cubicBezTo>
                    <a:pt x="416" y="686"/>
                    <a:pt x="417" y="691"/>
                    <a:pt x="421" y="692"/>
                  </a:cubicBezTo>
                  <a:cubicBezTo>
                    <a:pt x="421" y="695"/>
                    <a:pt x="420" y="695"/>
                    <a:pt x="418" y="696"/>
                  </a:cubicBezTo>
                  <a:cubicBezTo>
                    <a:pt x="416" y="696"/>
                    <a:pt x="414" y="696"/>
                    <a:pt x="412" y="696"/>
                  </a:cubicBezTo>
                  <a:close/>
                  <a:moveTo>
                    <a:pt x="439" y="692"/>
                  </a:moveTo>
                  <a:cubicBezTo>
                    <a:pt x="436" y="691"/>
                    <a:pt x="438" y="685"/>
                    <a:pt x="434" y="684"/>
                  </a:cubicBezTo>
                  <a:cubicBezTo>
                    <a:pt x="435" y="680"/>
                    <a:pt x="439" y="681"/>
                    <a:pt x="442" y="681"/>
                  </a:cubicBezTo>
                  <a:cubicBezTo>
                    <a:pt x="443" y="687"/>
                    <a:pt x="440" y="687"/>
                    <a:pt x="439" y="692"/>
                  </a:cubicBezTo>
                  <a:close/>
                  <a:moveTo>
                    <a:pt x="439" y="581"/>
                  </a:moveTo>
                  <a:cubicBezTo>
                    <a:pt x="442" y="582"/>
                    <a:pt x="441" y="588"/>
                    <a:pt x="445" y="588"/>
                  </a:cubicBezTo>
                  <a:cubicBezTo>
                    <a:pt x="444" y="599"/>
                    <a:pt x="436" y="589"/>
                    <a:pt x="439" y="581"/>
                  </a:cubicBezTo>
                  <a:close/>
                  <a:moveTo>
                    <a:pt x="439" y="655"/>
                  </a:moveTo>
                  <a:cubicBezTo>
                    <a:pt x="438" y="666"/>
                    <a:pt x="434" y="651"/>
                    <a:pt x="429" y="655"/>
                  </a:cubicBezTo>
                  <a:cubicBezTo>
                    <a:pt x="424" y="657"/>
                    <a:pt x="427" y="668"/>
                    <a:pt x="423" y="673"/>
                  </a:cubicBezTo>
                  <a:cubicBezTo>
                    <a:pt x="422" y="676"/>
                    <a:pt x="416" y="682"/>
                    <a:pt x="412" y="681"/>
                  </a:cubicBezTo>
                  <a:cubicBezTo>
                    <a:pt x="410" y="666"/>
                    <a:pt x="397" y="665"/>
                    <a:pt x="399" y="644"/>
                  </a:cubicBezTo>
                  <a:cubicBezTo>
                    <a:pt x="393" y="644"/>
                    <a:pt x="393" y="653"/>
                    <a:pt x="394" y="662"/>
                  </a:cubicBezTo>
                  <a:cubicBezTo>
                    <a:pt x="395" y="671"/>
                    <a:pt x="398" y="658"/>
                    <a:pt x="402" y="666"/>
                  </a:cubicBezTo>
                  <a:cubicBezTo>
                    <a:pt x="396" y="674"/>
                    <a:pt x="392" y="680"/>
                    <a:pt x="383" y="673"/>
                  </a:cubicBezTo>
                  <a:cubicBezTo>
                    <a:pt x="386" y="686"/>
                    <a:pt x="389" y="687"/>
                    <a:pt x="383" y="699"/>
                  </a:cubicBezTo>
                  <a:cubicBezTo>
                    <a:pt x="380" y="695"/>
                    <a:pt x="373" y="695"/>
                    <a:pt x="367" y="696"/>
                  </a:cubicBezTo>
                  <a:cubicBezTo>
                    <a:pt x="367" y="689"/>
                    <a:pt x="371" y="687"/>
                    <a:pt x="378" y="688"/>
                  </a:cubicBezTo>
                  <a:cubicBezTo>
                    <a:pt x="379" y="682"/>
                    <a:pt x="371" y="683"/>
                    <a:pt x="370" y="681"/>
                  </a:cubicBezTo>
                  <a:cubicBezTo>
                    <a:pt x="369" y="680"/>
                    <a:pt x="372" y="675"/>
                    <a:pt x="372" y="673"/>
                  </a:cubicBezTo>
                  <a:cubicBezTo>
                    <a:pt x="372" y="672"/>
                    <a:pt x="370" y="661"/>
                    <a:pt x="367" y="659"/>
                  </a:cubicBezTo>
                  <a:cubicBezTo>
                    <a:pt x="361" y="658"/>
                    <a:pt x="366" y="672"/>
                    <a:pt x="364" y="677"/>
                  </a:cubicBezTo>
                  <a:cubicBezTo>
                    <a:pt x="362" y="677"/>
                    <a:pt x="356" y="665"/>
                    <a:pt x="361" y="666"/>
                  </a:cubicBezTo>
                  <a:cubicBezTo>
                    <a:pt x="361" y="658"/>
                    <a:pt x="354" y="659"/>
                    <a:pt x="351" y="655"/>
                  </a:cubicBezTo>
                  <a:cubicBezTo>
                    <a:pt x="345" y="655"/>
                    <a:pt x="345" y="664"/>
                    <a:pt x="345" y="673"/>
                  </a:cubicBezTo>
                  <a:cubicBezTo>
                    <a:pt x="335" y="670"/>
                    <a:pt x="346" y="658"/>
                    <a:pt x="343" y="644"/>
                  </a:cubicBezTo>
                  <a:cubicBezTo>
                    <a:pt x="345" y="646"/>
                    <a:pt x="345" y="652"/>
                    <a:pt x="351" y="651"/>
                  </a:cubicBezTo>
                  <a:cubicBezTo>
                    <a:pt x="360" y="653"/>
                    <a:pt x="351" y="633"/>
                    <a:pt x="351" y="633"/>
                  </a:cubicBezTo>
                  <a:cubicBezTo>
                    <a:pt x="348" y="632"/>
                    <a:pt x="347" y="645"/>
                    <a:pt x="345" y="636"/>
                  </a:cubicBezTo>
                  <a:cubicBezTo>
                    <a:pt x="345" y="634"/>
                    <a:pt x="346" y="631"/>
                    <a:pt x="345" y="629"/>
                  </a:cubicBezTo>
                  <a:cubicBezTo>
                    <a:pt x="343" y="623"/>
                    <a:pt x="335" y="621"/>
                    <a:pt x="340" y="611"/>
                  </a:cubicBezTo>
                  <a:cubicBezTo>
                    <a:pt x="342" y="603"/>
                    <a:pt x="344" y="615"/>
                    <a:pt x="340" y="614"/>
                  </a:cubicBezTo>
                  <a:cubicBezTo>
                    <a:pt x="336" y="622"/>
                    <a:pt x="347" y="618"/>
                    <a:pt x="351" y="622"/>
                  </a:cubicBezTo>
                  <a:cubicBezTo>
                    <a:pt x="352" y="623"/>
                    <a:pt x="360" y="639"/>
                    <a:pt x="359" y="618"/>
                  </a:cubicBezTo>
                  <a:cubicBezTo>
                    <a:pt x="365" y="625"/>
                    <a:pt x="364" y="640"/>
                    <a:pt x="364" y="655"/>
                  </a:cubicBezTo>
                  <a:cubicBezTo>
                    <a:pt x="368" y="656"/>
                    <a:pt x="369" y="651"/>
                    <a:pt x="372" y="651"/>
                  </a:cubicBezTo>
                  <a:cubicBezTo>
                    <a:pt x="371" y="645"/>
                    <a:pt x="364" y="648"/>
                    <a:pt x="367" y="636"/>
                  </a:cubicBezTo>
                  <a:cubicBezTo>
                    <a:pt x="370" y="636"/>
                    <a:pt x="372" y="636"/>
                    <a:pt x="375" y="636"/>
                  </a:cubicBezTo>
                  <a:cubicBezTo>
                    <a:pt x="374" y="632"/>
                    <a:pt x="371" y="629"/>
                    <a:pt x="367" y="629"/>
                  </a:cubicBezTo>
                  <a:cubicBezTo>
                    <a:pt x="365" y="624"/>
                    <a:pt x="377" y="620"/>
                    <a:pt x="370" y="618"/>
                  </a:cubicBezTo>
                  <a:cubicBezTo>
                    <a:pt x="372" y="606"/>
                    <a:pt x="375" y="622"/>
                    <a:pt x="378" y="622"/>
                  </a:cubicBezTo>
                  <a:cubicBezTo>
                    <a:pt x="378" y="652"/>
                    <a:pt x="373" y="658"/>
                    <a:pt x="378" y="681"/>
                  </a:cubicBezTo>
                  <a:cubicBezTo>
                    <a:pt x="386" y="678"/>
                    <a:pt x="375" y="653"/>
                    <a:pt x="380" y="648"/>
                  </a:cubicBezTo>
                  <a:cubicBezTo>
                    <a:pt x="384" y="643"/>
                    <a:pt x="377" y="638"/>
                    <a:pt x="383" y="629"/>
                  </a:cubicBezTo>
                  <a:cubicBezTo>
                    <a:pt x="390" y="634"/>
                    <a:pt x="391" y="637"/>
                    <a:pt x="388" y="648"/>
                  </a:cubicBezTo>
                  <a:cubicBezTo>
                    <a:pt x="399" y="651"/>
                    <a:pt x="392" y="630"/>
                    <a:pt x="402" y="633"/>
                  </a:cubicBezTo>
                  <a:cubicBezTo>
                    <a:pt x="402" y="622"/>
                    <a:pt x="395" y="620"/>
                    <a:pt x="394" y="611"/>
                  </a:cubicBezTo>
                  <a:cubicBezTo>
                    <a:pt x="391" y="612"/>
                    <a:pt x="387" y="617"/>
                    <a:pt x="391" y="618"/>
                  </a:cubicBezTo>
                  <a:cubicBezTo>
                    <a:pt x="389" y="624"/>
                    <a:pt x="385" y="620"/>
                    <a:pt x="386" y="614"/>
                  </a:cubicBezTo>
                  <a:cubicBezTo>
                    <a:pt x="383" y="610"/>
                    <a:pt x="376" y="613"/>
                    <a:pt x="378" y="603"/>
                  </a:cubicBezTo>
                  <a:cubicBezTo>
                    <a:pt x="370" y="603"/>
                    <a:pt x="363" y="603"/>
                    <a:pt x="356" y="603"/>
                  </a:cubicBezTo>
                  <a:cubicBezTo>
                    <a:pt x="358" y="607"/>
                    <a:pt x="361" y="609"/>
                    <a:pt x="364" y="611"/>
                  </a:cubicBezTo>
                  <a:cubicBezTo>
                    <a:pt x="364" y="624"/>
                    <a:pt x="355" y="603"/>
                    <a:pt x="356" y="614"/>
                  </a:cubicBezTo>
                  <a:cubicBezTo>
                    <a:pt x="349" y="614"/>
                    <a:pt x="353" y="598"/>
                    <a:pt x="343" y="603"/>
                  </a:cubicBezTo>
                  <a:cubicBezTo>
                    <a:pt x="340" y="598"/>
                    <a:pt x="345" y="593"/>
                    <a:pt x="345" y="592"/>
                  </a:cubicBezTo>
                  <a:cubicBezTo>
                    <a:pt x="345" y="585"/>
                    <a:pt x="336" y="584"/>
                    <a:pt x="343" y="581"/>
                  </a:cubicBezTo>
                  <a:cubicBezTo>
                    <a:pt x="352" y="577"/>
                    <a:pt x="347" y="592"/>
                    <a:pt x="348" y="599"/>
                  </a:cubicBezTo>
                  <a:cubicBezTo>
                    <a:pt x="355" y="599"/>
                    <a:pt x="352" y="586"/>
                    <a:pt x="356" y="581"/>
                  </a:cubicBezTo>
                  <a:cubicBezTo>
                    <a:pt x="357" y="577"/>
                    <a:pt x="352" y="579"/>
                    <a:pt x="351" y="577"/>
                  </a:cubicBezTo>
                  <a:cubicBezTo>
                    <a:pt x="349" y="574"/>
                    <a:pt x="353" y="565"/>
                    <a:pt x="348" y="566"/>
                  </a:cubicBezTo>
                  <a:cubicBezTo>
                    <a:pt x="350" y="562"/>
                    <a:pt x="354" y="562"/>
                    <a:pt x="353" y="555"/>
                  </a:cubicBezTo>
                  <a:cubicBezTo>
                    <a:pt x="360" y="556"/>
                    <a:pt x="354" y="568"/>
                    <a:pt x="353" y="570"/>
                  </a:cubicBezTo>
                  <a:cubicBezTo>
                    <a:pt x="353" y="578"/>
                    <a:pt x="363" y="572"/>
                    <a:pt x="367" y="574"/>
                  </a:cubicBezTo>
                  <a:cubicBezTo>
                    <a:pt x="365" y="585"/>
                    <a:pt x="372" y="587"/>
                    <a:pt x="370" y="599"/>
                  </a:cubicBezTo>
                  <a:cubicBezTo>
                    <a:pt x="384" y="595"/>
                    <a:pt x="371" y="585"/>
                    <a:pt x="372" y="570"/>
                  </a:cubicBezTo>
                  <a:cubicBezTo>
                    <a:pt x="376" y="571"/>
                    <a:pt x="376" y="576"/>
                    <a:pt x="380" y="577"/>
                  </a:cubicBezTo>
                  <a:cubicBezTo>
                    <a:pt x="386" y="578"/>
                    <a:pt x="382" y="564"/>
                    <a:pt x="383" y="559"/>
                  </a:cubicBezTo>
                  <a:cubicBezTo>
                    <a:pt x="390" y="562"/>
                    <a:pt x="390" y="554"/>
                    <a:pt x="396" y="555"/>
                  </a:cubicBezTo>
                  <a:cubicBezTo>
                    <a:pt x="397" y="570"/>
                    <a:pt x="403" y="555"/>
                    <a:pt x="410" y="562"/>
                  </a:cubicBezTo>
                  <a:cubicBezTo>
                    <a:pt x="409" y="567"/>
                    <a:pt x="405" y="568"/>
                    <a:pt x="404" y="574"/>
                  </a:cubicBezTo>
                  <a:cubicBezTo>
                    <a:pt x="413" y="576"/>
                    <a:pt x="410" y="563"/>
                    <a:pt x="418" y="566"/>
                  </a:cubicBezTo>
                  <a:cubicBezTo>
                    <a:pt x="419" y="574"/>
                    <a:pt x="426" y="573"/>
                    <a:pt x="421" y="581"/>
                  </a:cubicBezTo>
                  <a:cubicBezTo>
                    <a:pt x="417" y="580"/>
                    <a:pt x="420" y="570"/>
                    <a:pt x="415" y="570"/>
                  </a:cubicBezTo>
                  <a:cubicBezTo>
                    <a:pt x="412" y="571"/>
                    <a:pt x="412" y="577"/>
                    <a:pt x="415" y="577"/>
                  </a:cubicBezTo>
                  <a:cubicBezTo>
                    <a:pt x="415" y="582"/>
                    <a:pt x="415" y="588"/>
                    <a:pt x="418" y="588"/>
                  </a:cubicBezTo>
                  <a:cubicBezTo>
                    <a:pt x="416" y="600"/>
                    <a:pt x="416" y="595"/>
                    <a:pt x="418" y="607"/>
                  </a:cubicBezTo>
                  <a:cubicBezTo>
                    <a:pt x="424" y="609"/>
                    <a:pt x="423" y="602"/>
                    <a:pt x="423" y="596"/>
                  </a:cubicBezTo>
                  <a:cubicBezTo>
                    <a:pt x="426" y="596"/>
                    <a:pt x="426" y="602"/>
                    <a:pt x="426" y="607"/>
                  </a:cubicBezTo>
                  <a:cubicBezTo>
                    <a:pt x="426" y="614"/>
                    <a:pt x="433" y="612"/>
                    <a:pt x="431" y="622"/>
                  </a:cubicBezTo>
                  <a:cubicBezTo>
                    <a:pt x="429" y="620"/>
                    <a:pt x="427" y="618"/>
                    <a:pt x="423" y="618"/>
                  </a:cubicBezTo>
                  <a:cubicBezTo>
                    <a:pt x="416" y="617"/>
                    <a:pt x="427" y="642"/>
                    <a:pt x="415" y="636"/>
                  </a:cubicBezTo>
                  <a:cubicBezTo>
                    <a:pt x="418" y="630"/>
                    <a:pt x="416" y="618"/>
                    <a:pt x="421" y="614"/>
                  </a:cubicBezTo>
                  <a:cubicBezTo>
                    <a:pt x="419" y="611"/>
                    <a:pt x="416" y="609"/>
                    <a:pt x="412" y="607"/>
                  </a:cubicBezTo>
                  <a:cubicBezTo>
                    <a:pt x="407" y="607"/>
                    <a:pt x="412" y="615"/>
                    <a:pt x="412" y="614"/>
                  </a:cubicBezTo>
                  <a:cubicBezTo>
                    <a:pt x="411" y="620"/>
                    <a:pt x="400" y="622"/>
                    <a:pt x="410" y="625"/>
                  </a:cubicBezTo>
                  <a:cubicBezTo>
                    <a:pt x="409" y="629"/>
                    <a:pt x="404" y="628"/>
                    <a:pt x="404" y="633"/>
                  </a:cubicBezTo>
                  <a:cubicBezTo>
                    <a:pt x="405" y="637"/>
                    <a:pt x="409" y="636"/>
                    <a:pt x="412" y="636"/>
                  </a:cubicBezTo>
                  <a:cubicBezTo>
                    <a:pt x="414" y="644"/>
                    <a:pt x="409" y="643"/>
                    <a:pt x="404" y="644"/>
                  </a:cubicBezTo>
                  <a:cubicBezTo>
                    <a:pt x="400" y="653"/>
                    <a:pt x="411" y="651"/>
                    <a:pt x="412" y="655"/>
                  </a:cubicBezTo>
                  <a:cubicBezTo>
                    <a:pt x="415" y="662"/>
                    <a:pt x="408" y="669"/>
                    <a:pt x="415" y="673"/>
                  </a:cubicBezTo>
                  <a:cubicBezTo>
                    <a:pt x="420" y="668"/>
                    <a:pt x="415" y="648"/>
                    <a:pt x="421" y="636"/>
                  </a:cubicBezTo>
                  <a:cubicBezTo>
                    <a:pt x="422" y="638"/>
                    <a:pt x="429" y="651"/>
                    <a:pt x="431" y="640"/>
                  </a:cubicBezTo>
                  <a:cubicBezTo>
                    <a:pt x="437" y="641"/>
                    <a:pt x="432" y="657"/>
                    <a:pt x="439" y="655"/>
                  </a:cubicBezTo>
                  <a:close/>
                  <a:moveTo>
                    <a:pt x="426" y="570"/>
                  </a:moveTo>
                  <a:cubicBezTo>
                    <a:pt x="434" y="566"/>
                    <a:pt x="439" y="597"/>
                    <a:pt x="429" y="596"/>
                  </a:cubicBezTo>
                  <a:cubicBezTo>
                    <a:pt x="427" y="592"/>
                    <a:pt x="431" y="593"/>
                    <a:pt x="431" y="592"/>
                  </a:cubicBezTo>
                  <a:cubicBezTo>
                    <a:pt x="432" y="587"/>
                    <a:pt x="426" y="591"/>
                    <a:pt x="426" y="588"/>
                  </a:cubicBezTo>
                  <a:cubicBezTo>
                    <a:pt x="425" y="583"/>
                    <a:pt x="427" y="576"/>
                    <a:pt x="426" y="570"/>
                  </a:cubicBezTo>
                  <a:close/>
                  <a:moveTo>
                    <a:pt x="437" y="285"/>
                  </a:moveTo>
                  <a:cubicBezTo>
                    <a:pt x="435" y="284"/>
                    <a:pt x="434" y="281"/>
                    <a:pt x="431" y="281"/>
                  </a:cubicBezTo>
                  <a:cubicBezTo>
                    <a:pt x="427" y="283"/>
                    <a:pt x="435" y="294"/>
                    <a:pt x="423" y="292"/>
                  </a:cubicBezTo>
                  <a:cubicBezTo>
                    <a:pt x="425" y="290"/>
                    <a:pt x="427" y="282"/>
                    <a:pt x="423" y="281"/>
                  </a:cubicBezTo>
                  <a:cubicBezTo>
                    <a:pt x="423" y="275"/>
                    <a:pt x="441" y="274"/>
                    <a:pt x="437" y="285"/>
                  </a:cubicBezTo>
                  <a:close/>
                  <a:moveTo>
                    <a:pt x="426" y="30"/>
                  </a:moveTo>
                  <a:cubicBezTo>
                    <a:pt x="426" y="26"/>
                    <a:pt x="426" y="26"/>
                    <a:pt x="426" y="26"/>
                  </a:cubicBezTo>
                  <a:cubicBezTo>
                    <a:pt x="436" y="28"/>
                    <a:pt x="421" y="38"/>
                    <a:pt x="418" y="34"/>
                  </a:cubicBezTo>
                  <a:cubicBezTo>
                    <a:pt x="416" y="31"/>
                    <a:pt x="425" y="30"/>
                    <a:pt x="426" y="30"/>
                  </a:cubicBezTo>
                  <a:close/>
                  <a:moveTo>
                    <a:pt x="407" y="174"/>
                  </a:moveTo>
                  <a:cubicBezTo>
                    <a:pt x="413" y="173"/>
                    <a:pt x="422" y="196"/>
                    <a:pt x="410" y="196"/>
                  </a:cubicBezTo>
                  <a:cubicBezTo>
                    <a:pt x="410" y="193"/>
                    <a:pt x="412" y="193"/>
                    <a:pt x="412" y="189"/>
                  </a:cubicBezTo>
                  <a:cubicBezTo>
                    <a:pt x="410" y="183"/>
                    <a:pt x="404" y="184"/>
                    <a:pt x="399" y="182"/>
                  </a:cubicBezTo>
                  <a:cubicBezTo>
                    <a:pt x="400" y="176"/>
                    <a:pt x="407" y="180"/>
                    <a:pt x="407" y="174"/>
                  </a:cubicBezTo>
                  <a:close/>
                  <a:moveTo>
                    <a:pt x="415" y="252"/>
                  </a:moveTo>
                  <a:cubicBezTo>
                    <a:pt x="415" y="258"/>
                    <a:pt x="413" y="262"/>
                    <a:pt x="410" y="263"/>
                  </a:cubicBezTo>
                  <a:cubicBezTo>
                    <a:pt x="411" y="263"/>
                    <a:pt x="400" y="260"/>
                    <a:pt x="399" y="259"/>
                  </a:cubicBezTo>
                  <a:cubicBezTo>
                    <a:pt x="399" y="259"/>
                    <a:pt x="399" y="256"/>
                    <a:pt x="399" y="255"/>
                  </a:cubicBezTo>
                  <a:cubicBezTo>
                    <a:pt x="396" y="253"/>
                    <a:pt x="393" y="255"/>
                    <a:pt x="394" y="248"/>
                  </a:cubicBezTo>
                  <a:cubicBezTo>
                    <a:pt x="402" y="251"/>
                    <a:pt x="405" y="259"/>
                    <a:pt x="415" y="252"/>
                  </a:cubicBezTo>
                  <a:close/>
                  <a:moveTo>
                    <a:pt x="394" y="185"/>
                  </a:moveTo>
                  <a:cubicBezTo>
                    <a:pt x="391" y="182"/>
                    <a:pt x="388" y="181"/>
                    <a:pt x="383" y="182"/>
                  </a:cubicBezTo>
                  <a:cubicBezTo>
                    <a:pt x="382" y="175"/>
                    <a:pt x="398" y="175"/>
                    <a:pt x="394" y="185"/>
                  </a:cubicBezTo>
                  <a:close/>
                  <a:moveTo>
                    <a:pt x="391" y="248"/>
                  </a:moveTo>
                  <a:cubicBezTo>
                    <a:pt x="389" y="256"/>
                    <a:pt x="374" y="252"/>
                    <a:pt x="372" y="248"/>
                  </a:cubicBezTo>
                  <a:cubicBezTo>
                    <a:pt x="373" y="244"/>
                    <a:pt x="375" y="246"/>
                    <a:pt x="375" y="248"/>
                  </a:cubicBezTo>
                  <a:cubicBezTo>
                    <a:pt x="384" y="251"/>
                    <a:pt x="386" y="241"/>
                    <a:pt x="391" y="248"/>
                  </a:cubicBezTo>
                  <a:close/>
                  <a:moveTo>
                    <a:pt x="340" y="174"/>
                  </a:moveTo>
                  <a:cubicBezTo>
                    <a:pt x="350" y="177"/>
                    <a:pt x="339" y="185"/>
                    <a:pt x="345" y="193"/>
                  </a:cubicBezTo>
                  <a:cubicBezTo>
                    <a:pt x="355" y="195"/>
                    <a:pt x="361" y="181"/>
                    <a:pt x="367" y="189"/>
                  </a:cubicBezTo>
                  <a:cubicBezTo>
                    <a:pt x="367" y="185"/>
                    <a:pt x="366" y="182"/>
                    <a:pt x="364" y="182"/>
                  </a:cubicBezTo>
                  <a:cubicBezTo>
                    <a:pt x="362" y="171"/>
                    <a:pt x="377" y="184"/>
                    <a:pt x="375" y="174"/>
                  </a:cubicBezTo>
                  <a:cubicBezTo>
                    <a:pt x="380" y="177"/>
                    <a:pt x="373" y="200"/>
                    <a:pt x="370" y="204"/>
                  </a:cubicBezTo>
                  <a:cubicBezTo>
                    <a:pt x="368" y="205"/>
                    <a:pt x="367" y="208"/>
                    <a:pt x="364" y="207"/>
                  </a:cubicBezTo>
                  <a:cubicBezTo>
                    <a:pt x="370" y="200"/>
                    <a:pt x="364" y="195"/>
                    <a:pt x="359" y="193"/>
                  </a:cubicBezTo>
                  <a:cubicBezTo>
                    <a:pt x="355" y="191"/>
                    <a:pt x="357" y="199"/>
                    <a:pt x="356" y="200"/>
                  </a:cubicBezTo>
                  <a:cubicBezTo>
                    <a:pt x="352" y="203"/>
                    <a:pt x="345" y="198"/>
                    <a:pt x="340" y="200"/>
                  </a:cubicBezTo>
                  <a:cubicBezTo>
                    <a:pt x="335" y="191"/>
                    <a:pt x="333" y="182"/>
                    <a:pt x="340" y="174"/>
                  </a:cubicBezTo>
                  <a:close/>
                  <a:moveTo>
                    <a:pt x="340" y="300"/>
                  </a:moveTo>
                  <a:cubicBezTo>
                    <a:pt x="339" y="307"/>
                    <a:pt x="334" y="309"/>
                    <a:pt x="335" y="318"/>
                  </a:cubicBezTo>
                  <a:cubicBezTo>
                    <a:pt x="335" y="328"/>
                    <a:pt x="339" y="313"/>
                    <a:pt x="345" y="318"/>
                  </a:cubicBezTo>
                  <a:cubicBezTo>
                    <a:pt x="346" y="312"/>
                    <a:pt x="343" y="311"/>
                    <a:pt x="340" y="311"/>
                  </a:cubicBezTo>
                  <a:cubicBezTo>
                    <a:pt x="340" y="303"/>
                    <a:pt x="349" y="309"/>
                    <a:pt x="353" y="307"/>
                  </a:cubicBezTo>
                  <a:cubicBezTo>
                    <a:pt x="357" y="317"/>
                    <a:pt x="343" y="319"/>
                    <a:pt x="351" y="322"/>
                  </a:cubicBezTo>
                  <a:cubicBezTo>
                    <a:pt x="350" y="326"/>
                    <a:pt x="348" y="324"/>
                    <a:pt x="348" y="322"/>
                  </a:cubicBezTo>
                  <a:cubicBezTo>
                    <a:pt x="340" y="319"/>
                    <a:pt x="340" y="328"/>
                    <a:pt x="332" y="326"/>
                  </a:cubicBezTo>
                  <a:cubicBezTo>
                    <a:pt x="328" y="316"/>
                    <a:pt x="333" y="314"/>
                    <a:pt x="329" y="311"/>
                  </a:cubicBezTo>
                  <a:cubicBezTo>
                    <a:pt x="330" y="307"/>
                    <a:pt x="335" y="308"/>
                    <a:pt x="335" y="304"/>
                  </a:cubicBezTo>
                  <a:cubicBezTo>
                    <a:pt x="335" y="300"/>
                    <a:pt x="338" y="301"/>
                    <a:pt x="340" y="300"/>
                  </a:cubicBezTo>
                  <a:close/>
                  <a:moveTo>
                    <a:pt x="335" y="296"/>
                  </a:moveTo>
                  <a:cubicBezTo>
                    <a:pt x="331" y="294"/>
                    <a:pt x="330" y="288"/>
                    <a:pt x="329" y="281"/>
                  </a:cubicBezTo>
                  <a:cubicBezTo>
                    <a:pt x="334" y="282"/>
                    <a:pt x="335" y="288"/>
                    <a:pt x="335" y="296"/>
                  </a:cubicBezTo>
                  <a:close/>
                  <a:moveTo>
                    <a:pt x="324" y="163"/>
                  </a:moveTo>
                  <a:cubicBezTo>
                    <a:pt x="324" y="170"/>
                    <a:pt x="324" y="178"/>
                    <a:pt x="324" y="185"/>
                  </a:cubicBezTo>
                  <a:cubicBezTo>
                    <a:pt x="327" y="183"/>
                    <a:pt x="327" y="177"/>
                    <a:pt x="332" y="178"/>
                  </a:cubicBezTo>
                  <a:cubicBezTo>
                    <a:pt x="334" y="193"/>
                    <a:pt x="313" y="206"/>
                    <a:pt x="313" y="185"/>
                  </a:cubicBezTo>
                  <a:cubicBezTo>
                    <a:pt x="316" y="185"/>
                    <a:pt x="315" y="190"/>
                    <a:pt x="316" y="193"/>
                  </a:cubicBezTo>
                  <a:cubicBezTo>
                    <a:pt x="321" y="194"/>
                    <a:pt x="320" y="176"/>
                    <a:pt x="313" y="182"/>
                  </a:cubicBezTo>
                  <a:cubicBezTo>
                    <a:pt x="320" y="172"/>
                    <a:pt x="310" y="170"/>
                    <a:pt x="310" y="159"/>
                  </a:cubicBezTo>
                  <a:cubicBezTo>
                    <a:pt x="315" y="152"/>
                    <a:pt x="318" y="161"/>
                    <a:pt x="324" y="163"/>
                  </a:cubicBezTo>
                  <a:close/>
                  <a:moveTo>
                    <a:pt x="308" y="241"/>
                  </a:moveTo>
                  <a:cubicBezTo>
                    <a:pt x="316" y="246"/>
                    <a:pt x="318" y="237"/>
                    <a:pt x="321" y="248"/>
                  </a:cubicBezTo>
                  <a:cubicBezTo>
                    <a:pt x="323" y="246"/>
                    <a:pt x="326" y="244"/>
                    <a:pt x="329" y="244"/>
                  </a:cubicBezTo>
                  <a:cubicBezTo>
                    <a:pt x="330" y="248"/>
                    <a:pt x="328" y="248"/>
                    <a:pt x="326" y="248"/>
                  </a:cubicBezTo>
                  <a:cubicBezTo>
                    <a:pt x="319" y="255"/>
                    <a:pt x="326" y="266"/>
                    <a:pt x="326" y="274"/>
                  </a:cubicBezTo>
                  <a:cubicBezTo>
                    <a:pt x="327" y="282"/>
                    <a:pt x="324" y="291"/>
                    <a:pt x="326" y="296"/>
                  </a:cubicBezTo>
                  <a:cubicBezTo>
                    <a:pt x="323" y="296"/>
                    <a:pt x="319" y="296"/>
                    <a:pt x="318" y="300"/>
                  </a:cubicBezTo>
                  <a:cubicBezTo>
                    <a:pt x="312" y="292"/>
                    <a:pt x="326" y="281"/>
                    <a:pt x="321" y="263"/>
                  </a:cubicBezTo>
                  <a:cubicBezTo>
                    <a:pt x="321" y="266"/>
                    <a:pt x="307" y="266"/>
                    <a:pt x="313" y="259"/>
                  </a:cubicBezTo>
                  <a:cubicBezTo>
                    <a:pt x="313" y="259"/>
                    <a:pt x="318" y="260"/>
                    <a:pt x="318" y="259"/>
                  </a:cubicBezTo>
                  <a:cubicBezTo>
                    <a:pt x="318" y="258"/>
                    <a:pt x="314" y="249"/>
                    <a:pt x="313" y="248"/>
                  </a:cubicBezTo>
                  <a:cubicBezTo>
                    <a:pt x="311" y="247"/>
                    <a:pt x="309" y="251"/>
                    <a:pt x="310" y="252"/>
                  </a:cubicBezTo>
                  <a:cubicBezTo>
                    <a:pt x="314" y="256"/>
                    <a:pt x="310" y="255"/>
                    <a:pt x="308" y="252"/>
                  </a:cubicBezTo>
                  <a:cubicBezTo>
                    <a:pt x="305" y="248"/>
                    <a:pt x="308" y="249"/>
                    <a:pt x="308" y="241"/>
                  </a:cubicBezTo>
                  <a:close/>
                  <a:moveTo>
                    <a:pt x="308" y="270"/>
                  </a:moveTo>
                  <a:cubicBezTo>
                    <a:pt x="308" y="261"/>
                    <a:pt x="312" y="275"/>
                    <a:pt x="318" y="270"/>
                  </a:cubicBezTo>
                  <a:cubicBezTo>
                    <a:pt x="317" y="278"/>
                    <a:pt x="313" y="282"/>
                    <a:pt x="310" y="289"/>
                  </a:cubicBezTo>
                  <a:cubicBezTo>
                    <a:pt x="305" y="287"/>
                    <a:pt x="312" y="273"/>
                    <a:pt x="308" y="270"/>
                  </a:cubicBezTo>
                  <a:close/>
                  <a:moveTo>
                    <a:pt x="313" y="311"/>
                  </a:moveTo>
                  <a:cubicBezTo>
                    <a:pt x="318" y="310"/>
                    <a:pt x="321" y="312"/>
                    <a:pt x="321" y="318"/>
                  </a:cubicBezTo>
                  <a:cubicBezTo>
                    <a:pt x="316" y="317"/>
                    <a:pt x="309" y="317"/>
                    <a:pt x="310" y="307"/>
                  </a:cubicBezTo>
                  <a:cubicBezTo>
                    <a:pt x="303" y="306"/>
                    <a:pt x="313" y="328"/>
                    <a:pt x="302" y="322"/>
                  </a:cubicBezTo>
                  <a:cubicBezTo>
                    <a:pt x="303" y="313"/>
                    <a:pt x="303" y="304"/>
                    <a:pt x="297" y="304"/>
                  </a:cubicBezTo>
                  <a:cubicBezTo>
                    <a:pt x="293" y="305"/>
                    <a:pt x="298" y="308"/>
                    <a:pt x="297" y="315"/>
                  </a:cubicBezTo>
                  <a:cubicBezTo>
                    <a:pt x="289" y="318"/>
                    <a:pt x="292" y="306"/>
                    <a:pt x="292" y="300"/>
                  </a:cubicBezTo>
                  <a:cubicBezTo>
                    <a:pt x="299" y="295"/>
                    <a:pt x="306" y="311"/>
                    <a:pt x="305" y="296"/>
                  </a:cubicBezTo>
                  <a:cubicBezTo>
                    <a:pt x="312" y="295"/>
                    <a:pt x="312" y="304"/>
                    <a:pt x="313" y="311"/>
                  </a:cubicBezTo>
                  <a:close/>
                  <a:moveTo>
                    <a:pt x="292" y="159"/>
                  </a:moveTo>
                  <a:cubicBezTo>
                    <a:pt x="297" y="166"/>
                    <a:pt x="296" y="157"/>
                    <a:pt x="305" y="159"/>
                  </a:cubicBezTo>
                  <a:cubicBezTo>
                    <a:pt x="307" y="167"/>
                    <a:pt x="289" y="173"/>
                    <a:pt x="292" y="159"/>
                  </a:cubicBezTo>
                  <a:close/>
                  <a:moveTo>
                    <a:pt x="286" y="174"/>
                  </a:moveTo>
                  <a:cubicBezTo>
                    <a:pt x="293" y="173"/>
                    <a:pt x="292" y="181"/>
                    <a:pt x="300" y="178"/>
                  </a:cubicBezTo>
                  <a:cubicBezTo>
                    <a:pt x="298" y="181"/>
                    <a:pt x="297" y="184"/>
                    <a:pt x="297" y="189"/>
                  </a:cubicBezTo>
                  <a:cubicBezTo>
                    <a:pt x="293" y="185"/>
                    <a:pt x="285" y="186"/>
                    <a:pt x="286" y="174"/>
                  </a:cubicBezTo>
                  <a:close/>
                  <a:moveTo>
                    <a:pt x="289" y="255"/>
                  </a:moveTo>
                  <a:cubicBezTo>
                    <a:pt x="287" y="255"/>
                    <a:pt x="286" y="252"/>
                    <a:pt x="283" y="252"/>
                  </a:cubicBezTo>
                  <a:cubicBezTo>
                    <a:pt x="283" y="249"/>
                    <a:pt x="283" y="247"/>
                    <a:pt x="283" y="244"/>
                  </a:cubicBezTo>
                  <a:cubicBezTo>
                    <a:pt x="289" y="243"/>
                    <a:pt x="289" y="250"/>
                    <a:pt x="289" y="255"/>
                  </a:cubicBezTo>
                  <a:close/>
                  <a:moveTo>
                    <a:pt x="283" y="189"/>
                  </a:moveTo>
                  <a:cubicBezTo>
                    <a:pt x="278" y="188"/>
                    <a:pt x="282" y="177"/>
                    <a:pt x="275" y="178"/>
                  </a:cubicBezTo>
                  <a:cubicBezTo>
                    <a:pt x="279" y="167"/>
                    <a:pt x="287" y="178"/>
                    <a:pt x="283" y="189"/>
                  </a:cubicBezTo>
                  <a:close/>
                  <a:moveTo>
                    <a:pt x="278" y="248"/>
                  </a:moveTo>
                  <a:cubicBezTo>
                    <a:pt x="274" y="246"/>
                    <a:pt x="273" y="240"/>
                    <a:pt x="273" y="233"/>
                  </a:cubicBezTo>
                  <a:cubicBezTo>
                    <a:pt x="277" y="234"/>
                    <a:pt x="279" y="240"/>
                    <a:pt x="278" y="248"/>
                  </a:cubicBezTo>
                  <a:close/>
                  <a:moveTo>
                    <a:pt x="267" y="174"/>
                  </a:moveTo>
                  <a:cubicBezTo>
                    <a:pt x="269" y="174"/>
                    <a:pt x="271" y="174"/>
                    <a:pt x="273" y="174"/>
                  </a:cubicBezTo>
                  <a:cubicBezTo>
                    <a:pt x="273" y="177"/>
                    <a:pt x="273" y="179"/>
                    <a:pt x="273" y="182"/>
                  </a:cubicBezTo>
                  <a:cubicBezTo>
                    <a:pt x="271" y="182"/>
                    <a:pt x="269" y="182"/>
                    <a:pt x="267" y="182"/>
                  </a:cubicBezTo>
                  <a:cubicBezTo>
                    <a:pt x="267" y="179"/>
                    <a:pt x="267" y="177"/>
                    <a:pt x="267" y="174"/>
                  </a:cubicBezTo>
                  <a:close/>
                  <a:moveTo>
                    <a:pt x="276" y="259"/>
                  </a:moveTo>
                  <a:cubicBezTo>
                    <a:pt x="277" y="257"/>
                    <a:pt x="279" y="253"/>
                    <a:pt x="278" y="252"/>
                  </a:cubicBezTo>
                  <a:cubicBezTo>
                    <a:pt x="281" y="254"/>
                    <a:pt x="279" y="256"/>
                    <a:pt x="281" y="259"/>
                  </a:cubicBezTo>
                  <a:cubicBezTo>
                    <a:pt x="283" y="262"/>
                    <a:pt x="289" y="264"/>
                    <a:pt x="286" y="278"/>
                  </a:cubicBezTo>
                  <a:cubicBezTo>
                    <a:pt x="284" y="284"/>
                    <a:pt x="283" y="275"/>
                    <a:pt x="283" y="270"/>
                  </a:cubicBezTo>
                  <a:cubicBezTo>
                    <a:pt x="284" y="266"/>
                    <a:pt x="275" y="260"/>
                    <a:pt x="270" y="259"/>
                  </a:cubicBezTo>
                  <a:cubicBezTo>
                    <a:pt x="268" y="259"/>
                    <a:pt x="265" y="266"/>
                    <a:pt x="265" y="259"/>
                  </a:cubicBezTo>
                  <a:cubicBezTo>
                    <a:pt x="257" y="254"/>
                    <a:pt x="274" y="257"/>
                    <a:pt x="276" y="259"/>
                  </a:cubicBezTo>
                  <a:close/>
                  <a:moveTo>
                    <a:pt x="259" y="237"/>
                  </a:moveTo>
                  <a:cubicBezTo>
                    <a:pt x="263" y="238"/>
                    <a:pt x="260" y="248"/>
                    <a:pt x="265" y="248"/>
                  </a:cubicBezTo>
                  <a:cubicBezTo>
                    <a:pt x="264" y="257"/>
                    <a:pt x="257" y="245"/>
                    <a:pt x="259" y="237"/>
                  </a:cubicBezTo>
                  <a:close/>
                  <a:moveTo>
                    <a:pt x="257" y="270"/>
                  </a:moveTo>
                  <a:cubicBezTo>
                    <a:pt x="250" y="282"/>
                    <a:pt x="261" y="262"/>
                    <a:pt x="254" y="263"/>
                  </a:cubicBezTo>
                  <a:cubicBezTo>
                    <a:pt x="255" y="249"/>
                    <a:pt x="265" y="271"/>
                    <a:pt x="257" y="270"/>
                  </a:cubicBezTo>
                  <a:close/>
                  <a:moveTo>
                    <a:pt x="251" y="174"/>
                  </a:moveTo>
                  <a:cubicBezTo>
                    <a:pt x="253" y="174"/>
                    <a:pt x="255" y="174"/>
                    <a:pt x="257" y="174"/>
                  </a:cubicBezTo>
                  <a:cubicBezTo>
                    <a:pt x="257" y="177"/>
                    <a:pt x="257" y="179"/>
                    <a:pt x="257" y="182"/>
                  </a:cubicBezTo>
                  <a:cubicBezTo>
                    <a:pt x="255" y="182"/>
                    <a:pt x="253" y="182"/>
                    <a:pt x="251" y="182"/>
                  </a:cubicBezTo>
                  <a:cubicBezTo>
                    <a:pt x="251" y="179"/>
                    <a:pt x="251" y="177"/>
                    <a:pt x="251" y="174"/>
                  </a:cubicBezTo>
                  <a:close/>
                  <a:moveTo>
                    <a:pt x="249" y="289"/>
                  </a:moveTo>
                  <a:cubicBezTo>
                    <a:pt x="251" y="289"/>
                    <a:pt x="251" y="284"/>
                    <a:pt x="251" y="281"/>
                  </a:cubicBezTo>
                  <a:cubicBezTo>
                    <a:pt x="253" y="283"/>
                    <a:pt x="257" y="285"/>
                    <a:pt x="257" y="289"/>
                  </a:cubicBezTo>
                  <a:cubicBezTo>
                    <a:pt x="256" y="289"/>
                    <a:pt x="251" y="293"/>
                    <a:pt x="251" y="292"/>
                  </a:cubicBezTo>
                  <a:cubicBezTo>
                    <a:pt x="251" y="299"/>
                    <a:pt x="257" y="302"/>
                    <a:pt x="254" y="311"/>
                  </a:cubicBezTo>
                  <a:cubicBezTo>
                    <a:pt x="241" y="308"/>
                    <a:pt x="251" y="297"/>
                    <a:pt x="246" y="285"/>
                  </a:cubicBezTo>
                  <a:cubicBezTo>
                    <a:pt x="248" y="284"/>
                    <a:pt x="248" y="286"/>
                    <a:pt x="249" y="289"/>
                  </a:cubicBezTo>
                  <a:close/>
                  <a:moveTo>
                    <a:pt x="243" y="274"/>
                  </a:moveTo>
                  <a:cubicBezTo>
                    <a:pt x="240" y="279"/>
                    <a:pt x="242" y="275"/>
                    <a:pt x="240" y="270"/>
                  </a:cubicBezTo>
                  <a:cubicBezTo>
                    <a:pt x="240" y="270"/>
                    <a:pt x="238" y="270"/>
                    <a:pt x="238" y="270"/>
                  </a:cubicBezTo>
                  <a:cubicBezTo>
                    <a:pt x="238" y="265"/>
                    <a:pt x="240" y="270"/>
                    <a:pt x="240" y="270"/>
                  </a:cubicBezTo>
                  <a:cubicBezTo>
                    <a:pt x="245" y="273"/>
                    <a:pt x="246" y="271"/>
                    <a:pt x="243" y="274"/>
                  </a:cubicBezTo>
                  <a:close/>
                  <a:moveTo>
                    <a:pt x="227" y="304"/>
                  </a:moveTo>
                  <a:cubicBezTo>
                    <a:pt x="226" y="296"/>
                    <a:pt x="239" y="298"/>
                    <a:pt x="235" y="307"/>
                  </a:cubicBezTo>
                  <a:cubicBezTo>
                    <a:pt x="233" y="307"/>
                    <a:pt x="231" y="307"/>
                    <a:pt x="230" y="307"/>
                  </a:cubicBezTo>
                  <a:cubicBezTo>
                    <a:pt x="230" y="304"/>
                    <a:pt x="229" y="304"/>
                    <a:pt x="227" y="304"/>
                  </a:cubicBezTo>
                  <a:close/>
                  <a:moveTo>
                    <a:pt x="235" y="278"/>
                  </a:moveTo>
                  <a:cubicBezTo>
                    <a:pt x="238" y="279"/>
                    <a:pt x="237" y="285"/>
                    <a:pt x="240" y="285"/>
                  </a:cubicBezTo>
                  <a:cubicBezTo>
                    <a:pt x="239" y="295"/>
                    <a:pt x="232" y="285"/>
                    <a:pt x="235" y="278"/>
                  </a:cubicBezTo>
                  <a:close/>
                  <a:moveTo>
                    <a:pt x="235" y="244"/>
                  </a:moveTo>
                  <a:cubicBezTo>
                    <a:pt x="238" y="245"/>
                    <a:pt x="237" y="252"/>
                    <a:pt x="240" y="252"/>
                  </a:cubicBezTo>
                  <a:cubicBezTo>
                    <a:pt x="240" y="255"/>
                    <a:pt x="237" y="255"/>
                    <a:pt x="235" y="255"/>
                  </a:cubicBezTo>
                  <a:cubicBezTo>
                    <a:pt x="235" y="259"/>
                    <a:pt x="236" y="259"/>
                    <a:pt x="238" y="259"/>
                  </a:cubicBezTo>
                  <a:cubicBezTo>
                    <a:pt x="237" y="268"/>
                    <a:pt x="231" y="255"/>
                    <a:pt x="227" y="255"/>
                  </a:cubicBezTo>
                  <a:cubicBezTo>
                    <a:pt x="227" y="251"/>
                    <a:pt x="230" y="253"/>
                    <a:pt x="230" y="255"/>
                  </a:cubicBezTo>
                  <a:cubicBezTo>
                    <a:pt x="232" y="253"/>
                    <a:pt x="234" y="249"/>
                    <a:pt x="235" y="244"/>
                  </a:cubicBezTo>
                  <a:close/>
                  <a:moveTo>
                    <a:pt x="230" y="163"/>
                  </a:moveTo>
                  <a:cubicBezTo>
                    <a:pt x="231" y="162"/>
                    <a:pt x="222" y="159"/>
                    <a:pt x="222" y="159"/>
                  </a:cubicBezTo>
                  <a:cubicBezTo>
                    <a:pt x="221" y="153"/>
                    <a:pt x="236" y="154"/>
                    <a:pt x="230" y="163"/>
                  </a:cubicBezTo>
                  <a:close/>
                  <a:moveTo>
                    <a:pt x="222" y="244"/>
                  </a:moveTo>
                  <a:cubicBezTo>
                    <a:pt x="218" y="243"/>
                    <a:pt x="216" y="240"/>
                    <a:pt x="216" y="233"/>
                  </a:cubicBezTo>
                  <a:cubicBezTo>
                    <a:pt x="219" y="235"/>
                    <a:pt x="222" y="238"/>
                    <a:pt x="222" y="244"/>
                  </a:cubicBezTo>
                  <a:close/>
                  <a:moveTo>
                    <a:pt x="214" y="270"/>
                  </a:moveTo>
                  <a:cubicBezTo>
                    <a:pt x="212" y="260"/>
                    <a:pt x="226" y="273"/>
                    <a:pt x="224" y="263"/>
                  </a:cubicBezTo>
                  <a:cubicBezTo>
                    <a:pt x="230" y="265"/>
                    <a:pt x="220" y="277"/>
                    <a:pt x="222" y="285"/>
                  </a:cubicBezTo>
                  <a:cubicBezTo>
                    <a:pt x="221" y="299"/>
                    <a:pt x="215" y="274"/>
                    <a:pt x="222" y="278"/>
                  </a:cubicBezTo>
                  <a:cubicBezTo>
                    <a:pt x="220" y="274"/>
                    <a:pt x="217" y="272"/>
                    <a:pt x="214" y="270"/>
                  </a:cubicBezTo>
                  <a:close/>
                  <a:moveTo>
                    <a:pt x="216" y="337"/>
                  </a:moveTo>
                  <a:cubicBezTo>
                    <a:pt x="216" y="326"/>
                    <a:pt x="218" y="334"/>
                    <a:pt x="222" y="333"/>
                  </a:cubicBezTo>
                  <a:cubicBezTo>
                    <a:pt x="223" y="333"/>
                    <a:pt x="234" y="322"/>
                    <a:pt x="232" y="337"/>
                  </a:cubicBezTo>
                  <a:cubicBezTo>
                    <a:pt x="238" y="339"/>
                    <a:pt x="242" y="319"/>
                    <a:pt x="232" y="322"/>
                  </a:cubicBezTo>
                  <a:cubicBezTo>
                    <a:pt x="232" y="318"/>
                    <a:pt x="232" y="315"/>
                    <a:pt x="232" y="311"/>
                  </a:cubicBezTo>
                  <a:cubicBezTo>
                    <a:pt x="236" y="315"/>
                    <a:pt x="238" y="321"/>
                    <a:pt x="240" y="326"/>
                  </a:cubicBezTo>
                  <a:cubicBezTo>
                    <a:pt x="241" y="332"/>
                    <a:pt x="238" y="332"/>
                    <a:pt x="238" y="337"/>
                  </a:cubicBezTo>
                  <a:cubicBezTo>
                    <a:pt x="237" y="349"/>
                    <a:pt x="242" y="368"/>
                    <a:pt x="232" y="366"/>
                  </a:cubicBezTo>
                  <a:cubicBezTo>
                    <a:pt x="235" y="356"/>
                    <a:pt x="235" y="351"/>
                    <a:pt x="232" y="341"/>
                  </a:cubicBezTo>
                  <a:cubicBezTo>
                    <a:pt x="226" y="339"/>
                    <a:pt x="234" y="357"/>
                    <a:pt x="224" y="352"/>
                  </a:cubicBezTo>
                  <a:cubicBezTo>
                    <a:pt x="224" y="346"/>
                    <a:pt x="227" y="345"/>
                    <a:pt x="227" y="341"/>
                  </a:cubicBezTo>
                  <a:cubicBezTo>
                    <a:pt x="226" y="328"/>
                    <a:pt x="215" y="347"/>
                    <a:pt x="216" y="337"/>
                  </a:cubicBezTo>
                  <a:close/>
                  <a:moveTo>
                    <a:pt x="211" y="703"/>
                  </a:moveTo>
                  <a:cubicBezTo>
                    <a:pt x="210" y="696"/>
                    <a:pt x="203" y="696"/>
                    <a:pt x="205" y="684"/>
                  </a:cubicBezTo>
                  <a:cubicBezTo>
                    <a:pt x="208" y="684"/>
                    <a:pt x="211" y="684"/>
                    <a:pt x="214" y="684"/>
                  </a:cubicBezTo>
                  <a:cubicBezTo>
                    <a:pt x="216" y="693"/>
                    <a:pt x="215" y="705"/>
                    <a:pt x="222" y="707"/>
                  </a:cubicBezTo>
                  <a:cubicBezTo>
                    <a:pt x="221" y="712"/>
                    <a:pt x="215" y="710"/>
                    <a:pt x="211" y="710"/>
                  </a:cubicBezTo>
                  <a:cubicBezTo>
                    <a:pt x="209" y="707"/>
                    <a:pt x="208" y="704"/>
                    <a:pt x="211" y="703"/>
                  </a:cubicBezTo>
                  <a:close/>
                  <a:moveTo>
                    <a:pt x="214" y="795"/>
                  </a:moveTo>
                  <a:cubicBezTo>
                    <a:pt x="224" y="806"/>
                    <a:pt x="204" y="810"/>
                    <a:pt x="214" y="795"/>
                  </a:cubicBezTo>
                  <a:close/>
                  <a:moveTo>
                    <a:pt x="214" y="788"/>
                  </a:moveTo>
                  <a:cubicBezTo>
                    <a:pt x="212" y="779"/>
                    <a:pt x="218" y="780"/>
                    <a:pt x="216" y="770"/>
                  </a:cubicBezTo>
                  <a:cubicBezTo>
                    <a:pt x="219" y="772"/>
                    <a:pt x="222" y="774"/>
                    <a:pt x="227" y="773"/>
                  </a:cubicBezTo>
                  <a:cubicBezTo>
                    <a:pt x="227" y="777"/>
                    <a:pt x="224" y="776"/>
                    <a:pt x="222" y="777"/>
                  </a:cubicBezTo>
                  <a:cubicBezTo>
                    <a:pt x="221" y="783"/>
                    <a:pt x="224" y="784"/>
                    <a:pt x="227" y="784"/>
                  </a:cubicBezTo>
                  <a:cubicBezTo>
                    <a:pt x="228" y="790"/>
                    <a:pt x="216" y="793"/>
                    <a:pt x="224" y="795"/>
                  </a:cubicBezTo>
                  <a:cubicBezTo>
                    <a:pt x="222" y="806"/>
                    <a:pt x="218" y="787"/>
                    <a:pt x="214" y="788"/>
                  </a:cubicBezTo>
                  <a:close/>
                  <a:moveTo>
                    <a:pt x="227" y="832"/>
                  </a:moveTo>
                  <a:cubicBezTo>
                    <a:pt x="217" y="831"/>
                    <a:pt x="220" y="823"/>
                    <a:pt x="222" y="814"/>
                  </a:cubicBezTo>
                  <a:cubicBezTo>
                    <a:pt x="227" y="814"/>
                    <a:pt x="227" y="823"/>
                    <a:pt x="227" y="832"/>
                  </a:cubicBezTo>
                  <a:close/>
                  <a:moveTo>
                    <a:pt x="227" y="640"/>
                  </a:moveTo>
                  <a:cubicBezTo>
                    <a:pt x="230" y="629"/>
                    <a:pt x="236" y="642"/>
                    <a:pt x="238" y="644"/>
                  </a:cubicBezTo>
                  <a:cubicBezTo>
                    <a:pt x="237" y="653"/>
                    <a:pt x="231" y="640"/>
                    <a:pt x="227" y="640"/>
                  </a:cubicBezTo>
                  <a:close/>
                  <a:moveTo>
                    <a:pt x="232" y="559"/>
                  </a:moveTo>
                  <a:cubicBezTo>
                    <a:pt x="235" y="549"/>
                    <a:pt x="238" y="567"/>
                    <a:pt x="243" y="566"/>
                  </a:cubicBezTo>
                  <a:cubicBezTo>
                    <a:pt x="238" y="579"/>
                    <a:pt x="238" y="557"/>
                    <a:pt x="232" y="559"/>
                  </a:cubicBezTo>
                  <a:close/>
                  <a:moveTo>
                    <a:pt x="240" y="692"/>
                  </a:moveTo>
                  <a:cubicBezTo>
                    <a:pt x="243" y="689"/>
                    <a:pt x="243" y="684"/>
                    <a:pt x="243" y="677"/>
                  </a:cubicBezTo>
                  <a:cubicBezTo>
                    <a:pt x="248" y="676"/>
                    <a:pt x="248" y="698"/>
                    <a:pt x="240" y="692"/>
                  </a:cubicBezTo>
                  <a:close/>
                  <a:moveTo>
                    <a:pt x="246" y="592"/>
                  </a:moveTo>
                  <a:cubicBezTo>
                    <a:pt x="245" y="594"/>
                    <a:pt x="238" y="582"/>
                    <a:pt x="243" y="577"/>
                  </a:cubicBezTo>
                  <a:cubicBezTo>
                    <a:pt x="245" y="576"/>
                    <a:pt x="248" y="590"/>
                    <a:pt x="246" y="592"/>
                  </a:cubicBezTo>
                  <a:close/>
                  <a:moveTo>
                    <a:pt x="238" y="555"/>
                  </a:moveTo>
                  <a:cubicBezTo>
                    <a:pt x="238" y="547"/>
                    <a:pt x="250" y="554"/>
                    <a:pt x="249" y="544"/>
                  </a:cubicBezTo>
                  <a:cubicBezTo>
                    <a:pt x="252" y="550"/>
                    <a:pt x="264" y="545"/>
                    <a:pt x="267" y="551"/>
                  </a:cubicBezTo>
                  <a:cubicBezTo>
                    <a:pt x="262" y="560"/>
                    <a:pt x="249" y="542"/>
                    <a:pt x="249" y="562"/>
                  </a:cubicBezTo>
                  <a:cubicBezTo>
                    <a:pt x="244" y="561"/>
                    <a:pt x="246" y="551"/>
                    <a:pt x="238" y="555"/>
                  </a:cubicBezTo>
                  <a:close/>
                  <a:moveTo>
                    <a:pt x="249" y="651"/>
                  </a:moveTo>
                  <a:cubicBezTo>
                    <a:pt x="258" y="647"/>
                    <a:pt x="253" y="663"/>
                    <a:pt x="254" y="670"/>
                  </a:cubicBezTo>
                  <a:cubicBezTo>
                    <a:pt x="245" y="665"/>
                    <a:pt x="253" y="662"/>
                    <a:pt x="249" y="651"/>
                  </a:cubicBezTo>
                  <a:close/>
                  <a:moveTo>
                    <a:pt x="254" y="847"/>
                  </a:moveTo>
                  <a:cubicBezTo>
                    <a:pt x="250" y="846"/>
                    <a:pt x="252" y="838"/>
                    <a:pt x="251" y="832"/>
                  </a:cubicBezTo>
                  <a:cubicBezTo>
                    <a:pt x="262" y="831"/>
                    <a:pt x="253" y="840"/>
                    <a:pt x="254" y="847"/>
                  </a:cubicBezTo>
                  <a:close/>
                  <a:moveTo>
                    <a:pt x="262" y="633"/>
                  </a:moveTo>
                  <a:cubicBezTo>
                    <a:pt x="250" y="627"/>
                    <a:pt x="264" y="620"/>
                    <a:pt x="262" y="607"/>
                  </a:cubicBezTo>
                  <a:cubicBezTo>
                    <a:pt x="255" y="606"/>
                    <a:pt x="254" y="613"/>
                    <a:pt x="251" y="618"/>
                  </a:cubicBezTo>
                  <a:cubicBezTo>
                    <a:pt x="247" y="616"/>
                    <a:pt x="251" y="615"/>
                    <a:pt x="251" y="611"/>
                  </a:cubicBezTo>
                  <a:cubicBezTo>
                    <a:pt x="250" y="605"/>
                    <a:pt x="254" y="604"/>
                    <a:pt x="254" y="599"/>
                  </a:cubicBezTo>
                  <a:cubicBezTo>
                    <a:pt x="251" y="594"/>
                    <a:pt x="249" y="579"/>
                    <a:pt x="251" y="570"/>
                  </a:cubicBezTo>
                  <a:cubicBezTo>
                    <a:pt x="251" y="569"/>
                    <a:pt x="254" y="570"/>
                    <a:pt x="254" y="566"/>
                  </a:cubicBezTo>
                  <a:cubicBezTo>
                    <a:pt x="254" y="560"/>
                    <a:pt x="255" y="559"/>
                    <a:pt x="259" y="559"/>
                  </a:cubicBezTo>
                  <a:cubicBezTo>
                    <a:pt x="260" y="566"/>
                    <a:pt x="257" y="569"/>
                    <a:pt x="257" y="574"/>
                  </a:cubicBezTo>
                  <a:cubicBezTo>
                    <a:pt x="258" y="582"/>
                    <a:pt x="261" y="569"/>
                    <a:pt x="265" y="577"/>
                  </a:cubicBezTo>
                  <a:cubicBezTo>
                    <a:pt x="261" y="589"/>
                    <a:pt x="265" y="592"/>
                    <a:pt x="262" y="599"/>
                  </a:cubicBezTo>
                  <a:cubicBezTo>
                    <a:pt x="260" y="611"/>
                    <a:pt x="269" y="607"/>
                    <a:pt x="267" y="618"/>
                  </a:cubicBezTo>
                  <a:cubicBezTo>
                    <a:pt x="258" y="618"/>
                    <a:pt x="267" y="623"/>
                    <a:pt x="262" y="633"/>
                  </a:cubicBezTo>
                  <a:close/>
                  <a:moveTo>
                    <a:pt x="265" y="666"/>
                  </a:moveTo>
                  <a:cubicBezTo>
                    <a:pt x="269" y="667"/>
                    <a:pt x="270" y="662"/>
                    <a:pt x="275" y="662"/>
                  </a:cubicBezTo>
                  <a:cubicBezTo>
                    <a:pt x="273" y="664"/>
                    <a:pt x="264" y="682"/>
                    <a:pt x="265" y="666"/>
                  </a:cubicBezTo>
                  <a:close/>
                  <a:moveTo>
                    <a:pt x="278" y="766"/>
                  </a:moveTo>
                  <a:cubicBezTo>
                    <a:pt x="273" y="766"/>
                    <a:pt x="272" y="761"/>
                    <a:pt x="267" y="762"/>
                  </a:cubicBezTo>
                  <a:cubicBezTo>
                    <a:pt x="268" y="758"/>
                    <a:pt x="273" y="758"/>
                    <a:pt x="273" y="762"/>
                  </a:cubicBezTo>
                  <a:cubicBezTo>
                    <a:pt x="275" y="761"/>
                    <a:pt x="278" y="759"/>
                    <a:pt x="278" y="755"/>
                  </a:cubicBezTo>
                  <a:cubicBezTo>
                    <a:pt x="283" y="745"/>
                    <a:pt x="278" y="761"/>
                    <a:pt x="278" y="766"/>
                  </a:cubicBezTo>
                  <a:close/>
                  <a:moveTo>
                    <a:pt x="275" y="721"/>
                  </a:moveTo>
                  <a:cubicBezTo>
                    <a:pt x="275" y="717"/>
                    <a:pt x="280" y="716"/>
                    <a:pt x="281" y="714"/>
                  </a:cubicBezTo>
                  <a:cubicBezTo>
                    <a:pt x="282" y="710"/>
                    <a:pt x="272" y="697"/>
                    <a:pt x="283" y="699"/>
                  </a:cubicBezTo>
                  <a:cubicBezTo>
                    <a:pt x="283" y="702"/>
                    <a:pt x="281" y="703"/>
                    <a:pt x="281" y="707"/>
                  </a:cubicBezTo>
                  <a:cubicBezTo>
                    <a:pt x="279" y="713"/>
                    <a:pt x="288" y="712"/>
                    <a:pt x="289" y="714"/>
                  </a:cubicBezTo>
                  <a:cubicBezTo>
                    <a:pt x="290" y="718"/>
                    <a:pt x="284" y="717"/>
                    <a:pt x="283" y="718"/>
                  </a:cubicBezTo>
                  <a:cubicBezTo>
                    <a:pt x="282" y="723"/>
                    <a:pt x="292" y="724"/>
                    <a:pt x="289" y="733"/>
                  </a:cubicBezTo>
                  <a:cubicBezTo>
                    <a:pt x="279" y="737"/>
                    <a:pt x="285" y="719"/>
                    <a:pt x="275" y="721"/>
                  </a:cubicBezTo>
                  <a:close/>
                  <a:moveTo>
                    <a:pt x="281" y="766"/>
                  </a:moveTo>
                  <a:cubicBezTo>
                    <a:pt x="281" y="759"/>
                    <a:pt x="288" y="761"/>
                    <a:pt x="286" y="751"/>
                  </a:cubicBezTo>
                  <a:cubicBezTo>
                    <a:pt x="292" y="753"/>
                    <a:pt x="290" y="773"/>
                    <a:pt x="281" y="766"/>
                  </a:cubicBezTo>
                  <a:close/>
                  <a:moveTo>
                    <a:pt x="286" y="648"/>
                  </a:moveTo>
                  <a:cubicBezTo>
                    <a:pt x="286" y="643"/>
                    <a:pt x="286" y="638"/>
                    <a:pt x="286" y="633"/>
                  </a:cubicBezTo>
                  <a:cubicBezTo>
                    <a:pt x="289" y="634"/>
                    <a:pt x="291" y="636"/>
                    <a:pt x="292" y="640"/>
                  </a:cubicBezTo>
                  <a:cubicBezTo>
                    <a:pt x="294" y="640"/>
                    <a:pt x="294" y="636"/>
                    <a:pt x="294" y="633"/>
                  </a:cubicBezTo>
                  <a:cubicBezTo>
                    <a:pt x="304" y="636"/>
                    <a:pt x="296" y="650"/>
                    <a:pt x="286" y="648"/>
                  </a:cubicBezTo>
                  <a:close/>
                  <a:moveTo>
                    <a:pt x="297" y="777"/>
                  </a:moveTo>
                  <a:cubicBezTo>
                    <a:pt x="298" y="784"/>
                    <a:pt x="296" y="789"/>
                    <a:pt x="292" y="788"/>
                  </a:cubicBezTo>
                  <a:cubicBezTo>
                    <a:pt x="292" y="782"/>
                    <a:pt x="292" y="776"/>
                    <a:pt x="292" y="770"/>
                  </a:cubicBezTo>
                  <a:cubicBezTo>
                    <a:pt x="294" y="772"/>
                    <a:pt x="299" y="775"/>
                    <a:pt x="300" y="770"/>
                  </a:cubicBezTo>
                  <a:cubicBezTo>
                    <a:pt x="304" y="772"/>
                    <a:pt x="301" y="778"/>
                    <a:pt x="297" y="777"/>
                  </a:cubicBezTo>
                  <a:close/>
                  <a:moveTo>
                    <a:pt x="300" y="755"/>
                  </a:moveTo>
                  <a:cubicBezTo>
                    <a:pt x="300" y="755"/>
                    <a:pt x="300" y="750"/>
                    <a:pt x="302" y="751"/>
                  </a:cubicBezTo>
                  <a:cubicBezTo>
                    <a:pt x="300" y="751"/>
                    <a:pt x="306" y="756"/>
                    <a:pt x="305" y="755"/>
                  </a:cubicBezTo>
                  <a:cubicBezTo>
                    <a:pt x="307" y="759"/>
                    <a:pt x="286" y="756"/>
                    <a:pt x="300" y="755"/>
                  </a:cubicBezTo>
                  <a:close/>
                  <a:moveTo>
                    <a:pt x="361" y="825"/>
                  </a:moveTo>
                  <a:cubicBezTo>
                    <a:pt x="360" y="824"/>
                    <a:pt x="355" y="827"/>
                    <a:pt x="353" y="825"/>
                  </a:cubicBezTo>
                  <a:cubicBezTo>
                    <a:pt x="353" y="824"/>
                    <a:pt x="354" y="818"/>
                    <a:pt x="353" y="818"/>
                  </a:cubicBezTo>
                  <a:cubicBezTo>
                    <a:pt x="348" y="814"/>
                    <a:pt x="338" y="818"/>
                    <a:pt x="337" y="807"/>
                  </a:cubicBezTo>
                  <a:cubicBezTo>
                    <a:pt x="325" y="808"/>
                    <a:pt x="318" y="804"/>
                    <a:pt x="316" y="792"/>
                  </a:cubicBezTo>
                  <a:cubicBezTo>
                    <a:pt x="312" y="796"/>
                    <a:pt x="309" y="796"/>
                    <a:pt x="305" y="792"/>
                  </a:cubicBezTo>
                  <a:cubicBezTo>
                    <a:pt x="304" y="780"/>
                    <a:pt x="310" y="776"/>
                    <a:pt x="308" y="762"/>
                  </a:cubicBezTo>
                  <a:cubicBezTo>
                    <a:pt x="311" y="748"/>
                    <a:pt x="310" y="801"/>
                    <a:pt x="316" y="773"/>
                  </a:cubicBezTo>
                  <a:cubicBezTo>
                    <a:pt x="325" y="774"/>
                    <a:pt x="309" y="789"/>
                    <a:pt x="318" y="792"/>
                  </a:cubicBezTo>
                  <a:cubicBezTo>
                    <a:pt x="322" y="787"/>
                    <a:pt x="322" y="778"/>
                    <a:pt x="326" y="773"/>
                  </a:cubicBezTo>
                  <a:cubicBezTo>
                    <a:pt x="326" y="771"/>
                    <a:pt x="326" y="768"/>
                    <a:pt x="326" y="766"/>
                  </a:cubicBezTo>
                  <a:cubicBezTo>
                    <a:pt x="330" y="766"/>
                    <a:pt x="329" y="773"/>
                    <a:pt x="329" y="777"/>
                  </a:cubicBezTo>
                  <a:cubicBezTo>
                    <a:pt x="329" y="781"/>
                    <a:pt x="333" y="779"/>
                    <a:pt x="335" y="781"/>
                  </a:cubicBezTo>
                  <a:cubicBezTo>
                    <a:pt x="337" y="785"/>
                    <a:pt x="334" y="793"/>
                    <a:pt x="337" y="795"/>
                  </a:cubicBezTo>
                  <a:cubicBezTo>
                    <a:pt x="342" y="794"/>
                    <a:pt x="339" y="781"/>
                    <a:pt x="348" y="784"/>
                  </a:cubicBezTo>
                  <a:cubicBezTo>
                    <a:pt x="347" y="789"/>
                    <a:pt x="343" y="790"/>
                    <a:pt x="343" y="795"/>
                  </a:cubicBezTo>
                  <a:cubicBezTo>
                    <a:pt x="343" y="803"/>
                    <a:pt x="352" y="791"/>
                    <a:pt x="359" y="795"/>
                  </a:cubicBezTo>
                  <a:cubicBezTo>
                    <a:pt x="359" y="813"/>
                    <a:pt x="366" y="808"/>
                    <a:pt x="361" y="825"/>
                  </a:cubicBezTo>
                  <a:close/>
                  <a:moveTo>
                    <a:pt x="415" y="851"/>
                  </a:moveTo>
                  <a:cubicBezTo>
                    <a:pt x="407" y="853"/>
                    <a:pt x="414" y="833"/>
                    <a:pt x="404" y="836"/>
                  </a:cubicBezTo>
                  <a:cubicBezTo>
                    <a:pt x="400" y="838"/>
                    <a:pt x="405" y="841"/>
                    <a:pt x="404" y="847"/>
                  </a:cubicBezTo>
                  <a:cubicBezTo>
                    <a:pt x="399" y="847"/>
                    <a:pt x="401" y="840"/>
                    <a:pt x="399" y="836"/>
                  </a:cubicBezTo>
                  <a:cubicBezTo>
                    <a:pt x="396" y="830"/>
                    <a:pt x="395" y="830"/>
                    <a:pt x="391" y="825"/>
                  </a:cubicBezTo>
                  <a:cubicBezTo>
                    <a:pt x="387" y="828"/>
                    <a:pt x="392" y="831"/>
                    <a:pt x="388" y="840"/>
                  </a:cubicBezTo>
                  <a:cubicBezTo>
                    <a:pt x="386" y="840"/>
                    <a:pt x="386" y="835"/>
                    <a:pt x="386" y="832"/>
                  </a:cubicBezTo>
                  <a:cubicBezTo>
                    <a:pt x="378" y="829"/>
                    <a:pt x="379" y="838"/>
                    <a:pt x="372" y="836"/>
                  </a:cubicBezTo>
                  <a:cubicBezTo>
                    <a:pt x="371" y="835"/>
                    <a:pt x="368" y="818"/>
                    <a:pt x="367" y="829"/>
                  </a:cubicBezTo>
                  <a:cubicBezTo>
                    <a:pt x="361" y="830"/>
                    <a:pt x="367" y="818"/>
                    <a:pt x="370" y="818"/>
                  </a:cubicBezTo>
                  <a:cubicBezTo>
                    <a:pt x="367" y="809"/>
                    <a:pt x="365" y="798"/>
                    <a:pt x="378" y="795"/>
                  </a:cubicBezTo>
                  <a:cubicBezTo>
                    <a:pt x="376" y="803"/>
                    <a:pt x="383" y="804"/>
                    <a:pt x="383" y="799"/>
                  </a:cubicBezTo>
                  <a:cubicBezTo>
                    <a:pt x="388" y="802"/>
                    <a:pt x="383" y="806"/>
                    <a:pt x="383" y="810"/>
                  </a:cubicBezTo>
                  <a:cubicBezTo>
                    <a:pt x="386" y="817"/>
                    <a:pt x="386" y="807"/>
                    <a:pt x="391" y="814"/>
                  </a:cubicBezTo>
                  <a:cubicBezTo>
                    <a:pt x="397" y="822"/>
                    <a:pt x="394" y="802"/>
                    <a:pt x="402" y="807"/>
                  </a:cubicBezTo>
                  <a:cubicBezTo>
                    <a:pt x="403" y="816"/>
                    <a:pt x="403" y="827"/>
                    <a:pt x="407" y="832"/>
                  </a:cubicBezTo>
                  <a:cubicBezTo>
                    <a:pt x="415" y="832"/>
                    <a:pt x="401" y="822"/>
                    <a:pt x="412" y="825"/>
                  </a:cubicBezTo>
                  <a:cubicBezTo>
                    <a:pt x="410" y="838"/>
                    <a:pt x="417" y="839"/>
                    <a:pt x="415" y="851"/>
                  </a:cubicBezTo>
                  <a:close/>
                  <a:moveTo>
                    <a:pt x="466" y="866"/>
                  </a:moveTo>
                  <a:cubicBezTo>
                    <a:pt x="465" y="863"/>
                    <a:pt x="475" y="860"/>
                    <a:pt x="477" y="862"/>
                  </a:cubicBezTo>
                  <a:cubicBezTo>
                    <a:pt x="478" y="864"/>
                    <a:pt x="470" y="873"/>
                    <a:pt x="466" y="866"/>
                  </a:cubicBezTo>
                  <a:close/>
                  <a:moveTo>
                    <a:pt x="485" y="807"/>
                  </a:moveTo>
                  <a:cubicBezTo>
                    <a:pt x="482" y="797"/>
                    <a:pt x="477" y="818"/>
                    <a:pt x="472" y="818"/>
                  </a:cubicBezTo>
                  <a:cubicBezTo>
                    <a:pt x="468" y="837"/>
                    <a:pt x="482" y="845"/>
                    <a:pt x="474" y="858"/>
                  </a:cubicBezTo>
                  <a:cubicBezTo>
                    <a:pt x="469" y="858"/>
                    <a:pt x="473" y="846"/>
                    <a:pt x="469" y="844"/>
                  </a:cubicBezTo>
                  <a:cubicBezTo>
                    <a:pt x="464" y="843"/>
                    <a:pt x="468" y="855"/>
                    <a:pt x="466" y="858"/>
                  </a:cubicBezTo>
                  <a:cubicBezTo>
                    <a:pt x="466" y="859"/>
                    <a:pt x="454" y="847"/>
                    <a:pt x="458" y="862"/>
                  </a:cubicBezTo>
                  <a:cubicBezTo>
                    <a:pt x="451" y="866"/>
                    <a:pt x="445" y="851"/>
                    <a:pt x="442" y="862"/>
                  </a:cubicBezTo>
                  <a:cubicBezTo>
                    <a:pt x="438" y="857"/>
                    <a:pt x="439" y="844"/>
                    <a:pt x="431" y="844"/>
                  </a:cubicBezTo>
                  <a:cubicBezTo>
                    <a:pt x="428" y="844"/>
                    <a:pt x="429" y="851"/>
                    <a:pt x="431" y="851"/>
                  </a:cubicBezTo>
                  <a:cubicBezTo>
                    <a:pt x="430" y="862"/>
                    <a:pt x="418" y="849"/>
                    <a:pt x="418" y="847"/>
                  </a:cubicBezTo>
                  <a:cubicBezTo>
                    <a:pt x="418" y="845"/>
                    <a:pt x="426" y="835"/>
                    <a:pt x="415" y="836"/>
                  </a:cubicBezTo>
                  <a:cubicBezTo>
                    <a:pt x="415" y="829"/>
                    <a:pt x="419" y="828"/>
                    <a:pt x="418" y="821"/>
                  </a:cubicBezTo>
                  <a:cubicBezTo>
                    <a:pt x="428" y="819"/>
                    <a:pt x="430" y="827"/>
                    <a:pt x="429" y="840"/>
                  </a:cubicBezTo>
                  <a:cubicBezTo>
                    <a:pt x="431" y="838"/>
                    <a:pt x="433" y="836"/>
                    <a:pt x="437" y="836"/>
                  </a:cubicBezTo>
                  <a:cubicBezTo>
                    <a:pt x="437" y="830"/>
                    <a:pt x="435" y="827"/>
                    <a:pt x="431" y="825"/>
                  </a:cubicBezTo>
                  <a:cubicBezTo>
                    <a:pt x="431" y="814"/>
                    <a:pt x="439" y="834"/>
                    <a:pt x="439" y="821"/>
                  </a:cubicBezTo>
                  <a:cubicBezTo>
                    <a:pt x="444" y="822"/>
                    <a:pt x="441" y="834"/>
                    <a:pt x="445" y="836"/>
                  </a:cubicBezTo>
                  <a:cubicBezTo>
                    <a:pt x="447" y="834"/>
                    <a:pt x="448" y="828"/>
                    <a:pt x="453" y="829"/>
                  </a:cubicBezTo>
                  <a:cubicBezTo>
                    <a:pt x="455" y="839"/>
                    <a:pt x="447" y="836"/>
                    <a:pt x="447" y="844"/>
                  </a:cubicBezTo>
                  <a:cubicBezTo>
                    <a:pt x="450" y="855"/>
                    <a:pt x="455" y="832"/>
                    <a:pt x="458" y="836"/>
                  </a:cubicBezTo>
                  <a:cubicBezTo>
                    <a:pt x="462" y="842"/>
                    <a:pt x="461" y="833"/>
                    <a:pt x="469" y="832"/>
                  </a:cubicBezTo>
                  <a:cubicBezTo>
                    <a:pt x="470" y="824"/>
                    <a:pt x="464" y="824"/>
                    <a:pt x="466" y="814"/>
                  </a:cubicBezTo>
                  <a:cubicBezTo>
                    <a:pt x="475" y="817"/>
                    <a:pt x="471" y="804"/>
                    <a:pt x="480" y="807"/>
                  </a:cubicBezTo>
                  <a:cubicBezTo>
                    <a:pt x="479" y="802"/>
                    <a:pt x="475" y="803"/>
                    <a:pt x="472" y="803"/>
                  </a:cubicBezTo>
                  <a:cubicBezTo>
                    <a:pt x="478" y="789"/>
                    <a:pt x="490" y="800"/>
                    <a:pt x="496" y="807"/>
                  </a:cubicBezTo>
                  <a:cubicBezTo>
                    <a:pt x="497" y="820"/>
                    <a:pt x="478" y="810"/>
                    <a:pt x="485" y="807"/>
                  </a:cubicBezTo>
                  <a:close/>
                  <a:moveTo>
                    <a:pt x="493" y="858"/>
                  </a:moveTo>
                  <a:cubicBezTo>
                    <a:pt x="490" y="857"/>
                    <a:pt x="488" y="854"/>
                    <a:pt x="488" y="847"/>
                  </a:cubicBezTo>
                  <a:cubicBezTo>
                    <a:pt x="491" y="849"/>
                    <a:pt x="493" y="852"/>
                    <a:pt x="493" y="858"/>
                  </a:cubicBezTo>
                  <a:close/>
                  <a:moveTo>
                    <a:pt x="501" y="877"/>
                  </a:moveTo>
                  <a:cubicBezTo>
                    <a:pt x="499" y="877"/>
                    <a:pt x="499" y="872"/>
                    <a:pt x="499" y="869"/>
                  </a:cubicBezTo>
                  <a:cubicBezTo>
                    <a:pt x="494" y="869"/>
                    <a:pt x="493" y="874"/>
                    <a:pt x="488" y="873"/>
                  </a:cubicBezTo>
                  <a:cubicBezTo>
                    <a:pt x="488" y="869"/>
                    <a:pt x="488" y="866"/>
                    <a:pt x="488" y="862"/>
                  </a:cubicBezTo>
                  <a:cubicBezTo>
                    <a:pt x="492" y="867"/>
                    <a:pt x="510" y="865"/>
                    <a:pt x="501" y="877"/>
                  </a:cubicBezTo>
                  <a:close/>
                  <a:moveTo>
                    <a:pt x="590" y="45"/>
                  </a:moveTo>
                  <a:cubicBezTo>
                    <a:pt x="589" y="30"/>
                    <a:pt x="606" y="42"/>
                    <a:pt x="606" y="30"/>
                  </a:cubicBezTo>
                  <a:cubicBezTo>
                    <a:pt x="613" y="35"/>
                    <a:pt x="593" y="53"/>
                    <a:pt x="590" y="45"/>
                  </a:cubicBezTo>
                  <a:close/>
                  <a:moveTo>
                    <a:pt x="612" y="137"/>
                  </a:moveTo>
                  <a:cubicBezTo>
                    <a:pt x="609" y="136"/>
                    <a:pt x="609" y="133"/>
                    <a:pt x="606" y="133"/>
                  </a:cubicBezTo>
                  <a:cubicBezTo>
                    <a:pt x="606" y="125"/>
                    <a:pt x="619" y="130"/>
                    <a:pt x="612" y="137"/>
                  </a:cubicBezTo>
                  <a:close/>
                  <a:moveTo>
                    <a:pt x="636" y="126"/>
                  </a:moveTo>
                  <a:cubicBezTo>
                    <a:pt x="647" y="128"/>
                    <a:pt x="633" y="147"/>
                    <a:pt x="636" y="126"/>
                  </a:cubicBezTo>
                  <a:close/>
                  <a:moveTo>
                    <a:pt x="644" y="137"/>
                  </a:moveTo>
                  <a:cubicBezTo>
                    <a:pt x="645" y="127"/>
                    <a:pt x="658" y="120"/>
                    <a:pt x="657" y="137"/>
                  </a:cubicBezTo>
                  <a:cubicBezTo>
                    <a:pt x="652" y="144"/>
                    <a:pt x="652" y="135"/>
                    <a:pt x="644" y="137"/>
                  </a:cubicBezTo>
                  <a:close/>
                  <a:moveTo>
                    <a:pt x="708" y="137"/>
                  </a:moveTo>
                  <a:cubicBezTo>
                    <a:pt x="703" y="138"/>
                    <a:pt x="700" y="136"/>
                    <a:pt x="700" y="130"/>
                  </a:cubicBezTo>
                  <a:cubicBezTo>
                    <a:pt x="704" y="126"/>
                    <a:pt x="707" y="133"/>
                    <a:pt x="708" y="133"/>
                  </a:cubicBezTo>
                  <a:cubicBezTo>
                    <a:pt x="713" y="134"/>
                    <a:pt x="715" y="127"/>
                    <a:pt x="716" y="133"/>
                  </a:cubicBezTo>
                  <a:cubicBezTo>
                    <a:pt x="718" y="146"/>
                    <a:pt x="711" y="139"/>
                    <a:pt x="708" y="137"/>
                  </a:cubicBezTo>
                  <a:close/>
                  <a:moveTo>
                    <a:pt x="716" y="100"/>
                  </a:moveTo>
                  <a:cubicBezTo>
                    <a:pt x="719" y="100"/>
                    <a:pt x="722" y="100"/>
                    <a:pt x="724" y="100"/>
                  </a:cubicBezTo>
                  <a:cubicBezTo>
                    <a:pt x="723" y="111"/>
                    <a:pt x="696" y="99"/>
                    <a:pt x="716" y="100"/>
                  </a:cubicBezTo>
                  <a:close/>
                  <a:moveTo>
                    <a:pt x="792" y="115"/>
                  </a:moveTo>
                  <a:cubicBezTo>
                    <a:pt x="786" y="114"/>
                    <a:pt x="786" y="106"/>
                    <a:pt x="786" y="96"/>
                  </a:cubicBezTo>
                  <a:cubicBezTo>
                    <a:pt x="791" y="96"/>
                    <a:pt x="795" y="96"/>
                    <a:pt x="800" y="96"/>
                  </a:cubicBezTo>
                  <a:cubicBezTo>
                    <a:pt x="797" y="103"/>
                    <a:pt x="793" y="107"/>
                    <a:pt x="792" y="115"/>
                  </a:cubicBezTo>
                  <a:close/>
                  <a:moveTo>
                    <a:pt x="816" y="111"/>
                  </a:moveTo>
                  <a:cubicBezTo>
                    <a:pt x="812" y="108"/>
                    <a:pt x="810" y="102"/>
                    <a:pt x="810" y="93"/>
                  </a:cubicBezTo>
                  <a:cubicBezTo>
                    <a:pt x="815" y="90"/>
                    <a:pt x="820" y="87"/>
                    <a:pt x="827" y="85"/>
                  </a:cubicBezTo>
                  <a:cubicBezTo>
                    <a:pt x="830" y="104"/>
                    <a:pt x="818" y="101"/>
                    <a:pt x="816" y="111"/>
                  </a:cubicBezTo>
                  <a:close/>
                  <a:moveTo>
                    <a:pt x="827" y="126"/>
                  </a:moveTo>
                  <a:cubicBezTo>
                    <a:pt x="827" y="121"/>
                    <a:pt x="835" y="125"/>
                    <a:pt x="835" y="119"/>
                  </a:cubicBezTo>
                  <a:cubicBezTo>
                    <a:pt x="843" y="123"/>
                    <a:pt x="829" y="134"/>
                    <a:pt x="827" y="126"/>
                  </a:cubicBezTo>
                  <a:close/>
                  <a:moveTo>
                    <a:pt x="870" y="152"/>
                  </a:moveTo>
                  <a:cubicBezTo>
                    <a:pt x="867" y="153"/>
                    <a:pt x="865" y="157"/>
                    <a:pt x="862" y="156"/>
                  </a:cubicBezTo>
                  <a:cubicBezTo>
                    <a:pt x="861" y="156"/>
                    <a:pt x="861" y="152"/>
                    <a:pt x="859" y="152"/>
                  </a:cubicBezTo>
                  <a:cubicBezTo>
                    <a:pt x="857" y="152"/>
                    <a:pt x="855" y="147"/>
                    <a:pt x="851" y="148"/>
                  </a:cubicBezTo>
                  <a:cubicBezTo>
                    <a:pt x="853" y="142"/>
                    <a:pt x="873" y="142"/>
                    <a:pt x="875" y="148"/>
                  </a:cubicBezTo>
                  <a:cubicBezTo>
                    <a:pt x="875" y="159"/>
                    <a:pt x="873" y="151"/>
                    <a:pt x="870" y="152"/>
                  </a:cubicBezTo>
                  <a:close/>
                  <a:moveTo>
                    <a:pt x="859" y="133"/>
                  </a:moveTo>
                  <a:cubicBezTo>
                    <a:pt x="859" y="128"/>
                    <a:pt x="859" y="123"/>
                    <a:pt x="856" y="122"/>
                  </a:cubicBezTo>
                  <a:cubicBezTo>
                    <a:pt x="860" y="114"/>
                    <a:pt x="871" y="127"/>
                    <a:pt x="878" y="126"/>
                  </a:cubicBezTo>
                  <a:cubicBezTo>
                    <a:pt x="872" y="133"/>
                    <a:pt x="867" y="138"/>
                    <a:pt x="859" y="133"/>
                  </a:cubicBezTo>
                  <a:close/>
                  <a:moveTo>
                    <a:pt x="886" y="104"/>
                  </a:moveTo>
                  <a:cubicBezTo>
                    <a:pt x="884" y="104"/>
                    <a:pt x="882" y="104"/>
                    <a:pt x="880" y="104"/>
                  </a:cubicBezTo>
                  <a:cubicBezTo>
                    <a:pt x="880" y="101"/>
                    <a:pt x="880" y="99"/>
                    <a:pt x="880" y="96"/>
                  </a:cubicBezTo>
                  <a:cubicBezTo>
                    <a:pt x="882" y="96"/>
                    <a:pt x="884" y="96"/>
                    <a:pt x="886" y="96"/>
                  </a:cubicBezTo>
                  <a:cubicBezTo>
                    <a:pt x="886" y="99"/>
                    <a:pt x="886" y="101"/>
                    <a:pt x="886" y="104"/>
                  </a:cubicBezTo>
                  <a:close/>
                  <a:moveTo>
                    <a:pt x="913" y="1239"/>
                  </a:moveTo>
                  <a:cubicBezTo>
                    <a:pt x="909" y="1234"/>
                    <a:pt x="912" y="1233"/>
                    <a:pt x="913" y="1228"/>
                  </a:cubicBezTo>
                  <a:cubicBezTo>
                    <a:pt x="916" y="1229"/>
                    <a:pt x="914" y="1235"/>
                    <a:pt x="918" y="1235"/>
                  </a:cubicBezTo>
                  <a:cubicBezTo>
                    <a:pt x="918" y="1239"/>
                    <a:pt x="915" y="1238"/>
                    <a:pt x="913" y="1239"/>
                  </a:cubicBezTo>
                  <a:close/>
                  <a:moveTo>
                    <a:pt x="926" y="119"/>
                  </a:moveTo>
                  <a:cubicBezTo>
                    <a:pt x="923" y="118"/>
                    <a:pt x="924" y="112"/>
                    <a:pt x="923" y="108"/>
                  </a:cubicBezTo>
                  <a:cubicBezTo>
                    <a:pt x="926" y="108"/>
                    <a:pt x="929" y="108"/>
                    <a:pt x="931" y="108"/>
                  </a:cubicBezTo>
                  <a:cubicBezTo>
                    <a:pt x="931" y="112"/>
                    <a:pt x="927" y="113"/>
                    <a:pt x="926" y="119"/>
                  </a:cubicBezTo>
                  <a:close/>
                  <a:moveTo>
                    <a:pt x="931" y="673"/>
                  </a:moveTo>
                  <a:cubicBezTo>
                    <a:pt x="928" y="672"/>
                    <a:pt x="929" y="664"/>
                    <a:pt x="929" y="659"/>
                  </a:cubicBezTo>
                  <a:cubicBezTo>
                    <a:pt x="935" y="660"/>
                    <a:pt x="935" y="668"/>
                    <a:pt x="931" y="673"/>
                  </a:cubicBezTo>
                  <a:close/>
                  <a:moveTo>
                    <a:pt x="956" y="385"/>
                  </a:moveTo>
                  <a:cubicBezTo>
                    <a:pt x="954" y="385"/>
                    <a:pt x="952" y="385"/>
                    <a:pt x="950" y="385"/>
                  </a:cubicBezTo>
                  <a:cubicBezTo>
                    <a:pt x="951" y="382"/>
                    <a:pt x="949" y="381"/>
                    <a:pt x="948" y="381"/>
                  </a:cubicBezTo>
                  <a:cubicBezTo>
                    <a:pt x="947" y="374"/>
                    <a:pt x="960" y="376"/>
                    <a:pt x="956" y="385"/>
                  </a:cubicBezTo>
                  <a:close/>
                  <a:moveTo>
                    <a:pt x="977" y="111"/>
                  </a:moveTo>
                  <a:cubicBezTo>
                    <a:pt x="977" y="108"/>
                    <a:pt x="977" y="104"/>
                    <a:pt x="977" y="100"/>
                  </a:cubicBezTo>
                  <a:cubicBezTo>
                    <a:pt x="980" y="100"/>
                    <a:pt x="983" y="100"/>
                    <a:pt x="985" y="100"/>
                  </a:cubicBezTo>
                  <a:cubicBezTo>
                    <a:pt x="982" y="104"/>
                    <a:pt x="984" y="114"/>
                    <a:pt x="977" y="111"/>
                  </a:cubicBezTo>
                  <a:close/>
                  <a:moveTo>
                    <a:pt x="993" y="688"/>
                  </a:moveTo>
                  <a:cubicBezTo>
                    <a:pt x="993" y="684"/>
                    <a:pt x="993" y="681"/>
                    <a:pt x="993" y="677"/>
                  </a:cubicBezTo>
                  <a:cubicBezTo>
                    <a:pt x="1001" y="672"/>
                    <a:pt x="1001" y="694"/>
                    <a:pt x="993" y="688"/>
                  </a:cubicBezTo>
                  <a:close/>
                  <a:moveTo>
                    <a:pt x="1009" y="1254"/>
                  </a:moveTo>
                  <a:cubicBezTo>
                    <a:pt x="1008" y="1254"/>
                    <a:pt x="1006" y="1254"/>
                    <a:pt x="1004" y="1254"/>
                  </a:cubicBezTo>
                  <a:cubicBezTo>
                    <a:pt x="1003" y="1244"/>
                    <a:pt x="1005" y="1238"/>
                    <a:pt x="1012" y="1239"/>
                  </a:cubicBezTo>
                  <a:cubicBezTo>
                    <a:pt x="1010" y="1242"/>
                    <a:pt x="1008" y="1249"/>
                    <a:pt x="1012" y="1250"/>
                  </a:cubicBezTo>
                  <a:cubicBezTo>
                    <a:pt x="1013" y="1254"/>
                    <a:pt x="1011" y="1254"/>
                    <a:pt x="1009" y="1254"/>
                  </a:cubicBezTo>
                  <a:close/>
                  <a:moveTo>
                    <a:pt x="1039" y="145"/>
                  </a:moveTo>
                  <a:cubicBezTo>
                    <a:pt x="1031" y="158"/>
                    <a:pt x="1030" y="133"/>
                    <a:pt x="1039" y="145"/>
                  </a:cubicBezTo>
                  <a:close/>
                  <a:moveTo>
                    <a:pt x="1074" y="133"/>
                  </a:moveTo>
                  <a:cubicBezTo>
                    <a:pt x="1071" y="132"/>
                    <a:pt x="1068" y="129"/>
                    <a:pt x="1069" y="122"/>
                  </a:cubicBezTo>
                  <a:cubicBezTo>
                    <a:pt x="1071" y="123"/>
                    <a:pt x="1071" y="121"/>
                    <a:pt x="1071" y="119"/>
                  </a:cubicBezTo>
                  <a:cubicBezTo>
                    <a:pt x="1074" y="121"/>
                    <a:pt x="1076" y="123"/>
                    <a:pt x="1079" y="122"/>
                  </a:cubicBezTo>
                  <a:cubicBezTo>
                    <a:pt x="1078" y="126"/>
                    <a:pt x="1073" y="126"/>
                    <a:pt x="1074" y="133"/>
                  </a:cubicBezTo>
                  <a:close/>
                  <a:moveTo>
                    <a:pt x="1085" y="640"/>
                  </a:moveTo>
                  <a:cubicBezTo>
                    <a:pt x="1083" y="640"/>
                    <a:pt x="1081" y="640"/>
                    <a:pt x="1079" y="640"/>
                  </a:cubicBezTo>
                  <a:cubicBezTo>
                    <a:pt x="1079" y="638"/>
                    <a:pt x="1079" y="635"/>
                    <a:pt x="1079" y="633"/>
                  </a:cubicBezTo>
                  <a:cubicBezTo>
                    <a:pt x="1081" y="633"/>
                    <a:pt x="1083" y="633"/>
                    <a:pt x="1085" y="633"/>
                  </a:cubicBezTo>
                  <a:cubicBezTo>
                    <a:pt x="1085" y="635"/>
                    <a:pt x="1085" y="638"/>
                    <a:pt x="1085" y="640"/>
                  </a:cubicBezTo>
                  <a:close/>
                  <a:moveTo>
                    <a:pt x="1096" y="1254"/>
                  </a:moveTo>
                  <a:cubicBezTo>
                    <a:pt x="1094" y="1254"/>
                    <a:pt x="1092" y="1254"/>
                    <a:pt x="1090" y="1254"/>
                  </a:cubicBezTo>
                  <a:cubicBezTo>
                    <a:pt x="1090" y="1252"/>
                    <a:pt x="1090" y="1249"/>
                    <a:pt x="1090" y="1247"/>
                  </a:cubicBezTo>
                  <a:cubicBezTo>
                    <a:pt x="1092" y="1247"/>
                    <a:pt x="1094" y="1247"/>
                    <a:pt x="1096" y="1247"/>
                  </a:cubicBezTo>
                  <a:cubicBezTo>
                    <a:pt x="1096" y="1249"/>
                    <a:pt x="1096" y="1252"/>
                    <a:pt x="1096" y="1254"/>
                  </a:cubicBezTo>
                  <a:close/>
                  <a:moveTo>
                    <a:pt x="1101" y="170"/>
                  </a:moveTo>
                  <a:cubicBezTo>
                    <a:pt x="1109" y="167"/>
                    <a:pt x="1111" y="174"/>
                    <a:pt x="1114" y="178"/>
                  </a:cubicBezTo>
                  <a:cubicBezTo>
                    <a:pt x="1116" y="181"/>
                    <a:pt x="1098" y="181"/>
                    <a:pt x="1101" y="170"/>
                  </a:cubicBezTo>
                  <a:close/>
                  <a:moveTo>
                    <a:pt x="1117" y="119"/>
                  </a:moveTo>
                  <a:cubicBezTo>
                    <a:pt x="1117" y="115"/>
                    <a:pt x="1120" y="116"/>
                    <a:pt x="1122" y="115"/>
                  </a:cubicBezTo>
                  <a:cubicBezTo>
                    <a:pt x="1125" y="115"/>
                    <a:pt x="1128" y="115"/>
                    <a:pt x="1131" y="115"/>
                  </a:cubicBezTo>
                  <a:cubicBezTo>
                    <a:pt x="1131" y="123"/>
                    <a:pt x="1121" y="117"/>
                    <a:pt x="1117" y="119"/>
                  </a:cubicBezTo>
                  <a:close/>
                  <a:moveTo>
                    <a:pt x="1125" y="1265"/>
                  </a:moveTo>
                  <a:cubicBezTo>
                    <a:pt x="1118" y="1258"/>
                    <a:pt x="1128" y="1249"/>
                    <a:pt x="1122" y="1239"/>
                  </a:cubicBezTo>
                  <a:cubicBezTo>
                    <a:pt x="1135" y="1240"/>
                    <a:pt x="1123" y="1256"/>
                    <a:pt x="1125" y="1265"/>
                  </a:cubicBezTo>
                  <a:close/>
                  <a:moveTo>
                    <a:pt x="1147" y="178"/>
                  </a:moveTo>
                  <a:cubicBezTo>
                    <a:pt x="1140" y="190"/>
                    <a:pt x="1134" y="168"/>
                    <a:pt x="1147" y="178"/>
                  </a:cubicBezTo>
                  <a:close/>
                  <a:moveTo>
                    <a:pt x="1171" y="189"/>
                  </a:moveTo>
                  <a:cubicBezTo>
                    <a:pt x="1167" y="185"/>
                    <a:pt x="1161" y="185"/>
                    <a:pt x="1157" y="182"/>
                  </a:cubicBezTo>
                  <a:cubicBezTo>
                    <a:pt x="1159" y="174"/>
                    <a:pt x="1176" y="175"/>
                    <a:pt x="1171" y="189"/>
                  </a:cubicBezTo>
                  <a:close/>
                  <a:moveTo>
                    <a:pt x="1176" y="1217"/>
                  </a:moveTo>
                  <a:cubicBezTo>
                    <a:pt x="1176" y="1214"/>
                    <a:pt x="1181" y="1213"/>
                    <a:pt x="1184" y="1213"/>
                  </a:cubicBezTo>
                  <a:cubicBezTo>
                    <a:pt x="1183" y="1213"/>
                    <a:pt x="1190" y="1219"/>
                    <a:pt x="1190" y="1217"/>
                  </a:cubicBezTo>
                  <a:cubicBezTo>
                    <a:pt x="1192" y="1224"/>
                    <a:pt x="1181" y="1219"/>
                    <a:pt x="1176" y="1217"/>
                  </a:cubicBezTo>
                  <a:close/>
                  <a:moveTo>
                    <a:pt x="1187" y="592"/>
                  </a:moveTo>
                  <a:cubicBezTo>
                    <a:pt x="1190" y="580"/>
                    <a:pt x="1190" y="602"/>
                    <a:pt x="1190" y="607"/>
                  </a:cubicBezTo>
                  <a:cubicBezTo>
                    <a:pt x="1187" y="619"/>
                    <a:pt x="1187" y="597"/>
                    <a:pt x="1187" y="592"/>
                  </a:cubicBezTo>
                  <a:close/>
                  <a:moveTo>
                    <a:pt x="1192" y="577"/>
                  </a:moveTo>
                  <a:cubicBezTo>
                    <a:pt x="1191" y="577"/>
                    <a:pt x="1190" y="574"/>
                    <a:pt x="1190" y="574"/>
                  </a:cubicBezTo>
                  <a:cubicBezTo>
                    <a:pt x="1188" y="573"/>
                    <a:pt x="1186" y="576"/>
                    <a:pt x="1187" y="577"/>
                  </a:cubicBezTo>
                  <a:cubicBezTo>
                    <a:pt x="1185" y="575"/>
                    <a:pt x="1185" y="574"/>
                    <a:pt x="1187" y="574"/>
                  </a:cubicBezTo>
                  <a:cubicBezTo>
                    <a:pt x="1188" y="573"/>
                    <a:pt x="1189" y="569"/>
                    <a:pt x="1192" y="570"/>
                  </a:cubicBezTo>
                  <a:cubicBezTo>
                    <a:pt x="1192" y="570"/>
                    <a:pt x="1204" y="581"/>
                    <a:pt x="1192" y="577"/>
                  </a:cubicBezTo>
                  <a:close/>
                  <a:moveTo>
                    <a:pt x="1200" y="133"/>
                  </a:moveTo>
                  <a:cubicBezTo>
                    <a:pt x="1203" y="133"/>
                    <a:pt x="1203" y="137"/>
                    <a:pt x="1203" y="137"/>
                  </a:cubicBezTo>
                  <a:cubicBezTo>
                    <a:pt x="1207" y="137"/>
                    <a:pt x="1219" y="134"/>
                    <a:pt x="1217" y="145"/>
                  </a:cubicBezTo>
                  <a:cubicBezTo>
                    <a:pt x="1213" y="139"/>
                    <a:pt x="1205" y="141"/>
                    <a:pt x="1198" y="141"/>
                  </a:cubicBezTo>
                  <a:cubicBezTo>
                    <a:pt x="1199" y="141"/>
                    <a:pt x="1200" y="134"/>
                    <a:pt x="1200" y="133"/>
                  </a:cubicBezTo>
                  <a:close/>
                  <a:moveTo>
                    <a:pt x="1200" y="189"/>
                  </a:moveTo>
                  <a:cubicBezTo>
                    <a:pt x="1201" y="184"/>
                    <a:pt x="1207" y="186"/>
                    <a:pt x="1211" y="185"/>
                  </a:cubicBezTo>
                  <a:cubicBezTo>
                    <a:pt x="1210" y="194"/>
                    <a:pt x="1204" y="194"/>
                    <a:pt x="1200" y="189"/>
                  </a:cubicBezTo>
                  <a:close/>
                  <a:moveTo>
                    <a:pt x="1208" y="1269"/>
                  </a:moveTo>
                  <a:cubicBezTo>
                    <a:pt x="1205" y="1257"/>
                    <a:pt x="1213" y="1260"/>
                    <a:pt x="1214" y="1254"/>
                  </a:cubicBezTo>
                  <a:cubicBezTo>
                    <a:pt x="1217" y="1255"/>
                    <a:pt x="1216" y="1263"/>
                    <a:pt x="1217" y="1269"/>
                  </a:cubicBezTo>
                  <a:cubicBezTo>
                    <a:pt x="1214" y="1269"/>
                    <a:pt x="1211" y="1269"/>
                    <a:pt x="1208" y="1269"/>
                  </a:cubicBezTo>
                  <a:close/>
                  <a:moveTo>
                    <a:pt x="1214" y="237"/>
                  </a:moveTo>
                  <a:cubicBezTo>
                    <a:pt x="1213" y="243"/>
                    <a:pt x="1210" y="236"/>
                    <a:pt x="1206" y="237"/>
                  </a:cubicBezTo>
                  <a:cubicBezTo>
                    <a:pt x="1208" y="227"/>
                    <a:pt x="1202" y="227"/>
                    <a:pt x="1203" y="218"/>
                  </a:cubicBezTo>
                  <a:cubicBezTo>
                    <a:pt x="1206" y="217"/>
                    <a:pt x="1207" y="226"/>
                    <a:pt x="1208" y="226"/>
                  </a:cubicBezTo>
                  <a:cubicBezTo>
                    <a:pt x="1213" y="227"/>
                    <a:pt x="1215" y="211"/>
                    <a:pt x="1222" y="222"/>
                  </a:cubicBezTo>
                  <a:cubicBezTo>
                    <a:pt x="1220" y="227"/>
                    <a:pt x="1204" y="229"/>
                    <a:pt x="1214" y="237"/>
                  </a:cubicBezTo>
                  <a:close/>
                  <a:moveTo>
                    <a:pt x="1340" y="152"/>
                  </a:moveTo>
                  <a:cubicBezTo>
                    <a:pt x="1341" y="154"/>
                    <a:pt x="1333" y="158"/>
                    <a:pt x="1332" y="156"/>
                  </a:cubicBezTo>
                  <a:cubicBezTo>
                    <a:pt x="1332" y="155"/>
                    <a:pt x="1332" y="152"/>
                    <a:pt x="1332" y="152"/>
                  </a:cubicBezTo>
                  <a:cubicBezTo>
                    <a:pt x="1329" y="152"/>
                    <a:pt x="1324" y="159"/>
                    <a:pt x="1321" y="152"/>
                  </a:cubicBezTo>
                  <a:cubicBezTo>
                    <a:pt x="1323" y="144"/>
                    <a:pt x="1338" y="148"/>
                    <a:pt x="1340" y="152"/>
                  </a:cubicBezTo>
                  <a:close/>
                  <a:moveTo>
                    <a:pt x="1316" y="574"/>
                  </a:moveTo>
                  <a:cubicBezTo>
                    <a:pt x="1314" y="561"/>
                    <a:pt x="1320" y="559"/>
                    <a:pt x="1319" y="548"/>
                  </a:cubicBezTo>
                  <a:cubicBezTo>
                    <a:pt x="1328" y="549"/>
                    <a:pt x="1324" y="574"/>
                    <a:pt x="1316" y="574"/>
                  </a:cubicBezTo>
                  <a:close/>
                  <a:moveTo>
                    <a:pt x="1281" y="130"/>
                  </a:moveTo>
                  <a:cubicBezTo>
                    <a:pt x="1285" y="118"/>
                    <a:pt x="1285" y="140"/>
                    <a:pt x="1278" y="137"/>
                  </a:cubicBezTo>
                  <a:cubicBezTo>
                    <a:pt x="1273" y="134"/>
                    <a:pt x="1281" y="135"/>
                    <a:pt x="1281" y="130"/>
                  </a:cubicBezTo>
                  <a:close/>
                  <a:moveTo>
                    <a:pt x="1260" y="137"/>
                  </a:moveTo>
                  <a:cubicBezTo>
                    <a:pt x="1267" y="141"/>
                    <a:pt x="1273" y="146"/>
                    <a:pt x="1284" y="145"/>
                  </a:cubicBezTo>
                  <a:cubicBezTo>
                    <a:pt x="1286" y="157"/>
                    <a:pt x="1278" y="151"/>
                    <a:pt x="1276" y="148"/>
                  </a:cubicBezTo>
                  <a:cubicBezTo>
                    <a:pt x="1274" y="158"/>
                    <a:pt x="1277" y="162"/>
                    <a:pt x="1284" y="159"/>
                  </a:cubicBezTo>
                  <a:cubicBezTo>
                    <a:pt x="1294" y="168"/>
                    <a:pt x="1255" y="158"/>
                    <a:pt x="1265" y="167"/>
                  </a:cubicBezTo>
                  <a:cubicBezTo>
                    <a:pt x="1264" y="177"/>
                    <a:pt x="1256" y="167"/>
                    <a:pt x="1260" y="159"/>
                  </a:cubicBezTo>
                  <a:cubicBezTo>
                    <a:pt x="1257" y="159"/>
                    <a:pt x="1254" y="159"/>
                    <a:pt x="1251" y="159"/>
                  </a:cubicBezTo>
                  <a:cubicBezTo>
                    <a:pt x="1251" y="153"/>
                    <a:pt x="1268" y="153"/>
                    <a:pt x="1268" y="159"/>
                  </a:cubicBezTo>
                  <a:cubicBezTo>
                    <a:pt x="1270" y="157"/>
                    <a:pt x="1272" y="153"/>
                    <a:pt x="1273" y="148"/>
                  </a:cubicBezTo>
                  <a:cubicBezTo>
                    <a:pt x="1264" y="154"/>
                    <a:pt x="1261" y="150"/>
                    <a:pt x="1251" y="148"/>
                  </a:cubicBezTo>
                  <a:cubicBezTo>
                    <a:pt x="1247" y="135"/>
                    <a:pt x="1261" y="146"/>
                    <a:pt x="1260" y="137"/>
                  </a:cubicBezTo>
                  <a:close/>
                  <a:moveTo>
                    <a:pt x="1276" y="237"/>
                  </a:moveTo>
                  <a:cubicBezTo>
                    <a:pt x="1274" y="237"/>
                    <a:pt x="1272" y="237"/>
                    <a:pt x="1270" y="237"/>
                  </a:cubicBezTo>
                  <a:cubicBezTo>
                    <a:pt x="1270" y="231"/>
                    <a:pt x="1273" y="231"/>
                    <a:pt x="1273" y="226"/>
                  </a:cubicBezTo>
                  <a:cubicBezTo>
                    <a:pt x="1279" y="228"/>
                    <a:pt x="1279" y="232"/>
                    <a:pt x="1276" y="237"/>
                  </a:cubicBezTo>
                  <a:close/>
                  <a:moveTo>
                    <a:pt x="1260" y="237"/>
                  </a:moveTo>
                  <a:cubicBezTo>
                    <a:pt x="1255" y="238"/>
                    <a:pt x="1254" y="234"/>
                    <a:pt x="1254" y="230"/>
                  </a:cubicBezTo>
                  <a:cubicBezTo>
                    <a:pt x="1240" y="238"/>
                    <a:pt x="1262" y="214"/>
                    <a:pt x="1260" y="237"/>
                  </a:cubicBezTo>
                  <a:close/>
                  <a:moveTo>
                    <a:pt x="1254" y="614"/>
                  </a:moveTo>
                  <a:cubicBezTo>
                    <a:pt x="1248" y="625"/>
                    <a:pt x="1253" y="587"/>
                    <a:pt x="1254" y="581"/>
                  </a:cubicBezTo>
                  <a:cubicBezTo>
                    <a:pt x="1258" y="583"/>
                    <a:pt x="1259" y="586"/>
                    <a:pt x="1260" y="592"/>
                  </a:cubicBezTo>
                  <a:cubicBezTo>
                    <a:pt x="1260" y="600"/>
                    <a:pt x="1250" y="603"/>
                    <a:pt x="1254" y="614"/>
                  </a:cubicBezTo>
                  <a:close/>
                  <a:moveTo>
                    <a:pt x="1227" y="148"/>
                  </a:moveTo>
                  <a:cubicBezTo>
                    <a:pt x="1225" y="149"/>
                    <a:pt x="1225" y="147"/>
                    <a:pt x="1225" y="145"/>
                  </a:cubicBezTo>
                  <a:cubicBezTo>
                    <a:pt x="1225" y="142"/>
                    <a:pt x="1225" y="140"/>
                    <a:pt x="1225" y="137"/>
                  </a:cubicBezTo>
                  <a:cubicBezTo>
                    <a:pt x="1233" y="134"/>
                    <a:pt x="1234" y="141"/>
                    <a:pt x="1241" y="141"/>
                  </a:cubicBezTo>
                  <a:cubicBezTo>
                    <a:pt x="1239" y="145"/>
                    <a:pt x="1235" y="145"/>
                    <a:pt x="1235" y="152"/>
                  </a:cubicBezTo>
                  <a:cubicBezTo>
                    <a:pt x="1233" y="152"/>
                    <a:pt x="1230" y="136"/>
                    <a:pt x="1227" y="148"/>
                  </a:cubicBezTo>
                  <a:close/>
                  <a:moveTo>
                    <a:pt x="1230" y="588"/>
                  </a:moveTo>
                  <a:cubicBezTo>
                    <a:pt x="1229" y="580"/>
                    <a:pt x="1230" y="574"/>
                    <a:pt x="1233" y="570"/>
                  </a:cubicBezTo>
                  <a:cubicBezTo>
                    <a:pt x="1235" y="572"/>
                    <a:pt x="1237" y="574"/>
                    <a:pt x="1238" y="570"/>
                  </a:cubicBezTo>
                  <a:cubicBezTo>
                    <a:pt x="1244" y="574"/>
                    <a:pt x="1234" y="587"/>
                    <a:pt x="1238" y="599"/>
                  </a:cubicBezTo>
                  <a:cubicBezTo>
                    <a:pt x="1232" y="601"/>
                    <a:pt x="1240" y="583"/>
                    <a:pt x="1230" y="588"/>
                  </a:cubicBezTo>
                  <a:close/>
                  <a:moveTo>
                    <a:pt x="1238" y="1273"/>
                  </a:moveTo>
                  <a:cubicBezTo>
                    <a:pt x="1246" y="1259"/>
                    <a:pt x="1247" y="1284"/>
                    <a:pt x="1238" y="1273"/>
                  </a:cubicBezTo>
                  <a:close/>
                  <a:moveTo>
                    <a:pt x="1254" y="1239"/>
                  </a:moveTo>
                  <a:cubicBezTo>
                    <a:pt x="1257" y="1241"/>
                    <a:pt x="1260" y="1244"/>
                    <a:pt x="1260" y="1250"/>
                  </a:cubicBezTo>
                  <a:cubicBezTo>
                    <a:pt x="1256" y="1249"/>
                    <a:pt x="1254" y="1246"/>
                    <a:pt x="1254" y="1239"/>
                  </a:cubicBezTo>
                  <a:close/>
                  <a:moveTo>
                    <a:pt x="1260" y="1235"/>
                  </a:moveTo>
                  <a:cubicBezTo>
                    <a:pt x="1251" y="1233"/>
                    <a:pt x="1246" y="1228"/>
                    <a:pt x="1238" y="1225"/>
                  </a:cubicBezTo>
                  <a:cubicBezTo>
                    <a:pt x="1238" y="1215"/>
                    <a:pt x="1247" y="1223"/>
                    <a:pt x="1249" y="1225"/>
                  </a:cubicBezTo>
                  <a:cubicBezTo>
                    <a:pt x="1251" y="1224"/>
                    <a:pt x="1251" y="1220"/>
                    <a:pt x="1251" y="1217"/>
                  </a:cubicBezTo>
                  <a:cubicBezTo>
                    <a:pt x="1260" y="1215"/>
                    <a:pt x="1260" y="1225"/>
                    <a:pt x="1260" y="1235"/>
                  </a:cubicBezTo>
                  <a:close/>
                  <a:moveTo>
                    <a:pt x="1260" y="193"/>
                  </a:moveTo>
                  <a:cubicBezTo>
                    <a:pt x="1265" y="183"/>
                    <a:pt x="1269" y="196"/>
                    <a:pt x="1276" y="189"/>
                  </a:cubicBezTo>
                  <a:cubicBezTo>
                    <a:pt x="1278" y="203"/>
                    <a:pt x="1261" y="196"/>
                    <a:pt x="1260" y="193"/>
                  </a:cubicBezTo>
                  <a:close/>
                  <a:moveTo>
                    <a:pt x="1270" y="1261"/>
                  </a:moveTo>
                  <a:cubicBezTo>
                    <a:pt x="1274" y="1262"/>
                    <a:pt x="1271" y="1273"/>
                    <a:pt x="1276" y="1273"/>
                  </a:cubicBezTo>
                  <a:cubicBezTo>
                    <a:pt x="1274" y="1282"/>
                    <a:pt x="1268" y="1269"/>
                    <a:pt x="1270" y="1261"/>
                  </a:cubicBezTo>
                  <a:close/>
                  <a:moveTo>
                    <a:pt x="1284" y="1232"/>
                  </a:moveTo>
                  <a:cubicBezTo>
                    <a:pt x="1281" y="1228"/>
                    <a:pt x="1274" y="1231"/>
                    <a:pt x="1276" y="1221"/>
                  </a:cubicBezTo>
                  <a:cubicBezTo>
                    <a:pt x="1282" y="1220"/>
                    <a:pt x="1284" y="1224"/>
                    <a:pt x="1284" y="1232"/>
                  </a:cubicBezTo>
                  <a:close/>
                  <a:moveTo>
                    <a:pt x="1286" y="603"/>
                  </a:moveTo>
                  <a:cubicBezTo>
                    <a:pt x="1277" y="603"/>
                    <a:pt x="1292" y="591"/>
                    <a:pt x="1284" y="592"/>
                  </a:cubicBezTo>
                  <a:cubicBezTo>
                    <a:pt x="1290" y="581"/>
                    <a:pt x="1289" y="597"/>
                    <a:pt x="1286" y="603"/>
                  </a:cubicBezTo>
                  <a:close/>
                  <a:moveTo>
                    <a:pt x="1292" y="585"/>
                  </a:moveTo>
                  <a:cubicBezTo>
                    <a:pt x="1285" y="584"/>
                    <a:pt x="1286" y="572"/>
                    <a:pt x="1286" y="562"/>
                  </a:cubicBezTo>
                  <a:cubicBezTo>
                    <a:pt x="1296" y="559"/>
                    <a:pt x="1290" y="577"/>
                    <a:pt x="1292" y="585"/>
                  </a:cubicBezTo>
                  <a:close/>
                  <a:moveTo>
                    <a:pt x="1292" y="152"/>
                  </a:moveTo>
                  <a:cubicBezTo>
                    <a:pt x="1283" y="149"/>
                    <a:pt x="1317" y="141"/>
                    <a:pt x="1313" y="156"/>
                  </a:cubicBezTo>
                  <a:cubicBezTo>
                    <a:pt x="1309" y="150"/>
                    <a:pt x="1300" y="152"/>
                    <a:pt x="1292" y="152"/>
                  </a:cubicBezTo>
                  <a:close/>
                  <a:moveTo>
                    <a:pt x="1316" y="170"/>
                  </a:moveTo>
                  <a:cubicBezTo>
                    <a:pt x="1315" y="175"/>
                    <a:pt x="1313" y="178"/>
                    <a:pt x="1308" y="178"/>
                  </a:cubicBezTo>
                  <a:cubicBezTo>
                    <a:pt x="1309" y="173"/>
                    <a:pt x="1311" y="170"/>
                    <a:pt x="1316" y="170"/>
                  </a:cubicBezTo>
                  <a:close/>
                  <a:moveTo>
                    <a:pt x="1294" y="603"/>
                  </a:moveTo>
                  <a:cubicBezTo>
                    <a:pt x="1297" y="600"/>
                    <a:pt x="1297" y="595"/>
                    <a:pt x="1297" y="588"/>
                  </a:cubicBezTo>
                  <a:cubicBezTo>
                    <a:pt x="1305" y="589"/>
                    <a:pt x="1302" y="604"/>
                    <a:pt x="1294" y="603"/>
                  </a:cubicBezTo>
                  <a:close/>
                  <a:moveTo>
                    <a:pt x="1305" y="577"/>
                  </a:moveTo>
                  <a:cubicBezTo>
                    <a:pt x="1303" y="585"/>
                    <a:pt x="1304" y="585"/>
                    <a:pt x="1303" y="577"/>
                  </a:cubicBezTo>
                  <a:cubicBezTo>
                    <a:pt x="1303" y="569"/>
                    <a:pt x="1306" y="562"/>
                    <a:pt x="1308" y="555"/>
                  </a:cubicBezTo>
                  <a:cubicBezTo>
                    <a:pt x="1312" y="552"/>
                    <a:pt x="1308" y="570"/>
                    <a:pt x="1305" y="577"/>
                  </a:cubicBezTo>
                  <a:close/>
                  <a:moveTo>
                    <a:pt x="1300" y="200"/>
                  </a:moveTo>
                  <a:cubicBezTo>
                    <a:pt x="1301" y="192"/>
                    <a:pt x="1313" y="198"/>
                    <a:pt x="1319" y="196"/>
                  </a:cubicBezTo>
                  <a:cubicBezTo>
                    <a:pt x="1317" y="202"/>
                    <a:pt x="1315" y="206"/>
                    <a:pt x="1313" y="211"/>
                  </a:cubicBezTo>
                  <a:cubicBezTo>
                    <a:pt x="1306" y="211"/>
                    <a:pt x="1310" y="195"/>
                    <a:pt x="1300" y="200"/>
                  </a:cubicBezTo>
                  <a:close/>
                  <a:moveTo>
                    <a:pt x="1324" y="603"/>
                  </a:moveTo>
                  <a:cubicBezTo>
                    <a:pt x="1322" y="601"/>
                    <a:pt x="1317" y="597"/>
                    <a:pt x="1316" y="603"/>
                  </a:cubicBezTo>
                  <a:cubicBezTo>
                    <a:pt x="1313" y="602"/>
                    <a:pt x="1314" y="599"/>
                    <a:pt x="1316" y="599"/>
                  </a:cubicBezTo>
                  <a:cubicBezTo>
                    <a:pt x="1316" y="595"/>
                    <a:pt x="1315" y="593"/>
                    <a:pt x="1313" y="592"/>
                  </a:cubicBezTo>
                  <a:cubicBezTo>
                    <a:pt x="1316" y="582"/>
                    <a:pt x="1328" y="592"/>
                    <a:pt x="1324" y="603"/>
                  </a:cubicBezTo>
                  <a:close/>
                  <a:moveTo>
                    <a:pt x="1327" y="607"/>
                  </a:moveTo>
                  <a:cubicBezTo>
                    <a:pt x="1330" y="608"/>
                    <a:pt x="1329" y="614"/>
                    <a:pt x="1332" y="614"/>
                  </a:cubicBezTo>
                  <a:cubicBezTo>
                    <a:pt x="1331" y="624"/>
                    <a:pt x="1324" y="614"/>
                    <a:pt x="1327" y="607"/>
                  </a:cubicBezTo>
                  <a:close/>
                  <a:moveTo>
                    <a:pt x="1329" y="1235"/>
                  </a:moveTo>
                  <a:cubicBezTo>
                    <a:pt x="1329" y="1232"/>
                    <a:pt x="1329" y="1228"/>
                    <a:pt x="1329" y="1225"/>
                  </a:cubicBezTo>
                  <a:cubicBezTo>
                    <a:pt x="1337" y="1219"/>
                    <a:pt x="1337" y="1241"/>
                    <a:pt x="1329" y="1235"/>
                  </a:cubicBezTo>
                  <a:close/>
                  <a:moveTo>
                    <a:pt x="1329" y="555"/>
                  </a:moveTo>
                  <a:cubicBezTo>
                    <a:pt x="1329" y="551"/>
                    <a:pt x="1337" y="542"/>
                    <a:pt x="1338" y="551"/>
                  </a:cubicBezTo>
                  <a:cubicBezTo>
                    <a:pt x="1337" y="555"/>
                    <a:pt x="1339" y="555"/>
                    <a:pt x="1340" y="555"/>
                  </a:cubicBezTo>
                  <a:cubicBezTo>
                    <a:pt x="1338" y="566"/>
                    <a:pt x="1334" y="552"/>
                    <a:pt x="1329" y="555"/>
                  </a:cubicBezTo>
                  <a:close/>
                  <a:moveTo>
                    <a:pt x="1348" y="1232"/>
                  </a:moveTo>
                  <a:cubicBezTo>
                    <a:pt x="1348" y="1236"/>
                    <a:pt x="1349" y="1238"/>
                    <a:pt x="1351" y="1239"/>
                  </a:cubicBezTo>
                  <a:cubicBezTo>
                    <a:pt x="1346" y="1252"/>
                    <a:pt x="1347" y="1229"/>
                    <a:pt x="1338" y="1235"/>
                  </a:cubicBezTo>
                  <a:cubicBezTo>
                    <a:pt x="1338" y="1226"/>
                    <a:pt x="1347" y="1228"/>
                    <a:pt x="1354" y="1228"/>
                  </a:cubicBezTo>
                  <a:cubicBezTo>
                    <a:pt x="1354" y="1232"/>
                    <a:pt x="1350" y="1231"/>
                    <a:pt x="1348" y="1232"/>
                  </a:cubicBezTo>
                  <a:close/>
                  <a:moveTo>
                    <a:pt x="1628" y="326"/>
                  </a:moveTo>
                  <a:cubicBezTo>
                    <a:pt x="1627" y="327"/>
                    <a:pt x="1624" y="337"/>
                    <a:pt x="1623" y="337"/>
                  </a:cubicBezTo>
                  <a:cubicBezTo>
                    <a:pt x="1619" y="338"/>
                    <a:pt x="1619" y="324"/>
                    <a:pt x="1628" y="326"/>
                  </a:cubicBezTo>
                  <a:close/>
                  <a:moveTo>
                    <a:pt x="1628" y="1202"/>
                  </a:moveTo>
                  <a:cubicBezTo>
                    <a:pt x="1625" y="1201"/>
                    <a:pt x="1622" y="1198"/>
                    <a:pt x="1623" y="1191"/>
                  </a:cubicBezTo>
                  <a:cubicBezTo>
                    <a:pt x="1626" y="1193"/>
                    <a:pt x="1628" y="1196"/>
                    <a:pt x="1628" y="1202"/>
                  </a:cubicBezTo>
                  <a:close/>
                  <a:moveTo>
                    <a:pt x="1617" y="1235"/>
                  </a:moveTo>
                  <a:cubicBezTo>
                    <a:pt x="1611" y="1248"/>
                    <a:pt x="1604" y="1225"/>
                    <a:pt x="1617" y="1235"/>
                  </a:cubicBezTo>
                  <a:close/>
                  <a:moveTo>
                    <a:pt x="1609" y="1180"/>
                  </a:moveTo>
                  <a:cubicBezTo>
                    <a:pt x="1607" y="1179"/>
                    <a:pt x="1607" y="1182"/>
                    <a:pt x="1606" y="1184"/>
                  </a:cubicBezTo>
                  <a:cubicBezTo>
                    <a:pt x="1603" y="1183"/>
                    <a:pt x="1604" y="1177"/>
                    <a:pt x="1604" y="1173"/>
                  </a:cubicBezTo>
                  <a:cubicBezTo>
                    <a:pt x="1608" y="1171"/>
                    <a:pt x="1609" y="1176"/>
                    <a:pt x="1609" y="1180"/>
                  </a:cubicBezTo>
                  <a:close/>
                  <a:moveTo>
                    <a:pt x="1604" y="226"/>
                  </a:moveTo>
                  <a:cubicBezTo>
                    <a:pt x="1608" y="225"/>
                    <a:pt x="1608" y="247"/>
                    <a:pt x="1601" y="241"/>
                  </a:cubicBezTo>
                  <a:cubicBezTo>
                    <a:pt x="1600" y="233"/>
                    <a:pt x="1603" y="231"/>
                    <a:pt x="1604" y="226"/>
                  </a:cubicBezTo>
                  <a:close/>
                  <a:moveTo>
                    <a:pt x="1604" y="740"/>
                  </a:moveTo>
                  <a:cubicBezTo>
                    <a:pt x="1603" y="743"/>
                    <a:pt x="1605" y="743"/>
                    <a:pt x="1606" y="744"/>
                  </a:cubicBezTo>
                  <a:cubicBezTo>
                    <a:pt x="1605" y="755"/>
                    <a:pt x="1601" y="740"/>
                    <a:pt x="1596" y="744"/>
                  </a:cubicBezTo>
                  <a:cubicBezTo>
                    <a:pt x="1595" y="739"/>
                    <a:pt x="1603" y="731"/>
                    <a:pt x="1604" y="740"/>
                  </a:cubicBezTo>
                  <a:close/>
                  <a:moveTo>
                    <a:pt x="1593" y="551"/>
                  </a:moveTo>
                  <a:cubicBezTo>
                    <a:pt x="1599" y="553"/>
                    <a:pt x="1595" y="571"/>
                    <a:pt x="1593" y="574"/>
                  </a:cubicBezTo>
                  <a:cubicBezTo>
                    <a:pt x="1585" y="570"/>
                    <a:pt x="1594" y="558"/>
                    <a:pt x="1593" y="551"/>
                  </a:cubicBezTo>
                  <a:close/>
                  <a:moveTo>
                    <a:pt x="1588" y="611"/>
                  </a:moveTo>
                  <a:cubicBezTo>
                    <a:pt x="1589" y="600"/>
                    <a:pt x="1592" y="616"/>
                    <a:pt x="1596" y="614"/>
                  </a:cubicBezTo>
                  <a:cubicBezTo>
                    <a:pt x="1595" y="619"/>
                    <a:pt x="1591" y="617"/>
                    <a:pt x="1588" y="618"/>
                  </a:cubicBezTo>
                  <a:cubicBezTo>
                    <a:pt x="1587" y="615"/>
                    <a:pt x="1589" y="614"/>
                    <a:pt x="1590" y="614"/>
                  </a:cubicBezTo>
                  <a:cubicBezTo>
                    <a:pt x="1591" y="611"/>
                    <a:pt x="1589" y="611"/>
                    <a:pt x="1588" y="611"/>
                  </a:cubicBezTo>
                  <a:close/>
                  <a:moveTo>
                    <a:pt x="1593" y="636"/>
                  </a:moveTo>
                  <a:cubicBezTo>
                    <a:pt x="1593" y="639"/>
                    <a:pt x="1593" y="641"/>
                    <a:pt x="1593" y="644"/>
                  </a:cubicBezTo>
                  <a:cubicBezTo>
                    <a:pt x="1580" y="648"/>
                    <a:pt x="1588" y="624"/>
                    <a:pt x="1593" y="636"/>
                  </a:cubicBezTo>
                  <a:close/>
                  <a:moveTo>
                    <a:pt x="1580" y="577"/>
                  </a:moveTo>
                  <a:cubicBezTo>
                    <a:pt x="1581" y="567"/>
                    <a:pt x="1583" y="586"/>
                    <a:pt x="1582" y="588"/>
                  </a:cubicBezTo>
                  <a:cubicBezTo>
                    <a:pt x="1581" y="596"/>
                    <a:pt x="1577" y="591"/>
                    <a:pt x="1580" y="577"/>
                  </a:cubicBezTo>
                  <a:close/>
                  <a:moveTo>
                    <a:pt x="1577" y="263"/>
                  </a:moveTo>
                  <a:cubicBezTo>
                    <a:pt x="1575" y="274"/>
                    <a:pt x="1571" y="259"/>
                    <a:pt x="1566" y="263"/>
                  </a:cubicBezTo>
                  <a:cubicBezTo>
                    <a:pt x="1566" y="258"/>
                    <a:pt x="1566" y="252"/>
                    <a:pt x="1563" y="252"/>
                  </a:cubicBezTo>
                  <a:cubicBezTo>
                    <a:pt x="1565" y="245"/>
                    <a:pt x="1568" y="251"/>
                    <a:pt x="1569" y="252"/>
                  </a:cubicBezTo>
                  <a:cubicBezTo>
                    <a:pt x="1570" y="252"/>
                    <a:pt x="1573" y="251"/>
                    <a:pt x="1574" y="252"/>
                  </a:cubicBezTo>
                  <a:cubicBezTo>
                    <a:pt x="1574" y="252"/>
                    <a:pt x="1570" y="268"/>
                    <a:pt x="1577" y="263"/>
                  </a:cubicBezTo>
                  <a:close/>
                  <a:moveTo>
                    <a:pt x="1563" y="707"/>
                  </a:moveTo>
                  <a:cubicBezTo>
                    <a:pt x="1561" y="705"/>
                    <a:pt x="1561" y="704"/>
                    <a:pt x="1563" y="703"/>
                  </a:cubicBezTo>
                  <a:cubicBezTo>
                    <a:pt x="1564" y="703"/>
                    <a:pt x="1563" y="700"/>
                    <a:pt x="1563" y="699"/>
                  </a:cubicBezTo>
                  <a:cubicBezTo>
                    <a:pt x="1566" y="696"/>
                    <a:pt x="1570" y="704"/>
                    <a:pt x="1569" y="707"/>
                  </a:cubicBezTo>
                  <a:cubicBezTo>
                    <a:pt x="1567" y="710"/>
                    <a:pt x="1566" y="703"/>
                    <a:pt x="1566" y="703"/>
                  </a:cubicBezTo>
                  <a:cubicBezTo>
                    <a:pt x="1565" y="703"/>
                    <a:pt x="1562" y="706"/>
                    <a:pt x="1563" y="707"/>
                  </a:cubicBezTo>
                  <a:close/>
                  <a:moveTo>
                    <a:pt x="1566" y="640"/>
                  </a:moveTo>
                  <a:cubicBezTo>
                    <a:pt x="1564" y="640"/>
                    <a:pt x="1562" y="635"/>
                    <a:pt x="1558" y="636"/>
                  </a:cubicBezTo>
                  <a:cubicBezTo>
                    <a:pt x="1561" y="630"/>
                    <a:pt x="1569" y="630"/>
                    <a:pt x="1571" y="633"/>
                  </a:cubicBezTo>
                  <a:cubicBezTo>
                    <a:pt x="1573" y="634"/>
                    <a:pt x="1567" y="640"/>
                    <a:pt x="1566" y="640"/>
                  </a:cubicBezTo>
                  <a:close/>
                  <a:moveTo>
                    <a:pt x="1561" y="618"/>
                  </a:moveTo>
                  <a:cubicBezTo>
                    <a:pt x="1569" y="604"/>
                    <a:pt x="1570" y="629"/>
                    <a:pt x="1561" y="618"/>
                  </a:cubicBezTo>
                  <a:close/>
                  <a:moveTo>
                    <a:pt x="1569" y="599"/>
                  </a:moveTo>
                  <a:cubicBezTo>
                    <a:pt x="1569" y="594"/>
                    <a:pt x="1569" y="589"/>
                    <a:pt x="1566" y="588"/>
                  </a:cubicBezTo>
                  <a:cubicBezTo>
                    <a:pt x="1566" y="585"/>
                    <a:pt x="1567" y="585"/>
                    <a:pt x="1569" y="585"/>
                  </a:cubicBezTo>
                  <a:cubicBezTo>
                    <a:pt x="1571" y="585"/>
                    <a:pt x="1572" y="585"/>
                    <a:pt x="1574" y="585"/>
                  </a:cubicBezTo>
                  <a:cubicBezTo>
                    <a:pt x="1571" y="596"/>
                    <a:pt x="1573" y="594"/>
                    <a:pt x="1577" y="603"/>
                  </a:cubicBezTo>
                  <a:cubicBezTo>
                    <a:pt x="1574" y="616"/>
                    <a:pt x="1576" y="593"/>
                    <a:pt x="1569" y="599"/>
                  </a:cubicBezTo>
                  <a:close/>
                  <a:moveTo>
                    <a:pt x="1539" y="196"/>
                  </a:moveTo>
                  <a:cubicBezTo>
                    <a:pt x="1546" y="192"/>
                    <a:pt x="1550" y="207"/>
                    <a:pt x="1553" y="196"/>
                  </a:cubicBezTo>
                  <a:cubicBezTo>
                    <a:pt x="1556" y="198"/>
                    <a:pt x="1553" y="203"/>
                    <a:pt x="1550" y="204"/>
                  </a:cubicBezTo>
                  <a:cubicBezTo>
                    <a:pt x="1555" y="217"/>
                    <a:pt x="1557" y="197"/>
                    <a:pt x="1563" y="200"/>
                  </a:cubicBezTo>
                  <a:cubicBezTo>
                    <a:pt x="1561" y="203"/>
                    <a:pt x="1560" y="208"/>
                    <a:pt x="1561" y="215"/>
                  </a:cubicBezTo>
                  <a:cubicBezTo>
                    <a:pt x="1551" y="218"/>
                    <a:pt x="1548" y="211"/>
                    <a:pt x="1547" y="200"/>
                  </a:cubicBezTo>
                  <a:cubicBezTo>
                    <a:pt x="1537" y="195"/>
                    <a:pt x="1547" y="217"/>
                    <a:pt x="1536" y="211"/>
                  </a:cubicBezTo>
                  <a:cubicBezTo>
                    <a:pt x="1539" y="208"/>
                    <a:pt x="1539" y="203"/>
                    <a:pt x="1539" y="196"/>
                  </a:cubicBezTo>
                  <a:close/>
                  <a:moveTo>
                    <a:pt x="1571" y="222"/>
                  </a:moveTo>
                  <a:cubicBezTo>
                    <a:pt x="1571" y="227"/>
                    <a:pt x="1571" y="233"/>
                    <a:pt x="1574" y="233"/>
                  </a:cubicBezTo>
                  <a:cubicBezTo>
                    <a:pt x="1574" y="237"/>
                    <a:pt x="1571" y="236"/>
                    <a:pt x="1569" y="237"/>
                  </a:cubicBezTo>
                  <a:cubicBezTo>
                    <a:pt x="1566" y="239"/>
                    <a:pt x="1567" y="230"/>
                    <a:pt x="1566" y="230"/>
                  </a:cubicBezTo>
                  <a:cubicBezTo>
                    <a:pt x="1562" y="229"/>
                    <a:pt x="1558" y="234"/>
                    <a:pt x="1553" y="233"/>
                  </a:cubicBezTo>
                  <a:cubicBezTo>
                    <a:pt x="1553" y="233"/>
                    <a:pt x="1552" y="230"/>
                    <a:pt x="1550" y="230"/>
                  </a:cubicBezTo>
                  <a:cubicBezTo>
                    <a:pt x="1546" y="229"/>
                    <a:pt x="1537" y="229"/>
                    <a:pt x="1536" y="218"/>
                  </a:cubicBezTo>
                  <a:cubicBezTo>
                    <a:pt x="1548" y="219"/>
                    <a:pt x="1557" y="224"/>
                    <a:pt x="1571" y="222"/>
                  </a:cubicBezTo>
                  <a:close/>
                  <a:moveTo>
                    <a:pt x="1550" y="1221"/>
                  </a:moveTo>
                  <a:cubicBezTo>
                    <a:pt x="1554" y="1221"/>
                    <a:pt x="1551" y="1232"/>
                    <a:pt x="1555" y="1232"/>
                  </a:cubicBezTo>
                  <a:cubicBezTo>
                    <a:pt x="1554" y="1243"/>
                    <a:pt x="1550" y="1228"/>
                    <a:pt x="1545" y="1232"/>
                  </a:cubicBezTo>
                  <a:cubicBezTo>
                    <a:pt x="1545" y="1226"/>
                    <a:pt x="1545" y="1220"/>
                    <a:pt x="1545" y="1213"/>
                  </a:cubicBezTo>
                  <a:cubicBezTo>
                    <a:pt x="1548" y="1214"/>
                    <a:pt x="1546" y="1220"/>
                    <a:pt x="1550" y="1221"/>
                  </a:cubicBezTo>
                  <a:close/>
                  <a:moveTo>
                    <a:pt x="1528" y="200"/>
                  </a:moveTo>
                  <a:cubicBezTo>
                    <a:pt x="1523" y="202"/>
                    <a:pt x="1523" y="195"/>
                    <a:pt x="1523" y="189"/>
                  </a:cubicBezTo>
                  <a:cubicBezTo>
                    <a:pt x="1520" y="188"/>
                    <a:pt x="1518" y="190"/>
                    <a:pt x="1518" y="193"/>
                  </a:cubicBezTo>
                  <a:cubicBezTo>
                    <a:pt x="1508" y="182"/>
                    <a:pt x="1535" y="183"/>
                    <a:pt x="1528" y="200"/>
                  </a:cubicBezTo>
                  <a:close/>
                  <a:moveTo>
                    <a:pt x="1523" y="259"/>
                  </a:moveTo>
                  <a:cubicBezTo>
                    <a:pt x="1521" y="265"/>
                    <a:pt x="1519" y="271"/>
                    <a:pt x="1512" y="270"/>
                  </a:cubicBezTo>
                  <a:cubicBezTo>
                    <a:pt x="1514" y="263"/>
                    <a:pt x="1513" y="250"/>
                    <a:pt x="1523" y="259"/>
                  </a:cubicBezTo>
                  <a:close/>
                  <a:moveTo>
                    <a:pt x="1483" y="174"/>
                  </a:moveTo>
                  <a:cubicBezTo>
                    <a:pt x="1485" y="174"/>
                    <a:pt x="1486" y="174"/>
                    <a:pt x="1488" y="174"/>
                  </a:cubicBezTo>
                  <a:cubicBezTo>
                    <a:pt x="1489" y="185"/>
                    <a:pt x="1468" y="173"/>
                    <a:pt x="1483" y="174"/>
                  </a:cubicBezTo>
                  <a:close/>
                  <a:moveTo>
                    <a:pt x="1464" y="163"/>
                  </a:moveTo>
                  <a:cubicBezTo>
                    <a:pt x="1464" y="170"/>
                    <a:pt x="1467" y="171"/>
                    <a:pt x="1467" y="178"/>
                  </a:cubicBezTo>
                  <a:cubicBezTo>
                    <a:pt x="1463" y="178"/>
                    <a:pt x="1459" y="178"/>
                    <a:pt x="1456" y="178"/>
                  </a:cubicBezTo>
                  <a:cubicBezTo>
                    <a:pt x="1451" y="171"/>
                    <a:pt x="1460" y="165"/>
                    <a:pt x="1448" y="167"/>
                  </a:cubicBezTo>
                  <a:cubicBezTo>
                    <a:pt x="1440" y="161"/>
                    <a:pt x="1459" y="163"/>
                    <a:pt x="1464" y="163"/>
                  </a:cubicBezTo>
                  <a:close/>
                  <a:moveTo>
                    <a:pt x="1464" y="662"/>
                  </a:moveTo>
                  <a:cubicBezTo>
                    <a:pt x="1467" y="663"/>
                    <a:pt x="1466" y="670"/>
                    <a:pt x="1469" y="670"/>
                  </a:cubicBezTo>
                  <a:cubicBezTo>
                    <a:pt x="1470" y="673"/>
                    <a:pt x="1468" y="673"/>
                    <a:pt x="1467" y="673"/>
                  </a:cubicBezTo>
                  <a:cubicBezTo>
                    <a:pt x="1463" y="681"/>
                    <a:pt x="1467" y="670"/>
                    <a:pt x="1464" y="662"/>
                  </a:cubicBezTo>
                  <a:close/>
                  <a:moveTo>
                    <a:pt x="1445" y="562"/>
                  </a:moveTo>
                  <a:cubicBezTo>
                    <a:pt x="1444" y="561"/>
                    <a:pt x="1442" y="558"/>
                    <a:pt x="1445" y="562"/>
                  </a:cubicBezTo>
                  <a:cubicBezTo>
                    <a:pt x="1452" y="568"/>
                    <a:pt x="1449" y="572"/>
                    <a:pt x="1445" y="585"/>
                  </a:cubicBezTo>
                  <a:cubicBezTo>
                    <a:pt x="1442" y="584"/>
                    <a:pt x="1444" y="581"/>
                    <a:pt x="1445" y="581"/>
                  </a:cubicBezTo>
                  <a:cubicBezTo>
                    <a:pt x="1443" y="574"/>
                    <a:pt x="1440" y="580"/>
                    <a:pt x="1437" y="581"/>
                  </a:cubicBezTo>
                  <a:cubicBezTo>
                    <a:pt x="1431" y="589"/>
                    <a:pt x="1442" y="569"/>
                    <a:pt x="1448" y="570"/>
                  </a:cubicBezTo>
                  <a:cubicBezTo>
                    <a:pt x="1447" y="567"/>
                    <a:pt x="1445" y="566"/>
                    <a:pt x="1445" y="562"/>
                  </a:cubicBezTo>
                  <a:close/>
                  <a:moveTo>
                    <a:pt x="1442" y="1180"/>
                  </a:moveTo>
                  <a:cubicBezTo>
                    <a:pt x="1447" y="1185"/>
                    <a:pt x="1447" y="1195"/>
                    <a:pt x="1445" y="1199"/>
                  </a:cubicBezTo>
                  <a:cubicBezTo>
                    <a:pt x="1445" y="1199"/>
                    <a:pt x="1437" y="1189"/>
                    <a:pt x="1442" y="1180"/>
                  </a:cubicBezTo>
                  <a:close/>
                  <a:moveTo>
                    <a:pt x="1445" y="1228"/>
                  </a:moveTo>
                  <a:cubicBezTo>
                    <a:pt x="1443" y="1227"/>
                    <a:pt x="1443" y="1230"/>
                    <a:pt x="1442" y="1232"/>
                  </a:cubicBezTo>
                  <a:cubicBezTo>
                    <a:pt x="1439" y="1231"/>
                    <a:pt x="1440" y="1225"/>
                    <a:pt x="1440" y="1221"/>
                  </a:cubicBezTo>
                  <a:cubicBezTo>
                    <a:pt x="1444" y="1219"/>
                    <a:pt x="1445" y="1224"/>
                    <a:pt x="1445" y="1228"/>
                  </a:cubicBezTo>
                  <a:close/>
                  <a:moveTo>
                    <a:pt x="1440" y="644"/>
                  </a:moveTo>
                  <a:cubicBezTo>
                    <a:pt x="1444" y="637"/>
                    <a:pt x="1450" y="638"/>
                    <a:pt x="1453" y="640"/>
                  </a:cubicBezTo>
                  <a:cubicBezTo>
                    <a:pt x="1454" y="641"/>
                    <a:pt x="1447" y="651"/>
                    <a:pt x="1440" y="644"/>
                  </a:cubicBezTo>
                  <a:close/>
                  <a:moveTo>
                    <a:pt x="1450" y="270"/>
                  </a:moveTo>
                  <a:cubicBezTo>
                    <a:pt x="1449" y="259"/>
                    <a:pt x="1453" y="257"/>
                    <a:pt x="1453" y="248"/>
                  </a:cubicBezTo>
                  <a:cubicBezTo>
                    <a:pt x="1463" y="245"/>
                    <a:pt x="1456" y="258"/>
                    <a:pt x="1453" y="259"/>
                  </a:cubicBezTo>
                  <a:cubicBezTo>
                    <a:pt x="1455" y="267"/>
                    <a:pt x="1451" y="288"/>
                    <a:pt x="1450" y="270"/>
                  </a:cubicBezTo>
                  <a:close/>
                  <a:moveTo>
                    <a:pt x="1448" y="1210"/>
                  </a:moveTo>
                  <a:cubicBezTo>
                    <a:pt x="1452" y="1209"/>
                    <a:pt x="1452" y="1213"/>
                    <a:pt x="1456" y="1213"/>
                  </a:cubicBezTo>
                  <a:cubicBezTo>
                    <a:pt x="1457" y="1221"/>
                    <a:pt x="1444" y="1219"/>
                    <a:pt x="1448" y="1210"/>
                  </a:cubicBezTo>
                  <a:close/>
                  <a:moveTo>
                    <a:pt x="1450" y="1195"/>
                  </a:moveTo>
                  <a:cubicBezTo>
                    <a:pt x="1450" y="1190"/>
                    <a:pt x="1450" y="1185"/>
                    <a:pt x="1450" y="1180"/>
                  </a:cubicBezTo>
                  <a:cubicBezTo>
                    <a:pt x="1458" y="1173"/>
                    <a:pt x="1456" y="1196"/>
                    <a:pt x="1458" y="1184"/>
                  </a:cubicBezTo>
                  <a:cubicBezTo>
                    <a:pt x="1466" y="1188"/>
                    <a:pt x="1455" y="1196"/>
                    <a:pt x="1450" y="1195"/>
                  </a:cubicBezTo>
                  <a:close/>
                  <a:moveTo>
                    <a:pt x="1418" y="170"/>
                  </a:moveTo>
                  <a:cubicBezTo>
                    <a:pt x="1422" y="178"/>
                    <a:pt x="1402" y="180"/>
                    <a:pt x="1402" y="167"/>
                  </a:cubicBezTo>
                  <a:cubicBezTo>
                    <a:pt x="1405" y="171"/>
                    <a:pt x="1412" y="171"/>
                    <a:pt x="1418" y="170"/>
                  </a:cubicBezTo>
                  <a:close/>
                  <a:moveTo>
                    <a:pt x="1402" y="204"/>
                  </a:moveTo>
                  <a:cubicBezTo>
                    <a:pt x="1406" y="204"/>
                    <a:pt x="1409" y="204"/>
                    <a:pt x="1413" y="204"/>
                  </a:cubicBezTo>
                  <a:cubicBezTo>
                    <a:pt x="1413" y="213"/>
                    <a:pt x="1409" y="215"/>
                    <a:pt x="1407" y="222"/>
                  </a:cubicBezTo>
                  <a:cubicBezTo>
                    <a:pt x="1403" y="219"/>
                    <a:pt x="1402" y="213"/>
                    <a:pt x="1402" y="204"/>
                  </a:cubicBezTo>
                  <a:close/>
                  <a:moveTo>
                    <a:pt x="1413" y="566"/>
                  </a:moveTo>
                  <a:cubicBezTo>
                    <a:pt x="1404" y="581"/>
                    <a:pt x="1403" y="555"/>
                    <a:pt x="1405" y="544"/>
                  </a:cubicBezTo>
                  <a:cubicBezTo>
                    <a:pt x="1408" y="545"/>
                    <a:pt x="1410" y="543"/>
                    <a:pt x="1410" y="540"/>
                  </a:cubicBezTo>
                  <a:cubicBezTo>
                    <a:pt x="1420" y="544"/>
                    <a:pt x="1397" y="565"/>
                    <a:pt x="1413" y="566"/>
                  </a:cubicBezTo>
                  <a:close/>
                  <a:moveTo>
                    <a:pt x="1378" y="207"/>
                  </a:moveTo>
                  <a:cubicBezTo>
                    <a:pt x="1381" y="202"/>
                    <a:pt x="1389" y="204"/>
                    <a:pt x="1397" y="204"/>
                  </a:cubicBezTo>
                  <a:cubicBezTo>
                    <a:pt x="1389" y="213"/>
                    <a:pt x="1403" y="208"/>
                    <a:pt x="1399" y="222"/>
                  </a:cubicBezTo>
                  <a:cubicBezTo>
                    <a:pt x="1397" y="222"/>
                    <a:pt x="1397" y="218"/>
                    <a:pt x="1397" y="215"/>
                  </a:cubicBezTo>
                  <a:cubicBezTo>
                    <a:pt x="1393" y="220"/>
                    <a:pt x="1385" y="218"/>
                    <a:pt x="1378" y="218"/>
                  </a:cubicBezTo>
                  <a:cubicBezTo>
                    <a:pt x="1378" y="215"/>
                    <a:pt x="1378" y="211"/>
                    <a:pt x="1378" y="207"/>
                  </a:cubicBezTo>
                  <a:close/>
                  <a:moveTo>
                    <a:pt x="1359" y="562"/>
                  </a:moveTo>
                  <a:cubicBezTo>
                    <a:pt x="1365" y="561"/>
                    <a:pt x="1364" y="568"/>
                    <a:pt x="1364" y="574"/>
                  </a:cubicBezTo>
                  <a:cubicBezTo>
                    <a:pt x="1362" y="573"/>
                    <a:pt x="1362" y="570"/>
                    <a:pt x="1359" y="570"/>
                  </a:cubicBezTo>
                  <a:cubicBezTo>
                    <a:pt x="1359" y="567"/>
                    <a:pt x="1359" y="565"/>
                    <a:pt x="1359" y="562"/>
                  </a:cubicBezTo>
                  <a:close/>
                  <a:moveTo>
                    <a:pt x="1373" y="618"/>
                  </a:moveTo>
                  <a:cubicBezTo>
                    <a:pt x="1367" y="622"/>
                    <a:pt x="1377" y="595"/>
                    <a:pt x="1370" y="607"/>
                  </a:cubicBezTo>
                  <a:cubicBezTo>
                    <a:pt x="1367" y="607"/>
                    <a:pt x="1368" y="602"/>
                    <a:pt x="1367" y="599"/>
                  </a:cubicBezTo>
                  <a:cubicBezTo>
                    <a:pt x="1369" y="600"/>
                    <a:pt x="1370" y="598"/>
                    <a:pt x="1370" y="596"/>
                  </a:cubicBezTo>
                  <a:cubicBezTo>
                    <a:pt x="1375" y="599"/>
                    <a:pt x="1377" y="612"/>
                    <a:pt x="1373" y="618"/>
                  </a:cubicBezTo>
                  <a:close/>
                  <a:moveTo>
                    <a:pt x="1375" y="629"/>
                  </a:moveTo>
                  <a:cubicBezTo>
                    <a:pt x="1375" y="631"/>
                    <a:pt x="1375" y="634"/>
                    <a:pt x="1375" y="636"/>
                  </a:cubicBezTo>
                  <a:cubicBezTo>
                    <a:pt x="1373" y="636"/>
                    <a:pt x="1372" y="636"/>
                    <a:pt x="1370" y="636"/>
                  </a:cubicBezTo>
                  <a:cubicBezTo>
                    <a:pt x="1370" y="634"/>
                    <a:pt x="1370" y="631"/>
                    <a:pt x="1370" y="629"/>
                  </a:cubicBezTo>
                  <a:cubicBezTo>
                    <a:pt x="1372" y="629"/>
                    <a:pt x="1373" y="629"/>
                    <a:pt x="1375" y="629"/>
                  </a:cubicBezTo>
                  <a:close/>
                  <a:moveTo>
                    <a:pt x="1370" y="1235"/>
                  </a:moveTo>
                  <a:cubicBezTo>
                    <a:pt x="1366" y="1232"/>
                    <a:pt x="1359" y="1233"/>
                    <a:pt x="1362" y="1221"/>
                  </a:cubicBezTo>
                  <a:cubicBezTo>
                    <a:pt x="1364" y="1220"/>
                    <a:pt x="1364" y="1222"/>
                    <a:pt x="1364" y="1225"/>
                  </a:cubicBezTo>
                  <a:cubicBezTo>
                    <a:pt x="1366" y="1228"/>
                    <a:pt x="1371" y="1228"/>
                    <a:pt x="1370" y="1235"/>
                  </a:cubicBezTo>
                  <a:close/>
                  <a:moveTo>
                    <a:pt x="1356" y="1280"/>
                  </a:moveTo>
                  <a:cubicBezTo>
                    <a:pt x="1359" y="1275"/>
                    <a:pt x="1364" y="1273"/>
                    <a:pt x="1364" y="1265"/>
                  </a:cubicBezTo>
                  <a:cubicBezTo>
                    <a:pt x="1371" y="1264"/>
                    <a:pt x="1366" y="1279"/>
                    <a:pt x="1375" y="1276"/>
                  </a:cubicBezTo>
                  <a:cubicBezTo>
                    <a:pt x="1374" y="1285"/>
                    <a:pt x="1362" y="1278"/>
                    <a:pt x="1356" y="1280"/>
                  </a:cubicBezTo>
                  <a:close/>
                  <a:moveTo>
                    <a:pt x="1375" y="1239"/>
                  </a:moveTo>
                  <a:cubicBezTo>
                    <a:pt x="1370" y="1237"/>
                    <a:pt x="1375" y="1233"/>
                    <a:pt x="1375" y="1228"/>
                  </a:cubicBezTo>
                  <a:cubicBezTo>
                    <a:pt x="1380" y="1231"/>
                    <a:pt x="1376" y="1235"/>
                    <a:pt x="1375" y="1239"/>
                  </a:cubicBezTo>
                  <a:close/>
                  <a:moveTo>
                    <a:pt x="1378" y="255"/>
                  </a:moveTo>
                  <a:cubicBezTo>
                    <a:pt x="1369" y="255"/>
                    <a:pt x="1362" y="253"/>
                    <a:pt x="1362" y="241"/>
                  </a:cubicBezTo>
                  <a:cubicBezTo>
                    <a:pt x="1364" y="244"/>
                    <a:pt x="1379" y="249"/>
                    <a:pt x="1380" y="241"/>
                  </a:cubicBezTo>
                  <a:cubicBezTo>
                    <a:pt x="1392" y="245"/>
                    <a:pt x="1369" y="251"/>
                    <a:pt x="1380" y="255"/>
                  </a:cubicBezTo>
                  <a:cubicBezTo>
                    <a:pt x="1380" y="260"/>
                    <a:pt x="1378" y="258"/>
                    <a:pt x="1378" y="255"/>
                  </a:cubicBezTo>
                  <a:close/>
                  <a:moveTo>
                    <a:pt x="1383" y="562"/>
                  </a:moveTo>
                  <a:cubicBezTo>
                    <a:pt x="1380" y="587"/>
                    <a:pt x="1377" y="524"/>
                    <a:pt x="1383" y="562"/>
                  </a:cubicBezTo>
                  <a:close/>
                  <a:moveTo>
                    <a:pt x="1389" y="267"/>
                  </a:moveTo>
                  <a:cubicBezTo>
                    <a:pt x="1379" y="257"/>
                    <a:pt x="1398" y="256"/>
                    <a:pt x="1389" y="248"/>
                  </a:cubicBezTo>
                  <a:cubicBezTo>
                    <a:pt x="1391" y="242"/>
                    <a:pt x="1400" y="244"/>
                    <a:pt x="1405" y="241"/>
                  </a:cubicBezTo>
                  <a:cubicBezTo>
                    <a:pt x="1407" y="244"/>
                    <a:pt x="1406" y="251"/>
                    <a:pt x="1410" y="252"/>
                  </a:cubicBezTo>
                  <a:cubicBezTo>
                    <a:pt x="1409" y="256"/>
                    <a:pt x="1405" y="255"/>
                    <a:pt x="1405" y="252"/>
                  </a:cubicBezTo>
                  <a:cubicBezTo>
                    <a:pt x="1401" y="251"/>
                    <a:pt x="1404" y="261"/>
                    <a:pt x="1402" y="263"/>
                  </a:cubicBezTo>
                  <a:cubicBezTo>
                    <a:pt x="1400" y="266"/>
                    <a:pt x="1391" y="254"/>
                    <a:pt x="1391" y="267"/>
                  </a:cubicBezTo>
                  <a:cubicBezTo>
                    <a:pt x="1396" y="273"/>
                    <a:pt x="1401" y="265"/>
                    <a:pt x="1407" y="274"/>
                  </a:cubicBezTo>
                  <a:cubicBezTo>
                    <a:pt x="1407" y="278"/>
                    <a:pt x="1402" y="277"/>
                    <a:pt x="1402" y="281"/>
                  </a:cubicBezTo>
                  <a:cubicBezTo>
                    <a:pt x="1396" y="270"/>
                    <a:pt x="1400" y="280"/>
                    <a:pt x="1391" y="281"/>
                  </a:cubicBezTo>
                  <a:cubicBezTo>
                    <a:pt x="1399" y="273"/>
                    <a:pt x="1384" y="264"/>
                    <a:pt x="1383" y="278"/>
                  </a:cubicBezTo>
                  <a:cubicBezTo>
                    <a:pt x="1375" y="274"/>
                    <a:pt x="1386" y="268"/>
                    <a:pt x="1389" y="267"/>
                  </a:cubicBezTo>
                  <a:close/>
                  <a:moveTo>
                    <a:pt x="1389" y="555"/>
                  </a:moveTo>
                  <a:cubicBezTo>
                    <a:pt x="1390" y="550"/>
                    <a:pt x="1394" y="548"/>
                    <a:pt x="1399" y="548"/>
                  </a:cubicBezTo>
                  <a:cubicBezTo>
                    <a:pt x="1397" y="554"/>
                    <a:pt x="1393" y="562"/>
                    <a:pt x="1389" y="555"/>
                  </a:cubicBezTo>
                  <a:close/>
                  <a:moveTo>
                    <a:pt x="1399" y="577"/>
                  </a:moveTo>
                  <a:cubicBezTo>
                    <a:pt x="1396" y="576"/>
                    <a:pt x="1394" y="573"/>
                    <a:pt x="1394" y="566"/>
                  </a:cubicBezTo>
                  <a:cubicBezTo>
                    <a:pt x="1397" y="568"/>
                    <a:pt x="1399" y="571"/>
                    <a:pt x="1399" y="577"/>
                  </a:cubicBezTo>
                  <a:close/>
                  <a:moveTo>
                    <a:pt x="1389" y="1280"/>
                  </a:moveTo>
                  <a:cubicBezTo>
                    <a:pt x="1390" y="1280"/>
                    <a:pt x="1392" y="1280"/>
                    <a:pt x="1394" y="1280"/>
                  </a:cubicBezTo>
                  <a:cubicBezTo>
                    <a:pt x="1395" y="1290"/>
                    <a:pt x="1374" y="1279"/>
                    <a:pt x="1389" y="1280"/>
                  </a:cubicBezTo>
                  <a:close/>
                  <a:moveTo>
                    <a:pt x="1394" y="1250"/>
                  </a:moveTo>
                  <a:cubicBezTo>
                    <a:pt x="1391" y="1248"/>
                    <a:pt x="1391" y="1242"/>
                    <a:pt x="1386" y="1243"/>
                  </a:cubicBezTo>
                  <a:cubicBezTo>
                    <a:pt x="1388" y="1240"/>
                    <a:pt x="1390" y="1233"/>
                    <a:pt x="1386" y="1232"/>
                  </a:cubicBezTo>
                  <a:cubicBezTo>
                    <a:pt x="1387" y="1227"/>
                    <a:pt x="1394" y="1231"/>
                    <a:pt x="1394" y="1225"/>
                  </a:cubicBezTo>
                  <a:cubicBezTo>
                    <a:pt x="1400" y="1223"/>
                    <a:pt x="1397" y="1235"/>
                    <a:pt x="1402" y="1235"/>
                  </a:cubicBezTo>
                  <a:cubicBezTo>
                    <a:pt x="1401" y="1243"/>
                    <a:pt x="1390" y="1236"/>
                    <a:pt x="1394" y="1250"/>
                  </a:cubicBezTo>
                  <a:close/>
                  <a:moveTo>
                    <a:pt x="1402" y="577"/>
                  </a:moveTo>
                  <a:cubicBezTo>
                    <a:pt x="1404" y="567"/>
                    <a:pt x="1406" y="583"/>
                    <a:pt x="1410" y="581"/>
                  </a:cubicBezTo>
                  <a:cubicBezTo>
                    <a:pt x="1407" y="593"/>
                    <a:pt x="1405" y="577"/>
                    <a:pt x="1402" y="577"/>
                  </a:cubicBezTo>
                  <a:close/>
                  <a:moveTo>
                    <a:pt x="1405" y="1306"/>
                  </a:moveTo>
                  <a:cubicBezTo>
                    <a:pt x="1405" y="1297"/>
                    <a:pt x="1414" y="1305"/>
                    <a:pt x="1415" y="1306"/>
                  </a:cubicBezTo>
                  <a:cubicBezTo>
                    <a:pt x="1415" y="1315"/>
                    <a:pt x="1406" y="1307"/>
                    <a:pt x="1405" y="1306"/>
                  </a:cubicBezTo>
                  <a:close/>
                  <a:moveTo>
                    <a:pt x="1426" y="1247"/>
                  </a:moveTo>
                  <a:cubicBezTo>
                    <a:pt x="1422" y="1245"/>
                    <a:pt x="1424" y="1235"/>
                    <a:pt x="1415" y="1239"/>
                  </a:cubicBezTo>
                  <a:cubicBezTo>
                    <a:pt x="1415" y="1234"/>
                    <a:pt x="1415" y="1229"/>
                    <a:pt x="1415" y="1225"/>
                  </a:cubicBezTo>
                  <a:cubicBezTo>
                    <a:pt x="1421" y="1226"/>
                    <a:pt x="1420" y="1235"/>
                    <a:pt x="1429" y="1232"/>
                  </a:cubicBezTo>
                  <a:cubicBezTo>
                    <a:pt x="1430" y="1240"/>
                    <a:pt x="1427" y="1242"/>
                    <a:pt x="1426" y="1247"/>
                  </a:cubicBezTo>
                  <a:close/>
                  <a:moveTo>
                    <a:pt x="1421" y="1180"/>
                  </a:moveTo>
                  <a:cubicBezTo>
                    <a:pt x="1421" y="1183"/>
                    <a:pt x="1421" y="1185"/>
                    <a:pt x="1421" y="1187"/>
                  </a:cubicBezTo>
                  <a:cubicBezTo>
                    <a:pt x="1419" y="1187"/>
                    <a:pt x="1417" y="1187"/>
                    <a:pt x="1415" y="1187"/>
                  </a:cubicBezTo>
                  <a:cubicBezTo>
                    <a:pt x="1415" y="1185"/>
                    <a:pt x="1415" y="1183"/>
                    <a:pt x="1415" y="1180"/>
                  </a:cubicBezTo>
                  <a:cubicBezTo>
                    <a:pt x="1417" y="1180"/>
                    <a:pt x="1419" y="1180"/>
                    <a:pt x="1421" y="1180"/>
                  </a:cubicBezTo>
                  <a:close/>
                  <a:moveTo>
                    <a:pt x="1424" y="244"/>
                  </a:moveTo>
                  <a:cubicBezTo>
                    <a:pt x="1425" y="252"/>
                    <a:pt x="1422" y="254"/>
                    <a:pt x="1421" y="259"/>
                  </a:cubicBezTo>
                  <a:cubicBezTo>
                    <a:pt x="1413" y="259"/>
                    <a:pt x="1414" y="242"/>
                    <a:pt x="1424" y="244"/>
                  </a:cubicBezTo>
                  <a:close/>
                  <a:moveTo>
                    <a:pt x="1424" y="1180"/>
                  </a:moveTo>
                  <a:cubicBezTo>
                    <a:pt x="1424" y="1176"/>
                    <a:pt x="1424" y="1173"/>
                    <a:pt x="1424" y="1169"/>
                  </a:cubicBezTo>
                  <a:cubicBezTo>
                    <a:pt x="1431" y="1164"/>
                    <a:pt x="1431" y="1185"/>
                    <a:pt x="1424" y="1180"/>
                  </a:cubicBezTo>
                  <a:close/>
                  <a:moveTo>
                    <a:pt x="1421" y="289"/>
                  </a:moveTo>
                  <a:cubicBezTo>
                    <a:pt x="1420" y="282"/>
                    <a:pt x="1427" y="284"/>
                    <a:pt x="1429" y="281"/>
                  </a:cubicBezTo>
                  <a:cubicBezTo>
                    <a:pt x="1435" y="273"/>
                    <a:pt x="1430" y="288"/>
                    <a:pt x="1421" y="289"/>
                  </a:cubicBezTo>
                  <a:close/>
                  <a:moveTo>
                    <a:pt x="1421" y="270"/>
                  </a:moveTo>
                  <a:cubicBezTo>
                    <a:pt x="1423" y="267"/>
                    <a:pt x="1424" y="262"/>
                    <a:pt x="1424" y="255"/>
                  </a:cubicBezTo>
                  <a:cubicBezTo>
                    <a:pt x="1426" y="255"/>
                    <a:pt x="1429" y="255"/>
                    <a:pt x="1432" y="255"/>
                  </a:cubicBezTo>
                  <a:cubicBezTo>
                    <a:pt x="1428" y="261"/>
                    <a:pt x="1429" y="272"/>
                    <a:pt x="1421" y="270"/>
                  </a:cubicBezTo>
                  <a:close/>
                  <a:moveTo>
                    <a:pt x="1413" y="189"/>
                  </a:moveTo>
                  <a:cubicBezTo>
                    <a:pt x="1413" y="185"/>
                    <a:pt x="1416" y="186"/>
                    <a:pt x="1418" y="185"/>
                  </a:cubicBezTo>
                  <a:cubicBezTo>
                    <a:pt x="1425" y="187"/>
                    <a:pt x="1417" y="168"/>
                    <a:pt x="1426" y="174"/>
                  </a:cubicBezTo>
                  <a:cubicBezTo>
                    <a:pt x="1425" y="177"/>
                    <a:pt x="1423" y="180"/>
                    <a:pt x="1424" y="185"/>
                  </a:cubicBezTo>
                  <a:cubicBezTo>
                    <a:pt x="1436" y="183"/>
                    <a:pt x="1428" y="174"/>
                    <a:pt x="1429" y="159"/>
                  </a:cubicBezTo>
                  <a:cubicBezTo>
                    <a:pt x="1434" y="152"/>
                    <a:pt x="1434" y="162"/>
                    <a:pt x="1442" y="159"/>
                  </a:cubicBezTo>
                  <a:cubicBezTo>
                    <a:pt x="1442" y="165"/>
                    <a:pt x="1434" y="161"/>
                    <a:pt x="1434" y="167"/>
                  </a:cubicBezTo>
                  <a:cubicBezTo>
                    <a:pt x="1434" y="173"/>
                    <a:pt x="1448" y="163"/>
                    <a:pt x="1448" y="178"/>
                  </a:cubicBezTo>
                  <a:cubicBezTo>
                    <a:pt x="1444" y="182"/>
                    <a:pt x="1441" y="182"/>
                    <a:pt x="1440" y="174"/>
                  </a:cubicBezTo>
                  <a:cubicBezTo>
                    <a:pt x="1433" y="179"/>
                    <a:pt x="1431" y="182"/>
                    <a:pt x="1434" y="193"/>
                  </a:cubicBezTo>
                  <a:cubicBezTo>
                    <a:pt x="1426" y="193"/>
                    <a:pt x="1423" y="186"/>
                    <a:pt x="1413" y="189"/>
                  </a:cubicBezTo>
                  <a:close/>
                  <a:moveTo>
                    <a:pt x="1437" y="1295"/>
                  </a:moveTo>
                  <a:cubicBezTo>
                    <a:pt x="1434" y="1294"/>
                    <a:pt x="1435" y="1288"/>
                    <a:pt x="1434" y="1284"/>
                  </a:cubicBezTo>
                  <a:cubicBezTo>
                    <a:pt x="1439" y="1282"/>
                    <a:pt x="1439" y="1286"/>
                    <a:pt x="1440" y="1291"/>
                  </a:cubicBezTo>
                  <a:cubicBezTo>
                    <a:pt x="1437" y="1290"/>
                    <a:pt x="1437" y="1292"/>
                    <a:pt x="1437" y="1295"/>
                  </a:cubicBezTo>
                  <a:close/>
                  <a:moveTo>
                    <a:pt x="1445" y="1273"/>
                  </a:moveTo>
                  <a:cubicBezTo>
                    <a:pt x="1443" y="1273"/>
                    <a:pt x="1442" y="1273"/>
                    <a:pt x="1440" y="1273"/>
                  </a:cubicBezTo>
                  <a:cubicBezTo>
                    <a:pt x="1440" y="1270"/>
                    <a:pt x="1440" y="1268"/>
                    <a:pt x="1440" y="1265"/>
                  </a:cubicBezTo>
                  <a:cubicBezTo>
                    <a:pt x="1442" y="1265"/>
                    <a:pt x="1443" y="1265"/>
                    <a:pt x="1445" y="1265"/>
                  </a:cubicBezTo>
                  <a:cubicBezTo>
                    <a:pt x="1445" y="1268"/>
                    <a:pt x="1445" y="1270"/>
                    <a:pt x="1445" y="1273"/>
                  </a:cubicBezTo>
                  <a:close/>
                  <a:moveTo>
                    <a:pt x="1448" y="1254"/>
                  </a:moveTo>
                  <a:cubicBezTo>
                    <a:pt x="1444" y="1251"/>
                    <a:pt x="1439" y="1249"/>
                    <a:pt x="1440" y="1239"/>
                  </a:cubicBezTo>
                  <a:cubicBezTo>
                    <a:pt x="1444" y="1237"/>
                    <a:pt x="1454" y="1244"/>
                    <a:pt x="1453" y="1235"/>
                  </a:cubicBezTo>
                  <a:cubicBezTo>
                    <a:pt x="1451" y="1232"/>
                    <a:pt x="1447" y="1232"/>
                    <a:pt x="1448" y="1225"/>
                  </a:cubicBezTo>
                  <a:cubicBezTo>
                    <a:pt x="1450" y="1225"/>
                    <a:pt x="1453" y="1225"/>
                    <a:pt x="1456" y="1225"/>
                  </a:cubicBezTo>
                  <a:cubicBezTo>
                    <a:pt x="1452" y="1229"/>
                    <a:pt x="1454" y="1236"/>
                    <a:pt x="1458" y="1239"/>
                  </a:cubicBezTo>
                  <a:cubicBezTo>
                    <a:pt x="1460" y="1251"/>
                    <a:pt x="1445" y="1241"/>
                    <a:pt x="1448" y="1254"/>
                  </a:cubicBezTo>
                  <a:close/>
                  <a:moveTo>
                    <a:pt x="1458" y="1302"/>
                  </a:moveTo>
                  <a:cubicBezTo>
                    <a:pt x="1463" y="1294"/>
                    <a:pt x="1465" y="1305"/>
                    <a:pt x="1472" y="1298"/>
                  </a:cubicBezTo>
                  <a:cubicBezTo>
                    <a:pt x="1475" y="1312"/>
                    <a:pt x="1460" y="1305"/>
                    <a:pt x="1458" y="1302"/>
                  </a:cubicBezTo>
                  <a:close/>
                  <a:moveTo>
                    <a:pt x="1475" y="655"/>
                  </a:moveTo>
                  <a:cubicBezTo>
                    <a:pt x="1472" y="658"/>
                    <a:pt x="1470" y="652"/>
                    <a:pt x="1469" y="651"/>
                  </a:cubicBezTo>
                  <a:cubicBezTo>
                    <a:pt x="1469" y="651"/>
                    <a:pt x="1464" y="644"/>
                    <a:pt x="1467" y="640"/>
                  </a:cubicBezTo>
                  <a:cubicBezTo>
                    <a:pt x="1469" y="637"/>
                    <a:pt x="1469" y="650"/>
                    <a:pt x="1469" y="651"/>
                  </a:cubicBezTo>
                  <a:cubicBezTo>
                    <a:pt x="1469" y="651"/>
                    <a:pt x="1477" y="652"/>
                    <a:pt x="1475" y="655"/>
                  </a:cubicBezTo>
                  <a:close/>
                  <a:moveTo>
                    <a:pt x="1469" y="588"/>
                  </a:moveTo>
                  <a:cubicBezTo>
                    <a:pt x="1473" y="575"/>
                    <a:pt x="1474" y="595"/>
                    <a:pt x="1472" y="596"/>
                  </a:cubicBezTo>
                  <a:cubicBezTo>
                    <a:pt x="1470" y="596"/>
                    <a:pt x="1469" y="591"/>
                    <a:pt x="1469" y="588"/>
                  </a:cubicBezTo>
                  <a:close/>
                  <a:moveTo>
                    <a:pt x="1475" y="285"/>
                  </a:moveTo>
                  <a:cubicBezTo>
                    <a:pt x="1473" y="280"/>
                    <a:pt x="1468" y="276"/>
                    <a:pt x="1469" y="267"/>
                  </a:cubicBezTo>
                  <a:cubicBezTo>
                    <a:pt x="1472" y="267"/>
                    <a:pt x="1475" y="267"/>
                    <a:pt x="1477" y="267"/>
                  </a:cubicBezTo>
                  <a:cubicBezTo>
                    <a:pt x="1472" y="277"/>
                    <a:pt x="1483" y="284"/>
                    <a:pt x="1483" y="281"/>
                  </a:cubicBezTo>
                  <a:cubicBezTo>
                    <a:pt x="1483" y="285"/>
                    <a:pt x="1475" y="285"/>
                    <a:pt x="1477" y="292"/>
                  </a:cubicBezTo>
                  <a:cubicBezTo>
                    <a:pt x="1474" y="293"/>
                    <a:pt x="1476" y="288"/>
                    <a:pt x="1475" y="285"/>
                  </a:cubicBezTo>
                  <a:close/>
                  <a:moveTo>
                    <a:pt x="1480" y="699"/>
                  </a:moveTo>
                  <a:cubicBezTo>
                    <a:pt x="1480" y="695"/>
                    <a:pt x="1479" y="693"/>
                    <a:pt x="1477" y="692"/>
                  </a:cubicBezTo>
                  <a:cubicBezTo>
                    <a:pt x="1478" y="687"/>
                    <a:pt x="1483" y="688"/>
                    <a:pt x="1483" y="692"/>
                  </a:cubicBezTo>
                  <a:cubicBezTo>
                    <a:pt x="1485" y="693"/>
                    <a:pt x="1485" y="690"/>
                    <a:pt x="1485" y="688"/>
                  </a:cubicBezTo>
                  <a:cubicBezTo>
                    <a:pt x="1490" y="687"/>
                    <a:pt x="1486" y="703"/>
                    <a:pt x="1480" y="699"/>
                  </a:cubicBezTo>
                  <a:close/>
                  <a:moveTo>
                    <a:pt x="1493" y="1243"/>
                  </a:moveTo>
                  <a:cubicBezTo>
                    <a:pt x="1482" y="1245"/>
                    <a:pt x="1494" y="1235"/>
                    <a:pt x="1491" y="1225"/>
                  </a:cubicBezTo>
                  <a:cubicBezTo>
                    <a:pt x="1494" y="1226"/>
                    <a:pt x="1497" y="1245"/>
                    <a:pt x="1493" y="1243"/>
                  </a:cubicBezTo>
                  <a:close/>
                  <a:moveTo>
                    <a:pt x="1485" y="566"/>
                  </a:moveTo>
                  <a:cubicBezTo>
                    <a:pt x="1484" y="561"/>
                    <a:pt x="1496" y="557"/>
                    <a:pt x="1488" y="555"/>
                  </a:cubicBezTo>
                  <a:cubicBezTo>
                    <a:pt x="1499" y="541"/>
                    <a:pt x="1484" y="571"/>
                    <a:pt x="1496" y="566"/>
                  </a:cubicBezTo>
                  <a:cubicBezTo>
                    <a:pt x="1494" y="577"/>
                    <a:pt x="1490" y="563"/>
                    <a:pt x="1485" y="566"/>
                  </a:cubicBezTo>
                  <a:close/>
                  <a:moveTo>
                    <a:pt x="1491" y="182"/>
                  </a:moveTo>
                  <a:cubicBezTo>
                    <a:pt x="1491" y="179"/>
                    <a:pt x="1493" y="178"/>
                    <a:pt x="1493" y="174"/>
                  </a:cubicBezTo>
                  <a:cubicBezTo>
                    <a:pt x="1497" y="176"/>
                    <a:pt x="1499" y="179"/>
                    <a:pt x="1499" y="185"/>
                  </a:cubicBezTo>
                  <a:cubicBezTo>
                    <a:pt x="1494" y="186"/>
                    <a:pt x="1494" y="182"/>
                    <a:pt x="1491" y="182"/>
                  </a:cubicBezTo>
                  <a:close/>
                  <a:moveTo>
                    <a:pt x="1499" y="1221"/>
                  </a:moveTo>
                  <a:cubicBezTo>
                    <a:pt x="1494" y="1218"/>
                    <a:pt x="1498" y="1214"/>
                    <a:pt x="1499" y="1210"/>
                  </a:cubicBezTo>
                  <a:cubicBezTo>
                    <a:pt x="1504" y="1212"/>
                    <a:pt x="1499" y="1216"/>
                    <a:pt x="1499" y="1221"/>
                  </a:cubicBezTo>
                  <a:close/>
                  <a:moveTo>
                    <a:pt x="1496" y="170"/>
                  </a:moveTo>
                  <a:cubicBezTo>
                    <a:pt x="1495" y="165"/>
                    <a:pt x="1511" y="165"/>
                    <a:pt x="1504" y="174"/>
                  </a:cubicBezTo>
                  <a:cubicBezTo>
                    <a:pt x="1505" y="173"/>
                    <a:pt x="1496" y="170"/>
                    <a:pt x="1496" y="170"/>
                  </a:cubicBezTo>
                  <a:close/>
                  <a:moveTo>
                    <a:pt x="1504" y="651"/>
                  </a:moveTo>
                  <a:cubicBezTo>
                    <a:pt x="1506" y="648"/>
                    <a:pt x="1507" y="643"/>
                    <a:pt x="1507" y="636"/>
                  </a:cubicBezTo>
                  <a:cubicBezTo>
                    <a:pt x="1510" y="637"/>
                    <a:pt x="1512" y="636"/>
                    <a:pt x="1512" y="633"/>
                  </a:cubicBezTo>
                  <a:cubicBezTo>
                    <a:pt x="1516" y="634"/>
                    <a:pt x="1513" y="639"/>
                    <a:pt x="1510" y="640"/>
                  </a:cubicBezTo>
                  <a:cubicBezTo>
                    <a:pt x="1510" y="648"/>
                    <a:pt x="1509" y="652"/>
                    <a:pt x="1504" y="651"/>
                  </a:cubicBezTo>
                  <a:close/>
                  <a:moveTo>
                    <a:pt x="1515" y="1180"/>
                  </a:moveTo>
                  <a:cubicBezTo>
                    <a:pt x="1512" y="1178"/>
                    <a:pt x="1509" y="1175"/>
                    <a:pt x="1510" y="1169"/>
                  </a:cubicBezTo>
                  <a:cubicBezTo>
                    <a:pt x="1513" y="1171"/>
                    <a:pt x="1515" y="1174"/>
                    <a:pt x="1515" y="1180"/>
                  </a:cubicBezTo>
                  <a:close/>
                  <a:moveTo>
                    <a:pt x="1523" y="1291"/>
                  </a:moveTo>
                  <a:cubicBezTo>
                    <a:pt x="1518" y="1280"/>
                    <a:pt x="1511" y="1294"/>
                    <a:pt x="1510" y="1276"/>
                  </a:cubicBezTo>
                  <a:cubicBezTo>
                    <a:pt x="1522" y="1278"/>
                    <a:pt x="1514" y="1273"/>
                    <a:pt x="1515" y="1261"/>
                  </a:cubicBezTo>
                  <a:cubicBezTo>
                    <a:pt x="1522" y="1259"/>
                    <a:pt x="1520" y="1269"/>
                    <a:pt x="1526" y="1269"/>
                  </a:cubicBezTo>
                  <a:cubicBezTo>
                    <a:pt x="1525" y="1273"/>
                    <a:pt x="1523" y="1271"/>
                    <a:pt x="1523" y="1269"/>
                  </a:cubicBezTo>
                  <a:cubicBezTo>
                    <a:pt x="1520" y="1269"/>
                    <a:pt x="1521" y="1273"/>
                    <a:pt x="1520" y="1276"/>
                  </a:cubicBezTo>
                  <a:cubicBezTo>
                    <a:pt x="1523" y="1287"/>
                    <a:pt x="1532" y="1275"/>
                    <a:pt x="1536" y="1276"/>
                  </a:cubicBezTo>
                  <a:cubicBezTo>
                    <a:pt x="1538" y="1290"/>
                    <a:pt x="1524" y="1281"/>
                    <a:pt x="1523" y="1291"/>
                  </a:cubicBezTo>
                  <a:close/>
                  <a:moveTo>
                    <a:pt x="1534" y="230"/>
                  </a:moveTo>
                  <a:cubicBezTo>
                    <a:pt x="1536" y="230"/>
                    <a:pt x="1537" y="230"/>
                    <a:pt x="1539" y="230"/>
                  </a:cubicBezTo>
                  <a:cubicBezTo>
                    <a:pt x="1540" y="240"/>
                    <a:pt x="1519" y="229"/>
                    <a:pt x="1534" y="230"/>
                  </a:cubicBezTo>
                  <a:close/>
                  <a:moveTo>
                    <a:pt x="1553" y="1291"/>
                  </a:moveTo>
                  <a:cubicBezTo>
                    <a:pt x="1551" y="1291"/>
                    <a:pt x="1549" y="1291"/>
                    <a:pt x="1547" y="1291"/>
                  </a:cubicBezTo>
                  <a:cubicBezTo>
                    <a:pt x="1547" y="1289"/>
                    <a:pt x="1547" y="1286"/>
                    <a:pt x="1547" y="1284"/>
                  </a:cubicBezTo>
                  <a:cubicBezTo>
                    <a:pt x="1549" y="1284"/>
                    <a:pt x="1551" y="1284"/>
                    <a:pt x="1553" y="1284"/>
                  </a:cubicBezTo>
                  <a:cubicBezTo>
                    <a:pt x="1553" y="1286"/>
                    <a:pt x="1553" y="1289"/>
                    <a:pt x="1553" y="1291"/>
                  </a:cubicBezTo>
                  <a:close/>
                  <a:moveTo>
                    <a:pt x="1550" y="1276"/>
                  </a:moveTo>
                  <a:cubicBezTo>
                    <a:pt x="1548" y="1276"/>
                    <a:pt x="1547" y="1273"/>
                    <a:pt x="1545" y="1273"/>
                  </a:cubicBezTo>
                  <a:cubicBezTo>
                    <a:pt x="1545" y="1270"/>
                    <a:pt x="1547" y="1269"/>
                    <a:pt x="1547" y="1265"/>
                  </a:cubicBezTo>
                  <a:cubicBezTo>
                    <a:pt x="1549" y="1266"/>
                    <a:pt x="1550" y="1269"/>
                    <a:pt x="1553" y="1269"/>
                  </a:cubicBezTo>
                  <a:cubicBezTo>
                    <a:pt x="1552" y="1272"/>
                    <a:pt x="1550" y="1273"/>
                    <a:pt x="1550" y="1276"/>
                  </a:cubicBezTo>
                  <a:close/>
                  <a:moveTo>
                    <a:pt x="1555" y="1265"/>
                  </a:moveTo>
                  <a:cubicBezTo>
                    <a:pt x="1550" y="1266"/>
                    <a:pt x="1552" y="1257"/>
                    <a:pt x="1550" y="1254"/>
                  </a:cubicBezTo>
                  <a:cubicBezTo>
                    <a:pt x="1547" y="1251"/>
                    <a:pt x="1547" y="1254"/>
                    <a:pt x="1545" y="1250"/>
                  </a:cubicBezTo>
                  <a:cubicBezTo>
                    <a:pt x="1543" y="1247"/>
                    <a:pt x="1539" y="1246"/>
                    <a:pt x="1539" y="1239"/>
                  </a:cubicBezTo>
                  <a:cubicBezTo>
                    <a:pt x="1549" y="1240"/>
                    <a:pt x="1547" y="1243"/>
                    <a:pt x="1555" y="1239"/>
                  </a:cubicBezTo>
                  <a:cubicBezTo>
                    <a:pt x="1556" y="1250"/>
                    <a:pt x="1555" y="1252"/>
                    <a:pt x="1550" y="1247"/>
                  </a:cubicBezTo>
                  <a:cubicBezTo>
                    <a:pt x="1548" y="1258"/>
                    <a:pt x="1559" y="1251"/>
                    <a:pt x="1555" y="1265"/>
                  </a:cubicBezTo>
                  <a:close/>
                  <a:moveTo>
                    <a:pt x="1547" y="555"/>
                  </a:moveTo>
                  <a:cubicBezTo>
                    <a:pt x="1551" y="562"/>
                    <a:pt x="1556" y="568"/>
                    <a:pt x="1561" y="574"/>
                  </a:cubicBezTo>
                  <a:cubicBezTo>
                    <a:pt x="1558" y="579"/>
                    <a:pt x="1545" y="569"/>
                    <a:pt x="1547" y="555"/>
                  </a:cubicBezTo>
                  <a:close/>
                  <a:moveTo>
                    <a:pt x="1566" y="1243"/>
                  </a:moveTo>
                  <a:cubicBezTo>
                    <a:pt x="1560" y="1244"/>
                    <a:pt x="1563" y="1232"/>
                    <a:pt x="1558" y="1232"/>
                  </a:cubicBezTo>
                  <a:cubicBezTo>
                    <a:pt x="1558" y="1223"/>
                    <a:pt x="1567" y="1231"/>
                    <a:pt x="1569" y="1232"/>
                  </a:cubicBezTo>
                  <a:cubicBezTo>
                    <a:pt x="1567" y="1235"/>
                    <a:pt x="1566" y="1238"/>
                    <a:pt x="1566" y="1243"/>
                  </a:cubicBezTo>
                  <a:close/>
                  <a:moveTo>
                    <a:pt x="1561" y="1199"/>
                  </a:moveTo>
                  <a:cubicBezTo>
                    <a:pt x="1561" y="1195"/>
                    <a:pt x="1561" y="1191"/>
                    <a:pt x="1561" y="1187"/>
                  </a:cubicBezTo>
                  <a:cubicBezTo>
                    <a:pt x="1568" y="1185"/>
                    <a:pt x="1566" y="1195"/>
                    <a:pt x="1571" y="1195"/>
                  </a:cubicBezTo>
                  <a:cubicBezTo>
                    <a:pt x="1571" y="1200"/>
                    <a:pt x="1565" y="1198"/>
                    <a:pt x="1561" y="1199"/>
                  </a:cubicBezTo>
                  <a:close/>
                  <a:moveTo>
                    <a:pt x="1580" y="1250"/>
                  </a:moveTo>
                  <a:cubicBezTo>
                    <a:pt x="1577" y="1246"/>
                    <a:pt x="1570" y="1249"/>
                    <a:pt x="1571" y="1239"/>
                  </a:cubicBezTo>
                  <a:cubicBezTo>
                    <a:pt x="1574" y="1243"/>
                    <a:pt x="1581" y="1240"/>
                    <a:pt x="1580" y="1250"/>
                  </a:cubicBezTo>
                  <a:close/>
                  <a:moveTo>
                    <a:pt x="1577" y="640"/>
                  </a:moveTo>
                  <a:cubicBezTo>
                    <a:pt x="1577" y="638"/>
                    <a:pt x="1577" y="635"/>
                    <a:pt x="1577" y="633"/>
                  </a:cubicBezTo>
                  <a:cubicBezTo>
                    <a:pt x="1579" y="633"/>
                    <a:pt x="1580" y="633"/>
                    <a:pt x="1582" y="633"/>
                  </a:cubicBezTo>
                  <a:cubicBezTo>
                    <a:pt x="1582" y="635"/>
                    <a:pt x="1582" y="638"/>
                    <a:pt x="1582" y="640"/>
                  </a:cubicBezTo>
                  <a:cubicBezTo>
                    <a:pt x="1580" y="640"/>
                    <a:pt x="1579" y="640"/>
                    <a:pt x="1577" y="640"/>
                  </a:cubicBezTo>
                  <a:close/>
                  <a:moveTo>
                    <a:pt x="1598" y="1254"/>
                  </a:moveTo>
                  <a:cubicBezTo>
                    <a:pt x="1593" y="1257"/>
                    <a:pt x="1592" y="1248"/>
                    <a:pt x="1590" y="1247"/>
                  </a:cubicBezTo>
                  <a:cubicBezTo>
                    <a:pt x="1588" y="1246"/>
                    <a:pt x="1585" y="1252"/>
                    <a:pt x="1582" y="1247"/>
                  </a:cubicBezTo>
                  <a:cubicBezTo>
                    <a:pt x="1587" y="1239"/>
                    <a:pt x="1600" y="1236"/>
                    <a:pt x="1598" y="1254"/>
                  </a:cubicBezTo>
                  <a:close/>
                  <a:moveTo>
                    <a:pt x="1633" y="1291"/>
                  </a:moveTo>
                  <a:cubicBezTo>
                    <a:pt x="1625" y="1305"/>
                    <a:pt x="1624" y="1280"/>
                    <a:pt x="1633" y="1291"/>
                  </a:cubicBezTo>
                  <a:close/>
                  <a:moveTo>
                    <a:pt x="1628" y="1313"/>
                  </a:moveTo>
                  <a:cubicBezTo>
                    <a:pt x="1628" y="1308"/>
                    <a:pt x="1628" y="1303"/>
                    <a:pt x="1628" y="1298"/>
                  </a:cubicBezTo>
                  <a:cubicBezTo>
                    <a:pt x="1637" y="1298"/>
                    <a:pt x="1638" y="1316"/>
                    <a:pt x="1628" y="1313"/>
                  </a:cubicBezTo>
                  <a:close/>
                  <a:moveTo>
                    <a:pt x="1625" y="1250"/>
                  </a:moveTo>
                  <a:cubicBezTo>
                    <a:pt x="1617" y="1249"/>
                    <a:pt x="1607" y="1253"/>
                    <a:pt x="1601" y="1247"/>
                  </a:cubicBezTo>
                  <a:cubicBezTo>
                    <a:pt x="1602" y="1236"/>
                    <a:pt x="1609" y="1246"/>
                    <a:pt x="1612" y="1247"/>
                  </a:cubicBezTo>
                  <a:cubicBezTo>
                    <a:pt x="1614" y="1247"/>
                    <a:pt x="1615" y="1242"/>
                    <a:pt x="1617" y="1243"/>
                  </a:cubicBezTo>
                  <a:cubicBezTo>
                    <a:pt x="1618" y="1243"/>
                    <a:pt x="1617" y="1246"/>
                    <a:pt x="1620" y="1247"/>
                  </a:cubicBezTo>
                  <a:cubicBezTo>
                    <a:pt x="1625" y="1247"/>
                    <a:pt x="1629" y="1246"/>
                    <a:pt x="1636" y="1247"/>
                  </a:cubicBezTo>
                  <a:cubicBezTo>
                    <a:pt x="1638" y="1240"/>
                    <a:pt x="1638" y="1251"/>
                    <a:pt x="1641" y="1250"/>
                  </a:cubicBezTo>
                  <a:cubicBezTo>
                    <a:pt x="1639" y="1261"/>
                    <a:pt x="1631" y="1251"/>
                    <a:pt x="1625" y="1250"/>
                  </a:cubicBezTo>
                  <a:close/>
                  <a:moveTo>
                    <a:pt x="1641" y="588"/>
                  </a:moveTo>
                  <a:cubicBezTo>
                    <a:pt x="1641" y="595"/>
                    <a:pt x="1648" y="600"/>
                    <a:pt x="1639" y="599"/>
                  </a:cubicBezTo>
                  <a:cubicBezTo>
                    <a:pt x="1637" y="611"/>
                    <a:pt x="1644" y="611"/>
                    <a:pt x="1639" y="618"/>
                  </a:cubicBezTo>
                  <a:cubicBezTo>
                    <a:pt x="1627" y="611"/>
                    <a:pt x="1643" y="590"/>
                    <a:pt x="1641" y="574"/>
                  </a:cubicBezTo>
                  <a:cubicBezTo>
                    <a:pt x="1638" y="569"/>
                    <a:pt x="1641" y="572"/>
                    <a:pt x="1644" y="574"/>
                  </a:cubicBezTo>
                  <a:cubicBezTo>
                    <a:pt x="1646" y="581"/>
                    <a:pt x="1641" y="583"/>
                    <a:pt x="1641" y="588"/>
                  </a:cubicBezTo>
                  <a:close/>
                  <a:moveTo>
                    <a:pt x="2066" y="156"/>
                  </a:moveTo>
                  <a:cubicBezTo>
                    <a:pt x="2076" y="166"/>
                    <a:pt x="2060" y="179"/>
                    <a:pt x="2066" y="156"/>
                  </a:cubicBezTo>
                  <a:close/>
                  <a:moveTo>
                    <a:pt x="2055" y="562"/>
                  </a:moveTo>
                  <a:cubicBezTo>
                    <a:pt x="2055" y="562"/>
                    <a:pt x="2053" y="563"/>
                    <a:pt x="2053" y="562"/>
                  </a:cubicBezTo>
                  <a:cubicBezTo>
                    <a:pt x="2043" y="552"/>
                    <a:pt x="2062" y="561"/>
                    <a:pt x="2058" y="566"/>
                  </a:cubicBezTo>
                  <a:cubicBezTo>
                    <a:pt x="2057" y="568"/>
                    <a:pt x="2052" y="570"/>
                    <a:pt x="2053" y="566"/>
                  </a:cubicBezTo>
                  <a:cubicBezTo>
                    <a:pt x="2053" y="565"/>
                    <a:pt x="2056" y="566"/>
                    <a:pt x="2055" y="562"/>
                  </a:cubicBezTo>
                  <a:close/>
                  <a:moveTo>
                    <a:pt x="2034" y="296"/>
                  </a:moveTo>
                  <a:cubicBezTo>
                    <a:pt x="2038" y="296"/>
                    <a:pt x="2042" y="312"/>
                    <a:pt x="2042" y="296"/>
                  </a:cubicBezTo>
                  <a:cubicBezTo>
                    <a:pt x="2051" y="297"/>
                    <a:pt x="2042" y="306"/>
                    <a:pt x="2047" y="307"/>
                  </a:cubicBezTo>
                  <a:cubicBezTo>
                    <a:pt x="2047" y="312"/>
                    <a:pt x="2042" y="311"/>
                    <a:pt x="2042" y="307"/>
                  </a:cubicBezTo>
                  <a:cubicBezTo>
                    <a:pt x="2037" y="307"/>
                    <a:pt x="2036" y="312"/>
                    <a:pt x="2031" y="311"/>
                  </a:cubicBezTo>
                  <a:cubicBezTo>
                    <a:pt x="2031" y="304"/>
                    <a:pt x="2035" y="303"/>
                    <a:pt x="2034" y="296"/>
                  </a:cubicBezTo>
                  <a:close/>
                  <a:moveTo>
                    <a:pt x="2039" y="285"/>
                  </a:moveTo>
                  <a:cubicBezTo>
                    <a:pt x="2041" y="274"/>
                    <a:pt x="2045" y="289"/>
                    <a:pt x="2050" y="285"/>
                  </a:cubicBezTo>
                  <a:cubicBezTo>
                    <a:pt x="2050" y="294"/>
                    <a:pt x="2041" y="286"/>
                    <a:pt x="2039" y="285"/>
                  </a:cubicBezTo>
                  <a:close/>
                  <a:moveTo>
                    <a:pt x="2058" y="241"/>
                  </a:moveTo>
                  <a:cubicBezTo>
                    <a:pt x="2051" y="236"/>
                    <a:pt x="2066" y="214"/>
                    <a:pt x="2058" y="241"/>
                  </a:cubicBezTo>
                  <a:close/>
                  <a:moveTo>
                    <a:pt x="2050" y="174"/>
                  </a:moveTo>
                  <a:cubicBezTo>
                    <a:pt x="2060" y="185"/>
                    <a:pt x="2042" y="187"/>
                    <a:pt x="2050" y="174"/>
                  </a:cubicBezTo>
                  <a:close/>
                  <a:moveTo>
                    <a:pt x="2053" y="244"/>
                  </a:moveTo>
                  <a:cubicBezTo>
                    <a:pt x="2061" y="248"/>
                    <a:pt x="2052" y="257"/>
                    <a:pt x="2050" y="259"/>
                  </a:cubicBezTo>
                  <a:cubicBezTo>
                    <a:pt x="2047" y="259"/>
                    <a:pt x="2048" y="255"/>
                    <a:pt x="2047" y="252"/>
                  </a:cubicBezTo>
                  <a:cubicBezTo>
                    <a:pt x="2045" y="251"/>
                    <a:pt x="2045" y="253"/>
                    <a:pt x="2045" y="255"/>
                  </a:cubicBezTo>
                  <a:cubicBezTo>
                    <a:pt x="2042" y="256"/>
                    <a:pt x="2042" y="254"/>
                    <a:pt x="2042" y="252"/>
                  </a:cubicBezTo>
                  <a:cubicBezTo>
                    <a:pt x="2042" y="249"/>
                    <a:pt x="2042" y="247"/>
                    <a:pt x="2042" y="244"/>
                  </a:cubicBezTo>
                  <a:cubicBezTo>
                    <a:pt x="2047" y="241"/>
                    <a:pt x="2051" y="255"/>
                    <a:pt x="2053" y="244"/>
                  </a:cubicBezTo>
                  <a:close/>
                  <a:moveTo>
                    <a:pt x="2037" y="185"/>
                  </a:moveTo>
                  <a:cubicBezTo>
                    <a:pt x="2038" y="185"/>
                    <a:pt x="2040" y="185"/>
                    <a:pt x="2042" y="185"/>
                  </a:cubicBezTo>
                  <a:cubicBezTo>
                    <a:pt x="2042" y="188"/>
                    <a:pt x="2042" y="190"/>
                    <a:pt x="2042" y="193"/>
                  </a:cubicBezTo>
                  <a:cubicBezTo>
                    <a:pt x="2040" y="193"/>
                    <a:pt x="2038" y="193"/>
                    <a:pt x="2037" y="193"/>
                  </a:cubicBezTo>
                  <a:cubicBezTo>
                    <a:pt x="2037" y="190"/>
                    <a:pt x="2037" y="188"/>
                    <a:pt x="2037" y="185"/>
                  </a:cubicBezTo>
                  <a:close/>
                  <a:moveTo>
                    <a:pt x="2031" y="233"/>
                  </a:moveTo>
                  <a:cubicBezTo>
                    <a:pt x="2041" y="232"/>
                    <a:pt x="2035" y="253"/>
                    <a:pt x="2039" y="259"/>
                  </a:cubicBezTo>
                  <a:cubicBezTo>
                    <a:pt x="2029" y="262"/>
                    <a:pt x="2032" y="245"/>
                    <a:pt x="2031" y="233"/>
                  </a:cubicBezTo>
                  <a:close/>
                  <a:moveTo>
                    <a:pt x="2018" y="548"/>
                  </a:moveTo>
                  <a:cubicBezTo>
                    <a:pt x="2030" y="550"/>
                    <a:pt x="2016" y="570"/>
                    <a:pt x="2018" y="548"/>
                  </a:cubicBezTo>
                  <a:close/>
                  <a:moveTo>
                    <a:pt x="2020" y="1180"/>
                  </a:moveTo>
                  <a:cubicBezTo>
                    <a:pt x="2019" y="1187"/>
                    <a:pt x="2016" y="1181"/>
                    <a:pt x="2012" y="1180"/>
                  </a:cubicBezTo>
                  <a:cubicBezTo>
                    <a:pt x="2014" y="1173"/>
                    <a:pt x="2017" y="1180"/>
                    <a:pt x="2020" y="1180"/>
                  </a:cubicBezTo>
                  <a:close/>
                  <a:moveTo>
                    <a:pt x="2010" y="156"/>
                  </a:moveTo>
                  <a:cubicBezTo>
                    <a:pt x="2018" y="150"/>
                    <a:pt x="2018" y="172"/>
                    <a:pt x="2010" y="167"/>
                  </a:cubicBezTo>
                  <a:cubicBezTo>
                    <a:pt x="2010" y="163"/>
                    <a:pt x="2010" y="159"/>
                    <a:pt x="2010" y="156"/>
                  </a:cubicBezTo>
                  <a:close/>
                  <a:moveTo>
                    <a:pt x="2010" y="174"/>
                  </a:moveTo>
                  <a:cubicBezTo>
                    <a:pt x="2011" y="167"/>
                    <a:pt x="2013" y="176"/>
                    <a:pt x="2012" y="182"/>
                  </a:cubicBezTo>
                  <a:cubicBezTo>
                    <a:pt x="2011" y="189"/>
                    <a:pt x="2009" y="179"/>
                    <a:pt x="2010" y="174"/>
                  </a:cubicBezTo>
                  <a:close/>
                  <a:moveTo>
                    <a:pt x="2012" y="559"/>
                  </a:moveTo>
                  <a:cubicBezTo>
                    <a:pt x="2009" y="557"/>
                    <a:pt x="2007" y="554"/>
                    <a:pt x="2007" y="548"/>
                  </a:cubicBezTo>
                  <a:cubicBezTo>
                    <a:pt x="2010" y="549"/>
                    <a:pt x="2013" y="552"/>
                    <a:pt x="2012" y="559"/>
                  </a:cubicBezTo>
                  <a:close/>
                  <a:moveTo>
                    <a:pt x="2007" y="1187"/>
                  </a:moveTo>
                  <a:cubicBezTo>
                    <a:pt x="2019" y="1189"/>
                    <a:pt x="2004" y="1209"/>
                    <a:pt x="2007" y="1187"/>
                  </a:cubicBezTo>
                  <a:close/>
                  <a:moveTo>
                    <a:pt x="1991" y="182"/>
                  </a:moveTo>
                  <a:cubicBezTo>
                    <a:pt x="1995" y="172"/>
                    <a:pt x="2006" y="183"/>
                    <a:pt x="2004" y="193"/>
                  </a:cubicBezTo>
                  <a:cubicBezTo>
                    <a:pt x="1998" y="197"/>
                    <a:pt x="1993" y="182"/>
                    <a:pt x="1991" y="193"/>
                  </a:cubicBezTo>
                  <a:cubicBezTo>
                    <a:pt x="1988" y="192"/>
                    <a:pt x="1989" y="185"/>
                    <a:pt x="1986" y="185"/>
                  </a:cubicBezTo>
                  <a:cubicBezTo>
                    <a:pt x="1985" y="178"/>
                    <a:pt x="2004" y="189"/>
                    <a:pt x="1991" y="182"/>
                  </a:cubicBezTo>
                  <a:close/>
                  <a:moveTo>
                    <a:pt x="1996" y="537"/>
                  </a:moveTo>
                  <a:cubicBezTo>
                    <a:pt x="1995" y="544"/>
                    <a:pt x="1995" y="552"/>
                    <a:pt x="1988" y="551"/>
                  </a:cubicBezTo>
                  <a:cubicBezTo>
                    <a:pt x="1989" y="548"/>
                    <a:pt x="1991" y="545"/>
                    <a:pt x="1994" y="544"/>
                  </a:cubicBezTo>
                  <a:cubicBezTo>
                    <a:pt x="1991" y="539"/>
                    <a:pt x="1991" y="536"/>
                    <a:pt x="1996" y="537"/>
                  </a:cubicBezTo>
                  <a:close/>
                  <a:moveTo>
                    <a:pt x="1996" y="1169"/>
                  </a:moveTo>
                  <a:cubicBezTo>
                    <a:pt x="1999" y="1172"/>
                    <a:pt x="2000" y="1180"/>
                    <a:pt x="1996" y="1187"/>
                  </a:cubicBezTo>
                  <a:cubicBezTo>
                    <a:pt x="1990" y="1187"/>
                    <a:pt x="1995" y="1171"/>
                    <a:pt x="1996" y="1169"/>
                  </a:cubicBezTo>
                  <a:close/>
                  <a:moveTo>
                    <a:pt x="1996" y="211"/>
                  </a:moveTo>
                  <a:cubicBezTo>
                    <a:pt x="1990" y="213"/>
                    <a:pt x="1990" y="204"/>
                    <a:pt x="1983" y="207"/>
                  </a:cubicBezTo>
                  <a:cubicBezTo>
                    <a:pt x="1989" y="197"/>
                    <a:pt x="1991" y="205"/>
                    <a:pt x="1999" y="200"/>
                  </a:cubicBezTo>
                  <a:cubicBezTo>
                    <a:pt x="1998" y="203"/>
                    <a:pt x="1996" y="206"/>
                    <a:pt x="1996" y="211"/>
                  </a:cubicBezTo>
                  <a:close/>
                  <a:moveTo>
                    <a:pt x="1999" y="570"/>
                  </a:moveTo>
                  <a:cubicBezTo>
                    <a:pt x="2011" y="571"/>
                    <a:pt x="1996" y="591"/>
                    <a:pt x="1999" y="570"/>
                  </a:cubicBezTo>
                  <a:close/>
                  <a:moveTo>
                    <a:pt x="1986" y="122"/>
                  </a:moveTo>
                  <a:cubicBezTo>
                    <a:pt x="1988" y="123"/>
                    <a:pt x="1987" y="130"/>
                    <a:pt x="1991" y="130"/>
                  </a:cubicBezTo>
                  <a:cubicBezTo>
                    <a:pt x="1990" y="134"/>
                    <a:pt x="1986" y="132"/>
                    <a:pt x="1986" y="137"/>
                  </a:cubicBezTo>
                  <a:cubicBezTo>
                    <a:pt x="1977" y="135"/>
                    <a:pt x="1988" y="129"/>
                    <a:pt x="1986" y="122"/>
                  </a:cubicBezTo>
                  <a:close/>
                  <a:moveTo>
                    <a:pt x="1977" y="133"/>
                  </a:moveTo>
                  <a:cubicBezTo>
                    <a:pt x="1976" y="133"/>
                    <a:pt x="1974" y="133"/>
                    <a:pt x="1972" y="133"/>
                  </a:cubicBezTo>
                  <a:cubicBezTo>
                    <a:pt x="1973" y="130"/>
                    <a:pt x="1971" y="130"/>
                    <a:pt x="1969" y="130"/>
                  </a:cubicBezTo>
                  <a:cubicBezTo>
                    <a:pt x="1968" y="123"/>
                    <a:pt x="1982" y="124"/>
                    <a:pt x="1977" y="133"/>
                  </a:cubicBezTo>
                  <a:close/>
                  <a:moveTo>
                    <a:pt x="1961" y="133"/>
                  </a:moveTo>
                  <a:cubicBezTo>
                    <a:pt x="1966" y="142"/>
                    <a:pt x="1971" y="147"/>
                    <a:pt x="1980" y="141"/>
                  </a:cubicBezTo>
                  <a:cubicBezTo>
                    <a:pt x="1979" y="144"/>
                    <a:pt x="1978" y="145"/>
                    <a:pt x="1977" y="148"/>
                  </a:cubicBezTo>
                  <a:cubicBezTo>
                    <a:pt x="1977" y="156"/>
                    <a:pt x="1983" y="158"/>
                    <a:pt x="1983" y="163"/>
                  </a:cubicBezTo>
                  <a:cubicBezTo>
                    <a:pt x="1982" y="176"/>
                    <a:pt x="1978" y="182"/>
                    <a:pt x="1972" y="193"/>
                  </a:cubicBezTo>
                  <a:cubicBezTo>
                    <a:pt x="1969" y="192"/>
                    <a:pt x="1972" y="174"/>
                    <a:pt x="1975" y="174"/>
                  </a:cubicBezTo>
                  <a:cubicBezTo>
                    <a:pt x="1979" y="174"/>
                    <a:pt x="1974" y="159"/>
                    <a:pt x="1972" y="152"/>
                  </a:cubicBezTo>
                  <a:cubicBezTo>
                    <a:pt x="1968" y="152"/>
                    <a:pt x="1971" y="159"/>
                    <a:pt x="1969" y="163"/>
                  </a:cubicBezTo>
                  <a:cubicBezTo>
                    <a:pt x="1964" y="176"/>
                    <a:pt x="1972" y="145"/>
                    <a:pt x="1961" y="148"/>
                  </a:cubicBezTo>
                  <a:cubicBezTo>
                    <a:pt x="1961" y="143"/>
                    <a:pt x="1961" y="138"/>
                    <a:pt x="1961" y="133"/>
                  </a:cubicBezTo>
                  <a:close/>
                  <a:moveTo>
                    <a:pt x="1969" y="1232"/>
                  </a:moveTo>
                  <a:cubicBezTo>
                    <a:pt x="1973" y="1227"/>
                    <a:pt x="1971" y="1214"/>
                    <a:pt x="1961" y="1217"/>
                  </a:cubicBezTo>
                  <a:cubicBezTo>
                    <a:pt x="1960" y="1209"/>
                    <a:pt x="1966" y="1212"/>
                    <a:pt x="1967" y="1206"/>
                  </a:cubicBezTo>
                  <a:cubicBezTo>
                    <a:pt x="1967" y="1202"/>
                    <a:pt x="1972" y="1203"/>
                    <a:pt x="1975" y="1202"/>
                  </a:cubicBezTo>
                  <a:cubicBezTo>
                    <a:pt x="1976" y="1211"/>
                    <a:pt x="1974" y="1216"/>
                    <a:pt x="1972" y="1221"/>
                  </a:cubicBezTo>
                  <a:cubicBezTo>
                    <a:pt x="1974" y="1224"/>
                    <a:pt x="1978" y="1234"/>
                    <a:pt x="1969" y="1232"/>
                  </a:cubicBezTo>
                  <a:close/>
                  <a:moveTo>
                    <a:pt x="1964" y="1306"/>
                  </a:moveTo>
                  <a:cubicBezTo>
                    <a:pt x="1963" y="1310"/>
                    <a:pt x="1961" y="1313"/>
                    <a:pt x="1956" y="1313"/>
                  </a:cubicBezTo>
                  <a:cubicBezTo>
                    <a:pt x="1957" y="1309"/>
                    <a:pt x="1959" y="1306"/>
                    <a:pt x="1964" y="1306"/>
                  </a:cubicBezTo>
                  <a:close/>
                  <a:moveTo>
                    <a:pt x="1964" y="207"/>
                  </a:moveTo>
                  <a:cubicBezTo>
                    <a:pt x="1964" y="205"/>
                    <a:pt x="1964" y="202"/>
                    <a:pt x="1964" y="200"/>
                  </a:cubicBezTo>
                  <a:cubicBezTo>
                    <a:pt x="1969" y="199"/>
                    <a:pt x="1972" y="201"/>
                    <a:pt x="1972" y="207"/>
                  </a:cubicBezTo>
                  <a:cubicBezTo>
                    <a:pt x="1969" y="207"/>
                    <a:pt x="1967" y="207"/>
                    <a:pt x="1964" y="207"/>
                  </a:cubicBezTo>
                  <a:close/>
                  <a:moveTo>
                    <a:pt x="1961" y="163"/>
                  </a:moveTo>
                  <a:cubicBezTo>
                    <a:pt x="1969" y="151"/>
                    <a:pt x="1953" y="183"/>
                    <a:pt x="1967" y="178"/>
                  </a:cubicBezTo>
                  <a:cubicBezTo>
                    <a:pt x="1967" y="184"/>
                    <a:pt x="1963" y="186"/>
                    <a:pt x="1964" y="193"/>
                  </a:cubicBezTo>
                  <a:cubicBezTo>
                    <a:pt x="1960" y="187"/>
                    <a:pt x="1956" y="171"/>
                    <a:pt x="1961" y="163"/>
                  </a:cubicBezTo>
                  <a:close/>
                  <a:moveTo>
                    <a:pt x="1940" y="108"/>
                  </a:moveTo>
                  <a:cubicBezTo>
                    <a:pt x="1942" y="108"/>
                    <a:pt x="1945" y="108"/>
                    <a:pt x="1948" y="108"/>
                  </a:cubicBezTo>
                  <a:cubicBezTo>
                    <a:pt x="1945" y="115"/>
                    <a:pt x="1952" y="125"/>
                    <a:pt x="1953" y="115"/>
                  </a:cubicBezTo>
                  <a:cubicBezTo>
                    <a:pt x="1956" y="114"/>
                    <a:pt x="1956" y="116"/>
                    <a:pt x="1956" y="119"/>
                  </a:cubicBezTo>
                  <a:cubicBezTo>
                    <a:pt x="1955" y="122"/>
                    <a:pt x="1957" y="122"/>
                    <a:pt x="1959" y="122"/>
                  </a:cubicBezTo>
                  <a:cubicBezTo>
                    <a:pt x="1959" y="127"/>
                    <a:pt x="1954" y="124"/>
                    <a:pt x="1953" y="126"/>
                  </a:cubicBezTo>
                  <a:cubicBezTo>
                    <a:pt x="1951" y="130"/>
                    <a:pt x="1954" y="139"/>
                    <a:pt x="1951" y="141"/>
                  </a:cubicBezTo>
                  <a:cubicBezTo>
                    <a:pt x="1947" y="138"/>
                    <a:pt x="1945" y="132"/>
                    <a:pt x="1945" y="122"/>
                  </a:cubicBezTo>
                  <a:cubicBezTo>
                    <a:pt x="1943" y="122"/>
                    <a:pt x="1943" y="127"/>
                    <a:pt x="1942" y="130"/>
                  </a:cubicBezTo>
                  <a:cubicBezTo>
                    <a:pt x="1940" y="128"/>
                    <a:pt x="1938" y="126"/>
                    <a:pt x="1934" y="126"/>
                  </a:cubicBezTo>
                  <a:cubicBezTo>
                    <a:pt x="1937" y="121"/>
                    <a:pt x="1937" y="112"/>
                    <a:pt x="1940" y="108"/>
                  </a:cubicBezTo>
                  <a:close/>
                  <a:moveTo>
                    <a:pt x="1937" y="174"/>
                  </a:moveTo>
                  <a:cubicBezTo>
                    <a:pt x="1934" y="161"/>
                    <a:pt x="1954" y="164"/>
                    <a:pt x="1948" y="178"/>
                  </a:cubicBezTo>
                  <a:cubicBezTo>
                    <a:pt x="1943" y="171"/>
                    <a:pt x="1946" y="171"/>
                    <a:pt x="1937" y="174"/>
                  </a:cubicBezTo>
                  <a:close/>
                  <a:moveTo>
                    <a:pt x="1945" y="1095"/>
                  </a:moveTo>
                  <a:cubicBezTo>
                    <a:pt x="1944" y="1100"/>
                    <a:pt x="1942" y="1103"/>
                    <a:pt x="1937" y="1102"/>
                  </a:cubicBezTo>
                  <a:cubicBezTo>
                    <a:pt x="1938" y="1098"/>
                    <a:pt x="1941" y="1095"/>
                    <a:pt x="1945" y="1095"/>
                  </a:cubicBezTo>
                  <a:close/>
                  <a:moveTo>
                    <a:pt x="1942" y="137"/>
                  </a:moveTo>
                  <a:cubicBezTo>
                    <a:pt x="1941" y="142"/>
                    <a:pt x="1939" y="145"/>
                    <a:pt x="1934" y="145"/>
                  </a:cubicBezTo>
                  <a:cubicBezTo>
                    <a:pt x="1936" y="140"/>
                    <a:pt x="1938" y="137"/>
                    <a:pt x="1942" y="137"/>
                  </a:cubicBezTo>
                  <a:close/>
                  <a:moveTo>
                    <a:pt x="1908" y="193"/>
                  </a:moveTo>
                  <a:cubicBezTo>
                    <a:pt x="1910" y="201"/>
                    <a:pt x="1917" y="202"/>
                    <a:pt x="1921" y="207"/>
                  </a:cubicBezTo>
                  <a:cubicBezTo>
                    <a:pt x="1919" y="214"/>
                    <a:pt x="1915" y="210"/>
                    <a:pt x="1916" y="204"/>
                  </a:cubicBezTo>
                  <a:cubicBezTo>
                    <a:pt x="1910" y="205"/>
                    <a:pt x="1909" y="201"/>
                    <a:pt x="1905" y="200"/>
                  </a:cubicBezTo>
                  <a:cubicBezTo>
                    <a:pt x="1901" y="191"/>
                    <a:pt x="1913" y="185"/>
                    <a:pt x="1905" y="182"/>
                  </a:cubicBezTo>
                  <a:cubicBezTo>
                    <a:pt x="1905" y="173"/>
                    <a:pt x="1912" y="183"/>
                    <a:pt x="1913" y="182"/>
                  </a:cubicBezTo>
                  <a:cubicBezTo>
                    <a:pt x="1913" y="181"/>
                    <a:pt x="1913" y="178"/>
                    <a:pt x="1913" y="178"/>
                  </a:cubicBezTo>
                  <a:cubicBezTo>
                    <a:pt x="1919" y="179"/>
                    <a:pt x="1920" y="185"/>
                    <a:pt x="1924" y="193"/>
                  </a:cubicBezTo>
                  <a:cubicBezTo>
                    <a:pt x="1927" y="199"/>
                    <a:pt x="1935" y="201"/>
                    <a:pt x="1932" y="207"/>
                  </a:cubicBezTo>
                  <a:cubicBezTo>
                    <a:pt x="1922" y="210"/>
                    <a:pt x="1920" y="202"/>
                    <a:pt x="1921" y="189"/>
                  </a:cubicBezTo>
                  <a:cubicBezTo>
                    <a:pt x="1915" y="188"/>
                    <a:pt x="1911" y="190"/>
                    <a:pt x="1908" y="193"/>
                  </a:cubicBezTo>
                  <a:close/>
                  <a:moveTo>
                    <a:pt x="1897" y="244"/>
                  </a:moveTo>
                  <a:cubicBezTo>
                    <a:pt x="1897" y="239"/>
                    <a:pt x="1894" y="244"/>
                    <a:pt x="1894" y="244"/>
                  </a:cubicBezTo>
                  <a:cubicBezTo>
                    <a:pt x="1891" y="243"/>
                    <a:pt x="1892" y="235"/>
                    <a:pt x="1886" y="237"/>
                  </a:cubicBezTo>
                  <a:cubicBezTo>
                    <a:pt x="1888" y="231"/>
                    <a:pt x="1895" y="232"/>
                    <a:pt x="1899" y="230"/>
                  </a:cubicBezTo>
                  <a:cubicBezTo>
                    <a:pt x="1899" y="239"/>
                    <a:pt x="1897" y="253"/>
                    <a:pt x="1908" y="248"/>
                  </a:cubicBezTo>
                  <a:cubicBezTo>
                    <a:pt x="1909" y="258"/>
                    <a:pt x="1898" y="252"/>
                    <a:pt x="1897" y="259"/>
                  </a:cubicBezTo>
                  <a:cubicBezTo>
                    <a:pt x="1890" y="258"/>
                    <a:pt x="1900" y="253"/>
                    <a:pt x="1897" y="244"/>
                  </a:cubicBezTo>
                  <a:close/>
                  <a:moveTo>
                    <a:pt x="1908" y="241"/>
                  </a:moveTo>
                  <a:cubicBezTo>
                    <a:pt x="1901" y="240"/>
                    <a:pt x="1901" y="231"/>
                    <a:pt x="1905" y="226"/>
                  </a:cubicBezTo>
                  <a:cubicBezTo>
                    <a:pt x="1911" y="227"/>
                    <a:pt x="1911" y="236"/>
                    <a:pt x="1908" y="241"/>
                  </a:cubicBezTo>
                  <a:close/>
                  <a:moveTo>
                    <a:pt x="1902" y="222"/>
                  </a:moveTo>
                  <a:cubicBezTo>
                    <a:pt x="1904" y="217"/>
                    <a:pt x="1911" y="217"/>
                    <a:pt x="1916" y="215"/>
                  </a:cubicBezTo>
                  <a:cubicBezTo>
                    <a:pt x="1918" y="227"/>
                    <a:pt x="1907" y="221"/>
                    <a:pt x="1902" y="222"/>
                  </a:cubicBezTo>
                  <a:close/>
                  <a:moveTo>
                    <a:pt x="1926" y="189"/>
                  </a:moveTo>
                  <a:cubicBezTo>
                    <a:pt x="1936" y="167"/>
                    <a:pt x="1940" y="211"/>
                    <a:pt x="1926" y="189"/>
                  </a:cubicBezTo>
                  <a:close/>
                  <a:moveTo>
                    <a:pt x="1932" y="211"/>
                  </a:moveTo>
                  <a:cubicBezTo>
                    <a:pt x="1941" y="209"/>
                    <a:pt x="1932" y="228"/>
                    <a:pt x="1929" y="222"/>
                  </a:cubicBezTo>
                  <a:cubicBezTo>
                    <a:pt x="1929" y="222"/>
                    <a:pt x="1931" y="215"/>
                    <a:pt x="1932" y="215"/>
                  </a:cubicBezTo>
                  <a:cubicBezTo>
                    <a:pt x="1932" y="215"/>
                    <a:pt x="1932" y="211"/>
                    <a:pt x="1932" y="211"/>
                  </a:cubicBezTo>
                  <a:close/>
                  <a:moveTo>
                    <a:pt x="1934" y="159"/>
                  </a:moveTo>
                  <a:cubicBezTo>
                    <a:pt x="1934" y="164"/>
                    <a:pt x="1933" y="161"/>
                    <a:pt x="1932" y="163"/>
                  </a:cubicBezTo>
                  <a:cubicBezTo>
                    <a:pt x="1931" y="166"/>
                    <a:pt x="1922" y="176"/>
                    <a:pt x="1932" y="174"/>
                  </a:cubicBezTo>
                  <a:cubicBezTo>
                    <a:pt x="1931" y="178"/>
                    <a:pt x="1927" y="177"/>
                    <a:pt x="1924" y="178"/>
                  </a:cubicBezTo>
                  <a:cubicBezTo>
                    <a:pt x="1924" y="173"/>
                    <a:pt x="1924" y="168"/>
                    <a:pt x="1924" y="163"/>
                  </a:cubicBezTo>
                  <a:cubicBezTo>
                    <a:pt x="1928" y="163"/>
                    <a:pt x="1931" y="164"/>
                    <a:pt x="1932" y="159"/>
                  </a:cubicBezTo>
                  <a:cubicBezTo>
                    <a:pt x="1932" y="155"/>
                    <a:pt x="1935" y="157"/>
                    <a:pt x="1934" y="159"/>
                  </a:cubicBezTo>
                  <a:close/>
                  <a:moveTo>
                    <a:pt x="1921" y="119"/>
                  </a:moveTo>
                  <a:cubicBezTo>
                    <a:pt x="1923" y="120"/>
                    <a:pt x="1926" y="113"/>
                    <a:pt x="1929" y="119"/>
                  </a:cubicBezTo>
                  <a:cubicBezTo>
                    <a:pt x="1930" y="125"/>
                    <a:pt x="1920" y="138"/>
                    <a:pt x="1932" y="137"/>
                  </a:cubicBezTo>
                  <a:cubicBezTo>
                    <a:pt x="1929" y="146"/>
                    <a:pt x="1915" y="158"/>
                    <a:pt x="1921" y="167"/>
                  </a:cubicBezTo>
                  <a:cubicBezTo>
                    <a:pt x="1913" y="177"/>
                    <a:pt x="1913" y="159"/>
                    <a:pt x="1916" y="148"/>
                  </a:cubicBezTo>
                  <a:cubicBezTo>
                    <a:pt x="1918" y="148"/>
                    <a:pt x="1921" y="148"/>
                    <a:pt x="1924" y="148"/>
                  </a:cubicBezTo>
                  <a:cubicBezTo>
                    <a:pt x="1922" y="137"/>
                    <a:pt x="1922" y="141"/>
                    <a:pt x="1924" y="130"/>
                  </a:cubicBezTo>
                  <a:cubicBezTo>
                    <a:pt x="1921" y="129"/>
                    <a:pt x="1919" y="131"/>
                    <a:pt x="1918" y="133"/>
                  </a:cubicBezTo>
                  <a:cubicBezTo>
                    <a:pt x="1912" y="135"/>
                    <a:pt x="1926" y="115"/>
                    <a:pt x="1913" y="119"/>
                  </a:cubicBezTo>
                  <a:cubicBezTo>
                    <a:pt x="1914" y="117"/>
                    <a:pt x="1916" y="110"/>
                    <a:pt x="1918" y="111"/>
                  </a:cubicBezTo>
                  <a:cubicBezTo>
                    <a:pt x="1921" y="112"/>
                    <a:pt x="1920" y="118"/>
                    <a:pt x="1921" y="119"/>
                  </a:cubicBezTo>
                  <a:close/>
                  <a:moveTo>
                    <a:pt x="1913" y="71"/>
                  </a:moveTo>
                  <a:cubicBezTo>
                    <a:pt x="1915" y="71"/>
                    <a:pt x="1917" y="71"/>
                    <a:pt x="1918" y="71"/>
                  </a:cubicBezTo>
                  <a:cubicBezTo>
                    <a:pt x="1918" y="77"/>
                    <a:pt x="1918" y="83"/>
                    <a:pt x="1918" y="89"/>
                  </a:cubicBezTo>
                  <a:cubicBezTo>
                    <a:pt x="1916" y="87"/>
                    <a:pt x="1916" y="81"/>
                    <a:pt x="1910" y="82"/>
                  </a:cubicBezTo>
                  <a:cubicBezTo>
                    <a:pt x="1910" y="76"/>
                    <a:pt x="1913" y="75"/>
                    <a:pt x="1913" y="71"/>
                  </a:cubicBezTo>
                  <a:close/>
                  <a:moveTo>
                    <a:pt x="1897" y="111"/>
                  </a:moveTo>
                  <a:cubicBezTo>
                    <a:pt x="1904" y="113"/>
                    <a:pt x="1909" y="131"/>
                    <a:pt x="1897" y="130"/>
                  </a:cubicBezTo>
                  <a:cubicBezTo>
                    <a:pt x="1897" y="124"/>
                    <a:pt x="1897" y="117"/>
                    <a:pt x="1897" y="111"/>
                  </a:cubicBezTo>
                  <a:close/>
                  <a:moveTo>
                    <a:pt x="1894" y="137"/>
                  </a:moveTo>
                  <a:cubicBezTo>
                    <a:pt x="1891" y="136"/>
                    <a:pt x="1889" y="132"/>
                    <a:pt x="1889" y="126"/>
                  </a:cubicBezTo>
                  <a:cubicBezTo>
                    <a:pt x="1892" y="128"/>
                    <a:pt x="1894" y="131"/>
                    <a:pt x="1894" y="137"/>
                  </a:cubicBezTo>
                  <a:close/>
                  <a:moveTo>
                    <a:pt x="1875" y="126"/>
                  </a:moveTo>
                  <a:cubicBezTo>
                    <a:pt x="1884" y="126"/>
                    <a:pt x="1872" y="118"/>
                    <a:pt x="1873" y="108"/>
                  </a:cubicBezTo>
                  <a:cubicBezTo>
                    <a:pt x="1875" y="110"/>
                    <a:pt x="1879" y="111"/>
                    <a:pt x="1883" y="111"/>
                  </a:cubicBezTo>
                  <a:cubicBezTo>
                    <a:pt x="1883" y="116"/>
                    <a:pt x="1883" y="122"/>
                    <a:pt x="1886" y="122"/>
                  </a:cubicBezTo>
                  <a:cubicBezTo>
                    <a:pt x="1886" y="129"/>
                    <a:pt x="1877" y="125"/>
                    <a:pt x="1875" y="130"/>
                  </a:cubicBezTo>
                  <a:cubicBezTo>
                    <a:pt x="1876" y="137"/>
                    <a:pt x="1875" y="141"/>
                    <a:pt x="1870" y="141"/>
                  </a:cubicBezTo>
                  <a:cubicBezTo>
                    <a:pt x="1874" y="139"/>
                    <a:pt x="1867" y="126"/>
                    <a:pt x="1875" y="126"/>
                  </a:cubicBezTo>
                  <a:close/>
                  <a:moveTo>
                    <a:pt x="1878" y="152"/>
                  </a:moveTo>
                  <a:cubicBezTo>
                    <a:pt x="1879" y="149"/>
                    <a:pt x="1881" y="148"/>
                    <a:pt x="1881" y="145"/>
                  </a:cubicBezTo>
                  <a:cubicBezTo>
                    <a:pt x="1882" y="145"/>
                    <a:pt x="1884" y="145"/>
                    <a:pt x="1886" y="145"/>
                  </a:cubicBezTo>
                  <a:cubicBezTo>
                    <a:pt x="1887" y="152"/>
                    <a:pt x="1882" y="152"/>
                    <a:pt x="1878" y="152"/>
                  </a:cubicBezTo>
                  <a:close/>
                  <a:moveTo>
                    <a:pt x="1838" y="133"/>
                  </a:moveTo>
                  <a:cubicBezTo>
                    <a:pt x="1839" y="126"/>
                    <a:pt x="1841" y="136"/>
                    <a:pt x="1840" y="141"/>
                  </a:cubicBezTo>
                  <a:cubicBezTo>
                    <a:pt x="1839" y="148"/>
                    <a:pt x="1837" y="138"/>
                    <a:pt x="1838" y="133"/>
                  </a:cubicBezTo>
                  <a:close/>
                  <a:moveTo>
                    <a:pt x="1830" y="126"/>
                  </a:moveTo>
                  <a:cubicBezTo>
                    <a:pt x="1822" y="128"/>
                    <a:pt x="1827" y="112"/>
                    <a:pt x="1822" y="111"/>
                  </a:cubicBezTo>
                  <a:cubicBezTo>
                    <a:pt x="1825" y="101"/>
                    <a:pt x="1831" y="117"/>
                    <a:pt x="1830" y="126"/>
                  </a:cubicBezTo>
                  <a:close/>
                  <a:moveTo>
                    <a:pt x="1773" y="122"/>
                  </a:moveTo>
                  <a:cubicBezTo>
                    <a:pt x="1775" y="123"/>
                    <a:pt x="1776" y="126"/>
                    <a:pt x="1778" y="126"/>
                  </a:cubicBezTo>
                  <a:cubicBezTo>
                    <a:pt x="1778" y="129"/>
                    <a:pt x="1776" y="130"/>
                    <a:pt x="1776" y="133"/>
                  </a:cubicBezTo>
                  <a:cubicBezTo>
                    <a:pt x="1774" y="133"/>
                    <a:pt x="1773" y="130"/>
                    <a:pt x="1770" y="130"/>
                  </a:cubicBezTo>
                  <a:cubicBezTo>
                    <a:pt x="1771" y="127"/>
                    <a:pt x="1773" y="126"/>
                    <a:pt x="1773" y="122"/>
                  </a:cubicBezTo>
                  <a:close/>
                  <a:moveTo>
                    <a:pt x="1757" y="96"/>
                  </a:moveTo>
                  <a:cubicBezTo>
                    <a:pt x="1769" y="99"/>
                    <a:pt x="1755" y="119"/>
                    <a:pt x="1757" y="96"/>
                  </a:cubicBezTo>
                  <a:close/>
                  <a:moveTo>
                    <a:pt x="1711" y="163"/>
                  </a:moveTo>
                  <a:cubicBezTo>
                    <a:pt x="1717" y="164"/>
                    <a:pt x="1715" y="146"/>
                    <a:pt x="1709" y="152"/>
                  </a:cubicBezTo>
                  <a:cubicBezTo>
                    <a:pt x="1710" y="149"/>
                    <a:pt x="1711" y="145"/>
                    <a:pt x="1714" y="145"/>
                  </a:cubicBezTo>
                  <a:cubicBezTo>
                    <a:pt x="1723" y="135"/>
                    <a:pt x="1724" y="159"/>
                    <a:pt x="1725" y="137"/>
                  </a:cubicBezTo>
                  <a:cubicBezTo>
                    <a:pt x="1730" y="139"/>
                    <a:pt x="1730" y="148"/>
                    <a:pt x="1738" y="145"/>
                  </a:cubicBezTo>
                  <a:cubicBezTo>
                    <a:pt x="1736" y="155"/>
                    <a:pt x="1742" y="154"/>
                    <a:pt x="1741" y="163"/>
                  </a:cubicBezTo>
                  <a:cubicBezTo>
                    <a:pt x="1749" y="160"/>
                    <a:pt x="1739" y="151"/>
                    <a:pt x="1741" y="145"/>
                  </a:cubicBezTo>
                  <a:cubicBezTo>
                    <a:pt x="1746" y="151"/>
                    <a:pt x="1753" y="132"/>
                    <a:pt x="1760" y="141"/>
                  </a:cubicBezTo>
                  <a:cubicBezTo>
                    <a:pt x="1760" y="141"/>
                    <a:pt x="1760" y="145"/>
                    <a:pt x="1760" y="145"/>
                  </a:cubicBezTo>
                  <a:cubicBezTo>
                    <a:pt x="1761" y="144"/>
                    <a:pt x="1763" y="137"/>
                    <a:pt x="1762" y="137"/>
                  </a:cubicBezTo>
                  <a:cubicBezTo>
                    <a:pt x="1766" y="137"/>
                    <a:pt x="1766" y="147"/>
                    <a:pt x="1768" y="148"/>
                  </a:cubicBezTo>
                  <a:cubicBezTo>
                    <a:pt x="1772" y="151"/>
                    <a:pt x="1773" y="134"/>
                    <a:pt x="1778" y="145"/>
                  </a:cubicBezTo>
                  <a:cubicBezTo>
                    <a:pt x="1787" y="146"/>
                    <a:pt x="1779" y="126"/>
                    <a:pt x="1789" y="130"/>
                  </a:cubicBezTo>
                  <a:cubicBezTo>
                    <a:pt x="1788" y="135"/>
                    <a:pt x="1785" y="139"/>
                    <a:pt x="1784" y="145"/>
                  </a:cubicBezTo>
                  <a:cubicBezTo>
                    <a:pt x="1785" y="152"/>
                    <a:pt x="1794" y="147"/>
                    <a:pt x="1797" y="148"/>
                  </a:cubicBezTo>
                  <a:cubicBezTo>
                    <a:pt x="1797" y="148"/>
                    <a:pt x="1797" y="152"/>
                    <a:pt x="1797" y="152"/>
                  </a:cubicBezTo>
                  <a:cubicBezTo>
                    <a:pt x="1803" y="153"/>
                    <a:pt x="1811" y="148"/>
                    <a:pt x="1816" y="156"/>
                  </a:cubicBezTo>
                  <a:cubicBezTo>
                    <a:pt x="1816" y="156"/>
                    <a:pt x="1816" y="159"/>
                    <a:pt x="1816" y="159"/>
                  </a:cubicBezTo>
                  <a:cubicBezTo>
                    <a:pt x="1824" y="159"/>
                    <a:pt x="1822" y="138"/>
                    <a:pt x="1827" y="159"/>
                  </a:cubicBezTo>
                  <a:cubicBezTo>
                    <a:pt x="1831" y="158"/>
                    <a:pt x="1829" y="150"/>
                    <a:pt x="1830" y="145"/>
                  </a:cubicBezTo>
                  <a:cubicBezTo>
                    <a:pt x="1827" y="141"/>
                    <a:pt x="1824" y="137"/>
                    <a:pt x="1822" y="133"/>
                  </a:cubicBezTo>
                  <a:cubicBezTo>
                    <a:pt x="1821" y="122"/>
                    <a:pt x="1829" y="143"/>
                    <a:pt x="1830" y="130"/>
                  </a:cubicBezTo>
                  <a:cubicBezTo>
                    <a:pt x="1837" y="136"/>
                    <a:pt x="1826" y="166"/>
                    <a:pt x="1843" y="159"/>
                  </a:cubicBezTo>
                  <a:cubicBezTo>
                    <a:pt x="1842" y="162"/>
                    <a:pt x="1840" y="165"/>
                    <a:pt x="1840" y="170"/>
                  </a:cubicBezTo>
                  <a:cubicBezTo>
                    <a:pt x="1832" y="174"/>
                    <a:pt x="1832" y="165"/>
                    <a:pt x="1827" y="163"/>
                  </a:cubicBezTo>
                  <a:cubicBezTo>
                    <a:pt x="1820" y="163"/>
                    <a:pt x="1815" y="167"/>
                    <a:pt x="1811" y="167"/>
                  </a:cubicBezTo>
                  <a:cubicBezTo>
                    <a:pt x="1812" y="167"/>
                    <a:pt x="1808" y="155"/>
                    <a:pt x="1805" y="159"/>
                  </a:cubicBezTo>
                  <a:cubicBezTo>
                    <a:pt x="1803" y="164"/>
                    <a:pt x="1805" y="160"/>
                    <a:pt x="1803" y="159"/>
                  </a:cubicBezTo>
                  <a:cubicBezTo>
                    <a:pt x="1800" y="159"/>
                    <a:pt x="1800" y="163"/>
                    <a:pt x="1800" y="163"/>
                  </a:cubicBezTo>
                  <a:cubicBezTo>
                    <a:pt x="1794" y="162"/>
                    <a:pt x="1793" y="156"/>
                    <a:pt x="1787" y="156"/>
                  </a:cubicBezTo>
                  <a:cubicBezTo>
                    <a:pt x="1787" y="159"/>
                    <a:pt x="1790" y="159"/>
                    <a:pt x="1792" y="159"/>
                  </a:cubicBezTo>
                  <a:cubicBezTo>
                    <a:pt x="1789" y="166"/>
                    <a:pt x="1785" y="170"/>
                    <a:pt x="1784" y="178"/>
                  </a:cubicBezTo>
                  <a:cubicBezTo>
                    <a:pt x="1776" y="175"/>
                    <a:pt x="1787" y="169"/>
                    <a:pt x="1784" y="159"/>
                  </a:cubicBezTo>
                  <a:cubicBezTo>
                    <a:pt x="1781" y="159"/>
                    <a:pt x="1782" y="164"/>
                    <a:pt x="1781" y="167"/>
                  </a:cubicBezTo>
                  <a:cubicBezTo>
                    <a:pt x="1778" y="164"/>
                    <a:pt x="1778" y="158"/>
                    <a:pt x="1773" y="159"/>
                  </a:cubicBezTo>
                  <a:cubicBezTo>
                    <a:pt x="1773" y="156"/>
                    <a:pt x="1773" y="152"/>
                    <a:pt x="1773" y="148"/>
                  </a:cubicBezTo>
                  <a:cubicBezTo>
                    <a:pt x="1770" y="147"/>
                    <a:pt x="1764" y="159"/>
                    <a:pt x="1770" y="159"/>
                  </a:cubicBezTo>
                  <a:cubicBezTo>
                    <a:pt x="1769" y="163"/>
                    <a:pt x="1764" y="163"/>
                    <a:pt x="1765" y="170"/>
                  </a:cubicBezTo>
                  <a:cubicBezTo>
                    <a:pt x="1760" y="164"/>
                    <a:pt x="1762" y="171"/>
                    <a:pt x="1754" y="170"/>
                  </a:cubicBezTo>
                  <a:cubicBezTo>
                    <a:pt x="1754" y="160"/>
                    <a:pt x="1759" y="163"/>
                    <a:pt x="1754" y="156"/>
                  </a:cubicBezTo>
                  <a:cubicBezTo>
                    <a:pt x="1750" y="159"/>
                    <a:pt x="1749" y="165"/>
                    <a:pt x="1749" y="174"/>
                  </a:cubicBezTo>
                  <a:cubicBezTo>
                    <a:pt x="1747" y="172"/>
                    <a:pt x="1744" y="171"/>
                    <a:pt x="1744" y="167"/>
                  </a:cubicBezTo>
                  <a:cubicBezTo>
                    <a:pt x="1741" y="168"/>
                    <a:pt x="1741" y="170"/>
                    <a:pt x="1738" y="170"/>
                  </a:cubicBezTo>
                  <a:cubicBezTo>
                    <a:pt x="1734" y="171"/>
                    <a:pt x="1734" y="167"/>
                    <a:pt x="1730" y="167"/>
                  </a:cubicBezTo>
                  <a:cubicBezTo>
                    <a:pt x="1725" y="166"/>
                    <a:pt x="1722" y="176"/>
                    <a:pt x="1722" y="163"/>
                  </a:cubicBezTo>
                  <a:cubicBezTo>
                    <a:pt x="1717" y="159"/>
                    <a:pt x="1718" y="170"/>
                    <a:pt x="1717" y="170"/>
                  </a:cubicBezTo>
                  <a:cubicBezTo>
                    <a:pt x="1716" y="171"/>
                    <a:pt x="1706" y="163"/>
                    <a:pt x="1698" y="167"/>
                  </a:cubicBezTo>
                  <a:cubicBezTo>
                    <a:pt x="1700" y="155"/>
                    <a:pt x="1695" y="153"/>
                    <a:pt x="1695" y="145"/>
                  </a:cubicBezTo>
                  <a:cubicBezTo>
                    <a:pt x="1704" y="146"/>
                    <a:pt x="1704" y="160"/>
                    <a:pt x="1711" y="163"/>
                  </a:cubicBezTo>
                  <a:close/>
                  <a:moveTo>
                    <a:pt x="1832" y="196"/>
                  </a:moveTo>
                  <a:cubicBezTo>
                    <a:pt x="1824" y="194"/>
                    <a:pt x="1836" y="191"/>
                    <a:pt x="1835" y="185"/>
                  </a:cubicBezTo>
                  <a:cubicBezTo>
                    <a:pt x="1844" y="189"/>
                    <a:pt x="1832" y="193"/>
                    <a:pt x="1832" y="196"/>
                  </a:cubicBezTo>
                  <a:close/>
                  <a:moveTo>
                    <a:pt x="1838" y="1199"/>
                  </a:moveTo>
                  <a:cubicBezTo>
                    <a:pt x="1841" y="1198"/>
                    <a:pt x="1840" y="1202"/>
                    <a:pt x="1840" y="1202"/>
                  </a:cubicBezTo>
                  <a:cubicBezTo>
                    <a:pt x="1843" y="1203"/>
                    <a:pt x="1854" y="1199"/>
                    <a:pt x="1851" y="1210"/>
                  </a:cubicBezTo>
                  <a:cubicBezTo>
                    <a:pt x="1843" y="1212"/>
                    <a:pt x="1841" y="1206"/>
                    <a:pt x="1835" y="1206"/>
                  </a:cubicBezTo>
                  <a:cubicBezTo>
                    <a:pt x="1836" y="1206"/>
                    <a:pt x="1837" y="1199"/>
                    <a:pt x="1838" y="1199"/>
                  </a:cubicBezTo>
                  <a:close/>
                  <a:moveTo>
                    <a:pt x="1784" y="244"/>
                  </a:moveTo>
                  <a:cubicBezTo>
                    <a:pt x="1785" y="239"/>
                    <a:pt x="1792" y="241"/>
                    <a:pt x="1789" y="230"/>
                  </a:cubicBezTo>
                  <a:cubicBezTo>
                    <a:pt x="1792" y="232"/>
                    <a:pt x="1793" y="236"/>
                    <a:pt x="1795" y="241"/>
                  </a:cubicBezTo>
                  <a:cubicBezTo>
                    <a:pt x="1797" y="238"/>
                    <a:pt x="1799" y="234"/>
                    <a:pt x="1800" y="230"/>
                  </a:cubicBezTo>
                  <a:cubicBezTo>
                    <a:pt x="1804" y="231"/>
                    <a:pt x="1802" y="239"/>
                    <a:pt x="1803" y="244"/>
                  </a:cubicBezTo>
                  <a:cubicBezTo>
                    <a:pt x="1807" y="249"/>
                    <a:pt x="1809" y="255"/>
                    <a:pt x="1816" y="255"/>
                  </a:cubicBezTo>
                  <a:cubicBezTo>
                    <a:pt x="1814" y="266"/>
                    <a:pt x="1808" y="250"/>
                    <a:pt x="1800" y="255"/>
                  </a:cubicBezTo>
                  <a:cubicBezTo>
                    <a:pt x="1801" y="238"/>
                    <a:pt x="1795" y="249"/>
                    <a:pt x="1784" y="244"/>
                  </a:cubicBezTo>
                  <a:close/>
                  <a:moveTo>
                    <a:pt x="1805" y="226"/>
                  </a:moveTo>
                  <a:cubicBezTo>
                    <a:pt x="1796" y="232"/>
                    <a:pt x="1804" y="213"/>
                    <a:pt x="1797" y="215"/>
                  </a:cubicBezTo>
                  <a:cubicBezTo>
                    <a:pt x="1800" y="205"/>
                    <a:pt x="1808" y="217"/>
                    <a:pt x="1805" y="226"/>
                  </a:cubicBezTo>
                  <a:close/>
                  <a:moveTo>
                    <a:pt x="1797" y="189"/>
                  </a:moveTo>
                  <a:cubicBezTo>
                    <a:pt x="1800" y="178"/>
                    <a:pt x="1804" y="194"/>
                    <a:pt x="1811" y="189"/>
                  </a:cubicBezTo>
                  <a:cubicBezTo>
                    <a:pt x="1810" y="198"/>
                    <a:pt x="1799" y="191"/>
                    <a:pt x="1797" y="189"/>
                  </a:cubicBezTo>
                  <a:close/>
                  <a:moveTo>
                    <a:pt x="1730" y="1254"/>
                  </a:moveTo>
                  <a:cubicBezTo>
                    <a:pt x="1728" y="1255"/>
                    <a:pt x="1727" y="1258"/>
                    <a:pt x="1725" y="1258"/>
                  </a:cubicBezTo>
                  <a:cubicBezTo>
                    <a:pt x="1720" y="1258"/>
                    <a:pt x="1723" y="1270"/>
                    <a:pt x="1719" y="1273"/>
                  </a:cubicBezTo>
                  <a:cubicBezTo>
                    <a:pt x="1715" y="1265"/>
                    <a:pt x="1716" y="1269"/>
                    <a:pt x="1709" y="1265"/>
                  </a:cubicBezTo>
                  <a:cubicBezTo>
                    <a:pt x="1708" y="1258"/>
                    <a:pt x="1718" y="1265"/>
                    <a:pt x="1719" y="1261"/>
                  </a:cubicBezTo>
                  <a:cubicBezTo>
                    <a:pt x="1720" y="1261"/>
                    <a:pt x="1715" y="1252"/>
                    <a:pt x="1717" y="1250"/>
                  </a:cubicBezTo>
                  <a:cubicBezTo>
                    <a:pt x="1719" y="1248"/>
                    <a:pt x="1730" y="1259"/>
                    <a:pt x="1727" y="1243"/>
                  </a:cubicBezTo>
                  <a:cubicBezTo>
                    <a:pt x="1731" y="1232"/>
                    <a:pt x="1728" y="1261"/>
                    <a:pt x="1738" y="1254"/>
                  </a:cubicBezTo>
                  <a:cubicBezTo>
                    <a:pt x="1748" y="1256"/>
                    <a:pt x="1728" y="1263"/>
                    <a:pt x="1730" y="1254"/>
                  </a:cubicBezTo>
                  <a:close/>
                  <a:moveTo>
                    <a:pt x="1738" y="1265"/>
                  </a:moveTo>
                  <a:cubicBezTo>
                    <a:pt x="1732" y="1277"/>
                    <a:pt x="1725" y="1255"/>
                    <a:pt x="1738" y="1265"/>
                  </a:cubicBezTo>
                  <a:close/>
                  <a:moveTo>
                    <a:pt x="1725" y="1206"/>
                  </a:moveTo>
                  <a:cubicBezTo>
                    <a:pt x="1721" y="1207"/>
                    <a:pt x="1724" y="1217"/>
                    <a:pt x="1719" y="1217"/>
                  </a:cubicBezTo>
                  <a:cubicBezTo>
                    <a:pt x="1720" y="1221"/>
                    <a:pt x="1724" y="1220"/>
                    <a:pt x="1727" y="1221"/>
                  </a:cubicBezTo>
                  <a:cubicBezTo>
                    <a:pt x="1727" y="1226"/>
                    <a:pt x="1727" y="1231"/>
                    <a:pt x="1727" y="1235"/>
                  </a:cubicBezTo>
                  <a:cubicBezTo>
                    <a:pt x="1725" y="1235"/>
                    <a:pt x="1725" y="1231"/>
                    <a:pt x="1725" y="1228"/>
                  </a:cubicBezTo>
                  <a:cubicBezTo>
                    <a:pt x="1724" y="1223"/>
                    <a:pt x="1718" y="1225"/>
                    <a:pt x="1714" y="1225"/>
                  </a:cubicBezTo>
                  <a:cubicBezTo>
                    <a:pt x="1713" y="1216"/>
                    <a:pt x="1715" y="1211"/>
                    <a:pt x="1719" y="1210"/>
                  </a:cubicBezTo>
                  <a:cubicBezTo>
                    <a:pt x="1719" y="1204"/>
                    <a:pt x="1711" y="1208"/>
                    <a:pt x="1711" y="1202"/>
                  </a:cubicBezTo>
                  <a:cubicBezTo>
                    <a:pt x="1709" y="1191"/>
                    <a:pt x="1717" y="1196"/>
                    <a:pt x="1722" y="1195"/>
                  </a:cubicBezTo>
                  <a:cubicBezTo>
                    <a:pt x="1722" y="1192"/>
                    <a:pt x="1722" y="1190"/>
                    <a:pt x="1722" y="1187"/>
                  </a:cubicBezTo>
                  <a:cubicBezTo>
                    <a:pt x="1726" y="1189"/>
                    <a:pt x="1724" y="1197"/>
                    <a:pt x="1725" y="1202"/>
                  </a:cubicBezTo>
                  <a:cubicBezTo>
                    <a:pt x="1733" y="1205"/>
                    <a:pt x="1733" y="1195"/>
                    <a:pt x="1738" y="1202"/>
                  </a:cubicBezTo>
                  <a:cubicBezTo>
                    <a:pt x="1739" y="1210"/>
                    <a:pt x="1729" y="1204"/>
                    <a:pt x="1725" y="1206"/>
                  </a:cubicBezTo>
                  <a:close/>
                  <a:moveTo>
                    <a:pt x="1719" y="577"/>
                  </a:moveTo>
                  <a:cubicBezTo>
                    <a:pt x="1719" y="581"/>
                    <a:pt x="1716" y="580"/>
                    <a:pt x="1714" y="581"/>
                  </a:cubicBezTo>
                  <a:cubicBezTo>
                    <a:pt x="1714" y="578"/>
                    <a:pt x="1713" y="577"/>
                    <a:pt x="1711" y="577"/>
                  </a:cubicBezTo>
                  <a:cubicBezTo>
                    <a:pt x="1712" y="573"/>
                    <a:pt x="1717" y="575"/>
                    <a:pt x="1717" y="570"/>
                  </a:cubicBezTo>
                  <a:cubicBezTo>
                    <a:pt x="1720" y="571"/>
                    <a:pt x="1718" y="574"/>
                    <a:pt x="1717" y="574"/>
                  </a:cubicBezTo>
                  <a:cubicBezTo>
                    <a:pt x="1716" y="577"/>
                    <a:pt x="1718" y="577"/>
                    <a:pt x="1719" y="577"/>
                  </a:cubicBezTo>
                  <a:close/>
                  <a:moveTo>
                    <a:pt x="1722" y="614"/>
                  </a:moveTo>
                  <a:cubicBezTo>
                    <a:pt x="1718" y="616"/>
                    <a:pt x="1717" y="611"/>
                    <a:pt x="1717" y="607"/>
                  </a:cubicBezTo>
                  <a:cubicBezTo>
                    <a:pt x="1711" y="608"/>
                    <a:pt x="1708" y="606"/>
                    <a:pt x="1709" y="599"/>
                  </a:cubicBezTo>
                  <a:cubicBezTo>
                    <a:pt x="1719" y="597"/>
                    <a:pt x="1728" y="606"/>
                    <a:pt x="1722" y="614"/>
                  </a:cubicBezTo>
                  <a:close/>
                  <a:moveTo>
                    <a:pt x="1741" y="559"/>
                  </a:moveTo>
                  <a:cubicBezTo>
                    <a:pt x="1744" y="560"/>
                    <a:pt x="1742" y="562"/>
                    <a:pt x="1741" y="562"/>
                  </a:cubicBezTo>
                  <a:cubicBezTo>
                    <a:pt x="1739" y="576"/>
                    <a:pt x="1754" y="590"/>
                    <a:pt x="1738" y="592"/>
                  </a:cubicBezTo>
                  <a:cubicBezTo>
                    <a:pt x="1739" y="589"/>
                    <a:pt x="1741" y="585"/>
                    <a:pt x="1744" y="585"/>
                  </a:cubicBezTo>
                  <a:cubicBezTo>
                    <a:pt x="1744" y="577"/>
                    <a:pt x="1734" y="583"/>
                    <a:pt x="1730" y="581"/>
                  </a:cubicBezTo>
                  <a:cubicBezTo>
                    <a:pt x="1733" y="573"/>
                    <a:pt x="1738" y="567"/>
                    <a:pt x="1741" y="559"/>
                  </a:cubicBezTo>
                  <a:close/>
                  <a:moveTo>
                    <a:pt x="1738" y="230"/>
                  </a:moveTo>
                  <a:cubicBezTo>
                    <a:pt x="1738" y="227"/>
                    <a:pt x="1738" y="225"/>
                    <a:pt x="1738" y="222"/>
                  </a:cubicBezTo>
                  <a:cubicBezTo>
                    <a:pt x="1744" y="220"/>
                    <a:pt x="1743" y="228"/>
                    <a:pt x="1744" y="233"/>
                  </a:cubicBezTo>
                  <a:cubicBezTo>
                    <a:pt x="1741" y="233"/>
                    <a:pt x="1741" y="230"/>
                    <a:pt x="1738" y="230"/>
                  </a:cubicBezTo>
                  <a:close/>
                  <a:moveTo>
                    <a:pt x="1754" y="222"/>
                  </a:moveTo>
                  <a:cubicBezTo>
                    <a:pt x="1761" y="224"/>
                    <a:pt x="1753" y="246"/>
                    <a:pt x="1762" y="244"/>
                  </a:cubicBezTo>
                  <a:cubicBezTo>
                    <a:pt x="1760" y="263"/>
                    <a:pt x="1753" y="236"/>
                    <a:pt x="1749" y="248"/>
                  </a:cubicBezTo>
                  <a:cubicBezTo>
                    <a:pt x="1742" y="247"/>
                    <a:pt x="1747" y="231"/>
                    <a:pt x="1754" y="237"/>
                  </a:cubicBezTo>
                  <a:cubicBezTo>
                    <a:pt x="1753" y="224"/>
                    <a:pt x="1746" y="231"/>
                    <a:pt x="1754" y="222"/>
                  </a:cubicBezTo>
                  <a:close/>
                  <a:moveTo>
                    <a:pt x="1754" y="204"/>
                  </a:moveTo>
                  <a:cubicBezTo>
                    <a:pt x="1754" y="199"/>
                    <a:pt x="1754" y="194"/>
                    <a:pt x="1754" y="189"/>
                  </a:cubicBezTo>
                  <a:cubicBezTo>
                    <a:pt x="1756" y="189"/>
                    <a:pt x="1758" y="189"/>
                    <a:pt x="1760" y="189"/>
                  </a:cubicBezTo>
                  <a:cubicBezTo>
                    <a:pt x="1760" y="194"/>
                    <a:pt x="1760" y="199"/>
                    <a:pt x="1760" y="204"/>
                  </a:cubicBezTo>
                  <a:cubicBezTo>
                    <a:pt x="1758" y="204"/>
                    <a:pt x="1756" y="204"/>
                    <a:pt x="1754" y="204"/>
                  </a:cubicBezTo>
                  <a:close/>
                  <a:moveTo>
                    <a:pt x="1754" y="618"/>
                  </a:moveTo>
                  <a:cubicBezTo>
                    <a:pt x="1759" y="617"/>
                    <a:pt x="1759" y="621"/>
                    <a:pt x="1762" y="622"/>
                  </a:cubicBezTo>
                  <a:cubicBezTo>
                    <a:pt x="1763" y="629"/>
                    <a:pt x="1750" y="627"/>
                    <a:pt x="1754" y="618"/>
                  </a:cubicBezTo>
                  <a:close/>
                  <a:moveTo>
                    <a:pt x="1741" y="784"/>
                  </a:moveTo>
                  <a:cubicBezTo>
                    <a:pt x="1741" y="785"/>
                    <a:pt x="1743" y="777"/>
                    <a:pt x="1744" y="777"/>
                  </a:cubicBezTo>
                  <a:cubicBezTo>
                    <a:pt x="1744" y="777"/>
                    <a:pt x="1743" y="773"/>
                    <a:pt x="1744" y="773"/>
                  </a:cubicBezTo>
                  <a:cubicBezTo>
                    <a:pt x="1753" y="771"/>
                    <a:pt x="1744" y="790"/>
                    <a:pt x="1741" y="784"/>
                  </a:cubicBezTo>
                  <a:close/>
                  <a:moveTo>
                    <a:pt x="1735" y="640"/>
                  </a:moveTo>
                  <a:cubicBezTo>
                    <a:pt x="1736" y="636"/>
                    <a:pt x="1735" y="634"/>
                    <a:pt x="1733" y="633"/>
                  </a:cubicBezTo>
                  <a:cubicBezTo>
                    <a:pt x="1737" y="619"/>
                    <a:pt x="1737" y="641"/>
                    <a:pt x="1744" y="636"/>
                  </a:cubicBezTo>
                  <a:cubicBezTo>
                    <a:pt x="1743" y="645"/>
                    <a:pt x="1740" y="652"/>
                    <a:pt x="1738" y="659"/>
                  </a:cubicBezTo>
                  <a:cubicBezTo>
                    <a:pt x="1734" y="667"/>
                    <a:pt x="1739" y="635"/>
                    <a:pt x="1735" y="640"/>
                  </a:cubicBezTo>
                  <a:close/>
                  <a:moveTo>
                    <a:pt x="1730" y="603"/>
                  </a:moveTo>
                  <a:cubicBezTo>
                    <a:pt x="1736" y="612"/>
                    <a:pt x="1744" y="596"/>
                    <a:pt x="1744" y="614"/>
                  </a:cubicBezTo>
                  <a:cubicBezTo>
                    <a:pt x="1739" y="611"/>
                    <a:pt x="1729" y="614"/>
                    <a:pt x="1730" y="603"/>
                  </a:cubicBezTo>
                  <a:close/>
                  <a:moveTo>
                    <a:pt x="1733" y="566"/>
                  </a:moveTo>
                  <a:cubicBezTo>
                    <a:pt x="1731" y="568"/>
                    <a:pt x="1727" y="565"/>
                    <a:pt x="1727" y="570"/>
                  </a:cubicBezTo>
                  <a:cubicBezTo>
                    <a:pt x="1723" y="568"/>
                    <a:pt x="1725" y="564"/>
                    <a:pt x="1727" y="562"/>
                  </a:cubicBezTo>
                  <a:cubicBezTo>
                    <a:pt x="1731" y="560"/>
                    <a:pt x="1741" y="559"/>
                    <a:pt x="1733" y="566"/>
                  </a:cubicBezTo>
                  <a:close/>
                  <a:moveTo>
                    <a:pt x="1727" y="688"/>
                  </a:moveTo>
                  <a:cubicBezTo>
                    <a:pt x="1726" y="695"/>
                    <a:pt x="1731" y="711"/>
                    <a:pt x="1722" y="707"/>
                  </a:cubicBezTo>
                  <a:cubicBezTo>
                    <a:pt x="1727" y="700"/>
                    <a:pt x="1722" y="687"/>
                    <a:pt x="1717" y="684"/>
                  </a:cubicBezTo>
                  <a:cubicBezTo>
                    <a:pt x="1721" y="671"/>
                    <a:pt x="1721" y="693"/>
                    <a:pt x="1727" y="688"/>
                  </a:cubicBezTo>
                  <a:close/>
                  <a:moveTo>
                    <a:pt x="1738" y="1165"/>
                  </a:moveTo>
                  <a:cubicBezTo>
                    <a:pt x="1742" y="1168"/>
                    <a:pt x="1743" y="1173"/>
                    <a:pt x="1744" y="1180"/>
                  </a:cubicBezTo>
                  <a:cubicBezTo>
                    <a:pt x="1739" y="1179"/>
                    <a:pt x="1737" y="1174"/>
                    <a:pt x="1738" y="1165"/>
                  </a:cubicBezTo>
                  <a:close/>
                  <a:moveTo>
                    <a:pt x="1757" y="1206"/>
                  </a:moveTo>
                  <a:cubicBezTo>
                    <a:pt x="1750" y="1207"/>
                    <a:pt x="1751" y="1199"/>
                    <a:pt x="1744" y="1202"/>
                  </a:cubicBezTo>
                  <a:cubicBezTo>
                    <a:pt x="1744" y="1191"/>
                    <a:pt x="1760" y="1192"/>
                    <a:pt x="1757" y="1206"/>
                  </a:cubicBezTo>
                  <a:close/>
                  <a:moveTo>
                    <a:pt x="1757" y="1235"/>
                  </a:moveTo>
                  <a:cubicBezTo>
                    <a:pt x="1760" y="1237"/>
                    <a:pt x="1763" y="1240"/>
                    <a:pt x="1762" y="1247"/>
                  </a:cubicBezTo>
                  <a:cubicBezTo>
                    <a:pt x="1753" y="1250"/>
                    <a:pt x="1753" y="1241"/>
                    <a:pt x="1757" y="1235"/>
                  </a:cubicBezTo>
                  <a:close/>
                  <a:moveTo>
                    <a:pt x="1760" y="696"/>
                  </a:moveTo>
                  <a:cubicBezTo>
                    <a:pt x="1764" y="695"/>
                    <a:pt x="1765" y="699"/>
                    <a:pt x="1762" y="699"/>
                  </a:cubicBezTo>
                  <a:cubicBezTo>
                    <a:pt x="1763" y="709"/>
                    <a:pt x="1767" y="711"/>
                    <a:pt x="1762" y="718"/>
                  </a:cubicBezTo>
                  <a:cubicBezTo>
                    <a:pt x="1756" y="717"/>
                    <a:pt x="1761" y="702"/>
                    <a:pt x="1760" y="696"/>
                  </a:cubicBezTo>
                  <a:close/>
                  <a:moveTo>
                    <a:pt x="1706" y="640"/>
                  </a:moveTo>
                  <a:cubicBezTo>
                    <a:pt x="1711" y="640"/>
                    <a:pt x="1705" y="656"/>
                    <a:pt x="1698" y="651"/>
                  </a:cubicBezTo>
                  <a:cubicBezTo>
                    <a:pt x="1698" y="644"/>
                    <a:pt x="1707" y="649"/>
                    <a:pt x="1706" y="640"/>
                  </a:cubicBezTo>
                  <a:close/>
                  <a:moveTo>
                    <a:pt x="1698" y="540"/>
                  </a:moveTo>
                  <a:cubicBezTo>
                    <a:pt x="1699" y="533"/>
                    <a:pt x="1701" y="543"/>
                    <a:pt x="1700" y="548"/>
                  </a:cubicBezTo>
                  <a:cubicBezTo>
                    <a:pt x="1700" y="555"/>
                    <a:pt x="1697" y="545"/>
                    <a:pt x="1698" y="540"/>
                  </a:cubicBezTo>
                  <a:close/>
                  <a:moveTo>
                    <a:pt x="1698" y="200"/>
                  </a:moveTo>
                  <a:cubicBezTo>
                    <a:pt x="1700" y="200"/>
                    <a:pt x="1701" y="200"/>
                    <a:pt x="1703" y="200"/>
                  </a:cubicBezTo>
                  <a:cubicBezTo>
                    <a:pt x="1704" y="210"/>
                    <a:pt x="1683" y="199"/>
                    <a:pt x="1698" y="200"/>
                  </a:cubicBezTo>
                  <a:close/>
                  <a:moveTo>
                    <a:pt x="1684" y="566"/>
                  </a:moveTo>
                  <a:cubicBezTo>
                    <a:pt x="1684" y="560"/>
                    <a:pt x="1699" y="560"/>
                    <a:pt x="1695" y="570"/>
                  </a:cubicBezTo>
                  <a:cubicBezTo>
                    <a:pt x="1690" y="570"/>
                    <a:pt x="1689" y="565"/>
                    <a:pt x="1684" y="566"/>
                  </a:cubicBezTo>
                  <a:close/>
                  <a:moveTo>
                    <a:pt x="1692" y="622"/>
                  </a:moveTo>
                  <a:cubicBezTo>
                    <a:pt x="1692" y="624"/>
                    <a:pt x="1692" y="627"/>
                    <a:pt x="1692" y="629"/>
                  </a:cubicBezTo>
                  <a:cubicBezTo>
                    <a:pt x="1691" y="629"/>
                    <a:pt x="1689" y="629"/>
                    <a:pt x="1687" y="629"/>
                  </a:cubicBezTo>
                  <a:cubicBezTo>
                    <a:pt x="1687" y="627"/>
                    <a:pt x="1687" y="624"/>
                    <a:pt x="1687" y="622"/>
                  </a:cubicBezTo>
                  <a:cubicBezTo>
                    <a:pt x="1689" y="622"/>
                    <a:pt x="1691" y="622"/>
                    <a:pt x="1692" y="622"/>
                  </a:cubicBezTo>
                  <a:close/>
                  <a:moveTo>
                    <a:pt x="1690" y="63"/>
                  </a:moveTo>
                  <a:cubicBezTo>
                    <a:pt x="1699" y="70"/>
                    <a:pt x="1686" y="73"/>
                    <a:pt x="1684" y="71"/>
                  </a:cubicBezTo>
                  <a:cubicBezTo>
                    <a:pt x="1683" y="69"/>
                    <a:pt x="1691" y="66"/>
                    <a:pt x="1690" y="63"/>
                  </a:cubicBezTo>
                  <a:close/>
                  <a:moveTo>
                    <a:pt x="1684" y="1184"/>
                  </a:moveTo>
                  <a:cubicBezTo>
                    <a:pt x="1695" y="1183"/>
                    <a:pt x="1685" y="1187"/>
                    <a:pt x="1687" y="1195"/>
                  </a:cubicBezTo>
                  <a:cubicBezTo>
                    <a:pt x="1699" y="1195"/>
                    <a:pt x="1691" y="1186"/>
                    <a:pt x="1695" y="1180"/>
                  </a:cubicBezTo>
                  <a:cubicBezTo>
                    <a:pt x="1703" y="1180"/>
                    <a:pt x="1693" y="1203"/>
                    <a:pt x="1700" y="1202"/>
                  </a:cubicBezTo>
                  <a:cubicBezTo>
                    <a:pt x="1696" y="1213"/>
                    <a:pt x="1688" y="1197"/>
                    <a:pt x="1679" y="1202"/>
                  </a:cubicBezTo>
                  <a:cubicBezTo>
                    <a:pt x="1680" y="1195"/>
                    <a:pt x="1687" y="1196"/>
                    <a:pt x="1684" y="1184"/>
                  </a:cubicBezTo>
                  <a:close/>
                  <a:moveTo>
                    <a:pt x="1671" y="185"/>
                  </a:moveTo>
                  <a:cubicBezTo>
                    <a:pt x="1677" y="183"/>
                    <a:pt x="1681" y="207"/>
                    <a:pt x="1671" y="204"/>
                  </a:cubicBezTo>
                  <a:cubicBezTo>
                    <a:pt x="1675" y="198"/>
                    <a:pt x="1673" y="192"/>
                    <a:pt x="1666" y="193"/>
                  </a:cubicBezTo>
                  <a:cubicBezTo>
                    <a:pt x="1666" y="189"/>
                    <a:pt x="1671" y="190"/>
                    <a:pt x="1671" y="185"/>
                  </a:cubicBezTo>
                  <a:close/>
                  <a:moveTo>
                    <a:pt x="1668" y="215"/>
                  </a:moveTo>
                  <a:cubicBezTo>
                    <a:pt x="1676" y="215"/>
                    <a:pt x="1674" y="209"/>
                    <a:pt x="1679" y="215"/>
                  </a:cubicBezTo>
                  <a:cubicBezTo>
                    <a:pt x="1678" y="218"/>
                    <a:pt x="1676" y="221"/>
                    <a:pt x="1676" y="226"/>
                  </a:cubicBezTo>
                  <a:cubicBezTo>
                    <a:pt x="1668" y="229"/>
                    <a:pt x="1673" y="214"/>
                    <a:pt x="1666" y="215"/>
                  </a:cubicBezTo>
                  <a:cubicBezTo>
                    <a:pt x="1660" y="212"/>
                    <a:pt x="1668" y="209"/>
                    <a:pt x="1668" y="215"/>
                  </a:cubicBezTo>
                  <a:close/>
                  <a:moveTo>
                    <a:pt x="1668" y="237"/>
                  </a:moveTo>
                  <a:cubicBezTo>
                    <a:pt x="1669" y="234"/>
                    <a:pt x="1671" y="233"/>
                    <a:pt x="1671" y="230"/>
                  </a:cubicBezTo>
                  <a:cubicBezTo>
                    <a:pt x="1674" y="231"/>
                    <a:pt x="1676" y="234"/>
                    <a:pt x="1676" y="241"/>
                  </a:cubicBezTo>
                  <a:cubicBezTo>
                    <a:pt x="1672" y="242"/>
                    <a:pt x="1672" y="237"/>
                    <a:pt x="1668" y="237"/>
                  </a:cubicBezTo>
                  <a:close/>
                  <a:moveTo>
                    <a:pt x="1676" y="692"/>
                  </a:moveTo>
                  <a:cubicBezTo>
                    <a:pt x="1676" y="694"/>
                    <a:pt x="1676" y="697"/>
                    <a:pt x="1676" y="699"/>
                  </a:cubicBezTo>
                  <a:cubicBezTo>
                    <a:pt x="1675" y="699"/>
                    <a:pt x="1673" y="699"/>
                    <a:pt x="1671" y="699"/>
                  </a:cubicBezTo>
                  <a:cubicBezTo>
                    <a:pt x="1671" y="697"/>
                    <a:pt x="1671" y="694"/>
                    <a:pt x="1671" y="692"/>
                  </a:cubicBezTo>
                  <a:cubicBezTo>
                    <a:pt x="1673" y="692"/>
                    <a:pt x="1675" y="692"/>
                    <a:pt x="1676" y="692"/>
                  </a:cubicBezTo>
                  <a:close/>
                  <a:moveTo>
                    <a:pt x="1668" y="648"/>
                  </a:moveTo>
                  <a:cubicBezTo>
                    <a:pt x="1660" y="661"/>
                    <a:pt x="1659" y="636"/>
                    <a:pt x="1668" y="648"/>
                  </a:cubicBezTo>
                  <a:close/>
                  <a:moveTo>
                    <a:pt x="1663" y="1162"/>
                  </a:moveTo>
                  <a:cubicBezTo>
                    <a:pt x="1661" y="1161"/>
                    <a:pt x="1660" y="1163"/>
                    <a:pt x="1660" y="1165"/>
                  </a:cubicBezTo>
                  <a:cubicBezTo>
                    <a:pt x="1657" y="1165"/>
                    <a:pt x="1658" y="1159"/>
                    <a:pt x="1657" y="1154"/>
                  </a:cubicBezTo>
                  <a:cubicBezTo>
                    <a:pt x="1662" y="1153"/>
                    <a:pt x="1663" y="1157"/>
                    <a:pt x="1663" y="1162"/>
                  </a:cubicBezTo>
                  <a:close/>
                  <a:moveTo>
                    <a:pt x="1655" y="233"/>
                  </a:moveTo>
                  <a:cubicBezTo>
                    <a:pt x="1658" y="234"/>
                    <a:pt x="1657" y="241"/>
                    <a:pt x="1660" y="241"/>
                  </a:cubicBezTo>
                  <a:cubicBezTo>
                    <a:pt x="1659" y="251"/>
                    <a:pt x="1652" y="241"/>
                    <a:pt x="1655" y="233"/>
                  </a:cubicBezTo>
                  <a:close/>
                  <a:moveTo>
                    <a:pt x="1671" y="1254"/>
                  </a:moveTo>
                  <a:cubicBezTo>
                    <a:pt x="1670" y="1260"/>
                    <a:pt x="1673" y="1261"/>
                    <a:pt x="1676" y="1261"/>
                  </a:cubicBezTo>
                  <a:cubicBezTo>
                    <a:pt x="1675" y="1272"/>
                    <a:pt x="1668" y="1261"/>
                    <a:pt x="1666" y="1261"/>
                  </a:cubicBezTo>
                  <a:cubicBezTo>
                    <a:pt x="1660" y="1262"/>
                    <a:pt x="1659" y="1268"/>
                    <a:pt x="1652" y="1269"/>
                  </a:cubicBezTo>
                  <a:cubicBezTo>
                    <a:pt x="1652" y="1259"/>
                    <a:pt x="1660" y="1259"/>
                    <a:pt x="1663" y="1254"/>
                  </a:cubicBezTo>
                  <a:cubicBezTo>
                    <a:pt x="1662" y="1250"/>
                    <a:pt x="1658" y="1251"/>
                    <a:pt x="1655" y="1250"/>
                  </a:cubicBezTo>
                  <a:cubicBezTo>
                    <a:pt x="1652" y="1253"/>
                    <a:pt x="1652" y="1259"/>
                    <a:pt x="1647" y="1258"/>
                  </a:cubicBezTo>
                  <a:cubicBezTo>
                    <a:pt x="1643" y="1243"/>
                    <a:pt x="1655" y="1249"/>
                    <a:pt x="1655" y="1239"/>
                  </a:cubicBezTo>
                  <a:cubicBezTo>
                    <a:pt x="1657" y="1239"/>
                    <a:pt x="1657" y="1241"/>
                    <a:pt x="1657" y="1243"/>
                  </a:cubicBezTo>
                  <a:cubicBezTo>
                    <a:pt x="1662" y="1251"/>
                    <a:pt x="1679" y="1244"/>
                    <a:pt x="1684" y="1250"/>
                  </a:cubicBezTo>
                  <a:cubicBezTo>
                    <a:pt x="1683" y="1254"/>
                    <a:pt x="1678" y="1264"/>
                    <a:pt x="1687" y="1261"/>
                  </a:cubicBezTo>
                  <a:cubicBezTo>
                    <a:pt x="1680" y="1282"/>
                    <a:pt x="1683" y="1249"/>
                    <a:pt x="1671" y="1254"/>
                  </a:cubicBezTo>
                  <a:close/>
                  <a:moveTo>
                    <a:pt x="1690" y="1258"/>
                  </a:moveTo>
                  <a:cubicBezTo>
                    <a:pt x="1680" y="1250"/>
                    <a:pt x="1696" y="1247"/>
                    <a:pt x="1698" y="1243"/>
                  </a:cubicBezTo>
                  <a:cubicBezTo>
                    <a:pt x="1700" y="1242"/>
                    <a:pt x="1700" y="1244"/>
                    <a:pt x="1700" y="1247"/>
                  </a:cubicBezTo>
                  <a:cubicBezTo>
                    <a:pt x="1701" y="1252"/>
                    <a:pt x="1707" y="1250"/>
                    <a:pt x="1711" y="1250"/>
                  </a:cubicBezTo>
                  <a:cubicBezTo>
                    <a:pt x="1719" y="1260"/>
                    <a:pt x="1690" y="1248"/>
                    <a:pt x="1690" y="1258"/>
                  </a:cubicBezTo>
                  <a:close/>
                  <a:moveTo>
                    <a:pt x="1700" y="1273"/>
                  </a:moveTo>
                  <a:cubicBezTo>
                    <a:pt x="1697" y="1273"/>
                    <a:pt x="1697" y="1260"/>
                    <a:pt x="1706" y="1261"/>
                  </a:cubicBezTo>
                  <a:cubicBezTo>
                    <a:pt x="1705" y="1263"/>
                    <a:pt x="1702" y="1272"/>
                    <a:pt x="1700" y="1273"/>
                  </a:cubicBezTo>
                  <a:close/>
                  <a:moveTo>
                    <a:pt x="1730" y="1298"/>
                  </a:moveTo>
                  <a:cubicBezTo>
                    <a:pt x="1728" y="1299"/>
                    <a:pt x="1726" y="1312"/>
                    <a:pt x="1717" y="1306"/>
                  </a:cubicBezTo>
                  <a:cubicBezTo>
                    <a:pt x="1716" y="1305"/>
                    <a:pt x="1718" y="1295"/>
                    <a:pt x="1717" y="1295"/>
                  </a:cubicBezTo>
                  <a:cubicBezTo>
                    <a:pt x="1712" y="1293"/>
                    <a:pt x="1709" y="1301"/>
                    <a:pt x="1703" y="1298"/>
                  </a:cubicBezTo>
                  <a:cubicBezTo>
                    <a:pt x="1701" y="1288"/>
                    <a:pt x="1709" y="1291"/>
                    <a:pt x="1709" y="1284"/>
                  </a:cubicBezTo>
                  <a:cubicBezTo>
                    <a:pt x="1711" y="1283"/>
                    <a:pt x="1713" y="1291"/>
                    <a:pt x="1714" y="1291"/>
                  </a:cubicBezTo>
                  <a:cubicBezTo>
                    <a:pt x="1716" y="1292"/>
                    <a:pt x="1720" y="1286"/>
                    <a:pt x="1725" y="1287"/>
                  </a:cubicBezTo>
                  <a:cubicBezTo>
                    <a:pt x="1725" y="1287"/>
                    <a:pt x="1725" y="1295"/>
                    <a:pt x="1725" y="1295"/>
                  </a:cubicBezTo>
                  <a:cubicBezTo>
                    <a:pt x="1727" y="1295"/>
                    <a:pt x="1732" y="1290"/>
                    <a:pt x="1733" y="1287"/>
                  </a:cubicBezTo>
                  <a:cubicBezTo>
                    <a:pt x="1736" y="1290"/>
                    <a:pt x="1738" y="1295"/>
                    <a:pt x="1738" y="1302"/>
                  </a:cubicBezTo>
                  <a:cubicBezTo>
                    <a:pt x="1735" y="1306"/>
                    <a:pt x="1730" y="1298"/>
                    <a:pt x="1730" y="1298"/>
                  </a:cubicBezTo>
                  <a:close/>
                  <a:moveTo>
                    <a:pt x="1735" y="1324"/>
                  </a:moveTo>
                  <a:cubicBezTo>
                    <a:pt x="1733" y="1314"/>
                    <a:pt x="1741" y="1320"/>
                    <a:pt x="1744" y="1317"/>
                  </a:cubicBezTo>
                  <a:cubicBezTo>
                    <a:pt x="1748" y="1311"/>
                    <a:pt x="1745" y="1318"/>
                    <a:pt x="1752" y="1324"/>
                  </a:cubicBezTo>
                  <a:cubicBezTo>
                    <a:pt x="1751" y="1331"/>
                    <a:pt x="1743" y="1320"/>
                    <a:pt x="1735" y="1324"/>
                  </a:cubicBezTo>
                  <a:close/>
                  <a:moveTo>
                    <a:pt x="1752" y="1302"/>
                  </a:moveTo>
                  <a:cubicBezTo>
                    <a:pt x="1750" y="1302"/>
                    <a:pt x="1748" y="1302"/>
                    <a:pt x="1746" y="1302"/>
                  </a:cubicBezTo>
                  <a:cubicBezTo>
                    <a:pt x="1746" y="1300"/>
                    <a:pt x="1746" y="1297"/>
                    <a:pt x="1746" y="1295"/>
                  </a:cubicBezTo>
                  <a:cubicBezTo>
                    <a:pt x="1748" y="1295"/>
                    <a:pt x="1750" y="1295"/>
                    <a:pt x="1752" y="1295"/>
                  </a:cubicBezTo>
                  <a:cubicBezTo>
                    <a:pt x="1752" y="1297"/>
                    <a:pt x="1752" y="1300"/>
                    <a:pt x="1752" y="1302"/>
                  </a:cubicBezTo>
                  <a:close/>
                  <a:moveTo>
                    <a:pt x="1757" y="1269"/>
                  </a:moveTo>
                  <a:cubicBezTo>
                    <a:pt x="1752" y="1270"/>
                    <a:pt x="1754" y="1261"/>
                    <a:pt x="1752" y="1258"/>
                  </a:cubicBezTo>
                  <a:cubicBezTo>
                    <a:pt x="1750" y="1255"/>
                    <a:pt x="1745" y="1256"/>
                    <a:pt x="1744" y="1254"/>
                  </a:cubicBezTo>
                  <a:cubicBezTo>
                    <a:pt x="1741" y="1251"/>
                    <a:pt x="1742" y="1244"/>
                    <a:pt x="1738" y="1243"/>
                  </a:cubicBezTo>
                  <a:cubicBezTo>
                    <a:pt x="1741" y="1233"/>
                    <a:pt x="1749" y="1245"/>
                    <a:pt x="1746" y="1254"/>
                  </a:cubicBezTo>
                  <a:cubicBezTo>
                    <a:pt x="1753" y="1249"/>
                    <a:pt x="1756" y="1252"/>
                    <a:pt x="1762" y="1254"/>
                  </a:cubicBezTo>
                  <a:cubicBezTo>
                    <a:pt x="1762" y="1261"/>
                    <a:pt x="1755" y="1259"/>
                    <a:pt x="1757" y="1269"/>
                  </a:cubicBezTo>
                  <a:close/>
                  <a:moveTo>
                    <a:pt x="1762" y="1269"/>
                  </a:moveTo>
                  <a:cubicBezTo>
                    <a:pt x="1767" y="1261"/>
                    <a:pt x="1772" y="1268"/>
                    <a:pt x="1768" y="1254"/>
                  </a:cubicBezTo>
                  <a:cubicBezTo>
                    <a:pt x="1777" y="1256"/>
                    <a:pt x="1773" y="1273"/>
                    <a:pt x="1762" y="1269"/>
                  </a:cubicBezTo>
                  <a:close/>
                  <a:moveTo>
                    <a:pt x="1773" y="1210"/>
                  </a:moveTo>
                  <a:cubicBezTo>
                    <a:pt x="1771" y="1207"/>
                    <a:pt x="1767" y="1206"/>
                    <a:pt x="1762" y="1206"/>
                  </a:cubicBezTo>
                  <a:cubicBezTo>
                    <a:pt x="1762" y="1199"/>
                    <a:pt x="1777" y="1199"/>
                    <a:pt x="1773" y="1210"/>
                  </a:cubicBezTo>
                  <a:close/>
                  <a:moveTo>
                    <a:pt x="1776" y="241"/>
                  </a:moveTo>
                  <a:cubicBezTo>
                    <a:pt x="1771" y="240"/>
                    <a:pt x="1770" y="245"/>
                    <a:pt x="1765" y="244"/>
                  </a:cubicBezTo>
                  <a:cubicBezTo>
                    <a:pt x="1765" y="241"/>
                    <a:pt x="1765" y="237"/>
                    <a:pt x="1765" y="233"/>
                  </a:cubicBezTo>
                  <a:cubicBezTo>
                    <a:pt x="1768" y="238"/>
                    <a:pt x="1778" y="235"/>
                    <a:pt x="1778" y="244"/>
                  </a:cubicBezTo>
                  <a:cubicBezTo>
                    <a:pt x="1777" y="250"/>
                    <a:pt x="1776" y="245"/>
                    <a:pt x="1776" y="241"/>
                  </a:cubicBezTo>
                  <a:close/>
                  <a:moveTo>
                    <a:pt x="1776" y="1206"/>
                  </a:moveTo>
                  <a:cubicBezTo>
                    <a:pt x="1777" y="1201"/>
                    <a:pt x="1782" y="1203"/>
                    <a:pt x="1787" y="1202"/>
                  </a:cubicBezTo>
                  <a:cubicBezTo>
                    <a:pt x="1787" y="1200"/>
                    <a:pt x="1787" y="1197"/>
                    <a:pt x="1787" y="1195"/>
                  </a:cubicBezTo>
                  <a:cubicBezTo>
                    <a:pt x="1789" y="1194"/>
                    <a:pt x="1789" y="1196"/>
                    <a:pt x="1789" y="1199"/>
                  </a:cubicBezTo>
                  <a:cubicBezTo>
                    <a:pt x="1789" y="1207"/>
                    <a:pt x="1799" y="1200"/>
                    <a:pt x="1803" y="1202"/>
                  </a:cubicBezTo>
                  <a:cubicBezTo>
                    <a:pt x="1805" y="1202"/>
                    <a:pt x="1805" y="1198"/>
                    <a:pt x="1805" y="1195"/>
                  </a:cubicBezTo>
                  <a:cubicBezTo>
                    <a:pt x="1808" y="1197"/>
                    <a:pt x="1810" y="1199"/>
                    <a:pt x="1811" y="1195"/>
                  </a:cubicBezTo>
                  <a:cubicBezTo>
                    <a:pt x="1814" y="1194"/>
                    <a:pt x="1812" y="1201"/>
                    <a:pt x="1813" y="1202"/>
                  </a:cubicBezTo>
                  <a:cubicBezTo>
                    <a:pt x="1817" y="1206"/>
                    <a:pt x="1827" y="1196"/>
                    <a:pt x="1824" y="1210"/>
                  </a:cubicBezTo>
                  <a:cubicBezTo>
                    <a:pt x="1818" y="1204"/>
                    <a:pt x="1813" y="1210"/>
                    <a:pt x="1805" y="1210"/>
                  </a:cubicBezTo>
                  <a:cubicBezTo>
                    <a:pt x="1797" y="1209"/>
                    <a:pt x="1787" y="1203"/>
                    <a:pt x="1776" y="1206"/>
                  </a:cubicBezTo>
                  <a:close/>
                  <a:moveTo>
                    <a:pt x="1797" y="1225"/>
                  </a:moveTo>
                  <a:cubicBezTo>
                    <a:pt x="1805" y="1211"/>
                    <a:pt x="1806" y="1236"/>
                    <a:pt x="1797" y="1225"/>
                  </a:cubicBezTo>
                  <a:close/>
                  <a:moveTo>
                    <a:pt x="1787" y="1276"/>
                  </a:moveTo>
                  <a:cubicBezTo>
                    <a:pt x="1782" y="1273"/>
                    <a:pt x="1780" y="1266"/>
                    <a:pt x="1784" y="1261"/>
                  </a:cubicBezTo>
                  <a:cubicBezTo>
                    <a:pt x="1792" y="1265"/>
                    <a:pt x="1787" y="1267"/>
                    <a:pt x="1787" y="1276"/>
                  </a:cubicBezTo>
                  <a:close/>
                  <a:moveTo>
                    <a:pt x="1778" y="1258"/>
                  </a:moveTo>
                  <a:cubicBezTo>
                    <a:pt x="1779" y="1254"/>
                    <a:pt x="1782" y="1255"/>
                    <a:pt x="1784" y="1254"/>
                  </a:cubicBezTo>
                  <a:cubicBezTo>
                    <a:pt x="1787" y="1254"/>
                    <a:pt x="1789" y="1254"/>
                    <a:pt x="1792" y="1254"/>
                  </a:cubicBezTo>
                  <a:cubicBezTo>
                    <a:pt x="1792" y="1262"/>
                    <a:pt x="1782" y="1256"/>
                    <a:pt x="1778" y="1258"/>
                  </a:cubicBezTo>
                  <a:close/>
                  <a:moveTo>
                    <a:pt x="1800" y="1276"/>
                  </a:moveTo>
                  <a:cubicBezTo>
                    <a:pt x="1795" y="1276"/>
                    <a:pt x="1798" y="1264"/>
                    <a:pt x="1792" y="1265"/>
                  </a:cubicBezTo>
                  <a:cubicBezTo>
                    <a:pt x="1792" y="1261"/>
                    <a:pt x="1797" y="1262"/>
                    <a:pt x="1800" y="1261"/>
                  </a:cubicBezTo>
                  <a:cubicBezTo>
                    <a:pt x="1796" y="1256"/>
                    <a:pt x="1790" y="1252"/>
                    <a:pt x="1792" y="1239"/>
                  </a:cubicBezTo>
                  <a:cubicBezTo>
                    <a:pt x="1802" y="1236"/>
                    <a:pt x="1800" y="1269"/>
                    <a:pt x="1805" y="1261"/>
                  </a:cubicBezTo>
                  <a:cubicBezTo>
                    <a:pt x="1816" y="1270"/>
                    <a:pt x="1796" y="1265"/>
                    <a:pt x="1800" y="1276"/>
                  </a:cubicBezTo>
                  <a:close/>
                  <a:moveTo>
                    <a:pt x="1811" y="1221"/>
                  </a:moveTo>
                  <a:cubicBezTo>
                    <a:pt x="1811" y="1208"/>
                    <a:pt x="1820" y="1229"/>
                    <a:pt x="1819" y="1217"/>
                  </a:cubicBezTo>
                  <a:cubicBezTo>
                    <a:pt x="1820" y="1216"/>
                    <a:pt x="1822" y="1224"/>
                    <a:pt x="1822" y="1225"/>
                  </a:cubicBezTo>
                  <a:cubicBezTo>
                    <a:pt x="1821" y="1225"/>
                    <a:pt x="1816" y="1223"/>
                    <a:pt x="1816" y="1225"/>
                  </a:cubicBezTo>
                  <a:cubicBezTo>
                    <a:pt x="1814" y="1232"/>
                    <a:pt x="1814" y="1235"/>
                    <a:pt x="1813" y="1243"/>
                  </a:cubicBezTo>
                  <a:cubicBezTo>
                    <a:pt x="1801" y="1236"/>
                    <a:pt x="1818" y="1227"/>
                    <a:pt x="1811" y="1221"/>
                  </a:cubicBezTo>
                  <a:close/>
                  <a:moveTo>
                    <a:pt x="1811" y="1254"/>
                  </a:moveTo>
                  <a:cubicBezTo>
                    <a:pt x="1806" y="1252"/>
                    <a:pt x="1814" y="1248"/>
                    <a:pt x="1813" y="1254"/>
                  </a:cubicBezTo>
                  <a:cubicBezTo>
                    <a:pt x="1820" y="1254"/>
                    <a:pt x="1822" y="1247"/>
                    <a:pt x="1827" y="1254"/>
                  </a:cubicBezTo>
                  <a:cubicBezTo>
                    <a:pt x="1825" y="1264"/>
                    <a:pt x="1824" y="1275"/>
                    <a:pt x="1813" y="1273"/>
                  </a:cubicBezTo>
                  <a:cubicBezTo>
                    <a:pt x="1812" y="1267"/>
                    <a:pt x="1817" y="1253"/>
                    <a:pt x="1811" y="1254"/>
                  </a:cubicBezTo>
                  <a:close/>
                  <a:moveTo>
                    <a:pt x="1827" y="1295"/>
                  </a:moveTo>
                  <a:cubicBezTo>
                    <a:pt x="1820" y="1296"/>
                    <a:pt x="1821" y="1288"/>
                    <a:pt x="1813" y="1291"/>
                  </a:cubicBezTo>
                  <a:cubicBezTo>
                    <a:pt x="1813" y="1285"/>
                    <a:pt x="1831" y="1284"/>
                    <a:pt x="1827" y="1295"/>
                  </a:cubicBezTo>
                  <a:close/>
                  <a:moveTo>
                    <a:pt x="1835" y="1306"/>
                  </a:moveTo>
                  <a:cubicBezTo>
                    <a:pt x="1832" y="1305"/>
                    <a:pt x="1833" y="1299"/>
                    <a:pt x="1832" y="1295"/>
                  </a:cubicBezTo>
                  <a:cubicBezTo>
                    <a:pt x="1837" y="1293"/>
                    <a:pt x="1837" y="1298"/>
                    <a:pt x="1838" y="1302"/>
                  </a:cubicBezTo>
                  <a:cubicBezTo>
                    <a:pt x="1835" y="1301"/>
                    <a:pt x="1835" y="1304"/>
                    <a:pt x="1835" y="1306"/>
                  </a:cubicBezTo>
                  <a:close/>
                  <a:moveTo>
                    <a:pt x="1843" y="1269"/>
                  </a:moveTo>
                  <a:cubicBezTo>
                    <a:pt x="1842" y="1282"/>
                    <a:pt x="1831" y="1262"/>
                    <a:pt x="1832" y="1273"/>
                  </a:cubicBezTo>
                  <a:cubicBezTo>
                    <a:pt x="1823" y="1272"/>
                    <a:pt x="1838" y="1260"/>
                    <a:pt x="1830" y="1261"/>
                  </a:cubicBezTo>
                  <a:cubicBezTo>
                    <a:pt x="1829" y="1256"/>
                    <a:pt x="1845" y="1257"/>
                    <a:pt x="1835" y="1250"/>
                  </a:cubicBezTo>
                  <a:cubicBezTo>
                    <a:pt x="1837" y="1245"/>
                    <a:pt x="1839" y="1251"/>
                    <a:pt x="1846" y="1247"/>
                  </a:cubicBezTo>
                  <a:cubicBezTo>
                    <a:pt x="1846" y="1251"/>
                    <a:pt x="1845" y="1253"/>
                    <a:pt x="1843" y="1254"/>
                  </a:cubicBezTo>
                  <a:cubicBezTo>
                    <a:pt x="1843" y="1258"/>
                    <a:pt x="1846" y="1257"/>
                    <a:pt x="1848" y="1258"/>
                  </a:cubicBezTo>
                  <a:cubicBezTo>
                    <a:pt x="1847" y="1262"/>
                    <a:pt x="1828" y="1265"/>
                    <a:pt x="1843" y="1269"/>
                  </a:cubicBezTo>
                  <a:close/>
                  <a:moveTo>
                    <a:pt x="1862" y="1309"/>
                  </a:moveTo>
                  <a:cubicBezTo>
                    <a:pt x="1861" y="1311"/>
                    <a:pt x="1859" y="1300"/>
                    <a:pt x="1856" y="1302"/>
                  </a:cubicBezTo>
                  <a:cubicBezTo>
                    <a:pt x="1861" y="1290"/>
                    <a:pt x="1864" y="1307"/>
                    <a:pt x="1862" y="1309"/>
                  </a:cubicBezTo>
                  <a:close/>
                  <a:moveTo>
                    <a:pt x="1867" y="1273"/>
                  </a:moveTo>
                  <a:cubicBezTo>
                    <a:pt x="1862" y="1276"/>
                    <a:pt x="1856" y="1279"/>
                    <a:pt x="1854" y="1287"/>
                  </a:cubicBezTo>
                  <a:cubicBezTo>
                    <a:pt x="1845" y="1279"/>
                    <a:pt x="1860" y="1274"/>
                    <a:pt x="1859" y="1265"/>
                  </a:cubicBezTo>
                  <a:cubicBezTo>
                    <a:pt x="1859" y="1261"/>
                    <a:pt x="1854" y="1262"/>
                    <a:pt x="1851" y="1261"/>
                  </a:cubicBezTo>
                  <a:cubicBezTo>
                    <a:pt x="1853" y="1256"/>
                    <a:pt x="1857" y="1255"/>
                    <a:pt x="1862" y="1254"/>
                  </a:cubicBezTo>
                  <a:cubicBezTo>
                    <a:pt x="1859" y="1249"/>
                    <a:pt x="1861" y="1248"/>
                    <a:pt x="1862" y="1243"/>
                  </a:cubicBezTo>
                  <a:cubicBezTo>
                    <a:pt x="1868" y="1242"/>
                    <a:pt x="1860" y="1260"/>
                    <a:pt x="1870" y="1254"/>
                  </a:cubicBezTo>
                  <a:cubicBezTo>
                    <a:pt x="1869" y="1259"/>
                    <a:pt x="1866" y="1262"/>
                    <a:pt x="1862" y="1261"/>
                  </a:cubicBezTo>
                  <a:cubicBezTo>
                    <a:pt x="1862" y="1269"/>
                    <a:pt x="1868" y="1262"/>
                    <a:pt x="1867" y="1261"/>
                  </a:cubicBezTo>
                  <a:cubicBezTo>
                    <a:pt x="1870" y="1263"/>
                    <a:pt x="1870" y="1271"/>
                    <a:pt x="1875" y="1269"/>
                  </a:cubicBezTo>
                  <a:cubicBezTo>
                    <a:pt x="1875" y="1273"/>
                    <a:pt x="1870" y="1272"/>
                    <a:pt x="1867" y="1273"/>
                  </a:cubicBezTo>
                  <a:close/>
                  <a:moveTo>
                    <a:pt x="1867" y="1165"/>
                  </a:moveTo>
                  <a:cubicBezTo>
                    <a:pt x="1865" y="1165"/>
                    <a:pt x="1864" y="1165"/>
                    <a:pt x="1862" y="1165"/>
                  </a:cubicBezTo>
                  <a:cubicBezTo>
                    <a:pt x="1862" y="1163"/>
                    <a:pt x="1862" y="1160"/>
                    <a:pt x="1862" y="1158"/>
                  </a:cubicBezTo>
                  <a:cubicBezTo>
                    <a:pt x="1864" y="1158"/>
                    <a:pt x="1865" y="1158"/>
                    <a:pt x="1867" y="1158"/>
                  </a:cubicBezTo>
                  <a:cubicBezTo>
                    <a:pt x="1867" y="1160"/>
                    <a:pt x="1867" y="1163"/>
                    <a:pt x="1867" y="1165"/>
                  </a:cubicBezTo>
                  <a:close/>
                  <a:moveTo>
                    <a:pt x="1873" y="1173"/>
                  </a:moveTo>
                  <a:cubicBezTo>
                    <a:pt x="1873" y="1175"/>
                    <a:pt x="1873" y="1178"/>
                    <a:pt x="1873" y="1180"/>
                  </a:cubicBezTo>
                  <a:cubicBezTo>
                    <a:pt x="1871" y="1180"/>
                    <a:pt x="1869" y="1180"/>
                    <a:pt x="1867" y="1180"/>
                  </a:cubicBezTo>
                  <a:cubicBezTo>
                    <a:pt x="1867" y="1178"/>
                    <a:pt x="1867" y="1175"/>
                    <a:pt x="1867" y="1173"/>
                  </a:cubicBezTo>
                  <a:cubicBezTo>
                    <a:pt x="1869" y="1173"/>
                    <a:pt x="1871" y="1173"/>
                    <a:pt x="1873" y="1173"/>
                  </a:cubicBezTo>
                  <a:close/>
                  <a:moveTo>
                    <a:pt x="1873" y="1191"/>
                  </a:moveTo>
                  <a:cubicBezTo>
                    <a:pt x="1871" y="1197"/>
                    <a:pt x="1870" y="1191"/>
                    <a:pt x="1870" y="1187"/>
                  </a:cubicBezTo>
                  <a:cubicBezTo>
                    <a:pt x="1867" y="1187"/>
                    <a:pt x="1865" y="1188"/>
                    <a:pt x="1865" y="1191"/>
                  </a:cubicBezTo>
                  <a:cubicBezTo>
                    <a:pt x="1854" y="1184"/>
                    <a:pt x="1875" y="1179"/>
                    <a:pt x="1873" y="1191"/>
                  </a:cubicBezTo>
                  <a:close/>
                  <a:moveTo>
                    <a:pt x="1867" y="1210"/>
                  </a:moveTo>
                  <a:cubicBezTo>
                    <a:pt x="1866" y="1192"/>
                    <a:pt x="1879" y="1201"/>
                    <a:pt x="1878" y="1213"/>
                  </a:cubicBezTo>
                  <a:cubicBezTo>
                    <a:pt x="1876" y="1211"/>
                    <a:pt x="1872" y="1209"/>
                    <a:pt x="1867" y="1210"/>
                  </a:cubicBezTo>
                  <a:close/>
                  <a:moveTo>
                    <a:pt x="1873" y="174"/>
                  </a:moveTo>
                  <a:cubicBezTo>
                    <a:pt x="1868" y="183"/>
                    <a:pt x="1863" y="171"/>
                    <a:pt x="1859" y="170"/>
                  </a:cubicBezTo>
                  <a:cubicBezTo>
                    <a:pt x="1858" y="170"/>
                    <a:pt x="1854" y="170"/>
                    <a:pt x="1854" y="170"/>
                  </a:cubicBezTo>
                  <a:cubicBezTo>
                    <a:pt x="1850" y="176"/>
                    <a:pt x="1856" y="179"/>
                    <a:pt x="1846" y="174"/>
                  </a:cubicBezTo>
                  <a:cubicBezTo>
                    <a:pt x="1843" y="185"/>
                    <a:pt x="1852" y="181"/>
                    <a:pt x="1856" y="182"/>
                  </a:cubicBezTo>
                  <a:cubicBezTo>
                    <a:pt x="1856" y="188"/>
                    <a:pt x="1848" y="184"/>
                    <a:pt x="1848" y="193"/>
                  </a:cubicBezTo>
                  <a:cubicBezTo>
                    <a:pt x="1851" y="203"/>
                    <a:pt x="1856" y="187"/>
                    <a:pt x="1859" y="196"/>
                  </a:cubicBezTo>
                  <a:cubicBezTo>
                    <a:pt x="1864" y="199"/>
                    <a:pt x="1856" y="202"/>
                    <a:pt x="1856" y="196"/>
                  </a:cubicBezTo>
                  <a:cubicBezTo>
                    <a:pt x="1854" y="196"/>
                    <a:pt x="1854" y="201"/>
                    <a:pt x="1854" y="204"/>
                  </a:cubicBezTo>
                  <a:cubicBezTo>
                    <a:pt x="1848" y="205"/>
                    <a:pt x="1847" y="201"/>
                    <a:pt x="1843" y="200"/>
                  </a:cubicBezTo>
                  <a:cubicBezTo>
                    <a:pt x="1842" y="208"/>
                    <a:pt x="1844" y="214"/>
                    <a:pt x="1848" y="215"/>
                  </a:cubicBezTo>
                  <a:cubicBezTo>
                    <a:pt x="1842" y="227"/>
                    <a:pt x="1839" y="204"/>
                    <a:pt x="1838" y="196"/>
                  </a:cubicBezTo>
                  <a:cubicBezTo>
                    <a:pt x="1847" y="195"/>
                    <a:pt x="1846" y="185"/>
                    <a:pt x="1840" y="178"/>
                  </a:cubicBezTo>
                  <a:cubicBezTo>
                    <a:pt x="1840" y="171"/>
                    <a:pt x="1848" y="173"/>
                    <a:pt x="1846" y="163"/>
                  </a:cubicBezTo>
                  <a:cubicBezTo>
                    <a:pt x="1855" y="164"/>
                    <a:pt x="1863" y="162"/>
                    <a:pt x="1870" y="159"/>
                  </a:cubicBezTo>
                  <a:cubicBezTo>
                    <a:pt x="1869" y="162"/>
                    <a:pt x="1867" y="163"/>
                    <a:pt x="1867" y="167"/>
                  </a:cubicBezTo>
                  <a:cubicBezTo>
                    <a:pt x="1871" y="170"/>
                    <a:pt x="1875" y="163"/>
                    <a:pt x="1875" y="163"/>
                  </a:cubicBezTo>
                  <a:cubicBezTo>
                    <a:pt x="1879" y="164"/>
                    <a:pt x="1876" y="169"/>
                    <a:pt x="1878" y="170"/>
                  </a:cubicBezTo>
                  <a:cubicBezTo>
                    <a:pt x="1882" y="174"/>
                    <a:pt x="1889" y="167"/>
                    <a:pt x="1883" y="167"/>
                  </a:cubicBezTo>
                  <a:cubicBezTo>
                    <a:pt x="1883" y="167"/>
                    <a:pt x="1885" y="161"/>
                    <a:pt x="1886" y="163"/>
                  </a:cubicBezTo>
                  <a:cubicBezTo>
                    <a:pt x="1888" y="166"/>
                    <a:pt x="1891" y="166"/>
                    <a:pt x="1891" y="170"/>
                  </a:cubicBezTo>
                  <a:cubicBezTo>
                    <a:pt x="1897" y="170"/>
                    <a:pt x="1888" y="161"/>
                    <a:pt x="1891" y="152"/>
                  </a:cubicBezTo>
                  <a:cubicBezTo>
                    <a:pt x="1902" y="153"/>
                    <a:pt x="1896" y="131"/>
                    <a:pt x="1908" y="133"/>
                  </a:cubicBezTo>
                  <a:cubicBezTo>
                    <a:pt x="1903" y="144"/>
                    <a:pt x="1891" y="164"/>
                    <a:pt x="1902" y="174"/>
                  </a:cubicBezTo>
                  <a:cubicBezTo>
                    <a:pt x="1897" y="182"/>
                    <a:pt x="1893" y="205"/>
                    <a:pt x="1902" y="211"/>
                  </a:cubicBezTo>
                  <a:cubicBezTo>
                    <a:pt x="1900" y="218"/>
                    <a:pt x="1893" y="224"/>
                    <a:pt x="1889" y="218"/>
                  </a:cubicBezTo>
                  <a:cubicBezTo>
                    <a:pt x="1890" y="211"/>
                    <a:pt x="1893" y="211"/>
                    <a:pt x="1897" y="215"/>
                  </a:cubicBezTo>
                  <a:cubicBezTo>
                    <a:pt x="1892" y="209"/>
                    <a:pt x="1897" y="189"/>
                    <a:pt x="1886" y="193"/>
                  </a:cubicBezTo>
                  <a:cubicBezTo>
                    <a:pt x="1887" y="188"/>
                    <a:pt x="1891" y="190"/>
                    <a:pt x="1894" y="189"/>
                  </a:cubicBezTo>
                  <a:cubicBezTo>
                    <a:pt x="1891" y="177"/>
                    <a:pt x="1886" y="188"/>
                    <a:pt x="1881" y="178"/>
                  </a:cubicBezTo>
                  <a:cubicBezTo>
                    <a:pt x="1878" y="179"/>
                    <a:pt x="1879" y="182"/>
                    <a:pt x="1881" y="182"/>
                  </a:cubicBezTo>
                  <a:cubicBezTo>
                    <a:pt x="1880" y="191"/>
                    <a:pt x="1870" y="182"/>
                    <a:pt x="1873" y="174"/>
                  </a:cubicBezTo>
                  <a:close/>
                  <a:moveTo>
                    <a:pt x="1899" y="1317"/>
                  </a:moveTo>
                  <a:cubicBezTo>
                    <a:pt x="1889" y="1322"/>
                    <a:pt x="1899" y="1300"/>
                    <a:pt x="1889" y="1306"/>
                  </a:cubicBezTo>
                  <a:cubicBezTo>
                    <a:pt x="1890" y="1301"/>
                    <a:pt x="1895" y="1303"/>
                    <a:pt x="1899" y="1302"/>
                  </a:cubicBezTo>
                  <a:cubicBezTo>
                    <a:pt x="1899" y="1307"/>
                    <a:pt x="1899" y="1312"/>
                    <a:pt x="1899" y="1317"/>
                  </a:cubicBezTo>
                  <a:close/>
                  <a:moveTo>
                    <a:pt x="1937" y="1258"/>
                  </a:moveTo>
                  <a:cubicBezTo>
                    <a:pt x="1935" y="1258"/>
                    <a:pt x="1935" y="1253"/>
                    <a:pt x="1934" y="1250"/>
                  </a:cubicBezTo>
                  <a:cubicBezTo>
                    <a:pt x="1928" y="1251"/>
                    <a:pt x="1934" y="1262"/>
                    <a:pt x="1934" y="1261"/>
                  </a:cubicBezTo>
                  <a:cubicBezTo>
                    <a:pt x="1934" y="1269"/>
                    <a:pt x="1927" y="1263"/>
                    <a:pt x="1932" y="1276"/>
                  </a:cubicBezTo>
                  <a:cubicBezTo>
                    <a:pt x="1924" y="1279"/>
                    <a:pt x="1925" y="1271"/>
                    <a:pt x="1918" y="1273"/>
                  </a:cubicBezTo>
                  <a:cubicBezTo>
                    <a:pt x="1919" y="1268"/>
                    <a:pt x="1923" y="1269"/>
                    <a:pt x="1926" y="1269"/>
                  </a:cubicBezTo>
                  <a:cubicBezTo>
                    <a:pt x="1924" y="1260"/>
                    <a:pt x="1913" y="1260"/>
                    <a:pt x="1913" y="1273"/>
                  </a:cubicBezTo>
                  <a:cubicBezTo>
                    <a:pt x="1907" y="1275"/>
                    <a:pt x="1909" y="1265"/>
                    <a:pt x="1905" y="1265"/>
                  </a:cubicBezTo>
                  <a:cubicBezTo>
                    <a:pt x="1902" y="1266"/>
                    <a:pt x="1903" y="1269"/>
                    <a:pt x="1905" y="1269"/>
                  </a:cubicBezTo>
                  <a:cubicBezTo>
                    <a:pt x="1904" y="1279"/>
                    <a:pt x="1886" y="1266"/>
                    <a:pt x="1886" y="1276"/>
                  </a:cubicBezTo>
                  <a:cubicBezTo>
                    <a:pt x="1882" y="1275"/>
                    <a:pt x="1885" y="1265"/>
                    <a:pt x="1881" y="1265"/>
                  </a:cubicBezTo>
                  <a:cubicBezTo>
                    <a:pt x="1880" y="1258"/>
                    <a:pt x="1886" y="1261"/>
                    <a:pt x="1889" y="1258"/>
                  </a:cubicBezTo>
                  <a:cubicBezTo>
                    <a:pt x="1890" y="1256"/>
                    <a:pt x="1890" y="1242"/>
                    <a:pt x="1897" y="1247"/>
                  </a:cubicBezTo>
                  <a:cubicBezTo>
                    <a:pt x="1897" y="1257"/>
                    <a:pt x="1891" y="1260"/>
                    <a:pt x="1886" y="1265"/>
                  </a:cubicBezTo>
                  <a:cubicBezTo>
                    <a:pt x="1886" y="1273"/>
                    <a:pt x="1896" y="1267"/>
                    <a:pt x="1899" y="1269"/>
                  </a:cubicBezTo>
                  <a:cubicBezTo>
                    <a:pt x="1899" y="1265"/>
                    <a:pt x="1896" y="1266"/>
                    <a:pt x="1894" y="1265"/>
                  </a:cubicBezTo>
                  <a:cubicBezTo>
                    <a:pt x="1894" y="1262"/>
                    <a:pt x="1897" y="1262"/>
                    <a:pt x="1899" y="1261"/>
                  </a:cubicBezTo>
                  <a:cubicBezTo>
                    <a:pt x="1898" y="1254"/>
                    <a:pt x="1901" y="1252"/>
                    <a:pt x="1902" y="1247"/>
                  </a:cubicBezTo>
                  <a:cubicBezTo>
                    <a:pt x="1906" y="1247"/>
                    <a:pt x="1903" y="1258"/>
                    <a:pt x="1908" y="1258"/>
                  </a:cubicBezTo>
                  <a:cubicBezTo>
                    <a:pt x="1912" y="1258"/>
                    <a:pt x="1910" y="1230"/>
                    <a:pt x="1913" y="1250"/>
                  </a:cubicBezTo>
                  <a:cubicBezTo>
                    <a:pt x="1915" y="1255"/>
                    <a:pt x="1919" y="1257"/>
                    <a:pt x="1924" y="1258"/>
                  </a:cubicBezTo>
                  <a:cubicBezTo>
                    <a:pt x="1928" y="1254"/>
                    <a:pt x="1929" y="1246"/>
                    <a:pt x="1937" y="1247"/>
                  </a:cubicBezTo>
                  <a:cubicBezTo>
                    <a:pt x="1937" y="1250"/>
                    <a:pt x="1937" y="1254"/>
                    <a:pt x="1937" y="1258"/>
                  </a:cubicBezTo>
                  <a:close/>
                  <a:moveTo>
                    <a:pt x="1945" y="1217"/>
                  </a:moveTo>
                  <a:cubicBezTo>
                    <a:pt x="1942" y="1212"/>
                    <a:pt x="1944" y="1218"/>
                    <a:pt x="1940" y="1217"/>
                  </a:cubicBezTo>
                  <a:cubicBezTo>
                    <a:pt x="1937" y="1217"/>
                    <a:pt x="1934" y="1210"/>
                    <a:pt x="1932" y="1221"/>
                  </a:cubicBezTo>
                  <a:cubicBezTo>
                    <a:pt x="1929" y="1221"/>
                    <a:pt x="1930" y="1216"/>
                    <a:pt x="1929" y="1213"/>
                  </a:cubicBezTo>
                  <a:cubicBezTo>
                    <a:pt x="1925" y="1213"/>
                    <a:pt x="1920" y="1213"/>
                    <a:pt x="1916" y="1213"/>
                  </a:cubicBezTo>
                  <a:cubicBezTo>
                    <a:pt x="1913" y="1216"/>
                    <a:pt x="1913" y="1222"/>
                    <a:pt x="1908" y="1221"/>
                  </a:cubicBezTo>
                  <a:cubicBezTo>
                    <a:pt x="1912" y="1208"/>
                    <a:pt x="1900" y="1217"/>
                    <a:pt x="1894" y="1213"/>
                  </a:cubicBezTo>
                  <a:cubicBezTo>
                    <a:pt x="1892" y="1212"/>
                    <a:pt x="1892" y="1205"/>
                    <a:pt x="1889" y="1206"/>
                  </a:cubicBezTo>
                  <a:cubicBezTo>
                    <a:pt x="1887" y="1196"/>
                    <a:pt x="1901" y="1209"/>
                    <a:pt x="1899" y="1199"/>
                  </a:cubicBezTo>
                  <a:cubicBezTo>
                    <a:pt x="1901" y="1206"/>
                    <a:pt x="1914" y="1198"/>
                    <a:pt x="1916" y="1206"/>
                  </a:cubicBezTo>
                  <a:cubicBezTo>
                    <a:pt x="1919" y="1198"/>
                    <a:pt x="1927" y="1201"/>
                    <a:pt x="1942" y="1202"/>
                  </a:cubicBezTo>
                  <a:cubicBezTo>
                    <a:pt x="1943" y="1202"/>
                    <a:pt x="1942" y="1206"/>
                    <a:pt x="1942" y="1206"/>
                  </a:cubicBezTo>
                  <a:cubicBezTo>
                    <a:pt x="1945" y="1207"/>
                    <a:pt x="1945" y="1205"/>
                    <a:pt x="1945" y="1202"/>
                  </a:cubicBezTo>
                  <a:cubicBezTo>
                    <a:pt x="1948" y="1203"/>
                    <a:pt x="1947" y="1206"/>
                    <a:pt x="1945" y="1206"/>
                  </a:cubicBezTo>
                  <a:cubicBezTo>
                    <a:pt x="1945" y="1210"/>
                    <a:pt x="1946" y="1214"/>
                    <a:pt x="1948" y="1213"/>
                  </a:cubicBezTo>
                  <a:cubicBezTo>
                    <a:pt x="1951" y="1213"/>
                    <a:pt x="1953" y="1206"/>
                    <a:pt x="1959" y="1213"/>
                  </a:cubicBezTo>
                  <a:cubicBezTo>
                    <a:pt x="1962" y="1218"/>
                    <a:pt x="1947" y="1220"/>
                    <a:pt x="1945" y="1217"/>
                  </a:cubicBezTo>
                  <a:close/>
                  <a:moveTo>
                    <a:pt x="1967" y="1339"/>
                  </a:moveTo>
                  <a:cubicBezTo>
                    <a:pt x="1959" y="1342"/>
                    <a:pt x="1961" y="1332"/>
                    <a:pt x="1956" y="1332"/>
                  </a:cubicBezTo>
                  <a:cubicBezTo>
                    <a:pt x="1958" y="1327"/>
                    <a:pt x="1962" y="1325"/>
                    <a:pt x="1967" y="1324"/>
                  </a:cubicBezTo>
                  <a:cubicBezTo>
                    <a:pt x="1967" y="1329"/>
                    <a:pt x="1967" y="1334"/>
                    <a:pt x="1967" y="1339"/>
                  </a:cubicBezTo>
                  <a:close/>
                  <a:moveTo>
                    <a:pt x="1969" y="1269"/>
                  </a:moveTo>
                  <a:cubicBezTo>
                    <a:pt x="1970" y="1266"/>
                    <a:pt x="1968" y="1265"/>
                    <a:pt x="1967" y="1265"/>
                  </a:cubicBezTo>
                  <a:cubicBezTo>
                    <a:pt x="1967" y="1262"/>
                    <a:pt x="1970" y="1262"/>
                    <a:pt x="1972" y="1261"/>
                  </a:cubicBezTo>
                  <a:cubicBezTo>
                    <a:pt x="1967" y="1253"/>
                    <a:pt x="1973" y="1257"/>
                    <a:pt x="1975" y="1250"/>
                  </a:cubicBezTo>
                  <a:cubicBezTo>
                    <a:pt x="1983" y="1254"/>
                    <a:pt x="1971" y="1260"/>
                    <a:pt x="1975" y="1269"/>
                  </a:cubicBezTo>
                  <a:cubicBezTo>
                    <a:pt x="1973" y="1269"/>
                    <a:pt x="1971" y="1269"/>
                    <a:pt x="1969" y="1269"/>
                  </a:cubicBezTo>
                  <a:close/>
                  <a:moveTo>
                    <a:pt x="1977" y="1306"/>
                  </a:moveTo>
                  <a:cubicBezTo>
                    <a:pt x="1984" y="1296"/>
                    <a:pt x="1986" y="1310"/>
                    <a:pt x="1994" y="1309"/>
                  </a:cubicBezTo>
                  <a:cubicBezTo>
                    <a:pt x="1994" y="1315"/>
                    <a:pt x="1974" y="1318"/>
                    <a:pt x="1977" y="1306"/>
                  </a:cubicBezTo>
                  <a:close/>
                  <a:moveTo>
                    <a:pt x="1980" y="1232"/>
                  </a:moveTo>
                  <a:cubicBezTo>
                    <a:pt x="1981" y="1225"/>
                    <a:pt x="1985" y="1223"/>
                    <a:pt x="1991" y="1225"/>
                  </a:cubicBezTo>
                  <a:cubicBezTo>
                    <a:pt x="1989" y="1229"/>
                    <a:pt x="1985" y="1231"/>
                    <a:pt x="1980" y="1232"/>
                  </a:cubicBezTo>
                  <a:close/>
                  <a:moveTo>
                    <a:pt x="2015" y="1269"/>
                  </a:moveTo>
                  <a:cubicBezTo>
                    <a:pt x="2004" y="1271"/>
                    <a:pt x="2007" y="1255"/>
                    <a:pt x="2007" y="1243"/>
                  </a:cubicBezTo>
                  <a:cubicBezTo>
                    <a:pt x="2010" y="1245"/>
                    <a:pt x="2010" y="1252"/>
                    <a:pt x="2015" y="1250"/>
                  </a:cubicBezTo>
                  <a:cubicBezTo>
                    <a:pt x="2015" y="1257"/>
                    <a:pt x="2015" y="1263"/>
                    <a:pt x="2015" y="1269"/>
                  </a:cubicBezTo>
                  <a:close/>
                  <a:moveTo>
                    <a:pt x="2020" y="1261"/>
                  </a:moveTo>
                  <a:cubicBezTo>
                    <a:pt x="2028" y="1259"/>
                    <a:pt x="2019" y="1279"/>
                    <a:pt x="2026" y="1276"/>
                  </a:cubicBezTo>
                  <a:cubicBezTo>
                    <a:pt x="2021" y="1289"/>
                    <a:pt x="2019" y="1269"/>
                    <a:pt x="2020" y="1261"/>
                  </a:cubicBezTo>
                  <a:close/>
                  <a:moveTo>
                    <a:pt x="2026" y="1217"/>
                  </a:moveTo>
                  <a:cubicBezTo>
                    <a:pt x="2026" y="1217"/>
                    <a:pt x="2022" y="1221"/>
                    <a:pt x="2023" y="1221"/>
                  </a:cubicBezTo>
                  <a:cubicBezTo>
                    <a:pt x="2021" y="1221"/>
                    <a:pt x="2018" y="1213"/>
                    <a:pt x="2018" y="1213"/>
                  </a:cubicBezTo>
                  <a:cubicBezTo>
                    <a:pt x="2014" y="1214"/>
                    <a:pt x="2013" y="1220"/>
                    <a:pt x="2010" y="1221"/>
                  </a:cubicBezTo>
                  <a:cubicBezTo>
                    <a:pt x="2001" y="1223"/>
                    <a:pt x="1995" y="1212"/>
                    <a:pt x="1988" y="1221"/>
                  </a:cubicBezTo>
                  <a:cubicBezTo>
                    <a:pt x="1985" y="1222"/>
                    <a:pt x="1979" y="1210"/>
                    <a:pt x="1986" y="1210"/>
                  </a:cubicBezTo>
                  <a:cubicBezTo>
                    <a:pt x="1985" y="1206"/>
                    <a:pt x="1982" y="1207"/>
                    <a:pt x="1980" y="1206"/>
                  </a:cubicBezTo>
                  <a:cubicBezTo>
                    <a:pt x="1981" y="1198"/>
                    <a:pt x="1996" y="1201"/>
                    <a:pt x="1991" y="1213"/>
                  </a:cubicBezTo>
                  <a:cubicBezTo>
                    <a:pt x="1994" y="1213"/>
                    <a:pt x="1994" y="1202"/>
                    <a:pt x="1991" y="1202"/>
                  </a:cubicBezTo>
                  <a:cubicBezTo>
                    <a:pt x="1991" y="1198"/>
                    <a:pt x="1996" y="1199"/>
                    <a:pt x="1999" y="1199"/>
                  </a:cubicBezTo>
                  <a:cubicBezTo>
                    <a:pt x="1999" y="1202"/>
                    <a:pt x="1999" y="1206"/>
                    <a:pt x="1999" y="1210"/>
                  </a:cubicBezTo>
                  <a:cubicBezTo>
                    <a:pt x="2009" y="1209"/>
                    <a:pt x="2004" y="1201"/>
                    <a:pt x="2012" y="1206"/>
                  </a:cubicBezTo>
                  <a:cubicBezTo>
                    <a:pt x="2013" y="1206"/>
                    <a:pt x="2017" y="1205"/>
                    <a:pt x="2018" y="1206"/>
                  </a:cubicBezTo>
                  <a:cubicBezTo>
                    <a:pt x="2018" y="1206"/>
                    <a:pt x="2019" y="1212"/>
                    <a:pt x="2020" y="1210"/>
                  </a:cubicBezTo>
                  <a:cubicBezTo>
                    <a:pt x="2025" y="1204"/>
                    <a:pt x="2023" y="1215"/>
                    <a:pt x="2031" y="1213"/>
                  </a:cubicBezTo>
                  <a:cubicBezTo>
                    <a:pt x="2031" y="1217"/>
                    <a:pt x="2028" y="1216"/>
                    <a:pt x="2026" y="1217"/>
                  </a:cubicBezTo>
                  <a:close/>
                  <a:moveTo>
                    <a:pt x="2031" y="588"/>
                  </a:moveTo>
                  <a:cubicBezTo>
                    <a:pt x="2033" y="585"/>
                    <a:pt x="2034" y="580"/>
                    <a:pt x="2034" y="574"/>
                  </a:cubicBezTo>
                  <a:cubicBezTo>
                    <a:pt x="2039" y="572"/>
                    <a:pt x="2039" y="594"/>
                    <a:pt x="2031" y="588"/>
                  </a:cubicBezTo>
                  <a:close/>
                  <a:moveTo>
                    <a:pt x="2039" y="1210"/>
                  </a:moveTo>
                  <a:cubicBezTo>
                    <a:pt x="2044" y="1209"/>
                    <a:pt x="2044" y="1213"/>
                    <a:pt x="2047" y="1213"/>
                  </a:cubicBezTo>
                  <a:cubicBezTo>
                    <a:pt x="2046" y="1218"/>
                    <a:pt x="2042" y="1220"/>
                    <a:pt x="2037" y="1221"/>
                  </a:cubicBezTo>
                  <a:cubicBezTo>
                    <a:pt x="2038" y="1218"/>
                    <a:pt x="2039" y="1215"/>
                    <a:pt x="2039" y="1210"/>
                  </a:cubicBezTo>
                  <a:close/>
                  <a:moveTo>
                    <a:pt x="2039" y="1306"/>
                  </a:moveTo>
                  <a:cubicBezTo>
                    <a:pt x="2042" y="1309"/>
                    <a:pt x="2045" y="1310"/>
                    <a:pt x="2050" y="1309"/>
                  </a:cubicBezTo>
                  <a:cubicBezTo>
                    <a:pt x="2051" y="1316"/>
                    <a:pt x="2035" y="1316"/>
                    <a:pt x="2039" y="1306"/>
                  </a:cubicBezTo>
                  <a:close/>
                  <a:moveTo>
                    <a:pt x="2050" y="1269"/>
                  </a:moveTo>
                  <a:cubicBezTo>
                    <a:pt x="2048" y="1268"/>
                    <a:pt x="2048" y="1270"/>
                    <a:pt x="2047" y="1273"/>
                  </a:cubicBezTo>
                  <a:cubicBezTo>
                    <a:pt x="2044" y="1272"/>
                    <a:pt x="2045" y="1266"/>
                    <a:pt x="2045" y="1261"/>
                  </a:cubicBezTo>
                  <a:cubicBezTo>
                    <a:pt x="2048" y="1263"/>
                    <a:pt x="2049" y="1268"/>
                    <a:pt x="2053" y="1269"/>
                  </a:cubicBezTo>
                  <a:cubicBezTo>
                    <a:pt x="2052" y="1273"/>
                    <a:pt x="2050" y="1271"/>
                    <a:pt x="2050" y="1269"/>
                  </a:cubicBezTo>
                  <a:close/>
                  <a:moveTo>
                    <a:pt x="2064" y="1213"/>
                  </a:moveTo>
                  <a:cubicBezTo>
                    <a:pt x="2061" y="1219"/>
                    <a:pt x="2057" y="1221"/>
                    <a:pt x="2050" y="1221"/>
                  </a:cubicBezTo>
                  <a:cubicBezTo>
                    <a:pt x="2050" y="1214"/>
                    <a:pt x="2059" y="1218"/>
                    <a:pt x="2058" y="1210"/>
                  </a:cubicBezTo>
                  <a:cubicBezTo>
                    <a:pt x="2058" y="1206"/>
                    <a:pt x="2055" y="1207"/>
                    <a:pt x="2053" y="1206"/>
                  </a:cubicBezTo>
                  <a:cubicBezTo>
                    <a:pt x="2054" y="1201"/>
                    <a:pt x="2059" y="1203"/>
                    <a:pt x="2064" y="1202"/>
                  </a:cubicBezTo>
                  <a:cubicBezTo>
                    <a:pt x="2064" y="1209"/>
                    <a:pt x="2059" y="1212"/>
                    <a:pt x="2064" y="1213"/>
                  </a:cubicBezTo>
                  <a:close/>
                  <a:moveTo>
                    <a:pt x="2055" y="1195"/>
                  </a:moveTo>
                  <a:cubicBezTo>
                    <a:pt x="2055" y="1191"/>
                    <a:pt x="2055" y="1187"/>
                    <a:pt x="2055" y="1184"/>
                  </a:cubicBezTo>
                  <a:cubicBezTo>
                    <a:pt x="2060" y="1180"/>
                    <a:pt x="2064" y="1195"/>
                    <a:pt x="2066" y="1184"/>
                  </a:cubicBezTo>
                  <a:cubicBezTo>
                    <a:pt x="2072" y="1186"/>
                    <a:pt x="2063" y="1198"/>
                    <a:pt x="2055" y="1195"/>
                  </a:cubicBezTo>
                  <a:close/>
                  <a:moveTo>
                    <a:pt x="2069" y="204"/>
                  </a:moveTo>
                  <a:cubicBezTo>
                    <a:pt x="2065" y="208"/>
                    <a:pt x="2064" y="215"/>
                    <a:pt x="2058" y="207"/>
                  </a:cubicBezTo>
                  <a:cubicBezTo>
                    <a:pt x="2062" y="202"/>
                    <a:pt x="2071" y="196"/>
                    <a:pt x="2072" y="207"/>
                  </a:cubicBezTo>
                  <a:cubicBezTo>
                    <a:pt x="2070" y="213"/>
                    <a:pt x="2069" y="208"/>
                    <a:pt x="2069" y="204"/>
                  </a:cubicBezTo>
                  <a:close/>
                  <a:moveTo>
                    <a:pt x="2074" y="182"/>
                  </a:moveTo>
                  <a:cubicBezTo>
                    <a:pt x="2069" y="181"/>
                    <a:pt x="2074" y="174"/>
                    <a:pt x="2074" y="174"/>
                  </a:cubicBezTo>
                  <a:cubicBezTo>
                    <a:pt x="2074" y="170"/>
                    <a:pt x="2069" y="164"/>
                    <a:pt x="2074" y="159"/>
                  </a:cubicBezTo>
                  <a:cubicBezTo>
                    <a:pt x="2082" y="163"/>
                    <a:pt x="2073" y="175"/>
                    <a:pt x="2074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</p:grpSp>
      <p:sp>
        <p:nvSpPr>
          <p:cNvPr id="112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792107" y="4618881"/>
            <a:ext cx="4232424" cy="7493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  <a:endParaRPr lang="en-AU"/>
          </a:p>
        </p:txBody>
      </p:sp>
      <p:sp>
        <p:nvSpPr>
          <p:cNvPr id="113" name="Title 4124"/>
          <p:cNvSpPr>
            <a:spLocks noGrp="1"/>
          </p:cNvSpPr>
          <p:nvPr>
            <p:ph type="title"/>
          </p:nvPr>
        </p:nvSpPr>
        <p:spPr>
          <a:xfrm>
            <a:off x="5735264" y="1927683"/>
            <a:ext cx="5486400" cy="2603500"/>
          </a:xfrm>
        </p:spPr>
        <p:txBody>
          <a:bodyPr/>
          <a:lstStyle>
            <a:lvl1pPr>
              <a:defRPr sz="7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3243670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splash">
    <p:bg>
      <p:bgPr>
        <a:solidFill>
          <a:srgbClr val="4985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94" name="Group 4193"/>
          <p:cNvGrpSpPr/>
          <p:nvPr userDrawn="1"/>
        </p:nvGrpSpPr>
        <p:grpSpPr>
          <a:xfrm>
            <a:off x="3388559" y="1687629"/>
            <a:ext cx="8814356" cy="4310435"/>
            <a:chOff x="2541419" y="1687628"/>
            <a:chExt cx="6610767" cy="4310435"/>
          </a:xfrm>
          <a:solidFill>
            <a:schemeClr val="accent3"/>
          </a:solidFill>
        </p:grpSpPr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3782953" y="1707783"/>
              <a:ext cx="34935" cy="79275"/>
            </a:xfrm>
            <a:custGeom>
              <a:avLst/>
              <a:gdLst>
                <a:gd name="T0" fmla="*/ 11 w 11"/>
                <a:gd name="T1" fmla="*/ 13 h 25"/>
                <a:gd name="T2" fmla="*/ 11 w 11"/>
                <a:gd name="T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25">
                  <a:moveTo>
                    <a:pt x="11" y="13"/>
                  </a:moveTo>
                  <a:cubicBezTo>
                    <a:pt x="0" y="0"/>
                    <a:pt x="4" y="25"/>
                    <a:pt x="1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6" name="Freeform 8"/>
            <p:cNvSpPr>
              <a:spLocks/>
            </p:cNvSpPr>
            <p:nvPr userDrawn="1"/>
          </p:nvSpPr>
          <p:spPr bwMode="auto">
            <a:xfrm>
              <a:off x="4782630" y="1722563"/>
              <a:ext cx="30904" cy="67183"/>
            </a:xfrm>
            <a:custGeom>
              <a:avLst/>
              <a:gdLst>
                <a:gd name="T0" fmla="*/ 10 w 10"/>
                <a:gd name="T1" fmla="*/ 11 h 21"/>
                <a:gd name="T2" fmla="*/ 0 w 10"/>
                <a:gd name="T3" fmla="*/ 11 h 21"/>
                <a:gd name="T4" fmla="*/ 10 w 10"/>
                <a:gd name="T5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1">
                  <a:moveTo>
                    <a:pt x="10" y="11"/>
                  </a:moveTo>
                  <a:cubicBezTo>
                    <a:pt x="5" y="15"/>
                    <a:pt x="1" y="0"/>
                    <a:pt x="0" y="11"/>
                  </a:cubicBezTo>
                  <a:cubicBezTo>
                    <a:pt x="1" y="13"/>
                    <a:pt x="10" y="21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8294936" y="1770934"/>
              <a:ext cx="34935" cy="51059"/>
            </a:xfrm>
            <a:custGeom>
              <a:avLst/>
              <a:gdLst>
                <a:gd name="T0" fmla="*/ 3 w 11"/>
                <a:gd name="T1" fmla="*/ 0 h 16"/>
                <a:gd name="T2" fmla="*/ 0 w 11"/>
                <a:gd name="T3" fmla="*/ 15 h 16"/>
                <a:gd name="T4" fmla="*/ 3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3" y="0"/>
                  </a:moveTo>
                  <a:cubicBezTo>
                    <a:pt x="4" y="7"/>
                    <a:pt x="0" y="8"/>
                    <a:pt x="0" y="15"/>
                  </a:cubicBezTo>
                  <a:cubicBezTo>
                    <a:pt x="8" y="16"/>
                    <a:pt x="11" y="1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8" name="Freeform 10"/>
            <p:cNvSpPr>
              <a:spLocks/>
            </p:cNvSpPr>
            <p:nvPr userDrawn="1"/>
          </p:nvSpPr>
          <p:spPr bwMode="auto">
            <a:xfrm>
              <a:off x="8345995" y="1783027"/>
              <a:ext cx="18811" cy="57777"/>
            </a:xfrm>
            <a:custGeom>
              <a:avLst/>
              <a:gdLst>
                <a:gd name="T0" fmla="*/ 6 w 6"/>
                <a:gd name="T1" fmla="*/ 18 h 18"/>
                <a:gd name="T2" fmla="*/ 1 w 6"/>
                <a:gd name="T3" fmla="*/ 0 h 18"/>
                <a:gd name="T4" fmla="*/ 6 w 6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8">
                  <a:moveTo>
                    <a:pt x="6" y="18"/>
                  </a:moveTo>
                  <a:cubicBezTo>
                    <a:pt x="6" y="9"/>
                    <a:pt x="5" y="3"/>
                    <a:pt x="1" y="0"/>
                  </a:cubicBezTo>
                  <a:cubicBezTo>
                    <a:pt x="0" y="9"/>
                    <a:pt x="0" y="18"/>
                    <a:pt x="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9" name="Freeform 11"/>
            <p:cNvSpPr>
              <a:spLocks/>
            </p:cNvSpPr>
            <p:nvPr userDrawn="1"/>
          </p:nvSpPr>
          <p:spPr bwMode="auto">
            <a:xfrm>
              <a:off x="8921078" y="1783027"/>
              <a:ext cx="79275" cy="123616"/>
            </a:xfrm>
            <a:custGeom>
              <a:avLst/>
              <a:gdLst>
                <a:gd name="T0" fmla="*/ 5 w 25"/>
                <a:gd name="T1" fmla="*/ 33 h 39"/>
                <a:gd name="T2" fmla="*/ 10 w 25"/>
                <a:gd name="T3" fmla="*/ 37 h 39"/>
                <a:gd name="T4" fmla="*/ 13 w 25"/>
                <a:gd name="T5" fmla="*/ 33 h 39"/>
                <a:gd name="T6" fmla="*/ 19 w 25"/>
                <a:gd name="T7" fmla="*/ 26 h 39"/>
                <a:gd name="T8" fmla="*/ 24 w 25"/>
                <a:gd name="T9" fmla="*/ 18 h 39"/>
                <a:gd name="T10" fmla="*/ 16 w 25"/>
                <a:gd name="T11" fmla="*/ 0 h 39"/>
                <a:gd name="T12" fmla="*/ 2 w 25"/>
                <a:gd name="T13" fmla="*/ 15 h 39"/>
                <a:gd name="T14" fmla="*/ 13 w 25"/>
                <a:gd name="T15" fmla="*/ 11 h 39"/>
                <a:gd name="T16" fmla="*/ 10 w 25"/>
                <a:gd name="T17" fmla="*/ 30 h 39"/>
                <a:gd name="T18" fmla="*/ 0 w 25"/>
                <a:gd name="T19" fmla="*/ 26 h 39"/>
                <a:gd name="T20" fmla="*/ 2 w 25"/>
                <a:gd name="T21" fmla="*/ 37 h 39"/>
                <a:gd name="T22" fmla="*/ 5 w 25"/>
                <a:gd name="T23" fmla="*/ 3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39">
                  <a:moveTo>
                    <a:pt x="5" y="33"/>
                  </a:moveTo>
                  <a:cubicBezTo>
                    <a:pt x="8" y="32"/>
                    <a:pt x="9" y="38"/>
                    <a:pt x="10" y="37"/>
                  </a:cubicBezTo>
                  <a:cubicBezTo>
                    <a:pt x="12" y="36"/>
                    <a:pt x="10" y="33"/>
                    <a:pt x="13" y="33"/>
                  </a:cubicBezTo>
                  <a:cubicBezTo>
                    <a:pt x="17" y="33"/>
                    <a:pt x="16" y="26"/>
                    <a:pt x="19" y="26"/>
                  </a:cubicBezTo>
                  <a:cubicBezTo>
                    <a:pt x="22" y="25"/>
                    <a:pt x="21" y="20"/>
                    <a:pt x="24" y="18"/>
                  </a:cubicBezTo>
                  <a:cubicBezTo>
                    <a:pt x="25" y="8"/>
                    <a:pt x="19" y="6"/>
                    <a:pt x="16" y="0"/>
                  </a:cubicBezTo>
                  <a:cubicBezTo>
                    <a:pt x="10" y="3"/>
                    <a:pt x="0" y="0"/>
                    <a:pt x="2" y="15"/>
                  </a:cubicBezTo>
                  <a:cubicBezTo>
                    <a:pt x="9" y="20"/>
                    <a:pt x="11" y="0"/>
                    <a:pt x="13" y="11"/>
                  </a:cubicBezTo>
                  <a:cubicBezTo>
                    <a:pt x="14" y="21"/>
                    <a:pt x="3" y="20"/>
                    <a:pt x="10" y="30"/>
                  </a:cubicBezTo>
                  <a:cubicBezTo>
                    <a:pt x="5" y="23"/>
                    <a:pt x="5" y="32"/>
                    <a:pt x="0" y="26"/>
                  </a:cubicBezTo>
                  <a:cubicBezTo>
                    <a:pt x="0" y="30"/>
                    <a:pt x="0" y="35"/>
                    <a:pt x="2" y="37"/>
                  </a:cubicBezTo>
                  <a:cubicBezTo>
                    <a:pt x="5" y="39"/>
                    <a:pt x="5" y="33"/>
                    <a:pt x="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0" name="Freeform 12"/>
            <p:cNvSpPr>
              <a:spLocks/>
            </p:cNvSpPr>
            <p:nvPr userDrawn="1"/>
          </p:nvSpPr>
          <p:spPr bwMode="auto">
            <a:xfrm>
              <a:off x="8399741" y="1817962"/>
              <a:ext cx="16124" cy="22842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3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" name="Freeform 13"/>
            <p:cNvSpPr>
              <a:spLocks/>
            </p:cNvSpPr>
            <p:nvPr userDrawn="1"/>
          </p:nvSpPr>
          <p:spPr bwMode="auto">
            <a:xfrm>
              <a:off x="7350349" y="1840804"/>
              <a:ext cx="14780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2" name="Freeform 14"/>
            <p:cNvSpPr>
              <a:spLocks/>
            </p:cNvSpPr>
            <p:nvPr userDrawn="1"/>
          </p:nvSpPr>
          <p:spPr bwMode="auto">
            <a:xfrm>
              <a:off x="8534106" y="1840804"/>
              <a:ext cx="28217" cy="72557"/>
            </a:xfrm>
            <a:custGeom>
              <a:avLst/>
              <a:gdLst>
                <a:gd name="T0" fmla="*/ 9 w 9"/>
                <a:gd name="T1" fmla="*/ 23 h 23"/>
                <a:gd name="T2" fmla="*/ 3 w 9"/>
                <a:gd name="T3" fmla="*/ 0 h 23"/>
                <a:gd name="T4" fmla="*/ 9 w 9"/>
                <a:gd name="T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3">
                  <a:moveTo>
                    <a:pt x="9" y="23"/>
                  </a:moveTo>
                  <a:cubicBezTo>
                    <a:pt x="6" y="16"/>
                    <a:pt x="8" y="4"/>
                    <a:pt x="3" y="0"/>
                  </a:cubicBezTo>
                  <a:cubicBezTo>
                    <a:pt x="0" y="5"/>
                    <a:pt x="1" y="23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3" name="Freeform 15"/>
            <p:cNvSpPr>
              <a:spLocks/>
            </p:cNvSpPr>
            <p:nvPr userDrawn="1"/>
          </p:nvSpPr>
          <p:spPr bwMode="auto">
            <a:xfrm>
              <a:off x="8986917" y="1831399"/>
              <a:ext cx="38966" cy="104805"/>
            </a:xfrm>
            <a:custGeom>
              <a:avLst/>
              <a:gdLst>
                <a:gd name="T0" fmla="*/ 3 w 12"/>
                <a:gd name="T1" fmla="*/ 33 h 33"/>
                <a:gd name="T2" fmla="*/ 8 w 12"/>
                <a:gd name="T3" fmla="*/ 33 h 33"/>
                <a:gd name="T4" fmla="*/ 11 w 12"/>
                <a:gd name="T5" fmla="*/ 29 h 33"/>
                <a:gd name="T6" fmla="*/ 6 w 12"/>
                <a:gd name="T7" fmla="*/ 18 h 33"/>
                <a:gd name="T8" fmla="*/ 3 w 12"/>
                <a:gd name="T9" fmla="*/ 3 h 33"/>
                <a:gd name="T10" fmla="*/ 3 w 12"/>
                <a:gd name="T1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33">
                  <a:moveTo>
                    <a:pt x="3" y="33"/>
                  </a:moveTo>
                  <a:cubicBezTo>
                    <a:pt x="5" y="33"/>
                    <a:pt x="7" y="33"/>
                    <a:pt x="8" y="33"/>
                  </a:cubicBezTo>
                  <a:cubicBezTo>
                    <a:pt x="9" y="31"/>
                    <a:pt x="9" y="29"/>
                    <a:pt x="11" y="29"/>
                  </a:cubicBezTo>
                  <a:cubicBezTo>
                    <a:pt x="12" y="22"/>
                    <a:pt x="7" y="22"/>
                    <a:pt x="6" y="18"/>
                  </a:cubicBezTo>
                  <a:cubicBezTo>
                    <a:pt x="8" y="15"/>
                    <a:pt x="12" y="0"/>
                    <a:pt x="3" y="3"/>
                  </a:cubicBezTo>
                  <a:cubicBezTo>
                    <a:pt x="0" y="17"/>
                    <a:pt x="1" y="24"/>
                    <a:pt x="3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4" name="Freeform 16"/>
            <p:cNvSpPr>
              <a:spLocks/>
            </p:cNvSpPr>
            <p:nvPr userDrawn="1"/>
          </p:nvSpPr>
          <p:spPr bwMode="auto">
            <a:xfrm>
              <a:off x="8476329" y="1887832"/>
              <a:ext cx="60464" cy="83306"/>
            </a:xfrm>
            <a:custGeom>
              <a:avLst/>
              <a:gdLst>
                <a:gd name="T0" fmla="*/ 11 w 19"/>
                <a:gd name="T1" fmla="*/ 26 h 26"/>
                <a:gd name="T2" fmla="*/ 19 w 19"/>
                <a:gd name="T3" fmla="*/ 15 h 26"/>
                <a:gd name="T4" fmla="*/ 19 w 19"/>
                <a:gd name="T5" fmla="*/ 0 h 26"/>
                <a:gd name="T6" fmla="*/ 11 w 19"/>
                <a:gd name="T7" fmla="*/ 0 h 26"/>
                <a:gd name="T8" fmla="*/ 11 w 19"/>
                <a:gd name="T9" fmla="*/ 15 h 26"/>
                <a:gd name="T10" fmla="*/ 11 w 19"/>
                <a:gd name="T1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6">
                  <a:moveTo>
                    <a:pt x="11" y="26"/>
                  </a:moveTo>
                  <a:cubicBezTo>
                    <a:pt x="14" y="23"/>
                    <a:pt x="11" y="12"/>
                    <a:pt x="19" y="15"/>
                  </a:cubicBezTo>
                  <a:cubicBezTo>
                    <a:pt x="19" y="10"/>
                    <a:pt x="19" y="5"/>
                    <a:pt x="19" y="0"/>
                  </a:cubicBezTo>
                  <a:cubicBezTo>
                    <a:pt x="16" y="0"/>
                    <a:pt x="13" y="0"/>
                    <a:pt x="11" y="0"/>
                  </a:cubicBezTo>
                  <a:cubicBezTo>
                    <a:pt x="7" y="10"/>
                    <a:pt x="11" y="11"/>
                    <a:pt x="11" y="15"/>
                  </a:cubicBezTo>
                  <a:cubicBezTo>
                    <a:pt x="10" y="17"/>
                    <a:pt x="0" y="23"/>
                    <a:pt x="11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5" name="Freeform 17"/>
            <p:cNvSpPr>
              <a:spLocks/>
            </p:cNvSpPr>
            <p:nvPr userDrawn="1"/>
          </p:nvSpPr>
          <p:spPr bwMode="auto">
            <a:xfrm>
              <a:off x="8771933" y="1885145"/>
              <a:ext cx="37622" cy="81963"/>
            </a:xfrm>
            <a:custGeom>
              <a:avLst/>
              <a:gdLst>
                <a:gd name="T0" fmla="*/ 12 w 12"/>
                <a:gd name="T1" fmla="*/ 23 h 26"/>
                <a:gd name="T2" fmla="*/ 1 w 12"/>
                <a:gd name="T3" fmla="*/ 1 h 26"/>
                <a:gd name="T4" fmla="*/ 6 w 12"/>
                <a:gd name="T5" fmla="*/ 16 h 26"/>
                <a:gd name="T6" fmla="*/ 12 w 12"/>
                <a:gd name="T7" fmla="*/ 2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12" y="23"/>
                  </a:moveTo>
                  <a:cubicBezTo>
                    <a:pt x="9" y="15"/>
                    <a:pt x="11" y="0"/>
                    <a:pt x="1" y="1"/>
                  </a:cubicBezTo>
                  <a:cubicBezTo>
                    <a:pt x="0" y="7"/>
                    <a:pt x="5" y="12"/>
                    <a:pt x="6" y="16"/>
                  </a:cubicBezTo>
                  <a:cubicBezTo>
                    <a:pt x="8" y="19"/>
                    <a:pt x="6" y="26"/>
                    <a:pt x="1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6" name="Freeform 18"/>
            <p:cNvSpPr>
              <a:spLocks/>
            </p:cNvSpPr>
            <p:nvPr userDrawn="1"/>
          </p:nvSpPr>
          <p:spPr bwMode="auto">
            <a:xfrm>
              <a:off x="4985522" y="1901268"/>
              <a:ext cx="18811" cy="21498"/>
            </a:xfrm>
            <a:custGeom>
              <a:avLst/>
              <a:gdLst>
                <a:gd name="T0" fmla="*/ 0 w 6"/>
                <a:gd name="T1" fmla="*/ 7 h 7"/>
                <a:gd name="T2" fmla="*/ 6 w 6"/>
                <a:gd name="T3" fmla="*/ 7 h 7"/>
                <a:gd name="T4" fmla="*/ 6 w 6"/>
                <a:gd name="T5" fmla="*/ 0 h 7"/>
                <a:gd name="T6" fmla="*/ 0 w 6"/>
                <a:gd name="T7" fmla="*/ 0 h 7"/>
                <a:gd name="T8" fmla="*/ 0 w 6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7"/>
                  </a:moveTo>
                  <a:cubicBezTo>
                    <a:pt x="2" y="7"/>
                    <a:pt x="4" y="7"/>
                    <a:pt x="6" y="7"/>
                  </a:cubicBezTo>
                  <a:cubicBezTo>
                    <a:pt x="6" y="5"/>
                    <a:pt x="6" y="2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7" name="Freeform 19"/>
            <p:cNvSpPr>
              <a:spLocks/>
            </p:cNvSpPr>
            <p:nvPr userDrawn="1"/>
          </p:nvSpPr>
          <p:spPr bwMode="auto">
            <a:xfrm>
              <a:off x="7707760" y="1901268"/>
              <a:ext cx="16124" cy="21498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4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8" name="Freeform 20"/>
            <p:cNvSpPr>
              <a:spLocks/>
            </p:cNvSpPr>
            <p:nvPr userDrawn="1"/>
          </p:nvSpPr>
          <p:spPr bwMode="auto">
            <a:xfrm>
              <a:off x="5395336" y="1910674"/>
              <a:ext cx="44341" cy="44341"/>
            </a:xfrm>
            <a:custGeom>
              <a:avLst/>
              <a:gdLst>
                <a:gd name="T0" fmla="*/ 0 w 14"/>
                <a:gd name="T1" fmla="*/ 8 h 14"/>
                <a:gd name="T2" fmla="*/ 14 w 14"/>
                <a:gd name="T3" fmla="*/ 4 h 14"/>
                <a:gd name="T4" fmla="*/ 0 w 14"/>
                <a:gd name="T5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0" y="8"/>
                  </a:moveTo>
                  <a:cubicBezTo>
                    <a:pt x="4" y="14"/>
                    <a:pt x="11" y="11"/>
                    <a:pt x="14" y="4"/>
                  </a:cubicBezTo>
                  <a:cubicBezTo>
                    <a:pt x="10" y="6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9" name="Freeform 21"/>
            <p:cNvSpPr>
              <a:spLocks/>
            </p:cNvSpPr>
            <p:nvPr userDrawn="1"/>
          </p:nvSpPr>
          <p:spPr bwMode="auto">
            <a:xfrm>
              <a:off x="7086993" y="1910674"/>
              <a:ext cx="37622" cy="85994"/>
            </a:xfrm>
            <a:custGeom>
              <a:avLst/>
              <a:gdLst>
                <a:gd name="T0" fmla="*/ 2 w 12"/>
                <a:gd name="T1" fmla="*/ 4 h 27"/>
                <a:gd name="T2" fmla="*/ 0 w 12"/>
                <a:gd name="T3" fmla="*/ 19 h 27"/>
                <a:gd name="T4" fmla="*/ 2 w 12"/>
                <a:gd name="T5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7">
                  <a:moveTo>
                    <a:pt x="2" y="4"/>
                  </a:moveTo>
                  <a:cubicBezTo>
                    <a:pt x="2" y="11"/>
                    <a:pt x="2" y="16"/>
                    <a:pt x="0" y="19"/>
                  </a:cubicBezTo>
                  <a:cubicBezTo>
                    <a:pt x="10" y="27"/>
                    <a:pt x="12" y="0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0" name="Freeform 22"/>
            <p:cNvSpPr>
              <a:spLocks/>
            </p:cNvSpPr>
            <p:nvPr userDrawn="1"/>
          </p:nvSpPr>
          <p:spPr bwMode="auto">
            <a:xfrm>
              <a:off x="8844490" y="1906643"/>
              <a:ext cx="22842" cy="69870"/>
            </a:xfrm>
            <a:custGeom>
              <a:avLst/>
              <a:gdLst>
                <a:gd name="T0" fmla="*/ 0 w 7"/>
                <a:gd name="T1" fmla="*/ 5 h 22"/>
                <a:gd name="T2" fmla="*/ 0 w 7"/>
                <a:gd name="T3" fmla="*/ 16 h 22"/>
                <a:gd name="T4" fmla="*/ 0 w 7"/>
                <a:gd name="T5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2">
                  <a:moveTo>
                    <a:pt x="0" y="5"/>
                  </a:moveTo>
                  <a:cubicBezTo>
                    <a:pt x="0" y="9"/>
                    <a:pt x="0" y="13"/>
                    <a:pt x="0" y="16"/>
                  </a:cubicBezTo>
                  <a:cubicBezTo>
                    <a:pt x="7" y="22"/>
                    <a:pt x="7" y="0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1" name="Freeform 23"/>
            <p:cNvSpPr>
              <a:spLocks/>
            </p:cNvSpPr>
            <p:nvPr userDrawn="1"/>
          </p:nvSpPr>
          <p:spPr bwMode="auto">
            <a:xfrm>
              <a:off x="5778276" y="1906643"/>
              <a:ext cx="34935" cy="79275"/>
            </a:xfrm>
            <a:custGeom>
              <a:avLst/>
              <a:gdLst>
                <a:gd name="T0" fmla="*/ 11 w 11"/>
                <a:gd name="T1" fmla="*/ 13 h 25"/>
                <a:gd name="T2" fmla="*/ 11 w 11"/>
                <a:gd name="T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25">
                  <a:moveTo>
                    <a:pt x="11" y="13"/>
                  </a:moveTo>
                  <a:cubicBezTo>
                    <a:pt x="0" y="0"/>
                    <a:pt x="5" y="25"/>
                    <a:pt x="1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2" name="Freeform 24"/>
            <p:cNvSpPr>
              <a:spLocks/>
            </p:cNvSpPr>
            <p:nvPr userDrawn="1"/>
          </p:nvSpPr>
          <p:spPr bwMode="auto">
            <a:xfrm>
              <a:off x="5870988" y="1926798"/>
              <a:ext cx="47028" cy="30904"/>
            </a:xfrm>
            <a:custGeom>
              <a:avLst/>
              <a:gdLst>
                <a:gd name="T0" fmla="*/ 9 w 15"/>
                <a:gd name="T1" fmla="*/ 10 h 10"/>
                <a:gd name="T2" fmla="*/ 14 w 15"/>
                <a:gd name="T3" fmla="*/ 3 h 10"/>
                <a:gd name="T4" fmla="*/ 9 w 15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9" y="10"/>
                  </a:moveTo>
                  <a:cubicBezTo>
                    <a:pt x="8" y="7"/>
                    <a:pt x="15" y="5"/>
                    <a:pt x="14" y="3"/>
                  </a:cubicBezTo>
                  <a:cubicBezTo>
                    <a:pt x="12" y="0"/>
                    <a:pt x="0" y="4"/>
                    <a:pt x="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3" name="Freeform 25"/>
            <p:cNvSpPr>
              <a:spLocks/>
            </p:cNvSpPr>
            <p:nvPr userDrawn="1"/>
          </p:nvSpPr>
          <p:spPr bwMode="auto">
            <a:xfrm>
              <a:off x="6940535" y="1932172"/>
              <a:ext cx="25529" cy="38966"/>
            </a:xfrm>
            <a:custGeom>
              <a:avLst/>
              <a:gdLst>
                <a:gd name="T0" fmla="*/ 8 w 8"/>
                <a:gd name="T1" fmla="*/ 5 h 12"/>
                <a:gd name="T2" fmla="*/ 0 w 8"/>
                <a:gd name="T3" fmla="*/ 1 h 12"/>
                <a:gd name="T4" fmla="*/ 0 w 8"/>
                <a:gd name="T5" fmla="*/ 12 h 12"/>
                <a:gd name="T6" fmla="*/ 5 w 8"/>
                <a:gd name="T7" fmla="*/ 12 h 12"/>
                <a:gd name="T8" fmla="*/ 8 w 8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8" y="5"/>
                  </a:moveTo>
                  <a:cubicBezTo>
                    <a:pt x="5" y="4"/>
                    <a:pt x="4" y="0"/>
                    <a:pt x="0" y="1"/>
                  </a:cubicBezTo>
                  <a:cubicBezTo>
                    <a:pt x="0" y="5"/>
                    <a:pt x="0" y="8"/>
                    <a:pt x="0" y="12"/>
                  </a:cubicBezTo>
                  <a:cubicBezTo>
                    <a:pt x="2" y="12"/>
                    <a:pt x="3" y="12"/>
                    <a:pt x="5" y="12"/>
                  </a:cubicBezTo>
                  <a:cubicBezTo>
                    <a:pt x="5" y="8"/>
                    <a:pt x="7" y="8"/>
                    <a:pt x="8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4" name="Freeform 26"/>
            <p:cNvSpPr>
              <a:spLocks/>
            </p:cNvSpPr>
            <p:nvPr userDrawn="1"/>
          </p:nvSpPr>
          <p:spPr bwMode="auto">
            <a:xfrm>
              <a:off x="5959669" y="1938891"/>
              <a:ext cx="37622" cy="44341"/>
            </a:xfrm>
            <a:custGeom>
              <a:avLst/>
              <a:gdLst>
                <a:gd name="T0" fmla="*/ 10 w 12"/>
                <a:gd name="T1" fmla="*/ 3 h 14"/>
                <a:gd name="T2" fmla="*/ 2 w 12"/>
                <a:gd name="T3" fmla="*/ 6 h 14"/>
                <a:gd name="T4" fmla="*/ 10 w 12"/>
                <a:gd name="T5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4">
                  <a:moveTo>
                    <a:pt x="10" y="3"/>
                  </a:moveTo>
                  <a:cubicBezTo>
                    <a:pt x="8" y="0"/>
                    <a:pt x="3" y="5"/>
                    <a:pt x="2" y="6"/>
                  </a:cubicBezTo>
                  <a:cubicBezTo>
                    <a:pt x="0" y="14"/>
                    <a:pt x="12" y="5"/>
                    <a:pt x="1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5" name="Freeform 27"/>
            <p:cNvSpPr>
              <a:spLocks/>
            </p:cNvSpPr>
            <p:nvPr userDrawn="1"/>
          </p:nvSpPr>
          <p:spPr bwMode="auto">
            <a:xfrm>
              <a:off x="6343954" y="1948296"/>
              <a:ext cx="16124" cy="22842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6" name="Freeform 28"/>
            <p:cNvSpPr>
              <a:spLocks/>
            </p:cNvSpPr>
            <p:nvPr userDrawn="1"/>
          </p:nvSpPr>
          <p:spPr bwMode="auto">
            <a:xfrm>
              <a:off x="8902267" y="1948296"/>
              <a:ext cx="18811" cy="22842"/>
            </a:xfrm>
            <a:custGeom>
              <a:avLst/>
              <a:gdLst>
                <a:gd name="T0" fmla="*/ 6 w 6"/>
                <a:gd name="T1" fmla="*/ 0 h 7"/>
                <a:gd name="T2" fmla="*/ 0 w 6"/>
                <a:gd name="T3" fmla="*/ 0 h 7"/>
                <a:gd name="T4" fmla="*/ 0 w 6"/>
                <a:gd name="T5" fmla="*/ 7 h 7"/>
                <a:gd name="T6" fmla="*/ 6 w 6"/>
                <a:gd name="T7" fmla="*/ 7 h 7"/>
                <a:gd name="T8" fmla="*/ 6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4" y="7"/>
                    <a:pt x="6" y="7"/>
                  </a:cubicBezTo>
                  <a:cubicBezTo>
                    <a:pt x="6" y="5"/>
                    <a:pt x="6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7" name="Freeform 29"/>
            <p:cNvSpPr>
              <a:spLocks/>
            </p:cNvSpPr>
            <p:nvPr userDrawn="1"/>
          </p:nvSpPr>
          <p:spPr bwMode="auto">
            <a:xfrm>
              <a:off x="8986917" y="1948296"/>
              <a:ext cx="29560" cy="37622"/>
            </a:xfrm>
            <a:custGeom>
              <a:avLst/>
              <a:gdLst>
                <a:gd name="T0" fmla="*/ 8 w 9"/>
                <a:gd name="T1" fmla="*/ 11 h 12"/>
                <a:gd name="T2" fmla="*/ 3 w 9"/>
                <a:gd name="T3" fmla="*/ 0 h 12"/>
                <a:gd name="T4" fmla="*/ 0 w 9"/>
                <a:gd name="T5" fmla="*/ 7 h 12"/>
                <a:gd name="T6" fmla="*/ 8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11"/>
                  </a:moveTo>
                  <a:cubicBezTo>
                    <a:pt x="9" y="4"/>
                    <a:pt x="6" y="1"/>
                    <a:pt x="3" y="0"/>
                  </a:cubicBezTo>
                  <a:cubicBezTo>
                    <a:pt x="3" y="3"/>
                    <a:pt x="1" y="4"/>
                    <a:pt x="0" y="7"/>
                  </a:cubicBezTo>
                  <a:cubicBezTo>
                    <a:pt x="4" y="7"/>
                    <a:pt x="4" y="12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8" name="Freeform 30"/>
            <p:cNvSpPr>
              <a:spLocks/>
            </p:cNvSpPr>
            <p:nvPr userDrawn="1"/>
          </p:nvSpPr>
          <p:spPr bwMode="auto">
            <a:xfrm>
              <a:off x="9037976" y="1938891"/>
              <a:ext cx="32248" cy="44341"/>
            </a:xfrm>
            <a:custGeom>
              <a:avLst/>
              <a:gdLst>
                <a:gd name="T0" fmla="*/ 0 w 10"/>
                <a:gd name="T1" fmla="*/ 10 h 14"/>
                <a:gd name="T2" fmla="*/ 8 w 10"/>
                <a:gd name="T3" fmla="*/ 14 h 14"/>
                <a:gd name="T4" fmla="*/ 0 w 10"/>
                <a:gd name="T5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4">
                  <a:moveTo>
                    <a:pt x="0" y="10"/>
                  </a:moveTo>
                  <a:cubicBezTo>
                    <a:pt x="4" y="10"/>
                    <a:pt x="6" y="12"/>
                    <a:pt x="8" y="14"/>
                  </a:cubicBezTo>
                  <a:cubicBezTo>
                    <a:pt x="10" y="2"/>
                    <a:pt x="1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9" name="Freeform 31"/>
            <p:cNvSpPr>
              <a:spLocks/>
            </p:cNvSpPr>
            <p:nvPr userDrawn="1"/>
          </p:nvSpPr>
          <p:spPr bwMode="auto">
            <a:xfrm>
              <a:off x="6521316" y="1983231"/>
              <a:ext cx="48371" cy="51059"/>
            </a:xfrm>
            <a:custGeom>
              <a:avLst/>
              <a:gdLst>
                <a:gd name="T0" fmla="*/ 6 w 15"/>
                <a:gd name="T1" fmla="*/ 11 h 16"/>
                <a:gd name="T2" fmla="*/ 3 w 15"/>
                <a:gd name="T3" fmla="*/ 15 h 16"/>
                <a:gd name="T4" fmla="*/ 14 w 15"/>
                <a:gd name="T5" fmla="*/ 0 h 16"/>
                <a:gd name="T6" fmla="*/ 0 w 15"/>
                <a:gd name="T7" fmla="*/ 7 h 16"/>
                <a:gd name="T8" fmla="*/ 6 w 15"/>
                <a:gd name="T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6" y="11"/>
                  </a:moveTo>
                  <a:cubicBezTo>
                    <a:pt x="4" y="11"/>
                    <a:pt x="2" y="11"/>
                    <a:pt x="3" y="15"/>
                  </a:cubicBezTo>
                  <a:cubicBezTo>
                    <a:pt x="11" y="16"/>
                    <a:pt x="15" y="11"/>
                    <a:pt x="14" y="0"/>
                  </a:cubicBezTo>
                  <a:cubicBezTo>
                    <a:pt x="9" y="2"/>
                    <a:pt x="2" y="2"/>
                    <a:pt x="0" y="7"/>
                  </a:cubicBezTo>
                  <a:cubicBezTo>
                    <a:pt x="2" y="8"/>
                    <a:pt x="5" y="7"/>
                    <a:pt x="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0" name="Freeform 32"/>
            <p:cNvSpPr>
              <a:spLocks/>
            </p:cNvSpPr>
            <p:nvPr userDrawn="1"/>
          </p:nvSpPr>
          <p:spPr bwMode="auto">
            <a:xfrm>
              <a:off x="7397377" y="1973826"/>
              <a:ext cx="51059" cy="37622"/>
            </a:xfrm>
            <a:custGeom>
              <a:avLst/>
              <a:gdLst>
                <a:gd name="T0" fmla="*/ 12 w 16"/>
                <a:gd name="T1" fmla="*/ 10 h 12"/>
                <a:gd name="T2" fmla="*/ 1 w 16"/>
                <a:gd name="T3" fmla="*/ 6 h 12"/>
                <a:gd name="T4" fmla="*/ 12 w 16"/>
                <a:gd name="T5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2" y="10"/>
                  </a:moveTo>
                  <a:cubicBezTo>
                    <a:pt x="16" y="0"/>
                    <a:pt x="0" y="0"/>
                    <a:pt x="1" y="6"/>
                  </a:cubicBezTo>
                  <a:cubicBezTo>
                    <a:pt x="5" y="8"/>
                    <a:pt x="6" y="12"/>
                    <a:pt x="1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1" name="Freeform 33"/>
            <p:cNvSpPr>
              <a:spLocks/>
            </p:cNvSpPr>
            <p:nvPr userDrawn="1"/>
          </p:nvSpPr>
          <p:spPr bwMode="auto">
            <a:xfrm>
              <a:off x="7508900" y="1983231"/>
              <a:ext cx="40310" cy="37622"/>
            </a:xfrm>
            <a:custGeom>
              <a:avLst/>
              <a:gdLst>
                <a:gd name="T0" fmla="*/ 12 w 13"/>
                <a:gd name="T1" fmla="*/ 11 h 12"/>
                <a:gd name="T2" fmla="*/ 1 w 13"/>
                <a:gd name="T3" fmla="*/ 0 h 12"/>
                <a:gd name="T4" fmla="*/ 12 w 13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2" y="11"/>
                  </a:moveTo>
                  <a:cubicBezTo>
                    <a:pt x="13" y="1"/>
                    <a:pt x="6" y="1"/>
                    <a:pt x="1" y="0"/>
                  </a:cubicBezTo>
                  <a:cubicBezTo>
                    <a:pt x="0" y="9"/>
                    <a:pt x="5" y="12"/>
                    <a:pt x="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2" name="Freeform 34"/>
            <p:cNvSpPr>
              <a:spLocks/>
            </p:cNvSpPr>
            <p:nvPr userDrawn="1"/>
          </p:nvSpPr>
          <p:spPr bwMode="auto">
            <a:xfrm>
              <a:off x="6061787" y="1989949"/>
              <a:ext cx="24186" cy="28217"/>
            </a:xfrm>
            <a:custGeom>
              <a:avLst/>
              <a:gdLst>
                <a:gd name="T0" fmla="*/ 0 w 8"/>
                <a:gd name="T1" fmla="*/ 1 h 9"/>
                <a:gd name="T2" fmla="*/ 0 w 8"/>
                <a:gd name="T3" fmla="*/ 9 h 9"/>
                <a:gd name="T4" fmla="*/ 8 w 8"/>
                <a:gd name="T5" fmla="*/ 9 h 9"/>
                <a:gd name="T6" fmla="*/ 0 w 8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3" y="9"/>
                    <a:pt x="5" y="9"/>
                    <a:pt x="8" y="9"/>
                  </a:cubicBezTo>
                  <a:cubicBezTo>
                    <a:pt x="8" y="2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3" name="Freeform 35"/>
            <p:cNvSpPr>
              <a:spLocks/>
            </p:cNvSpPr>
            <p:nvPr userDrawn="1"/>
          </p:nvSpPr>
          <p:spPr bwMode="auto">
            <a:xfrm>
              <a:off x="6290208" y="1976513"/>
              <a:ext cx="60464" cy="69870"/>
            </a:xfrm>
            <a:custGeom>
              <a:avLst/>
              <a:gdLst>
                <a:gd name="T0" fmla="*/ 19 w 19"/>
                <a:gd name="T1" fmla="*/ 13 h 22"/>
                <a:gd name="T2" fmla="*/ 0 w 19"/>
                <a:gd name="T3" fmla="*/ 13 h 22"/>
                <a:gd name="T4" fmla="*/ 19 w 19"/>
                <a:gd name="T5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22">
                  <a:moveTo>
                    <a:pt x="19" y="13"/>
                  </a:moveTo>
                  <a:cubicBezTo>
                    <a:pt x="13" y="11"/>
                    <a:pt x="2" y="0"/>
                    <a:pt x="0" y="13"/>
                  </a:cubicBezTo>
                  <a:cubicBezTo>
                    <a:pt x="9" y="8"/>
                    <a:pt x="17" y="22"/>
                    <a:pt x="19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48" name="Freeform 36"/>
            <p:cNvSpPr>
              <a:spLocks/>
            </p:cNvSpPr>
            <p:nvPr userDrawn="1"/>
          </p:nvSpPr>
          <p:spPr bwMode="auto">
            <a:xfrm>
              <a:off x="6632839" y="1980544"/>
              <a:ext cx="72557" cy="72557"/>
            </a:xfrm>
            <a:custGeom>
              <a:avLst/>
              <a:gdLst>
                <a:gd name="T0" fmla="*/ 14 w 23"/>
                <a:gd name="T1" fmla="*/ 23 h 23"/>
                <a:gd name="T2" fmla="*/ 14 w 23"/>
                <a:gd name="T3" fmla="*/ 4 h 23"/>
                <a:gd name="T4" fmla="*/ 3 w 23"/>
                <a:gd name="T5" fmla="*/ 4 h 23"/>
                <a:gd name="T6" fmla="*/ 0 w 23"/>
                <a:gd name="T7" fmla="*/ 16 h 23"/>
                <a:gd name="T8" fmla="*/ 14 w 23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4" y="23"/>
                  </a:moveTo>
                  <a:cubicBezTo>
                    <a:pt x="15" y="16"/>
                    <a:pt x="23" y="7"/>
                    <a:pt x="14" y="4"/>
                  </a:cubicBezTo>
                  <a:cubicBezTo>
                    <a:pt x="13" y="22"/>
                    <a:pt x="10" y="0"/>
                    <a:pt x="3" y="4"/>
                  </a:cubicBezTo>
                  <a:cubicBezTo>
                    <a:pt x="3" y="10"/>
                    <a:pt x="1" y="13"/>
                    <a:pt x="0" y="16"/>
                  </a:cubicBezTo>
                  <a:cubicBezTo>
                    <a:pt x="9" y="12"/>
                    <a:pt x="8" y="21"/>
                    <a:pt x="14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49" name="Freeform 37"/>
            <p:cNvSpPr>
              <a:spLocks/>
            </p:cNvSpPr>
            <p:nvPr userDrawn="1"/>
          </p:nvSpPr>
          <p:spPr bwMode="auto">
            <a:xfrm>
              <a:off x="8397054" y="1989949"/>
              <a:ext cx="32248" cy="51059"/>
            </a:xfrm>
            <a:custGeom>
              <a:avLst/>
              <a:gdLst>
                <a:gd name="T0" fmla="*/ 1 w 10"/>
                <a:gd name="T1" fmla="*/ 1 h 16"/>
                <a:gd name="T2" fmla="*/ 9 w 10"/>
                <a:gd name="T3" fmla="*/ 16 h 16"/>
                <a:gd name="T4" fmla="*/ 1 w 10"/>
                <a:gd name="T5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6">
                  <a:moveTo>
                    <a:pt x="1" y="1"/>
                  </a:moveTo>
                  <a:cubicBezTo>
                    <a:pt x="0" y="11"/>
                    <a:pt x="5" y="13"/>
                    <a:pt x="9" y="16"/>
                  </a:cubicBezTo>
                  <a:cubicBezTo>
                    <a:pt x="10" y="7"/>
                    <a:pt x="8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1" name="Freeform 38"/>
            <p:cNvSpPr>
              <a:spLocks/>
            </p:cNvSpPr>
            <p:nvPr userDrawn="1"/>
          </p:nvSpPr>
          <p:spPr bwMode="auto">
            <a:xfrm>
              <a:off x="7178362" y="2002042"/>
              <a:ext cx="76588" cy="83306"/>
            </a:xfrm>
            <a:custGeom>
              <a:avLst/>
              <a:gdLst>
                <a:gd name="T0" fmla="*/ 14 w 24"/>
                <a:gd name="T1" fmla="*/ 16 h 26"/>
                <a:gd name="T2" fmla="*/ 24 w 24"/>
                <a:gd name="T3" fmla="*/ 16 h 26"/>
                <a:gd name="T4" fmla="*/ 16 w 24"/>
                <a:gd name="T5" fmla="*/ 16 h 26"/>
                <a:gd name="T6" fmla="*/ 11 w 24"/>
                <a:gd name="T7" fmla="*/ 5 h 26"/>
                <a:gd name="T8" fmla="*/ 6 w 24"/>
                <a:gd name="T9" fmla="*/ 5 h 26"/>
                <a:gd name="T10" fmla="*/ 0 w 24"/>
                <a:gd name="T11" fmla="*/ 20 h 26"/>
                <a:gd name="T12" fmla="*/ 14 w 24"/>
                <a:gd name="T13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6">
                  <a:moveTo>
                    <a:pt x="14" y="16"/>
                  </a:moveTo>
                  <a:cubicBezTo>
                    <a:pt x="16" y="22"/>
                    <a:pt x="24" y="26"/>
                    <a:pt x="24" y="16"/>
                  </a:cubicBezTo>
                  <a:cubicBezTo>
                    <a:pt x="22" y="16"/>
                    <a:pt x="19" y="16"/>
                    <a:pt x="16" y="16"/>
                  </a:cubicBezTo>
                  <a:cubicBezTo>
                    <a:pt x="17" y="9"/>
                    <a:pt x="13" y="9"/>
                    <a:pt x="11" y="5"/>
                  </a:cubicBezTo>
                  <a:cubicBezTo>
                    <a:pt x="11" y="1"/>
                    <a:pt x="6" y="0"/>
                    <a:pt x="6" y="5"/>
                  </a:cubicBezTo>
                  <a:cubicBezTo>
                    <a:pt x="14" y="10"/>
                    <a:pt x="1" y="15"/>
                    <a:pt x="0" y="20"/>
                  </a:cubicBezTo>
                  <a:cubicBezTo>
                    <a:pt x="6" y="21"/>
                    <a:pt x="11" y="19"/>
                    <a:pt x="1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2" name="Freeform 39"/>
            <p:cNvSpPr>
              <a:spLocks/>
            </p:cNvSpPr>
            <p:nvPr userDrawn="1"/>
          </p:nvSpPr>
          <p:spPr bwMode="auto">
            <a:xfrm>
              <a:off x="6733613" y="2018166"/>
              <a:ext cx="25529" cy="22842"/>
            </a:xfrm>
            <a:custGeom>
              <a:avLst/>
              <a:gdLst>
                <a:gd name="T0" fmla="*/ 8 w 8"/>
                <a:gd name="T1" fmla="*/ 0 h 7"/>
                <a:gd name="T2" fmla="*/ 0 w 8"/>
                <a:gd name="T3" fmla="*/ 7 h 7"/>
                <a:gd name="T4" fmla="*/ 8 w 8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7">
                  <a:moveTo>
                    <a:pt x="8" y="0"/>
                  </a:moveTo>
                  <a:cubicBezTo>
                    <a:pt x="4" y="0"/>
                    <a:pt x="2" y="3"/>
                    <a:pt x="0" y="7"/>
                  </a:cubicBezTo>
                  <a:cubicBezTo>
                    <a:pt x="5" y="7"/>
                    <a:pt x="7" y="4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3" name="Freeform 40"/>
            <p:cNvSpPr>
              <a:spLocks/>
            </p:cNvSpPr>
            <p:nvPr userDrawn="1"/>
          </p:nvSpPr>
          <p:spPr bwMode="auto">
            <a:xfrm>
              <a:off x="8993635" y="2015479"/>
              <a:ext cx="28217" cy="44341"/>
            </a:xfrm>
            <a:custGeom>
              <a:avLst/>
              <a:gdLst>
                <a:gd name="T0" fmla="*/ 9 w 9"/>
                <a:gd name="T1" fmla="*/ 1 h 14"/>
                <a:gd name="T2" fmla="*/ 1 w 9"/>
                <a:gd name="T3" fmla="*/ 12 h 14"/>
                <a:gd name="T4" fmla="*/ 9 w 9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9" y="1"/>
                  </a:moveTo>
                  <a:cubicBezTo>
                    <a:pt x="3" y="0"/>
                    <a:pt x="0" y="4"/>
                    <a:pt x="1" y="12"/>
                  </a:cubicBezTo>
                  <a:cubicBezTo>
                    <a:pt x="8" y="14"/>
                    <a:pt x="6" y="4"/>
                    <a:pt x="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4" name="Freeform 41"/>
            <p:cNvSpPr>
              <a:spLocks/>
            </p:cNvSpPr>
            <p:nvPr userDrawn="1"/>
          </p:nvSpPr>
          <p:spPr bwMode="auto">
            <a:xfrm>
              <a:off x="6949941" y="2027572"/>
              <a:ext cx="56433" cy="95399"/>
            </a:xfrm>
            <a:custGeom>
              <a:avLst/>
              <a:gdLst>
                <a:gd name="T0" fmla="*/ 13 w 18"/>
                <a:gd name="T1" fmla="*/ 26 h 30"/>
                <a:gd name="T2" fmla="*/ 8 w 18"/>
                <a:gd name="T3" fmla="*/ 19 h 30"/>
                <a:gd name="T4" fmla="*/ 16 w 18"/>
                <a:gd name="T5" fmla="*/ 1 h 30"/>
                <a:gd name="T6" fmla="*/ 0 w 18"/>
                <a:gd name="T7" fmla="*/ 15 h 30"/>
                <a:gd name="T8" fmla="*/ 13 w 18"/>
                <a:gd name="T9" fmla="*/ 2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30">
                  <a:moveTo>
                    <a:pt x="13" y="26"/>
                  </a:moveTo>
                  <a:cubicBezTo>
                    <a:pt x="14" y="9"/>
                    <a:pt x="11" y="13"/>
                    <a:pt x="8" y="19"/>
                  </a:cubicBezTo>
                  <a:cubicBezTo>
                    <a:pt x="5" y="5"/>
                    <a:pt x="18" y="13"/>
                    <a:pt x="16" y="1"/>
                  </a:cubicBezTo>
                  <a:cubicBezTo>
                    <a:pt x="7" y="0"/>
                    <a:pt x="5" y="10"/>
                    <a:pt x="0" y="15"/>
                  </a:cubicBezTo>
                  <a:cubicBezTo>
                    <a:pt x="9" y="13"/>
                    <a:pt x="3" y="30"/>
                    <a:pt x="13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5" name="Freeform 42"/>
            <p:cNvSpPr>
              <a:spLocks/>
            </p:cNvSpPr>
            <p:nvPr userDrawn="1"/>
          </p:nvSpPr>
          <p:spPr bwMode="auto">
            <a:xfrm>
              <a:off x="7061464" y="2020853"/>
              <a:ext cx="40310" cy="60464"/>
            </a:xfrm>
            <a:custGeom>
              <a:avLst/>
              <a:gdLst>
                <a:gd name="T0" fmla="*/ 13 w 13"/>
                <a:gd name="T1" fmla="*/ 6 h 19"/>
                <a:gd name="T2" fmla="*/ 0 w 13"/>
                <a:gd name="T3" fmla="*/ 10 h 19"/>
                <a:gd name="T4" fmla="*/ 13 w 13"/>
                <a:gd name="T5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9">
                  <a:moveTo>
                    <a:pt x="13" y="6"/>
                  </a:moveTo>
                  <a:cubicBezTo>
                    <a:pt x="7" y="4"/>
                    <a:pt x="3" y="0"/>
                    <a:pt x="0" y="10"/>
                  </a:cubicBezTo>
                  <a:cubicBezTo>
                    <a:pt x="8" y="8"/>
                    <a:pt x="11" y="19"/>
                    <a:pt x="1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6" name="Freeform 43"/>
            <p:cNvSpPr>
              <a:spLocks/>
            </p:cNvSpPr>
            <p:nvPr userDrawn="1"/>
          </p:nvSpPr>
          <p:spPr bwMode="auto">
            <a:xfrm>
              <a:off x="7250919" y="2041008"/>
              <a:ext cx="67183" cy="49715"/>
            </a:xfrm>
            <a:custGeom>
              <a:avLst/>
              <a:gdLst>
                <a:gd name="T0" fmla="*/ 9 w 21"/>
                <a:gd name="T1" fmla="*/ 0 h 16"/>
                <a:gd name="T2" fmla="*/ 4 w 21"/>
                <a:gd name="T3" fmla="*/ 0 h 16"/>
                <a:gd name="T4" fmla="*/ 9 w 2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6">
                  <a:moveTo>
                    <a:pt x="9" y="0"/>
                  </a:moveTo>
                  <a:cubicBezTo>
                    <a:pt x="9" y="5"/>
                    <a:pt x="6" y="2"/>
                    <a:pt x="4" y="0"/>
                  </a:cubicBezTo>
                  <a:cubicBezTo>
                    <a:pt x="0" y="16"/>
                    <a:pt x="21" y="4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7" name="Freeform 44"/>
            <p:cNvSpPr>
              <a:spLocks/>
            </p:cNvSpPr>
            <p:nvPr userDrawn="1"/>
          </p:nvSpPr>
          <p:spPr bwMode="auto">
            <a:xfrm>
              <a:off x="7324820" y="2034290"/>
              <a:ext cx="44341" cy="88681"/>
            </a:xfrm>
            <a:custGeom>
              <a:avLst/>
              <a:gdLst>
                <a:gd name="T0" fmla="*/ 8 w 14"/>
                <a:gd name="T1" fmla="*/ 28 h 28"/>
                <a:gd name="T2" fmla="*/ 13 w 14"/>
                <a:gd name="T3" fmla="*/ 21 h 28"/>
                <a:gd name="T4" fmla="*/ 5 w 14"/>
                <a:gd name="T5" fmla="*/ 2 h 28"/>
                <a:gd name="T6" fmla="*/ 8 w 14"/>
                <a:gd name="T7" fmla="*/ 17 h 28"/>
                <a:gd name="T8" fmla="*/ 8 w 14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8">
                  <a:moveTo>
                    <a:pt x="8" y="28"/>
                  </a:moveTo>
                  <a:cubicBezTo>
                    <a:pt x="8" y="23"/>
                    <a:pt x="13" y="25"/>
                    <a:pt x="13" y="21"/>
                  </a:cubicBezTo>
                  <a:cubicBezTo>
                    <a:pt x="7" y="19"/>
                    <a:pt x="14" y="0"/>
                    <a:pt x="5" y="2"/>
                  </a:cubicBezTo>
                  <a:cubicBezTo>
                    <a:pt x="0" y="10"/>
                    <a:pt x="6" y="9"/>
                    <a:pt x="8" y="17"/>
                  </a:cubicBezTo>
                  <a:cubicBezTo>
                    <a:pt x="4" y="17"/>
                    <a:pt x="5" y="27"/>
                    <a:pt x="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8" name="Freeform 45"/>
            <p:cNvSpPr>
              <a:spLocks/>
            </p:cNvSpPr>
            <p:nvPr userDrawn="1"/>
          </p:nvSpPr>
          <p:spPr bwMode="auto">
            <a:xfrm>
              <a:off x="7504869" y="2041008"/>
              <a:ext cx="51059" cy="116898"/>
            </a:xfrm>
            <a:custGeom>
              <a:avLst/>
              <a:gdLst>
                <a:gd name="T0" fmla="*/ 7 w 16"/>
                <a:gd name="T1" fmla="*/ 0 h 37"/>
                <a:gd name="T2" fmla="*/ 5 w 16"/>
                <a:gd name="T3" fmla="*/ 15 h 37"/>
                <a:gd name="T4" fmla="*/ 10 w 16"/>
                <a:gd name="T5" fmla="*/ 22 h 37"/>
                <a:gd name="T6" fmla="*/ 5 w 16"/>
                <a:gd name="T7" fmla="*/ 37 h 37"/>
                <a:gd name="T8" fmla="*/ 16 w 16"/>
                <a:gd name="T9" fmla="*/ 30 h 37"/>
                <a:gd name="T10" fmla="*/ 13 w 16"/>
                <a:gd name="T11" fmla="*/ 22 h 37"/>
                <a:gd name="T12" fmla="*/ 7 w 16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37">
                  <a:moveTo>
                    <a:pt x="7" y="0"/>
                  </a:moveTo>
                  <a:cubicBezTo>
                    <a:pt x="2" y="10"/>
                    <a:pt x="8" y="10"/>
                    <a:pt x="5" y="15"/>
                  </a:cubicBezTo>
                  <a:cubicBezTo>
                    <a:pt x="3" y="17"/>
                    <a:pt x="10" y="21"/>
                    <a:pt x="10" y="22"/>
                  </a:cubicBezTo>
                  <a:cubicBezTo>
                    <a:pt x="10" y="25"/>
                    <a:pt x="0" y="30"/>
                    <a:pt x="5" y="37"/>
                  </a:cubicBezTo>
                  <a:cubicBezTo>
                    <a:pt x="10" y="37"/>
                    <a:pt x="14" y="35"/>
                    <a:pt x="16" y="30"/>
                  </a:cubicBezTo>
                  <a:cubicBezTo>
                    <a:pt x="9" y="30"/>
                    <a:pt x="12" y="28"/>
                    <a:pt x="13" y="22"/>
                  </a:cubicBezTo>
                  <a:cubicBezTo>
                    <a:pt x="14" y="14"/>
                    <a:pt x="9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9" name="Freeform 46"/>
            <p:cNvSpPr>
              <a:spLocks/>
            </p:cNvSpPr>
            <p:nvPr userDrawn="1"/>
          </p:nvSpPr>
          <p:spPr bwMode="auto">
            <a:xfrm>
              <a:off x="6753768" y="2046383"/>
              <a:ext cx="37622" cy="57777"/>
            </a:xfrm>
            <a:custGeom>
              <a:avLst/>
              <a:gdLst>
                <a:gd name="T0" fmla="*/ 2 w 12"/>
                <a:gd name="T1" fmla="*/ 6 h 18"/>
                <a:gd name="T2" fmla="*/ 0 w 12"/>
                <a:gd name="T3" fmla="*/ 13 h 18"/>
                <a:gd name="T4" fmla="*/ 2 w 12"/>
                <a:gd name="T5" fmla="*/ 2 h 18"/>
                <a:gd name="T6" fmla="*/ 2 w 12"/>
                <a:gd name="T7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8">
                  <a:moveTo>
                    <a:pt x="2" y="6"/>
                  </a:moveTo>
                  <a:cubicBezTo>
                    <a:pt x="2" y="6"/>
                    <a:pt x="0" y="13"/>
                    <a:pt x="0" y="13"/>
                  </a:cubicBezTo>
                  <a:cubicBezTo>
                    <a:pt x="3" y="18"/>
                    <a:pt x="12" y="0"/>
                    <a:pt x="2" y="2"/>
                  </a:cubicBezTo>
                  <a:cubicBezTo>
                    <a:pt x="2" y="2"/>
                    <a:pt x="3" y="5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0" name="Freeform 47"/>
            <p:cNvSpPr>
              <a:spLocks/>
            </p:cNvSpPr>
            <p:nvPr userDrawn="1"/>
          </p:nvSpPr>
          <p:spPr bwMode="auto">
            <a:xfrm>
              <a:off x="6171966" y="2071912"/>
              <a:ext cx="48371" cy="29560"/>
            </a:xfrm>
            <a:custGeom>
              <a:avLst/>
              <a:gdLst>
                <a:gd name="T0" fmla="*/ 8 w 15"/>
                <a:gd name="T1" fmla="*/ 1 h 9"/>
                <a:gd name="T2" fmla="*/ 0 w 15"/>
                <a:gd name="T3" fmla="*/ 5 h 9"/>
                <a:gd name="T4" fmla="*/ 8 w 15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8" y="1"/>
                  </a:moveTo>
                  <a:cubicBezTo>
                    <a:pt x="6" y="0"/>
                    <a:pt x="0" y="2"/>
                    <a:pt x="0" y="5"/>
                  </a:cubicBezTo>
                  <a:cubicBezTo>
                    <a:pt x="0" y="9"/>
                    <a:pt x="15" y="7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1" name="Freeform 48"/>
            <p:cNvSpPr>
              <a:spLocks/>
            </p:cNvSpPr>
            <p:nvPr userDrawn="1"/>
          </p:nvSpPr>
          <p:spPr bwMode="auto">
            <a:xfrm>
              <a:off x="7054746" y="2075943"/>
              <a:ext cx="34935" cy="34935"/>
            </a:xfrm>
            <a:custGeom>
              <a:avLst/>
              <a:gdLst>
                <a:gd name="T0" fmla="*/ 10 w 11"/>
                <a:gd name="T1" fmla="*/ 11 h 11"/>
                <a:gd name="T2" fmla="*/ 2 w 11"/>
                <a:gd name="T3" fmla="*/ 0 h 11"/>
                <a:gd name="T4" fmla="*/ 10 w 11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1">
                  <a:moveTo>
                    <a:pt x="10" y="11"/>
                  </a:moveTo>
                  <a:cubicBezTo>
                    <a:pt x="11" y="1"/>
                    <a:pt x="4" y="4"/>
                    <a:pt x="2" y="0"/>
                  </a:cubicBezTo>
                  <a:cubicBezTo>
                    <a:pt x="0" y="10"/>
                    <a:pt x="7" y="8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2" name="Freeform 49"/>
            <p:cNvSpPr>
              <a:spLocks/>
            </p:cNvSpPr>
            <p:nvPr userDrawn="1"/>
          </p:nvSpPr>
          <p:spPr bwMode="auto">
            <a:xfrm>
              <a:off x="7111179" y="2075943"/>
              <a:ext cx="48371" cy="72557"/>
            </a:xfrm>
            <a:custGeom>
              <a:avLst/>
              <a:gdLst>
                <a:gd name="T0" fmla="*/ 2 w 15"/>
                <a:gd name="T1" fmla="*/ 0 h 23"/>
                <a:gd name="T2" fmla="*/ 2 w 15"/>
                <a:gd name="T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3">
                  <a:moveTo>
                    <a:pt x="2" y="0"/>
                  </a:moveTo>
                  <a:cubicBezTo>
                    <a:pt x="0" y="23"/>
                    <a:pt x="15" y="3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3" name="Freeform 50"/>
            <p:cNvSpPr>
              <a:spLocks/>
            </p:cNvSpPr>
            <p:nvPr userDrawn="1"/>
          </p:nvSpPr>
          <p:spPr bwMode="auto">
            <a:xfrm>
              <a:off x="7143427" y="2088036"/>
              <a:ext cx="28217" cy="37622"/>
            </a:xfrm>
            <a:custGeom>
              <a:avLst/>
              <a:gdLst>
                <a:gd name="T0" fmla="*/ 8 w 9"/>
                <a:gd name="T1" fmla="*/ 11 h 12"/>
                <a:gd name="T2" fmla="*/ 3 w 9"/>
                <a:gd name="T3" fmla="*/ 0 h 12"/>
                <a:gd name="T4" fmla="*/ 0 w 9"/>
                <a:gd name="T5" fmla="*/ 7 h 12"/>
                <a:gd name="T6" fmla="*/ 8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11"/>
                  </a:moveTo>
                  <a:cubicBezTo>
                    <a:pt x="9" y="5"/>
                    <a:pt x="6" y="2"/>
                    <a:pt x="3" y="0"/>
                  </a:cubicBezTo>
                  <a:cubicBezTo>
                    <a:pt x="3" y="4"/>
                    <a:pt x="1" y="4"/>
                    <a:pt x="0" y="7"/>
                  </a:cubicBezTo>
                  <a:cubicBezTo>
                    <a:pt x="4" y="8"/>
                    <a:pt x="4" y="12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4" name="Freeform 51"/>
            <p:cNvSpPr>
              <a:spLocks/>
            </p:cNvSpPr>
            <p:nvPr userDrawn="1"/>
          </p:nvSpPr>
          <p:spPr bwMode="auto">
            <a:xfrm>
              <a:off x="6765860" y="2097442"/>
              <a:ext cx="41653" cy="38966"/>
            </a:xfrm>
            <a:custGeom>
              <a:avLst/>
              <a:gdLst>
                <a:gd name="T0" fmla="*/ 12 w 13"/>
                <a:gd name="T1" fmla="*/ 4 h 12"/>
                <a:gd name="T2" fmla="*/ 4 w 13"/>
                <a:gd name="T3" fmla="*/ 1 h 12"/>
                <a:gd name="T4" fmla="*/ 12 w 13"/>
                <a:gd name="T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2" y="4"/>
                  </a:moveTo>
                  <a:cubicBezTo>
                    <a:pt x="8" y="4"/>
                    <a:pt x="8" y="0"/>
                    <a:pt x="4" y="1"/>
                  </a:cubicBezTo>
                  <a:cubicBezTo>
                    <a:pt x="0" y="10"/>
                    <a:pt x="13" y="12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5" name="Freeform 52"/>
            <p:cNvSpPr>
              <a:spLocks/>
            </p:cNvSpPr>
            <p:nvPr userDrawn="1"/>
          </p:nvSpPr>
          <p:spPr bwMode="auto">
            <a:xfrm>
              <a:off x="7400064" y="2148500"/>
              <a:ext cx="32248" cy="34935"/>
            </a:xfrm>
            <a:custGeom>
              <a:avLst/>
              <a:gdLst>
                <a:gd name="T0" fmla="*/ 8 w 10"/>
                <a:gd name="T1" fmla="*/ 11 h 11"/>
                <a:gd name="T2" fmla="*/ 0 w 10"/>
                <a:gd name="T3" fmla="*/ 0 h 11"/>
                <a:gd name="T4" fmla="*/ 8 w 10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8" y="11"/>
                  </a:moveTo>
                  <a:cubicBezTo>
                    <a:pt x="10" y="1"/>
                    <a:pt x="3" y="3"/>
                    <a:pt x="0" y="0"/>
                  </a:cubicBezTo>
                  <a:cubicBezTo>
                    <a:pt x="0" y="8"/>
                    <a:pt x="2" y="11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6" name="Freeform 53"/>
            <p:cNvSpPr>
              <a:spLocks/>
            </p:cNvSpPr>
            <p:nvPr userDrawn="1"/>
          </p:nvSpPr>
          <p:spPr bwMode="auto">
            <a:xfrm>
              <a:off x="7674169" y="2155219"/>
              <a:ext cx="37622" cy="37622"/>
            </a:xfrm>
            <a:custGeom>
              <a:avLst/>
              <a:gdLst>
                <a:gd name="T0" fmla="*/ 6 w 12"/>
                <a:gd name="T1" fmla="*/ 12 h 12"/>
                <a:gd name="T2" fmla="*/ 11 w 12"/>
                <a:gd name="T3" fmla="*/ 1 h 12"/>
                <a:gd name="T4" fmla="*/ 0 w 12"/>
                <a:gd name="T5" fmla="*/ 5 h 12"/>
                <a:gd name="T6" fmla="*/ 6 w 12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6" y="7"/>
                    <a:pt x="12" y="9"/>
                    <a:pt x="11" y="1"/>
                  </a:cubicBezTo>
                  <a:cubicBezTo>
                    <a:pt x="7" y="2"/>
                    <a:pt x="1" y="0"/>
                    <a:pt x="0" y="5"/>
                  </a:cubicBezTo>
                  <a:cubicBezTo>
                    <a:pt x="4" y="5"/>
                    <a:pt x="3" y="11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7" name="Freeform 54"/>
            <p:cNvSpPr>
              <a:spLocks/>
            </p:cNvSpPr>
            <p:nvPr userDrawn="1"/>
          </p:nvSpPr>
          <p:spPr bwMode="auto">
            <a:xfrm>
              <a:off x="7991271" y="2157906"/>
              <a:ext cx="56433" cy="47028"/>
            </a:xfrm>
            <a:custGeom>
              <a:avLst/>
              <a:gdLst>
                <a:gd name="T0" fmla="*/ 13 w 18"/>
                <a:gd name="T1" fmla="*/ 15 h 15"/>
                <a:gd name="T2" fmla="*/ 18 w 18"/>
                <a:gd name="T3" fmla="*/ 4 h 15"/>
                <a:gd name="T4" fmla="*/ 0 w 18"/>
                <a:gd name="T5" fmla="*/ 11 h 15"/>
                <a:gd name="T6" fmla="*/ 13 w 18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13" y="15"/>
                  </a:moveTo>
                  <a:cubicBezTo>
                    <a:pt x="12" y="8"/>
                    <a:pt x="17" y="8"/>
                    <a:pt x="18" y="4"/>
                  </a:cubicBezTo>
                  <a:cubicBezTo>
                    <a:pt x="15" y="0"/>
                    <a:pt x="1" y="2"/>
                    <a:pt x="0" y="11"/>
                  </a:cubicBezTo>
                  <a:cubicBezTo>
                    <a:pt x="11" y="9"/>
                    <a:pt x="9" y="8"/>
                    <a:pt x="13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8" name="Freeform 55"/>
            <p:cNvSpPr>
              <a:spLocks/>
            </p:cNvSpPr>
            <p:nvPr userDrawn="1"/>
          </p:nvSpPr>
          <p:spPr bwMode="auto">
            <a:xfrm>
              <a:off x="7359755" y="2190154"/>
              <a:ext cx="14780" cy="37622"/>
            </a:xfrm>
            <a:custGeom>
              <a:avLst/>
              <a:gdLst>
                <a:gd name="T0" fmla="*/ 0 w 5"/>
                <a:gd name="T1" fmla="*/ 1 h 12"/>
                <a:gd name="T2" fmla="*/ 0 w 5"/>
                <a:gd name="T3" fmla="*/ 9 h 12"/>
                <a:gd name="T4" fmla="*/ 5 w 5"/>
                <a:gd name="T5" fmla="*/ 12 h 12"/>
                <a:gd name="T6" fmla="*/ 0 w 5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2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3" y="12"/>
                    <a:pt x="5" y="12"/>
                  </a:cubicBezTo>
                  <a:cubicBezTo>
                    <a:pt x="5" y="7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9" name="Freeform 56"/>
            <p:cNvSpPr>
              <a:spLocks/>
            </p:cNvSpPr>
            <p:nvPr userDrawn="1"/>
          </p:nvSpPr>
          <p:spPr bwMode="auto">
            <a:xfrm>
              <a:off x="7742695" y="2202246"/>
              <a:ext cx="25529" cy="51059"/>
            </a:xfrm>
            <a:custGeom>
              <a:avLst/>
              <a:gdLst>
                <a:gd name="T0" fmla="*/ 0 w 8"/>
                <a:gd name="T1" fmla="*/ 1 h 16"/>
                <a:gd name="T2" fmla="*/ 5 w 8"/>
                <a:gd name="T3" fmla="*/ 16 h 16"/>
                <a:gd name="T4" fmla="*/ 8 w 8"/>
                <a:gd name="T5" fmla="*/ 5 h 16"/>
                <a:gd name="T6" fmla="*/ 0 w 8"/>
                <a:gd name="T7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6">
                  <a:moveTo>
                    <a:pt x="0" y="1"/>
                  </a:moveTo>
                  <a:cubicBezTo>
                    <a:pt x="0" y="8"/>
                    <a:pt x="1" y="13"/>
                    <a:pt x="5" y="16"/>
                  </a:cubicBezTo>
                  <a:cubicBezTo>
                    <a:pt x="5" y="11"/>
                    <a:pt x="6" y="8"/>
                    <a:pt x="8" y="5"/>
                  </a:cubicBezTo>
                  <a:cubicBezTo>
                    <a:pt x="4" y="5"/>
                    <a:pt x="4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0" name="Freeform 57"/>
            <p:cNvSpPr>
              <a:spLocks/>
            </p:cNvSpPr>
            <p:nvPr userDrawn="1"/>
          </p:nvSpPr>
          <p:spPr bwMode="auto">
            <a:xfrm>
              <a:off x="7698355" y="2225089"/>
              <a:ext cx="34935" cy="63152"/>
            </a:xfrm>
            <a:custGeom>
              <a:avLst/>
              <a:gdLst>
                <a:gd name="T0" fmla="*/ 0 w 11"/>
                <a:gd name="T1" fmla="*/ 9 h 20"/>
                <a:gd name="T2" fmla="*/ 11 w 11"/>
                <a:gd name="T3" fmla="*/ 9 h 20"/>
                <a:gd name="T4" fmla="*/ 0 w 11"/>
                <a:gd name="T5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0">
                  <a:moveTo>
                    <a:pt x="0" y="9"/>
                  </a:moveTo>
                  <a:cubicBezTo>
                    <a:pt x="5" y="5"/>
                    <a:pt x="9" y="20"/>
                    <a:pt x="11" y="9"/>
                  </a:cubicBezTo>
                  <a:cubicBezTo>
                    <a:pt x="9" y="8"/>
                    <a:pt x="1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1" name="Freeform 58"/>
            <p:cNvSpPr>
              <a:spLocks/>
            </p:cNvSpPr>
            <p:nvPr userDrawn="1"/>
          </p:nvSpPr>
          <p:spPr bwMode="auto">
            <a:xfrm>
              <a:off x="7749414" y="2329893"/>
              <a:ext cx="18811" cy="40310"/>
            </a:xfrm>
            <a:custGeom>
              <a:avLst/>
              <a:gdLst>
                <a:gd name="T0" fmla="*/ 0 w 6"/>
                <a:gd name="T1" fmla="*/ 2 h 13"/>
                <a:gd name="T2" fmla="*/ 0 w 6"/>
                <a:gd name="T3" fmla="*/ 9 h 13"/>
                <a:gd name="T4" fmla="*/ 6 w 6"/>
                <a:gd name="T5" fmla="*/ 13 h 13"/>
                <a:gd name="T6" fmla="*/ 0 w 6"/>
                <a:gd name="T7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3">
                  <a:moveTo>
                    <a:pt x="0" y="2"/>
                  </a:moveTo>
                  <a:cubicBezTo>
                    <a:pt x="0" y="4"/>
                    <a:pt x="0" y="7"/>
                    <a:pt x="0" y="9"/>
                  </a:cubicBezTo>
                  <a:cubicBezTo>
                    <a:pt x="3" y="9"/>
                    <a:pt x="4" y="12"/>
                    <a:pt x="6" y="13"/>
                  </a:cubicBezTo>
                  <a:cubicBezTo>
                    <a:pt x="5" y="7"/>
                    <a:pt x="6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2" name="Freeform 59"/>
            <p:cNvSpPr>
              <a:spLocks/>
            </p:cNvSpPr>
            <p:nvPr userDrawn="1"/>
          </p:nvSpPr>
          <p:spPr bwMode="auto">
            <a:xfrm>
              <a:off x="6892164" y="2354079"/>
              <a:ext cx="67183" cy="38966"/>
            </a:xfrm>
            <a:custGeom>
              <a:avLst/>
              <a:gdLst>
                <a:gd name="T0" fmla="*/ 20 w 21"/>
                <a:gd name="T1" fmla="*/ 1 h 12"/>
                <a:gd name="T2" fmla="*/ 15 w 21"/>
                <a:gd name="T3" fmla="*/ 1 h 12"/>
                <a:gd name="T4" fmla="*/ 20 w 21"/>
                <a:gd name="T5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2">
                  <a:moveTo>
                    <a:pt x="20" y="1"/>
                  </a:moveTo>
                  <a:cubicBezTo>
                    <a:pt x="18" y="1"/>
                    <a:pt x="17" y="1"/>
                    <a:pt x="15" y="1"/>
                  </a:cubicBezTo>
                  <a:cubicBezTo>
                    <a:pt x="0" y="0"/>
                    <a:pt x="21" y="12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3" name="Freeform 60"/>
            <p:cNvSpPr>
              <a:spLocks/>
            </p:cNvSpPr>
            <p:nvPr userDrawn="1"/>
          </p:nvSpPr>
          <p:spPr bwMode="auto">
            <a:xfrm>
              <a:off x="2995573" y="2386327"/>
              <a:ext cx="18811" cy="67183"/>
            </a:xfrm>
            <a:custGeom>
              <a:avLst/>
              <a:gdLst>
                <a:gd name="T0" fmla="*/ 3 w 6"/>
                <a:gd name="T1" fmla="*/ 21 h 21"/>
                <a:gd name="T2" fmla="*/ 1 w 6"/>
                <a:gd name="T3" fmla="*/ 13 h 21"/>
                <a:gd name="T4" fmla="*/ 3 w 6"/>
                <a:gd name="T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1">
                  <a:moveTo>
                    <a:pt x="3" y="21"/>
                  </a:moveTo>
                  <a:cubicBezTo>
                    <a:pt x="6" y="20"/>
                    <a:pt x="5" y="0"/>
                    <a:pt x="1" y="13"/>
                  </a:cubicBezTo>
                  <a:cubicBezTo>
                    <a:pt x="0" y="16"/>
                    <a:pt x="2" y="21"/>
                    <a:pt x="3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4" name="Freeform 61"/>
            <p:cNvSpPr>
              <a:spLocks/>
            </p:cNvSpPr>
            <p:nvPr userDrawn="1"/>
          </p:nvSpPr>
          <p:spPr bwMode="auto">
            <a:xfrm>
              <a:off x="2970044" y="2423949"/>
              <a:ext cx="18811" cy="38966"/>
            </a:xfrm>
            <a:custGeom>
              <a:avLst/>
              <a:gdLst>
                <a:gd name="T0" fmla="*/ 3 w 6"/>
                <a:gd name="T1" fmla="*/ 12 h 12"/>
                <a:gd name="T2" fmla="*/ 6 w 6"/>
                <a:gd name="T3" fmla="*/ 9 h 12"/>
                <a:gd name="T4" fmla="*/ 0 w 6"/>
                <a:gd name="T5" fmla="*/ 1 h 12"/>
                <a:gd name="T6" fmla="*/ 3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3" y="12"/>
                  </a:moveTo>
                  <a:cubicBezTo>
                    <a:pt x="3" y="10"/>
                    <a:pt x="4" y="8"/>
                    <a:pt x="6" y="9"/>
                  </a:cubicBezTo>
                  <a:cubicBezTo>
                    <a:pt x="6" y="4"/>
                    <a:pt x="5" y="0"/>
                    <a:pt x="0" y="1"/>
                  </a:cubicBezTo>
                  <a:cubicBezTo>
                    <a:pt x="1" y="6"/>
                    <a:pt x="0" y="12"/>
                    <a:pt x="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5" name="Freeform 62"/>
            <p:cNvSpPr>
              <a:spLocks/>
            </p:cNvSpPr>
            <p:nvPr userDrawn="1"/>
          </p:nvSpPr>
          <p:spPr bwMode="auto">
            <a:xfrm>
              <a:off x="3023790" y="2440073"/>
              <a:ext cx="41653" cy="38966"/>
            </a:xfrm>
            <a:custGeom>
              <a:avLst/>
              <a:gdLst>
                <a:gd name="T0" fmla="*/ 13 w 13"/>
                <a:gd name="T1" fmla="*/ 4 h 12"/>
                <a:gd name="T2" fmla="*/ 2 w 13"/>
                <a:gd name="T3" fmla="*/ 11 h 12"/>
                <a:gd name="T4" fmla="*/ 13 w 13"/>
                <a:gd name="T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4"/>
                  </a:moveTo>
                  <a:cubicBezTo>
                    <a:pt x="8" y="5"/>
                    <a:pt x="0" y="0"/>
                    <a:pt x="2" y="11"/>
                  </a:cubicBezTo>
                  <a:cubicBezTo>
                    <a:pt x="9" y="12"/>
                    <a:pt x="13" y="10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6" name="Freeform 63"/>
            <p:cNvSpPr>
              <a:spLocks/>
            </p:cNvSpPr>
            <p:nvPr userDrawn="1"/>
          </p:nvSpPr>
          <p:spPr bwMode="auto">
            <a:xfrm>
              <a:off x="3792359" y="3484090"/>
              <a:ext cx="28217" cy="64495"/>
            </a:xfrm>
            <a:custGeom>
              <a:avLst/>
              <a:gdLst>
                <a:gd name="T0" fmla="*/ 8 w 9"/>
                <a:gd name="T1" fmla="*/ 19 h 20"/>
                <a:gd name="T2" fmla="*/ 0 w 9"/>
                <a:gd name="T3" fmla="*/ 0 h 20"/>
                <a:gd name="T4" fmla="*/ 8 w 9"/>
                <a:gd name="T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0">
                  <a:moveTo>
                    <a:pt x="8" y="19"/>
                  </a:moveTo>
                  <a:cubicBezTo>
                    <a:pt x="9" y="7"/>
                    <a:pt x="4" y="4"/>
                    <a:pt x="0" y="0"/>
                  </a:cubicBezTo>
                  <a:cubicBezTo>
                    <a:pt x="2" y="7"/>
                    <a:pt x="0" y="20"/>
                    <a:pt x="8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7" name="Freeform 64"/>
            <p:cNvSpPr>
              <a:spLocks/>
            </p:cNvSpPr>
            <p:nvPr userDrawn="1"/>
          </p:nvSpPr>
          <p:spPr bwMode="auto">
            <a:xfrm>
              <a:off x="3338205" y="3532462"/>
              <a:ext cx="47028" cy="75245"/>
            </a:xfrm>
            <a:custGeom>
              <a:avLst/>
              <a:gdLst>
                <a:gd name="T0" fmla="*/ 6 w 15"/>
                <a:gd name="T1" fmla="*/ 0 h 24"/>
                <a:gd name="T2" fmla="*/ 6 w 15"/>
                <a:gd name="T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4">
                  <a:moveTo>
                    <a:pt x="6" y="0"/>
                  </a:moveTo>
                  <a:cubicBezTo>
                    <a:pt x="0" y="24"/>
                    <a:pt x="15" y="1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8" name="Freeform 65"/>
            <p:cNvSpPr>
              <a:spLocks/>
            </p:cNvSpPr>
            <p:nvPr userDrawn="1"/>
          </p:nvSpPr>
          <p:spPr bwMode="auto">
            <a:xfrm>
              <a:off x="3748018" y="3523056"/>
              <a:ext cx="37622" cy="81963"/>
            </a:xfrm>
            <a:custGeom>
              <a:avLst/>
              <a:gdLst>
                <a:gd name="T0" fmla="*/ 3 w 12"/>
                <a:gd name="T1" fmla="*/ 3 h 26"/>
                <a:gd name="T2" fmla="*/ 0 w 12"/>
                <a:gd name="T3" fmla="*/ 25 h 26"/>
                <a:gd name="T4" fmla="*/ 6 w 12"/>
                <a:gd name="T5" fmla="*/ 14 h 26"/>
                <a:gd name="T6" fmla="*/ 3 w 12"/>
                <a:gd name="T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3" y="3"/>
                  </a:moveTo>
                  <a:cubicBezTo>
                    <a:pt x="5" y="14"/>
                    <a:pt x="0" y="16"/>
                    <a:pt x="0" y="25"/>
                  </a:cubicBezTo>
                  <a:cubicBezTo>
                    <a:pt x="7" y="26"/>
                    <a:pt x="4" y="21"/>
                    <a:pt x="6" y="14"/>
                  </a:cubicBezTo>
                  <a:cubicBezTo>
                    <a:pt x="7" y="9"/>
                    <a:pt x="12" y="0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9" name="Freeform 66"/>
            <p:cNvSpPr>
              <a:spLocks/>
            </p:cNvSpPr>
            <p:nvPr userDrawn="1"/>
          </p:nvSpPr>
          <p:spPr bwMode="auto">
            <a:xfrm>
              <a:off x="2998261" y="3574115"/>
              <a:ext cx="32248" cy="63152"/>
            </a:xfrm>
            <a:custGeom>
              <a:avLst/>
              <a:gdLst>
                <a:gd name="T0" fmla="*/ 0 w 10"/>
                <a:gd name="T1" fmla="*/ 9 h 20"/>
                <a:gd name="T2" fmla="*/ 10 w 10"/>
                <a:gd name="T3" fmla="*/ 9 h 20"/>
                <a:gd name="T4" fmla="*/ 0 w 10"/>
                <a:gd name="T5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9"/>
                  </a:moveTo>
                  <a:cubicBezTo>
                    <a:pt x="5" y="6"/>
                    <a:pt x="9" y="20"/>
                    <a:pt x="10" y="9"/>
                  </a:cubicBezTo>
                  <a:cubicBezTo>
                    <a:pt x="9" y="8"/>
                    <a:pt x="0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24" name="Freeform 67"/>
            <p:cNvSpPr>
              <a:spLocks/>
            </p:cNvSpPr>
            <p:nvPr userDrawn="1"/>
          </p:nvSpPr>
          <p:spPr bwMode="auto">
            <a:xfrm>
              <a:off x="3151437" y="3672202"/>
              <a:ext cx="44341" cy="69870"/>
            </a:xfrm>
            <a:custGeom>
              <a:avLst/>
              <a:gdLst>
                <a:gd name="T0" fmla="*/ 3 w 14"/>
                <a:gd name="T1" fmla="*/ 0 h 22"/>
                <a:gd name="T2" fmla="*/ 3 w 14"/>
                <a:gd name="T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22">
                  <a:moveTo>
                    <a:pt x="3" y="0"/>
                  </a:moveTo>
                  <a:cubicBezTo>
                    <a:pt x="0" y="22"/>
                    <a:pt x="14" y="2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26" name="Freeform 68"/>
            <p:cNvSpPr>
              <a:spLocks/>
            </p:cNvSpPr>
            <p:nvPr userDrawn="1"/>
          </p:nvSpPr>
          <p:spPr bwMode="auto">
            <a:xfrm>
              <a:off x="3140688" y="3872406"/>
              <a:ext cx="20155" cy="24186"/>
            </a:xfrm>
            <a:custGeom>
              <a:avLst/>
              <a:gdLst>
                <a:gd name="T0" fmla="*/ 6 w 6"/>
                <a:gd name="T1" fmla="*/ 0 h 8"/>
                <a:gd name="T2" fmla="*/ 0 w 6"/>
                <a:gd name="T3" fmla="*/ 0 h 8"/>
                <a:gd name="T4" fmla="*/ 0 w 6"/>
                <a:gd name="T5" fmla="*/ 8 h 8"/>
                <a:gd name="T6" fmla="*/ 6 w 6"/>
                <a:gd name="T7" fmla="*/ 8 h 8"/>
                <a:gd name="T8" fmla="*/ 6 w 6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6" y="8"/>
                  </a:cubicBezTo>
                  <a:cubicBezTo>
                    <a:pt x="6" y="5"/>
                    <a:pt x="6" y="3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27" name="Freeform 69"/>
            <p:cNvSpPr>
              <a:spLocks/>
            </p:cNvSpPr>
            <p:nvPr userDrawn="1"/>
          </p:nvSpPr>
          <p:spPr bwMode="auto">
            <a:xfrm>
              <a:off x="3081567" y="3919434"/>
              <a:ext cx="72557" cy="116898"/>
            </a:xfrm>
            <a:custGeom>
              <a:avLst/>
              <a:gdLst>
                <a:gd name="T0" fmla="*/ 11 w 23"/>
                <a:gd name="T1" fmla="*/ 4 h 37"/>
                <a:gd name="T2" fmla="*/ 3 w 23"/>
                <a:gd name="T3" fmla="*/ 0 h 37"/>
                <a:gd name="T4" fmla="*/ 3 w 23"/>
                <a:gd name="T5" fmla="*/ 33 h 37"/>
                <a:gd name="T6" fmla="*/ 22 w 23"/>
                <a:gd name="T7" fmla="*/ 26 h 37"/>
                <a:gd name="T8" fmla="*/ 17 w 23"/>
                <a:gd name="T9" fmla="*/ 15 h 37"/>
                <a:gd name="T10" fmla="*/ 14 w 23"/>
                <a:gd name="T11" fmla="*/ 4 h 37"/>
                <a:gd name="T12" fmla="*/ 6 w 23"/>
                <a:gd name="T13" fmla="*/ 11 h 37"/>
                <a:gd name="T14" fmla="*/ 11 w 23"/>
                <a:gd name="T15" fmla="*/ 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7">
                  <a:moveTo>
                    <a:pt x="11" y="4"/>
                  </a:moveTo>
                  <a:cubicBezTo>
                    <a:pt x="8" y="4"/>
                    <a:pt x="5" y="2"/>
                    <a:pt x="3" y="0"/>
                  </a:cubicBezTo>
                  <a:cubicBezTo>
                    <a:pt x="2" y="17"/>
                    <a:pt x="0" y="18"/>
                    <a:pt x="3" y="33"/>
                  </a:cubicBezTo>
                  <a:cubicBezTo>
                    <a:pt x="14" y="37"/>
                    <a:pt x="10" y="20"/>
                    <a:pt x="22" y="26"/>
                  </a:cubicBezTo>
                  <a:cubicBezTo>
                    <a:pt x="23" y="18"/>
                    <a:pt x="18" y="19"/>
                    <a:pt x="17" y="15"/>
                  </a:cubicBezTo>
                  <a:cubicBezTo>
                    <a:pt x="16" y="13"/>
                    <a:pt x="22" y="4"/>
                    <a:pt x="14" y="4"/>
                  </a:cubicBezTo>
                  <a:cubicBezTo>
                    <a:pt x="16" y="11"/>
                    <a:pt x="7" y="20"/>
                    <a:pt x="6" y="11"/>
                  </a:cubicBezTo>
                  <a:cubicBezTo>
                    <a:pt x="9" y="11"/>
                    <a:pt x="12" y="10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96" name="Freeform 70"/>
            <p:cNvSpPr>
              <a:spLocks/>
            </p:cNvSpPr>
            <p:nvPr userDrawn="1"/>
          </p:nvSpPr>
          <p:spPr bwMode="auto">
            <a:xfrm>
              <a:off x="3058725" y="3912715"/>
              <a:ext cx="32248" cy="60464"/>
            </a:xfrm>
            <a:custGeom>
              <a:avLst/>
              <a:gdLst>
                <a:gd name="T0" fmla="*/ 0 w 10"/>
                <a:gd name="T1" fmla="*/ 9 h 19"/>
                <a:gd name="T2" fmla="*/ 7 w 10"/>
                <a:gd name="T3" fmla="*/ 17 h 19"/>
                <a:gd name="T4" fmla="*/ 0 w 10"/>
                <a:gd name="T5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9">
                  <a:moveTo>
                    <a:pt x="0" y="9"/>
                  </a:moveTo>
                  <a:cubicBezTo>
                    <a:pt x="4" y="10"/>
                    <a:pt x="2" y="19"/>
                    <a:pt x="7" y="17"/>
                  </a:cubicBezTo>
                  <a:cubicBezTo>
                    <a:pt x="10" y="9"/>
                    <a:pt x="1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97" name="Freeform 71"/>
            <p:cNvSpPr>
              <a:spLocks/>
            </p:cNvSpPr>
            <p:nvPr userDrawn="1"/>
          </p:nvSpPr>
          <p:spPr bwMode="auto">
            <a:xfrm>
              <a:off x="3125908" y="4049768"/>
              <a:ext cx="75245" cy="126303"/>
            </a:xfrm>
            <a:custGeom>
              <a:avLst/>
              <a:gdLst>
                <a:gd name="T0" fmla="*/ 0 w 24"/>
                <a:gd name="T1" fmla="*/ 29 h 40"/>
                <a:gd name="T2" fmla="*/ 19 w 24"/>
                <a:gd name="T3" fmla="*/ 22 h 40"/>
                <a:gd name="T4" fmla="*/ 21 w 24"/>
                <a:gd name="T5" fmla="*/ 40 h 40"/>
                <a:gd name="T6" fmla="*/ 24 w 24"/>
                <a:gd name="T7" fmla="*/ 18 h 40"/>
                <a:gd name="T8" fmla="*/ 16 w 24"/>
                <a:gd name="T9" fmla="*/ 0 h 40"/>
                <a:gd name="T10" fmla="*/ 13 w 24"/>
                <a:gd name="T11" fmla="*/ 18 h 40"/>
                <a:gd name="T12" fmla="*/ 0 w 24"/>
                <a:gd name="T13" fmla="*/ 2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0">
                  <a:moveTo>
                    <a:pt x="0" y="29"/>
                  </a:moveTo>
                  <a:cubicBezTo>
                    <a:pt x="8" y="30"/>
                    <a:pt x="8" y="18"/>
                    <a:pt x="19" y="22"/>
                  </a:cubicBezTo>
                  <a:cubicBezTo>
                    <a:pt x="15" y="27"/>
                    <a:pt x="17" y="37"/>
                    <a:pt x="21" y="40"/>
                  </a:cubicBezTo>
                  <a:cubicBezTo>
                    <a:pt x="21" y="31"/>
                    <a:pt x="21" y="23"/>
                    <a:pt x="24" y="18"/>
                  </a:cubicBezTo>
                  <a:cubicBezTo>
                    <a:pt x="16" y="20"/>
                    <a:pt x="22" y="1"/>
                    <a:pt x="16" y="0"/>
                  </a:cubicBezTo>
                  <a:cubicBezTo>
                    <a:pt x="12" y="8"/>
                    <a:pt x="10" y="7"/>
                    <a:pt x="13" y="18"/>
                  </a:cubicBezTo>
                  <a:cubicBezTo>
                    <a:pt x="5" y="16"/>
                    <a:pt x="2" y="23"/>
                    <a:pt x="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98" name="Freeform 72"/>
            <p:cNvSpPr>
              <a:spLocks/>
            </p:cNvSpPr>
            <p:nvPr userDrawn="1"/>
          </p:nvSpPr>
          <p:spPr bwMode="auto">
            <a:xfrm>
              <a:off x="2792682" y="4059173"/>
              <a:ext cx="14780" cy="47028"/>
            </a:xfrm>
            <a:custGeom>
              <a:avLst/>
              <a:gdLst>
                <a:gd name="T0" fmla="*/ 5 w 5"/>
                <a:gd name="T1" fmla="*/ 15 h 15"/>
                <a:gd name="T2" fmla="*/ 5 w 5"/>
                <a:gd name="T3" fmla="*/ 0 h 15"/>
                <a:gd name="T4" fmla="*/ 0 w 5"/>
                <a:gd name="T5" fmla="*/ 0 h 15"/>
                <a:gd name="T6" fmla="*/ 0 w 5"/>
                <a:gd name="T7" fmla="*/ 15 h 15"/>
                <a:gd name="T8" fmla="*/ 5 w 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5">
                  <a:moveTo>
                    <a:pt x="5" y="15"/>
                  </a:moveTo>
                  <a:cubicBezTo>
                    <a:pt x="5" y="10"/>
                    <a:pt x="5" y="5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5"/>
                    <a:pt x="0" y="10"/>
                    <a:pt x="0" y="15"/>
                  </a:cubicBezTo>
                  <a:cubicBezTo>
                    <a:pt x="2" y="15"/>
                    <a:pt x="4" y="15"/>
                    <a:pt x="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30" name="Freeform 73"/>
            <p:cNvSpPr>
              <a:spLocks/>
            </p:cNvSpPr>
            <p:nvPr userDrawn="1"/>
          </p:nvSpPr>
          <p:spPr bwMode="auto">
            <a:xfrm>
              <a:off x="2823586" y="4059173"/>
              <a:ext cx="44341" cy="72557"/>
            </a:xfrm>
            <a:custGeom>
              <a:avLst/>
              <a:gdLst>
                <a:gd name="T0" fmla="*/ 9 w 14"/>
                <a:gd name="T1" fmla="*/ 23 h 23"/>
                <a:gd name="T2" fmla="*/ 14 w 14"/>
                <a:gd name="T3" fmla="*/ 8 h 23"/>
                <a:gd name="T4" fmla="*/ 4 w 14"/>
                <a:gd name="T5" fmla="*/ 0 h 23"/>
                <a:gd name="T6" fmla="*/ 9 w 14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3">
                  <a:moveTo>
                    <a:pt x="9" y="23"/>
                  </a:moveTo>
                  <a:cubicBezTo>
                    <a:pt x="10" y="17"/>
                    <a:pt x="13" y="13"/>
                    <a:pt x="14" y="8"/>
                  </a:cubicBezTo>
                  <a:cubicBezTo>
                    <a:pt x="10" y="6"/>
                    <a:pt x="7" y="2"/>
                    <a:pt x="4" y="0"/>
                  </a:cubicBezTo>
                  <a:cubicBezTo>
                    <a:pt x="9" y="11"/>
                    <a:pt x="0" y="19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31" name="Freeform 74"/>
            <p:cNvSpPr>
              <a:spLocks/>
            </p:cNvSpPr>
            <p:nvPr userDrawn="1"/>
          </p:nvSpPr>
          <p:spPr bwMode="auto">
            <a:xfrm>
              <a:off x="2867927" y="4084703"/>
              <a:ext cx="51059" cy="60464"/>
            </a:xfrm>
            <a:custGeom>
              <a:avLst/>
              <a:gdLst>
                <a:gd name="T0" fmla="*/ 16 w 16"/>
                <a:gd name="T1" fmla="*/ 18 h 19"/>
                <a:gd name="T2" fmla="*/ 3 w 16"/>
                <a:gd name="T3" fmla="*/ 0 h 19"/>
                <a:gd name="T4" fmla="*/ 0 w 16"/>
                <a:gd name="T5" fmla="*/ 15 h 19"/>
                <a:gd name="T6" fmla="*/ 16 w 16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9">
                  <a:moveTo>
                    <a:pt x="16" y="18"/>
                  </a:moveTo>
                  <a:cubicBezTo>
                    <a:pt x="15" y="8"/>
                    <a:pt x="11" y="1"/>
                    <a:pt x="3" y="0"/>
                  </a:cubicBezTo>
                  <a:cubicBezTo>
                    <a:pt x="5" y="12"/>
                    <a:pt x="5" y="7"/>
                    <a:pt x="0" y="15"/>
                  </a:cubicBezTo>
                  <a:cubicBezTo>
                    <a:pt x="3" y="19"/>
                    <a:pt x="10" y="19"/>
                    <a:pt x="1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32" name="Freeform 75"/>
            <p:cNvSpPr>
              <a:spLocks/>
            </p:cNvSpPr>
            <p:nvPr userDrawn="1"/>
          </p:nvSpPr>
          <p:spPr bwMode="auto">
            <a:xfrm>
              <a:off x="3090973" y="4084703"/>
              <a:ext cx="65839" cy="56433"/>
            </a:xfrm>
            <a:custGeom>
              <a:avLst/>
              <a:gdLst>
                <a:gd name="T0" fmla="*/ 8 w 21"/>
                <a:gd name="T1" fmla="*/ 0 h 18"/>
                <a:gd name="T2" fmla="*/ 0 w 21"/>
                <a:gd name="T3" fmla="*/ 7 h 18"/>
                <a:gd name="T4" fmla="*/ 6 w 21"/>
                <a:gd name="T5" fmla="*/ 18 h 18"/>
                <a:gd name="T6" fmla="*/ 8 w 21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8">
                  <a:moveTo>
                    <a:pt x="8" y="0"/>
                  </a:moveTo>
                  <a:cubicBezTo>
                    <a:pt x="8" y="5"/>
                    <a:pt x="2" y="4"/>
                    <a:pt x="0" y="7"/>
                  </a:cubicBezTo>
                  <a:cubicBezTo>
                    <a:pt x="0" y="14"/>
                    <a:pt x="2" y="17"/>
                    <a:pt x="6" y="18"/>
                  </a:cubicBezTo>
                  <a:cubicBezTo>
                    <a:pt x="5" y="7"/>
                    <a:pt x="21" y="6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33" name="Freeform 76"/>
            <p:cNvSpPr>
              <a:spLocks/>
            </p:cNvSpPr>
            <p:nvPr userDrawn="1"/>
          </p:nvSpPr>
          <p:spPr bwMode="auto">
            <a:xfrm>
              <a:off x="2937796" y="4112919"/>
              <a:ext cx="73901" cy="102118"/>
            </a:xfrm>
            <a:custGeom>
              <a:avLst/>
              <a:gdLst>
                <a:gd name="T0" fmla="*/ 0 w 23"/>
                <a:gd name="T1" fmla="*/ 2 h 32"/>
                <a:gd name="T2" fmla="*/ 0 w 23"/>
                <a:gd name="T3" fmla="*/ 17 h 32"/>
                <a:gd name="T4" fmla="*/ 16 w 23"/>
                <a:gd name="T5" fmla="*/ 13 h 32"/>
                <a:gd name="T6" fmla="*/ 10 w 23"/>
                <a:gd name="T7" fmla="*/ 31 h 32"/>
                <a:gd name="T8" fmla="*/ 19 w 23"/>
                <a:gd name="T9" fmla="*/ 6 h 32"/>
                <a:gd name="T10" fmla="*/ 0 w 23"/>
                <a:gd name="T11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32">
                  <a:moveTo>
                    <a:pt x="0" y="2"/>
                  </a:moveTo>
                  <a:cubicBezTo>
                    <a:pt x="0" y="7"/>
                    <a:pt x="0" y="12"/>
                    <a:pt x="0" y="17"/>
                  </a:cubicBezTo>
                  <a:cubicBezTo>
                    <a:pt x="8" y="21"/>
                    <a:pt x="14" y="4"/>
                    <a:pt x="16" y="13"/>
                  </a:cubicBezTo>
                  <a:cubicBezTo>
                    <a:pt x="9" y="20"/>
                    <a:pt x="13" y="19"/>
                    <a:pt x="10" y="31"/>
                  </a:cubicBezTo>
                  <a:cubicBezTo>
                    <a:pt x="20" y="32"/>
                    <a:pt x="23" y="12"/>
                    <a:pt x="19" y="6"/>
                  </a:cubicBezTo>
                  <a:cubicBezTo>
                    <a:pt x="9" y="9"/>
                    <a:pt x="8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34" name="Freeform 77"/>
            <p:cNvSpPr>
              <a:spLocks/>
            </p:cNvSpPr>
            <p:nvPr userDrawn="1"/>
          </p:nvSpPr>
          <p:spPr bwMode="auto">
            <a:xfrm>
              <a:off x="2814181" y="4115607"/>
              <a:ext cx="79275" cy="51059"/>
            </a:xfrm>
            <a:custGeom>
              <a:avLst/>
              <a:gdLst>
                <a:gd name="T0" fmla="*/ 12 w 25"/>
                <a:gd name="T1" fmla="*/ 16 h 16"/>
                <a:gd name="T2" fmla="*/ 20 w 25"/>
                <a:gd name="T3" fmla="*/ 16 h 16"/>
                <a:gd name="T4" fmla="*/ 12 w 25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16">
                  <a:moveTo>
                    <a:pt x="12" y="16"/>
                  </a:moveTo>
                  <a:cubicBezTo>
                    <a:pt x="13" y="10"/>
                    <a:pt x="18" y="13"/>
                    <a:pt x="20" y="16"/>
                  </a:cubicBezTo>
                  <a:cubicBezTo>
                    <a:pt x="25" y="0"/>
                    <a:pt x="0" y="10"/>
                    <a:pt x="1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35" name="Freeform 78"/>
            <p:cNvSpPr>
              <a:spLocks/>
            </p:cNvSpPr>
            <p:nvPr userDrawn="1"/>
          </p:nvSpPr>
          <p:spPr bwMode="auto">
            <a:xfrm>
              <a:off x="3033196" y="4138449"/>
              <a:ext cx="32248" cy="67183"/>
            </a:xfrm>
            <a:custGeom>
              <a:avLst/>
              <a:gdLst>
                <a:gd name="T0" fmla="*/ 5 w 10"/>
                <a:gd name="T1" fmla="*/ 20 h 21"/>
                <a:gd name="T2" fmla="*/ 10 w 10"/>
                <a:gd name="T3" fmla="*/ 1 h 21"/>
                <a:gd name="T4" fmla="*/ 5 w 10"/>
                <a:gd name="T5" fmla="*/ 1 h 21"/>
                <a:gd name="T6" fmla="*/ 5 w 10"/>
                <a:gd name="T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1">
                  <a:moveTo>
                    <a:pt x="5" y="20"/>
                  </a:moveTo>
                  <a:cubicBezTo>
                    <a:pt x="8" y="15"/>
                    <a:pt x="7" y="6"/>
                    <a:pt x="10" y="1"/>
                  </a:cubicBezTo>
                  <a:cubicBezTo>
                    <a:pt x="8" y="1"/>
                    <a:pt x="7" y="1"/>
                    <a:pt x="5" y="1"/>
                  </a:cubicBezTo>
                  <a:cubicBezTo>
                    <a:pt x="0" y="0"/>
                    <a:pt x="0" y="21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36" name="Freeform 79"/>
            <p:cNvSpPr>
              <a:spLocks/>
            </p:cNvSpPr>
            <p:nvPr userDrawn="1"/>
          </p:nvSpPr>
          <p:spPr bwMode="auto">
            <a:xfrm>
              <a:off x="3004979" y="4176071"/>
              <a:ext cx="28217" cy="34935"/>
            </a:xfrm>
            <a:custGeom>
              <a:avLst/>
              <a:gdLst>
                <a:gd name="T0" fmla="*/ 8 w 9"/>
                <a:gd name="T1" fmla="*/ 8 h 11"/>
                <a:gd name="T2" fmla="*/ 3 w 9"/>
                <a:gd name="T3" fmla="*/ 0 h 11"/>
                <a:gd name="T4" fmla="*/ 0 w 9"/>
                <a:gd name="T5" fmla="*/ 11 h 11"/>
                <a:gd name="T6" fmla="*/ 6 w 9"/>
                <a:gd name="T7" fmla="*/ 11 h 11"/>
                <a:gd name="T8" fmla="*/ 8 w 9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8" y="8"/>
                  </a:moveTo>
                  <a:cubicBezTo>
                    <a:pt x="5" y="8"/>
                    <a:pt x="6" y="1"/>
                    <a:pt x="3" y="0"/>
                  </a:cubicBezTo>
                  <a:cubicBezTo>
                    <a:pt x="3" y="5"/>
                    <a:pt x="0" y="6"/>
                    <a:pt x="0" y="11"/>
                  </a:cubicBezTo>
                  <a:cubicBezTo>
                    <a:pt x="2" y="11"/>
                    <a:pt x="4" y="11"/>
                    <a:pt x="6" y="11"/>
                  </a:cubicBezTo>
                  <a:cubicBezTo>
                    <a:pt x="7" y="11"/>
                    <a:pt x="9" y="11"/>
                    <a:pt x="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37" name="Freeform 80"/>
            <p:cNvSpPr>
              <a:spLocks/>
            </p:cNvSpPr>
            <p:nvPr userDrawn="1"/>
          </p:nvSpPr>
          <p:spPr bwMode="auto">
            <a:xfrm>
              <a:off x="3624403" y="4215037"/>
              <a:ext cx="40310" cy="40310"/>
            </a:xfrm>
            <a:custGeom>
              <a:avLst/>
              <a:gdLst>
                <a:gd name="T0" fmla="*/ 2 w 13"/>
                <a:gd name="T1" fmla="*/ 11 h 13"/>
                <a:gd name="T2" fmla="*/ 12 w 13"/>
                <a:gd name="T3" fmla="*/ 7 h 13"/>
                <a:gd name="T4" fmla="*/ 2 w 13"/>
                <a:gd name="T5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2" y="11"/>
                  </a:moveTo>
                  <a:cubicBezTo>
                    <a:pt x="3" y="13"/>
                    <a:pt x="13" y="10"/>
                    <a:pt x="12" y="7"/>
                  </a:cubicBezTo>
                  <a:cubicBezTo>
                    <a:pt x="9" y="0"/>
                    <a:pt x="0" y="9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38" name="Freeform 81"/>
            <p:cNvSpPr>
              <a:spLocks/>
            </p:cNvSpPr>
            <p:nvPr userDrawn="1"/>
          </p:nvSpPr>
          <p:spPr bwMode="auto">
            <a:xfrm>
              <a:off x="2792682" y="4205631"/>
              <a:ext cx="34935" cy="79275"/>
            </a:xfrm>
            <a:custGeom>
              <a:avLst/>
              <a:gdLst>
                <a:gd name="T0" fmla="*/ 8 w 11"/>
                <a:gd name="T1" fmla="*/ 25 h 25"/>
                <a:gd name="T2" fmla="*/ 11 w 11"/>
                <a:gd name="T3" fmla="*/ 17 h 25"/>
                <a:gd name="T4" fmla="*/ 0 w 11"/>
                <a:gd name="T5" fmla="*/ 14 h 25"/>
                <a:gd name="T6" fmla="*/ 3 w 11"/>
                <a:gd name="T7" fmla="*/ 25 h 25"/>
                <a:gd name="T8" fmla="*/ 8 w 11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5">
                  <a:moveTo>
                    <a:pt x="8" y="25"/>
                  </a:moveTo>
                  <a:cubicBezTo>
                    <a:pt x="8" y="21"/>
                    <a:pt x="10" y="20"/>
                    <a:pt x="11" y="17"/>
                  </a:cubicBezTo>
                  <a:cubicBezTo>
                    <a:pt x="4" y="22"/>
                    <a:pt x="4" y="0"/>
                    <a:pt x="0" y="14"/>
                  </a:cubicBezTo>
                  <a:cubicBezTo>
                    <a:pt x="3" y="14"/>
                    <a:pt x="3" y="19"/>
                    <a:pt x="3" y="25"/>
                  </a:cubicBezTo>
                  <a:cubicBezTo>
                    <a:pt x="5" y="25"/>
                    <a:pt x="6" y="25"/>
                    <a:pt x="8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39" name="Freeform 82"/>
            <p:cNvSpPr>
              <a:spLocks/>
            </p:cNvSpPr>
            <p:nvPr userDrawn="1"/>
          </p:nvSpPr>
          <p:spPr bwMode="auto">
            <a:xfrm>
              <a:off x="2960639" y="4236535"/>
              <a:ext cx="30904" cy="48371"/>
            </a:xfrm>
            <a:custGeom>
              <a:avLst/>
              <a:gdLst>
                <a:gd name="T0" fmla="*/ 1 w 10"/>
                <a:gd name="T1" fmla="*/ 4 h 15"/>
                <a:gd name="T2" fmla="*/ 6 w 10"/>
                <a:gd name="T3" fmla="*/ 15 h 15"/>
                <a:gd name="T4" fmla="*/ 9 w 10"/>
                <a:gd name="T5" fmla="*/ 0 h 15"/>
                <a:gd name="T6" fmla="*/ 3 w 10"/>
                <a:gd name="T7" fmla="*/ 0 h 15"/>
                <a:gd name="T8" fmla="*/ 1 w 10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1" y="4"/>
                  </a:moveTo>
                  <a:cubicBezTo>
                    <a:pt x="5" y="4"/>
                    <a:pt x="2" y="14"/>
                    <a:pt x="6" y="15"/>
                  </a:cubicBezTo>
                  <a:cubicBezTo>
                    <a:pt x="7" y="10"/>
                    <a:pt x="10" y="8"/>
                    <a:pt x="9" y="0"/>
                  </a:cubicBezTo>
                  <a:cubicBezTo>
                    <a:pt x="7" y="0"/>
                    <a:pt x="5" y="0"/>
                    <a:pt x="3" y="0"/>
                  </a:cubicBezTo>
                  <a:cubicBezTo>
                    <a:pt x="2" y="0"/>
                    <a:pt x="0" y="0"/>
                    <a:pt x="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0" name="Freeform 83"/>
            <p:cNvSpPr>
              <a:spLocks/>
            </p:cNvSpPr>
            <p:nvPr userDrawn="1"/>
          </p:nvSpPr>
          <p:spPr bwMode="auto">
            <a:xfrm>
              <a:off x="2998261" y="4227130"/>
              <a:ext cx="41653" cy="67183"/>
            </a:xfrm>
            <a:custGeom>
              <a:avLst/>
              <a:gdLst>
                <a:gd name="T0" fmla="*/ 0 w 13"/>
                <a:gd name="T1" fmla="*/ 10 h 21"/>
                <a:gd name="T2" fmla="*/ 13 w 13"/>
                <a:gd name="T3" fmla="*/ 10 h 21"/>
                <a:gd name="T4" fmla="*/ 0 w 13"/>
                <a:gd name="T5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1">
                  <a:moveTo>
                    <a:pt x="0" y="10"/>
                  </a:moveTo>
                  <a:cubicBezTo>
                    <a:pt x="6" y="5"/>
                    <a:pt x="11" y="21"/>
                    <a:pt x="13" y="10"/>
                  </a:cubicBezTo>
                  <a:cubicBezTo>
                    <a:pt x="8" y="5"/>
                    <a:pt x="4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1" name="Freeform 84"/>
            <p:cNvSpPr>
              <a:spLocks/>
            </p:cNvSpPr>
            <p:nvPr userDrawn="1"/>
          </p:nvSpPr>
          <p:spPr bwMode="auto">
            <a:xfrm>
              <a:off x="2802088" y="4249972"/>
              <a:ext cx="85994" cy="114210"/>
            </a:xfrm>
            <a:custGeom>
              <a:avLst/>
              <a:gdLst>
                <a:gd name="T0" fmla="*/ 11 w 27"/>
                <a:gd name="T1" fmla="*/ 33 h 36"/>
                <a:gd name="T2" fmla="*/ 21 w 27"/>
                <a:gd name="T3" fmla="*/ 33 h 36"/>
                <a:gd name="T4" fmla="*/ 21 w 27"/>
                <a:gd name="T5" fmla="*/ 0 h 36"/>
                <a:gd name="T6" fmla="*/ 13 w 27"/>
                <a:gd name="T7" fmla="*/ 0 h 36"/>
                <a:gd name="T8" fmla="*/ 11 w 27"/>
                <a:gd name="T9" fmla="*/ 11 h 36"/>
                <a:gd name="T10" fmla="*/ 11 w 27"/>
                <a:gd name="T11" fmla="*/ 3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36">
                  <a:moveTo>
                    <a:pt x="11" y="33"/>
                  </a:moveTo>
                  <a:cubicBezTo>
                    <a:pt x="12" y="22"/>
                    <a:pt x="16" y="36"/>
                    <a:pt x="21" y="33"/>
                  </a:cubicBezTo>
                  <a:cubicBezTo>
                    <a:pt x="17" y="21"/>
                    <a:pt x="20" y="13"/>
                    <a:pt x="21" y="0"/>
                  </a:cubicBezTo>
                  <a:cubicBezTo>
                    <a:pt x="19" y="0"/>
                    <a:pt x="16" y="0"/>
                    <a:pt x="13" y="0"/>
                  </a:cubicBezTo>
                  <a:cubicBezTo>
                    <a:pt x="13" y="5"/>
                    <a:pt x="12" y="8"/>
                    <a:pt x="11" y="11"/>
                  </a:cubicBezTo>
                  <a:cubicBezTo>
                    <a:pt x="27" y="13"/>
                    <a:pt x="0" y="27"/>
                    <a:pt x="11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2" name="Freeform 85"/>
            <p:cNvSpPr>
              <a:spLocks/>
            </p:cNvSpPr>
            <p:nvPr userDrawn="1"/>
          </p:nvSpPr>
          <p:spPr bwMode="auto">
            <a:xfrm>
              <a:off x="2867927" y="4255347"/>
              <a:ext cx="55090" cy="64495"/>
            </a:xfrm>
            <a:custGeom>
              <a:avLst/>
              <a:gdLst>
                <a:gd name="T0" fmla="*/ 8 w 17"/>
                <a:gd name="T1" fmla="*/ 9 h 20"/>
                <a:gd name="T2" fmla="*/ 6 w 17"/>
                <a:gd name="T3" fmla="*/ 9 h 20"/>
                <a:gd name="T4" fmla="*/ 3 w 17"/>
                <a:gd name="T5" fmla="*/ 1 h 20"/>
                <a:gd name="T6" fmla="*/ 0 w 17"/>
                <a:gd name="T7" fmla="*/ 16 h 20"/>
                <a:gd name="T8" fmla="*/ 16 w 17"/>
                <a:gd name="T9" fmla="*/ 20 h 20"/>
                <a:gd name="T10" fmla="*/ 8 w 17"/>
                <a:gd name="T11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20">
                  <a:moveTo>
                    <a:pt x="8" y="9"/>
                  </a:moveTo>
                  <a:cubicBezTo>
                    <a:pt x="6" y="10"/>
                    <a:pt x="9" y="13"/>
                    <a:pt x="6" y="9"/>
                  </a:cubicBezTo>
                  <a:cubicBezTo>
                    <a:pt x="4" y="7"/>
                    <a:pt x="6" y="0"/>
                    <a:pt x="3" y="1"/>
                  </a:cubicBezTo>
                  <a:cubicBezTo>
                    <a:pt x="3" y="8"/>
                    <a:pt x="2" y="13"/>
                    <a:pt x="0" y="16"/>
                  </a:cubicBezTo>
                  <a:cubicBezTo>
                    <a:pt x="9" y="13"/>
                    <a:pt x="10" y="20"/>
                    <a:pt x="16" y="20"/>
                  </a:cubicBezTo>
                  <a:cubicBezTo>
                    <a:pt x="17" y="10"/>
                    <a:pt x="12" y="7"/>
                    <a:pt x="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3" name="Freeform 86"/>
            <p:cNvSpPr>
              <a:spLocks/>
            </p:cNvSpPr>
            <p:nvPr userDrawn="1"/>
          </p:nvSpPr>
          <p:spPr bwMode="auto">
            <a:xfrm>
              <a:off x="3081567" y="4243254"/>
              <a:ext cx="25529" cy="69870"/>
            </a:xfrm>
            <a:custGeom>
              <a:avLst/>
              <a:gdLst>
                <a:gd name="T0" fmla="*/ 0 w 8"/>
                <a:gd name="T1" fmla="*/ 13 h 22"/>
                <a:gd name="T2" fmla="*/ 6 w 8"/>
                <a:gd name="T3" fmla="*/ 20 h 22"/>
                <a:gd name="T4" fmla="*/ 0 w 8"/>
                <a:gd name="T5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2">
                  <a:moveTo>
                    <a:pt x="0" y="13"/>
                  </a:moveTo>
                  <a:cubicBezTo>
                    <a:pt x="3" y="11"/>
                    <a:pt x="5" y="22"/>
                    <a:pt x="6" y="20"/>
                  </a:cubicBezTo>
                  <a:cubicBezTo>
                    <a:pt x="8" y="17"/>
                    <a:pt x="5" y="0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4" name="Freeform 87"/>
            <p:cNvSpPr>
              <a:spLocks/>
            </p:cNvSpPr>
            <p:nvPr userDrawn="1"/>
          </p:nvSpPr>
          <p:spPr bwMode="auto">
            <a:xfrm>
              <a:off x="2928391" y="4284907"/>
              <a:ext cx="69870" cy="116898"/>
            </a:xfrm>
            <a:custGeom>
              <a:avLst/>
              <a:gdLst>
                <a:gd name="T0" fmla="*/ 6 w 22"/>
                <a:gd name="T1" fmla="*/ 26 h 37"/>
                <a:gd name="T2" fmla="*/ 13 w 22"/>
                <a:gd name="T3" fmla="*/ 37 h 37"/>
                <a:gd name="T4" fmla="*/ 22 w 22"/>
                <a:gd name="T5" fmla="*/ 29 h 37"/>
                <a:gd name="T6" fmla="*/ 6 w 22"/>
                <a:gd name="T7" fmla="*/ 11 h 37"/>
                <a:gd name="T8" fmla="*/ 16 w 22"/>
                <a:gd name="T9" fmla="*/ 18 h 37"/>
                <a:gd name="T10" fmla="*/ 19 w 22"/>
                <a:gd name="T11" fmla="*/ 7 h 37"/>
                <a:gd name="T12" fmla="*/ 8 w 22"/>
                <a:gd name="T13" fmla="*/ 0 h 37"/>
                <a:gd name="T14" fmla="*/ 0 w 22"/>
                <a:gd name="T15" fmla="*/ 11 h 37"/>
                <a:gd name="T16" fmla="*/ 6 w 22"/>
                <a:gd name="T17" fmla="*/ 2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37">
                  <a:moveTo>
                    <a:pt x="6" y="26"/>
                  </a:moveTo>
                  <a:cubicBezTo>
                    <a:pt x="8" y="30"/>
                    <a:pt x="12" y="34"/>
                    <a:pt x="13" y="37"/>
                  </a:cubicBezTo>
                  <a:cubicBezTo>
                    <a:pt x="14" y="31"/>
                    <a:pt x="21" y="35"/>
                    <a:pt x="22" y="29"/>
                  </a:cubicBezTo>
                  <a:cubicBezTo>
                    <a:pt x="17" y="23"/>
                    <a:pt x="5" y="25"/>
                    <a:pt x="6" y="11"/>
                  </a:cubicBezTo>
                  <a:cubicBezTo>
                    <a:pt x="11" y="11"/>
                    <a:pt x="9" y="21"/>
                    <a:pt x="16" y="18"/>
                  </a:cubicBezTo>
                  <a:cubicBezTo>
                    <a:pt x="16" y="13"/>
                    <a:pt x="18" y="10"/>
                    <a:pt x="19" y="7"/>
                  </a:cubicBezTo>
                  <a:cubicBezTo>
                    <a:pt x="12" y="10"/>
                    <a:pt x="13" y="0"/>
                    <a:pt x="8" y="0"/>
                  </a:cubicBezTo>
                  <a:cubicBezTo>
                    <a:pt x="7" y="5"/>
                    <a:pt x="4" y="9"/>
                    <a:pt x="0" y="11"/>
                  </a:cubicBezTo>
                  <a:cubicBezTo>
                    <a:pt x="0" y="17"/>
                    <a:pt x="3" y="22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5" name="Freeform 88"/>
            <p:cNvSpPr>
              <a:spLocks/>
            </p:cNvSpPr>
            <p:nvPr userDrawn="1"/>
          </p:nvSpPr>
          <p:spPr bwMode="auto">
            <a:xfrm>
              <a:off x="3061412" y="4319842"/>
              <a:ext cx="29560" cy="44341"/>
            </a:xfrm>
            <a:custGeom>
              <a:avLst/>
              <a:gdLst>
                <a:gd name="T0" fmla="*/ 9 w 9"/>
                <a:gd name="T1" fmla="*/ 11 h 14"/>
                <a:gd name="T2" fmla="*/ 4 w 9"/>
                <a:gd name="T3" fmla="*/ 0 h 14"/>
                <a:gd name="T4" fmla="*/ 9 w 9"/>
                <a:gd name="T5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9" y="11"/>
                  </a:moveTo>
                  <a:cubicBezTo>
                    <a:pt x="9" y="4"/>
                    <a:pt x="7" y="1"/>
                    <a:pt x="4" y="0"/>
                  </a:cubicBezTo>
                  <a:cubicBezTo>
                    <a:pt x="0" y="5"/>
                    <a:pt x="0" y="14"/>
                    <a:pt x="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6" name="Freeform 89"/>
            <p:cNvSpPr>
              <a:spLocks/>
            </p:cNvSpPr>
            <p:nvPr userDrawn="1"/>
          </p:nvSpPr>
          <p:spPr bwMode="auto">
            <a:xfrm>
              <a:off x="2988855" y="4329247"/>
              <a:ext cx="16124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7" name="Freeform 90"/>
            <p:cNvSpPr>
              <a:spLocks/>
            </p:cNvSpPr>
            <p:nvPr userDrawn="1"/>
          </p:nvSpPr>
          <p:spPr bwMode="auto">
            <a:xfrm>
              <a:off x="3072162" y="4389712"/>
              <a:ext cx="30904" cy="56433"/>
            </a:xfrm>
            <a:custGeom>
              <a:avLst/>
              <a:gdLst>
                <a:gd name="T0" fmla="*/ 3 w 10"/>
                <a:gd name="T1" fmla="*/ 18 h 18"/>
                <a:gd name="T2" fmla="*/ 1 w 10"/>
                <a:gd name="T3" fmla="*/ 4 h 18"/>
                <a:gd name="T4" fmla="*/ 3 w 10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3" y="18"/>
                  </a:moveTo>
                  <a:cubicBezTo>
                    <a:pt x="5" y="16"/>
                    <a:pt x="10" y="0"/>
                    <a:pt x="1" y="4"/>
                  </a:cubicBezTo>
                  <a:cubicBezTo>
                    <a:pt x="1" y="9"/>
                    <a:pt x="0" y="17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8" name="Freeform 91"/>
            <p:cNvSpPr>
              <a:spLocks/>
            </p:cNvSpPr>
            <p:nvPr userDrawn="1"/>
          </p:nvSpPr>
          <p:spPr bwMode="auto">
            <a:xfrm>
              <a:off x="3131282" y="4401805"/>
              <a:ext cx="22842" cy="44341"/>
            </a:xfrm>
            <a:custGeom>
              <a:avLst/>
              <a:gdLst>
                <a:gd name="T0" fmla="*/ 6 w 7"/>
                <a:gd name="T1" fmla="*/ 14 h 14"/>
                <a:gd name="T2" fmla="*/ 1 w 7"/>
                <a:gd name="T3" fmla="*/ 0 h 14"/>
                <a:gd name="T4" fmla="*/ 6 w 7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6" y="14"/>
                  </a:moveTo>
                  <a:cubicBezTo>
                    <a:pt x="7" y="6"/>
                    <a:pt x="5" y="1"/>
                    <a:pt x="1" y="0"/>
                  </a:cubicBezTo>
                  <a:cubicBezTo>
                    <a:pt x="0" y="8"/>
                    <a:pt x="1" y="14"/>
                    <a:pt x="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9" name="Freeform 92"/>
            <p:cNvSpPr>
              <a:spLocks/>
            </p:cNvSpPr>
            <p:nvPr userDrawn="1"/>
          </p:nvSpPr>
          <p:spPr bwMode="auto">
            <a:xfrm>
              <a:off x="2807462" y="4378963"/>
              <a:ext cx="45684" cy="115554"/>
            </a:xfrm>
            <a:custGeom>
              <a:avLst/>
              <a:gdLst>
                <a:gd name="T0" fmla="*/ 14 w 14"/>
                <a:gd name="T1" fmla="*/ 18 h 36"/>
                <a:gd name="T2" fmla="*/ 11 w 14"/>
                <a:gd name="T3" fmla="*/ 14 h 36"/>
                <a:gd name="T4" fmla="*/ 14 w 14"/>
                <a:gd name="T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36">
                  <a:moveTo>
                    <a:pt x="14" y="18"/>
                  </a:moveTo>
                  <a:cubicBezTo>
                    <a:pt x="11" y="19"/>
                    <a:pt x="12" y="15"/>
                    <a:pt x="11" y="14"/>
                  </a:cubicBezTo>
                  <a:cubicBezTo>
                    <a:pt x="0" y="0"/>
                    <a:pt x="4" y="36"/>
                    <a:pt x="1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0" name="Freeform 93"/>
            <p:cNvSpPr>
              <a:spLocks/>
            </p:cNvSpPr>
            <p:nvPr userDrawn="1"/>
          </p:nvSpPr>
          <p:spPr bwMode="auto">
            <a:xfrm>
              <a:off x="2923016" y="4439427"/>
              <a:ext cx="81963" cy="83306"/>
            </a:xfrm>
            <a:custGeom>
              <a:avLst/>
              <a:gdLst>
                <a:gd name="T0" fmla="*/ 18 w 26"/>
                <a:gd name="T1" fmla="*/ 21 h 26"/>
                <a:gd name="T2" fmla="*/ 24 w 26"/>
                <a:gd name="T3" fmla="*/ 2 h 26"/>
                <a:gd name="T4" fmla="*/ 8 w 26"/>
                <a:gd name="T5" fmla="*/ 17 h 26"/>
                <a:gd name="T6" fmla="*/ 18 w 26"/>
                <a:gd name="T7" fmla="*/ 2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6">
                  <a:moveTo>
                    <a:pt x="18" y="21"/>
                  </a:moveTo>
                  <a:cubicBezTo>
                    <a:pt x="14" y="7"/>
                    <a:pt x="26" y="14"/>
                    <a:pt x="24" y="2"/>
                  </a:cubicBezTo>
                  <a:cubicBezTo>
                    <a:pt x="15" y="0"/>
                    <a:pt x="0" y="9"/>
                    <a:pt x="8" y="17"/>
                  </a:cubicBezTo>
                  <a:cubicBezTo>
                    <a:pt x="10" y="6"/>
                    <a:pt x="12" y="26"/>
                    <a:pt x="18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1" name="Freeform 94"/>
            <p:cNvSpPr>
              <a:spLocks/>
            </p:cNvSpPr>
            <p:nvPr userDrawn="1"/>
          </p:nvSpPr>
          <p:spPr bwMode="auto">
            <a:xfrm>
              <a:off x="3252211" y="4446145"/>
              <a:ext cx="34935" cy="85994"/>
            </a:xfrm>
            <a:custGeom>
              <a:avLst/>
              <a:gdLst>
                <a:gd name="T0" fmla="*/ 11 w 11"/>
                <a:gd name="T1" fmla="*/ 23 h 27"/>
                <a:gd name="T2" fmla="*/ 3 w 11"/>
                <a:gd name="T3" fmla="*/ 0 h 27"/>
                <a:gd name="T4" fmla="*/ 11 w 11"/>
                <a:gd name="T5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7">
                  <a:moveTo>
                    <a:pt x="11" y="23"/>
                  </a:moveTo>
                  <a:cubicBezTo>
                    <a:pt x="10" y="13"/>
                    <a:pt x="7" y="6"/>
                    <a:pt x="3" y="0"/>
                  </a:cubicBezTo>
                  <a:cubicBezTo>
                    <a:pt x="1" y="4"/>
                    <a:pt x="0" y="27"/>
                    <a:pt x="1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2" name="Freeform 95"/>
            <p:cNvSpPr>
              <a:spLocks/>
            </p:cNvSpPr>
            <p:nvPr userDrawn="1"/>
          </p:nvSpPr>
          <p:spPr bwMode="auto">
            <a:xfrm>
              <a:off x="2827617" y="4483767"/>
              <a:ext cx="28217" cy="22842"/>
            </a:xfrm>
            <a:custGeom>
              <a:avLst/>
              <a:gdLst>
                <a:gd name="T0" fmla="*/ 3 w 9"/>
                <a:gd name="T1" fmla="*/ 0 h 7"/>
                <a:gd name="T2" fmla="*/ 0 w 9"/>
                <a:gd name="T3" fmla="*/ 7 h 7"/>
                <a:gd name="T4" fmla="*/ 8 w 9"/>
                <a:gd name="T5" fmla="*/ 0 h 7"/>
                <a:gd name="T6" fmla="*/ 3 w 9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3" y="0"/>
                  </a:moveTo>
                  <a:cubicBezTo>
                    <a:pt x="3" y="3"/>
                    <a:pt x="0" y="4"/>
                    <a:pt x="0" y="7"/>
                  </a:cubicBezTo>
                  <a:cubicBezTo>
                    <a:pt x="4" y="7"/>
                    <a:pt x="9" y="7"/>
                    <a:pt x="8" y="0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3" name="Freeform 96"/>
            <p:cNvSpPr>
              <a:spLocks/>
            </p:cNvSpPr>
            <p:nvPr userDrawn="1"/>
          </p:nvSpPr>
          <p:spPr bwMode="auto">
            <a:xfrm>
              <a:off x="3109784" y="4483767"/>
              <a:ext cx="47028" cy="69870"/>
            </a:xfrm>
            <a:custGeom>
              <a:avLst/>
              <a:gdLst>
                <a:gd name="T0" fmla="*/ 8 w 15"/>
                <a:gd name="T1" fmla="*/ 22 h 22"/>
                <a:gd name="T2" fmla="*/ 13 w 15"/>
                <a:gd name="T3" fmla="*/ 22 h 22"/>
                <a:gd name="T4" fmla="*/ 8 w 15"/>
                <a:gd name="T5" fmla="*/ 7 h 22"/>
                <a:gd name="T6" fmla="*/ 8 w 15"/>
                <a:gd name="T7" fmla="*/ 0 h 22"/>
                <a:gd name="T8" fmla="*/ 8 w 15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2">
                  <a:moveTo>
                    <a:pt x="8" y="22"/>
                  </a:moveTo>
                  <a:cubicBezTo>
                    <a:pt x="8" y="17"/>
                    <a:pt x="11" y="19"/>
                    <a:pt x="13" y="22"/>
                  </a:cubicBezTo>
                  <a:cubicBezTo>
                    <a:pt x="15" y="12"/>
                    <a:pt x="8" y="14"/>
                    <a:pt x="8" y="7"/>
                  </a:cubicBezTo>
                  <a:cubicBezTo>
                    <a:pt x="10" y="7"/>
                    <a:pt x="11" y="0"/>
                    <a:pt x="8" y="0"/>
                  </a:cubicBezTo>
                  <a:cubicBezTo>
                    <a:pt x="4" y="8"/>
                    <a:pt x="0" y="16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4" name="Freeform 97"/>
            <p:cNvSpPr>
              <a:spLocks/>
            </p:cNvSpPr>
            <p:nvPr userDrawn="1"/>
          </p:nvSpPr>
          <p:spPr bwMode="auto">
            <a:xfrm>
              <a:off x="3151437" y="4481080"/>
              <a:ext cx="24186" cy="44341"/>
            </a:xfrm>
            <a:custGeom>
              <a:avLst/>
              <a:gdLst>
                <a:gd name="T0" fmla="*/ 8 w 8"/>
                <a:gd name="T1" fmla="*/ 1 h 14"/>
                <a:gd name="T2" fmla="*/ 0 w 8"/>
                <a:gd name="T3" fmla="*/ 12 h 14"/>
                <a:gd name="T4" fmla="*/ 8 w 8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4">
                  <a:moveTo>
                    <a:pt x="8" y="1"/>
                  </a:moveTo>
                  <a:cubicBezTo>
                    <a:pt x="2" y="0"/>
                    <a:pt x="0" y="4"/>
                    <a:pt x="0" y="12"/>
                  </a:cubicBezTo>
                  <a:cubicBezTo>
                    <a:pt x="7" y="14"/>
                    <a:pt x="5" y="4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5" name="Freeform 98"/>
            <p:cNvSpPr>
              <a:spLocks/>
            </p:cNvSpPr>
            <p:nvPr userDrawn="1"/>
          </p:nvSpPr>
          <p:spPr bwMode="auto">
            <a:xfrm>
              <a:off x="3217276" y="4513328"/>
              <a:ext cx="25529" cy="69870"/>
            </a:xfrm>
            <a:custGeom>
              <a:avLst/>
              <a:gdLst>
                <a:gd name="T0" fmla="*/ 3 w 8"/>
                <a:gd name="T1" fmla="*/ 2 h 22"/>
                <a:gd name="T2" fmla="*/ 1 w 8"/>
                <a:gd name="T3" fmla="*/ 16 h 22"/>
                <a:gd name="T4" fmla="*/ 3 w 8"/>
                <a:gd name="T5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2">
                  <a:moveTo>
                    <a:pt x="3" y="2"/>
                  </a:moveTo>
                  <a:cubicBezTo>
                    <a:pt x="4" y="9"/>
                    <a:pt x="0" y="10"/>
                    <a:pt x="1" y="16"/>
                  </a:cubicBezTo>
                  <a:cubicBezTo>
                    <a:pt x="8" y="22"/>
                    <a:pt x="8" y="0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6" name="Freeform 99"/>
            <p:cNvSpPr>
              <a:spLocks/>
            </p:cNvSpPr>
            <p:nvPr userDrawn="1"/>
          </p:nvSpPr>
          <p:spPr bwMode="auto">
            <a:xfrm>
              <a:off x="3252211" y="4499891"/>
              <a:ext cx="16124" cy="67183"/>
            </a:xfrm>
            <a:custGeom>
              <a:avLst/>
              <a:gdLst>
                <a:gd name="T0" fmla="*/ 3 w 5"/>
                <a:gd name="T1" fmla="*/ 20 h 21"/>
                <a:gd name="T2" fmla="*/ 0 w 5"/>
                <a:gd name="T3" fmla="*/ 13 h 21"/>
                <a:gd name="T4" fmla="*/ 3 w 5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1">
                  <a:moveTo>
                    <a:pt x="3" y="20"/>
                  </a:moveTo>
                  <a:cubicBezTo>
                    <a:pt x="5" y="20"/>
                    <a:pt x="4" y="0"/>
                    <a:pt x="0" y="13"/>
                  </a:cubicBezTo>
                  <a:cubicBezTo>
                    <a:pt x="0" y="15"/>
                    <a:pt x="1" y="21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7" name="Freeform 100"/>
            <p:cNvSpPr>
              <a:spLocks/>
            </p:cNvSpPr>
            <p:nvPr userDrawn="1"/>
          </p:nvSpPr>
          <p:spPr bwMode="auto">
            <a:xfrm>
              <a:off x="2704001" y="4563043"/>
              <a:ext cx="40310" cy="102118"/>
            </a:xfrm>
            <a:custGeom>
              <a:avLst/>
              <a:gdLst>
                <a:gd name="T0" fmla="*/ 4 w 13"/>
                <a:gd name="T1" fmla="*/ 0 h 32"/>
                <a:gd name="T2" fmla="*/ 1 w 13"/>
                <a:gd name="T3" fmla="*/ 8 h 32"/>
                <a:gd name="T4" fmla="*/ 4 w 13"/>
                <a:gd name="T5" fmla="*/ 19 h 32"/>
                <a:gd name="T6" fmla="*/ 4 w 13"/>
                <a:gd name="T7" fmla="*/ 26 h 32"/>
                <a:gd name="T8" fmla="*/ 9 w 13"/>
                <a:gd name="T9" fmla="*/ 26 h 32"/>
                <a:gd name="T10" fmla="*/ 4 w 13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32">
                  <a:moveTo>
                    <a:pt x="4" y="0"/>
                  </a:moveTo>
                  <a:cubicBezTo>
                    <a:pt x="3" y="3"/>
                    <a:pt x="4" y="8"/>
                    <a:pt x="1" y="8"/>
                  </a:cubicBezTo>
                  <a:cubicBezTo>
                    <a:pt x="0" y="13"/>
                    <a:pt x="4" y="16"/>
                    <a:pt x="4" y="19"/>
                  </a:cubicBezTo>
                  <a:cubicBezTo>
                    <a:pt x="5" y="25"/>
                    <a:pt x="1" y="22"/>
                    <a:pt x="4" y="26"/>
                  </a:cubicBezTo>
                  <a:cubicBezTo>
                    <a:pt x="5" y="28"/>
                    <a:pt x="8" y="32"/>
                    <a:pt x="9" y="26"/>
                  </a:cubicBezTo>
                  <a:cubicBezTo>
                    <a:pt x="3" y="19"/>
                    <a:pt x="13" y="7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8" name="Freeform 101"/>
            <p:cNvSpPr>
              <a:spLocks/>
            </p:cNvSpPr>
            <p:nvPr userDrawn="1"/>
          </p:nvSpPr>
          <p:spPr bwMode="auto">
            <a:xfrm>
              <a:off x="3074849" y="4563043"/>
              <a:ext cx="16124" cy="25529"/>
            </a:xfrm>
            <a:custGeom>
              <a:avLst/>
              <a:gdLst>
                <a:gd name="T0" fmla="*/ 0 w 5"/>
                <a:gd name="T1" fmla="*/ 8 h 8"/>
                <a:gd name="T2" fmla="*/ 5 w 5"/>
                <a:gd name="T3" fmla="*/ 8 h 8"/>
                <a:gd name="T4" fmla="*/ 5 w 5"/>
                <a:gd name="T5" fmla="*/ 0 h 8"/>
                <a:gd name="T6" fmla="*/ 0 w 5"/>
                <a:gd name="T7" fmla="*/ 0 h 8"/>
                <a:gd name="T8" fmla="*/ 0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0" y="8"/>
                  </a:moveTo>
                  <a:cubicBezTo>
                    <a:pt x="2" y="8"/>
                    <a:pt x="3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9" name="Freeform 102"/>
            <p:cNvSpPr>
              <a:spLocks/>
            </p:cNvSpPr>
            <p:nvPr userDrawn="1"/>
          </p:nvSpPr>
          <p:spPr bwMode="auto">
            <a:xfrm>
              <a:off x="3335517" y="4563043"/>
              <a:ext cx="59121" cy="64495"/>
            </a:xfrm>
            <a:custGeom>
              <a:avLst/>
              <a:gdLst>
                <a:gd name="T0" fmla="*/ 12 w 19"/>
                <a:gd name="T1" fmla="*/ 0 h 20"/>
                <a:gd name="T2" fmla="*/ 4 w 19"/>
                <a:gd name="T3" fmla="*/ 15 h 20"/>
                <a:gd name="T4" fmla="*/ 12 w 19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20">
                  <a:moveTo>
                    <a:pt x="12" y="0"/>
                  </a:moveTo>
                  <a:cubicBezTo>
                    <a:pt x="11" y="8"/>
                    <a:pt x="0" y="1"/>
                    <a:pt x="4" y="15"/>
                  </a:cubicBezTo>
                  <a:cubicBezTo>
                    <a:pt x="12" y="20"/>
                    <a:pt x="19" y="5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28" name="Freeform 103"/>
            <p:cNvSpPr>
              <a:spLocks/>
            </p:cNvSpPr>
            <p:nvPr userDrawn="1"/>
          </p:nvSpPr>
          <p:spPr bwMode="auto">
            <a:xfrm>
              <a:off x="3240118" y="4588572"/>
              <a:ext cx="30904" cy="64495"/>
            </a:xfrm>
            <a:custGeom>
              <a:avLst/>
              <a:gdLst>
                <a:gd name="T0" fmla="*/ 4 w 10"/>
                <a:gd name="T1" fmla="*/ 0 h 20"/>
                <a:gd name="T2" fmla="*/ 10 w 10"/>
                <a:gd name="T3" fmla="*/ 11 h 20"/>
                <a:gd name="T4" fmla="*/ 4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4" y="0"/>
                  </a:moveTo>
                  <a:cubicBezTo>
                    <a:pt x="0" y="8"/>
                    <a:pt x="5" y="20"/>
                    <a:pt x="10" y="11"/>
                  </a:cubicBezTo>
                  <a:cubicBezTo>
                    <a:pt x="5" y="11"/>
                    <a:pt x="8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29" name="Freeform 104"/>
            <p:cNvSpPr>
              <a:spLocks/>
            </p:cNvSpPr>
            <p:nvPr userDrawn="1"/>
          </p:nvSpPr>
          <p:spPr bwMode="auto">
            <a:xfrm>
              <a:off x="2998261" y="4585885"/>
              <a:ext cx="60464" cy="47028"/>
            </a:xfrm>
            <a:custGeom>
              <a:avLst/>
              <a:gdLst>
                <a:gd name="T0" fmla="*/ 19 w 19"/>
                <a:gd name="T1" fmla="*/ 5 h 15"/>
                <a:gd name="T2" fmla="*/ 0 w 19"/>
                <a:gd name="T3" fmla="*/ 8 h 15"/>
                <a:gd name="T4" fmla="*/ 10 w 19"/>
                <a:gd name="T5" fmla="*/ 8 h 15"/>
                <a:gd name="T6" fmla="*/ 16 w 19"/>
                <a:gd name="T7" fmla="*/ 12 h 15"/>
                <a:gd name="T8" fmla="*/ 19 w 19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19" y="5"/>
                  </a:moveTo>
                  <a:cubicBezTo>
                    <a:pt x="13" y="7"/>
                    <a:pt x="1" y="0"/>
                    <a:pt x="0" y="8"/>
                  </a:cubicBezTo>
                  <a:cubicBezTo>
                    <a:pt x="3" y="15"/>
                    <a:pt x="7" y="9"/>
                    <a:pt x="10" y="8"/>
                  </a:cubicBezTo>
                  <a:cubicBezTo>
                    <a:pt x="11" y="8"/>
                    <a:pt x="12" y="14"/>
                    <a:pt x="16" y="12"/>
                  </a:cubicBezTo>
                  <a:cubicBezTo>
                    <a:pt x="17" y="11"/>
                    <a:pt x="17" y="5"/>
                    <a:pt x="19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30" name="Freeform 105"/>
            <p:cNvSpPr>
              <a:spLocks/>
            </p:cNvSpPr>
            <p:nvPr userDrawn="1"/>
          </p:nvSpPr>
          <p:spPr bwMode="auto">
            <a:xfrm>
              <a:off x="3284459" y="4604696"/>
              <a:ext cx="25529" cy="76588"/>
            </a:xfrm>
            <a:custGeom>
              <a:avLst/>
              <a:gdLst>
                <a:gd name="T0" fmla="*/ 1 w 8"/>
                <a:gd name="T1" fmla="*/ 6 h 24"/>
                <a:gd name="T2" fmla="*/ 1 w 8"/>
                <a:gd name="T3" fmla="*/ 21 h 24"/>
                <a:gd name="T4" fmla="*/ 4 w 8"/>
                <a:gd name="T5" fmla="*/ 6 h 24"/>
                <a:gd name="T6" fmla="*/ 6 w 8"/>
                <a:gd name="T7" fmla="*/ 2 h 24"/>
                <a:gd name="T8" fmla="*/ 1 w 8"/>
                <a:gd name="T9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4">
                  <a:moveTo>
                    <a:pt x="1" y="6"/>
                  </a:moveTo>
                  <a:cubicBezTo>
                    <a:pt x="1" y="8"/>
                    <a:pt x="0" y="19"/>
                    <a:pt x="1" y="21"/>
                  </a:cubicBezTo>
                  <a:cubicBezTo>
                    <a:pt x="3" y="24"/>
                    <a:pt x="4" y="9"/>
                    <a:pt x="4" y="6"/>
                  </a:cubicBezTo>
                  <a:cubicBezTo>
                    <a:pt x="4" y="6"/>
                    <a:pt x="8" y="5"/>
                    <a:pt x="6" y="2"/>
                  </a:cubicBezTo>
                  <a:cubicBezTo>
                    <a:pt x="5" y="0"/>
                    <a:pt x="1" y="5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31" name="Freeform 106"/>
            <p:cNvSpPr>
              <a:spLocks/>
            </p:cNvSpPr>
            <p:nvPr userDrawn="1"/>
          </p:nvSpPr>
          <p:spPr bwMode="auto">
            <a:xfrm>
              <a:off x="3131282" y="4623507"/>
              <a:ext cx="41653" cy="34935"/>
            </a:xfrm>
            <a:custGeom>
              <a:avLst/>
              <a:gdLst>
                <a:gd name="T0" fmla="*/ 3 w 13"/>
                <a:gd name="T1" fmla="*/ 11 h 11"/>
                <a:gd name="T2" fmla="*/ 9 w 13"/>
                <a:gd name="T3" fmla="*/ 11 h 11"/>
                <a:gd name="T4" fmla="*/ 1 w 13"/>
                <a:gd name="T5" fmla="*/ 7 h 11"/>
                <a:gd name="T6" fmla="*/ 3 w 13"/>
                <a:gd name="T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3" y="11"/>
                  </a:moveTo>
                  <a:cubicBezTo>
                    <a:pt x="5" y="11"/>
                    <a:pt x="7" y="11"/>
                    <a:pt x="9" y="11"/>
                  </a:cubicBezTo>
                  <a:cubicBezTo>
                    <a:pt x="13" y="2"/>
                    <a:pt x="0" y="0"/>
                    <a:pt x="1" y="7"/>
                  </a:cubicBezTo>
                  <a:cubicBezTo>
                    <a:pt x="2" y="8"/>
                    <a:pt x="4" y="8"/>
                    <a:pt x="3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32" name="Freeform 107"/>
            <p:cNvSpPr>
              <a:spLocks/>
            </p:cNvSpPr>
            <p:nvPr userDrawn="1"/>
          </p:nvSpPr>
          <p:spPr bwMode="auto">
            <a:xfrm>
              <a:off x="3433604" y="4636944"/>
              <a:ext cx="16124" cy="21498"/>
            </a:xfrm>
            <a:custGeom>
              <a:avLst/>
              <a:gdLst>
                <a:gd name="T0" fmla="*/ 0 w 5"/>
                <a:gd name="T1" fmla="*/ 7 h 7"/>
                <a:gd name="T2" fmla="*/ 5 w 5"/>
                <a:gd name="T3" fmla="*/ 7 h 7"/>
                <a:gd name="T4" fmla="*/ 5 w 5"/>
                <a:gd name="T5" fmla="*/ 0 h 7"/>
                <a:gd name="T6" fmla="*/ 0 w 5"/>
                <a:gd name="T7" fmla="*/ 0 h 7"/>
                <a:gd name="T8" fmla="*/ 0 w 5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0" y="7"/>
                  </a:moveTo>
                  <a:cubicBezTo>
                    <a:pt x="2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33" name="Freeform 108"/>
            <p:cNvSpPr>
              <a:spLocks/>
            </p:cNvSpPr>
            <p:nvPr userDrawn="1"/>
          </p:nvSpPr>
          <p:spPr bwMode="auto">
            <a:xfrm>
              <a:off x="2923016" y="4646349"/>
              <a:ext cx="49715" cy="95399"/>
            </a:xfrm>
            <a:custGeom>
              <a:avLst/>
              <a:gdLst>
                <a:gd name="T0" fmla="*/ 5 w 16"/>
                <a:gd name="T1" fmla="*/ 0 h 30"/>
                <a:gd name="T2" fmla="*/ 13 w 16"/>
                <a:gd name="T3" fmla="*/ 30 h 30"/>
                <a:gd name="T4" fmla="*/ 8 w 16"/>
                <a:gd name="T5" fmla="*/ 4 h 30"/>
                <a:gd name="T6" fmla="*/ 5 w 16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0">
                  <a:moveTo>
                    <a:pt x="5" y="0"/>
                  </a:moveTo>
                  <a:cubicBezTo>
                    <a:pt x="0" y="17"/>
                    <a:pt x="7" y="19"/>
                    <a:pt x="13" y="30"/>
                  </a:cubicBezTo>
                  <a:cubicBezTo>
                    <a:pt x="16" y="15"/>
                    <a:pt x="7" y="15"/>
                    <a:pt x="8" y="4"/>
                  </a:cubicBezTo>
                  <a:cubicBezTo>
                    <a:pt x="7" y="2"/>
                    <a:pt x="7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34" name="Freeform 109"/>
            <p:cNvSpPr>
              <a:spLocks/>
            </p:cNvSpPr>
            <p:nvPr userDrawn="1"/>
          </p:nvSpPr>
          <p:spPr bwMode="auto">
            <a:xfrm>
              <a:off x="3100378" y="4646349"/>
              <a:ext cx="16124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35" name="Freeform 110"/>
            <p:cNvSpPr>
              <a:spLocks/>
            </p:cNvSpPr>
            <p:nvPr userDrawn="1"/>
          </p:nvSpPr>
          <p:spPr bwMode="auto">
            <a:xfrm>
              <a:off x="3201152" y="4627538"/>
              <a:ext cx="34935" cy="65839"/>
            </a:xfrm>
            <a:custGeom>
              <a:avLst/>
              <a:gdLst>
                <a:gd name="T0" fmla="*/ 0 w 11"/>
                <a:gd name="T1" fmla="*/ 10 h 21"/>
                <a:gd name="T2" fmla="*/ 8 w 11"/>
                <a:gd name="T3" fmla="*/ 21 h 21"/>
                <a:gd name="T4" fmla="*/ 0 w 11"/>
                <a:gd name="T5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1">
                  <a:moveTo>
                    <a:pt x="0" y="10"/>
                  </a:moveTo>
                  <a:cubicBezTo>
                    <a:pt x="6" y="9"/>
                    <a:pt x="3" y="21"/>
                    <a:pt x="8" y="21"/>
                  </a:cubicBezTo>
                  <a:cubicBezTo>
                    <a:pt x="11" y="12"/>
                    <a:pt x="3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36" name="Freeform 111"/>
            <p:cNvSpPr>
              <a:spLocks/>
            </p:cNvSpPr>
            <p:nvPr userDrawn="1"/>
          </p:nvSpPr>
          <p:spPr bwMode="auto">
            <a:xfrm>
              <a:off x="2893456" y="4671879"/>
              <a:ext cx="18811" cy="44341"/>
            </a:xfrm>
            <a:custGeom>
              <a:avLst/>
              <a:gdLst>
                <a:gd name="T0" fmla="*/ 0 w 6"/>
                <a:gd name="T1" fmla="*/ 14 h 14"/>
                <a:gd name="T2" fmla="*/ 6 w 6"/>
                <a:gd name="T3" fmla="*/ 14 h 14"/>
                <a:gd name="T4" fmla="*/ 6 w 6"/>
                <a:gd name="T5" fmla="*/ 0 h 14"/>
                <a:gd name="T6" fmla="*/ 0 w 6"/>
                <a:gd name="T7" fmla="*/ 0 h 14"/>
                <a:gd name="T8" fmla="*/ 0 w 6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2" y="14"/>
                    <a:pt x="4" y="14"/>
                    <a:pt x="6" y="14"/>
                  </a:cubicBezTo>
                  <a:cubicBezTo>
                    <a:pt x="6" y="10"/>
                    <a:pt x="6" y="5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37" name="Freeform 112"/>
            <p:cNvSpPr>
              <a:spLocks/>
            </p:cNvSpPr>
            <p:nvPr userDrawn="1"/>
          </p:nvSpPr>
          <p:spPr bwMode="auto">
            <a:xfrm>
              <a:off x="3370452" y="4671879"/>
              <a:ext cx="21498" cy="44341"/>
            </a:xfrm>
            <a:custGeom>
              <a:avLst/>
              <a:gdLst>
                <a:gd name="T0" fmla="*/ 1 w 7"/>
                <a:gd name="T1" fmla="*/ 0 h 14"/>
                <a:gd name="T2" fmla="*/ 4 w 7"/>
                <a:gd name="T3" fmla="*/ 14 h 14"/>
                <a:gd name="T4" fmla="*/ 1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1" y="0"/>
                  </a:moveTo>
                  <a:cubicBezTo>
                    <a:pt x="1" y="5"/>
                    <a:pt x="0" y="13"/>
                    <a:pt x="4" y="14"/>
                  </a:cubicBezTo>
                  <a:cubicBezTo>
                    <a:pt x="7" y="10"/>
                    <a:pt x="7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38" name="Freeform 113"/>
            <p:cNvSpPr>
              <a:spLocks/>
            </p:cNvSpPr>
            <p:nvPr userDrawn="1"/>
          </p:nvSpPr>
          <p:spPr bwMode="auto">
            <a:xfrm>
              <a:off x="3280428" y="4681284"/>
              <a:ext cx="32248" cy="34935"/>
            </a:xfrm>
            <a:custGeom>
              <a:avLst/>
              <a:gdLst>
                <a:gd name="T0" fmla="*/ 5 w 10"/>
                <a:gd name="T1" fmla="*/ 0 h 11"/>
                <a:gd name="T2" fmla="*/ 5 w 10"/>
                <a:gd name="T3" fmla="*/ 11 h 11"/>
                <a:gd name="T4" fmla="*/ 5 w 10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5" y="0"/>
                  </a:moveTo>
                  <a:cubicBezTo>
                    <a:pt x="4" y="5"/>
                    <a:pt x="0" y="9"/>
                    <a:pt x="5" y="11"/>
                  </a:cubicBezTo>
                  <a:cubicBezTo>
                    <a:pt x="5" y="7"/>
                    <a:pt x="10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39" name="Freeform 114"/>
            <p:cNvSpPr>
              <a:spLocks/>
            </p:cNvSpPr>
            <p:nvPr userDrawn="1"/>
          </p:nvSpPr>
          <p:spPr bwMode="auto">
            <a:xfrm>
              <a:off x="3410762" y="4690690"/>
              <a:ext cx="29560" cy="79275"/>
            </a:xfrm>
            <a:custGeom>
              <a:avLst/>
              <a:gdLst>
                <a:gd name="T0" fmla="*/ 1 w 9"/>
                <a:gd name="T1" fmla="*/ 20 h 25"/>
                <a:gd name="T2" fmla="*/ 4 w 9"/>
                <a:gd name="T3" fmla="*/ 1 h 25"/>
                <a:gd name="T4" fmla="*/ 1 w 9"/>
                <a:gd name="T5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5">
                  <a:moveTo>
                    <a:pt x="1" y="20"/>
                  </a:moveTo>
                  <a:cubicBezTo>
                    <a:pt x="9" y="25"/>
                    <a:pt x="8" y="0"/>
                    <a:pt x="4" y="1"/>
                  </a:cubicBezTo>
                  <a:cubicBezTo>
                    <a:pt x="6" y="12"/>
                    <a:pt x="0" y="11"/>
                    <a:pt x="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40" name="Freeform 115"/>
            <p:cNvSpPr>
              <a:spLocks/>
            </p:cNvSpPr>
            <p:nvPr userDrawn="1"/>
          </p:nvSpPr>
          <p:spPr bwMode="auto">
            <a:xfrm>
              <a:off x="3468539" y="4712188"/>
              <a:ext cx="25529" cy="29560"/>
            </a:xfrm>
            <a:custGeom>
              <a:avLst/>
              <a:gdLst>
                <a:gd name="T0" fmla="*/ 0 w 8"/>
                <a:gd name="T1" fmla="*/ 1 h 9"/>
                <a:gd name="T2" fmla="*/ 0 w 8"/>
                <a:gd name="T3" fmla="*/ 9 h 9"/>
                <a:gd name="T4" fmla="*/ 8 w 8"/>
                <a:gd name="T5" fmla="*/ 9 h 9"/>
                <a:gd name="T6" fmla="*/ 0 w 8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5" y="9"/>
                    <a:pt x="8" y="9"/>
                  </a:cubicBezTo>
                  <a:cubicBezTo>
                    <a:pt x="8" y="2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41" name="Freeform 116"/>
            <p:cNvSpPr>
              <a:spLocks/>
            </p:cNvSpPr>
            <p:nvPr userDrawn="1"/>
          </p:nvSpPr>
          <p:spPr bwMode="auto">
            <a:xfrm>
              <a:off x="3135313" y="4737718"/>
              <a:ext cx="51059" cy="57777"/>
            </a:xfrm>
            <a:custGeom>
              <a:avLst/>
              <a:gdLst>
                <a:gd name="T0" fmla="*/ 0 w 16"/>
                <a:gd name="T1" fmla="*/ 8 h 18"/>
                <a:gd name="T2" fmla="*/ 13 w 16"/>
                <a:gd name="T3" fmla="*/ 16 h 18"/>
                <a:gd name="T4" fmla="*/ 16 w 16"/>
                <a:gd name="T5" fmla="*/ 5 h 18"/>
                <a:gd name="T6" fmla="*/ 0 w 16"/>
                <a:gd name="T7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8">
                  <a:moveTo>
                    <a:pt x="0" y="8"/>
                  </a:moveTo>
                  <a:cubicBezTo>
                    <a:pt x="8" y="6"/>
                    <a:pt x="5" y="18"/>
                    <a:pt x="13" y="16"/>
                  </a:cubicBezTo>
                  <a:cubicBezTo>
                    <a:pt x="13" y="11"/>
                    <a:pt x="14" y="8"/>
                    <a:pt x="16" y="5"/>
                  </a:cubicBezTo>
                  <a:cubicBezTo>
                    <a:pt x="11" y="7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42" name="Freeform 117"/>
            <p:cNvSpPr>
              <a:spLocks/>
            </p:cNvSpPr>
            <p:nvPr userDrawn="1"/>
          </p:nvSpPr>
          <p:spPr bwMode="auto">
            <a:xfrm>
              <a:off x="3379858" y="4776684"/>
              <a:ext cx="47028" cy="65839"/>
            </a:xfrm>
            <a:custGeom>
              <a:avLst/>
              <a:gdLst>
                <a:gd name="T0" fmla="*/ 3 w 15"/>
                <a:gd name="T1" fmla="*/ 0 h 21"/>
                <a:gd name="T2" fmla="*/ 3 w 15"/>
                <a:gd name="T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1">
                  <a:moveTo>
                    <a:pt x="3" y="0"/>
                  </a:moveTo>
                  <a:cubicBezTo>
                    <a:pt x="0" y="21"/>
                    <a:pt x="15" y="2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43" name="Freeform 118"/>
            <p:cNvSpPr>
              <a:spLocks/>
            </p:cNvSpPr>
            <p:nvPr userDrawn="1"/>
          </p:nvSpPr>
          <p:spPr bwMode="auto">
            <a:xfrm>
              <a:off x="3452415" y="4798182"/>
              <a:ext cx="32248" cy="79275"/>
            </a:xfrm>
            <a:custGeom>
              <a:avLst/>
              <a:gdLst>
                <a:gd name="T0" fmla="*/ 5 w 10"/>
                <a:gd name="T1" fmla="*/ 0 h 25"/>
                <a:gd name="T2" fmla="*/ 2 w 10"/>
                <a:gd name="T3" fmla="*/ 19 h 25"/>
                <a:gd name="T4" fmla="*/ 5 w 10"/>
                <a:gd name="T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5">
                  <a:moveTo>
                    <a:pt x="5" y="0"/>
                  </a:moveTo>
                  <a:cubicBezTo>
                    <a:pt x="6" y="9"/>
                    <a:pt x="0" y="8"/>
                    <a:pt x="2" y="19"/>
                  </a:cubicBezTo>
                  <a:cubicBezTo>
                    <a:pt x="10" y="25"/>
                    <a:pt x="9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44" name="Freeform 119"/>
            <p:cNvSpPr>
              <a:spLocks/>
            </p:cNvSpPr>
            <p:nvPr userDrawn="1"/>
          </p:nvSpPr>
          <p:spPr bwMode="auto">
            <a:xfrm>
              <a:off x="3357016" y="4807588"/>
              <a:ext cx="104805" cy="69870"/>
            </a:xfrm>
            <a:custGeom>
              <a:avLst/>
              <a:gdLst>
                <a:gd name="T0" fmla="*/ 2 w 33"/>
                <a:gd name="T1" fmla="*/ 5 h 22"/>
                <a:gd name="T2" fmla="*/ 16 w 33"/>
                <a:gd name="T3" fmla="*/ 12 h 22"/>
                <a:gd name="T4" fmla="*/ 24 w 33"/>
                <a:gd name="T5" fmla="*/ 20 h 22"/>
                <a:gd name="T6" fmla="*/ 2 w 33"/>
                <a:gd name="T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22">
                  <a:moveTo>
                    <a:pt x="2" y="5"/>
                  </a:moveTo>
                  <a:cubicBezTo>
                    <a:pt x="0" y="17"/>
                    <a:pt x="11" y="10"/>
                    <a:pt x="16" y="12"/>
                  </a:cubicBezTo>
                  <a:cubicBezTo>
                    <a:pt x="18" y="13"/>
                    <a:pt x="18" y="22"/>
                    <a:pt x="24" y="20"/>
                  </a:cubicBezTo>
                  <a:cubicBezTo>
                    <a:pt x="33" y="6"/>
                    <a:pt x="7" y="0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45" name="Freeform 120"/>
            <p:cNvSpPr>
              <a:spLocks/>
            </p:cNvSpPr>
            <p:nvPr userDrawn="1"/>
          </p:nvSpPr>
          <p:spPr bwMode="auto">
            <a:xfrm>
              <a:off x="3484663" y="4802213"/>
              <a:ext cx="84650" cy="107492"/>
            </a:xfrm>
            <a:custGeom>
              <a:avLst/>
              <a:gdLst>
                <a:gd name="T0" fmla="*/ 16 w 27"/>
                <a:gd name="T1" fmla="*/ 14 h 34"/>
                <a:gd name="T2" fmla="*/ 21 w 27"/>
                <a:gd name="T3" fmla="*/ 3 h 34"/>
                <a:gd name="T4" fmla="*/ 11 w 27"/>
                <a:gd name="T5" fmla="*/ 18 h 34"/>
                <a:gd name="T6" fmla="*/ 5 w 27"/>
                <a:gd name="T7" fmla="*/ 22 h 34"/>
                <a:gd name="T8" fmla="*/ 21 w 27"/>
                <a:gd name="T9" fmla="*/ 22 h 34"/>
                <a:gd name="T10" fmla="*/ 27 w 27"/>
                <a:gd name="T11" fmla="*/ 33 h 34"/>
                <a:gd name="T12" fmla="*/ 27 w 27"/>
                <a:gd name="T13" fmla="*/ 18 h 34"/>
                <a:gd name="T14" fmla="*/ 16 w 27"/>
                <a:gd name="T15" fmla="*/ 1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34">
                  <a:moveTo>
                    <a:pt x="16" y="14"/>
                  </a:moveTo>
                  <a:cubicBezTo>
                    <a:pt x="21" y="15"/>
                    <a:pt x="22" y="10"/>
                    <a:pt x="21" y="3"/>
                  </a:cubicBezTo>
                  <a:cubicBezTo>
                    <a:pt x="12" y="0"/>
                    <a:pt x="17" y="17"/>
                    <a:pt x="11" y="18"/>
                  </a:cubicBezTo>
                  <a:cubicBezTo>
                    <a:pt x="7" y="18"/>
                    <a:pt x="0" y="19"/>
                    <a:pt x="5" y="22"/>
                  </a:cubicBezTo>
                  <a:cubicBezTo>
                    <a:pt x="14" y="20"/>
                    <a:pt x="16" y="30"/>
                    <a:pt x="21" y="22"/>
                  </a:cubicBezTo>
                  <a:cubicBezTo>
                    <a:pt x="22" y="27"/>
                    <a:pt x="21" y="34"/>
                    <a:pt x="27" y="33"/>
                  </a:cubicBezTo>
                  <a:cubicBezTo>
                    <a:pt x="27" y="28"/>
                    <a:pt x="27" y="23"/>
                    <a:pt x="27" y="18"/>
                  </a:cubicBezTo>
                  <a:cubicBezTo>
                    <a:pt x="23" y="9"/>
                    <a:pt x="19" y="25"/>
                    <a:pt x="1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46" name="Freeform 121"/>
            <p:cNvSpPr>
              <a:spLocks/>
            </p:cNvSpPr>
            <p:nvPr userDrawn="1"/>
          </p:nvSpPr>
          <p:spPr bwMode="auto">
            <a:xfrm>
              <a:off x="3585437" y="4823711"/>
              <a:ext cx="34935" cy="53746"/>
            </a:xfrm>
            <a:custGeom>
              <a:avLst/>
              <a:gdLst>
                <a:gd name="T0" fmla="*/ 0 w 11"/>
                <a:gd name="T1" fmla="*/ 0 h 17"/>
                <a:gd name="T2" fmla="*/ 3 w 11"/>
                <a:gd name="T3" fmla="*/ 7 h 17"/>
                <a:gd name="T4" fmla="*/ 11 w 11"/>
                <a:gd name="T5" fmla="*/ 15 h 17"/>
                <a:gd name="T6" fmla="*/ 0 w 11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7">
                  <a:moveTo>
                    <a:pt x="0" y="0"/>
                  </a:moveTo>
                  <a:cubicBezTo>
                    <a:pt x="1" y="3"/>
                    <a:pt x="0" y="7"/>
                    <a:pt x="3" y="7"/>
                  </a:cubicBezTo>
                  <a:cubicBezTo>
                    <a:pt x="7" y="7"/>
                    <a:pt x="5" y="17"/>
                    <a:pt x="11" y="15"/>
                  </a:cubicBezTo>
                  <a:cubicBezTo>
                    <a:pt x="11" y="5"/>
                    <a:pt x="7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47" name="Freeform 122"/>
            <p:cNvSpPr>
              <a:spLocks/>
            </p:cNvSpPr>
            <p:nvPr userDrawn="1"/>
          </p:nvSpPr>
          <p:spPr bwMode="auto">
            <a:xfrm>
              <a:off x="3569313" y="4849241"/>
              <a:ext cx="41653" cy="57777"/>
            </a:xfrm>
            <a:custGeom>
              <a:avLst/>
              <a:gdLst>
                <a:gd name="T0" fmla="*/ 2 w 13"/>
                <a:gd name="T1" fmla="*/ 3 h 18"/>
                <a:gd name="T2" fmla="*/ 13 w 13"/>
                <a:gd name="T3" fmla="*/ 10 h 18"/>
                <a:gd name="T4" fmla="*/ 2 w 13"/>
                <a:gd name="T5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2" y="3"/>
                  </a:moveTo>
                  <a:cubicBezTo>
                    <a:pt x="0" y="11"/>
                    <a:pt x="12" y="18"/>
                    <a:pt x="13" y="10"/>
                  </a:cubicBezTo>
                  <a:cubicBezTo>
                    <a:pt x="8" y="10"/>
                    <a:pt x="10" y="0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48" name="Freeform 123"/>
            <p:cNvSpPr>
              <a:spLocks/>
            </p:cNvSpPr>
            <p:nvPr userDrawn="1"/>
          </p:nvSpPr>
          <p:spPr bwMode="auto">
            <a:xfrm>
              <a:off x="3692929" y="4881488"/>
              <a:ext cx="22842" cy="47028"/>
            </a:xfrm>
            <a:custGeom>
              <a:avLst/>
              <a:gdLst>
                <a:gd name="T0" fmla="*/ 1 w 7"/>
                <a:gd name="T1" fmla="*/ 0 h 15"/>
                <a:gd name="T2" fmla="*/ 4 w 7"/>
                <a:gd name="T3" fmla="*/ 15 h 15"/>
                <a:gd name="T4" fmla="*/ 1 w 7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5">
                  <a:moveTo>
                    <a:pt x="1" y="0"/>
                  </a:moveTo>
                  <a:cubicBezTo>
                    <a:pt x="2" y="6"/>
                    <a:pt x="0" y="14"/>
                    <a:pt x="4" y="15"/>
                  </a:cubicBezTo>
                  <a:cubicBezTo>
                    <a:pt x="7" y="10"/>
                    <a:pt x="7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49" name="Freeform 124"/>
            <p:cNvSpPr>
              <a:spLocks/>
            </p:cNvSpPr>
            <p:nvPr userDrawn="1"/>
          </p:nvSpPr>
          <p:spPr bwMode="auto">
            <a:xfrm>
              <a:off x="6318424" y="5769642"/>
              <a:ext cx="16124" cy="37622"/>
            </a:xfrm>
            <a:custGeom>
              <a:avLst/>
              <a:gdLst>
                <a:gd name="T0" fmla="*/ 0 w 5"/>
                <a:gd name="T1" fmla="*/ 1 h 12"/>
                <a:gd name="T2" fmla="*/ 0 w 5"/>
                <a:gd name="T3" fmla="*/ 9 h 12"/>
                <a:gd name="T4" fmla="*/ 5 w 5"/>
                <a:gd name="T5" fmla="*/ 12 h 12"/>
                <a:gd name="T6" fmla="*/ 0 w 5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2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3" y="12"/>
                    <a:pt x="5" y="12"/>
                  </a:cubicBezTo>
                  <a:cubicBezTo>
                    <a:pt x="5" y="7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50" name="Freeform 125"/>
            <p:cNvSpPr>
              <a:spLocks/>
            </p:cNvSpPr>
            <p:nvPr userDrawn="1"/>
          </p:nvSpPr>
          <p:spPr bwMode="auto">
            <a:xfrm>
              <a:off x="6753768" y="5832794"/>
              <a:ext cx="47028" cy="69870"/>
            </a:xfrm>
            <a:custGeom>
              <a:avLst/>
              <a:gdLst>
                <a:gd name="T0" fmla="*/ 2 w 15"/>
                <a:gd name="T1" fmla="*/ 0 h 22"/>
                <a:gd name="T2" fmla="*/ 2 w 15"/>
                <a:gd name="T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2">
                  <a:moveTo>
                    <a:pt x="2" y="0"/>
                  </a:moveTo>
                  <a:cubicBezTo>
                    <a:pt x="0" y="22"/>
                    <a:pt x="15" y="2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51" name="Freeform 126"/>
            <p:cNvSpPr>
              <a:spLocks/>
            </p:cNvSpPr>
            <p:nvPr userDrawn="1"/>
          </p:nvSpPr>
          <p:spPr bwMode="auto">
            <a:xfrm>
              <a:off x="7911995" y="5820701"/>
              <a:ext cx="47028" cy="126303"/>
            </a:xfrm>
            <a:custGeom>
              <a:avLst/>
              <a:gdLst>
                <a:gd name="T0" fmla="*/ 0 w 15"/>
                <a:gd name="T1" fmla="*/ 30 h 40"/>
                <a:gd name="T2" fmla="*/ 11 w 15"/>
                <a:gd name="T3" fmla="*/ 37 h 40"/>
                <a:gd name="T4" fmla="*/ 6 w 15"/>
                <a:gd name="T5" fmla="*/ 26 h 40"/>
                <a:gd name="T6" fmla="*/ 8 w 15"/>
                <a:gd name="T7" fmla="*/ 15 h 40"/>
                <a:gd name="T8" fmla="*/ 14 w 15"/>
                <a:gd name="T9" fmla="*/ 11 h 40"/>
                <a:gd name="T10" fmla="*/ 0 w 15"/>
                <a:gd name="T11" fmla="*/ 3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40">
                  <a:moveTo>
                    <a:pt x="0" y="30"/>
                  </a:moveTo>
                  <a:cubicBezTo>
                    <a:pt x="6" y="30"/>
                    <a:pt x="4" y="40"/>
                    <a:pt x="11" y="37"/>
                  </a:cubicBezTo>
                  <a:cubicBezTo>
                    <a:pt x="12" y="30"/>
                    <a:pt x="8" y="30"/>
                    <a:pt x="6" y="26"/>
                  </a:cubicBezTo>
                  <a:cubicBezTo>
                    <a:pt x="10" y="27"/>
                    <a:pt x="7" y="18"/>
                    <a:pt x="8" y="15"/>
                  </a:cubicBezTo>
                  <a:cubicBezTo>
                    <a:pt x="10" y="13"/>
                    <a:pt x="15" y="16"/>
                    <a:pt x="14" y="11"/>
                  </a:cubicBezTo>
                  <a:cubicBezTo>
                    <a:pt x="5" y="0"/>
                    <a:pt x="2" y="19"/>
                    <a:pt x="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52" name="Freeform 127"/>
            <p:cNvSpPr>
              <a:spLocks/>
            </p:cNvSpPr>
            <p:nvPr userDrawn="1"/>
          </p:nvSpPr>
          <p:spPr bwMode="auto">
            <a:xfrm>
              <a:off x="6912318" y="5846230"/>
              <a:ext cx="40310" cy="34935"/>
            </a:xfrm>
            <a:custGeom>
              <a:avLst/>
              <a:gdLst>
                <a:gd name="T0" fmla="*/ 1 w 13"/>
                <a:gd name="T1" fmla="*/ 7 h 11"/>
                <a:gd name="T2" fmla="*/ 3 w 13"/>
                <a:gd name="T3" fmla="*/ 11 h 11"/>
                <a:gd name="T4" fmla="*/ 9 w 13"/>
                <a:gd name="T5" fmla="*/ 11 h 11"/>
                <a:gd name="T6" fmla="*/ 1 w 13"/>
                <a:gd name="T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1" y="7"/>
                  </a:moveTo>
                  <a:cubicBezTo>
                    <a:pt x="2" y="7"/>
                    <a:pt x="4" y="7"/>
                    <a:pt x="3" y="11"/>
                  </a:cubicBezTo>
                  <a:cubicBezTo>
                    <a:pt x="5" y="11"/>
                    <a:pt x="7" y="11"/>
                    <a:pt x="9" y="11"/>
                  </a:cubicBezTo>
                  <a:cubicBezTo>
                    <a:pt x="13" y="2"/>
                    <a:pt x="0" y="0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53" name="Freeform 128"/>
            <p:cNvSpPr>
              <a:spLocks/>
            </p:cNvSpPr>
            <p:nvPr userDrawn="1"/>
          </p:nvSpPr>
          <p:spPr bwMode="auto">
            <a:xfrm>
              <a:off x="7280479" y="5839512"/>
              <a:ext cx="56433" cy="67183"/>
            </a:xfrm>
            <a:custGeom>
              <a:avLst/>
              <a:gdLst>
                <a:gd name="T0" fmla="*/ 0 w 18"/>
                <a:gd name="T1" fmla="*/ 13 h 21"/>
                <a:gd name="T2" fmla="*/ 14 w 18"/>
                <a:gd name="T3" fmla="*/ 20 h 21"/>
                <a:gd name="T4" fmla="*/ 0 w 18"/>
                <a:gd name="T5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cubicBezTo>
                    <a:pt x="6" y="14"/>
                    <a:pt x="7" y="21"/>
                    <a:pt x="14" y="20"/>
                  </a:cubicBezTo>
                  <a:cubicBezTo>
                    <a:pt x="18" y="4"/>
                    <a:pt x="2" y="0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54" name="Freeform 129"/>
            <p:cNvSpPr>
              <a:spLocks/>
            </p:cNvSpPr>
            <p:nvPr userDrawn="1"/>
          </p:nvSpPr>
          <p:spPr bwMode="auto">
            <a:xfrm>
              <a:off x="7365129" y="5855636"/>
              <a:ext cx="41653" cy="34935"/>
            </a:xfrm>
            <a:custGeom>
              <a:avLst/>
              <a:gdLst>
                <a:gd name="T0" fmla="*/ 0 w 13"/>
                <a:gd name="T1" fmla="*/ 8 h 11"/>
                <a:gd name="T2" fmla="*/ 6 w 13"/>
                <a:gd name="T3" fmla="*/ 11 h 11"/>
                <a:gd name="T4" fmla="*/ 0 w 13"/>
                <a:gd name="T5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8"/>
                  </a:moveTo>
                  <a:cubicBezTo>
                    <a:pt x="3" y="8"/>
                    <a:pt x="4" y="11"/>
                    <a:pt x="6" y="11"/>
                  </a:cubicBezTo>
                  <a:cubicBezTo>
                    <a:pt x="13" y="4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55" name="Freeform 130"/>
            <p:cNvSpPr>
              <a:spLocks/>
            </p:cNvSpPr>
            <p:nvPr userDrawn="1"/>
          </p:nvSpPr>
          <p:spPr bwMode="auto">
            <a:xfrm>
              <a:off x="8921078" y="1980544"/>
              <a:ext cx="72557" cy="142427"/>
            </a:xfrm>
            <a:custGeom>
              <a:avLst/>
              <a:gdLst>
                <a:gd name="T0" fmla="*/ 21 w 23"/>
                <a:gd name="T1" fmla="*/ 30 h 45"/>
                <a:gd name="T2" fmla="*/ 16 w 23"/>
                <a:gd name="T3" fmla="*/ 8 h 45"/>
                <a:gd name="T4" fmla="*/ 2 w 23"/>
                <a:gd name="T5" fmla="*/ 4 h 45"/>
                <a:gd name="T6" fmla="*/ 13 w 23"/>
                <a:gd name="T7" fmla="*/ 19 h 45"/>
                <a:gd name="T8" fmla="*/ 13 w 23"/>
                <a:gd name="T9" fmla="*/ 30 h 45"/>
                <a:gd name="T10" fmla="*/ 5 w 23"/>
                <a:gd name="T11" fmla="*/ 23 h 45"/>
                <a:gd name="T12" fmla="*/ 16 w 23"/>
                <a:gd name="T13" fmla="*/ 45 h 45"/>
                <a:gd name="T14" fmla="*/ 21 w 23"/>
                <a:gd name="T15" fmla="*/ 3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45">
                  <a:moveTo>
                    <a:pt x="21" y="30"/>
                  </a:moveTo>
                  <a:cubicBezTo>
                    <a:pt x="23" y="21"/>
                    <a:pt x="18" y="10"/>
                    <a:pt x="16" y="8"/>
                  </a:cubicBezTo>
                  <a:cubicBezTo>
                    <a:pt x="12" y="20"/>
                    <a:pt x="9" y="0"/>
                    <a:pt x="2" y="4"/>
                  </a:cubicBezTo>
                  <a:cubicBezTo>
                    <a:pt x="0" y="17"/>
                    <a:pt x="12" y="11"/>
                    <a:pt x="13" y="19"/>
                  </a:cubicBezTo>
                  <a:cubicBezTo>
                    <a:pt x="14" y="24"/>
                    <a:pt x="18" y="28"/>
                    <a:pt x="13" y="30"/>
                  </a:cubicBezTo>
                  <a:cubicBezTo>
                    <a:pt x="9" y="30"/>
                    <a:pt x="11" y="21"/>
                    <a:pt x="5" y="23"/>
                  </a:cubicBezTo>
                  <a:cubicBezTo>
                    <a:pt x="6" y="35"/>
                    <a:pt x="7" y="45"/>
                    <a:pt x="16" y="45"/>
                  </a:cubicBezTo>
                  <a:cubicBezTo>
                    <a:pt x="11" y="36"/>
                    <a:pt x="22" y="26"/>
                    <a:pt x="2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56" name="Freeform 131"/>
            <p:cNvSpPr>
              <a:spLocks/>
            </p:cNvSpPr>
            <p:nvPr userDrawn="1"/>
          </p:nvSpPr>
          <p:spPr bwMode="auto">
            <a:xfrm>
              <a:off x="2601884" y="2917069"/>
              <a:ext cx="72557" cy="154520"/>
            </a:xfrm>
            <a:custGeom>
              <a:avLst/>
              <a:gdLst>
                <a:gd name="T0" fmla="*/ 17 w 23"/>
                <a:gd name="T1" fmla="*/ 31 h 49"/>
                <a:gd name="T2" fmla="*/ 12 w 23"/>
                <a:gd name="T3" fmla="*/ 46 h 49"/>
                <a:gd name="T4" fmla="*/ 17 w 23"/>
                <a:gd name="T5" fmla="*/ 35 h 49"/>
                <a:gd name="T6" fmla="*/ 22 w 23"/>
                <a:gd name="T7" fmla="*/ 28 h 49"/>
                <a:gd name="T8" fmla="*/ 17 w 23"/>
                <a:gd name="T9" fmla="*/ 16 h 49"/>
                <a:gd name="T10" fmla="*/ 12 w 23"/>
                <a:gd name="T11" fmla="*/ 2 h 49"/>
                <a:gd name="T12" fmla="*/ 4 w 23"/>
                <a:gd name="T13" fmla="*/ 9 h 49"/>
                <a:gd name="T14" fmla="*/ 1 w 23"/>
                <a:gd name="T15" fmla="*/ 13 h 49"/>
                <a:gd name="T16" fmla="*/ 9 w 23"/>
                <a:gd name="T17" fmla="*/ 20 h 49"/>
                <a:gd name="T18" fmla="*/ 1 w 23"/>
                <a:gd name="T19" fmla="*/ 20 h 49"/>
                <a:gd name="T20" fmla="*/ 6 w 23"/>
                <a:gd name="T21" fmla="*/ 28 h 49"/>
                <a:gd name="T22" fmla="*/ 17 w 23"/>
                <a:gd name="T23" fmla="*/ 3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9">
                  <a:moveTo>
                    <a:pt x="17" y="31"/>
                  </a:moveTo>
                  <a:cubicBezTo>
                    <a:pt x="13" y="34"/>
                    <a:pt x="12" y="39"/>
                    <a:pt x="12" y="46"/>
                  </a:cubicBezTo>
                  <a:cubicBezTo>
                    <a:pt x="19" y="49"/>
                    <a:pt x="15" y="40"/>
                    <a:pt x="17" y="35"/>
                  </a:cubicBezTo>
                  <a:cubicBezTo>
                    <a:pt x="18" y="32"/>
                    <a:pt x="23" y="32"/>
                    <a:pt x="22" y="28"/>
                  </a:cubicBezTo>
                  <a:cubicBezTo>
                    <a:pt x="15" y="29"/>
                    <a:pt x="19" y="22"/>
                    <a:pt x="17" y="16"/>
                  </a:cubicBezTo>
                  <a:cubicBezTo>
                    <a:pt x="16" y="13"/>
                    <a:pt x="7" y="9"/>
                    <a:pt x="12" y="2"/>
                  </a:cubicBezTo>
                  <a:cubicBezTo>
                    <a:pt x="6" y="0"/>
                    <a:pt x="6" y="7"/>
                    <a:pt x="4" y="9"/>
                  </a:cubicBezTo>
                  <a:cubicBezTo>
                    <a:pt x="2" y="9"/>
                    <a:pt x="0" y="10"/>
                    <a:pt x="1" y="13"/>
                  </a:cubicBezTo>
                  <a:cubicBezTo>
                    <a:pt x="5" y="13"/>
                    <a:pt x="10" y="12"/>
                    <a:pt x="9" y="20"/>
                  </a:cubicBezTo>
                  <a:cubicBezTo>
                    <a:pt x="6" y="20"/>
                    <a:pt x="3" y="14"/>
                    <a:pt x="1" y="20"/>
                  </a:cubicBezTo>
                  <a:cubicBezTo>
                    <a:pt x="4" y="21"/>
                    <a:pt x="5" y="24"/>
                    <a:pt x="6" y="28"/>
                  </a:cubicBezTo>
                  <a:cubicBezTo>
                    <a:pt x="13" y="27"/>
                    <a:pt x="15" y="21"/>
                    <a:pt x="1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57" name="Freeform 132"/>
            <p:cNvSpPr>
              <a:spLocks/>
            </p:cNvSpPr>
            <p:nvPr userDrawn="1"/>
          </p:nvSpPr>
          <p:spPr bwMode="auto">
            <a:xfrm>
              <a:off x="4563615" y="1735999"/>
              <a:ext cx="37622" cy="47028"/>
            </a:xfrm>
            <a:custGeom>
              <a:avLst/>
              <a:gdLst>
                <a:gd name="T0" fmla="*/ 12 w 12"/>
                <a:gd name="T1" fmla="*/ 0 h 15"/>
                <a:gd name="T2" fmla="*/ 1 w 12"/>
                <a:gd name="T3" fmla="*/ 4 h 15"/>
                <a:gd name="T4" fmla="*/ 12 w 1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12" y="0"/>
                  </a:moveTo>
                  <a:cubicBezTo>
                    <a:pt x="7" y="3"/>
                    <a:pt x="0" y="1"/>
                    <a:pt x="1" y="4"/>
                  </a:cubicBezTo>
                  <a:cubicBezTo>
                    <a:pt x="3" y="6"/>
                    <a:pt x="12" y="15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58" name="Freeform 133"/>
            <p:cNvSpPr>
              <a:spLocks/>
            </p:cNvSpPr>
            <p:nvPr userDrawn="1"/>
          </p:nvSpPr>
          <p:spPr bwMode="auto">
            <a:xfrm>
              <a:off x="7891841" y="1729281"/>
              <a:ext cx="99430" cy="76588"/>
            </a:xfrm>
            <a:custGeom>
              <a:avLst/>
              <a:gdLst>
                <a:gd name="T0" fmla="*/ 28 w 31"/>
                <a:gd name="T1" fmla="*/ 17 h 24"/>
                <a:gd name="T2" fmla="*/ 28 w 31"/>
                <a:gd name="T3" fmla="*/ 2 h 24"/>
                <a:gd name="T4" fmla="*/ 20 w 31"/>
                <a:gd name="T5" fmla="*/ 13 h 24"/>
                <a:gd name="T6" fmla="*/ 12 w 31"/>
                <a:gd name="T7" fmla="*/ 2 h 24"/>
                <a:gd name="T8" fmla="*/ 1 w 31"/>
                <a:gd name="T9" fmla="*/ 6 h 24"/>
                <a:gd name="T10" fmla="*/ 4 w 31"/>
                <a:gd name="T11" fmla="*/ 21 h 24"/>
                <a:gd name="T12" fmla="*/ 28 w 31"/>
                <a:gd name="T13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4">
                  <a:moveTo>
                    <a:pt x="28" y="17"/>
                  </a:moveTo>
                  <a:cubicBezTo>
                    <a:pt x="28" y="12"/>
                    <a:pt x="28" y="7"/>
                    <a:pt x="28" y="2"/>
                  </a:cubicBezTo>
                  <a:cubicBezTo>
                    <a:pt x="17" y="0"/>
                    <a:pt x="31" y="12"/>
                    <a:pt x="20" y="13"/>
                  </a:cubicBezTo>
                  <a:cubicBezTo>
                    <a:pt x="17" y="10"/>
                    <a:pt x="19" y="0"/>
                    <a:pt x="12" y="2"/>
                  </a:cubicBezTo>
                  <a:cubicBezTo>
                    <a:pt x="12" y="24"/>
                    <a:pt x="11" y="1"/>
                    <a:pt x="1" y="6"/>
                  </a:cubicBezTo>
                  <a:cubicBezTo>
                    <a:pt x="0" y="13"/>
                    <a:pt x="4" y="14"/>
                    <a:pt x="4" y="21"/>
                  </a:cubicBezTo>
                  <a:cubicBezTo>
                    <a:pt x="16" y="17"/>
                    <a:pt x="20" y="11"/>
                    <a:pt x="2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59" name="Freeform 134"/>
            <p:cNvSpPr>
              <a:spLocks/>
            </p:cNvSpPr>
            <p:nvPr userDrawn="1"/>
          </p:nvSpPr>
          <p:spPr bwMode="auto">
            <a:xfrm>
              <a:off x="8168633" y="1726594"/>
              <a:ext cx="104805" cy="110179"/>
            </a:xfrm>
            <a:custGeom>
              <a:avLst/>
              <a:gdLst>
                <a:gd name="T0" fmla="*/ 5 w 33"/>
                <a:gd name="T1" fmla="*/ 18 h 35"/>
                <a:gd name="T2" fmla="*/ 32 w 33"/>
                <a:gd name="T3" fmla="*/ 10 h 35"/>
                <a:gd name="T4" fmla="*/ 24 w 33"/>
                <a:gd name="T5" fmla="*/ 18 h 35"/>
                <a:gd name="T6" fmla="*/ 0 w 33"/>
                <a:gd name="T7" fmla="*/ 7 h 35"/>
                <a:gd name="T8" fmla="*/ 5 w 33"/>
                <a:gd name="T9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5">
                  <a:moveTo>
                    <a:pt x="5" y="18"/>
                  </a:moveTo>
                  <a:cubicBezTo>
                    <a:pt x="10" y="7"/>
                    <a:pt x="33" y="35"/>
                    <a:pt x="32" y="10"/>
                  </a:cubicBezTo>
                  <a:cubicBezTo>
                    <a:pt x="27" y="9"/>
                    <a:pt x="27" y="15"/>
                    <a:pt x="24" y="18"/>
                  </a:cubicBezTo>
                  <a:cubicBezTo>
                    <a:pt x="17" y="9"/>
                    <a:pt x="4" y="0"/>
                    <a:pt x="0" y="7"/>
                  </a:cubicBezTo>
                  <a:cubicBezTo>
                    <a:pt x="5" y="7"/>
                    <a:pt x="2" y="17"/>
                    <a:pt x="5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60" name="Freeform 135"/>
            <p:cNvSpPr>
              <a:spLocks/>
            </p:cNvSpPr>
            <p:nvPr userDrawn="1"/>
          </p:nvSpPr>
          <p:spPr bwMode="auto">
            <a:xfrm>
              <a:off x="4878030" y="1748092"/>
              <a:ext cx="79275" cy="48371"/>
            </a:xfrm>
            <a:custGeom>
              <a:avLst/>
              <a:gdLst>
                <a:gd name="T0" fmla="*/ 18 w 25"/>
                <a:gd name="T1" fmla="*/ 3 h 15"/>
                <a:gd name="T2" fmla="*/ 5 w 25"/>
                <a:gd name="T3" fmla="*/ 0 h 15"/>
                <a:gd name="T4" fmla="*/ 13 w 25"/>
                <a:gd name="T5" fmla="*/ 11 h 15"/>
                <a:gd name="T6" fmla="*/ 18 w 25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5">
                  <a:moveTo>
                    <a:pt x="18" y="3"/>
                  </a:moveTo>
                  <a:cubicBezTo>
                    <a:pt x="16" y="14"/>
                    <a:pt x="9" y="0"/>
                    <a:pt x="5" y="0"/>
                  </a:cubicBezTo>
                  <a:cubicBezTo>
                    <a:pt x="0" y="13"/>
                    <a:pt x="14" y="2"/>
                    <a:pt x="13" y="11"/>
                  </a:cubicBezTo>
                  <a:cubicBezTo>
                    <a:pt x="18" y="15"/>
                    <a:pt x="25" y="5"/>
                    <a:pt x="1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61" name="Freeform 136"/>
            <p:cNvSpPr>
              <a:spLocks/>
            </p:cNvSpPr>
            <p:nvPr userDrawn="1"/>
          </p:nvSpPr>
          <p:spPr bwMode="auto">
            <a:xfrm>
              <a:off x="4804129" y="1773622"/>
              <a:ext cx="146458" cy="73901"/>
            </a:xfrm>
            <a:custGeom>
              <a:avLst/>
              <a:gdLst>
                <a:gd name="T0" fmla="*/ 3 w 46"/>
                <a:gd name="T1" fmla="*/ 18 h 23"/>
                <a:gd name="T2" fmla="*/ 14 w 46"/>
                <a:gd name="T3" fmla="*/ 18 h 23"/>
                <a:gd name="T4" fmla="*/ 33 w 46"/>
                <a:gd name="T5" fmla="*/ 15 h 23"/>
                <a:gd name="T6" fmla="*/ 33 w 46"/>
                <a:gd name="T7" fmla="*/ 14 h 23"/>
                <a:gd name="T8" fmla="*/ 33 w 46"/>
                <a:gd name="T9" fmla="*/ 15 h 23"/>
                <a:gd name="T10" fmla="*/ 44 w 46"/>
                <a:gd name="T11" fmla="*/ 14 h 23"/>
                <a:gd name="T12" fmla="*/ 36 w 46"/>
                <a:gd name="T13" fmla="*/ 3 h 23"/>
                <a:gd name="T14" fmla="*/ 3 w 46"/>
                <a:gd name="T15" fmla="*/ 7 h 23"/>
                <a:gd name="T16" fmla="*/ 3 w 46"/>
                <a:gd name="T17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23">
                  <a:moveTo>
                    <a:pt x="3" y="18"/>
                  </a:moveTo>
                  <a:cubicBezTo>
                    <a:pt x="11" y="16"/>
                    <a:pt x="11" y="13"/>
                    <a:pt x="14" y="18"/>
                  </a:cubicBezTo>
                  <a:cubicBezTo>
                    <a:pt x="17" y="23"/>
                    <a:pt x="30" y="17"/>
                    <a:pt x="33" y="15"/>
                  </a:cubicBezTo>
                  <a:cubicBezTo>
                    <a:pt x="32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5"/>
                  </a:cubicBezTo>
                  <a:cubicBezTo>
                    <a:pt x="34" y="17"/>
                    <a:pt x="46" y="22"/>
                    <a:pt x="44" y="14"/>
                  </a:cubicBezTo>
                  <a:cubicBezTo>
                    <a:pt x="41" y="10"/>
                    <a:pt x="34" y="13"/>
                    <a:pt x="36" y="3"/>
                  </a:cubicBezTo>
                  <a:cubicBezTo>
                    <a:pt x="29" y="14"/>
                    <a:pt x="7" y="0"/>
                    <a:pt x="3" y="7"/>
                  </a:cubicBezTo>
                  <a:cubicBezTo>
                    <a:pt x="16" y="8"/>
                    <a:pt x="0" y="8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62" name="Freeform 137"/>
            <p:cNvSpPr>
              <a:spLocks/>
            </p:cNvSpPr>
            <p:nvPr userDrawn="1"/>
          </p:nvSpPr>
          <p:spPr bwMode="auto">
            <a:xfrm>
              <a:off x="4953274" y="1726594"/>
              <a:ext cx="486402" cy="151833"/>
            </a:xfrm>
            <a:custGeom>
              <a:avLst/>
              <a:gdLst>
                <a:gd name="T0" fmla="*/ 7 w 153"/>
                <a:gd name="T1" fmla="*/ 25 h 48"/>
                <a:gd name="T2" fmla="*/ 13 w 153"/>
                <a:gd name="T3" fmla="*/ 22 h 48"/>
                <a:gd name="T4" fmla="*/ 32 w 153"/>
                <a:gd name="T5" fmla="*/ 29 h 48"/>
                <a:gd name="T6" fmla="*/ 37 w 153"/>
                <a:gd name="T7" fmla="*/ 33 h 48"/>
                <a:gd name="T8" fmla="*/ 37 w 153"/>
                <a:gd name="T9" fmla="*/ 36 h 48"/>
                <a:gd name="T10" fmla="*/ 69 w 153"/>
                <a:gd name="T11" fmla="*/ 40 h 48"/>
                <a:gd name="T12" fmla="*/ 94 w 153"/>
                <a:gd name="T13" fmla="*/ 40 h 48"/>
                <a:gd name="T14" fmla="*/ 104 w 153"/>
                <a:gd name="T15" fmla="*/ 36 h 48"/>
                <a:gd name="T16" fmla="*/ 115 w 153"/>
                <a:gd name="T17" fmla="*/ 36 h 48"/>
                <a:gd name="T18" fmla="*/ 115 w 153"/>
                <a:gd name="T19" fmla="*/ 33 h 48"/>
                <a:gd name="T20" fmla="*/ 123 w 153"/>
                <a:gd name="T21" fmla="*/ 36 h 48"/>
                <a:gd name="T22" fmla="*/ 115 w 153"/>
                <a:gd name="T23" fmla="*/ 40 h 48"/>
                <a:gd name="T24" fmla="*/ 131 w 153"/>
                <a:gd name="T25" fmla="*/ 36 h 48"/>
                <a:gd name="T26" fmla="*/ 139 w 153"/>
                <a:gd name="T27" fmla="*/ 40 h 48"/>
                <a:gd name="T28" fmla="*/ 150 w 153"/>
                <a:gd name="T29" fmla="*/ 40 h 48"/>
                <a:gd name="T30" fmla="*/ 153 w 153"/>
                <a:gd name="T31" fmla="*/ 33 h 48"/>
                <a:gd name="T32" fmla="*/ 142 w 153"/>
                <a:gd name="T33" fmla="*/ 33 h 48"/>
                <a:gd name="T34" fmla="*/ 145 w 153"/>
                <a:gd name="T35" fmla="*/ 22 h 48"/>
                <a:gd name="T36" fmla="*/ 126 w 153"/>
                <a:gd name="T37" fmla="*/ 33 h 48"/>
                <a:gd name="T38" fmla="*/ 131 w 153"/>
                <a:gd name="T39" fmla="*/ 18 h 48"/>
                <a:gd name="T40" fmla="*/ 118 w 153"/>
                <a:gd name="T41" fmla="*/ 22 h 48"/>
                <a:gd name="T42" fmla="*/ 118 w 153"/>
                <a:gd name="T43" fmla="*/ 25 h 48"/>
                <a:gd name="T44" fmla="*/ 112 w 153"/>
                <a:gd name="T45" fmla="*/ 18 h 48"/>
                <a:gd name="T46" fmla="*/ 107 w 153"/>
                <a:gd name="T47" fmla="*/ 25 h 48"/>
                <a:gd name="T48" fmla="*/ 104 w 153"/>
                <a:gd name="T49" fmla="*/ 18 h 48"/>
                <a:gd name="T50" fmla="*/ 102 w 153"/>
                <a:gd name="T51" fmla="*/ 25 h 48"/>
                <a:gd name="T52" fmla="*/ 102 w 153"/>
                <a:gd name="T53" fmla="*/ 18 h 48"/>
                <a:gd name="T54" fmla="*/ 88 w 153"/>
                <a:gd name="T55" fmla="*/ 29 h 48"/>
                <a:gd name="T56" fmla="*/ 91 w 153"/>
                <a:gd name="T57" fmla="*/ 10 h 48"/>
                <a:gd name="T58" fmla="*/ 72 w 153"/>
                <a:gd name="T59" fmla="*/ 18 h 48"/>
                <a:gd name="T60" fmla="*/ 75 w 153"/>
                <a:gd name="T61" fmla="*/ 18 h 48"/>
                <a:gd name="T62" fmla="*/ 83 w 153"/>
                <a:gd name="T63" fmla="*/ 14 h 48"/>
                <a:gd name="T64" fmla="*/ 85 w 153"/>
                <a:gd name="T65" fmla="*/ 25 h 48"/>
                <a:gd name="T66" fmla="*/ 32 w 153"/>
                <a:gd name="T67" fmla="*/ 25 h 48"/>
                <a:gd name="T68" fmla="*/ 24 w 153"/>
                <a:gd name="T69" fmla="*/ 18 h 48"/>
                <a:gd name="T70" fmla="*/ 21 w 153"/>
                <a:gd name="T71" fmla="*/ 10 h 48"/>
                <a:gd name="T72" fmla="*/ 13 w 153"/>
                <a:gd name="T73" fmla="*/ 18 h 48"/>
                <a:gd name="T74" fmla="*/ 7 w 153"/>
                <a:gd name="T75" fmla="*/ 2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3" h="48">
                  <a:moveTo>
                    <a:pt x="7" y="25"/>
                  </a:moveTo>
                  <a:cubicBezTo>
                    <a:pt x="8" y="22"/>
                    <a:pt x="10" y="21"/>
                    <a:pt x="13" y="22"/>
                  </a:cubicBezTo>
                  <a:cubicBezTo>
                    <a:pt x="12" y="34"/>
                    <a:pt x="27" y="35"/>
                    <a:pt x="32" y="29"/>
                  </a:cubicBezTo>
                  <a:cubicBezTo>
                    <a:pt x="29" y="39"/>
                    <a:pt x="37" y="33"/>
                    <a:pt x="37" y="33"/>
                  </a:cubicBezTo>
                  <a:cubicBezTo>
                    <a:pt x="37" y="33"/>
                    <a:pt x="37" y="36"/>
                    <a:pt x="37" y="36"/>
                  </a:cubicBezTo>
                  <a:cubicBezTo>
                    <a:pt x="46" y="38"/>
                    <a:pt x="64" y="39"/>
                    <a:pt x="69" y="40"/>
                  </a:cubicBezTo>
                  <a:cubicBezTo>
                    <a:pt x="84" y="43"/>
                    <a:pt x="84" y="41"/>
                    <a:pt x="94" y="40"/>
                  </a:cubicBezTo>
                  <a:cubicBezTo>
                    <a:pt x="99" y="39"/>
                    <a:pt x="101" y="40"/>
                    <a:pt x="104" y="36"/>
                  </a:cubicBezTo>
                  <a:cubicBezTo>
                    <a:pt x="106" y="35"/>
                    <a:pt x="113" y="37"/>
                    <a:pt x="115" y="36"/>
                  </a:cubicBezTo>
                  <a:cubicBezTo>
                    <a:pt x="115" y="36"/>
                    <a:pt x="115" y="33"/>
                    <a:pt x="115" y="33"/>
                  </a:cubicBezTo>
                  <a:cubicBezTo>
                    <a:pt x="116" y="31"/>
                    <a:pt x="124" y="34"/>
                    <a:pt x="123" y="36"/>
                  </a:cubicBezTo>
                  <a:cubicBezTo>
                    <a:pt x="120" y="37"/>
                    <a:pt x="115" y="36"/>
                    <a:pt x="115" y="40"/>
                  </a:cubicBezTo>
                  <a:cubicBezTo>
                    <a:pt x="121" y="48"/>
                    <a:pt x="126" y="39"/>
                    <a:pt x="131" y="36"/>
                  </a:cubicBezTo>
                  <a:cubicBezTo>
                    <a:pt x="136" y="43"/>
                    <a:pt x="136" y="36"/>
                    <a:pt x="139" y="40"/>
                  </a:cubicBezTo>
                  <a:cubicBezTo>
                    <a:pt x="141" y="43"/>
                    <a:pt x="148" y="38"/>
                    <a:pt x="150" y="40"/>
                  </a:cubicBezTo>
                  <a:cubicBezTo>
                    <a:pt x="151" y="37"/>
                    <a:pt x="150" y="33"/>
                    <a:pt x="153" y="33"/>
                  </a:cubicBezTo>
                  <a:cubicBezTo>
                    <a:pt x="148" y="26"/>
                    <a:pt x="149" y="33"/>
                    <a:pt x="142" y="33"/>
                  </a:cubicBezTo>
                  <a:cubicBezTo>
                    <a:pt x="137" y="24"/>
                    <a:pt x="143" y="29"/>
                    <a:pt x="145" y="22"/>
                  </a:cubicBezTo>
                  <a:cubicBezTo>
                    <a:pt x="135" y="18"/>
                    <a:pt x="130" y="40"/>
                    <a:pt x="126" y="33"/>
                  </a:cubicBezTo>
                  <a:cubicBezTo>
                    <a:pt x="122" y="21"/>
                    <a:pt x="134" y="30"/>
                    <a:pt x="131" y="18"/>
                  </a:cubicBezTo>
                  <a:cubicBezTo>
                    <a:pt x="123" y="19"/>
                    <a:pt x="121" y="15"/>
                    <a:pt x="118" y="22"/>
                  </a:cubicBezTo>
                  <a:cubicBezTo>
                    <a:pt x="118" y="22"/>
                    <a:pt x="122" y="24"/>
                    <a:pt x="118" y="25"/>
                  </a:cubicBezTo>
                  <a:cubicBezTo>
                    <a:pt x="118" y="25"/>
                    <a:pt x="114" y="17"/>
                    <a:pt x="112" y="18"/>
                  </a:cubicBezTo>
                  <a:cubicBezTo>
                    <a:pt x="111" y="18"/>
                    <a:pt x="112" y="30"/>
                    <a:pt x="107" y="25"/>
                  </a:cubicBezTo>
                  <a:cubicBezTo>
                    <a:pt x="106" y="22"/>
                    <a:pt x="107" y="18"/>
                    <a:pt x="104" y="18"/>
                  </a:cubicBezTo>
                  <a:cubicBezTo>
                    <a:pt x="104" y="20"/>
                    <a:pt x="104" y="26"/>
                    <a:pt x="102" y="25"/>
                  </a:cubicBezTo>
                  <a:cubicBezTo>
                    <a:pt x="101" y="25"/>
                    <a:pt x="102" y="18"/>
                    <a:pt x="102" y="18"/>
                  </a:cubicBezTo>
                  <a:cubicBezTo>
                    <a:pt x="96" y="14"/>
                    <a:pt x="96" y="25"/>
                    <a:pt x="88" y="29"/>
                  </a:cubicBezTo>
                  <a:cubicBezTo>
                    <a:pt x="89" y="25"/>
                    <a:pt x="99" y="15"/>
                    <a:pt x="91" y="10"/>
                  </a:cubicBezTo>
                  <a:cubicBezTo>
                    <a:pt x="87" y="22"/>
                    <a:pt x="73" y="0"/>
                    <a:pt x="72" y="18"/>
                  </a:cubicBezTo>
                  <a:cubicBezTo>
                    <a:pt x="75" y="19"/>
                    <a:pt x="78" y="22"/>
                    <a:pt x="75" y="18"/>
                  </a:cubicBezTo>
                  <a:cubicBezTo>
                    <a:pt x="75" y="14"/>
                    <a:pt x="79" y="14"/>
                    <a:pt x="83" y="14"/>
                  </a:cubicBezTo>
                  <a:cubicBezTo>
                    <a:pt x="83" y="19"/>
                    <a:pt x="84" y="22"/>
                    <a:pt x="85" y="25"/>
                  </a:cubicBezTo>
                  <a:cubicBezTo>
                    <a:pt x="61" y="26"/>
                    <a:pt x="50" y="22"/>
                    <a:pt x="32" y="25"/>
                  </a:cubicBezTo>
                  <a:cubicBezTo>
                    <a:pt x="28" y="24"/>
                    <a:pt x="27" y="19"/>
                    <a:pt x="24" y="18"/>
                  </a:cubicBezTo>
                  <a:cubicBezTo>
                    <a:pt x="23" y="24"/>
                    <a:pt x="20" y="18"/>
                    <a:pt x="21" y="10"/>
                  </a:cubicBezTo>
                  <a:cubicBezTo>
                    <a:pt x="16" y="9"/>
                    <a:pt x="16" y="15"/>
                    <a:pt x="13" y="18"/>
                  </a:cubicBezTo>
                  <a:cubicBezTo>
                    <a:pt x="14" y="8"/>
                    <a:pt x="0" y="26"/>
                    <a:pt x="7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63" name="Freeform 138"/>
            <p:cNvSpPr>
              <a:spLocks/>
            </p:cNvSpPr>
            <p:nvPr userDrawn="1"/>
          </p:nvSpPr>
          <p:spPr bwMode="auto">
            <a:xfrm>
              <a:off x="5439676" y="1792433"/>
              <a:ext cx="116898" cy="67183"/>
            </a:xfrm>
            <a:custGeom>
              <a:avLst/>
              <a:gdLst>
                <a:gd name="T0" fmla="*/ 24 w 37"/>
                <a:gd name="T1" fmla="*/ 15 h 21"/>
                <a:gd name="T2" fmla="*/ 35 w 37"/>
                <a:gd name="T3" fmla="*/ 19 h 21"/>
                <a:gd name="T4" fmla="*/ 37 w 37"/>
                <a:gd name="T5" fmla="*/ 4 h 21"/>
                <a:gd name="T6" fmla="*/ 16 w 37"/>
                <a:gd name="T7" fmla="*/ 12 h 21"/>
                <a:gd name="T8" fmla="*/ 10 w 37"/>
                <a:gd name="T9" fmla="*/ 8 h 21"/>
                <a:gd name="T10" fmla="*/ 8 w 37"/>
                <a:gd name="T11" fmla="*/ 12 h 21"/>
                <a:gd name="T12" fmla="*/ 0 w 37"/>
                <a:gd name="T13" fmla="*/ 12 h 21"/>
                <a:gd name="T14" fmla="*/ 0 w 37"/>
                <a:gd name="T15" fmla="*/ 19 h 21"/>
                <a:gd name="T16" fmla="*/ 24 w 37"/>
                <a:gd name="T1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21">
                  <a:moveTo>
                    <a:pt x="24" y="15"/>
                  </a:moveTo>
                  <a:cubicBezTo>
                    <a:pt x="28" y="16"/>
                    <a:pt x="29" y="21"/>
                    <a:pt x="35" y="19"/>
                  </a:cubicBezTo>
                  <a:cubicBezTo>
                    <a:pt x="34" y="13"/>
                    <a:pt x="35" y="8"/>
                    <a:pt x="37" y="4"/>
                  </a:cubicBezTo>
                  <a:cubicBezTo>
                    <a:pt x="27" y="0"/>
                    <a:pt x="22" y="10"/>
                    <a:pt x="16" y="12"/>
                  </a:cubicBezTo>
                  <a:cubicBezTo>
                    <a:pt x="13" y="12"/>
                    <a:pt x="13" y="8"/>
                    <a:pt x="10" y="8"/>
                  </a:cubicBezTo>
                  <a:cubicBezTo>
                    <a:pt x="11" y="8"/>
                    <a:pt x="9" y="11"/>
                    <a:pt x="8" y="12"/>
                  </a:cubicBezTo>
                  <a:cubicBezTo>
                    <a:pt x="7" y="12"/>
                    <a:pt x="0" y="12"/>
                    <a:pt x="0" y="12"/>
                  </a:cubicBezTo>
                  <a:cubicBezTo>
                    <a:pt x="0" y="12"/>
                    <a:pt x="0" y="19"/>
                    <a:pt x="0" y="19"/>
                  </a:cubicBezTo>
                  <a:cubicBezTo>
                    <a:pt x="7" y="19"/>
                    <a:pt x="15" y="14"/>
                    <a:pt x="2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64" name="Freeform 139"/>
            <p:cNvSpPr>
              <a:spLocks/>
            </p:cNvSpPr>
            <p:nvPr userDrawn="1"/>
          </p:nvSpPr>
          <p:spPr bwMode="auto">
            <a:xfrm>
              <a:off x="9003041" y="1796464"/>
              <a:ext cx="149145" cy="139740"/>
            </a:xfrm>
            <a:custGeom>
              <a:avLst/>
              <a:gdLst>
                <a:gd name="T0" fmla="*/ 36 w 47"/>
                <a:gd name="T1" fmla="*/ 11 h 44"/>
                <a:gd name="T2" fmla="*/ 36 w 47"/>
                <a:gd name="T3" fmla="*/ 3 h 44"/>
                <a:gd name="T4" fmla="*/ 25 w 47"/>
                <a:gd name="T5" fmla="*/ 0 h 44"/>
                <a:gd name="T6" fmla="*/ 22 w 47"/>
                <a:gd name="T7" fmla="*/ 18 h 44"/>
                <a:gd name="T8" fmla="*/ 9 w 47"/>
                <a:gd name="T9" fmla="*/ 18 h 44"/>
                <a:gd name="T10" fmla="*/ 6 w 47"/>
                <a:gd name="T11" fmla="*/ 18 h 44"/>
                <a:gd name="T12" fmla="*/ 14 w 47"/>
                <a:gd name="T13" fmla="*/ 44 h 44"/>
                <a:gd name="T14" fmla="*/ 19 w 47"/>
                <a:gd name="T15" fmla="*/ 26 h 44"/>
                <a:gd name="T16" fmla="*/ 30 w 47"/>
                <a:gd name="T17" fmla="*/ 29 h 44"/>
                <a:gd name="T18" fmla="*/ 46 w 47"/>
                <a:gd name="T19" fmla="*/ 18 h 44"/>
                <a:gd name="T20" fmla="*/ 36 w 47"/>
                <a:gd name="T21" fmla="*/ 1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44">
                  <a:moveTo>
                    <a:pt x="36" y="11"/>
                  </a:moveTo>
                  <a:cubicBezTo>
                    <a:pt x="35" y="9"/>
                    <a:pt x="36" y="4"/>
                    <a:pt x="36" y="3"/>
                  </a:cubicBezTo>
                  <a:cubicBezTo>
                    <a:pt x="33" y="0"/>
                    <a:pt x="26" y="5"/>
                    <a:pt x="25" y="0"/>
                  </a:cubicBezTo>
                  <a:cubicBezTo>
                    <a:pt x="17" y="6"/>
                    <a:pt x="28" y="18"/>
                    <a:pt x="22" y="18"/>
                  </a:cubicBezTo>
                  <a:cubicBezTo>
                    <a:pt x="22" y="10"/>
                    <a:pt x="15" y="23"/>
                    <a:pt x="9" y="18"/>
                  </a:cubicBezTo>
                  <a:cubicBezTo>
                    <a:pt x="9" y="16"/>
                    <a:pt x="7" y="14"/>
                    <a:pt x="6" y="18"/>
                  </a:cubicBezTo>
                  <a:cubicBezTo>
                    <a:pt x="18" y="21"/>
                    <a:pt x="0" y="42"/>
                    <a:pt x="14" y="44"/>
                  </a:cubicBezTo>
                  <a:cubicBezTo>
                    <a:pt x="19" y="44"/>
                    <a:pt x="9" y="25"/>
                    <a:pt x="19" y="26"/>
                  </a:cubicBezTo>
                  <a:cubicBezTo>
                    <a:pt x="20" y="31"/>
                    <a:pt x="26" y="29"/>
                    <a:pt x="30" y="29"/>
                  </a:cubicBezTo>
                  <a:cubicBezTo>
                    <a:pt x="26" y="14"/>
                    <a:pt x="47" y="29"/>
                    <a:pt x="46" y="18"/>
                  </a:cubicBezTo>
                  <a:cubicBezTo>
                    <a:pt x="44" y="16"/>
                    <a:pt x="36" y="15"/>
                    <a:pt x="3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65" name="Freeform 140"/>
            <p:cNvSpPr>
              <a:spLocks/>
            </p:cNvSpPr>
            <p:nvPr userDrawn="1"/>
          </p:nvSpPr>
          <p:spPr bwMode="auto">
            <a:xfrm>
              <a:off x="5772902" y="1805869"/>
              <a:ext cx="40310" cy="41653"/>
            </a:xfrm>
            <a:custGeom>
              <a:avLst/>
              <a:gdLst>
                <a:gd name="T0" fmla="*/ 13 w 13"/>
                <a:gd name="T1" fmla="*/ 4 h 13"/>
                <a:gd name="T2" fmla="*/ 0 w 13"/>
                <a:gd name="T3" fmla="*/ 4 h 13"/>
                <a:gd name="T4" fmla="*/ 13 w 13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13" y="4"/>
                  </a:moveTo>
                  <a:cubicBezTo>
                    <a:pt x="8" y="2"/>
                    <a:pt x="0" y="0"/>
                    <a:pt x="0" y="4"/>
                  </a:cubicBezTo>
                  <a:cubicBezTo>
                    <a:pt x="1" y="6"/>
                    <a:pt x="12" y="13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66" name="Freeform 141"/>
            <p:cNvSpPr>
              <a:spLocks/>
            </p:cNvSpPr>
            <p:nvPr userDrawn="1"/>
          </p:nvSpPr>
          <p:spPr bwMode="auto">
            <a:xfrm>
              <a:off x="8429301" y="1770934"/>
              <a:ext cx="30904" cy="104805"/>
            </a:xfrm>
            <a:custGeom>
              <a:avLst/>
              <a:gdLst>
                <a:gd name="T0" fmla="*/ 10 w 10"/>
                <a:gd name="T1" fmla="*/ 30 h 33"/>
                <a:gd name="T2" fmla="*/ 4 w 10"/>
                <a:gd name="T3" fmla="*/ 19 h 33"/>
                <a:gd name="T4" fmla="*/ 10 w 10"/>
                <a:gd name="T5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33">
                  <a:moveTo>
                    <a:pt x="10" y="30"/>
                  </a:moveTo>
                  <a:cubicBezTo>
                    <a:pt x="10" y="22"/>
                    <a:pt x="6" y="22"/>
                    <a:pt x="4" y="19"/>
                  </a:cubicBezTo>
                  <a:cubicBezTo>
                    <a:pt x="0" y="0"/>
                    <a:pt x="1" y="33"/>
                    <a:pt x="1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67" name="Freeform 142"/>
            <p:cNvSpPr>
              <a:spLocks/>
            </p:cNvSpPr>
            <p:nvPr userDrawn="1"/>
          </p:nvSpPr>
          <p:spPr bwMode="auto">
            <a:xfrm>
              <a:off x="8485735" y="1817962"/>
              <a:ext cx="25529" cy="67183"/>
            </a:xfrm>
            <a:custGeom>
              <a:avLst/>
              <a:gdLst>
                <a:gd name="T0" fmla="*/ 5 w 8"/>
                <a:gd name="T1" fmla="*/ 7 h 21"/>
                <a:gd name="T2" fmla="*/ 8 w 8"/>
                <a:gd name="T3" fmla="*/ 0 h 21"/>
                <a:gd name="T4" fmla="*/ 2 w 8"/>
                <a:gd name="T5" fmla="*/ 7 h 21"/>
                <a:gd name="T6" fmla="*/ 5 w 8"/>
                <a:gd name="T7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1">
                  <a:moveTo>
                    <a:pt x="5" y="7"/>
                  </a:moveTo>
                  <a:cubicBezTo>
                    <a:pt x="7" y="7"/>
                    <a:pt x="8" y="4"/>
                    <a:pt x="8" y="0"/>
                  </a:cubicBezTo>
                  <a:cubicBezTo>
                    <a:pt x="4" y="0"/>
                    <a:pt x="5" y="6"/>
                    <a:pt x="2" y="7"/>
                  </a:cubicBezTo>
                  <a:cubicBezTo>
                    <a:pt x="0" y="21"/>
                    <a:pt x="7" y="21"/>
                    <a:pt x="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68" name="Freeform 143"/>
            <p:cNvSpPr>
              <a:spLocks/>
            </p:cNvSpPr>
            <p:nvPr userDrawn="1"/>
          </p:nvSpPr>
          <p:spPr bwMode="auto">
            <a:xfrm>
              <a:off x="8651004" y="1817962"/>
              <a:ext cx="142427" cy="139740"/>
            </a:xfrm>
            <a:custGeom>
              <a:avLst/>
              <a:gdLst>
                <a:gd name="T0" fmla="*/ 9 w 45"/>
                <a:gd name="T1" fmla="*/ 37 h 44"/>
                <a:gd name="T2" fmla="*/ 20 w 45"/>
                <a:gd name="T3" fmla="*/ 33 h 44"/>
                <a:gd name="T4" fmla="*/ 17 w 45"/>
                <a:gd name="T5" fmla="*/ 30 h 44"/>
                <a:gd name="T6" fmla="*/ 31 w 45"/>
                <a:gd name="T7" fmla="*/ 30 h 44"/>
                <a:gd name="T8" fmla="*/ 36 w 45"/>
                <a:gd name="T9" fmla="*/ 44 h 44"/>
                <a:gd name="T10" fmla="*/ 36 w 45"/>
                <a:gd name="T11" fmla="*/ 0 h 44"/>
                <a:gd name="T12" fmla="*/ 17 w 45"/>
                <a:gd name="T13" fmla="*/ 22 h 44"/>
                <a:gd name="T14" fmla="*/ 1 w 45"/>
                <a:gd name="T15" fmla="*/ 19 h 44"/>
                <a:gd name="T16" fmla="*/ 9 w 45"/>
                <a:gd name="T17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44">
                  <a:moveTo>
                    <a:pt x="9" y="37"/>
                  </a:moveTo>
                  <a:cubicBezTo>
                    <a:pt x="10" y="24"/>
                    <a:pt x="21" y="44"/>
                    <a:pt x="20" y="33"/>
                  </a:cubicBezTo>
                  <a:cubicBezTo>
                    <a:pt x="19" y="33"/>
                    <a:pt x="17" y="33"/>
                    <a:pt x="17" y="30"/>
                  </a:cubicBezTo>
                  <a:cubicBezTo>
                    <a:pt x="20" y="19"/>
                    <a:pt x="26" y="32"/>
                    <a:pt x="31" y="30"/>
                  </a:cubicBezTo>
                  <a:cubicBezTo>
                    <a:pt x="30" y="38"/>
                    <a:pt x="32" y="43"/>
                    <a:pt x="36" y="44"/>
                  </a:cubicBezTo>
                  <a:cubicBezTo>
                    <a:pt x="29" y="30"/>
                    <a:pt x="45" y="15"/>
                    <a:pt x="36" y="0"/>
                  </a:cubicBezTo>
                  <a:cubicBezTo>
                    <a:pt x="26" y="1"/>
                    <a:pt x="24" y="15"/>
                    <a:pt x="17" y="22"/>
                  </a:cubicBezTo>
                  <a:cubicBezTo>
                    <a:pt x="8" y="21"/>
                    <a:pt x="11" y="12"/>
                    <a:pt x="1" y="19"/>
                  </a:cubicBezTo>
                  <a:cubicBezTo>
                    <a:pt x="0" y="30"/>
                    <a:pt x="5" y="34"/>
                    <a:pt x="9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69" name="Freeform 144"/>
            <p:cNvSpPr>
              <a:spLocks/>
            </p:cNvSpPr>
            <p:nvPr userDrawn="1"/>
          </p:nvSpPr>
          <p:spPr bwMode="auto">
            <a:xfrm>
              <a:off x="5568667" y="1917392"/>
              <a:ext cx="48371" cy="30904"/>
            </a:xfrm>
            <a:custGeom>
              <a:avLst/>
              <a:gdLst>
                <a:gd name="T0" fmla="*/ 10 w 15"/>
                <a:gd name="T1" fmla="*/ 6 h 10"/>
                <a:gd name="T2" fmla="*/ 15 w 15"/>
                <a:gd name="T3" fmla="*/ 10 h 10"/>
                <a:gd name="T4" fmla="*/ 10 w 15"/>
                <a:gd name="T5" fmla="*/ 2 h 10"/>
                <a:gd name="T6" fmla="*/ 10 w 15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0">
                  <a:moveTo>
                    <a:pt x="10" y="6"/>
                  </a:moveTo>
                  <a:cubicBezTo>
                    <a:pt x="10" y="9"/>
                    <a:pt x="12" y="10"/>
                    <a:pt x="15" y="10"/>
                  </a:cubicBezTo>
                  <a:cubicBezTo>
                    <a:pt x="15" y="5"/>
                    <a:pt x="10" y="6"/>
                    <a:pt x="10" y="2"/>
                  </a:cubicBezTo>
                  <a:cubicBezTo>
                    <a:pt x="0" y="0"/>
                    <a:pt x="0" y="9"/>
                    <a:pt x="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70" name="Freeform 145"/>
            <p:cNvSpPr>
              <a:spLocks/>
            </p:cNvSpPr>
            <p:nvPr userDrawn="1"/>
          </p:nvSpPr>
          <p:spPr bwMode="auto">
            <a:xfrm>
              <a:off x="6854541" y="1948296"/>
              <a:ext cx="92712" cy="158551"/>
            </a:xfrm>
            <a:custGeom>
              <a:avLst/>
              <a:gdLst>
                <a:gd name="T0" fmla="*/ 14 w 29"/>
                <a:gd name="T1" fmla="*/ 40 h 50"/>
                <a:gd name="T2" fmla="*/ 5 w 29"/>
                <a:gd name="T3" fmla="*/ 33 h 50"/>
                <a:gd name="T4" fmla="*/ 27 w 29"/>
                <a:gd name="T5" fmla="*/ 37 h 50"/>
                <a:gd name="T6" fmla="*/ 19 w 29"/>
                <a:gd name="T7" fmla="*/ 22 h 50"/>
                <a:gd name="T8" fmla="*/ 19 w 29"/>
                <a:gd name="T9" fmla="*/ 7 h 50"/>
                <a:gd name="T10" fmla="*/ 5 w 29"/>
                <a:gd name="T11" fmla="*/ 0 h 50"/>
                <a:gd name="T12" fmla="*/ 3 w 29"/>
                <a:gd name="T13" fmla="*/ 14 h 50"/>
                <a:gd name="T14" fmla="*/ 11 w 29"/>
                <a:gd name="T15" fmla="*/ 26 h 50"/>
                <a:gd name="T16" fmla="*/ 3 w 29"/>
                <a:gd name="T17" fmla="*/ 18 h 50"/>
                <a:gd name="T18" fmla="*/ 14 w 29"/>
                <a:gd name="T19" fmla="*/ 4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50">
                  <a:moveTo>
                    <a:pt x="14" y="40"/>
                  </a:moveTo>
                  <a:cubicBezTo>
                    <a:pt x="10" y="39"/>
                    <a:pt x="7" y="36"/>
                    <a:pt x="5" y="33"/>
                  </a:cubicBezTo>
                  <a:cubicBezTo>
                    <a:pt x="13" y="30"/>
                    <a:pt x="19" y="29"/>
                    <a:pt x="27" y="37"/>
                  </a:cubicBezTo>
                  <a:cubicBezTo>
                    <a:pt x="29" y="25"/>
                    <a:pt x="20" y="29"/>
                    <a:pt x="19" y="22"/>
                  </a:cubicBezTo>
                  <a:cubicBezTo>
                    <a:pt x="19" y="17"/>
                    <a:pt x="19" y="12"/>
                    <a:pt x="19" y="7"/>
                  </a:cubicBezTo>
                  <a:cubicBezTo>
                    <a:pt x="10" y="10"/>
                    <a:pt x="11" y="1"/>
                    <a:pt x="5" y="0"/>
                  </a:cubicBezTo>
                  <a:cubicBezTo>
                    <a:pt x="6" y="6"/>
                    <a:pt x="5" y="11"/>
                    <a:pt x="3" y="14"/>
                  </a:cubicBezTo>
                  <a:cubicBezTo>
                    <a:pt x="10" y="12"/>
                    <a:pt x="12" y="16"/>
                    <a:pt x="11" y="26"/>
                  </a:cubicBezTo>
                  <a:cubicBezTo>
                    <a:pt x="7" y="25"/>
                    <a:pt x="6" y="19"/>
                    <a:pt x="3" y="18"/>
                  </a:cubicBezTo>
                  <a:cubicBezTo>
                    <a:pt x="0" y="32"/>
                    <a:pt x="8" y="50"/>
                    <a:pt x="14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71" name="Freeform 146"/>
            <p:cNvSpPr>
              <a:spLocks/>
            </p:cNvSpPr>
            <p:nvPr userDrawn="1"/>
          </p:nvSpPr>
          <p:spPr bwMode="auto">
            <a:xfrm>
              <a:off x="6385607" y="1989949"/>
              <a:ext cx="56433" cy="47028"/>
            </a:xfrm>
            <a:custGeom>
              <a:avLst/>
              <a:gdLst>
                <a:gd name="T0" fmla="*/ 6 w 18"/>
                <a:gd name="T1" fmla="*/ 13 h 15"/>
                <a:gd name="T2" fmla="*/ 14 w 18"/>
                <a:gd name="T3" fmla="*/ 1 h 15"/>
                <a:gd name="T4" fmla="*/ 6 w 18"/>
                <a:gd name="T5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6" y="13"/>
                  </a:moveTo>
                  <a:cubicBezTo>
                    <a:pt x="4" y="4"/>
                    <a:pt x="18" y="15"/>
                    <a:pt x="14" y="1"/>
                  </a:cubicBezTo>
                  <a:cubicBezTo>
                    <a:pt x="8" y="0"/>
                    <a:pt x="0" y="11"/>
                    <a:pt x="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72" name="Freeform 147"/>
            <p:cNvSpPr>
              <a:spLocks/>
            </p:cNvSpPr>
            <p:nvPr userDrawn="1"/>
          </p:nvSpPr>
          <p:spPr bwMode="auto">
            <a:xfrm>
              <a:off x="7387971" y="2204934"/>
              <a:ext cx="47028" cy="48371"/>
            </a:xfrm>
            <a:custGeom>
              <a:avLst/>
              <a:gdLst>
                <a:gd name="T0" fmla="*/ 15 w 15"/>
                <a:gd name="T1" fmla="*/ 0 h 15"/>
                <a:gd name="T2" fmla="*/ 1 w 15"/>
                <a:gd name="T3" fmla="*/ 0 h 15"/>
                <a:gd name="T4" fmla="*/ 15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5" y="0"/>
                  </a:moveTo>
                  <a:cubicBezTo>
                    <a:pt x="8" y="0"/>
                    <a:pt x="7" y="7"/>
                    <a:pt x="1" y="0"/>
                  </a:cubicBezTo>
                  <a:cubicBezTo>
                    <a:pt x="0" y="15"/>
                    <a:pt x="14" y="5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73" name="Freeform 148"/>
            <p:cNvSpPr>
              <a:spLocks/>
            </p:cNvSpPr>
            <p:nvPr userDrawn="1"/>
          </p:nvSpPr>
          <p:spPr bwMode="auto">
            <a:xfrm>
              <a:off x="3808483" y="3544555"/>
              <a:ext cx="44341" cy="57777"/>
            </a:xfrm>
            <a:custGeom>
              <a:avLst/>
              <a:gdLst>
                <a:gd name="T0" fmla="*/ 11 w 14"/>
                <a:gd name="T1" fmla="*/ 3 h 18"/>
                <a:gd name="T2" fmla="*/ 13 w 14"/>
                <a:gd name="T3" fmla="*/ 0 h 18"/>
                <a:gd name="T4" fmla="*/ 0 w 14"/>
                <a:gd name="T5" fmla="*/ 14 h 18"/>
                <a:gd name="T6" fmla="*/ 11 w 14"/>
                <a:gd name="T7" fmla="*/ 18 h 18"/>
                <a:gd name="T8" fmla="*/ 11 w 14"/>
                <a:gd name="T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8">
                  <a:moveTo>
                    <a:pt x="11" y="3"/>
                  </a:moveTo>
                  <a:cubicBezTo>
                    <a:pt x="11" y="7"/>
                    <a:pt x="14" y="6"/>
                    <a:pt x="13" y="0"/>
                  </a:cubicBezTo>
                  <a:cubicBezTo>
                    <a:pt x="7" y="2"/>
                    <a:pt x="0" y="3"/>
                    <a:pt x="0" y="14"/>
                  </a:cubicBezTo>
                  <a:cubicBezTo>
                    <a:pt x="5" y="14"/>
                    <a:pt x="8" y="15"/>
                    <a:pt x="11" y="18"/>
                  </a:cubicBezTo>
                  <a:cubicBezTo>
                    <a:pt x="13" y="11"/>
                    <a:pt x="3" y="6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74" name="Freeform 149"/>
            <p:cNvSpPr>
              <a:spLocks/>
            </p:cNvSpPr>
            <p:nvPr userDrawn="1"/>
          </p:nvSpPr>
          <p:spPr bwMode="auto">
            <a:xfrm>
              <a:off x="2630100" y="3649360"/>
              <a:ext cx="79275" cy="48371"/>
            </a:xfrm>
            <a:custGeom>
              <a:avLst/>
              <a:gdLst>
                <a:gd name="T0" fmla="*/ 5 w 25"/>
                <a:gd name="T1" fmla="*/ 11 h 15"/>
                <a:gd name="T2" fmla="*/ 0 w 25"/>
                <a:gd name="T3" fmla="*/ 7 h 15"/>
                <a:gd name="T4" fmla="*/ 5 w 25"/>
                <a:gd name="T5" fmla="*/ 15 h 15"/>
                <a:gd name="T6" fmla="*/ 5 w 25"/>
                <a:gd name="T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5">
                  <a:moveTo>
                    <a:pt x="5" y="11"/>
                  </a:moveTo>
                  <a:cubicBezTo>
                    <a:pt x="4" y="10"/>
                    <a:pt x="2" y="0"/>
                    <a:pt x="0" y="7"/>
                  </a:cubicBezTo>
                  <a:cubicBezTo>
                    <a:pt x="3" y="8"/>
                    <a:pt x="4" y="11"/>
                    <a:pt x="5" y="15"/>
                  </a:cubicBezTo>
                  <a:cubicBezTo>
                    <a:pt x="25" y="12"/>
                    <a:pt x="12" y="15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75" name="Freeform 150"/>
            <p:cNvSpPr>
              <a:spLocks/>
            </p:cNvSpPr>
            <p:nvPr userDrawn="1"/>
          </p:nvSpPr>
          <p:spPr bwMode="auto">
            <a:xfrm>
              <a:off x="3074849" y="4150542"/>
              <a:ext cx="44341" cy="108836"/>
            </a:xfrm>
            <a:custGeom>
              <a:avLst/>
              <a:gdLst>
                <a:gd name="T0" fmla="*/ 5 w 14"/>
                <a:gd name="T1" fmla="*/ 27 h 34"/>
                <a:gd name="T2" fmla="*/ 2 w 14"/>
                <a:gd name="T3" fmla="*/ 19 h 34"/>
                <a:gd name="T4" fmla="*/ 11 w 14"/>
                <a:gd name="T5" fmla="*/ 19 h 34"/>
                <a:gd name="T6" fmla="*/ 8 w 14"/>
                <a:gd name="T7" fmla="*/ 1 h 34"/>
                <a:gd name="T8" fmla="*/ 2 w 14"/>
                <a:gd name="T9" fmla="*/ 5 h 34"/>
                <a:gd name="T10" fmla="*/ 0 w 14"/>
                <a:gd name="T11" fmla="*/ 23 h 34"/>
                <a:gd name="T12" fmla="*/ 5 w 14"/>
                <a:gd name="T1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34">
                  <a:moveTo>
                    <a:pt x="5" y="27"/>
                  </a:moveTo>
                  <a:cubicBezTo>
                    <a:pt x="5" y="23"/>
                    <a:pt x="3" y="22"/>
                    <a:pt x="2" y="19"/>
                  </a:cubicBezTo>
                  <a:cubicBezTo>
                    <a:pt x="5" y="19"/>
                    <a:pt x="8" y="19"/>
                    <a:pt x="11" y="19"/>
                  </a:cubicBezTo>
                  <a:cubicBezTo>
                    <a:pt x="9" y="14"/>
                    <a:pt x="14" y="0"/>
                    <a:pt x="8" y="1"/>
                  </a:cubicBezTo>
                  <a:cubicBezTo>
                    <a:pt x="7" y="4"/>
                    <a:pt x="6" y="5"/>
                    <a:pt x="2" y="5"/>
                  </a:cubicBezTo>
                  <a:cubicBezTo>
                    <a:pt x="3" y="13"/>
                    <a:pt x="2" y="19"/>
                    <a:pt x="0" y="23"/>
                  </a:cubicBezTo>
                  <a:cubicBezTo>
                    <a:pt x="4" y="23"/>
                    <a:pt x="3" y="34"/>
                    <a:pt x="5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76" name="Freeform 151"/>
            <p:cNvSpPr>
              <a:spLocks/>
            </p:cNvSpPr>
            <p:nvPr userDrawn="1"/>
          </p:nvSpPr>
          <p:spPr bwMode="auto">
            <a:xfrm>
              <a:off x="3096347" y="4173384"/>
              <a:ext cx="67183" cy="85994"/>
            </a:xfrm>
            <a:custGeom>
              <a:avLst/>
              <a:gdLst>
                <a:gd name="T0" fmla="*/ 12 w 21"/>
                <a:gd name="T1" fmla="*/ 1 h 27"/>
                <a:gd name="T2" fmla="*/ 6 w 21"/>
                <a:gd name="T3" fmla="*/ 9 h 27"/>
                <a:gd name="T4" fmla="*/ 6 w 21"/>
                <a:gd name="T5" fmla="*/ 16 h 27"/>
                <a:gd name="T6" fmla="*/ 1 w 21"/>
                <a:gd name="T7" fmla="*/ 20 h 27"/>
                <a:gd name="T8" fmla="*/ 9 w 21"/>
                <a:gd name="T9" fmla="*/ 16 h 27"/>
                <a:gd name="T10" fmla="*/ 20 w 21"/>
                <a:gd name="T11" fmla="*/ 16 h 27"/>
                <a:gd name="T12" fmla="*/ 12 w 21"/>
                <a:gd name="T13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7">
                  <a:moveTo>
                    <a:pt x="12" y="1"/>
                  </a:moveTo>
                  <a:cubicBezTo>
                    <a:pt x="14" y="9"/>
                    <a:pt x="8" y="6"/>
                    <a:pt x="6" y="9"/>
                  </a:cubicBezTo>
                  <a:cubicBezTo>
                    <a:pt x="5" y="10"/>
                    <a:pt x="7" y="15"/>
                    <a:pt x="6" y="16"/>
                  </a:cubicBezTo>
                  <a:cubicBezTo>
                    <a:pt x="5" y="18"/>
                    <a:pt x="0" y="15"/>
                    <a:pt x="1" y="20"/>
                  </a:cubicBezTo>
                  <a:cubicBezTo>
                    <a:pt x="7" y="27"/>
                    <a:pt x="4" y="19"/>
                    <a:pt x="9" y="16"/>
                  </a:cubicBezTo>
                  <a:cubicBezTo>
                    <a:pt x="13" y="16"/>
                    <a:pt x="16" y="16"/>
                    <a:pt x="20" y="16"/>
                  </a:cubicBezTo>
                  <a:cubicBezTo>
                    <a:pt x="21" y="7"/>
                    <a:pt x="19" y="0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77" name="Freeform 152"/>
            <p:cNvSpPr>
              <a:spLocks/>
            </p:cNvSpPr>
            <p:nvPr userDrawn="1"/>
          </p:nvSpPr>
          <p:spPr bwMode="auto">
            <a:xfrm>
              <a:off x="2874645" y="4319842"/>
              <a:ext cx="44341" cy="100774"/>
            </a:xfrm>
            <a:custGeom>
              <a:avLst/>
              <a:gdLst>
                <a:gd name="T0" fmla="*/ 12 w 14"/>
                <a:gd name="T1" fmla="*/ 3 h 32"/>
                <a:gd name="T2" fmla="*/ 6 w 14"/>
                <a:gd name="T3" fmla="*/ 18 h 32"/>
                <a:gd name="T4" fmla="*/ 9 w 14"/>
                <a:gd name="T5" fmla="*/ 15 h 32"/>
                <a:gd name="T6" fmla="*/ 12 w 14"/>
                <a:gd name="T7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2">
                  <a:moveTo>
                    <a:pt x="12" y="3"/>
                  </a:moveTo>
                  <a:cubicBezTo>
                    <a:pt x="5" y="0"/>
                    <a:pt x="0" y="16"/>
                    <a:pt x="6" y="18"/>
                  </a:cubicBezTo>
                  <a:cubicBezTo>
                    <a:pt x="7" y="16"/>
                    <a:pt x="7" y="14"/>
                    <a:pt x="9" y="15"/>
                  </a:cubicBezTo>
                  <a:cubicBezTo>
                    <a:pt x="14" y="32"/>
                    <a:pt x="7" y="7"/>
                    <a:pt x="1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78" name="Freeform 153"/>
            <p:cNvSpPr>
              <a:spLocks/>
            </p:cNvSpPr>
            <p:nvPr userDrawn="1"/>
          </p:nvSpPr>
          <p:spPr bwMode="auto">
            <a:xfrm>
              <a:off x="2767153" y="4376275"/>
              <a:ext cx="60464" cy="48371"/>
            </a:xfrm>
            <a:custGeom>
              <a:avLst/>
              <a:gdLst>
                <a:gd name="T0" fmla="*/ 5 w 19"/>
                <a:gd name="T1" fmla="*/ 11 h 15"/>
                <a:gd name="T2" fmla="*/ 0 w 19"/>
                <a:gd name="T3" fmla="*/ 15 h 15"/>
                <a:gd name="T4" fmla="*/ 11 w 19"/>
                <a:gd name="T5" fmla="*/ 15 h 15"/>
                <a:gd name="T6" fmla="*/ 16 w 19"/>
                <a:gd name="T7" fmla="*/ 0 h 15"/>
                <a:gd name="T8" fmla="*/ 5 w 19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5" y="11"/>
                  </a:moveTo>
                  <a:cubicBezTo>
                    <a:pt x="7" y="10"/>
                    <a:pt x="0" y="7"/>
                    <a:pt x="0" y="15"/>
                  </a:cubicBezTo>
                  <a:cubicBezTo>
                    <a:pt x="4" y="15"/>
                    <a:pt x="7" y="15"/>
                    <a:pt x="11" y="15"/>
                  </a:cubicBezTo>
                  <a:cubicBezTo>
                    <a:pt x="8" y="3"/>
                    <a:pt x="19" y="12"/>
                    <a:pt x="16" y="0"/>
                  </a:cubicBezTo>
                  <a:cubicBezTo>
                    <a:pt x="9" y="2"/>
                    <a:pt x="10" y="7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79" name="Freeform 154"/>
            <p:cNvSpPr>
              <a:spLocks/>
            </p:cNvSpPr>
            <p:nvPr userDrawn="1"/>
          </p:nvSpPr>
          <p:spPr bwMode="auto">
            <a:xfrm>
              <a:off x="2842397" y="4360151"/>
              <a:ext cx="92712" cy="155864"/>
            </a:xfrm>
            <a:custGeom>
              <a:avLst/>
              <a:gdLst>
                <a:gd name="T0" fmla="*/ 16 w 29"/>
                <a:gd name="T1" fmla="*/ 27 h 49"/>
                <a:gd name="T2" fmla="*/ 11 w 29"/>
                <a:gd name="T3" fmla="*/ 13 h 49"/>
                <a:gd name="T4" fmla="*/ 0 w 29"/>
                <a:gd name="T5" fmla="*/ 13 h 49"/>
                <a:gd name="T6" fmla="*/ 8 w 29"/>
                <a:gd name="T7" fmla="*/ 31 h 49"/>
                <a:gd name="T8" fmla="*/ 6 w 29"/>
                <a:gd name="T9" fmla="*/ 46 h 49"/>
                <a:gd name="T10" fmla="*/ 14 w 29"/>
                <a:gd name="T11" fmla="*/ 31 h 49"/>
                <a:gd name="T12" fmla="*/ 24 w 29"/>
                <a:gd name="T13" fmla="*/ 27 h 49"/>
                <a:gd name="T14" fmla="*/ 27 w 29"/>
                <a:gd name="T15" fmla="*/ 31 h 49"/>
                <a:gd name="T16" fmla="*/ 16 w 29"/>
                <a:gd name="T17" fmla="*/ 2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49">
                  <a:moveTo>
                    <a:pt x="16" y="27"/>
                  </a:moveTo>
                  <a:cubicBezTo>
                    <a:pt x="11" y="21"/>
                    <a:pt x="14" y="16"/>
                    <a:pt x="11" y="13"/>
                  </a:cubicBezTo>
                  <a:cubicBezTo>
                    <a:pt x="9" y="27"/>
                    <a:pt x="1" y="0"/>
                    <a:pt x="0" y="13"/>
                  </a:cubicBezTo>
                  <a:cubicBezTo>
                    <a:pt x="4" y="17"/>
                    <a:pt x="4" y="27"/>
                    <a:pt x="8" y="31"/>
                  </a:cubicBezTo>
                  <a:cubicBezTo>
                    <a:pt x="9" y="38"/>
                    <a:pt x="8" y="43"/>
                    <a:pt x="6" y="46"/>
                  </a:cubicBezTo>
                  <a:cubicBezTo>
                    <a:pt x="18" y="49"/>
                    <a:pt x="9" y="32"/>
                    <a:pt x="14" y="31"/>
                  </a:cubicBezTo>
                  <a:cubicBezTo>
                    <a:pt x="19" y="39"/>
                    <a:pt x="21" y="32"/>
                    <a:pt x="24" y="27"/>
                  </a:cubicBezTo>
                  <a:cubicBezTo>
                    <a:pt x="25" y="30"/>
                    <a:pt x="25" y="32"/>
                    <a:pt x="27" y="31"/>
                  </a:cubicBezTo>
                  <a:cubicBezTo>
                    <a:pt x="29" y="18"/>
                    <a:pt x="18" y="25"/>
                    <a:pt x="1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80" name="Freeform 155"/>
            <p:cNvSpPr>
              <a:spLocks/>
            </p:cNvSpPr>
            <p:nvPr userDrawn="1"/>
          </p:nvSpPr>
          <p:spPr bwMode="auto">
            <a:xfrm>
              <a:off x="3156812" y="4385681"/>
              <a:ext cx="57777" cy="216328"/>
            </a:xfrm>
            <a:custGeom>
              <a:avLst/>
              <a:gdLst>
                <a:gd name="T0" fmla="*/ 11 w 18"/>
                <a:gd name="T1" fmla="*/ 12 h 68"/>
                <a:gd name="T2" fmla="*/ 1 w 18"/>
                <a:gd name="T3" fmla="*/ 12 h 68"/>
                <a:gd name="T4" fmla="*/ 3 w 18"/>
                <a:gd name="T5" fmla="*/ 16 h 68"/>
                <a:gd name="T6" fmla="*/ 1 w 18"/>
                <a:gd name="T7" fmla="*/ 27 h 68"/>
                <a:gd name="T8" fmla="*/ 9 w 18"/>
                <a:gd name="T9" fmla="*/ 19 h 68"/>
                <a:gd name="T10" fmla="*/ 11 w 18"/>
                <a:gd name="T11" fmla="*/ 38 h 68"/>
                <a:gd name="T12" fmla="*/ 6 w 18"/>
                <a:gd name="T13" fmla="*/ 60 h 68"/>
                <a:gd name="T14" fmla="*/ 6 w 18"/>
                <a:gd name="T15" fmla="*/ 68 h 68"/>
                <a:gd name="T16" fmla="*/ 14 w 18"/>
                <a:gd name="T17" fmla="*/ 56 h 68"/>
                <a:gd name="T18" fmla="*/ 14 w 18"/>
                <a:gd name="T19" fmla="*/ 34 h 68"/>
                <a:gd name="T20" fmla="*/ 11 w 18"/>
                <a:gd name="T21" fmla="*/ 1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68">
                  <a:moveTo>
                    <a:pt x="11" y="12"/>
                  </a:moveTo>
                  <a:cubicBezTo>
                    <a:pt x="9" y="26"/>
                    <a:pt x="2" y="0"/>
                    <a:pt x="1" y="12"/>
                  </a:cubicBezTo>
                  <a:cubicBezTo>
                    <a:pt x="2" y="12"/>
                    <a:pt x="4" y="13"/>
                    <a:pt x="3" y="16"/>
                  </a:cubicBezTo>
                  <a:cubicBezTo>
                    <a:pt x="3" y="20"/>
                    <a:pt x="0" y="21"/>
                    <a:pt x="1" y="27"/>
                  </a:cubicBezTo>
                  <a:cubicBezTo>
                    <a:pt x="6" y="28"/>
                    <a:pt x="6" y="22"/>
                    <a:pt x="9" y="19"/>
                  </a:cubicBezTo>
                  <a:cubicBezTo>
                    <a:pt x="8" y="28"/>
                    <a:pt x="9" y="34"/>
                    <a:pt x="11" y="38"/>
                  </a:cubicBezTo>
                  <a:cubicBezTo>
                    <a:pt x="5" y="38"/>
                    <a:pt x="6" y="50"/>
                    <a:pt x="6" y="60"/>
                  </a:cubicBezTo>
                  <a:cubicBezTo>
                    <a:pt x="6" y="64"/>
                    <a:pt x="2" y="66"/>
                    <a:pt x="6" y="68"/>
                  </a:cubicBezTo>
                  <a:cubicBezTo>
                    <a:pt x="9" y="64"/>
                    <a:pt x="11" y="60"/>
                    <a:pt x="14" y="56"/>
                  </a:cubicBezTo>
                  <a:cubicBezTo>
                    <a:pt x="12" y="46"/>
                    <a:pt x="12" y="45"/>
                    <a:pt x="14" y="34"/>
                  </a:cubicBezTo>
                  <a:cubicBezTo>
                    <a:pt x="9" y="25"/>
                    <a:pt x="18" y="19"/>
                    <a:pt x="1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81" name="Freeform 156"/>
            <p:cNvSpPr>
              <a:spLocks/>
            </p:cNvSpPr>
            <p:nvPr userDrawn="1"/>
          </p:nvSpPr>
          <p:spPr bwMode="auto">
            <a:xfrm>
              <a:off x="2709376" y="4439427"/>
              <a:ext cx="57777" cy="118241"/>
            </a:xfrm>
            <a:custGeom>
              <a:avLst/>
              <a:gdLst>
                <a:gd name="T0" fmla="*/ 7 w 18"/>
                <a:gd name="T1" fmla="*/ 2 h 37"/>
                <a:gd name="T2" fmla="*/ 2 w 18"/>
                <a:gd name="T3" fmla="*/ 17 h 37"/>
                <a:gd name="T4" fmla="*/ 10 w 18"/>
                <a:gd name="T5" fmla="*/ 32 h 37"/>
                <a:gd name="T6" fmla="*/ 13 w 18"/>
                <a:gd name="T7" fmla="*/ 36 h 37"/>
                <a:gd name="T8" fmla="*/ 15 w 18"/>
                <a:gd name="T9" fmla="*/ 17 h 37"/>
                <a:gd name="T10" fmla="*/ 15 w 18"/>
                <a:gd name="T11" fmla="*/ 10 h 37"/>
                <a:gd name="T12" fmla="*/ 18 w 18"/>
                <a:gd name="T13" fmla="*/ 10 h 37"/>
                <a:gd name="T14" fmla="*/ 7 w 18"/>
                <a:gd name="T15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37">
                  <a:moveTo>
                    <a:pt x="7" y="2"/>
                  </a:moveTo>
                  <a:cubicBezTo>
                    <a:pt x="11" y="12"/>
                    <a:pt x="11" y="28"/>
                    <a:pt x="2" y="17"/>
                  </a:cubicBezTo>
                  <a:cubicBezTo>
                    <a:pt x="0" y="29"/>
                    <a:pt x="11" y="22"/>
                    <a:pt x="10" y="32"/>
                  </a:cubicBezTo>
                  <a:cubicBezTo>
                    <a:pt x="7" y="32"/>
                    <a:pt x="8" y="37"/>
                    <a:pt x="13" y="36"/>
                  </a:cubicBezTo>
                  <a:cubicBezTo>
                    <a:pt x="12" y="27"/>
                    <a:pt x="13" y="21"/>
                    <a:pt x="15" y="17"/>
                  </a:cubicBezTo>
                  <a:cubicBezTo>
                    <a:pt x="13" y="17"/>
                    <a:pt x="12" y="11"/>
                    <a:pt x="15" y="10"/>
                  </a:cubicBezTo>
                  <a:cubicBezTo>
                    <a:pt x="15" y="12"/>
                    <a:pt x="18" y="14"/>
                    <a:pt x="18" y="10"/>
                  </a:cubicBezTo>
                  <a:cubicBezTo>
                    <a:pt x="13" y="10"/>
                    <a:pt x="15" y="0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82" name="Freeform 157"/>
            <p:cNvSpPr>
              <a:spLocks/>
            </p:cNvSpPr>
            <p:nvPr userDrawn="1"/>
          </p:nvSpPr>
          <p:spPr bwMode="auto">
            <a:xfrm>
              <a:off x="3214589" y="4446145"/>
              <a:ext cx="30904" cy="60464"/>
            </a:xfrm>
            <a:custGeom>
              <a:avLst/>
              <a:gdLst>
                <a:gd name="T0" fmla="*/ 10 w 10"/>
                <a:gd name="T1" fmla="*/ 15 h 19"/>
                <a:gd name="T2" fmla="*/ 2 w 10"/>
                <a:gd name="T3" fmla="*/ 0 h 19"/>
                <a:gd name="T4" fmla="*/ 2 w 10"/>
                <a:gd name="T5" fmla="*/ 19 h 19"/>
                <a:gd name="T6" fmla="*/ 7 w 10"/>
                <a:gd name="T7" fmla="*/ 19 h 19"/>
                <a:gd name="T8" fmla="*/ 10 w 10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9">
                  <a:moveTo>
                    <a:pt x="10" y="15"/>
                  </a:moveTo>
                  <a:cubicBezTo>
                    <a:pt x="2" y="17"/>
                    <a:pt x="7" y="1"/>
                    <a:pt x="2" y="0"/>
                  </a:cubicBezTo>
                  <a:cubicBezTo>
                    <a:pt x="0" y="12"/>
                    <a:pt x="7" y="12"/>
                    <a:pt x="2" y="19"/>
                  </a:cubicBezTo>
                  <a:cubicBezTo>
                    <a:pt x="3" y="19"/>
                    <a:pt x="5" y="19"/>
                    <a:pt x="7" y="19"/>
                  </a:cubicBezTo>
                  <a:cubicBezTo>
                    <a:pt x="9" y="19"/>
                    <a:pt x="10" y="18"/>
                    <a:pt x="1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83" name="Freeform 158"/>
            <p:cNvSpPr>
              <a:spLocks/>
            </p:cNvSpPr>
            <p:nvPr userDrawn="1"/>
          </p:nvSpPr>
          <p:spPr bwMode="auto">
            <a:xfrm>
              <a:off x="2998261" y="4427334"/>
              <a:ext cx="92712" cy="100774"/>
            </a:xfrm>
            <a:custGeom>
              <a:avLst/>
              <a:gdLst>
                <a:gd name="T0" fmla="*/ 21 w 29"/>
                <a:gd name="T1" fmla="*/ 25 h 32"/>
                <a:gd name="T2" fmla="*/ 2 w 29"/>
                <a:gd name="T3" fmla="*/ 14 h 32"/>
                <a:gd name="T4" fmla="*/ 5 w 29"/>
                <a:gd name="T5" fmla="*/ 21 h 32"/>
                <a:gd name="T6" fmla="*/ 0 w 29"/>
                <a:gd name="T7" fmla="*/ 25 h 32"/>
                <a:gd name="T8" fmla="*/ 13 w 29"/>
                <a:gd name="T9" fmla="*/ 18 h 32"/>
                <a:gd name="T10" fmla="*/ 16 w 29"/>
                <a:gd name="T11" fmla="*/ 32 h 32"/>
                <a:gd name="T12" fmla="*/ 29 w 29"/>
                <a:gd name="T13" fmla="*/ 32 h 32"/>
                <a:gd name="T14" fmla="*/ 29 w 29"/>
                <a:gd name="T15" fmla="*/ 14 h 32"/>
                <a:gd name="T16" fmla="*/ 19 w 29"/>
                <a:gd name="T17" fmla="*/ 10 h 32"/>
                <a:gd name="T18" fmla="*/ 21 w 29"/>
                <a:gd name="T19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2">
                  <a:moveTo>
                    <a:pt x="21" y="25"/>
                  </a:moveTo>
                  <a:cubicBezTo>
                    <a:pt x="15" y="24"/>
                    <a:pt x="11" y="0"/>
                    <a:pt x="2" y="14"/>
                  </a:cubicBezTo>
                  <a:cubicBezTo>
                    <a:pt x="4" y="15"/>
                    <a:pt x="5" y="17"/>
                    <a:pt x="5" y="21"/>
                  </a:cubicBezTo>
                  <a:cubicBezTo>
                    <a:pt x="3" y="22"/>
                    <a:pt x="0" y="21"/>
                    <a:pt x="0" y="25"/>
                  </a:cubicBezTo>
                  <a:cubicBezTo>
                    <a:pt x="9" y="21"/>
                    <a:pt x="8" y="26"/>
                    <a:pt x="13" y="18"/>
                  </a:cubicBezTo>
                  <a:cubicBezTo>
                    <a:pt x="13" y="24"/>
                    <a:pt x="14" y="29"/>
                    <a:pt x="16" y="32"/>
                  </a:cubicBezTo>
                  <a:cubicBezTo>
                    <a:pt x="22" y="32"/>
                    <a:pt x="24" y="25"/>
                    <a:pt x="29" y="32"/>
                  </a:cubicBezTo>
                  <a:cubicBezTo>
                    <a:pt x="29" y="26"/>
                    <a:pt x="29" y="20"/>
                    <a:pt x="29" y="14"/>
                  </a:cubicBezTo>
                  <a:cubicBezTo>
                    <a:pt x="25" y="14"/>
                    <a:pt x="21" y="13"/>
                    <a:pt x="19" y="10"/>
                  </a:cubicBezTo>
                  <a:cubicBezTo>
                    <a:pt x="15" y="19"/>
                    <a:pt x="29" y="22"/>
                    <a:pt x="21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84" name="Freeform 159"/>
            <p:cNvSpPr>
              <a:spLocks/>
            </p:cNvSpPr>
            <p:nvPr userDrawn="1"/>
          </p:nvSpPr>
          <p:spPr bwMode="auto">
            <a:xfrm>
              <a:off x="2970044" y="4494517"/>
              <a:ext cx="53746" cy="84650"/>
            </a:xfrm>
            <a:custGeom>
              <a:avLst/>
              <a:gdLst>
                <a:gd name="T0" fmla="*/ 9 w 17"/>
                <a:gd name="T1" fmla="*/ 19 h 27"/>
                <a:gd name="T2" fmla="*/ 17 w 17"/>
                <a:gd name="T3" fmla="*/ 19 h 27"/>
                <a:gd name="T4" fmla="*/ 9 w 17"/>
                <a:gd name="T5" fmla="*/ 15 h 27"/>
                <a:gd name="T6" fmla="*/ 0 w 17"/>
                <a:gd name="T7" fmla="*/ 19 h 27"/>
                <a:gd name="T8" fmla="*/ 9 w 17"/>
                <a:gd name="T9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7">
                  <a:moveTo>
                    <a:pt x="9" y="19"/>
                  </a:moveTo>
                  <a:cubicBezTo>
                    <a:pt x="9" y="27"/>
                    <a:pt x="16" y="27"/>
                    <a:pt x="17" y="19"/>
                  </a:cubicBezTo>
                  <a:cubicBezTo>
                    <a:pt x="12" y="16"/>
                    <a:pt x="3" y="0"/>
                    <a:pt x="9" y="15"/>
                  </a:cubicBezTo>
                  <a:cubicBezTo>
                    <a:pt x="5" y="16"/>
                    <a:pt x="1" y="14"/>
                    <a:pt x="0" y="19"/>
                  </a:cubicBezTo>
                  <a:cubicBezTo>
                    <a:pt x="4" y="20"/>
                    <a:pt x="5" y="23"/>
                    <a:pt x="9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85" name="Freeform 160"/>
            <p:cNvSpPr>
              <a:spLocks/>
            </p:cNvSpPr>
            <p:nvPr userDrawn="1"/>
          </p:nvSpPr>
          <p:spPr bwMode="auto">
            <a:xfrm>
              <a:off x="2979450" y="4636944"/>
              <a:ext cx="57777" cy="126303"/>
            </a:xfrm>
            <a:custGeom>
              <a:avLst/>
              <a:gdLst>
                <a:gd name="T0" fmla="*/ 8 w 18"/>
                <a:gd name="T1" fmla="*/ 25 h 40"/>
                <a:gd name="T2" fmla="*/ 6 w 18"/>
                <a:gd name="T3" fmla="*/ 0 h 40"/>
                <a:gd name="T4" fmla="*/ 0 w 18"/>
                <a:gd name="T5" fmla="*/ 18 h 40"/>
                <a:gd name="T6" fmla="*/ 6 w 18"/>
                <a:gd name="T7" fmla="*/ 40 h 40"/>
                <a:gd name="T8" fmla="*/ 14 w 18"/>
                <a:gd name="T9" fmla="*/ 40 h 40"/>
                <a:gd name="T10" fmla="*/ 8 w 18"/>
                <a:gd name="T11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0">
                  <a:moveTo>
                    <a:pt x="8" y="25"/>
                  </a:moveTo>
                  <a:cubicBezTo>
                    <a:pt x="7" y="19"/>
                    <a:pt x="14" y="6"/>
                    <a:pt x="6" y="0"/>
                  </a:cubicBezTo>
                  <a:cubicBezTo>
                    <a:pt x="3" y="12"/>
                    <a:pt x="14" y="21"/>
                    <a:pt x="0" y="18"/>
                  </a:cubicBezTo>
                  <a:cubicBezTo>
                    <a:pt x="1" y="31"/>
                    <a:pt x="12" y="25"/>
                    <a:pt x="6" y="40"/>
                  </a:cubicBezTo>
                  <a:cubicBezTo>
                    <a:pt x="8" y="40"/>
                    <a:pt x="11" y="40"/>
                    <a:pt x="14" y="40"/>
                  </a:cubicBezTo>
                  <a:cubicBezTo>
                    <a:pt x="18" y="31"/>
                    <a:pt x="9" y="32"/>
                    <a:pt x="8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86" name="Freeform 161"/>
            <p:cNvSpPr>
              <a:spLocks/>
            </p:cNvSpPr>
            <p:nvPr userDrawn="1"/>
          </p:nvSpPr>
          <p:spPr bwMode="auto">
            <a:xfrm>
              <a:off x="3046632" y="4667848"/>
              <a:ext cx="91368" cy="118241"/>
            </a:xfrm>
            <a:custGeom>
              <a:avLst/>
              <a:gdLst>
                <a:gd name="T0" fmla="*/ 25 w 29"/>
                <a:gd name="T1" fmla="*/ 19 h 37"/>
                <a:gd name="T2" fmla="*/ 9 w 29"/>
                <a:gd name="T3" fmla="*/ 15 h 37"/>
                <a:gd name="T4" fmla="*/ 1 w 29"/>
                <a:gd name="T5" fmla="*/ 23 h 37"/>
                <a:gd name="T6" fmla="*/ 11 w 29"/>
                <a:gd name="T7" fmla="*/ 34 h 37"/>
                <a:gd name="T8" fmla="*/ 17 w 29"/>
                <a:gd name="T9" fmla="*/ 27 h 37"/>
                <a:gd name="T10" fmla="*/ 25 w 29"/>
                <a:gd name="T11" fmla="*/ 30 h 37"/>
                <a:gd name="T12" fmla="*/ 25 w 29"/>
                <a:gd name="T13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37">
                  <a:moveTo>
                    <a:pt x="25" y="19"/>
                  </a:moveTo>
                  <a:cubicBezTo>
                    <a:pt x="19" y="36"/>
                    <a:pt x="14" y="0"/>
                    <a:pt x="9" y="15"/>
                  </a:cubicBezTo>
                  <a:cubicBezTo>
                    <a:pt x="17" y="23"/>
                    <a:pt x="0" y="9"/>
                    <a:pt x="1" y="23"/>
                  </a:cubicBezTo>
                  <a:cubicBezTo>
                    <a:pt x="8" y="22"/>
                    <a:pt x="3" y="37"/>
                    <a:pt x="11" y="34"/>
                  </a:cubicBezTo>
                  <a:cubicBezTo>
                    <a:pt x="15" y="34"/>
                    <a:pt x="14" y="28"/>
                    <a:pt x="17" y="27"/>
                  </a:cubicBezTo>
                  <a:cubicBezTo>
                    <a:pt x="17" y="31"/>
                    <a:pt x="21" y="31"/>
                    <a:pt x="25" y="30"/>
                  </a:cubicBezTo>
                  <a:cubicBezTo>
                    <a:pt x="24" y="24"/>
                    <a:pt x="29" y="21"/>
                    <a:pt x="2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87" name="Freeform 162"/>
            <p:cNvSpPr>
              <a:spLocks/>
            </p:cNvSpPr>
            <p:nvPr userDrawn="1"/>
          </p:nvSpPr>
          <p:spPr bwMode="auto">
            <a:xfrm>
              <a:off x="3191747" y="4753841"/>
              <a:ext cx="79275" cy="67183"/>
            </a:xfrm>
            <a:custGeom>
              <a:avLst/>
              <a:gdLst>
                <a:gd name="T0" fmla="*/ 0 w 25"/>
                <a:gd name="T1" fmla="*/ 11 h 21"/>
                <a:gd name="T2" fmla="*/ 14 w 25"/>
                <a:gd name="T3" fmla="*/ 18 h 21"/>
                <a:gd name="T4" fmla="*/ 25 w 25"/>
                <a:gd name="T5" fmla="*/ 7 h 21"/>
                <a:gd name="T6" fmla="*/ 14 w 25"/>
                <a:gd name="T7" fmla="*/ 11 h 21"/>
                <a:gd name="T8" fmla="*/ 0 w 25"/>
                <a:gd name="T9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1">
                  <a:moveTo>
                    <a:pt x="0" y="11"/>
                  </a:moveTo>
                  <a:cubicBezTo>
                    <a:pt x="9" y="8"/>
                    <a:pt x="6" y="21"/>
                    <a:pt x="14" y="18"/>
                  </a:cubicBezTo>
                  <a:cubicBezTo>
                    <a:pt x="18" y="14"/>
                    <a:pt x="22" y="12"/>
                    <a:pt x="25" y="7"/>
                  </a:cubicBezTo>
                  <a:cubicBezTo>
                    <a:pt x="20" y="7"/>
                    <a:pt x="19" y="11"/>
                    <a:pt x="14" y="11"/>
                  </a:cubicBezTo>
                  <a:cubicBezTo>
                    <a:pt x="11" y="11"/>
                    <a:pt x="2" y="0"/>
                    <a:pt x="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88" name="Freeform 163"/>
            <p:cNvSpPr>
              <a:spLocks/>
            </p:cNvSpPr>
            <p:nvPr userDrawn="1"/>
          </p:nvSpPr>
          <p:spPr bwMode="auto">
            <a:xfrm>
              <a:off x="3030508" y="3239546"/>
              <a:ext cx="69870" cy="64495"/>
            </a:xfrm>
            <a:custGeom>
              <a:avLst/>
              <a:gdLst>
                <a:gd name="T0" fmla="*/ 19 w 22"/>
                <a:gd name="T1" fmla="*/ 0 h 20"/>
                <a:gd name="T2" fmla="*/ 3 w 22"/>
                <a:gd name="T3" fmla="*/ 0 h 20"/>
                <a:gd name="T4" fmla="*/ 0 w 22"/>
                <a:gd name="T5" fmla="*/ 11 h 20"/>
                <a:gd name="T6" fmla="*/ 22 w 22"/>
                <a:gd name="T7" fmla="*/ 18 h 20"/>
                <a:gd name="T8" fmla="*/ 19 w 22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0">
                  <a:moveTo>
                    <a:pt x="19" y="0"/>
                  </a:moveTo>
                  <a:cubicBezTo>
                    <a:pt x="14" y="0"/>
                    <a:pt x="9" y="0"/>
                    <a:pt x="3" y="0"/>
                  </a:cubicBezTo>
                  <a:cubicBezTo>
                    <a:pt x="3" y="5"/>
                    <a:pt x="2" y="8"/>
                    <a:pt x="0" y="11"/>
                  </a:cubicBezTo>
                  <a:cubicBezTo>
                    <a:pt x="6" y="15"/>
                    <a:pt x="11" y="20"/>
                    <a:pt x="22" y="18"/>
                  </a:cubicBezTo>
                  <a:cubicBezTo>
                    <a:pt x="21" y="5"/>
                    <a:pt x="15" y="13"/>
                    <a:pt x="1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89" name="Freeform 164"/>
            <p:cNvSpPr>
              <a:spLocks/>
            </p:cNvSpPr>
            <p:nvPr userDrawn="1"/>
          </p:nvSpPr>
          <p:spPr bwMode="auto">
            <a:xfrm>
              <a:off x="3116502" y="4325216"/>
              <a:ext cx="44341" cy="64495"/>
            </a:xfrm>
            <a:custGeom>
              <a:avLst/>
              <a:gdLst>
                <a:gd name="T0" fmla="*/ 6 w 14"/>
                <a:gd name="T1" fmla="*/ 1 h 20"/>
                <a:gd name="T2" fmla="*/ 3 w 14"/>
                <a:gd name="T3" fmla="*/ 20 h 20"/>
                <a:gd name="T4" fmla="*/ 14 w 14"/>
                <a:gd name="T5" fmla="*/ 20 h 20"/>
                <a:gd name="T6" fmla="*/ 6 w 14"/>
                <a:gd name="T7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0">
                  <a:moveTo>
                    <a:pt x="6" y="1"/>
                  </a:moveTo>
                  <a:cubicBezTo>
                    <a:pt x="0" y="9"/>
                    <a:pt x="8" y="13"/>
                    <a:pt x="3" y="20"/>
                  </a:cubicBezTo>
                  <a:cubicBezTo>
                    <a:pt x="7" y="20"/>
                    <a:pt x="10" y="20"/>
                    <a:pt x="14" y="20"/>
                  </a:cubicBezTo>
                  <a:cubicBezTo>
                    <a:pt x="14" y="9"/>
                    <a:pt x="14" y="0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90" name="Freeform 165"/>
            <p:cNvSpPr>
              <a:spLocks/>
            </p:cNvSpPr>
            <p:nvPr userDrawn="1"/>
          </p:nvSpPr>
          <p:spPr bwMode="auto">
            <a:xfrm>
              <a:off x="7714479" y="2323175"/>
              <a:ext cx="4031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91" name="Freeform 166"/>
            <p:cNvSpPr>
              <a:spLocks/>
            </p:cNvSpPr>
            <p:nvPr userDrawn="1"/>
          </p:nvSpPr>
          <p:spPr bwMode="auto">
            <a:xfrm>
              <a:off x="2783277" y="4115607"/>
              <a:ext cx="56433" cy="51059"/>
            </a:xfrm>
            <a:custGeom>
              <a:avLst/>
              <a:gdLst>
                <a:gd name="T0" fmla="*/ 11 w 18"/>
                <a:gd name="T1" fmla="*/ 8 h 16"/>
                <a:gd name="T2" fmla="*/ 14 w 18"/>
                <a:gd name="T3" fmla="*/ 16 h 16"/>
                <a:gd name="T4" fmla="*/ 6 w 18"/>
                <a:gd name="T5" fmla="*/ 5 h 16"/>
                <a:gd name="T6" fmla="*/ 6 w 18"/>
                <a:gd name="T7" fmla="*/ 1 h 16"/>
                <a:gd name="T8" fmla="*/ 0 w 18"/>
                <a:gd name="T9" fmla="*/ 1 h 16"/>
                <a:gd name="T10" fmla="*/ 11 w 1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6">
                  <a:moveTo>
                    <a:pt x="11" y="8"/>
                  </a:moveTo>
                  <a:cubicBezTo>
                    <a:pt x="12" y="11"/>
                    <a:pt x="11" y="16"/>
                    <a:pt x="14" y="16"/>
                  </a:cubicBezTo>
                  <a:cubicBezTo>
                    <a:pt x="18" y="2"/>
                    <a:pt x="9" y="7"/>
                    <a:pt x="6" y="5"/>
                  </a:cubicBezTo>
                  <a:cubicBezTo>
                    <a:pt x="5" y="4"/>
                    <a:pt x="6" y="1"/>
                    <a:pt x="6" y="1"/>
                  </a:cubicBezTo>
                  <a:cubicBezTo>
                    <a:pt x="5" y="0"/>
                    <a:pt x="1" y="2"/>
                    <a:pt x="0" y="1"/>
                  </a:cubicBezTo>
                  <a:cubicBezTo>
                    <a:pt x="2" y="6"/>
                    <a:pt x="6" y="8"/>
                    <a:pt x="1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92" name="Freeform 167"/>
            <p:cNvSpPr>
              <a:spLocks/>
            </p:cNvSpPr>
            <p:nvPr userDrawn="1"/>
          </p:nvSpPr>
          <p:spPr bwMode="auto">
            <a:xfrm>
              <a:off x="3414793" y="2509943"/>
              <a:ext cx="2687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93" name="Freeform 168"/>
            <p:cNvSpPr>
              <a:spLocks noEditPoints="1"/>
            </p:cNvSpPr>
            <p:nvPr userDrawn="1"/>
          </p:nvSpPr>
          <p:spPr bwMode="auto">
            <a:xfrm>
              <a:off x="2541419" y="1687628"/>
              <a:ext cx="6608080" cy="4310435"/>
            </a:xfrm>
            <a:custGeom>
              <a:avLst/>
              <a:gdLst>
                <a:gd name="T0" fmla="*/ 1924 w 2082"/>
                <a:gd name="T1" fmla="*/ 100 h 1358"/>
                <a:gd name="T2" fmla="*/ 1692 w 2082"/>
                <a:gd name="T3" fmla="*/ 41 h 1358"/>
                <a:gd name="T4" fmla="*/ 1606 w 2082"/>
                <a:gd name="T5" fmla="*/ 174 h 1358"/>
                <a:gd name="T6" fmla="*/ 1364 w 2082"/>
                <a:gd name="T7" fmla="*/ 145 h 1358"/>
                <a:gd name="T8" fmla="*/ 1063 w 2082"/>
                <a:gd name="T9" fmla="*/ 100 h 1358"/>
                <a:gd name="T10" fmla="*/ 738 w 2082"/>
                <a:gd name="T11" fmla="*/ 78 h 1358"/>
                <a:gd name="T12" fmla="*/ 356 w 2082"/>
                <a:gd name="T13" fmla="*/ 22 h 1358"/>
                <a:gd name="T14" fmla="*/ 17 w 2082"/>
                <a:gd name="T15" fmla="*/ 333 h 1358"/>
                <a:gd name="T16" fmla="*/ 36 w 2082"/>
                <a:gd name="T17" fmla="*/ 751 h 1358"/>
                <a:gd name="T18" fmla="*/ 176 w 2082"/>
                <a:gd name="T19" fmla="*/ 662 h 1358"/>
                <a:gd name="T20" fmla="*/ 243 w 2082"/>
                <a:gd name="T21" fmla="*/ 884 h 1358"/>
                <a:gd name="T22" fmla="*/ 698 w 2082"/>
                <a:gd name="T23" fmla="*/ 1210 h 1358"/>
                <a:gd name="T24" fmla="*/ 1101 w 2082"/>
                <a:gd name="T25" fmla="*/ 1287 h 1358"/>
                <a:gd name="T26" fmla="*/ 1480 w 2082"/>
                <a:gd name="T27" fmla="*/ 1317 h 1358"/>
                <a:gd name="T28" fmla="*/ 1881 w 2082"/>
                <a:gd name="T29" fmla="*/ 1350 h 1358"/>
                <a:gd name="T30" fmla="*/ 189 w 2082"/>
                <a:gd name="T31" fmla="*/ 644 h 1358"/>
                <a:gd name="T32" fmla="*/ 146 w 2082"/>
                <a:gd name="T33" fmla="*/ 403 h 1358"/>
                <a:gd name="T34" fmla="*/ 111 w 2082"/>
                <a:gd name="T35" fmla="*/ 599 h 1358"/>
                <a:gd name="T36" fmla="*/ 135 w 2082"/>
                <a:gd name="T37" fmla="*/ 485 h 1358"/>
                <a:gd name="T38" fmla="*/ 165 w 2082"/>
                <a:gd name="T39" fmla="*/ 267 h 1358"/>
                <a:gd name="T40" fmla="*/ 74 w 2082"/>
                <a:gd name="T41" fmla="*/ 218 h 1358"/>
                <a:gd name="T42" fmla="*/ 130 w 2082"/>
                <a:gd name="T43" fmla="*/ 659 h 1358"/>
                <a:gd name="T44" fmla="*/ 157 w 2082"/>
                <a:gd name="T45" fmla="*/ 448 h 1358"/>
                <a:gd name="T46" fmla="*/ 447 w 2082"/>
                <a:gd name="T47" fmla="*/ 648 h 1358"/>
                <a:gd name="T48" fmla="*/ 353 w 2082"/>
                <a:gd name="T49" fmla="*/ 755 h 1358"/>
                <a:gd name="T50" fmla="*/ 267 w 2082"/>
                <a:gd name="T51" fmla="*/ 537 h 1358"/>
                <a:gd name="T52" fmla="*/ 246 w 2082"/>
                <a:gd name="T53" fmla="*/ 448 h 1358"/>
                <a:gd name="T54" fmla="*/ 386 w 2082"/>
                <a:gd name="T55" fmla="*/ 307 h 1358"/>
                <a:gd name="T56" fmla="*/ 375 w 2082"/>
                <a:gd name="T57" fmla="*/ 311 h 1358"/>
                <a:gd name="T58" fmla="*/ 321 w 2082"/>
                <a:gd name="T59" fmla="*/ 570 h 1358"/>
                <a:gd name="T60" fmla="*/ 316 w 2082"/>
                <a:gd name="T61" fmla="*/ 385 h 1358"/>
                <a:gd name="T62" fmla="*/ 294 w 2082"/>
                <a:gd name="T63" fmla="*/ 699 h 1358"/>
                <a:gd name="T64" fmla="*/ 351 w 2082"/>
                <a:gd name="T65" fmla="*/ 651 h 1358"/>
                <a:gd name="T66" fmla="*/ 412 w 2082"/>
                <a:gd name="T67" fmla="*/ 614 h 1358"/>
                <a:gd name="T68" fmla="*/ 353 w 2082"/>
                <a:gd name="T69" fmla="*/ 307 h 1358"/>
                <a:gd name="T70" fmla="*/ 275 w 2082"/>
                <a:gd name="T71" fmla="*/ 178 h 1358"/>
                <a:gd name="T72" fmla="*/ 230 w 2082"/>
                <a:gd name="T73" fmla="*/ 163 h 1358"/>
                <a:gd name="T74" fmla="*/ 254 w 2082"/>
                <a:gd name="T75" fmla="*/ 670 h 1358"/>
                <a:gd name="T76" fmla="*/ 308 w 2082"/>
                <a:gd name="T77" fmla="*/ 762 h 1358"/>
                <a:gd name="T78" fmla="*/ 496 w 2082"/>
                <a:gd name="T79" fmla="*/ 807 h 1358"/>
                <a:gd name="T80" fmla="*/ 918 w 2082"/>
                <a:gd name="T81" fmla="*/ 1235 h 1358"/>
                <a:gd name="T82" fmla="*/ 1176 w 2082"/>
                <a:gd name="T83" fmla="*/ 1217 h 1358"/>
                <a:gd name="T84" fmla="*/ 1260 w 2082"/>
                <a:gd name="T85" fmla="*/ 237 h 1358"/>
                <a:gd name="T86" fmla="*/ 1319 w 2082"/>
                <a:gd name="T87" fmla="*/ 196 h 1358"/>
                <a:gd name="T88" fmla="*/ 1566 w 2082"/>
                <a:gd name="T89" fmla="*/ 263 h 1358"/>
                <a:gd name="T90" fmla="*/ 1448 w 2082"/>
                <a:gd name="T91" fmla="*/ 167 h 1358"/>
                <a:gd name="T92" fmla="*/ 1367 w 2082"/>
                <a:gd name="T93" fmla="*/ 599 h 1358"/>
                <a:gd name="T94" fmla="*/ 1415 w 2082"/>
                <a:gd name="T95" fmla="*/ 1306 h 1358"/>
                <a:gd name="T96" fmla="*/ 1467 w 2082"/>
                <a:gd name="T97" fmla="*/ 640 h 1358"/>
                <a:gd name="T98" fmla="*/ 1553 w 2082"/>
                <a:gd name="T99" fmla="*/ 1291 h 1358"/>
                <a:gd name="T100" fmla="*/ 2055 w 2082"/>
                <a:gd name="T101" fmla="*/ 562 h 1358"/>
                <a:gd name="T102" fmla="*/ 1996 w 2082"/>
                <a:gd name="T103" fmla="*/ 537 h 1358"/>
                <a:gd name="T104" fmla="*/ 1948 w 2082"/>
                <a:gd name="T105" fmla="*/ 178 h 1358"/>
                <a:gd name="T106" fmla="*/ 1918 w 2082"/>
                <a:gd name="T107" fmla="*/ 71 h 1358"/>
                <a:gd name="T108" fmla="*/ 1840 w 2082"/>
                <a:gd name="T109" fmla="*/ 170 h 1358"/>
                <a:gd name="T110" fmla="*/ 1738 w 2082"/>
                <a:gd name="T111" fmla="*/ 1265 h 1358"/>
                <a:gd name="T112" fmla="*/ 1730 w 2082"/>
                <a:gd name="T113" fmla="*/ 603 h 1358"/>
                <a:gd name="T114" fmla="*/ 1666 w 2082"/>
                <a:gd name="T115" fmla="*/ 215 h 1358"/>
                <a:gd name="T116" fmla="*/ 1746 w 2082"/>
                <a:gd name="T117" fmla="*/ 1295 h 1358"/>
                <a:gd name="T118" fmla="*/ 1811 w 2082"/>
                <a:gd name="T119" fmla="*/ 1254 h 1358"/>
                <a:gd name="T120" fmla="*/ 1848 w 2082"/>
                <a:gd name="T121" fmla="*/ 215 h 1358"/>
                <a:gd name="T122" fmla="*/ 1899 w 2082"/>
                <a:gd name="T123" fmla="*/ 1199 h 1358"/>
                <a:gd name="T124" fmla="*/ 2039 w 2082"/>
                <a:gd name="T125" fmla="*/ 1306 h 1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82" h="1358">
                  <a:moveTo>
                    <a:pt x="2050" y="100"/>
                  </a:moveTo>
                  <a:cubicBezTo>
                    <a:pt x="2048" y="103"/>
                    <a:pt x="2053" y="115"/>
                    <a:pt x="2045" y="119"/>
                  </a:cubicBezTo>
                  <a:cubicBezTo>
                    <a:pt x="2041" y="120"/>
                    <a:pt x="2037" y="118"/>
                    <a:pt x="2034" y="119"/>
                  </a:cubicBezTo>
                  <a:cubicBezTo>
                    <a:pt x="2032" y="131"/>
                    <a:pt x="2045" y="123"/>
                    <a:pt x="2042" y="137"/>
                  </a:cubicBezTo>
                  <a:cubicBezTo>
                    <a:pt x="2047" y="138"/>
                    <a:pt x="2047" y="132"/>
                    <a:pt x="2050" y="130"/>
                  </a:cubicBezTo>
                  <a:cubicBezTo>
                    <a:pt x="2050" y="133"/>
                    <a:pt x="2050" y="137"/>
                    <a:pt x="2050" y="141"/>
                  </a:cubicBezTo>
                  <a:cubicBezTo>
                    <a:pt x="2057" y="143"/>
                    <a:pt x="2071" y="136"/>
                    <a:pt x="2074" y="145"/>
                  </a:cubicBezTo>
                  <a:cubicBezTo>
                    <a:pt x="2074" y="147"/>
                    <a:pt x="2074" y="152"/>
                    <a:pt x="2072" y="152"/>
                  </a:cubicBezTo>
                  <a:cubicBezTo>
                    <a:pt x="2067" y="151"/>
                    <a:pt x="2062" y="141"/>
                    <a:pt x="2058" y="145"/>
                  </a:cubicBezTo>
                  <a:cubicBezTo>
                    <a:pt x="2057" y="146"/>
                    <a:pt x="2059" y="153"/>
                    <a:pt x="2055" y="152"/>
                  </a:cubicBezTo>
                  <a:cubicBezTo>
                    <a:pt x="2053" y="144"/>
                    <a:pt x="2049" y="139"/>
                    <a:pt x="2039" y="141"/>
                  </a:cubicBezTo>
                  <a:cubicBezTo>
                    <a:pt x="2041" y="153"/>
                    <a:pt x="2037" y="158"/>
                    <a:pt x="2037" y="167"/>
                  </a:cubicBezTo>
                  <a:cubicBezTo>
                    <a:pt x="2048" y="170"/>
                    <a:pt x="2047" y="157"/>
                    <a:pt x="2053" y="152"/>
                  </a:cubicBezTo>
                  <a:cubicBezTo>
                    <a:pt x="2050" y="162"/>
                    <a:pt x="2057" y="162"/>
                    <a:pt x="2055" y="170"/>
                  </a:cubicBezTo>
                  <a:cubicBezTo>
                    <a:pt x="2059" y="171"/>
                    <a:pt x="2062" y="171"/>
                    <a:pt x="2061" y="178"/>
                  </a:cubicBezTo>
                  <a:cubicBezTo>
                    <a:pt x="2057" y="172"/>
                    <a:pt x="2050" y="170"/>
                    <a:pt x="2045" y="167"/>
                  </a:cubicBezTo>
                  <a:cubicBezTo>
                    <a:pt x="2042" y="172"/>
                    <a:pt x="2043" y="181"/>
                    <a:pt x="2034" y="178"/>
                  </a:cubicBezTo>
                  <a:cubicBezTo>
                    <a:pt x="2038" y="165"/>
                    <a:pt x="2033" y="151"/>
                    <a:pt x="2037" y="137"/>
                  </a:cubicBezTo>
                  <a:cubicBezTo>
                    <a:pt x="2032" y="137"/>
                    <a:pt x="2034" y="128"/>
                    <a:pt x="2029" y="130"/>
                  </a:cubicBezTo>
                  <a:cubicBezTo>
                    <a:pt x="2028" y="137"/>
                    <a:pt x="2032" y="137"/>
                    <a:pt x="2034" y="141"/>
                  </a:cubicBezTo>
                  <a:cubicBezTo>
                    <a:pt x="2028" y="144"/>
                    <a:pt x="2032" y="154"/>
                    <a:pt x="2031" y="159"/>
                  </a:cubicBezTo>
                  <a:cubicBezTo>
                    <a:pt x="2031" y="160"/>
                    <a:pt x="2029" y="160"/>
                    <a:pt x="2029" y="163"/>
                  </a:cubicBezTo>
                  <a:cubicBezTo>
                    <a:pt x="2028" y="168"/>
                    <a:pt x="2028" y="171"/>
                    <a:pt x="2026" y="174"/>
                  </a:cubicBezTo>
                  <a:cubicBezTo>
                    <a:pt x="2023" y="180"/>
                    <a:pt x="2024" y="190"/>
                    <a:pt x="2020" y="193"/>
                  </a:cubicBezTo>
                  <a:cubicBezTo>
                    <a:pt x="2013" y="185"/>
                    <a:pt x="2023" y="171"/>
                    <a:pt x="2026" y="167"/>
                  </a:cubicBezTo>
                  <a:cubicBezTo>
                    <a:pt x="2027" y="155"/>
                    <a:pt x="2019" y="157"/>
                    <a:pt x="2018" y="148"/>
                  </a:cubicBezTo>
                  <a:cubicBezTo>
                    <a:pt x="2021" y="148"/>
                    <a:pt x="2022" y="153"/>
                    <a:pt x="2026" y="152"/>
                  </a:cubicBezTo>
                  <a:cubicBezTo>
                    <a:pt x="2029" y="152"/>
                    <a:pt x="2029" y="142"/>
                    <a:pt x="2026" y="141"/>
                  </a:cubicBezTo>
                  <a:cubicBezTo>
                    <a:pt x="2026" y="156"/>
                    <a:pt x="2022" y="141"/>
                    <a:pt x="2020" y="137"/>
                  </a:cubicBezTo>
                  <a:cubicBezTo>
                    <a:pt x="2012" y="140"/>
                    <a:pt x="2015" y="140"/>
                    <a:pt x="2007" y="137"/>
                  </a:cubicBezTo>
                  <a:cubicBezTo>
                    <a:pt x="2000" y="144"/>
                    <a:pt x="2009" y="172"/>
                    <a:pt x="2002" y="178"/>
                  </a:cubicBezTo>
                  <a:cubicBezTo>
                    <a:pt x="1999" y="168"/>
                    <a:pt x="1995" y="172"/>
                    <a:pt x="1999" y="167"/>
                  </a:cubicBezTo>
                  <a:cubicBezTo>
                    <a:pt x="2001" y="164"/>
                    <a:pt x="1990" y="162"/>
                    <a:pt x="1991" y="159"/>
                  </a:cubicBezTo>
                  <a:cubicBezTo>
                    <a:pt x="1990" y="153"/>
                    <a:pt x="1995" y="150"/>
                    <a:pt x="1991" y="148"/>
                  </a:cubicBezTo>
                  <a:cubicBezTo>
                    <a:pt x="1991" y="150"/>
                    <a:pt x="1989" y="152"/>
                    <a:pt x="1988" y="148"/>
                  </a:cubicBezTo>
                  <a:cubicBezTo>
                    <a:pt x="1994" y="147"/>
                    <a:pt x="1995" y="141"/>
                    <a:pt x="1999" y="137"/>
                  </a:cubicBezTo>
                  <a:cubicBezTo>
                    <a:pt x="2000" y="143"/>
                    <a:pt x="2002" y="136"/>
                    <a:pt x="2007" y="137"/>
                  </a:cubicBezTo>
                  <a:cubicBezTo>
                    <a:pt x="2009" y="134"/>
                    <a:pt x="2008" y="129"/>
                    <a:pt x="2010" y="126"/>
                  </a:cubicBezTo>
                  <a:cubicBezTo>
                    <a:pt x="2010" y="126"/>
                    <a:pt x="2012" y="126"/>
                    <a:pt x="2012" y="126"/>
                  </a:cubicBezTo>
                  <a:cubicBezTo>
                    <a:pt x="2013" y="121"/>
                    <a:pt x="2010" y="118"/>
                    <a:pt x="2010" y="115"/>
                  </a:cubicBezTo>
                  <a:cubicBezTo>
                    <a:pt x="2010" y="115"/>
                    <a:pt x="2013" y="114"/>
                    <a:pt x="2012" y="111"/>
                  </a:cubicBezTo>
                  <a:cubicBezTo>
                    <a:pt x="2012" y="111"/>
                    <a:pt x="2007" y="109"/>
                    <a:pt x="2007" y="108"/>
                  </a:cubicBezTo>
                  <a:cubicBezTo>
                    <a:pt x="2007" y="113"/>
                    <a:pt x="2007" y="120"/>
                    <a:pt x="2002" y="119"/>
                  </a:cubicBezTo>
                  <a:cubicBezTo>
                    <a:pt x="2001" y="112"/>
                    <a:pt x="2005" y="111"/>
                    <a:pt x="2004" y="104"/>
                  </a:cubicBezTo>
                  <a:cubicBezTo>
                    <a:pt x="2001" y="104"/>
                    <a:pt x="1998" y="106"/>
                    <a:pt x="1996" y="108"/>
                  </a:cubicBezTo>
                  <a:cubicBezTo>
                    <a:pt x="2003" y="102"/>
                    <a:pt x="1993" y="95"/>
                    <a:pt x="1988" y="96"/>
                  </a:cubicBezTo>
                  <a:cubicBezTo>
                    <a:pt x="1985" y="98"/>
                    <a:pt x="1986" y="102"/>
                    <a:pt x="1983" y="104"/>
                  </a:cubicBezTo>
                  <a:cubicBezTo>
                    <a:pt x="1983" y="99"/>
                    <a:pt x="1984" y="96"/>
                    <a:pt x="1986" y="93"/>
                  </a:cubicBezTo>
                  <a:cubicBezTo>
                    <a:pt x="1982" y="93"/>
                    <a:pt x="1978" y="93"/>
                    <a:pt x="1975" y="93"/>
                  </a:cubicBezTo>
                  <a:cubicBezTo>
                    <a:pt x="1974" y="97"/>
                    <a:pt x="1975" y="103"/>
                    <a:pt x="1972" y="104"/>
                  </a:cubicBezTo>
                  <a:cubicBezTo>
                    <a:pt x="1969" y="104"/>
                    <a:pt x="1970" y="97"/>
                    <a:pt x="1967" y="96"/>
                  </a:cubicBezTo>
                  <a:cubicBezTo>
                    <a:pt x="1967" y="97"/>
                    <a:pt x="1960" y="104"/>
                    <a:pt x="1956" y="100"/>
                  </a:cubicBezTo>
                  <a:cubicBezTo>
                    <a:pt x="1955" y="90"/>
                    <a:pt x="1948" y="87"/>
                    <a:pt x="1940" y="85"/>
                  </a:cubicBezTo>
                  <a:cubicBezTo>
                    <a:pt x="1939" y="93"/>
                    <a:pt x="1943" y="93"/>
                    <a:pt x="1945" y="96"/>
                  </a:cubicBezTo>
                  <a:cubicBezTo>
                    <a:pt x="1936" y="90"/>
                    <a:pt x="1937" y="97"/>
                    <a:pt x="1932" y="104"/>
                  </a:cubicBezTo>
                  <a:cubicBezTo>
                    <a:pt x="1930" y="93"/>
                    <a:pt x="1936" y="93"/>
                    <a:pt x="1934" y="82"/>
                  </a:cubicBezTo>
                  <a:cubicBezTo>
                    <a:pt x="1924" y="83"/>
                    <a:pt x="1936" y="98"/>
                    <a:pt x="1924" y="100"/>
                  </a:cubicBezTo>
                  <a:cubicBezTo>
                    <a:pt x="1928" y="88"/>
                    <a:pt x="1922" y="81"/>
                    <a:pt x="1924" y="63"/>
                  </a:cubicBezTo>
                  <a:cubicBezTo>
                    <a:pt x="1920" y="64"/>
                    <a:pt x="1915" y="60"/>
                    <a:pt x="1916" y="56"/>
                  </a:cubicBezTo>
                  <a:cubicBezTo>
                    <a:pt x="1916" y="56"/>
                    <a:pt x="1920" y="54"/>
                    <a:pt x="1918" y="52"/>
                  </a:cubicBezTo>
                  <a:cubicBezTo>
                    <a:pt x="1914" y="48"/>
                    <a:pt x="1902" y="50"/>
                    <a:pt x="1905" y="52"/>
                  </a:cubicBezTo>
                  <a:cubicBezTo>
                    <a:pt x="1908" y="54"/>
                    <a:pt x="1910" y="57"/>
                    <a:pt x="1910" y="63"/>
                  </a:cubicBezTo>
                  <a:cubicBezTo>
                    <a:pt x="1905" y="59"/>
                    <a:pt x="1897" y="69"/>
                    <a:pt x="1905" y="71"/>
                  </a:cubicBezTo>
                  <a:cubicBezTo>
                    <a:pt x="1905" y="67"/>
                    <a:pt x="1910" y="66"/>
                    <a:pt x="1910" y="71"/>
                  </a:cubicBezTo>
                  <a:cubicBezTo>
                    <a:pt x="1909" y="76"/>
                    <a:pt x="1906" y="80"/>
                    <a:pt x="1902" y="82"/>
                  </a:cubicBezTo>
                  <a:cubicBezTo>
                    <a:pt x="1896" y="73"/>
                    <a:pt x="1893" y="76"/>
                    <a:pt x="1886" y="82"/>
                  </a:cubicBezTo>
                  <a:cubicBezTo>
                    <a:pt x="1884" y="95"/>
                    <a:pt x="1889" y="100"/>
                    <a:pt x="1891" y="108"/>
                  </a:cubicBezTo>
                  <a:cubicBezTo>
                    <a:pt x="1888" y="112"/>
                    <a:pt x="1881" y="109"/>
                    <a:pt x="1878" y="104"/>
                  </a:cubicBezTo>
                  <a:cubicBezTo>
                    <a:pt x="1881" y="102"/>
                    <a:pt x="1884" y="99"/>
                    <a:pt x="1883" y="93"/>
                  </a:cubicBezTo>
                  <a:cubicBezTo>
                    <a:pt x="1877" y="93"/>
                    <a:pt x="1875" y="100"/>
                    <a:pt x="1873" y="89"/>
                  </a:cubicBezTo>
                  <a:cubicBezTo>
                    <a:pt x="1871" y="83"/>
                    <a:pt x="1876" y="67"/>
                    <a:pt x="1870" y="67"/>
                  </a:cubicBezTo>
                  <a:cubicBezTo>
                    <a:pt x="1870" y="84"/>
                    <a:pt x="1861" y="97"/>
                    <a:pt x="1862" y="111"/>
                  </a:cubicBezTo>
                  <a:cubicBezTo>
                    <a:pt x="1862" y="119"/>
                    <a:pt x="1874" y="123"/>
                    <a:pt x="1865" y="130"/>
                  </a:cubicBezTo>
                  <a:cubicBezTo>
                    <a:pt x="1854" y="127"/>
                    <a:pt x="1867" y="117"/>
                    <a:pt x="1856" y="115"/>
                  </a:cubicBezTo>
                  <a:cubicBezTo>
                    <a:pt x="1852" y="121"/>
                    <a:pt x="1857" y="147"/>
                    <a:pt x="1848" y="156"/>
                  </a:cubicBezTo>
                  <a:cubicBezTo>
                    <a:pt x="1850" y="144"/>
                    <a:pt x="1844" y="145"/>
                    <a:pt x="1846" y="133"/>
                  </a:cubicBezTo>
                  <a:cubicBezTo>
                    <a:pt x="1855" y="137"/>
                    <a:pt x="1850" y="122"/>
                    <a:pt x="1851" y="115"/>
                  </a:cubicBezTo>
                  <a:cubicBezTo>
                    <a:pt x="1842" y="117"/>
                    <a:pt x="1840" y="91"/>
                    <a:pt x="1846" y="85"/>
                  </a:cubicBezTo>
                  <a:cubicBezTo>
                    <a:pt x="1849" y="86"/>
                    <a:pt x="1852" y="105"/>
                    <a:pt x="1856" y="93"/>
                  </a:cubicBezTo>
                  <a:cubicBezTo>
                    <a:pt x="1850" y="85"/>
                    <a:pt x="1863" y="96"/>
                    <a:pt x="1865" y="89"/>
                  </a:cubicBezTo>
                  <a:cubicBezTo>
                    <a:pt x="1865" y="79"/>
                    <a:pt x="1863" y="68"/>
                    <a:pt x="1867" y="63"/>
                  </a:cubicBezTo>
                  <a:cubicBezTo>
                    <a:pt x="1862" y="62"/>
                    <a:pt x="1861" y="67"/>
                    <a:pt x="1856" y="67"/>
                  </a:cubicBezTo>
                  <a:cubicBezTo>
                    <a:pt x="1853" y="67"/>
                    <a:pt x="1852" y="59"/>
                    <a:pt x="1848" y="60"/>
                  </a:cubicBezTo>
                  <a:cubicBezTo>
                    <a:pt x="1847" y="60"/>
                    <a:pt x="1847" y="65"/>
                    <a:pt x="1843" y="63"/>
                  </a:cubicBezTo>
                  <a:cubicBezTo>
                    <a:pt x="1843" y="63"/>
                    <a:pt x="1843" y="57"/>
                    <a:pt x="1843" y="56"/>
                  </a:cubicBezTo>
                  <a:cubicBezTo>
                    <a:pt x="1837" y="57"/>
                    <a:pt x="1832" y="60"/>
                    <a:pt x="1827" y="63"/>
                  </a:cubicBezTo>
                  <a:cubicBezTo>
                    <a:pt x="1827" y="57"/>
                    <a:pt x="1827" y="50"/>
                    <a:pt x="1822" y="52"/>
                  </a:cubicBezTo>
                  <a:cubicBezTo>
                    <a:pt x="1821" y="56"/>
                    <a:pt x="1822" y="63"/>
                    <a:pt x="1819" y="63"/>
                  </a:cubicBezTo>
                  <a:cubicBezTo>
                    <a:pt x="1817" y="57"/>
                    <a:pt x="1816" y="65"/>
                    <a:pt x="1813" y="67"/>
                  </a:cubicBezTo>
                  <a:cubicBezTo>
                    <a:pt x="1810" y="55"/>
                    <a:pt x="1818" y="58"/>
                    <a:pt x="1819" y="52"/>
                  </a:cubicBezTo>
                  <a:cubicBezTo>
                    <a:pt x="1810" y="55"/>
                    <a:pt x="1813" y="55"/>
                    <a:pt x="1808" y="48"/>
                  </a:cubicBezTo>
                  <a:cubicBezTo>
                    <a:pt x="1809" y="54"/>
                    <a:pt x="1798" y="61"/>
                    <a:pt x="1797" y="52"/>
                  </a:cubicBezTo>
                  <a:cubicBezTo>
                    <a:pt x="1796" y="44"/>
                    <a:pt x="1808" y="57"/>
                    <a:pt x="1800" y="48"/>
                  </a:cubicBezTo>
                  <a:cubicBezTo>
                    <a:pt x="1798" y="36"/>
                    <a:pt x="1792" y="64"/>
                    <a:pt x="1792" y="48"/>
                  </a:cubicBezTo>
                  <a:cubicBezTo>
                    <a:pt x="1792" y="43"/>
                    <a:pt x="1783" y="41"/>
                    <a:pt x="1778" y="41"/>
                  </a:cubicBezTo>
                  <a:cubicBezTo>
                    <a:pt x="1778" y="45"/>
                    <a:pt x="1779" y="51"/>
                    <a:pt x="1776" y="52"/>
                  </a:cubicBezTo>
                  <a:cubicBezTo>
                    <a:pt x="1778" y="34"/>
                    <a:pt x="1767" y="40"/>
                    <a:pt x="1765" y="41"/>
                  </a:cubicBezTo>
                  <a:cubicBezTo>
                    <a:pt x="1756" y="44"/>
                    <a:pt x="1758" y="34"/>
                    <a:pt x="1752" y="37"/>
                  </a:cubicBezTo>
                  <a:cubicBezTo>
                    <a:pt x="1750" y="38"/>
                    <a:pt x="1752" y="46"/>
                    <a:pt x="1749" y="45"/>
                  </a:cubicBezTo>
                  <a:cubicBezTo>
                    <a:pt x="1748" y="40"/>
                    <a:pt x="1749" y="34"/>
                    <a:pt x="1746" y="34"/>
                  </a:cubicBezTo>
                  <a:cubicBezTo>
                    <a:pt x="1744" y="42"/>
                    <a:pt x="1729" y="44"/>
                    <a:pt x="1727" y="30"/>
                  </a:cubicBezTo>
                  <a:cubicBezTo>
                    <a:pt x="1728" y="24"/>
                    <a:pt x="1734" y="27"/>
                    <a:pt x="1735" y="22"/>
                  </a:cubicBezTo>
                  <a:cubicBezTo>
                    <a:pt x="1735" y="23"/>
                    <a:pt x="1731" y="19"/>
                    <a:pt x="1735" y="19"/>
                  </a:cubicBezTo>
                  <a:cubicBezTo>
                    <a:pt x="1741" y="16"/>
                    <a:pt x="1741" y="27"/>
                    <a:pt x="1744" y="26"/>
                  </a:cubicBezTo>
                  <a:cubicBezTo>
                    <a:pt x="1744" y="26"/>
                    <a:pt x="1749" y="14"/>
                    <a:pt x="1749" y="22"/>
                  </a:cubicBezTo>
                  <a:cubicBezTo>
                    <a:pt x="1749" y="28"/>
                    <a:pt x="1755" y="27"/>
                    <a:pt x="1757" y="30"/>
                  </a:cubicBezTo>
                  <a:cubicBezTo>
                    <a:pt x="1757" y="26"/>
                    <a:pt x="1757" y="19"/>
                    <a:pt x="1760" y="19"/>
                  </a:cubicBezTo>
                  <a:cubicBezTo>
                    <a:pt x="1759" y="25"/>
                    <a:pt x="1763" y="29"/>
                    <a:pt x="1765" y="22"/>
                  </a:cubicBezTo>
                  <a:cubicBezTo>
                    <a:pt x="1751" y="5"/>
                    <a:pt x="1742" y="19"/>
                    <a:pt x="1725" y="11"/>
                  </a:cubicBezTo>
                  <a:cubicBezTo>
                    <a:pt x="1719" y="18"/>
                    <a:pt x="1724" y="25"/>
                    <a:pt x="1725" y="34"/>
                  </a:cubicBezTo>
                  <a:cubicBezTo>
                    <a:pt x="1716" y="39"/>
                    <a:pt x="1713" y="35"/>
                    <a:pt x="1703" y="34"/>
                  </a:cubicBezTo>
                  <a:cubicBezTo>
                    <a:pt x="1703" y="37"/>
                    <a:pt x="1703" y="40"/>
                    <a:pt x="1700" y="41"/>
                  </a:cubicBezTo>
                  <a:cubicBezTo>
                    <a:pt x="1698" y="42"/>
                    <a:pt x="1698" y="38"/>
                    <a:pt x="1698" y="37"/>
                  </a:cubicBezTo>
                  <a:cubicBezTo>
                    <a:pt x="1695" y="36"/>
                    <a:pt x="1694" y="41"/>
                    <a:pt x="1692" y="41"/>
                  </a:cubicBezTo>
                  <a:cubicBezTo>
                    <a:pt x="1693" y="41"/>
                    <a:pt x="1691" y="38"/>
                    <a:pt x="1690" y="37"/>
                  </a:cubicBezTo>
                  <a:cubicBezTo>
                    <a:pt x="1687" y="36"/>
                    <a:pt x="1684" y="38"/>
                    <a:pt x="1682" y="37"/>
                  </a:cubicBezTo>
                  <a:cubicBezTo>
                    <a:pt x="1681" y="40"/>
                    <a:pt x="1682" y="45"/>
                    <a:pt x="1679" y="45"/>
                  </a:cubicBezTo>
                  <a:cubicBezTo>
                    <a:pt x="1676" y="36"/>
                    <a:pt x="1666" y="51"/>
                    <a:pt x="1666" y="34"/>
                  </a:cubicBezTo>
                  <a:cubicBezTo>
                    <a:pt x="1670" y="34"/>
                    <a:pt x="1675" y="34"/>
                    <a:pt x="1679" y="34"/>
                  </a:cubicBezTo>
                  <a:cubicBezTo>
                    <a:pt x="1680" y="18"/>
                    <a:pt x="1672" y="29"/>
                    <a:pt x="1671" y="22"/>
                  </a:cubicBezTo>
                  <a:cubicBezTo>
                    <a:pt x="1673" y="22"/>
                    <a:pt x="1674" y="22"/>
                    <a:pt x="1674" y="19"/>
                  </a:cubicBezTo>
                  <a:cubicBezTo>
                    <a:pt x="1665" y="23"/>
                    <a:pt x="1657" y="20"/>
                    <a:pt x="1652" y="22"/>
                  </a:cubicBezTo>
                  <a:cubicBezTo>
                    <a:pt x="1651" y="23"/>
                    <a:pt x="1648" y="29"/>
                    <a:pt x="1647" y="30"/>
                  </a:cubicBezTo>
                  <a:cubicBezTo>
                    <a:pt x="1644" y="32"/>
                    <a:pt x="1641" y="30"/>
                    <a:pt x="1639" y="34"/>
                  </a:cubicBezTo>
                  <a:cubicBezTo>
                    <a:pt x="1636" y="38"/>
                    <a:pt x="1638" y="46"/>
                    <a:pt x="1636" y="52"/>
                  </a:cubicBezTo>
                  <a:cubicBezTo>
                    <a:pt x="1635" y="55"/>
                    <a:pt x="1629" y="55"/>
                    <a:pt x="1628" y="60"/>
                  </a:cubicBezTo>
                  <a:cubicBezTo>
                    <a:pt x="1640" y="53"/>
                    <a:pt x="1641" y="69"/>
                    <a:pt x="1644" y="71"/>
                  </a:cubicBezTo>
                  <a:cubicBezTo>
                    <a:pt x="1649" y="73"/>
                    <a:pt x="1655" y="66"/>
                    <a:pt x="1660" y="74"/>
                  </a:cubicBezTo>
                  <a:cubicBezTo>
                    <a:pt x="1647" y="75"/>
                    <a:pt x="1648" y="95"/>
                    <a:pt x="1633" y="93"/>
                  </a:cubicBezTo>
                  <a:cubicBezTo>
                    <a:pt x="1633" y="98"/>
                    <a:pt x="1633" y="103"/>
                    <a:pt x="1633" y="108"/>
                  </a:cubicBezTo>
                  <a:cubicBezTo>
                    <a:pt x="1637" y="108"/>
                    <a:pt x="1643" y="106"/>
                    <a:pt x="1644" y="111"/>
                  </a:cubicBezTo>
                  <a:cubicBezTo>
                    <a:pt x="1644" y="115"/>
                    <a:pt x="1646" y="116"/>
                    <a:pt x="1647" y="119"/>
                  </a:cubicBezTo>
                  <a:cubicBezTo>
                    <a:pt x="1642" y="122"/>
                    <a:pt x="1637" y="125"/>
                    <a:pt x="1631" y="126"/>
                  </a:cubicBezTo>
                  <a:cubicBezTo>
                    <a:pt x="1629" y="139"/>
                    <a:pt x="1641" y="132"/>
                    <a:pt x="1641" y="141"/>
                  </a:cubicBezTo>
                  <a:cubicBezTo>
                    <a:pt x="1649" y="136"/>
                    <a:pt x="1647" y="141"/>
                    <a:pt x="1652" y="141"/>
                  </a:cubicBezTo>
                  <a:cubicBezTo>
                    <a:pt x="1652" y="141"/>
                    <a:pt x="1653" y="138"/>
                    <a:pt x="1655" y="137"/>
                  </a:cubicBezTo>
                  <a:cubicBezTo>
                    <a:pt x="1657" y="137"/>
                    <a:pt x="1660" y="138"/>
                    <a:pt x="1660" y="141"/>
                  </a:cubicBezTo>
                  <a:cubicBezTo>
                    <a:pt x="1654" y="143"/>
                    <a:pt x="1646" y="144"/>
                    <a:pt x="1647" y="156"/>
                  </a:cubicBezTo>
                  <a:cubicBezTo>
                    <a:pt x="1654" y="158"/>
                    <a:pt x="1664" y="145"/>
                    <a:pt x="1668" y="156"/>
                  </a:cubicBezTo>
                  <a:cubicBezTo>
                    <a:pt x="1657" y="155"/>
                    <a:pt x="1652" y="162"/>
                    <a:pt x="1652" y="178"/>
                  </a:cubicBezTo>
                  <a:cubicBezTo>
                    <a:pt x="1663" y="184"/>
                    <a:pt x="1653" y="162"/>
                    <a:pt x="1660" y="163"/>
                  </a:cubicBezTo>
                  <a:cubicBezTo>
                    <a:pt x="1666" y="165"/>
                    <a:pt x="1678" y="158"/>
                    <a:pt x="1679" y="167"/>
                  </a:cubicBezTo>
                  <a:cubicBezTo>
                    <a:pt x="1678" y="179"/>
                    <a:pt x="1663" y="178"/>
                    <a:pt x="1663" y="185"/>
                  </a:cubicBezTo>
                  <a:cubicBezTo>
                    <a:pt x="1662" y="195"/>
                    <a:pt x="1655" y="189"/>
                    <a:pt x="1655" y="196"/>
                  </a:cubicBezTo>
                  <a:cubicBezTo>
                    <a:pt x="1661" y="199"/>
                    <a:pt x="1656" y="217"/>
                    <a:pt x="1657" y="226"/>
                  </a:cubicBezTo>
                  <a:cubicBezTo>
                    <a:pt x="1644" y="218"/>
                    <a:pt x="1654" y="243"/>
                    <a:pt x="1647" y="244"/>
                  </a:cubicBezTo>
                  <a:cubicBezTo>
                    <a:pt x="1648" y="231"/>
                    <a:pt x="1642" y="234"/>
                    <a:pt x="1641" y="230"/>
                  </a:cubicBezTo>
                  <a:cubicBezTo>
                    <a:pt x="1641" y="229"/>
                    <a:pt x="1646" y="230"/>
                    <a:pt x="1647" y="230"/>
                  </a:cubicBezTo>
                  <a:cubicBezTo>
                    <a:pt x="1648" y="228"/>
                    <a:pt x="1643" y="223"/>
                    <a:pt x="1644" y="222"/>
                  </a:cubicBezTo>
                  <a:cubicBezTo>
                    <a:pt x="1643" y="209"/>
                    <a:pt x="1637" y="235"/>
                    <a:pt x="1636" y="222"/>
                  </a:cubicBezTo>
                  <a:cubicBezTo>
                    <a:pt x="1636" y="208"/>
                    <a:pt x="1640" y="201"/>
                    <a:pt x="1644" y="193"/>
                  </a:cubicBezTo>
                  <a:cubicBezTo>
                    <a:pt x="1642" y="193"/>
                    <a:pt x="1640" y="192"/>
                    <a:pt x="1639" y="193"/>
                  </a:cubicBezTo>
                  <a:cubicBezTo>
                    <a:pt x="1635" y="194"/>
                    <a:pt x="1637" y="196"/>
                    <a:pt x="1636" y="200"/>
                  </a:cubicBezTo>
                  <a:cubicBezTo>
                    <a:pt x="1636" y="200"/>
                    <a:pt x="1633" y="200"/>
                    <a:pt x="1633" y="200"/>
                  </a:cubicBezTo>
                  <a:cubicBezTo>
                    <a:pt x="1632" y="203"/>
                    <a:pt x="1634" y="211"/>
                    <a:pt x="1633" y="215"/>
                  </a:cubicBezTo>
                  <a:cubicBezTo>
                    <a:pt x="1633" y="219"/>
                    <a:pt x="1630" y="220"/>
                    <a:pt x="1631" y="226"/>
                  </a:cubicBezTo>
                  <a:cubicBezTo>
                    <a:pt x="1631" y="231"/>
                    <a:pt x="1635" y="233"/>
                    <a:pt x="1633" y="241"/>
                  </a:cubicBezTo>
                  <a:cubicBezTo>
                    <a:pt x="1628" y="234"/>
                    <a:pt x="1627" y="240"/>
                    <a:pt x="1620" y="241"/>
                  </a:cubicBezTo>
                  <a:cubicBezTo>
                    <a:pt x="1620" y="231"/>
                    <a:pt x="1608" y="237"/>
                    <a:pt x="1612" y="222"/>
                  </a:cubicBezTo>
                  <a:cubicBezTo>
                    <a:pt x="1615" y="223"/>
                    <a:pt x="1617" y="227"/>
                    <a:pt x="1623" y="226"/>
                  </a:cubicBezTo>
                  <a:cubicBezTo>
                    <a:pt x="1622" y="215"/>
                    <a:pt x="1623" y="213"/>
                    <a:pt x="1628" y="218"/>
                  </a:cubicBezTo>
                  <a:cubicBezTo>
                    <a:pt x="1625" y="212"/>
                    <a:pt x="1629" y="201"/>
                    <a:pt x="1630" y="200"/>
                  </a:cubicBezTo>
                  <a:cubicBezTo>
                    <a:pt x="1629" y="199"/>
                    <a:pt x="1624" y="199"/>
                    <a:pt x="1625" y="196"/>
                  </a:cubicBezTo>
                  <a:cubicBezTo>
                    <a:pt x="1627" y="193"/>
                    <a:pt x="1637" y="199"/>
                    <a:pt x="1633" y="189"/>
                  </a:cubicBezTo>
                  <a:cubicBezTo>
                    <a:pt x="1629" y="189"/>
                    <a:pt x="1624" y="189"/>
                    <a:pt x="1620" y="189"/>
                  </a:cubicBezTo>
                  <a:cubicBezTo>
                    <a:pt x="1620" y="202"/>
                    <a:pt x="1621" y="215"/>
                    <a:pt x="1614" y="218"/>
                  </a:cubicBezTo>
                  <a:cubicBezTo>
                    <a:pt x="1614" y="211"/>
                    <a:pt x="1607" y="224"/>
                    <a:pt x="1606" y="211"/>
                  </a:cubicBezTo>
                  <a:cubicBezTo>
                    <a:pt x="1612" y="210"/>
                    <a:pt x="1618" y="210"/>
                    <a:pt x="1617" y="200"/>
                  </a:cubicBezTo>
                  <a:cubicBezTo>
                    <a:pt x="1612" y="198"/>
                    <a:pt x="1601" y="205"/>
                    <a:pt x="1601" y="196"/>
                  </a:cubicBezTo>
                  <a:cubicBezTo>
                    <a:pt x="1602" y="191"/>
                    <a:pt x="1605" y="189"/>
                    <a:pt x="1604" y="182"/>
                  </a:cubicBezTo>
                  <a:cubicBezTo>
                    <a:pt x="1590" y="179"/>
                    <a:pt x="1607" y="180"/>
                    <a:pt x="1606" y="174"/>
                  </a:cubicBezTo>
                  <a:cubicBezTo>
                    <a:pt x="1603" y="174"/>
                    <a:pt x="1599" y="175"/>
                    <a:pt x="1598" y="170"/>
                  </a:cubicBezTo>
                  <a:cubicBezTo>
                    <a:pt x="1610" y="173"/>
                    <a:pt x="1596" y="163"/>
                    <a:pt x="1604" y="163"/>
                  </a:cubicBezTo>
                  <a:cubicBezTo>
                    <a:pt x="1606" y="176"/>
                    <a:pt x="1618" y="182"/>
                    <a:pt x="1612" y="196"/>
                  </a:cubicBezTo>
                  <a:cubicBezTo>
                    <a:pt x="1622" y="199"/>
                    <a:pt x="1615" y="179"/>
                    <a:pt x="1617" y="170"/>
                  </a:cubicBezTo>
                  <a:cubicBezTo>
                    <a:pt x="1618" y="169"/>
                    <a:pt x="1624" y="171"/>
                    <a:pt x="1623" y="167"/>
                  </a:cubicBezTo>
                  <a:cubicBezTo>
                    <a:pt x="1621" y="167"/>
                    <a:pt x="1619" y="166"/>
                    <a:pt x="1620" y="163"/>
                  </a:cubicBezTo>
                  <a:cubicBezTo>
                    <a:pt x="1617" y="163"/>
                    <a:pt x="1617" y="160"/>
                    <a:pt x="1614" y="159"/>
                  </a:cubicBezTo>
                  <a:cubicBezTo>
                    <a:pt x="1613" y="164"/>
                    <a:pt x="1612" y="168"/>
                    <a:pt x="1609" y="170"/>
                  </a:cubicBezTo>
                  <a:cubicBezTo>
                    <a:pt x="1614" y="153"/>
                    <a:pt x="1602" y="159"/>
                    <a:pt x="1598" y="152"/>
                  </a:cubicBezTo>
                  <a:cubicBezTo>
                    <a:pt x="1598" y="147"/>
                    <a:pt x="1614" y="147"/>
                    <a:pt x="1604" y="141"/>
                  </a:cubicBezTo>
                  <a:cubicBezTo>
                    <a:pt x="1602" y="152"/>
                    <a:pt x="1600" y="135"/>
                    <a:pt x="1596" y="137"/>
                  </a:cubicBezTo>
                  <a:cubicBezTo>
                    <a:pt x="1596" y="143"/>
                    <a:pt x="1588" y="139"/>
                    <a:pt x="1588" y="145"/>
                  </a:cubicBezTo>
                  <a:cubicBezTo>
                    <a:pt x="1590" y="148"/>
                    <a:pt x="1597" y="146"/>
                    <a:pt x="1596" y="156"/>
                  </a:cubicBezTo>
                  <a:cubicBezTo>
                    <a:pt x="1579" y="151"/>
                    <a:pt x="1596" y="170"/>
                    <a:pt x="1588" y="174"/>
                  </a:cubicBezTo>
                  <a:cubicBezTo>
                    <a:pt x="1584" y="174"/>
                    <a:pt x="1582" y="168"/>
                    <a:pt x="1580" y="174"/>
                  </a:cubicBezTo>
                  <a:cubicBezTo>
                    <a:pt x="1591" y="170"/>
                    <a:pt x="1585" y="192"/>
                    <a:pt x="1585" y="193"/>
                  </a:cubicBezTo>
                  <a:cubicBezTo>
                    <a:pt x="1585" y="194"/>
                    <a:pt x="1592" y="192"/>
                    <a:pt x="1590" y="196"/>
                  </a:cubicBezTo>
                  <a:cubicBezTo>
                    <a:pt x="1583" y="199"/>
                    <a:pt x="1588" y="217"/>
                    <a:pt x="1580" y="218"/>
                  </a:cubicBezTo>
                  <a:cubicBezTo>
                    <a:pt x="1574" y="217"/>
                    <a:pt x="1574" y="208"/>
                    <a:pt x="1569" y="207"/>
                  </a:cubicBezTo>
                  <a:cubicBezTo>
                    <a:pt x="1568" y="210"/>
                    <a:pt x="1569" y="215"/>
                    <a:pt x="1566" y="215"/>
                  </a:cubicBezTo>
                  <a:cubicBezTo>
                    <a:pt x="1564" y="204"/>
                    <a:pt x="1570" y="205"/>
                    <a:pt x="1569" y="196"/>
                  </a:cubicBezTo>
                  <a:cubicBezTo>
                    <a:pt x="1564" y="198"/>
                    <a:pt x="1560" y="183"/>
                    <a:pt x="1566" y="182"/>
                  </a:cubicBezTo>
                  <a:cubicBezTo>
                    <a:pt x="1566" y="188"/>
                    <a:pt x="1569" y="190"/>
                    <a:pt x="1574" y="189"/>
                  </a:cubicBezTo>
                  <a:cubicBezTo>
                    <a:pt x="1573" y="199"/>
                    <a:pt x="1575" y="205"/>
                    <a:pt x="1582" y="204"/>
                  </a:cubicBezTo>
                  <a:cubicBezTo>
                    <a:pt x="1581" y="191"/>
                    <a:pt x="1575" y="199"/>
                    <a:pt x="1580" y="185"/>
                  </a:cubicBezTo>
                  <a:cubicBezTo>
                    <a:pt x="1568" y="190"/>
                    <a:pt x="1575" y="170"/>
                    <a:pt x="1569" y="167"/>
                  </a:cubicBezTo>
                  <a:cubicBezTo>
                    <a:pt x="1565" y="181"/>
                    <a:pt x="1568" y="156"/>
                    <a:pt x="1563" y="159"/>
                  </a:cubicBezTo>
                  <a:cubicBezTo>
                    <a:pt x="1558" y="172"/>
                    <a:pt x="1554" y="153"/>
                    <a:pt x="1547" y="156"/>
                  </a:cubicBezTo>
                  <a:cubicBezTo>
                    <a:pt x="1550" y="161"/>
                    <a:pt x="1548" y="171"/>
                    <a:pt x="1550" y="174"/>
                  </a:cubicBezTo>
                  <a:cubicBezTo>
                    <a:pt x="1552" y="177"/>
                    <a:pt x="1557" y="177"/>
                    <a:pt x="1558" y="182"/>
                  </a:cubicBezTo>
                  <a:cubicBezTo>
                    <a:pt x="1554" y="182"/>
                    <a:pt x="1553" y="188"/>
                    <a:pt x="1550" y="189"/>
                  </a:cubicBezTo>
                  <a:cubicBezTo>
                    <a:pt x="1547" y="176"/>
                    <a:pt x="1530" y="182"/>
                    <a:pt x="1523" y="174"/>
                  </a:cubicBezTo>
                  <a:cubicBezTo>
                    <a:pt x="1522" y="177"/>
                    <a:pt x="1521" y="178"/>
                    <a:pt x="1518" y="178"/>
                  </a:cubicBezTo>
                  <a:cubicBezTo>
                    <a:pt x="1518" y="166"/>
                    <a:pt x="1510" y="187"/>
                    <a:pt x="1510" y="174"/>
                  </a:cubicBezTo>
                  <a:cubicBezTo>
                    <a:pt x="1510" y="169"/>
                    <a:pt x="1514" y="168"/>
                    <a:pt x="1515" y="163"/>
                  </a:cubicBezTo>
                  <a:cubicBezTo>
                    <a:pt x="1504" y="168"/>
                    <a:pt x="1506" y="156"/>
                    <a:pt x="1502" y="152"/>
                  </a:cubicBezTo>
                  <a:cubicBezTo>
                    <a:pt x="1501" y="156"/>
                    <a:pt x="1501" y="161"/>
                    <a:pt x="1496" y="159"/>
                  </a:cubicBezTo>
                  <a:cubicBezTo>
                    <a:pt x="1498" y="156"/>
                    <a:pt x="1502" y="146"/>
                    <a:pt x="1493" y="148"/>
                  </a:cubicBezTo>
                  <a:cubicBezTo>
                    <a:pt x="1485" y="147"/>
                    <a:pt x="1500" y="159"/>
                    <a:pt x="1491" y="159"/>
                  </a:cubicBezTo>
                  <a:cubicBezTo>
                    <a:pt x="1489" y="154"/>
                    <a:pt x="1487" y="150"/>
                    <a:pt x="1483" y="148"/>
                  </a:cubicBezTo>
                  <a:cubicBezTo>
                    <a:pt x="1483" y="164"/>
                    <a:pt x="1458" y="151"/>
                    <a:pt x="1450" y="156"/>
                  </a:cubicBezTo>
                  <a:cubicBezTo>
                    <a:pt x="1450" y="152"/>
                    <a:pt x="1450" y="148"/>
                    <a:pt x="1450" y="145"/>
                  </a:cubicBezTo>
                  <a:cubicBezTo>
                    <a:pt x="1445" y="143"/>
                    <a:pt x="1445" y="151"/>
                    <a:pt x="1442" y="152"/>
                  </a:cubicBezTo>
                  <a:cubicBezTo>
                    <a:pt x="1438" y="154"/>
                    <a:pt x="1433" y="151"/>
                    <a:pt x="1429" y="152"/>
                  </a:cubicBezTo>
                  <a:cubicBezTo>
                    <a:pt x="1428" y="150"/>
                    <a:pt x="1430" y="142"/>
                    <a:pt x="1429" y="141"/>
                  </a:cubicBezTo>
                  <a:cubicBezTo>
                    <a:pt x="1425" y="137"/>
                    <a:pt x="1406" y="140"/>
                    <a:pt x="1391" y="137"/>
                  </a:cubicBezTo>
                  <a:cubicBezTo>
                    <a:pt x="1388" y="137"/>
                    <a:pt x="1388" y="134"/>
                    <a:pt x="1383" y="133"/>
                  </a:cubicBezTo>
                  <a:cubicBezTo>
                    <a:pt x="1375" y="133"/>
                    <a:pt x="1377" y="140"/>
                    <a:pt x="1373" y="133"/>
                  </a:cubicBezTo>
                  <a:cubicBezTo>
                    <a:pt x="1370" y="130"/>
                    <a:pt x="1351" y="133"/>
                    <a:pt x="1354" y="137"/>
                  </a:cubicBezTo>
                  <a:cubicBezTo>
                    <a:pt x="1355" y="144"/>
                    <a:pt x="1366" y="137"/>
                    <a:pt x="1367" y="145"/>
                  </a:cubicBezTo>
                  <a:cubicBezTo>
                    <a:pt x="1362" y="152"/>
                    <a:pt x="1368" y="161"/>
                    <a:pt x="1367" y="163"/>
                  </a:cubicBezTo>
                  <a:cubicBezTo>
                    <a:pt x="1367" y="164"/>
                    <a:pt x="1362" y="162"/>
                    <a:pt x="1362" y="163"/>
                  </a:cubicBezTo>
                  <a:cubicBezTo>
                    <a:pt x="1361" y="164"/>
                    <a:pt x="1362" y="170"/>
                    <a:pt x="1362" y="170"/>
                  </a:cubicBezTo>
                  <a:cubicBezTo>
                    <a:pt x="1359" y="172"/>
                    <a:pt x="1354" y="170"/>
                    <a:pt x="1354" y="167"/>
                  </a:cubicBezTo>
                  <a:cubicBezTo>
                    <a:pt x="1357" y="166"/>
                    <a:pt x="1360" y="166"/>
                    <a:pt x="1359" y="159"/>
                  </a:cubicBezTo>
                  <a:cubicBezTo>
                    <a:pt x="1352" y="162"/>
                    <a:pt x="1349" y="158"/>
                    <a:pt x="1351" y="148"/>
                  </a:cubicBezTo>
                  <a:cubicBezTo>
                    <a:pt x="1354" y="153"/>
                    <a:pt x="1364" y="154"/>
                    <a:pt x="1364" y="145"/>
                  </a:cubicBezTo>
                  <a:cubicBezTo>
                    <a:pt x="1352" y="148"/>
                    <a:pt x="1351" y="136"/>
                    <a:pt x="1346" y="130"/>
                  </a:cubicBezTo>
                  <a:cubicBezTo>
                    <a:pt x="1345" y="135"/>
                    <a:pt x="1347" y="138"/>
                    <a:pt x="1348" y="141"/>
                  </a:cubicBezTo>
                  <a:cubicBezTo>
                    <a:pt x="1345" y="141"/>
                    <a:pt x="1342" y="143"/>
                    <a:pt x="1340" y="145"/>
                  </a:cubicBezTo>
                  <a:cubicBezTo>
                    <a:pt x="1339" y="140"/>
                    <a:pt x="1332" y="144"/>
                    <a:pt x="1329" y="141"/>
                  </a:cubicBezTo>
                  <a:cubicBezTo>
                    <a:pt x="1328" y="139"/>
                    <a:pt x="1330" y="132"/>
                    <a:pt x="1327" y="133"/>
                  </a:cubicBezTo>
                  <a:cubicBezTo>
                    <a:pt x="1322" y="151"/>
                    <a:pt x="1306" y="131"/>
                    <a:pt x="1297" y="141"/>
                  </a:cubicBezTo>
                  <a:cubicBezTo>
                    <a:pt x="1297" y="136"/>
                    <a:pt x="1298" y="133"/>
                    <a:pt x="1300" y="130"/>
                  </a:cubicBezTo>
                  <a:cubicBezTo>
                    <a:pt x="1291" y="132"/>
                    <a:pt x="1293" y="117"/>
                    <a:pt x="1286" y="126"/>
                  </a:cubicBezTo>
                  <a:cubicBezTo>
                    <a:pt x="1287" y="121"/>
                    <a:pt x="1285" y="118"/>
                    <a:pt x="1284" y="115"/>
                  </a:cubicBezTo>
                  <a:cubicBezTo>
                    <a:pt x="1283" y="112"/>
                    <a:pt x="1284" y="108"/>
                    <a:pt x="1281" y="108"/>
                  </a:cubicBezTo>
                  <a:cubicBezTo>
                    <a:pt x="1281" y="117"/>
                    <a:pt x="1280" y="123"/>
                    <a:pt x="1276" y="126"/>
                  </a:cubicBezTo>
                  <a:cubicBezTo>
                    <a:pt x="1268" y="131"/>
                    <a:pt x="1262" y="116"/>
                    <a:pt x="1260" y="126"/>
                  </a:cubicBezTo>
                  <a:cubicBezTo>
                    <a:pt x="1262" y="127"/>
                    <a:pt x="1263" y="129"/>
                    <a:pt x="1262" y="133"/>
                  </a:cubicBezTo>
                  <a:cubicBezTo>
                    <a:pt x="1255" y="133"/>
                    <a:pt x="1248" y="133"/>
                    <a:pt x="1241" y="133"/>
                  </a:cubicBezTo>
                  <a:cubicBezTo>
                    <a:pt x="1248" y="120"/>
                    <a:pt x="1234" y="134"/>
                    <a:pt x="1225" y="130"/>
                  </a:cubicBezTo>
                  <a:cubicBezTo>
                    <a:pt x="1225" y="109"/>
                    <a:pt x="1222" y="127"/>
                    <a:pt x="1219" y="126"/>
                  </a:cubicBezTo>
                  <a:cubicBezTo>
                    <a:pt x="1217" y="125"/>
                    <a:pt x="1220" y="119"/>
                    <a:pt x="1217" y="119"/>
                  </a:cubicBezTo>
                  <a:cubicBezTo>
                    <a:pt x="1216" y="119"/>
                    <a:pt x="1216" y="126"/>
                    <a:pt x="1214" y="126"/>
                  </a:cubicBezTo>
                  <a:cubicBezTo>
                    <a:pt x="1213" y="126"/>
                    <a:pt x="1211" y="117"/>
                    <a:pt x="1208" y="119"/>
                  </a:cubicBezTo>
                  <a:cubicBezTo>
                    <a:pt x="1208" y="122"/>
                    <a:pt x="1208" y="126"/>
                    <a:pt x="1206" y="126"/>
                  </a:cubicBezTo>
                  <a:cubicBezTo>
                    <a:pt x="1205" y="122"/>
                    <a:pt x="1206" y="116"/>
                    <a:pt x="1203" y="115"/>
                  </a:cubicBezTo>
                  <a:cubicBezTo>
                    <a:pt x="1197" y="120"/>
                    <a:pt x="1207" y="124"/>
                    <a:pt x="1200" y="126"/>
                  </a:cubicBezTo>
                  <a:cubicBezTo>
                    <a:pt x="1197" y="125"/>
                    <a:pt x="1197" y="120"/>
                    <a:pt x="1198" y="115"/>
                  </a:cubicBezTo>
                  <a:cubicBezTo>
                    <a:pt x="1190" y="116"/>
                    <a:pt x="1179" y="112"/>
                    <a:pt x="1179" y="122"/>
                  </a:cubicBezTo>
                  <a:cubicBezTo>
                    <a:pt x="1182" y="123"/>
                    <a:pt x="1187" y="122"/>
                    <a:pt x="1187" y="126"/>
                  </a:cubicBezTo>
                  <a:cubicBezTo>
                    <a:pt x="1182" y="126"/>
                    <a:pt x="1178" y="126"/>
                    <a:pt x="1173" y="126"/>
                  </a:cubicBezTo>
                  <a:cubicBezTo>
                    <a:pt x="1170" y="121"/>
                    <a:pt x="1172" y="105"/>
                    <a:pt x="1165" y="115"/>
                  </a:cubicBezTo>
                  <a:cubicBezTo>
                    <a:pt x="1169" y="103"/>
                    <a:pt x="1161" y="106"/>
                    <a:pt x="1160" y="100"/>
                  </a:cubicBezTo>
                  <a:cubicBezTo>
                    <a:pt x="1164" y="100"/>
                    <a:pt x="1170" y="101"/>
                    <a:pt x="1171" y="96"/>
                  </a:cubicBezTo>
                  <a:cubicBezTo>
                    <a:pt x="1163" y="97"/>
                    <a:pt x="1168" y="78"/>
                    <a:pt x="1160" y="78"/>
                  </a:cubicBezTo>
                  <a:cubicBezTo>
                    <a:pt x="1157" y="87"/>
                    <a:pt x="1168" y="93"/>
                    <a:pt x="1160" y="96"/>
                  </a:cubicBezTo>
                  <a:cubicBezTo>
                    <a:pt x="1158" y="94"/>
                    <a:pt x="1145" y="88"/>
                    <a:pt x="1144" y="96"/>
                  </a:cubicBezTo>
                  <a:cubicBezTo>
                    <a:pt x="1147" y="100"/>
                    <a:pt x="1151" y="101"/>
                    <a:pt x="1157" y="100"/>
                  </a:cubicBezTo>
                  <a:cubicBezTo>
                    <a:pt x="1161" y="105"/>
                    <a:pt x="1161" y="118"/>
                    <a:pt x="1155" y="119"/>
                  </a:cubicBezTo>
                  <a:cubicBezTo>
                    <a:pt x="1154" y="112"/>
                    <a:pt x="1145" y="98"/>
                    <a:pt x="1141" y="108"/>
                  </a:cubicBezTo>
                  <a:cubicBezTo>
                    <a:pt x="1144" y="109"/>
                    <a:pt x="1145" y="112"/>
                    <a:pt x="1147" y="115"/>
                  </a:cubicBezTo>
                  <a:cubicBezTo>
                    <a:pt x="1149" y="118"/>
                    <a:pt x="1152" y="119"/>
                    <a:pt x="1155" y="122"/>
                  </a:cubicBezTo>
                  <a:cubicBezTo>
                    <a:pt x="1156" y="123"/>
                    <a:pt x="1154" y="128"/>
                    <a:pt x="1155" y="130"/>
                  </a:cubicBezTo>
                  <a:cubicBezTo>
                    <a:pt x="1156" y="132"/>
                    <a:pt x="1161" y="129"/>
                    <a:pt x="1160" y="133"/>
                  </a:cubicBezTo>
                  <a:cubicBezTo>
                    <a:pt x="1155" y="134"/>
                    <a:pt x="1162" y="140"/>
                    <a:pt x="1157" y="141"/>
                  </a:cubicBezTo>
                  <a:cubicBezTo>
                    <a:pt x="1151" y="135"/>
                    <a:pt x="1147" y="142"/>
                    <a:pt x="1144" y="137"/>
                  </a:cubicBezTo>
                  <a:cubicBezTo>
                    <a:pt x="1140" y="131"/>
                    <a:pt x="1131" y="142"/>
                    <a:pt x="1131" y="141"/>
                  </a:cubicBezTo>
                  <a:cubicBezTo>
                    <a:pt x="1134" y="132"/>
                    <a:pt x="1120" y="129"/>
                    <a:pt x="1128" y="126"/>
                  </a:cubicBezTo>
                  <a:cubicBezTo>
                    <a:pt x="1134" y="127"/>
                    <a:pt x="1139" y="134"/>
                    <a:pt x="1141" y="122"/>
                  </a:cubicBezTo>
                  <a:cubicBezTo>
                    <a:pt x="1134" y="123"/>
                    <a:pt x="1132" y="117"/>
                    <a:pt x="1133" y="108"/>
                  </a:cubicBezTo>
                  <a:cubicBezTo>
                    <a:pt x="1124" y="111"/>
                    <a:pt x="1113" y="109"/>
                    <a:pt x="1098" y="104"/>
                  </a:cubicBezTo>
                  <a:cubicBezTo>
                    <a:pt x="1092" y="109"/>
                    <a:pt x="1102" y="113"/>
                    <a:pt x="1096" y="115"/>
                  </a:cubicBezTo>
                  <a:cubicBezTo>
                    <a:pt x="1091" y="115"/>
                    <a:pt x="1086" y="114"/>
                    <a:pt x="1087" y="122"/>
                  </a:cubicBezTo>
                  <a:cubicBezTo>
                    <a:pt x="1097" y="123"/>
                    <a:pt x="1095" y="117"/>
                    <a:pt x="1098" y="122"/>
                  </a:cubicBezTo>
                  <a:cubicBezTo>
                    <a:pt x="1099" y="123"/>
                    <a:pt x="1103" y="122"/>
                    <a:pt x="1104" y="122"/>
                  </a:cubicBezTo>
                  <a:cubicBezTo>
                    <a:pt x="1109" y="123"/>
                    <a:pt x="1123" y="119"/>
                    <a:pt x="1122" y="130"/>
                  </a:cubicBezTo>
                  <a:cubicBezTo>
                    <a:pt x="1119" y="130"/>
                    <a:pt x="1120" y="136"/>
                    <a:pt x="1117" y="137"/>
                  </a:cubicBezTo>
                  <a:cubicBezTo>
                    <a:pt x="1117" y="135"/>
                    <a:pt x="1117" y="132"/>
                    <a:pt x="1117" y="130"/>
                  </a:cubicBezTo>
                  <a:cubicBezTo>
                    <a:pt x="1104" y="125"/>
                    <a:pt x="1081" y="135"/>
                    <a:pt x="1085" y="108"/>
                  </a:cubicBezTo>
                  <a:cubicBezTo>
                    <a:pt x="1079" y="105"/>
                    <a:pt x="1073" y="95"/>
                    <a:pt x="1071" y="108"/>
                  </a:cubicBezTo>
                  <a:cubicBezTo>
                    <a:pt x="1076" y="105"/>
                    <a:pt x="1083" y="115"/>
                    <a:pt x="1077" y="115"/>
                  </a:cubicBezTo>
                  <a:cubicBezTo>
                    <a:pt x="1069" y="112"/>
                    <a:pt x="1070" y="101"/>
                    <a:pt x="1063" y="100"/>
                  </a:cubicBezTo>
                  <a:cubicBezTo>
                    <a:pt x="1063" y="100"/>
                    <a:pt x="1063" y="106"/>
                    <a:pt x="1061" y="104"/>
                  </a:cubicBezTo>
                  <a:cubicBezTo>
                    <a:pt x="1059" y="103"/>
                    <a:pt x="1060" y="94"/>
                    <a:pt x="1058" y="93"/>
                  </a:cubicBezTo>
                  <a:cubicBezTo>
                    <a:pt x="1055" y="91"/>
                    <a:pt x="1050" y="94"/>
                    <a:pt x="1047" y="93"/>
                  </a:cubicBezTo>
                  <a:cubicBezTo>
                    <a:pt x="1048" y="102"/>
                    <a:pt x="1043" y="104"/>
                    <a:pt x="1039" y="108"/>
                  </a:cubicBezTo>
                  <a:cubicBezTo>
                    <a:pt x="1041" y="93"/>
                    <a:pt x="1031" y="110"/>
                    <a:pt x="1028" y="111"/>
                  </a:cubicBezTo>
                  <a:cubicBezTo>
                    <a:pt x="1028" y="111"/>
                    <a:pt x="1029" y="104"/>
                    <a:pt x="1028" y="104"/>
                  </a:cubicBezTo>
                  <a:cubicBezTo>
                    <a:pt x="1025" y="99"/>
                    <a:pt x="1017" y="111"/>
                    <a:pt x="1020" y="115"/>
                  </a:cubicBezTo>
                  <a:cubicBezTo>
                    <a:pt x="1031" y="116"/>
                    <a:pt x="1046" y="111"/>
                    <a:pt x="1050" y="122"/>
                  </a:cubicBezTo>
                  <a:cubicBezTo>
                    <a:pt x="1039" y="118"/>
                    <a:pt x="1033" y="124"/>
                    <a:pt x="1018" y="122"/>
                  </a:cubicBezTo>
                  <a:cubicBezTo>
                    <a:pt x="1015" y="105"/>
                    <a:pt x="1020" y="94"/>
                    <a:pt x="1012" y="89"/>
                  </a:cubicBezTo>
                  <a:cubicBezTo>
                    <a:pt x="1008" y="103"/>
                    <a:pt x="1014" y="113"/>
                    <a:pt x="1009" y="119"/>
                  </a:cubicBezTo>
                  <a:cubicBezTo>
                    <a:pt x="1007" y="114"/>
                    <a:pt x="1008" y="111"/>
                    <a:pt x="1007" y="104"/>
                  </a:cubicBezTo>
                  <a:cubicBezTo>
                    <a:pt x="1006" y="101"/>
                    <a:pt x="1004" y="101"/>
                    <a:pt x="1004" y="100"/>
                  </a:cubicBezTo>
                  <a:cubicBezTo>
                    <a:pt x="1003" y="97"/>
                    <a:pt x="1007" y="95"/>
                    <a:pt x="1007" y="93"/>
                  </a:cubicBezTo>
                  <a:cubicBezTo>
                    <a:pt x="1006" y="90"/>
                    <a:pt x="999" y="89"/>
                    <a:pt x="1001" y="82"/>
                  </a:cubicBezTo>
                  <a:cubicBezTo>
                    <a:pt x="1005" y="81"/>
                    <a:pt x="1009" y="82"/>
                    <a:pt x="1009" y="78"/>
                  </a:cubicBezTo>
                  <a:cubicBezTo>
                    <a:pt x="1006" y="78"/>
                    <a:pt x="1002" y="78"/>
                    <a:pt x="999" y="78"/>
                  </a:cubicBezTo>
                  <a:cubicBezTo>
                    <a:pt x="999" y="84"/>
                    <a:pt x="998" y="89"/>
                    <a:pt x="996" y="93"/>
                  </a:cubicBezTo>
                  <a:cubicBezTo>
                    <a:pt x="998" y="94"/>
                    <a:pt x="1008" y="103"/>
                    <a:pt x="1001" y="104"/>
                  </a:cubicBezTo>
                  <a:cubicBezTo>
                    <a:pt x="993" y="107"/>
                    <a:pt x="998" y="92"/>
                    <a:pt x="991" y="93"/>
                  </a:cubicBezTo>
                  <a:cubicBezTo>
                    <a:pt x="982" y="104"/>
                    <a:pt x="968" y="88"/>
                    <a:pt x="966" y="96"/>
                  </a:cubicBezTo>
                  <a:cubicBezTo>
                    <a:pt x="970" y="98"/>
                    <a:pt x="972" y="100"/>
                    <a:pt x="975" y="104"/>
                  </a:cubicBezTo>
                  <a:cubicBezTo>
                    <a:pt x="972" y="107"/>
                    <a:pt x="974" y="111"/>
                    <a:pt x="972" y="122"/>
                  </a:cubicBezTo>
                  <a:cubicBezTo>
                    <a:pt x="970" y="124"/>
                    <a:pt x="959" y="131"/>
                    <a:pt x="958" y="122"/>
                  </a:cubicBezTo>
                  <a:cubicBezTo>
                    <a:pt x="958" y="115"/>
                    <a:pt x="962" y="115"/>
                    <a:pt x="964" y="111"/>
                  </a:cubicBezTo>
                  <a:cubicBezTo>
                    <a:pt x="959" y="110"/>
                    <a:pt x="965" y="105"/>
                    <a:pt x="961" y="104"/>
                  </a:cubicBezTo>
                  <a:cubicBezTo>
                    <a:pt x="959" y="113"/>
                    <a:pt x="952" y="91"/>
                    <a:pt x="950" y="108"/>
                  </a:cubicBezTo>
                  <a:cubicBezTo>
                    <a:pt x="952" y="108"/>
                    <a:pt x="956" y="108"/>
                    <a:pt x="956" y="111"/>
                  </a:cubicBezTo>
                  <a:cubicBezTo>
                    <a:pt x="951" y="111"/>
                    <a:pt x="947" y="109"/>
                    <a:pt x="945" y="104"/>
                  </a:cubicBezTo>
                  <a:cubicBezTo>
                    <a:pt x="947" y="95"/>
                    <a:pt x="949" y="87"/>
                    <a:pt x="940" y="85"/>
                  </a:cubicBezTo>
                  <a:cubicBezTo>
                    <a:pt x="937" y="99"/>
                    <a:pt x="947" y="108"/>
                    <a:pt x="937" y="111"/>
                  </a:cubicBezTo>
                  <a:cubicBezTo>
                    <a:pt x="935" y="94"/>
                    <a:pt x="924" y="96"/>
                    <a:pt x="918" y="108"/>
                  </a:cubicBezTo>
                  <a:cubicBezTo>
                    <a:pt x="917" y="99"/>
                    <a:pt x="919" y="93"/>
                    <a:pt x="921" y="89"/>
                  </a:cubicBezTo>
                  <a:cubicBezTo>
                    <a:pt x="912" y="83"/>
                    <a:pt x="904" y="87"/>
                    <a:pt x="894" y="89"/>
                  </a:cubicBezTo>
                  <a:cubicBezTo>
                    <a:pt x="890" y="84"/>
                    <a:pt x="890" y="75"/>
                    <a:pt x="894" y="71"/>
                  </a:cubicBezTo>
                  <a:cubicBezTo>
                    <a:pt x="890" y="71"/>
                    <a:pt x="887" y="71"/>
                    <a:pt x="883" y="71"/>
                  </a:cubicBezTo>
                  <a:cubicBezTo>
                    <a:pt x="881" y="82"/>
                    <a:pt x="892" y="75"/>
                    <a:pt x="889" y="89"/>
                  </a:cubicBezTo>
                  <a:cubicBezTo>
                    <a:pt x="875" y="87"/>
                    <a:pt x="875" y="90"/>
                    <a:pt x="867" y="82"/>
                  </a:cubicBezTo>
                  <a:cubicBezTo>
                    <a:pt x="865" y="94"/>
                    <a:pt x="858" y="80"/>
                    <a:pt x="856" y="82"/>
                  </a:cubicBezTo>
                  <a:cubicBezTo>
                    <a:pt x="854" y="83"/>
                    <a:pt x="856" y="95"/>
                    <a:pt x="851" y="93"/>
                  </a:cubicBezTo>
                  <a:cubicBezTo>
                    <a:pt x="853" y="81"/>
                    <a:pt x="847" y="81"/>
                    <a:pt x="843" y="78"/>
                  </a:cubicBezTo>
                  <a:cubicBezTo>
                    <a:pt x="841" y="96"/>
                    <a:pt x="839" y="103"/>
                    <a:pt x="843" y="115"/>
                  </a:cubicBezTo>
                  <a:cubicBezTo>
                    <a:pt x="838" y="115"/>
                    <a:pt x="834" y="115"/>
                    <a:pt x="829" y="115"/>
                  </a:cubicBezTo>
                  <a:cubicBezTo>
                    <a:pt x="829" y="109"/>
                    <a:pt x="829" y="103"/>
                    <a:pt x="827" y="100"/>
                  </a:cubicBezTo>
                  <a:cubicBezTo>
                    <a:pt x="829" y="94"/>
                    <a:pt x="840" y="101"/>
                    <a:pt x="837" y="89"/>
                  </a:cubicBezTo>
                  <a:cubicBezTo>
                    <a:pt x="830" y="90"/>
                    <a:pt x="826" y="88"/>
                    <a:pt x="827" y="78"/>
                  </a:cubicBezTo>
                  <a:cubicBezTo>
                    <a:pt x="818" y="75"/>
                    <a:pt x="823" y="91"/>
                    <a:pt x="813" y="85"/>
                  </a:cubicBezTo>
                  <a:cubicBezTo>
                    <a:pt x="817" y="72"/>
                    <a:pt x="806" y="62"/>
                    <a:pt x="802" y="71"/>
                  </a:cubicBezTo>
                  <a:cubicBezTo>
                    <a:pt x="808" y="70"/>
                    <a:pt x="811" y="74"/>
                    <a:pt x="810" y="82"/>
                  </a:cubicBezTo>
                  <a:cubicBezTo>
                    <a:pt x="807" y="85"/>
                    <a:pt x="801" y="85"/>
                    <a:pt x="797" y="89"/>
                  </a:cubicBezTo>
                  <a:cubicBezTo>
                    <a:pt x="797" y="82"/>
                    <a:pt x="797" y="74"/>
                    <a:pt x="797" y="67"/>
                  </a:cubicBezTo>
                  <a:cubicBezTo>
                    <a:pt x="784" y="67"/>
                    <a:pt x="795" y="82"/>
                    <a:pt x="789" y="85"/>
                  </a:cubicBezTo>
                  <a:cubicBezTo>
                    <a:pt x="776" y="81"/>
                    <a:pt x="771" y="88"/>
                    <a:pt x="765" y="78"/>
                  </a:cubicBezTo>
                  <a:cubicBezTo>
                    <a:pt x="758" y="79"/>
                    <a:pt x="755" y="84"/>
                    <a:pt x="746" y="82"/>
                  </a:cubicBezTo>
                  <a:cubicBezTo>
                    <a:pt x="746" y="78"/>
                    <a:pt x="744" y="77"/>
                    <a:pt x="743" y="74"/>
                  </a:cubicBezTo>
                  <a:cubicBezTo>
                    <a:pt x="744" y="70"/>
                    <a:pt x="747" y="67"/>
                    <a:pt x="741" y="67"/>
                  </a:cubicBezTo>
                  <a:cubicBezTo>
                    <a:pt x="732" y="66"/>
                    <a:pt x="747" y="78"/>
                    <a:pt x="738" y="78"/>
                  </a:cubicBezTo>
                  <a:cubicBezTo>
                    <a:pt x="733" y="78"/>
                    <a:pt x="736" y="66"/>
                    <a:pt x="730" y="67"/>
                  </a:cubicBezTo>
                  <a:cubicBezTo>
                    <a:pt x="729" y="71"/>
                    <a:pt x="727" y="73"/>
                    <a:pt x="724" y="74"/>
                  </a:cubicBezTo>
                  <a:cubicBezTo>
                    <a:pt x="718" y="57"/>
                    <a:pt x="687" y="71"/>
                    <a:pt x="681" y="52"/>
                  </a:cubicBezTo>
                  <a:cubicBezTo>
                    <a:pt x="691" y="55"/>
                    <a:pt x="692" y="44"/>
                    <a:pt x="700" y="45"/>
                  </a:cubicBezTo>
                  <a:cubicBezTo>
                    <a:pt x="700" y="48"/>
                    <a:pt x="700" y="52"/>
                    <a:pt x="700" y="56"/>
                  </a:cubicBezTo>
                  <a:cubicBezTo>
                    <a:pt x="707" y="55"/>
                    <a:pt x="710" y="49"/>
                    <a:pt x="714" y="45"/>
                  </a:cubicBezTo>
                  <a:cubicBezTo>
                    <a:pt x="710" y="41"/>
                    <a:pt x="707" y="34"/>
                    <a:pt x="703" y="30"/>
                  </a:cubicBezTo>
                  <a:cubicBezTo>
                    <a:pt x="702" y="34"/>
                    <a:pt x="700" y="38"/>
                    <a:pt x="698" y="41"/>
                  </a:cubicBezTo>
                  <a:cubicBezTo>
                    <a:pt x="697" y="31"/>
                    <a:pt x="693" y="46"/>
                    <a:pt x="687" y="41"/>
                  </a:cubicBezTo>
                  <a:cubicBezTo>
                    <a:pt x="687" y="35"/>
                    <a:pt x="680" y="38"/>
                    <a:pt x="681" y="30"/>
                  </a:cubicBezTo>
                  <a:cubicBezTo>
                    <a:pt x="673" y="25"/>
                    <a:pt x="679" y="42"/>
                    <a:pt x="671" y="37"/>
                  </a:cubicBezTo>
                  <a:cubicBezTo>
                    <a:pt x="667" y="38"/>
                    <a:pt x="668" y="30"/>
                    <a:pt x="665" y="30"/>
                  </a:cubicBezTo>
                  <a:cubicBezTo>
                    <a:pt x="664" y="30"/>
                    <a:pt x="664" y="36"/>
                    <a:pt x="660" y="34"/>
                  </a:cubicBezTo>
                  <a:cubicBezTo>
                    <a:pt x="659" y="33"/>
                    <a:pt x="660" y="27"/>
                    <a:pt x="660" y="26"/>
                  </a:cubicBezTo>
                  <a:cubicBezTo>
                    <a:pt x="646" y="29"/>
                    <a:pt x="636" y="25"/>
                    <a:pt x="630" y="15"/>
                  </a:cubicBezTo>
                  <a:cubicBezTo>
                    <a:pt x="631" y="22"/>
                    <a:pt x="627" y="22"/>
                    <a:pt x="625" y="26"/>
                  </a:cubicBezTo>
                  <a:cubicBezTo>
                    <a:pt x="626" y="26"/>
                    <a:pt x="628" y="29"/>
                    <a:pt x="625" y="30"/>
                  </a:cubicBezTo>
                  <a:cubicBezTo>
                    <a:pt x="625" y="26"/>
                    <a:pt x="621" y="24"/>
                    <a:pt x="625" y="22"/>
                  </a:cubicBezTo>
                  <a:cubicBezTo>
                    <a:pt x="626" y="18"/>
                    <a:pt x="629" y="15"/>
                    <a:pt x="622" y="15"/>
                  </a:cubicBezTo>
                  <a:cubicBezTo>
                    <a:pt x="618" y="15"/>
                    <a:pt x="621" y="25"/>
                    <a:pt x="617" y="26"/>
                  </a:cubicBezTo>
                  <a:cubicBezTo>
                    <a:pt x="608" y="12"/>
                    <a:pt x="600" y="36"/>
                    <a:pt x="593" y="34"/>
                  </a:cubicBezTo>
                  <a:cubicBezTo>
                    <a:pt x="591" y="33"/>
                    <a:pt x="590" y="22"/>
                    <a:pt x="587" y="22"/>
                  </a:cubicBezTo>
                  <a:cubicBezTo>
                    <a:pt x="587" y="28"/>
                    <a:pt x="588" y="36"/>
                    <a:pt x="585" y="37"/>
                  </a:cubicBezTo>
                  <a:cubicBezTo>
                    <a:pt x="584" y="33"/>
                    <a:pt x="580" y="33"/>
                    <a:pt x="577" y="34"/>
                  </a:cubicBezTo>
                  <a:cubicBezTo>
                    <a:pt x="578" y="24"/>
                    <a:pt x="571" y="26"/>
                    <a:pt x="568" y="22"/>
                  </a:cubicBezTo>
                  <a:cubicBezTo>
                    <a:pt x="568" y="26"/>
                    <a:pt x="566" y="27"/>
                    <a:pt x="566" y="30"/>
                  </a:cubicBezTo>
                  <a:cubicBezTo>
                    <a:pt x="566" y="34"/>
                    <a:pt x="570" y="36"/>
                    <a:pt x="566" y="37"/>
                  </a:cubicBezTo>
                  <a:cubicBezTo>
                    <a:pt x="565" y="32"/>
                    <a:pt x="562" y="30"/>
                    <a:pt x="563" y="22"/>
                  </a:cubicBezTo>
                  <a:cubicBezTo>
                    <a:pt x="557" y="30"/>
                    <a:pt x="548" y="16"/>
                    <a:pt x="542" y="26"/>
                  </a:cubicBezTo>
                  <a:cubicBezTo>
                    <a:pt x="544" y="30"/>
                    <a:pt x="547" y="34"/>
                    <a:pt x="550" y="37"/>
                  </a:cubicBezTo>
                  <a:cubicBezTo>
                    <a:pt x="541" y="38"/>
                    <a:pt x="542" y="26"/>
                    <a:pt x="531" y="30"/>
                  </a:cubicBezTo>
                  <a:cubicBezTo>
                    <a:pt x="528" y="24"/>
                    <a:pt x="527" y="18"/>
                    <a:pt x="520" y="19"/>
                  </a:cubicBezTo>
                  <a:cubicBezTo>
                    <a:pt x="519" y="16"/>
                    <a:pt x="520" y="12"/>
                    <a:pt x="517" y="11"/>
                  </a:cubicBezTo>
                  <a:cubicBezTo>
                    <a:pt x="519" y="29"/>
                    <a:pt x="509" y="18"/>
                    <a:pt x="515" y="26"/>
                  </a:cubicBezTo>
                  <a:cubicBezTo>
                    <a:pt x="516" y="28"/>
                    <a:pt x="517" y="34"/>
                    <a:pt x="515" y="34"/>
                  </a:cubicBezTo>
                  <a:cubicBezTo>
                    <a:pt x="510" y="32"/>
                    <a:pt x="513" y="19"/>
                    <a:pt x="504" y="22"/>
                  </a:cubicBezTo>
                  <a:cubicBezTo>
                    <a:pt x="501" y="29"/>
                    <a:pt x="512" y="35"/>
                    <a:pt x="504" y="37"/>
                  </a:cubicBezTo>
                  <a:cubicBezTo>
                    <a:pt x="500" y="33"/>
                    <a:pt x="503" y="19"/>
                    <a:pt x="496" y="19"/>
                  </a:cubicBezTo>
                  <a:cubicBezTo>
                    <a:pt x="497" y="29"/>
                    <a:pt x="486" y="10"/>
                    <a:pt x="485" y="22"/>
                  </a:cubicBezTo>
                  <a:cubicBezTo>
                    <a:pt x="489" y="25"/>
                    <a:pt x="492" y="28"/>
                    <a:pt x="493" y="34"/>
                  </a:cubicBezTo>
                  <a:cubicBezTo>
                    <a:pt x="487" y="29"/>
                    <a:pt x="483" y="43"/>
                    <a:pt x="482" y="34"/>
                  </a:cubicBezTo>
                  <a:cubicBezTo>
                    <a:pt x="482" y="29"/>
                    <a:pt x="487" y="30"/>
                    <a:pt x="488" y="26"/>
                  </a:cubicBezTo>
                  <a:cubicBezTo>
                    <a:pt x="488" y="26"/>
                    <a:pt x="482" y="22"/>
                    <a:pt x="482" y="19"/>
                  </a:cubicBezTo>
                  <a:cubicBezTo>
                    <a:pt x="483" y="17"/>
                    <a:pt x="489" y="15"/>
                    <a:pt x="488" y="11"/>
                  </a:cubicBezTo>
                  <a:cubicBezTo>
                    <a:pt x="479" y="8"/>
                    <a:pt x="484" y="24"/>
                    <a:pt x="477" y="22"/>
                  </a:cubicBezTo>
                  <a:cubicBezTo>
                    <a:pt x="467" y="27"/>
                    <a:pt x="462" y="15"/>
                    <a:pt x="458" y="22"/>
                  </a:cubicBezTo>
                  <a:cubicBezTo>
                    <a:pt x="459" y="22"/>
                    <a:pt x="462" y="26"/>
                    <a:pt x="458" y="26"/>
                  </a:cubicBezTo>
                  <a:cubicBezTo>
                    <a:pt x="459" y="16"/>
                    <a:pt x="441" y="31"/>
                    <a:pt x="445" y="15"/>
                  </a:cubicBezTo>
                  <a:cubicBezTo>
                    <a:pt x="440" y="14"/>
                    <a:pt x="439" y="20"/>
                    <a:pt x="437" y="22"/>
                  </a:cubicBezTo>
                  <a:cubicBezTo>
                    <a:pt x="435" y="18"/>
                    <a:pt x="434" y="14"/>
                    <a:pt x="431" y="11"/>
                  </a:cubicBezTo>
                  <a:cubicBezTo>
                    <a:pt x="425" y="29"/>
                    <a:pt x="405" y="19"/>
                    <a:pt x="399" y="30"/>
                  </a:cubicBezTo>
                  <a:cubicBezTo>
                    <a:pt x="397" y="25"/>
                    <a:pt x="393" y="23"/>
                    <a:pt x="388" y="22"/>
                  </a:cubicBezTo>
                  <a:cubicBezTo>
                    <a:pt x="388" y="18"/>
                    <a:pt x="388" y="14"/>
                    <a:pt x="383" y="15"/>
                  </a:cubicBezTo>
                  <a:cubicBezTo>
                    <a:pt x="378" y="18"/>
                    <a:pt x="379" y="29"/>
                    <a:pt x="372" y="30"/>
                  </a:cubicBezTo>
                  <a:cubicBezTo>
                    <a:pt x="372" y="26"/>
                    <a:pt x="370" y="26"/>
                    <a:pt x="367" y="26"/>
                  </a:cubicBezTo>
                  <a:cubicBezTo>
                    <a:pt x="364" y="26"/>
                    <a:pt x="365" y="23"/>
                    <a:pt x="364" y="22"/>
                  </a:cubicBezTo>
                  <a:cubicBezTo>
                    <a:pt x="362" y="21"/>
                    <a:pt x="359" y="23"/>
                    <a:pt x="356" y="22"/>
                  </a:cubicBezTo>
                  <a:cubicBezTo>
                    <a:pt x="354" y="22"/>
                    <a:pt x="352" y="19"/>
                    <a:pt x="351" y="19"/>
                  </a:cubicBezTo>
                  <a:cubicBezTo>
                    <a:pt x="349" y="19"/>
                    <a:pt x="348" y="30"/>
                    <a:pt x="343" y="26"/>
                  </a:cubicBezTo>
                  <a:cubicBezTo>
                    <a:pt x="342" y="21"/>
                    <a:pt x="344" y="13"/>
                    <a:pt x="340" y="11"/>
                  </a:cubicBezTo>
                  <a:cubicBezTo>
                    <a:pt x="339" y="14"/>
                    <a:pt x="340" y="19"/>
                    <a:pt x="337" y="19"/>
                  </a:cubicBezTo>
                  <a:cubicBezTo>
                    <a:pt x="333" y="23"/>
                    <a:pt x="333" y="20"/>
                    <a:pt x="329" y="19"/>
                  </a:cubicBezTo>
                  <a:cubicBezTo>
                    <a:pt x="324" y="17"/>
                    <a:pt x="321" y="23"/>
                    <a:pt x="318" y="22"/>
                  </a:cubicBezTo>
                  <a:cubicBezTo>
                    <a:pt x="317" y="22"/>
                    <a:pt x="317" y="18"/>
                    <a:pt x="313" y="19"/>
                  </a:cubicBezTo>
                  <a:cubicBezTo>
                    <a:pt x="311" y="19"/>
                    <a:pt x="312" y="23"/>
                    <a:pt x="308" y="22"/>
                  </a:cubicBezTo>
                  <a:cubicBezTo>
                    <a:pt x="307" y="22"/>
                    <a:pt x="303" y="15"/>
                    <a:pt x="302" y="15"/>
                  </a:cubicBezTo>
                  <a:cubicBezTo>
                    <a:pt x="288" y="21"/>
                    <a:pt x="275" y="26"/>
                    <a:pt x="265" y="15"/>
                  </a:cubicBezTo>
                  <a:cubicBezTo>
                    <a:pt x="265" y="21"/>
                    <a:pt x="253" y="23"/>
                    <a:pt x="251" y="22"/>
                  </a:cubicBezTo>
                  <a:cubicBezTo>
                    <a:pt x="249" y="22"/>
                    <a:pt x="249" y="19"/>
                    <a:pt x="249" y="19"/>
                  </a:cubicBezTo>
                  <a:cubicBezTo>
                    <a:pt x="243" y="18"/>
                    <a:pt x="234" y="31"/>
                    <a:pt x="235" y="15"/>
                  </a:cubicBezTo>
                  <a:cubicBezTo>
                    <a:pt x="225" y="18"/>
                    <a:pt x="215" y="19"/>
                    <a:pt x="205" y="22"/>
                  </a:cubicBezTo>
                  <a:cubicBezTo>
                    <a:pt x="202" y="22"/>
                    <a:pt x="201" y="18"/>
                    <a:pt x="200" y="15"/>
                  </a:cubicBezTo>
                  <a:cubicBezTo>
                    <a:pt x="195" y="12"/>
                    <a:pt x="195" y="21"/>
                    <a:pt x="189" y="22"/>
                  </a:cubicBezTo>
                  <a:cubicBezTo>
                    <a:pt x="189" y="22"/>
                    <a:pt x="187" y="18"/>
                    <a:pt x="184" y="19"/>
                  </a:cubicBezTo>
                  <a:cubicBezTo>
                    <a:pt x="184" y="19"/>
                    <a:pt x="184" y="22"/>
                    <a:pt x="184" y="22"/>
                  </a:cubicBezTo>
                  <a:cubicBezTo>
                    <a:pt x="182" y="25"/>
                    <a:pt x="166" y="23"/>
                    <a:pt x="165" y="22"/>
                  </a:cubicBezTo>
                  <a:cubicBezTo>
                    <a:pt x="161" y="21"/>
                    <a:pt x="162" y="19"/>
                    <a:pt x="160" y="22"/>
                  </a:cubicBezTo>
                  <a:cubicBezTo>
                    <a:pt x="158" y="26"/>
                    <a:pt x="145" y="22"/>
                    <a:pt x="144" y="22"/>
                  </a:cubicBezTo>
                  <a:cubicBezTo>
                    <a:pt x="140" y="24"/>
                    <a:pt x="140" y="26"/>
                    <a:pt x="138" y="22"/>
                  </a:cubicBezTo>
                  <a:cubicBezTo>
                    <a:pt x="138" y="22"/>
                    <a:pt x="134" y="23"/>
                    <a:pt x="133" y="22"/>
                  </a:cubicBezTo>
                  <a:cubicBezTo>
                    <a:pt x="123" y="21"/>
                    <a:pt x="120" y="19"/>
                    <a:pt x="114" y="19"/>
                  </a:cubicBezTo>
                  <a:cubicBezTo>
                    <a:pt x="110" y="18"/>
                    <a:pt x="111" y="23"/>
                    <a:pt x="109" y="19"/>
                  </a:cubicBezTo>
                  <a:cubicBezTo>
                    <a:pt x="108" y="18"/>
                    <a:pt x="104" y="19"/>
                    <a:pt x="103" y="19"/>
                  </a:cubicBezTo>
                  <a:cubicBezTo>
                    <a:pt x="99" y="17"/>
                    <a:pt x="97" y="16"/>
                    <a:pt x="95" y="19"/>
                  </a:cubicBezTo>
                  <a:cubicBezTo>
                    <a:pt x="95" y="19"/>
                    <a:pt x="91" y="19"/>
                    <a:pt x="90" y="19"/>
                  </a:cubicBezTo>
                  <a:cubicBezTo>
                    <a:pt x="80" y="19"/>
                    <a:pt x="79" y="14"/>
                    <a:pt x="76" y="19"/>
                  </a:cubicBezTo>
                  <a:cubicBezTo>
                    <a:pt x="74" y="23"/>
                    <a:pt x="64" y="15"/>
                    <a:pt x="63" y="15"/>
                  </a:cubicBezTo>
                  <a:cubicBezTo>
                    <a:pt x="55" y="13"/>
                    <a:pt x="48" y="12"/>
                    <a:pt x="39" y="11"/>
                  </a:cubicBezTo>
                  <a:cubicBezTo>
                    <a:pt x="39" y="7"/>
                    <a:pt x="42" y="6"/>
                    <a:pt x="41" y="0"/>
                  </a:cubicBezTo>
                  <a:cubicBezTo>
                    <a:pt x="28" y="7"/>
                    <a:pt x="16" y="24"/>
                    <a:pt x="12" y="37"/>
                  </a:cubicBezTo>
                  <a:cubicBezTo>
                    <a:pt x="11" y="39"/>
                    <a:pt x="9" y="43"/>
                    <a:pt x="9" y="45"/>
                  </a:cubicBezTo>
                  <a:cubicBezTo>
                    <a:pt x="9" y="48"/>
                    <a:pt x="7" y="47"/>
                    <a:pt x="7" y="48"/>
                  </a:cubicBezTo>
                  <a:cubicBezTo>
                    <a:pt x="4" y="56"/>
                    <a:pt x="5" y="69"/>
                    <a:pt x="4" y="78"/>
                  </a:cubicBezTo>
                  <a:cubicBezTo>
                    <a:pt x="4" y="78"/>
                    <a:pt x="2" y="79"/>
                    <a:pt x="1" y="82"/>
                  </a:cubicBezTo>
                  <a:cubicBezTo>
                    <a:pt x="0" y="85"/>
                    <a:pt x="2" y="89"/>
                    <a:pt x="1" y="93"/>
                  </a:cubicBezTo>
                  <a:cubicBezTo>
                    <a:pt x="18" y="99"/>
                    <a:pt x="3" y="124"/>
                    <a:pt x="4" y="141"/>
                  </a:cubicBezTo>
                  <a:cubicBezTo>
                    <a:pt x="9" y="138"/>
                    <a:pt x="8" y="146"/>
                    <a:pt x="9" y="148"/>
                  </a:cubicBezTo>
                  <a:cubicBezTo>
                    <a:pt x="12" y="151"/>
                    <a:pt x="18" y="149"/>
                    <a:pt x="17" y="156"/>
                  </a:cubicBezTo>
                  <a:cubicBezTo>
                    <a:pt x="15" y="156"/>
                    <a:pt x="14" y="156"/>
                    <a:pt x="12" y="156"/>
                  </a:cubicBezTo>
                  <a:cubicBezTo>
                    <a:pt x="15" y="172"/>
                    <a:pt x="3" y="168"/>
                    <a:pt x="4" y="182"/>
                  </a:cubicBezTo>
                  <a:cubicBezTo>
                    <a:pt x="7" y="182"/>
                    <a:pt x="11" y="181"/>
                    <a:pt x="12" y="185"/>
                  </a:cubicBezTo>
                  <a:cubicBezTo>
                    <a:pt x="13" y="199"/>
                    <a:pt x="19" y="203"/>
                    <a:pt x="15" y="215"/>
                  </a:cubicBezTo>
                  <a:cubicBezTo>
                    <a:pt x="20" y="212"/>
                    <a:pt x="18" y="220"/>
                    <a:pt x="20" y="222"/>
                  </a:cubicBezTo>
                  <a:cubicBezTo>
                    <a:pt x="21" y="224"/>
                    <a:pt x="26" y="222"/>
                    <a:pt x="25" y="226"/>
                  </a:cubicBezTo>
                  <a:cubicBezTo>
                    <a:pt x="25" y="232"/>
                    <a:pt x="26" y="237"/>
                    <a:pt x="28" y="241"/>
                  </a:cubicBezTo>
                  <a:cubicBezTo>
                    <a:pt x="25" y="241"/>
                    <a:pt x="23" y="241"/>
                    <a:pt x="20" y="241"/>
                  </a:cubicBezTo>
                  <a:cubicBezTo>
                    <a:pt x="23" y="252"/>
                    <a:pt x="22" y="255"/>
                    <a:pt x="17" y="263"/>
                  </a:cubicBezTo>
                  <a:cubicBezTo>
                    <a:pt x="22" y="264"/>
                    <a:pt x="24" y="257"/>
                    <a:pt x="25" y="263"/>
                  </a:cubicBezTo>
                  <a:cubicBezTo>
                    <a:pt x="24" y="268"/>
                    <a:pt x="20" y="270"/>
                    <a:pt x="15" y="270"/>
                  </a:cubicBezTo>
                  <a:cubicBezTo>
                    <a:pt x="12" y="282"/>
                    <a:pt x="22" y="278"/>
                    <a:pt x="23" y="285"/>
                  </a:cubicBezTo>
                  <a:cubicBezTo>
                    <a:pt x="14" y="288"/>
                    <a:pt x="18" y="297"/>
                    <a:pt x="15" y="300"/>
                  </a:cubicBezTo>
                  <a:cubicBezTo>
                    <a:pt x="7" y="310"/>
                    <a:pt x="12" y="294"/>
                    <a:pt x="7" y="292"/>
                  </a:cubicBezTo>
                  <a:cubicBezTo>
                    <a:pt x="1" y="306"/>
                    <a:pt x="12" y="313"/>
                    <a:pt x="15" y="322"/>
                  </a:cubicBezTo>
                  <a:cubicBezTo>
                    <a:pt x="16" y="325"/>
                    <a:pt x="9" y="334"/>
                    <a:pt x="17" y="333"/>
                  </a:cubicBezTo>
                  <a:cubicBezTo>
                    <a:pt x="18" y="329"/>
                    <a:pt x="17" y="323"/>
                    <a:pt x="20" y="322"/>
                  </a:cubicBezTo>
                  <a:cubicBezTo>
                    <a:pt x="19" y="334"/>
                    <a:pt x="25" y="335"/>
                    <a:pt x="23" y="348"/>
                  </a:cubicBezTo>
                  <a:cubicBezTo>
                    <a:pt x="22" y="352"/>
                    <a:pt x="6" y="352"/>
                    <a:pt x="15" y="355"/>
                  </a:cubicBezTo>
                  <a:cubicBezTo>
                    <a:pt x="23" y="357"/>
                    <a:pt x="26" y="347"/>
                    <a:pt x="28" y="359"/>
                  </a:cubicBezTo>
                  <a:cubicBezTo>
                    <a:pt x="25" y="358"/>
                    <a:pt x="23" y="353"/>
                    <a:pt x="23" y="363"/>
                  </a:cubicBezTo>
                  <a:cubicBezTo>
                    <a:pt x="31" y="367"/>
                    <a:pt x="29" y="357"/>
                    <a:pt x="33" y="355"/>
                  </a:cubicBezTo>
                  <a:cubicBezTo>
                    <a:pt x="34" y="363"/>
                    <a:pt x="43" y="359"/>
                    <a:pt x="44" y="366"/>
                  </a:cubicBezTo>
                  <a:cubicBezTo>
                    <a:pt x="39" y="374"/>
                    <a:pt x="45" y="374"/>
                    <a:pt x="47" y="381"/>
                  </a:cubicBezTo>
                  <a:cubicBezTo>
                    <a:pt x="43" y="380"/>
                    <a:pt x="42" y="377"/>
                    <a:pt x="39" y="381"/>
                  </a:cubicBezTo>
                  <a:cubicBezTo>
                    <a:pt x="41" y="369"/>
                    <a:pt x="33" y="376"/>
                    <a:pt x="33" y="381"/>
                  </a:cubicBezTo>
                  <a:cubicBezTo>
                    <a:pt x="40" y="382"/>
                    <a:pt x="43" y="388"/>
                    <a:pt x="47" y="392"/>
                  </a:cubicBezTo>
                  <a:cubicBezTo>
                    <a:pt x="42" y="392"/>
                    <a:pt x="38" y="392"/>
                    <a:pt x="33" y="392"/>
                  </a:cubicBezTo>
                  <a:cubicBezTo>
                    <a:pt x="31" y="404"/>
                    <a:pt x="41" y="399"/>
                    <a:pt x="39" y="411"/>
                  </a:cubicBezTo>
                  <a:cubicBezTo>
                    <a:pt x="45" y="416"/>
                    <a:pt x="50" y="400"/>
                    <a:pt x="52" y="411"/>
                  </a:cubicBezTo>
                  <a:cubicBezTo>
                    <a:pt x="49" y="411"/>
                    <a:pt x="46" y="412"/>
                    <a:pt x="47" y="418"/>
                  </a:cubicBezTo>
                  <a:cubicBezTo>
                    <a:pt x="47" y="423"/>
                    <a:pt x="51" y="422"/>
                    <a:pt x="52" y="426"/>
                  </a:cubicBezTo>
                  <a:cubicBezTo>
                    <a:pt x="46" y="425"/>
                    <a:pt x="42" y="427"/>
                    <a:pt x="41" y="433"/>
                  </a:cubicBezTo>
                  <a:cubicBezTo>
                    <a:pt x="45" y="434"/>
                    <a:pt x="44" y="439"/>
                    <a:pt x="44" y="444"/>
                  </a:cubicBezTo>
                  <a:cubicBezTo>
                    <a:pt x="52" y="450"/>
                    <a:pt x="56" y="439"/>
                    <a:pt x="58" y="455"/>
                  </a:cubicBezTo>
                  <a:cubicBezTo>
                    <a:pt x="48" y="458"/>
                    <a:pt x="46" y="451"/>
                    <a:pt x="41" y="448"/>
                  </a:cubicBezTo>
                  <a:cubicBezTo>
                    <a:pt x="45" y="457"/>
                    <a:pt x="31" y="459"/>
                    <a:pt x="39" y="463"/>
                  </a:cubicBezTo>
                  <a:cubicBezTo>
                    <a:pt x="39" y="458"/>
                    <a:pt x="46" y="458"/>
                    <a:pt x="47" y="463"/>
                  </a:cubicBezTo>
                  <a:cubicBezTo>
                    <a:pt x="36" y="459"/>
                    <a:pt x="51" y="487"/>
                    <a:pt x="36" y="485"/>
                  </a:cubicBezTo>
                  <a:cubicBezTo>
                    <a:pt x="38" y="499"/>
                    <a:pt x="44" y="506"/>
                    <a:pt x="47" y="518"/>
                  </a:cubicBezTo>
                  <a:cubicBezTo>
                    <a:pt x="39" y="526"/>
                    <a:pt x="47" y="532"/>
                    <a:pt x="39" y="537"/>
                  </a:cubicBezTo>
                  <a:cubicBezTo>
                    <a:pt x="40" y="534"/>
                    <a:pt x="36" y="533"/>
                    <a:pt x="36" y="533"/>
                  </a:cubicBezTo>
                  <a:cubicBezTo>
                    <a:pt x="36" y="530"/>
                    <a:pt x="39" y="528"/>
                    <a:pt x="39" y="529"/>
                  </a:cubicBezTo>
                  <a:cubicBezTo>
                    <a:pt x="38" y="525"/>
                    <a:pt x="36" y="520"/>
                    <a:pt x="36" y="518"/>
                  </a:cubicBezTo>
                  <a:cubicBezTo>
                    <a:pt x="36" y="518"/>
                    <a:pt x="41" y="517"/>
                    <a:pt x="41" y="514"/>
                  </a:cubicBezTo>
                  <a:cubicBezTo>
                    <a:pt x="42" y="511"/>
                    <a:pt x="37" y="508"/>
                    <a:pt x="36" y="507"/>
                  </a:cubicBezTo>
                  <a:cubicBezTo>
                    <a:pt x="31" y="519"/>
                    <a:pt x="41" y="530"/>
                    <a:pt x="28" y="533"/>
                  </a:cubicBezTo>
                  <a:cubicBezTo>
                    <a:pt x="28" y="539"/>
                    <a:pt x="28" y="545"/>
                    <a:pt x="28" y="551"/>
                  </a:cubicBezTo>
                  <a:cubicBezTo>
                    <a:pt x="38" y="557"/>
                    <a:pt x="29" y="535"/>
                    <a:pt x="39" y="540"/>
                  </a:cubicBezTo>
                  <a:cubicBezTo>
                    <a:pt x="34" y="547"/>
                    <a:pt x="38" y="550"/>
                    <a:pt x="39" y="559"/>
                  </a:cubicBezTo>
                  <a:cubicBezTo>
                    <a:pt x="37" y="560"/>
                    <a:pt x="34" y="559"/>
                    <a:pt x="33" y="562"/>
                  </a:cubicBezTo>
                  <a:cubicBezTo>
                    <a:pt x="37" y="572"/>
                    <a:pt x="41" y="556"/>
                    <a:pt x="44" y="566"/>
                  </a:cubicBezTo>
                  <a:cubicBezTo>
                    <a:pt x="39" y="564"/>
                    <a:pt x="36" y="583"/>
                    <a:pt x="41" y="585"/>
                  </a:cubicBezTo>
                  <a:cubicBezTo>
                    <a:pt x="45" y="579"/>
                    <a:pt x="46" y="569"/>
                    <a:pt x="52" y="566"/>
                  </a:cubicBezTo>
                  <a:cubicBezTo>
                    <a:pt x="57" y="573"/>
                    <a:pt x="50" y="579"/>
                    <a:pt x="47" y="585"/>
                  </a:cubicBezTo>
                  <a:cubicBezTo>
                    <a:pt x="44" y="585"/>
                    <a:pt x="44" y="588"/>
                    <a:pt x="41" y="588"/>
                  </a:cubicBezTo>
                  <a:cubicBezTo>
                    <a:pt x="35" y="593"/>
                    <a:pt x="31" y="579"/>
                    <a:pt x="31" y="588"/>
                  </a:cubicBezTo>
                  <a:cubicBezTo>
                    <a:pt x="34" y="598"/>
                    <a:pt x="52" y="589"/>
                    <a:pt x="49" y="607"/>
                  </a:cubicBezTo>
                  <a:cubicBezTo>
                    <a:pt x="46" y="602"/>
                    <a:pt x="38" y="604"/>
                    <a:pt x="39" y="614"/>
                  </a:cubicBezTo>
                  <a:cubicBezTo>
                    <a:pt x="49" y="609"/>
                    <a:pt x="45" y="622"/>
                    <a:pt x="47" y="625"/>
                  </a:cubicBezTo>
                  <a:cubicBezTo>
                    <a:pt x="48" y="627"/>
                    <a:pt x="53" y="625"/>
                    <a:pt x="52" y="629"/>
                  </a:cubicBezTo>
                  <a:cubicBezTo>
                    <a:pt x="50" y="649"/>
                    <a:pt x="39" y="636"/>
                    <a:pt x="33" y="648"/>
                  </a:cubicBezTo>
                  <a:cubicBezTo>
                    <a:pt x="42" y="647"/>
                    <a:pt x="35" y="663"/>
                    <a:pt x="36" y="670"/>
                  </a:cubicBezTo>
                  <a:cubicBezTo>
                    <a:pt x="36" y="670"/>
                    <a:pt x="41" y="671"/>
                    <a:pt x="41" y="673"/>
                  </a:cubicBezTo>
                  <a:cubicBezTo>
                    <a:pt x="42" y="678"/>
                    <a:pt x="37" y="679"/>
                    <a:pt x="39" y="684"/>
                  </a:cubicBezTo>
                  <a:cubicBezTo>
                    <a:pt x="41" y="685"/>
                    <a:pt x="42" y="688"/>
                    <a:pt x="41" y="692"/>
                  </a:cubicBezTo>
                  <a:cubicBezTo>
                    <a:pt x="46" y="692"/>
                    <a:pt x="51" y="691"/>
                    <a:pt x="49" y="699"/>
                  </a:cubicBezTo>
                  <a:cubicBezTo>
                    <a:pt x="46" y="699"/>
                    <a:pt x="46" y="695"/>
                    <a:pt x="41" y="696"/>
                  </a:cubicBezTo>
                  <a:cubicBezTo>
                    <a:pt x="45" y="707"/>
                    <a:pt x="37" y="705"/>
                    <a:pt x="36" y="710"/>
                  </a:cubicBezTo>
                  <a:cubicBezTo>
                    <a:pt x="40" y="712"/>
                    <a:pt x="43" y="716"/>
                    <a:pt x="44" y="721"/>
                  </a:cubicBezTo>
                  <a:cubicBezTo>
                    <a:pt x="39" y="722"/>
                    <a:pt x="36" y="721"/>
                    <a:pt x="33" y="718"/>
                  </a:cubicBezTo>
                  <a:cubicBezTo>
                    <a:pt x="31" y="730"/>
                    <a:pt x="36" y="732"/>
                    <a:pt x="39" y="736"/>
                  </a:cubicBezTo>
                  <a:cubicBezTo>
                    <a:pt x="31" y="730"/>
                    <a:pt x="31" y="752"/>
                    <a:pt x="36" y="751"/>
                  </a:cubicBezTo>
                  <a:cubicBezTo>
                    <a:pt x="38" y="733"/>
                    <a:pt x="37" y="755"/>
                    <a:pt x="41" y="755"/>
                  </a:cubicBezTo>
                  <a:cubicBezTo>
                    <a:pt x="40" y="748"/>
                    <a:pt x="49" y="736"/>
                    <a:pt x="49" y="744"/>
                  </a:cubicBezTo>
                  <a:cubicBezTo>
                    <a:pt x="49" y="751"/>
                    <a:pt x="42" y="748"/>
                    <a:pt x="44" y="759"/>
                  </a:cubicBezTo>
                  <a:cubicBezTo>
                    <a:pt x="47" y="757"/>
                    <a:pt x="53" y="769"/>
                    <a:pt x="47" y="770"/>
                  </a:cubicBezTo>
                  <a:cubicBezTo>
                    <a:pt x="50" y="760"/>
                    <a:pt x="38" y="753"/>
                    <a:pt x="36" y="762"/>
                  </a:cubicBezTo>
                  <a:cubicBezTo>
                    <a:pt x="42" y="763"/>
                    <a:pt x="42" y="772"/>
                    <a:pt x="39" y="777"/>
                  </a:cubicBezTo>
                  <a:cubicBezTo>
                    <a:pt x="44" y="781"/>
                    <a:pt x="48" y="766"/>
                    <a:pt x="49" y="777"/>
                  </a:cubicBezTo>
                  <a:cubicBezTo>
                    <a:pt x="51" y="791"/>
                    <a:pt x="38" y="783"/>
                    <a:pt x="36" y="792"/>
                  </a:cubicBezTo>
                  <a:cubicBezTo>
                    <a:pt x="39" y="792"/>
                    <a:pt x="39" y="798"/>
                    <a:pt x="39" y="803"/>
                  </a:cubicBezTo>
                  <a:cubicBezTo>
                    <a:pt x="44" y="807"/>
                    <a:pt x="50" y="809"/>
                    <a:pt x="52" y="818"/>
                  </a:cubicBezTo>
                  <a:cubicBezTo>
                    <a:pt x="48" y="814"/>
                    <a:pt x="46" y="814"/>
                    <a:pt x="44" y="821"/>
                  </a:cubicBezTo>
                  <a:cubicBezTo>
                    <a:pt x="46" y="828"/>
                    <a:pt x="57" y="821"/>
                    <a:pt x="58" y="829"/>
                  </a:cubicBezTo>
                  <a:cubicBezTo>
                    <a:pt x="58" y="837"/>
                    <a:pt x="57" y="843"/>
                    <a:pt x="52" y="844"/>
                  </a:cubicBezTo>
                  <a:cubicBezTo>
                    <a:pt x="52" y="839"/>
                    <a:pt x="56" y="838"/>
                    <a:pt x="55" y="832"/>
                  </a:cubicBezTo>
                  <a:cubicBezTo>
                    <a:pt x="47" y="831"/>
                    <a:pt x="49" y="839"/>
                    <a:pt x="44" y="840"/>
                  </a:cubicBezTo>
                  <a:cubicBezTo>
                    <a:pt x="45" y="840"/>
                    <a:pt x="42" y="833"/>
                    <a:pt x="41" y="832"/>
                  </a:cubicBezTo>
                  <a:cubicBezTo>
                    <a:pt x="39" y="831"/>
                    <a:pt x="37" y="838"/>
                    <a:pt x="36" y="840"/>
                  </a:cubicBezTo>
                  <a:cubicBezTo>
                    <a:pt x="39" y="841"/>
                    <a:pt x="42" y="845"/>
                    <a:pt x="41" y="851"/>
                  </a:cubicBezTo>
                  <a:cubicBezTo>
                    <a:pt x="45" y="852"/>
                    <a:pt x="49" y="845"/>
                    <a:pt x="49" y="851"/>
                  </a:cubicBezTo>
                  <a:cubicBezTo>
                    <a:pt x="49" y="852"/>
                    <a:pt x="47" y="858"/>
                    <a:pt x="47" y="858"/>
                  </a:cubicBezTo>
                  <a:cubicBezTo>
                    <a:pt x="55" y="864"/>
                    <a:pt x="56" y="859"/>
                    <a:pt x="63" y="858"/>
                  </a:cubicBezTo>
                  <a:cubicBezTo>
                    <a:pt x="62" y="864"/>
                    <a:pt x="67" y="868"/>
                    <a:pt x="68" y="862"/>
                  </a:cubicBezTo>
                  <a:cubicBezTo>
                    <a:pt x="64" y="862"/>
                    <a:pt x="73" y="838"/>
                    <a:pt x="66" y="832"/>
                  </a:cubicBezTo>
                  <a:cubicBezTo>
                    <a:pt x="76" y="835"/>
                    <a:pt x="67" y="801"/>
                    <a:pt x="79" y="818"/>
                  </a:cubicBezTo>
                  <a:cubicBezTo>
                    <a:pt x="81" y="807"/>
                    <a:pt x="75" y="808"/>
                    <a:pt x="76" y="799"/>
                  </a:cubicBezTo>
                  <a:cubicBezTo>
                    <a:pt x="70" y="800"/>
                    <a:pt x="66" y="798"/>
                    <a:pt x="66" y="792"/>
                  </a:cubicBezTo>
                  <a:cubicBezTo>
                    <a:pt x="71" y="792"/>
                    <a:pt x="65" y="787"/>
                    <a:pt x="66" y="784"/>
                  </a:cubicBezTo>
                  <a:cubicBezTo>
                    <a:pt x="66" y="783"/>
                    <a:pt x="71" y="785"/>
                    <a:pt x="71" y="784"/>
                  </a:cubicBezTo>
                  <a:cubicBezTo>
                    <a:pt x="73" y="780"/>
                    <a:pt x="69" y="763"/>
                    <a:pt x="76" y="766"/>
                  </a:cubicBezTo>
                  <a:cubicBezTo>
                    <a:pt x="70" y="760"/>
                    <a:pt x="77" y="755"/>
                    <a:pt x="76" y="751"/>
                  </a:cubicBezTo>
                  <a:cubicBezTo>
                    <a:pt x="76" y="749"/>
                    <a:pt x="64" y="739"/>
                    <a:pt x="74" y="736"/>
                  </a:cubicBezTo>
                  <a:cubicBezTo>
                    <a:pt x="77" y="741"/>
                    <a:pt x="86" y="739"/>
                    <a:pt x="90" y="744"/>
                  </a:cubicBezTo>
                  <a:cubicBezTo>
                    <a:pt x="88" y="735"/>
                    <a:pt x="86" y="726"/>
                    <a:pt x="95" y="725"/>
                  </a:cubicBezTo>
                  <a:cubicBezTo>
                    <a:pt x="92" y="739"/>
                    <a:pt x="100" y="756"/>
                    <a:pt x="106" y="744"/>
                  </a:cubicBezTo>
                  <a:cubicBezTo>
                    <a:pt x="102" y="741"/>
                    <a:pt x="101" y="739"/>
                    <a:pt x="103" y="736"/>
                  </a:cubicBezTo>
                  <a:cubicBezTo>
                    <a:pt x="104" y="736"/>
                    <a:pt x="96" y="719"/>
                    <a:pt x="103" y="721"/>
                  </a:cubicBezTo>
                  <a:cubicBezTo>
                    <a:pt x="107" y="735"/>
                    <a:pt x="113" y="734"/>
                    <a:pt x="109" y="751"/>
                  </a:cubicBezTo>
                  <a:cubicBezTo>
                    <a:pt x="113" y="751"/>
                    <a:pt x="117" y="752"/>
                    <a:pt x="119" y="755"/>
                  </a:cubicBezTo>
                  <a:cubicBezTo>
                    <a:pt x="119" y="746"/>
                    <a:pt x="114" y="739"/>
                    <a:pt x="122" y="736"/>
                  </a:cubicBezTo>
                  <a:cubicBezTo>
                    <a:pt x="122" y="752"/>
                    <a:pt x="124" y="745"/>
                    <a:pt x="128" y="740"/>
                  </a:cubicBezTo>
                  <a:cubicBezTo>
                    <a:pt x="125" y="764"/>
                    <a:pt x="138" y="764"/>
                    <a:pt x="149" y="770"/>
                  </a:cubicBezTo>
                  <a:cubicBezTo>
                    <a:pt x="149" y="765"/>
                    <a:pt x="150" y="761"/>
                    <a:pt x="154" y="762"/>
                  </a:cubicBezTo>
                  <a:cubicBezTo>
                    <a:pt x="155" y="758"/>
                    <a:pt x="155" y="753"/>
                    <a:pt x="160" y="755"/>
                  </a:cubicBezTo>
                  <a:cubicBezTo>
                    <a:pt x="163" y="767"/>
                    <a:pt x="151" y="758"/>
                    <a:pt x="154" y="770"/>
                  </a:cubicBezTo>
                  <a:cubicBezTo>
                    <a:pt x="158" y="769"/>
                    <a:pt x="164" y="771"/>
                    <a:pt x="165" y="766"/>
                  </a:cubicBezTo>
                  <a:cubicBezTo>
                    <a:pt x="161" y="766"/>
                    <a:pt x="165" y="762"/>
                    <a:pt x="165" y="762"/>
                  </a:cubicBezTo>
                  <a:cubicBezTo>
                    <a:pt x="165" y="760"/>
                    <a:pt x="162" y="756"/>
                    <a:pt x="163" y="755"/>
                  </a:cubicBezTo>
                  <a:cubicBezTo>
                    <a:pt x="163" y="751"/>
                    <a:pt x="168" y="752"/>
                    <a:pt x="168" y="744"/>
                  </a:cubicBezTo>
                  <a:cubicBezTo>
                    <a:pt x="168" y="744"/>
                    <a:pt x="165" y="744"/>
                    <a:pt x="165" y="744"/>
                  </a:cubicBezTo>
                  <a:cubicBezTo>
                    <a:pt x="163" y="741"/>
                    <a:pt x="161" y="721"/>
                    <a:pt x="168" y="729"/>
                  </a:cubicBezTo>
                  <a:cubicBezTo>
                    <a:pt x="169" y="715"/>
                    <a:pt x="157" y="719"/>
                    <a:pt x="160" y="703"/>
                  </a:cubicBezTo>
                  <a:cubicBezTo>
                    <a:pt x="166" y="702"/>
                    <a:pt x="171" y="699"/>
                    <a:pt x="176" y="696"/>
                  </a:cubicBezTo>
                  <a:cubicBezTo>
                    <a:pt x="176" y="691"/>
                    <a:pt x="176" y="686"/>
                    <a:pt x="176" y="681"/>
                  </a:cubicBezTo>
                  <a:cubicBezTo>
                    <a:pt x="165" y="683"/>
                    <a:pt x="174" y="672"/>
                    <a:pt x="173" y="670"/>
                  </a:cubicBezTo>
                  <a:cubicBezTo>
                    <a:pt x="173" y="667"/>
                    <a:pt x="168" y="666"/>
                    <a:pt x="168" y="662"/>
                  </a:cubicBezTo>
                  <a:cubicBezTo>
                    <a:pt x="167" y="658"/>
                    <a:pt x="168" y="652"/>
                    <a:pt x="170" y="651"/>
                  </a:cubicBezTo>
                  <a:cubicBezTo>
                    <a:pt x="174" y="653"/>
                    <a:pt x="173" y="659"/>
                    <a:pt x="176" y="662"/>
                  </a:cubicBezTo>
                  <a:cubicBezTo>
                    <a:pt x="175" y="661"/>
                    <a:pt x="177" y="658"/>
                    <a:pt x="178" y="658"/>
                  </a:cubicBezTo>
                  <a:cubicBezTo>
                    <a:pt x="177" y="659"/>
                    <a:pt x="188" y="675"/>
                    <a:pt x="187" y="662"/>
                  </a:cubicBezTo>
                  <a:cubicBezTo>
                    <a:pt x="184" y="661"/>
                    <a:pt x="183" y="655"/>
                    <a:pt x="181" y="651"/>
                  </a:cubicBezTo>
                  <a:cubicBezTo>
                    <a:pt x="177" y="641"/>
                    <a:pt x="184" y="646"/>
                    <a:pt x="181" y="636"/>
                  </a:cubicBezTo>
                  <a:cubicBezTo>
                    <a:pt x="181" y="634"/>
                    <a:pt x="176" y="634"/>
                    <a:pt x="176" y="629"/>
                  </a:cubicBezTo>
                  <a:cubicBezTo>
                    <a:pt x="176" y="629"/>
                    <a:pt x="181" y="626"/>
                    <a:pt x="181" y="625"/>
                  </a:cubicBezTo>
                  <a:cubicBezTo>
                    <a:pt x="184" y="619"/>
                    <a:pt x="180" y="610"/>
                    <a:pt x="184" y="607"/>
                  </a:cubicBezTo>
                  <a:cubicBezTo>
                    <a:pt x="177" y="609"/>
                    <a:pt x="174" y="605"/>
                    <a:pt x="176" y="596"/>
                  </a:cubicBezTo>
                  <a:cubicBezTo>
                    <a:pt x="181" y="595"/>
                    <a:pt x="182" y="600"/>
                    <a:pt x="187" y="599"/>
                  </a:cubicBezTo>
                  <a:cubicBezTo>
                    <a:pt x="187" y="597"/>
                    <a:pt x="187" y="592"/>
                    <a:pt x="189" y="592"/>
                  </a:cubicBezTo>
                  <a:cubicBezTo>
                    <a:pt x="189" y="597"/>
                    <a:pt x="190" y="606"/>
                    <a:pt x="192" y="599"/>
                  </a:cubicBezTo>
                  <a:cubicBezTo>
                    <a:pt x="191" y="591"/>
                    <a:pt x="193" y="586"/>
                    <a:pt x="197" y="585"/>
                  </a:cubicBezTo>
                  <a:cubicBezTo>
                    <a:pt x="195" y="598"/>
                    <a:pt x="197" y="594"/>
                    <a:pt x="195" y="607"/>
                  </a:cubicBezTo>
                  <a:cubicBezTo>
                    <a:pt x="202" y="604"/>
                    <a:pt x="193" y="624"/>
                    <a:pt x="200" y="622"/>
                  </a:cubicBezTo>
                  <a:cubicBezTo>
                    <a:pt x="206" y="611"/>
                    <a:pt x="195" y="608"/>
                    <a:pt x="200" y="603"/>
                  </a:cubicBezTo>
                  <a:cubicBezTo>
                    <a:pt x="208" y="613"/>
                    <a:pt x="210" y="635"/>
                    <a:pt x="200" y="644"/>
                  </a:cubicBezTo>
                  <a:cubicBezTo>
                    <a:pt x="197" y="640"/>
                    <a:pt x="191" y="640"/>
                    <a:pt x="184" y="640"/>
                  </a:cubicBezTo>
                  <a:cubicBezTo>
                    <a:pt x="185" y="650"/>
                    <a:pt x="187" y="658"/>
                    <a:pt x="192" y="662"/>
                  </a:cubicBezTo>
                  <a:cubicBezTo>
                    <a:pt x="187" y="664"/>
                    <a:pt x="193" y="667"/>
                    <a:pt x="192" y="673"/>
                  </a:cubicBezTo>
                  <a:cubicBezTo>
                    <a:pt x="185" y="673"/>
                    <a:pt x="184" y="666"/>
                    <a:pt x="181" y="677"/>
                  </a:cubicBezTo>
                  <a:cubicBezTo>
                    <a:pt x="188" y="675"/>
                    <a:pt x="175" y="694"/>
                    <a:pt x="184" y="696"/>
                  </a:cubicBezTo>
                  <a:cubicBezTo>
                    <a:pt x="188" y="691"/>
                    <a:pt x="184" y="676"/>
                    <a:pt x="195" y="681"/>
                  </a:cubicBezTo>
                  <a:cubicBezTo>
                    <a:pt x="194" y="668"/>
                    <a:pt x="199" y="665"/>
                    <a:pt x="203" y="659"/>
                  </a:cubicBezTo>
                  <a:cubicBezTo>
                    <a:pt x="207" y="661"/>
                    <a:pt x="202" y="677"/>
                    <a:pt x="211" y="673"/>
                  </a:cubicBezTo>
                  <a:cubicBezTo>
                    <a:pt x="212" y="667"/>
                    <a:pt x="207" y="664"/>
                    <a:pt x="211" y="662"/>
                  </a:cubicBezTo>
                  <a:cubicBezTo>
                    <a:pt x="213" y="663"/>
                    <a:pt x="216" y="662"/>
                    <a:pt x="216" y="666"/>
                  </a:cubicBezTo>
                  <a:cubicBezTo>
                    <a:pt x="212" y="668"/>
                    <a:pt x="216" y="680"/>
                    <a:pt x="211" y="681"/>
                  </a:cubicBezTo>
                  <a:cubicBezTo>
                    <a:pt x="205" y="679"/>
                    <a:pt x="206" y="670"/>
                    <a:pt x="200" y="677"/>
                  </a:cubicBezTo>
                  <a:cubicBezTo>
                    <a:pt x="199" y="691"/>
                    <a:pt x="201" y="701"/>
                    <a:pt x="205" y="707"/>
                  </a:cubicBezTo>
                  <a:cubicBezTo>
                    <a:pt x="199" y="706"/>
                    <a:pt x="197" y="700"/>
                    <a:pt x="195" y="710"/>
                  </a:cubicBezTo>
                  <a:cubicBezTo>
                    <a:pt x="202" y="714"/>
                    <a:pt x="191" y="722"/>
                    <a:pt x="195" y="733"/>
                  </a:cubicBezTo>
                  <a:cubicBezTo>
                    <a:pt x="200" y="736"/>
                    <a:pt x="204" y="722"/>
                    <a:pt x="205" y="733"/>
                  </a:cubicBezTo>
                  <a:cubicBezTo>
                    <a:pt x="200" y="731"/>
                    <a:pt x="200" y="738"/>
                    <a:pt x="197" y="740"/>
                  </a:cubicBezTo>
                  <a:cubicBezTo>
                    <a:pt x="196" y="740"/>
                    <a:pt x="194" y="741"/>
                    <a:pt x="195" y="744"/>
                  </a:cubicBezTo>
                  <a:cubicBezTo>
                    <a:pt x="203" y="747"/>
                    <a:pt x="208" y="728"/>
                    <a:pt x="211" y="736"/>
                  </a:cubicBezTo>
                  <a:cubicBezTo>
                    <a:pt x="204" y="742"/>
                    <a:pt x="210" y="762"/>
                    <a:pt x="211" y="770"/>
                  </a:cubicBezTo>
                  <a:cubicBezTo>
                    <a:pt x="211" y="779"/>
                    <a:pt x="211" y="789"/>
                    <a:pt x="211" y="799"/>
                  </a:cubicBezTo>
                  <a:cubicBezTo>
                    <a:pt x="201" y="797"/>
                    <a:pt x="199" y="806"/>
                    <a:pt x="189" y="803"/>
                  </a:cubicBezTo>
                  <a:cubicBezTo>
                    <a:pt x="188" y="817"/>
                    <a:pt x="206" y="804"/>
                    <a:pt x="200" y="825"/>
                  </a:cubicBezTo>
                  <a:cubicBezTo>
                    <a:pt x="209" y="826"/>
                    <a:pt x="206" y="811"/>
                    <a:pt x="214" y="810"/>
                  </a:cubicBezTo>
                  <a:cubicBezTo>
                    <a:pt x="218" y="823"/>
                    <a:pt x="214" y="823"/>
                    <a:pt x="214" y="840"/>
                  </a:cubicBezTo>
                  <a:cubicBezTo>
                    <a:pt x="208" y="837"/>
                    <a:pt x="203" y="852"/>
                    <a:pt x="208" y="851"/>
                  </a:cubicBezTo>
                  <a:cubicBezTo>
                    <a:pt x="209" y="847"/>
                    <a:pt x="212" y="847"/>
                    <a:pt x="216" y="847"/>
                  </a:cubicBezTo>
                  <a:cubicBezTo>
                    <a:pt x="210" y="855"/>
                    <a:pt x="219" y="859"/>
                    <a:pt x="214" y="866"/>
                  </a:cubicBezTo>
                  <a:cubicBezTo>
                    <a:pt x="223" y="869"/>
                    <a:pt x="216" y="849"/>
                    <a:pt x="224" y="851"/>
                  </a:cubicBezTo>
                  <a:cubicBezTo>
                    <a:pt x="227" y="854"/>
                    <a:pt x="225" y="865"/>
                    <a:pt x="232" y="862"/>
                  </a:cubicBezTo>
                  <a:cubicBezTo>
                    <a:pt x="229" y="850"/>
                    <a:pt x="241" y="859"/>
                    <a:pt x="238" y="847"/>
                  </a:cubicBezTo>
                  <a:cubicBezTo>
                    <a:pt x="229" y="843"/>
                    <a:pt x="236" y="859"/>
                    <a:pt x="227" y="855"/>
                  </a:cubicBezTo>
                  <a:cubicBezTo>
                    <a:pt x="231" y="840"/>
                    <a:pt x="220" y="847"/>
                    <a:pt x="219" y="840"/>
                  </a:cubicBezTo>
                  <a:cubicBezTo>
                    <a:pt x="222" y="837"/>
                    <a:pt x="226" y="835"/>
                    <a:pt x="232" y="836"/>
                  </a:cubicBezTo>
                  <a:cubicBezTo>
                    <a:pt x="233" y="831"/>
                    <a:pt x="231" y="822"/>
                    <a:pt x="235" y="821"/>
                  </a:cubicBezTo>
                  <a:cubicBezTo>
                    <a:pt x="239" y="830"/>
                    <a:pt x="243" y="815"/>
                    <a:pt x="246" y="825"/>
                  </a:cubicBezTo>
                  <a:cubicBezTo>
                    <a:pt x="242" y="834"/>
                    <a:pt x="247" y="832"/>
                    <a:pt x="243" y="836"/>
                  </a:cubicBezTo>
                  <a:cubicBezTo>
                    <a:pt x="242" y="837"/>
                    <a:pt x="243" y="842"/>
                    <a:pt x="243" y="844"/>
                  </a:cubicBezTo>
                  <a:cubicBezTo>
                    <a:pt x="240" y="853"/>
                    <a:pt x="245" y="849"/>
                    <a:pt x="243" y="858"/>
                  </a:cubicBezTo>
                  <a:cubicBezTo>
                    <a:pt x="243" y="861"/>
                    <a:pt x="235" y="862"/>
                    <a:pt x="238" y="869"/>
                  </a:cubicBezTo>
                  <a:cubicBezTo>
                    <a:pt x="241" y="872"/>
                    <a:pt x="243" y="877"/>
                    <a:pt x="243" y="884"/>
                  </a:cubicBezTo>
                  <a:cubicBezTo>
                    <a:pt x="240" y="885"/>
                    <a:pt x="239" y="879"/>
                    <a:pt x="238" y="884"/>
                  </a:cubicBezTo>
                  <a:cubicBezTo>
                    <a:pt x="241" y="885"/>
                    <a:pt x="241" y="890"/>
                    <a:pt x="240" y="895"/>
                  </a:cubicBezTo>
                  <a:cubicBezTo>
                    <a:pt x="237" y="896"/>
                    <a:pt x="233" y="895"/>
                    <a:pt x="232" y="899"/>
                  </a:cubicBezTo>
                  <a:cubicBezTo>
                    <a:pt x="238" y="898"/>
                    <a:pt x="234" y="912"/>
                    <a:pt x="235" y="918"/>
                  </a:cubicBezTo>
                  <a:cubicBezTo>
                    <a:pt x="245" y="916"/>
                    <a:pt x="249" y="907"/>
                    <a:pt x="251" y="895"/>
                  </a:cubicBezTo>
                  <a:cubicBezTo>
                    <a:pt x="249" y="894"/>
                    <a:pt x="246" y="895"/>
                    <a:pt x="246" y="892"/>
                  </a:cubicBezTo>
                  <a:cubicBezTo>
                    <a:pt x="254" y="879"/>
                    <a:pt x="238" y="856"/>
                    <a:pt x="254" y="855"/>
                  </a:cubicBezTo>
                  <a:cubicBezTo>
                    <a:pt x="255" y="866"/>
                    <a:pt x="249" y="868"/>
                    <a:pt x="251" y="881"/>
                  </a:cubicBezTo>
                  <a:cubicBezTo>
                    <a:pt x="256" y="879"/>
                    <a:pt x="257" y="886"/>
                    <a:pt x="259" y="888"/>
                  </a:cubicBezTo>
                  <a:cubicBezTo>
                    <a:pt x="265" y="875"/>
                    <a:pt x="267" y="899"/>
                    <a:pt x="273" y="899"/>
                  </a:cubicBezTo>
                  <a:cubicBezTo>
                    <a:pt x="273" y="895"/>
                    <a:pt x="277" y="894"/>
                    <a:pt x="278" y="899"/>
                  </a:cubicBezTo>
                  <a:cubicBezTo>
                    <a:pt x="283" y="911"/>
                    <a:pt x="268" y="914"/>
                    <a:pt x="275" y="918"/>
                  </a:cubicBezTo>
                  <a:cubicBezTo>
                    <a:pt x="276" y="909"/>
                    <a:pt x="287" y="916"/>
                    <a:pt x="292" y="914"/>
                  </a:cubicBezTo>
                  <a:cubicBezTo>
                    <a:pt x="291" y="919"/>
                    <a:pt x="293" y="922"/>
                    <a:pt x="294" y="925"/>
                  </a:cubicBezTo>
                  <a:cubicBezTo>
                    <a:pt x="304" y="925"/>
                    <a:pt x="310" y="931"/>
                    <a:pt x="313" y="940"/>
                  </a:cubicBezTo>
                  <a:cubicBezTo>
                    <a:pt x="312" y="940"/>
                    <a:pt x="310" y="943"/>
                    <a:pt x="313" y="943"/>
                  </a:cubicBezTo>
                  <a:cubicBezTo>
                    <a:pt x="314" y="937"/>
                    <a:pt x="319" y="941"/>
                    <a:pt x="321" y="943"/>
                  </a:cubicBezTo>
                  <a:cubicBezTo>
                    <a:pt x="323" y="945"/>
                    <a:pt x="325" y="946"/>
                    <a:pt x="326" y="947"/>
                  </a:cubicBezTo>
                  <a:cubicBezTo>
                    <a:pt x="329" y="949"/>
                    <a:pt x="332" y="954"/>
                    <a:pt x="335" y="954"/>
                  </a:cubicBezTo>
                  <a:cubicBezTo>
                    <a:pt x="334" y="954"/>
                    <a:pt x="335" y="948"/>
                    <a:pt x="337" y="951"/>
                  </a:cubicBezTo>
                  <a:cubicBezTo>
                    <a:pt x="339" y="953"/>
                    <a:pt x="336" y="958"/>
                    <a:pt x="340" y="958"/>
                  </a:cubicBezTo>
                  <a:cubicBezTo>
                    <a:pt x="344" y="959"/>
                    <a:pt x="345" y="969"/>
                    <a:pt x="345" y="973"/>
                  </a:cubicBezTo>
                  <a:cubicBezTo>
                    <a:pt x="364" y="976"/>
                    <a:pt x="367" y="1002"/>
                    <a:pt x="388" y="1003"/>
                  </a:cubicBezTo>
                  <a:cubicBezTo>
                    <a:pt x="391" y="1008"/>
                    <a:pt x="394" y="1015"/>
                    <a:pt x="396" y="1017"/>
                  </a:cubicBezTo>
                  <a:cubicBezTo>
                    <a:pt x="400" y="1021"/>
                    <a:pt x="406" y="1018"/>
                    <a:pt x="410" y="1021"/>
                  </a:cubicBezTo>
                  <a:cubicBezTo>
                    <a:pt x="411" y="1022"/>
                    <a:pt x="411" y="1028"/>
                    <a:pt x="412" y="1028"/>
                  </a:cubicBezTo>
                  <a:cubicBezTo>
                    <a:pt x="415" y="1030"/>
                    <a:pt x="418" y="1028"/>
                    <a:pt x="421" y="1028"/>
                  </a:cubicBezTo>
                  <a:cubicBezTo>
                    <a:pt x="421" y="1029"/>
                    <a:pt x="420" y="1032"/>
                    <a:pt x="421" y="1032"/>
                  </a:cubicBezTo>
                  <a:cubicBezTo>
                    <a:pt x="421" y="1033"/>
                    <a:pt x="428" y="1035"/>
                    <a:pt x="429" y="1036"/>
                  </a:cubicBezTo>
                  <a:cubicBezTo>
                    <a:pt x="433" y="1040"/>
                    <a:pt x="436" y="1038"/>
                    <a:pt x="442" y="1040"/>
                  </a:cubicBezTo>
                  <a:cubicBezTo>
                    <a:pt x="442" y="1040"/>
                    <a:pt x="443" y="1043"/>
                    <a:pt x="445" y="1043"/>
                  </a:cubicBezTo>
                  <a:cubicBezTo>
                    <a:pt x="448" y="1044"/>
                    <a:pt x="450" y="1046"/>
                    <a:pt x="453" y="1047"/>
                  </a:cubicBezTo>
                  <a:cubicBezTo>
                    <a:pt x="460" y="1049"/>
                    <a:pt x="461" y="1051"/>
                    <a:pt x="464" y="1058"/>
                  </a:cubicBezTo>
                  <a:cubicBezTo>
                    <a:pt x="469" y="1058"/>
                    <a:pt x="474" y="1058"/>
                    <a:pt x="480" y="1058"/>
                  </a:cubicBezTo>
                  <a:cubicBezTo>
                    <a:pt x="480" y="1065"/>
                    <a:pt x="481" y="1064"/>
                    <a:pt x="485" y="1065"/>
                  </a:cubicBezTo>
                  <a:cubicBezTo>
                    <a:pt x="486" y="1066"/>
                    <a:pt x="489" y="1069"/>
                    <a:pt x="488" y="1069"/>
                  </a:cubicBezTo>
                  <a:cubicBezTo>
                    <a:pt x="491" y="1069"/>
                    <a:pt x="495" y="1065"/>
                    <a:pt x="496" y="1065"/>
                  </a:cubicBezTo>
                  <a:cubicBezTo>
                    <a:pt x="496" y="1066"/>
                    <a:pt x="495" y="1072"/>
                    <a:pt x="496" y="1073"/>
                  </a:cubicBezTo>
                  <a:cubicBezTo>
                    <a:pt x="497" y="1074"/>
                    <a:pt x="500" y="1072"/>
                    <a:pt x="501" y="1073"/>
                  </a:cubicBezTo>
                  <a:cubicBezTo>
                    <a:pt x="502" y="1073"/>
                    <a:pt x="505" y="1077"/>
                    <a:pt x="504" y="1077"/>
                  </a:cubicBezTo>
                  <a:cubicBezTo>
                    <a:pt x="507" y="1077"/>
                    <a:pt x="511" y="1072"/>
                    <a:pt x="512" y="1073"/>
                  </a:cubicBezTo>
                  <a:cubicBezTo>
                    <a:pt x="514" y="1074"/>
                    <a:pt x="515" y="1082"/>
                    <a:pt x="517" y="1084"/>
                  </a:cubicBezTo>
                  <a:cubicBezTo>
                    <a:pt x="526" y="1087"/>
                    <a:pt x="523" y="1074"/>
                    <a:pt x="531" y="1077"/>
                  </a:cubicBezTo>
                  <a:cubicBezTo>
                    <a:pt x="532" y="1087"/>
                    <a:pt x="545" y="1082"/>
                    <a:pt x="542" y="1099"/>
                  </a:cubicBezTo>
                  <a:cubicBezTo>
                    <a:pt x="550" y="1098"/>
                    <a:pt x="553" y="1105"/>
                    <a:pt x="563" y="1102"/>
                  </a:cubicBezTo>
                  <a:cubicBezTo>
                    <a:pt x="565" y="1112"/>
                    <a:pt x="571" y="1117"/>
                    <a:pt x="574" y="1125"/>
                  </a:cubicBezTo>
                  <a:cubicBezTo>
                    <a:pt x="576" y="1129"/>
                    <a:pt x="574" y="1129"/>
                    <a:pt x="577" y="1132"/>
                  </a:cubicBezTo>
                  <a:cubicBezTo>
                    <a:pt x="577" y="1133"/>
                    <a:pt x="576" y="1138"/>
                    <a:pt x="577" y="1139"/>
                  </a:cubicBezTo>
                  <a:cubicBezTo>
                    <a:pt x="577" y="1140"/>
                    <a:pt x="579" y="1139"/>
                    <a:pt x="579" y="1139"/>
                  </a:cubicBezTo>
                  <a:cubicBezTo>
                    <a:pt x="580" y="1140"/>
                    <a:pt x="579" y="1145"/>
                    <a:pt x="579" y="1147"/>
                  </a:cubicBezTo>
                  <a:cubicBezTo>
                    <a:pt x="580" y="1148"/>
                    <a:pt x="584" y="1149"/>
                    <a:pt x="585" y="1151"/>
                  </a:cubicBezTo>
                  <a:cubicBezTo>
                    <a:pt x="586" y="1154"/>
                    <a:pt x="585" y="1159"/>
                    <a:pt x="587" y="1162"/>
                  </a:cubicBezTo>
                  <a:cubicBezTo>
                    <a:pt x="589" y="1165"/>
                    <a:pt x="593" y="1163"/>
                    <a:pt x="595" y="1165"/>
                  </a:cubicBezTo>
                  <a:cubicBezTo>
                    <a:pt x="599" y="1169"/>
                    <a:pt x="603" y="1175"/>
                    <a:pt x="606" y="1180"/>
                  </a:cubicBezTo>
                  <a:cubicBezTo>
                    <a:pt x="611" y="1186"/>
                    <a:pt x="614" y="1193"/>
                    <a:pt x="617" y="1199"/>
                  </a:cubicBezTo>
                  <a:cubicBezTo>
                    <a:pt x="634" y="1201"/>
                    <a:pt x="644" y="1194"/>
                    <a:pt x="660" y="1195"/>
                  </a:cubicBezTo>
                  <a:cubicBezTo>
                    <a:pt x="670" y="1210"/>
                    <a:pt x="684" y="1205"/>
                    <a:pt x="698" y="1210"/>
                  </a:cubicBezTo>
                  <a:cubicBezTo>
                    <a:pt x="699" y="1210"/>
                    <a:pt x="702" y="1216"/>
                    <a:pt x="703" y="1217"/>
                  </a:cubicBezTo>
                  <a:cubicBezTo>
                    <a:pt x="706" y="1218"/>
                    <a:pt x="710" y="1216"/>
                    <a:pt x="714" y="1217"/>
                  </a:cubicBezTo>
                  <a:cubicBezTo>
                    <a:pt x="714" y="1217"/>
                    <a:pt x="714" y="1220"/>
                    <a:pt x="716" y="1221"/>
                  </a:cubicBezTo>
                  <a:cubicBezTo>
                    <a:pt x="720" y="1222"/>
                    <a:pt x="722" y="1222"/>
                    <a:pt x="724" y="1225"/>
                  </a:cubicBezTo>
                  <a:cubicBezTo>
                    <a:pt x="730" y="1230"/>
                    <a:pt x="736" y="1226"/>
                    <a:pt x="743" y="1228"/>
                  </a:cubicBezTo>
                  <a:cubicBezTo>
                    <a:pt x="744" y="1228"/>
                    <a:pt x="747" y="1235"/>
                    <a:pt x="749" y="1235"/>
                  </a:cubicBezTo>
                  <a:cubicBezTo>
                    <a:pt x="752" y="1237"/>
                    <a:pt x="755" y="1232"/>
                    <a:pt x="757" y="1232"/>
                  </a:cubicBezTo>
                  <a:cubicBezTo>
                    <a:pt x="756" y="1232"/>
                    <a:pt x="758" y="1235"/>
                    <a:pt x="759" y="1235"/>
                  </a:cubicBezTo>
                  <a:cubicBezTo>
                    <a:pt x="763" y="1237"/>
                    <a:pt x="765" y="1238"/>
                    <a:pt x="767" y="1239"/>
                  </a:cubicBezTo>
                  <a:cubicBezTo>
                    <a:pt x="775" y="1242"/>
                    <a:pt x="773" y="1245"/>
                    <a:pt x="778" y="1247"/>
                  </a:cubicBezTo>
                  <a:cubicBezTo>
                    <a:pt x="777" y="1246"/>
                    <a:pt x="780" y="1243"/>
                    <a:pt x="781" y="1243"/>
                  </a:cubicBezTo>
                  <a:cubicBezTo>
                    <a:pt x="784" y="1242"/>
                    <a:pt x="788" y="1245"/>
                    <a:pt x="789" y="1247"/>
                  </a:cubicBezTo>
                  <a:cubicBezTo>
                    <a:pt x="795" y="1255"/>
                    <a:pt x="799" y="1246"/>
                    <a:pt x="805" y="1247"/>
                  </a:cubicBezTo>
                  <a:cubicBezTo>
                    <a:pt x="805" y="1247"/>
                    <a:pt x="806" y="1250"/>
                    <a:pt x="808" y="1250"/>
                  </a:cubicBezTo>
                  <a:cubicBezTo>
                    <a:pt x="809" y="1251"/>
                    <a:pt x="812" y="1250"/>
                    <a:pt x="813" y="1250"/>
                  </a:cubicBezTo>
                  <a:cubicBezTo>
                    <a:pt x="813" y="1251"/>
                    <a:pt x="813" y="1254"/>
                    <a:pt x="813" y="1254"/>
                  </a:cubicBezTo>
                  <a:cubicBezTo>
                    <a:pt x="817" y="1256"/>
                    <a:pt x="823" y="1255"/>
                    <a:pt x="827" y="1258"/>
                  </a:cubicBezTo>
                  <a:cubicBezTo>
                    <a:pt x="827" y="1255"/>
                    <a:pt x="827" y="1250"/>
                    <a:pt x="829" y="1250"/>
                  </a:cubicBezTo>
                  <a:cubicBezTo>
                    <a:pt x="835" y="1258"/>
                    <a:pt x="835" y="1249"/>
                    <a:pt x="840" y="1247"/>
                  </a:cubicBezTo>
                  <a:cubicBezTo>
                    <a:pt x="840" y="1252"/>
                    <a:pt x="840" y="1257"/>
                    <a:pt x="840" y="1261"/>
                  </a:cubicBezTo>
                  <a:cubicBezTo>
                    <a:pt x="845" y="1263"/>
                    <a:pt x="845" y="1256"/>
                    <a:pt x="848" y="1254"/>
                  </a:cubicBezTo>
                  <a:cubicBezTo>
                    <a:pt x="849" y="1258"/>
                    <a:pt x="851" y="1260"/>
                    <a:pt x="854" y="1261"/>
                  </a:cubicBezTo>
                  <a:cubicBezTo>
                    <a:pt x="854" y="1257"/>
                    <a:pt x="853" y="1251"/>
                    <a:pt x="856" y="1250"/>
                  </a:cubicBezTo>
                  <a:cubicBezTo>
                    <a:pt x="864" y="1260"/>
                    <a:pt x="866" y="1254"/>
                    <a:pt x="878" y="1258"/>
                  </a:cubicBezTo>
                  <a:cubicBezTo>
                    <a:pt x="878" y="1262"/>
                    <a:pt x="878" y="1266"/>
                    <a:pt x="883" y="1265"/>
                  </a:cubicBezTo>
                  <a:cubicBezTo>
                    <a:pt x="884" y="1253"/>
                    <a:pt x="888" y="1263"/>
                    <a:pt x="897" y="1258"/>
                  </a:cubicBezTo>
                  <a:cubicBezTo>
                    <a:pt x="896" y="1264"/>
                    <a:pt x="899" y="1267"/>
                    <a:pt x="902" y="1269"/>
                  </a:cubicBezTo>
                  <a:cubicBezTo>
                    <a:pt x="904" y="1263"/>
                    <a:pt x="905" y="1269"/>
                    <a:pt x="907" y="1265"/>
                  </a:cubicBezTo>
                  <a:cubicBezTo>
                    <a:pt x="911" y="1260"/>
                    <a:pt x="921" y="1269"/>
                    <a:pt x="921" y="1269"/>
                  </a:cubicBezTo>
                  <a:cubicBezTo>
                    <a:pt x="923" y="1268"/>
                    <a:pt x="926" y="1255"/>
                    <a:pt x="931" y="1261"/>
                  </a:cubicBezTo>
                  <a:cubicBezTo>
                    <a:pt x="930" y="1276"/>
                    <a:pt x="940" y="1266"/>
                    <a:pt x="945" y="1265"/>
                  </a:cubicBezTo>
                  <a:cubicBezTo>
                    <a:pt x="948" y="1265"/>
                    <a:pt x="949" y="1269"/>
                    <a:pt x="953" y="1269"/>
                  </a:cubicBezTo>
                  <a:cubicBezTo>
                    <a:pt x="952" y="1269"/>
                    <a:pt x="955" y="1265"/>
                    <a:pt x="956" y="1265"/>
                  </a:cubicBezTo>
                  <a:cubicBezTo>
                    <a:pt x="968" y="1258"/>
                    <a:pt x="952" y="1267"/>
                    <a:pt x="953" y="1258"/>
                  </a:cubicBezTo>
                  <a:cubicBezTo>
                    <a:pt x="957" y="1258"/>
                    <a:pt x="959" y="1256"/>
                    <a:pt x="961" y="1254"/>
                  </a:cubicBezTo>
                  <a:cubicBezTo>
                    <a:pt x="966" y="1259"/>
                    <a:pt x="961" y="1276"/>
                    <a:pt x="969" y="1276"/>
                  </a:cubicBezTo>
                  <a:cubicBezTo>
                    <a:pt x="968" y="1266"/>
                    <a:pt x="984" y="1279"/>
                    <a:pt x="983" y="1269"/>
                  </a:cubicBezTo>
                  <a:cubicBezTo>
                    <a:pt x="980" y="1268"/>
                    <a:pt x="978" y="1265"/>
                    <a:pt x="977" y="1261"/>
                  </a:cubicBezTo>
                  <a:cubicBezTo>
                    <a:pt x="990" y="1261"/>
                    <a:pt x="987" y="1259"/>
                    <a:pt x="999" y="1254"/>
                  </a:cubicBezTo>
                  <a:cubicBezTo>
                    <a:pt x="999" y="1260"/>
                    <a:pt x="998" y="1268"/>
                    <a:pt x="1001" y="1269"/>
                  </a:cubicBezTo>
                  <a:cubicBezTo>
                    <a:pt x="1002" y="1264"/>
                    <a:pt x="1002" y="1260"/>
                    <a:pt x="1007" y="1261"/>
                  </a:cubicBezTo>
                  <a:cubicBezTo>
                    <a:pt x="1007" y="1269"/>
                    <a:pt x="999" y="1266"/>
                    <a:pt x="1001" y="1276"/>
                  </a:cubicBezTo>
                  <a:cubicBezTo>
                    <a:pt x="1010" y="1279"/>
                    <a:pt x="1007" y="1267"/>
                    <a:pt x="1012" y="1265"/>
                  </a:cubicBezTo>
                  <a:cubicBezTo>
                    <a:pt x="1016" y="1264"/>
                    <a:pt x="1016" y="1272"/>
                    <a:pt x="1018" y="1273"/>
                  </a:cubicBezTo>
                  <a:cubicBezTo>
                    <a:pt x="1023" y="1275"/>
                    <a:pt x="1027" y="1266"/>
                    <a:pt x="1031" y="1269"/>
                  </a:cubicBezTo>
                  <a:cubicBezTo>
                    <a:pt x="1037" y="1273"/>
                    <a:pt x="1028" y="1282"/>
                    <a:pt x="1034" y="1280"/>
                  </a:cubicBezTo>
                  <a:cubicBezTo>
                    <a:pt x="1036" y="1279"/>
                    <a:pt x="1040" y="1267"/>
                    <a:pt x="1042" y="1265"/>
                  </a:cubicBezTo>
                  <a:cubicBezTo>
                    <a:pt x="1037" y="1264"/>
                    <a:pt x="1035" y="1271"/>
                    <a:pt x="1034" y="1265"/>
                  </a:cubicBezTo>
                  <a:cubicBezTo>
                    <a:pt x="1037" y="1255"/>
                    <a:pt x="1046" y="1268"/>
                    <a:pt x="1050" y="1269"/>
                  </a:cubicBezTo>
                  <a:cubicBezTo>
                    <a:pt x="1050" y="1254"/>
                    <a:pt x="1054" y="1269"/>
                    <a:pt x="1058" y="1269"/>
                  </a:cubicBezTo>
                  <a:cubicBezTo>
                    <a:pt x="1059" y="1269"/>
                    <a:pt x="1059" y="1263"/>
                    <a:pt x="1063" y="1265"/>
                  </a:cubicBezTo>
                  <a:cubicBezTo>
                    <a:pt x="1063" y="1265"/>
                    <a:pt x="1066" y="1269"/>
                    <a:pt x="1066" y="1269"/>
                  </a:cubicBezTo>
                  <a:cubicBezTo>
                    <a:pt x="1072" y="1275"/>
                    <a:pt x="1069" y="1268"/>
                    <a:pt x="1077" y="1269"/>
                  </a:cubicBezTo>
                  <a:cubicBezTo>
                    <a:pt x="1071" y="1277"/>
                    <a:pt x="1078" y="1277"/>
                    <a:pt x="1082" y="1273"/>
                  </a:cubicBezTo>
                  <a:cubicBezTo>
                    <a:pt x="1080" y="1284"/>
                    <a:pt x="1086" y="1284"/>
                    <a:pt x="1090" y="1287"/>
                  </a:cubicBezTo>
                  <a:cubicBezTo>
                    <a:pt x="1090" y="1281"/>
                    <a:pt x="1092" y="1278"/>
                    <a:pt x="1096" y="1276"/>
                  </a:cubicBezTo>
                  <a:cubicBezTo>
                    <a:pt x="1096" y="1282"/>
                    <a:pt x="1095" y="1289"/>
                    <a:pt x="1101" y="1287"/>
                  </a:cubicBezTo>
                  <a:cubicBezTo>
                    <a:pt x="1101" y="1281"/>
                    <a:pt x="1100" y="1276"/>
                    <a:pt x="1098" y="1273"/>
                  </a:cubicBezTo>
                  <a:cubicBezTo>
                    <a:pt x="1102" y="1273"/>
                    <a:pt x="1104" y="1271"/>
                    <a:pt x="1106" y="1269"/>
                  </a:cubicBezTo>
                  <a:cubicBezTo>
                    <a:pt x="1109" y="1274"/>
                    <a:pt x="1110" y="1284"/>
                    <a:pt x="1114" y="1287"/>
                  </a:cubicBezTo>
                  <a:cubicBezTo>
                    <a:pt x="1119" y="1280"/>
                    <a:pt x="1115" y="1278"/>
                    <a:pt x="1114" y="1269"/>
                  </a:cubicBezTo>
                  <a:cubicBezTo>
                    <a:pt x="1117" y="1275"/>
                    <a:pt x="1124" y="1269"/>
                    <a:pt x="1128" y="1273"/>
                  </a:cubicBezTo>
                  <a:cubicBezTo>
                    <a:pt x="1130" y="1274"/>
                    <a:pt x="1128" y="1285"/>
                    <a:pt x="1133" y="1284"/>
                  </a:cubicBezTo>
                  <a:cubicBezTo>
                    <a:pt x="1134" y="1279"/>
                    <a:pt x="1133" y="1273"/>
                    <a:pt x="1136" y="1273"/>
                  </a:cubicBezTo>
                  <a:cubicBezTo>
                    <a:pt x="1136" y="1277"/>
                    <a:pt x="1140" y="1277"/>
                    <a:pt x="1144" y="1276"/>
                  </a:cubicBezTo>
                  <a:cubicBezTo>
                    <a:pt x="1143" y="1284"/>
                    <a:pt x="1148" y="1284"/>
                    <a:pt x="1149" y="1287"/>
                  </a:cubicBezTo>
                  <a:cubicBezTo>
                    <a:pt x="1147" y="1288"/>
                    <a:pt x="1146" y="1290"/>
                    <a:pt x="1147" y="1295"/>
                  </a:cubicBezTo>
                  <a:cubicBezTo>
                    <a:pt x="1157" y="1295"/>
                    <a:pt x="1158" y="1280"/>
                    <a:pt x="1163" y="1273"/>
                  </a:cubicBezTo>
                  <a:cubicBezTo>
                    <a:pt x="1166" y="1273"/>
                    <a:pt x="1170" y="1273"/>
                    <a:pt x="1173" y="1273"/>
                  </a:cubicBezTo>
                  <a:cubicBezTo>
                    <a:pt x="1173" y="1282"/>
                    <a:pt x="1174" y="1288"/>
                    <a:pt x="1181" y="1287"/>
                  </a:cubicBezTo>
                  <a:cubicBezTo>
                    <a:pt x="1182" y="1282"/>
                    <a:pt x="1181" y="1274"/>
                    <a:pt x="1184" y="1273"/>
                  </a:cubicBezTo>
                  <a:cubicBezTo>
                    <a:pt x="1184" y="1277"/>
                    <a:pt x="1188" y="1274"/>
                    <a:pt x="1190" y="1276"/>
                  </a:cubicBezTo>
                  <a:cubicBezTo>
                    <a:pt x="1190" y="1277"/>
                    <a:pt x="1189" y="1283"/>
                    <a:pt x="1190" y="1284"/>
                  </a:cubicBezTo>
                  <a:cubicBezTo>
                    <a:pt x="1195" y="1287"/>
                    <a:pt x="1202" y="1281"/>
                    <a:pt x="1208" y="1280"/>
                  </a:cubicBezTo>
                  <a:cubicBezTo>
                    <a:pt x="1218" y="1287"/>
                    <a:pt x="1208" y="1278"/>
                    <a:pt x="1214" y="1276"/>
                  </a:cubicBezTo>
                  <a:cubicBezTo>
                    <a:pt x="1221" y="1282"/>
                    <a:pt x="1207" y="1306"/>
                    <a:pt x="1222" y="1306"/>
                  </a:cubicBezTo>
                  <a:cubicBezTo>
                    <a:pt x="1223" y="1300"/>
                    <a:pt x="1219" y="1287"/>
                    <a:pt x="1225" y="1287"/>
                  </a:cubicBezTo>
                  <a:cubicBezTo>
                    <a:pt x="1229" y="1301"/>
                    <a:pt x="1233" y="1282"/>
                    <a:pt x="1235" y="1280"/>
                  </a:cubicBezTo>
                  <a:cubicBezTo>
                    <a:pt x="1236" y="1281"/>
                    <a:pt x="1234" y="1290"/>
                    <a:pt x="1235" y="1291"/>
                  </a:cubicBezTo>
                  <a:cubicBezTo>
                    <a:pt x="1244" y="1297"/>
                    <a:pt x="1256" y="1287"/>
                    <a:pt x="1249" y="1306"/>
                  </a:cubicBezTo>
                  <a:cubicBezTo>
                    <a:pt x="1262" y="1313"/>
                    <a:pt x="1253" y="1289"/>
                    <a:pt x="1260" y="1287"/>
                  </a:cubicBezTo>
                  <a:cubicBezTo>
                    <a:pt x="1260" y="1291"/>
                    <a:pt x="1260" y="1295"/>
                    <a:pt x="1260" y="1298"/>
                  </a:cubicBezTo>
                  <a:cubicBezTo>
                    <a:pt x="1268" y="1302"/>
                    <a:pt x="1263" y="1286"/>
                    <a:pt x="1270" y="1287"/>
                  </a:cubicBezTo>
                  <a:cubicBezTo>
                    <a:pt x="1275" y="1289"/>
                    <a:pt x="1277" y="1282"/>
                    <a:pt x="1278" y="1287"/>
                  </a:cubicBezTo>
                  <a:cubicBezTo>
                    <a:pt x="1276" y="1292"/>
                    <a:pt x="1275" y="1297"/>
                    <a:pt x="1276" y="1306"/>
                  </a:cubicBezTo>
                  <a:cubicBezTo>
                    <a:pt x="1285" y="1306"/>
                    <a:pt x="1280" y="1287"/>
                    <a:pt x="1289" y="1287"/>
                  </a:cubicBezTo>
                  <a:cubicBezTo>
                    <a:pt x="1289" y="1294"/>
                    <a:pt x="1291" y="1300"/>
                    <a:pt x="1294" y="1302"/>
                  </a:cubicBezTo>
                  <a:cubicBezTo>
                    <a:pt x="1296" y="1295"/>
                    <a:pt x="1295" y="1286"/>
                    <a:pt x="1303" y="1287"/>
                  </a:cubicBezTo>
                  <a:cubicBezTo>
                    <a:pt x="1304" y="1295"/>
                    <a:pt x="1299" y="1312"/>
                    <a:pt x="1305" y="1313"/>
                  </a:cubicBezTo>
                  <a:cubicBezTo>
                    <a:pt x="1309" y="1311"/>
                    <a:pt x="1306" y="1299"/>
                    <a:pt x="1311" y="1298"/>
                  </a:cubicBezTo>
                  <a:cubicBezTo>
                    <a:pt x="1316" y="1300"/>
                    <a:pt x="1316" y="1293"/>
                    <a:pt x="1319" y="1291"/>
                  </a:cubicBezTo>
                  <a:cubicBezTo>
                    <a:pt x="1322" y="1291"/>
                    <a:pt x="1325" y="1289"/>
                    <a:pt x="1327" y="1287"/>
                  </a:cubicBezTo>
                  <a:cubicBezTo>
                    <a:pt x="1328" y="1296"/>
                    <a:pt x="1319" y="1291"/>
                    <a:pt x="1319" y="1298"/>
                  </a:cubicBezTo>
                  <a:cubicBezTo>
                    <a:pt x="1326" y="1309"/>
                    <a:pt x="1327" y="1291"/>
                    <a:pt x="1338" y="1295"/>
                  </a:cubicBezTo>
                  <a:cubicBezTo>
                    <a:pt x="1342" y="1297"/>
                    <a:pt x="1337" y="1312"/>
                    <a:pt x="1343" y="1313"/>
                  </a:cubicBezTo>
                  <a:cubicBezTo>
                    <a:pt x="1353" y="1295"/>
                    <a:pt x="1338" y="1295"/>
                    <a:pt x="1338" y="1284"/>
                  </a:cubicBezTo>
                  <a:cubicBezTo>
                    <a:pt x="1345" y="1284"/>
                    <a:pt x="1350" y="1288"/>
                    <a:pt x="1348" y="1302"/>
                  </a:cubicBezTo>
                  <a:cubicBezTo>
                    <a:pt x="1352" y="1302"/>
                    <a:pt x="1355" y="1302"/>
                    <a:pt x="1359" y="1302"/>
                  </a:cubicBezTo>
                  <a:cubicBezTo>
                    <a:pt x="1359" y="1290"/>
                    <a:pt x="1353" y="1284"/>
                    <a:pt x="1364" y="1284"/>
                  </a:cubicBezTo>
                  <a:cubicBezTo>
                    <a:pt x="1363" y="1297"/>
                    <a:pt x="1367" y="1305"/>
                    <a:pt x="1375" y="1306"/>
                  </a:cubicBezTo>
                  <a:cubicBezTo>
                    <a:pt x="1376" y="1300"/>
                    <a:pt x="1374" y="1292"/>
                    <a:pt x="1378" y="1291"/>
                  </a:cubicBezTo>
                  <a:cubicBezTo>
                    <a:pt x="1383" y="1292"/>
                    <a:pt x="1380" y="1300"/>
                    <a:pt x="1383" y="1295"/>
                  </a:cubicBezTo>
                  <a:cubicBezTo>
                    <a:pt x="1385" y="1292"/>
                    <a:pt x="1388" y="1292"/>
                    <a:pt x="1391" y="1291"/>
                  </a:cubicBezTo>
                  <a:cubicBezTo>
                    <a:pt x="1387" y="1304"/>
                    <a:pt x="1400" y="1293"/>
                    <a:pt x="1399" y="1302"/>
                  </a:cubicBezTo>
                  <a:cubicBezTo>
                    <a:pt x="1398" y="1309"/>
                    <a:pt x="1389" y="1305"/>
                    <a:pt x="1391" y="1317"/>
                  </a:cubicBezTo>
                  <a:cubicBezTo>
                    <a:pt x="1399" y="1320"/>
                    <a:pt x="1397" y="1310"/>
                    <a:pt x="1402" y="1309"/>
                  </a:cubicBezTo>
                  <a:cubicBezTo>
                    <a:pt x="1403" y="1314"/>
                    <a:pt x="1406" y="1314"/>
                    <a:pt x="1410" y="1313"/>
                  </a:cubicBezTo>
                  <a:cubicBezTo>
                    <a:pt x="1411" y="1318"/>
                    <a:pt x="1414" y="1321"/>
                    <a:pt x="1418" y="1321"/>
                  </a:cubicBezTo>
                  <a:cubicBezTo>
                    <a:pt x="1422" y="1307"/>
                    <a:pt x="1414" y="1301"/>
                    <a:pt x="1424" y="1295"/>
                  </a:cubicBezTo>
                  <a:cubicBezTo>
                    <a:pt x="1423" y="1303"/>
                    <a:pt x="1424" y="1309"/>
                    <a:pt x="1426" y="1313"/>
                  </a:cubicBezTo>
                  <a:cubicBezTo>
                    <a:pt x="1441" y="1318"/>
                    <a:pt x="1443" y="1304"/>
                    <a:pt x="1450" y="1298"/>
                  </a:cubicBezTo>
                  <a:cubicBezTo>
                    <a:pt x="1449" y="1312"/>
                    <a:pt x="1447" y="1315"/>
                    <a:pt x="1456" y="1321"/>
                  </a:cubicBezTo>
                  <a:cubicBezTo>
                    <a:pt x="1456" y="1313"/>
                    <a:pt x="1463" y="1313"/>
                    <a:pt x="1469" y="1313"/>
                  </a:cubicBezTo>
                  <a:cubicBezTo>
                    <a:pt x="1465" y="1324"/>
                    <a:pt x="1481" y="1323"/>
                    <a:pt x="1480" y="1317"/>
                  </a:cubicBezTo>
                  <a:cubicBezTo>
                    <a:pt x="1471" y="1314"/>
                    <a:pt x="1477" y="1305"/>
                    <a:pt x="1480" y="1302"/>
                  </a:cubicBezTo>
                  <a:cubicBezTo>
                    <a:pt x="1483" y="1299"/>
                    <a:pt x="1487" y="1307"/>
                    <a:pt x="1491" y="1306"/>
                  </a:cubicBezTo>
                  <a:cubicBezTo>
                    <a:pt x="1492" y="1305"/>
                    <a:pt x="1493" y="1298"/>
                    <a:pt x="1496" y="1298"/>
                  </a:cubicBezTo>
                  <a:cubicBezTo>
                    <a:pt x="1497" y="1298"/>
                    <a:pt x="1496" y="1305"/>
                    <a:pt x="1496" y="1306"/>
                  </a:cubicBezTo>
                  <a:cubicBezTo>
                    <a:pt x="1498" y="1309"/>
                    <a:pt x="1507" y="1304"/>
                    <a:pt x="1510" y="1306"/>
                  </a:cubicBezTo>
                  <a:cubicBezTo>
                    <a:pt x="1511" y="1313"/>
                    <a:pt x="1511" y="1322"/>
                    <a:pt x="1518" y="1321"/>
                  </a:cubicBezTo>
                  <a:cubicBezTo>
                    <a:pt x="1520" y="1309"/>
                    <a:pt x="1513" y="1309"/>
                    <a:pt x="1512" y="1302"/>
                  </a:cubicBezTo>
                  <a:cubicBezTo>
                    <a:pt x="1520" y="1305"/>
                    <a:pt x="1519" y="1297"/>
                    <a:pt x="1526" y="1298"/>
                  </a:cubicBezTo>
                  <a:cubicBezTo>
                    <a:pt x="1525" y="1309"/>
                    <a:pt x="1536" y="1302"/>
                    <a:pt x="1536" y="1309"/>
                  </a:cubicBezTo>
                  <a:cubicBezTo>
                    <a:pt x="1536" y="1316"/>
                    <a:pt x="1537" y="1321"/>
                    <a:pt x="1539" y="1324"/>
                  </a:cubicBezTo>
                  <a:cubicBezTo>
                    <a:pt x="1548" y="1321"/>
                    <a:pt x="1551" y="1313"/>
                    <a:pt x="1558" y="1324"/>
                  </a:cubicBezTo>
                  <a:cubicBezTo>
                    <a:pt x="1558" y="1321"/>
                    <a:pt x="1560" y="1320"/>
                    <a:pt x="1561" y="1317"/>
                  </a:cubicBezTo>
                  <a:cubicBezTo>
                    <a:pt x="1561" y="1313"/>
                    <a:pt x="1557" y="1311"/>
                    <a:pt x="1561" y="1309"/>
                  </a:cubicBezTo>
                  <a:cubicBezTo>
                    <a:pt x="1569" y="1304"/>
                    <a:pt x="1570" y="1313"/>
                    <a:pt x="1577" y="1306"/>
                  </a:cubicBezTo>
                  <a:cubicBezTo>
                    <a:pt x="1582" y="1313"/>
                    <a:pt x="1575" y="1313"/>
                    <a:pt x="1577" y="1324"/>
                  </a:cubicBezTo>
                  <a:cubicBezTo>
                    <a:pt x="1582" y="1325"/>
                    <a:pt x="1582" y="1319"/>
                    <a:pt x="1585" y="1317"/>
                  </a:cubicBezTo>
                  <a:cubicBezTo>
                    <a:pt x="1590" y="1317"/>
                    <a:pt x="1588" y="1307"/>
                    <a:pt x="1596" y="1309"/>
                  </a:cubicBezTo>
                  <a:cubicBezTo>
                    <a:pt x="1596" y="1331"/>
                    <a:pt x="1611" y="1299"/>
                    <a:pt x="1612" y="1309"/>
                  </a:cubicBezTo>
                  <a:cubicBezTo>
                    <a:pt x="1611" y="1317"/>
                    <a:pt x="1606" y="1319"/>
                    <a:pt x="1606" y="1328"/>
                  </a:cubicBezTo>
                  <a:cubicBezTo>
                    <a:pt x="1616" y="1329"/>
                    <a:pt x="1616" y="1317"/>
                    <a:pt x="1625" y="1317"/>
                  </a:cubicBezTo>
                  <a:cubicBezTo>
                    <a:pt x="1625" y="1322"/>
                    <a:pt x="1630" y="1320"/>
                    <a:pt x="1631" y="1324"/>
                  </a:cubicBezTo>
                  <a:cubicBezTo>
                    <a:pt x="1622" y="1328"/>
                    <a:pt x="1628" y="1333"/>
                    <a:pt x="1631" y="1339"/>
                  </a:cubicBezTo>
                  <a:cubicBezTo>
                    <a:pt x="1636" y="1339"/>
                    <a:pt x="1644" y="1332"/>
                    <a:pt x="1644" y="1332"/>
                  </a:cubicBezTo>
                  <a:cubicBezTo>
                    <a:pt x="1644" y="1332"/>
                    <a:pt x="1644" y="1339"/>
                    <a:pt x="1644" y="1339"/>
                  </a:cubicBezTo>
                  <a:cubicBezTo>
                    <a:pt x="1652" y="1336"/>
                    <a:pt x="1652" y="1336"/>
                    <a:pt x="1660" y="1324"/>
                  </a:cubicBezTo>
                  <a:cubicBezTo>
                    <a:pt x="1661" y="1329"/>
                    <a:pt x="1661" y="1333"/>
                    <a:pt x="1666" y="1332"/>
                  </a:cubicBezTo>
                  <a:cubicBezTo>
                    <a:pt x="1666" y="1327"/>
                    <a:pt x="1666" y="1323"/>
                    <a:pt x="1671" y="1324"/>
                  </a:cubicBezTo>
                  <a:cubicBezTo>
                    <a:pt x="1672" y="1320"/>
                    <a:pt x="1674" y="1316"/>
                    <a:pt x="1676" y="1313"/>
                  </a:cubicBezTo>
                  <a:cubicBezTo>
                    <a:pt x="1678" y="1320"/>
                    <a:pt x="1673" y="1336"/>
                    <a:pt x="1682" y="1332"/>
                  </a:cubicBezTo>
                  <a:cubicBezTo>
                    <a:pt x="1680" y="1318"/>
                    <a:pt x="1684" y="1312"/>
                    <a:pt x="1687" y="1306"/>
                  </a:cubicBezTo>
                  <a:cubicBezTo>
                    <a:pt x="1684" y="1304"/>
                    <a:pt x="1681" y="1302"/>
                    <a:pt x="1679" y="1298"/>
                  </a:cubicBezTo>
                  <a:cubicBezTo>
                    <a:pt x="1691" y="1301"/>
                    <a:pt x="1683" y="1284"/>
                    <a:pt x="1687" y="1284"/>
                  </a:cubicBezTo>
                  <a:cubicBezTo>
                    <a:pt x="1691" y="1285"/>
                    <a:pt x="1692" y="1288"/>
                    <a:pt x="1695" y="1284"/>
                  </a:cubicBezTo>
                  <a:cubicBezTo>
                    <a:pt x="1695" y="1290"/>
                    <a:pt x="1696" y="1295"/>
                    <a:pt x="1698" y="1298"/>
                  </a:cubicBezTo>
                  <a:cubicBezTo>
                    <a:pt x="1693" y="1298"/>
                    <a:pt x="1691" y="1301"/>
                    <a:pt x="1690" y="1306"/>
                  </a:cubicBezTo>
                  <a:cubicBezTo>
                    <a:pt x="1698" y="1306"/>
                    <a:pt x="1706" y="1306"/>
                    <a:pt x="1714" y="1306"/>
                  </a:cubicBezTo>
                  <a:cubicBezTo>
                    <a:pt x="1719" y="1315"/>
                    <a:pt x="1719" y="1332"/>
                    <a:pt x="1725" y="1339"/>
                  </a:cubicBezTo>
                  <a:cubicBezTo>
                    <a:pt x="1735" y="1342"/>
                    <a:pt x="1735" y="1331"/>
                    <a:pt x="1744" y="1332"/>
                  </a:cubicBezTo>
                  <a:cubicBezTo>
                    <a:pt x="1744" y="1337"/>
                    <a:pt x="1742" y="1340"/>
                    <a:pt x="1741" y="1343"/>
                  </a:cubicBezTo>
                  <a:cubicBezTo>
                    <a:pt x="1751" y="1347"/>
                    <a:pt x="1749" y="1334"/>
                    <a:pt x="1757" y="1335"/>
                  </a:cubicBezTo>
                  <a:cubicBezTo>
                    <a:pt x="1759" y="1342"/>
                    <a:pt x="1766" y="1342"/>
                    <a:pt x="1770" y="1347"/>
                  </a:cubicBezTo>
                  <a:cubicBezTo>
                    <a:pt x="1776" y="1344"/>
                    <a:pt x="1770" y="1326"/>
                    <a:pt x="1776" y="1324"/>
                  </a:cubicBezTo>
                  <a:cubicBezTo>
                    <a:pt x="1776" y="1330"/>
                    <a:pt x="1775" y="1338"/>
                    <a:pt x="1778" y="1339"/>
                  </a:cubicBezTo>
                  <a:cubicBezTo>
                    <a:pt x="1780" y="1335"/>
                    <a:pt x="1782" y="1332"/>
                    <a:pt x="1787" y="1332"/>
                  </a:cubicBezTo>
                  <a:cubicBezTo>
                    <a:pt x="1792" y="1337"/>
                    <a:pt x="1802" y="1326"/>
                    <a:pt x="1811" y="1324"/>
                  </a:cubicBezTo>
                  <a:cubicBezTo>
                    <a:pt x="1811" y="1329"/>
                    <a:pt x="1811" y="1334"/>
                    <a:pt x="1811" y="1339"/>
                  </a:cubicBezTo>
                  <a:cubicBezTo>
                    <a:pt x="1813" y="1339"/>
                    <a:pt x="1816" y="1339"/>
                    <a:pt x="1819" y="1339"/>
                  </a:cubicBezTo>
                  <a:cubicBezTo>
                    <a:pt x="1826" y="1334"/>
                    <a:pt x="1813" y="1320"/>
                    <a:pt x="1819" y="1317"/>
                  </a:cubicBezTo>
                  <a:cubicBezTo>
                    <a:pt x="1824" y="1321"/>
                    <a:pt x="1828" y="1327"/>
                    <a:pt x="1832" y="1332"/>
                  </a:cubicBezTo>
                  <a:cubicBezTo>
                    <a:pt x="1832" y="1337"/>
                    <a:pt x="1828" y="1335"/>
                    <a:pt x="1827" y="1339"/>
                  </a:cubicBezTo>
                  <a:cubicBezTo>
                    <a:pt x="1832" y="1342"/>
                    <a:pt x="1835" y="1348"/>
                    <a:pt x="1840" y="1350"/>
                  </a:cubicBezTo>
                  <a:cubicBezTo>
                    <a:pt x="1840" y="1339"/>
                    <a:pt x="1850" y="1346"/>
                    <a:pt x="1854" y="1343"/>
                  </a:cubicBezTo>
                  <a:cubicBezTo>
                    <a:pt x="1855" y="1342"/>
                    <a:pt x="1858" y="1337"/>
                    <a:pt x="1859" y="1335"/>
                  </a:cubicBezTo>
                  <a:cubicBezTo>
                    <a:pt x="1861" y="1333"/>
                    <a:pt x="1861" y="1328"/>
                    <a:pt x="1865" y="1328"/>
                  </a:cubicBezTo>
                  <a:cubicBezTo>
                    <a:pt x="1864" y="1337"/>
                    <a:pt x="1859" y="1340"/>
                    <a:pt x="1867" y="1343"/>
                  </a:cubicBezTo>
                  <a:cubicBezTo>
                    <a:pt x="1867" y="1334"/>
                    <a:pt x="1869" y="1327"/>
                    <a:pt x="1873" y="1324"/>
                  </a:cubicBezTo>
                  <a:cubicBezTo>
                    <a:pt x="1877" y="1331"/>
                    <a:pt x="1874" y="1347"/>
                    <a:pt x="1881" y="1350"/>
                  </a:cubicBezTo>
                  <a:cubicBezTo>
                    <a:pt x="1877" y="1329"/>
                    <a:pt x="1890" y="1349"/>
                    <a:pt x="1891" y="1339"/>
                  </a:cubicBezTo>
                  <a:cubicBezTo>
                    <a:pt x="1888" y="1338"/>
                    <a:pt x="1887" y="1335"/>
                    <a:pt x="1886" y="1332"/>
                  </a:cubicBezTo>
                  <a:cubicBezTo>
                    <a:pt x="1891" y="1332"/>
                    <a:pt x="1894" y="1331"/>
                    <a:pt x="1897" y="1328"/>
                  </a:cubicBezTo>
                  <a:cubicBezTo>
                    <a:pt x="1899" y="1340"/>
                    <a:pt x="1899" y="1336"/>
                    <a:pt x="1894" y="1343"/>
                  </a:cubicBezTo>
                  <a:cubicBezTo>
                    <a:pt x="1904" y="1347"/>
                    <a:pt x="1902" y="1334"/>
                    <a:pt x="1910" y="1335"/>
                  </a:cubicBezTo>
                  <a:cubicBezTo>
                    <a:pt x="1904" y="1343"/>
                    <a:pt x="1911" y="1347"/>
                    <a:pt x="1913" y="1354"/>
                  </a:cubicBezTo>
                  <a:cubicBezTo>
                    <a:pt x="1917" y="1354"/>
                    <a:pt x="1919" y="1352"/>
                    <a:pt x="1921" y="1350"/>
                  </a:cubicBezTo>
                  <a:cubicBezTo>
                    <a:pt x="1921" y="1344"/>
                    <a:pt x="1928" y="1348"/>
                    <a:pt x="1929" y="1343"/>
                  </a:cubicBezTo>
                  <a:cubicBezTo>
                    <a:pt x="1925" y="1343"/>
                    <a:pt x="1929" y="1340"/>
                    <a:pt x="1929" y="1339"/>
                  </a:cubicBezTo>
                  <a:cubicBezTo>
                    <a:pt x="1929" y="1334"/>
                    <a:pt x="1928" y="1331"/>
                    <a:pt x="1926" y="1328"/>
                  </a:cubicBezTo>
                  <a:cubicBezTo>
                    <a:pt x="1930" y="1329"/>
                    <a:pt x="1936" y="1327"/>
                    <a:pt x="1937" y="1332"/>
                  </a:cubicBezTo>
                  <a:cubicBezTo>
                    <a:pt x="1934" y="1332"/>
                    <a:pt x="1931" y="1333"/>
                    <a:pt x="1932" y="1339"/>
                  </a:cubicBezTo>
                  <a:cubicBezTo>
                    <a:pt x="1938" y="1348"/>
                    <a:pt x="1939" y="1333"/>
                    <a:pt x="1945" y="1332"/>
                  </a:cubicBezTo>
                  <a:cubicBezTo>
                    <a:pt x="1949" y="1336"/>
                    <a:pt x="1946" y="1350"/>
                    <a:pt x="1953" y="1350"/>
                  </a:cubicBezTo>
                  <a:cubicBezTo>
                    <a:pt x="1954" y="1346"/>
                    <a:pt x="1953" y="1340"/>
                    <a:pt x="1956" y="1339"/>
                  </a:cubicBezTo>
                  <a:cubicBezTo>
                    <a:pt x="1956" y="1344"/>
                    <a:pt x="1961" y="1343"/>
                    <a:pt x="1961" y="1347"/>
                  </a:cubicBezTo>
                  <a:cubicBezTo>
                    <a:pt x="1962" y="1351"/>
                    <a:pt x="1965" y="1354"/>
                    <a:pt x="1969" y="1354"/>
                  </a:cubicBezTo>
                  <a:cubicBezTo>
                    <a:pt x="1973" y="1353"/>
                    <a:pt x="1973" y="1349"/>
                    <a:pt x="1975" y="1347"/>
                  </a:cubicBezTo>
                  <a:cubicBezTo>
                    <a:pt x="1975" y="1345"/>
                    <a:pt x="1980" y="1339"/>
                    <a:pt x="1980" y="1339"/>
                  </a:cubicBezTo>
                  <a:cubicBezTo>
                    <a:pt x="1982" y="1333"/>
                    <a:pt x="1976" y="1330"/>
                    <a:pt x="1980" y="1328"/>
                  </a:cubicBezTo>
                  <a:cubicBezTo>
                    <a:pt x="1988" y="1331"/>
                    <a:pt x="1984" y="1349"/>
                    <a:pt x="1994" y="1350"/>
                  </a:cubicBezTo>
                  <a:cubicBezTo>
                    <a:pt x="1995" y="1345"/>
                    <a:pt x="1998" y="1341"/>
                    <a:pt x="2002" y="1339"/>
                  </a:cubicBezTo>
                  <a:cubicBezTo>
                    <a:pt x="2002" y="1334"/>
                    <a:pt x="2001" y="1325"/>
                    <a:pt x="2004" y="1324"/>
                  </a:cubicBezTo>
                  <a:cubicBezTo>
                    <a:pt x="2008" y="1326"/>
                    <a:pt x="2010" y="1329"/>
                    <a:pt x="2010" y="1335"/>
                  </a:cubicBezTo>
                  <a:cubicBezTo>
                    <a:pt x="2018" y="1342"/>
                    <a:pt x="2021" y="1322"/>
                    <a:pt x="2023" y="1332"/>
                  </a:cubicBezTo>
                  <a:cubicBezTo>
                    <a:pt x="2019" y="1335"/>
                    <a:pt x="2019" y="1344"/>
                    <a:pt x="2018" y="1350"/>
                  </a:cubicBezTo>
                  <a:cubicBezTo>
                    <a:pt x="2025" y="1351"/>
                    <a:pt x="2029" y="1357"/>
                    <a:pt x="2037" y="1358"/>
                  </a:cubicBezTo>
                  <a:cubicBezTo>
                    <a:pt x="2046" y="1349"/>
                    <a:pt x="2032" y="1329"/>
                    <a:pt x="2037" y="1328"/>
                  </a:cubicBezTo>
                  <a:cubicBezTo>
                    <a:pt x="2047" y="1331"/>
                    <a:pt x="2040" y="1341"/>
                    <a:pt x="2045" y="1347"/>
                  </a:cubicBezTo>
                  <a:cubicBezTo>
                    <a:pt x="2046" y="1342"/>
                    <a:pt x="2048" y="1338"/>
                    <a:pt x="2050" y="1335"/>
                  </a:cubicBezTo>
                  <a:cubicBezTo>
                    <a:pt x="2057" y="1340"/>
                    <a:pt x="2043" y="1351"/>
                    <a:pt x="2055" y="1350"/>
                  </a:cubicBezTo>
                  <a:cubicBezTo>
                    <a:pt x="2056" y="1345"/>
                    <a:pt x="2075" y="1337"/>
                    <a:pt x="2079" y="1335"/>
                  </a:cubicBezTo>
                  <a:cubicBezTo>
                    <a:pt x="2079" y="68"/>
                    <a:pt x="2079" y="68"/>
                    <a:pt x="2079" y="68"/>
                  </a:cubicBezTo>
                  <a:cubicBezTo>
                    <a:pt x="2079" y="68"/>
                    <a:pt x="2061" y="100"/>
                    <a:pt x="2061" y="100"/>
                  </a:cubicBezTo>
                  <a:cubicBezTo>
                    <a:pt x="2059" y="102"/>
                    <a:pt x="2052" y="98"/>
                    <a:pt x="2050" y="100"/>
                  </a:cubicBezTo>
                  <a:close/>
                  <a:moveTo>
                    <a:pt x="28" y="300"/>
                  </a:moveTo>
                  <a:cubicBezTo>
                    <a:pt x="24" y="315"/>
                    <a:pt x="23" y="298"/>
                    <a:pt x="17" y="296"/>
                  </a:cubicBezTo>
                  <a:cubicBezTo>
                    <a:pt x="22" y="283"/>
                    <a:pt x="21" y="305"/>
                    <a:pt x="28" y="300"/>
                  </a:cubicBezTo>
                  <a:close/>
                  <a:moveTo>
                    <a:pt x="17" y="318"/>
                  </a:moveTo>
                  <a:cubicBezTo>
                    <a:pt x="15" y="316"/>
                    <a:pt x="24" y="315"/>
                    <a:pt x="25" y="315"/>
                  </a:cubicBezTo>
                  <a:cubicBezTo>
                    <a:pt x="25" y="315"/>
                    <a:pt x="25" y="311"/>
                    <a:pt x="25" y="311"/>
                  </a:cubicBezTo>
                  <a:cubicBezTo>
                    <a:pt x="35" y="313"/>
                    <a:pt x="21" y="323"/>
                    <a:pt x="17" y="318"/>
                  </a:cubicBezTo>
                  <a:close/>
                  <a:moveTo>
                    <a:pt x="31" y="311"/>
                  </a:moveTo>
                  <a:cubicBezTo>
                    <a:pt x="32" y="307"/>
                    <a:pt x="43" y="299"/>
                    <a:pt x="36" y="296"/>
                  </a:cubicBezTo>
                  <a:cubicBezTo>
                    <a:pt x="44" y="282"/>
                    <a:pt x="44" y="321"/>
                    <a:pt x="31" y="311"/>
                  </a:cubicBezTo>
                  <a:close/>
                  <a:moveTo>
                    <a:pt x="39" y="352"/>
                  </a:moveTo>
                  <a:cubicBezTo>
                    <a:pt x="40" y="347"/>
                    <a:pt x="42" y="344"/>
                    <a:pt x="47" y="344"/>
                  </a:cubicBezTo>
                  <a:cubicBezTo>
                    <a:pt x="46" y="349"/>
                    <a:pt x="43" y="352"/>
                    <a:pt x="39" y="352"/>
                  </a:cubicBezTo>
                  <a:close/>
                  <a:moveTo>
                    <a:pt x="41" y="215"/>
                  </a:moveTo>
                  <a:cubicBezTo>
                    <a:pt x="45" y="216"/>
                    <a:pt x="47" y="220"/>
                    <a:pt x="47" y="226"/>
                  </a:cubicBezTo>
                  <a:cubicBezTo>
                    <a:pt x="44" y="224"/>
                    <a:pt x="41" y="221"/>
                    <a:pt x="41" y="215"/>
                  </a:cubicBezTo>
                  <a:close/>
                  <a:moveTo>
                    <a:pt x="41" y="677"/>
                  </a:moveTo>
                  <a:cubicBezTo>
                    <a:pt x="43" y="675"/>
                    <a:pt x="49" y="681"/>
                    <a:pt x="49" y="681"/>
                  </a:cubicBezTo>
                  <a:cubicBezTo>
                    <a:pt x="53" y="694"/>
                    <a:pt x="36" y="684"/>
                    <a:pt x="41" y="677"/>
                  </a:cubicBezTo>
                  <a:close/>
                  <a:moveTo>
                    <a:pt x="189" y="644"/>
                  </a:moveTo>
                  <a:cubicBezTo>
                    <a:pt x="194" y="643"/>
                    <a:pt x="194" y="647"/>
                    <a:pt x="197" y="648"/>
                  </a:cubicBezTo>
                  <a:cubicBezTo>
                    <a:pt x="198" y="655"/>
                    <a:pt x="185" y="653"/>
                    <a:pt x="189" y="644"/>
                  </a:cubicBezTo>
                  <a:close/>
                  <a:moveTo>
                    <a:pt x="192" y="337"/>
                  </a:moveTo>
                  <a:cubicBezTo>
                    <a:pt x="191" y="343"/>
                    <a:pt x="184" y="340"/>
                    <a:pt x="187" y="352"/>
                  </a:cubicBezTo>
                  <a:cubicBezTo>
                    <a:pt x="180" y="351"/>
                    <a:pt x="180" y="342"/>
                    <a:pt x="184" y="337"/>
                  </a:cubicBezTo>
                  <a:cubicBezTo>
                    <a:pt x="176" y="325"/>
                    <a:pt x="165" y="336"/>
                    <a:pt x="154" y="329"/>
                  </a:cubicBezTo>
                  <a:cubicBezTo>
                    <a:pt x="156" y="332"/>
                    <a:pt x="157" y="335"/>
                    <a:pt x="157" y="341"/>
                  </a:cubicBezTo>
                  <a:cubicBezTo>
                    <a:pt x="165" y="336"/>
                    <a:pt x="169" y="339"/>
                    <a:pt x="170" y="352"/>
                  </a:cubicBezTo>
                  <a:cubicBezTo>
                    <a:pt x="167" y="350"/>
                    <a:pt x="166" y="345"/>
                    <a:pt x="163" y="344"/>
                  </a:cubicBezTo>
                  <a:cubicBezTo>
                    <a:pt x="161" y="352"/>
                    <a:pt x="168" y="350"/>
                    <a:pt x="168" y="355"/>
                  </a:cubicBezTo>
                  <a:cubicBezTo>
                    <a:pt x="171" y="356"/>
                    <a:pt x="170" y="363"/>
                    <a:pt x="173" y="363"/>
                  </a:cubicBezTo>
                  <a:cubicBezTo>
                    <a:pt x="172" y="371"/>
                    <a:pt x="158" y="362"/>
                    <a:pt x="160" y="374"/>
                  </a:cubicBezTo>
                  <a:cubicBezTo>
                    <a:pt x="156" y="373"/>
                    <a:pt x="158" y="365"/>
                    <a:pt x="157" y="359"/>
                  </a:cubicBezTo>
                  <a:cubicBezTo>
                    <a:pt x="161" y="359"/>
                    <a:pt x="164" y="359"/>
                    <a:pt x="168" y="359"/>
                  </a:cubicBezTo>
                  <a:cubicBezTo>
                    <a:pt x="168" y="353"/>
                    <a:pt x="162" y="358"/>
                    <a:pt x="160" y="355"/>
                  </a:cubicBezTo>
                  <a:cubicBezTo>
                    <a:pt x="157" y="353"/>
                    <a:pt x="162" y="337"/>
                    <a:pt x="152" y="344"/>
                  </a:cubicBezTo>
                  <a:cubicBezTo>
                    <a:pt x="153" y="331"/>
                    <a:pt x="149" y="325"/>
                    <a:pt x="144" y="322"/>
                  </a:cubicBezTo>
                  <a:cubicBezTo>
                    <a:pt x="144" y="318"/>
                    <a:pt x="149" y="320"/>
                    <a:pt x="149" y="315"/>
                  </a:cubicBezTo>
                  <a:cubicBezTo>
                    <a:pt x="149" y="307"/>
                    <a:pt x="139" y="313"/>
                    <a:pt x="135" y="311"/>
                  </a:cubicBezTo>
                  <a:cubicBezTo>
                    <a:pt x="135" y="318"/>
                    <a:pt x="139" y="319"/>
                    <a:pt x="138" y="326"/>
                  </a:cubicBezTo>
                  <a:cubicBezTo>
                    <a:pt x="136" y="323"/>
                    <a:pt x="131" y="320"/>
                    <a:pt x="130" y="326"/>
                  </a:cubicBezTo>
                  <a:cubicBezTo>
                    <a:pt x="123" y="323"/>
                    <a:pt x="135" y="316"/>
                    <a:pt x="133" y="307"/>
                  </a:cubicBezTo>
                  <a:cubicBezTo>
                    <a:pt x="144" y="301"/>
                    <a:pt x="153" y="317"/>
                    <a:pt x="154" y="311"/>
                  </a:cubicBezTo>
                  <a:cubicBezTo>
                    <a:pt x="163" y="315"/>
                    <a:pt x="151" y="321"/>
                    <a:pt x="152" y="326"/>
                  </a:cubicBezTo>
                  <a:cubicBezTo>
                    <a:pt x="160" y="328"/>
                    <a:pt x="160" y="319"/>
                    <a:pt x="168" y="322"/>
                  </a:cubicBezTo>
                  <a:cubicBezTo>
                    <a:pt x="171" y="316"/>
                    <a:pt x="163" y="315"/>
                    <a:pt x="163" y="315"/>
                  </a:cubicBezTo>
                  <a:cubicBezTo>
                    <a:pt x="162" y="309"/>
                    <a:pt x="171" y="313"/>
                    <a:pt x="170" y="307"/>
                  </a:cubicBezTo>
                  <a:cubicBezTo>
                    <a:pt x="171" y="297"/>
                    <a:pt x="154" y="310"/>
                    <a:pt x="154" y="300"/>
                  </a:cubicBezTo>
                  <a:cubicBezTo>
                    <a:pt x="151" y="298"/>
                    <a:pt x="140" y="304"/>
                    <a:pt x="141" y="296"/>
                  </a:cubicBezTo>
                  <a:cubicBezTo>
                    <a:pt x="145" y="296"/>
                    <a:pt x="150" y="296"/>
                    <a:pt x="154" y="296"/>
                  </a:cubicBezTo>
                  <a:cubicBezTo>
                    <a:pt x="159" y="296"/>
                    <a:pt x="160" y="301"/>
                    <a:pt x="165" y="300"/>
                  </a:cubicBezTo>
                  <a:cubicBezTo>
                    <a:pt x="169" y="298"/>
                    <a:pt x="165" y="297"/>
                    <a:pt x="165" y="292"/>
                  </a:cubicBezTo>
                  <a:cubicBezTo>
                    <a:pt x="168" y="293"/>
                    <a:pt x="170" y="292"/>
                    <a:pt x="170" y="289"/>
                  </a:cubicBezTo>
                  <a:cubicBezTo>
                    <a:pt x="176" y="289"/>
                    <a:pt x="171" y="297"/>
                    <a:pt x="170" y="296"/>
                  </a:cubicBezTo>
                  <a:cubicBezTo>
                    <a:pt x="173" y="308"/>
                    <a:pt x="177" y="297"/>
                    <a:pt x="187" y="304"/>
                  </a:cubicBezTo>
                  <a:cubicBezTo>
                    <a:pt x="186" y="309"/>
                    <a:pt x="180" y="307"/>
                    <a:pt x="176" y="307"/>
                  </a:cubicBezTo>
                  <a:cubicBezTo>
                    <a:pt x="172" y="310"/>
                    <a:pt x="172" y="319"/>
                    <a:pt x="170" y="326"/>
                  </a:cubicBezTo>
                  <a:cubicBezTo>
                    <a:pt x="181" y="328"/>
                    <a:pt x="179" y="301"/>
                    <a:pt x="189" y="315"/>
                  </a:cubicBezTo>
                  <a:cubicBezTo>
                    <a:pt x="191" y="320"/>
                    <a:pt x="182" y="316"/>
                    <a:pt x="181" y="318"/>
                  </a:cubicBezTo>
                  <a:cubicBezTo>
                    <a:pt x="180" y="323"/>
                    <a:pt x="188" y="320"/>
                    <a:pt x="189" y="322"/>
                  </a:cubicBezTo>
                  <a:cubicBezTo>
                    <a:pt x="192" y="325"/>
                    <a:pt x="187" y="338"/>
                    <a:pt x="192" y="337"/>
                  </a:cubicBezTo>
                  <a:close/>
                  <a:moveTo>
                    <a:pt x="189" y="422"/>
                  </a:moveTo>
                  <a:cubicBezTo>
                    <a:pt x="190" y="425"/>
                    <a:pt x="178" y="426"/>
                    <a:pt x="173" y="422"/>
                  </a:cubicBezTo>
                  <a:cubicBezTo>
                    <a:pt x="171" y="420"/>
                    <a:pt x="181" y="416"/>
                    <a:pt x="181" y="418"/>
                  </a:cubicBezTo>
                  <a:cubicBezTo>
                    <a:pt x="180" y="412"/>
                    <a:pt x="176" y="418"/>
                    <a:pt x="173" y="415"/>
                  </a:cubicBezTo>
                  <a:cubicBezTo>
                    <a:pt x="173" y="414"/>
                    <a:pt x="172" y="408"/>
                    <a:pt x="170" y="411"/>
                  </a:cubicBezTo>
                  <a:cubicBezTo>
                    <a:pt x="170" y="411"/>
                    <a:pt x="170" y="415"/>
                    <a:pt x="170" y="415"/>
                  </a:cubicBezTo>
                  <a:cubicBezTo>
                    <a:pt x="168" y="414"/>
                    <a:pt x="166" y="412"/>
                    <a:pt x="163" y="411"/>
                  </a:cubicBezTo>
                  <a:cubicBezTo>
                    <a:pt x="159" y="410"/>
                    <a:pt x="157" y="407"/>
                    <a:pt x="154" y="407"/>
                  </a:cubicBezTo>
                  <a:cubicBezTo>
                    <a:pt x="152" y="407"/>
                    <a:pt x="151" y="414"/>
                    <a:pt x="152" y="415"/>
                  </a:cubicBezTo>
                  <a:cubicBezTo>
                    <a:pt x="148" y="414"/>
                    <a:pt x="151" y="409"/>
                    <a:pt x="149" y="407"/>
                  </a:cubicBezTo>
                  <a:cubicBezTo>
                    <a:pt x="146" y="405"/>
                    <a:pt x="137" y="416"/>
                    <a:pt x="138" y="403"/>
                  </a:cubicBezTo>
                  <a:cubicBezTo>
                    <a:pt x="131" y="406"/>
                    <a:pt x="134" y="405"/>
                    <a:pt x="128" y="403"/>
                  </a:cubicBezTo>
                  <a:cubicBezTo>
                    <a:pt x="123" y="402"/>
                    <a:pt x="113" y="406"/>
                    <a:pt x="117" y="396"/>
                  </a:cubicBezTo>
                  <a:cubicBezTo>
                    <a:pt x="124" y="396"/>
                    <a:pt x="122" y="402"/>
                    <a:pt x="128" y="396"/>
                  </a:cubicBezTo>
                  <a:cubicBezTo>
                    <a:pt x="127" y="392"/>
                    <a:pt x="123" y="393"/>
                    <a:pt x="119" y="392"/>
                  </a:cubicBezTo>
                  <a:cubicBezTo>
                    <a:pt x="123" y="376"/>
                    <a:pt x="130" y="393"/>
                    <a:pt x="133" y="400"/>
                  </a:cubicBezTo>
                  <a:cubicBezTo>
                    <a:pt x="137" y="403"/>
                    <a:pt x="141" y="396"/>
                    <a:pt x="141" y="396"/>
                  </a:cubicBezTo>
                  <a:cubicBezTo>
                    <a:pt x="144" y="396"/>
                    <a:pt x="145" y="403"/>
                    <a:pt x="146" y="403"/>
                  </a:cubicBezTo>
                  <a:cubicBezTo>
                    <a:pt x="147" y="404"/>
                    <a:pt x="158" y="393"/>
                    <a:pt x="160" y="403"/>
                  </a:cubicBezTo>
                  <a:cubicBezTo>
                    <a:pt x="162" y="403"/>
                    <a:pt x="162" y="400"/>
                    <a:pt x="165" y="400"/>
                  </a:cubicBezTo>
                  <a:cubicBezTo>
                    <a:pt x="162" y="396"/>
                    <a:pt x="164" y="386"/>
                    <a:pt x="157" y="389"/>
                  </a:cubicBezTo>
                  <a:cubicBezTo>
                    <a:pt x="159" y="385"/>
                    <a:pt x="163" y="385"/>
                    <a:pt x="163" y="378"/>
                  </a:cubicBezTo>
                  <a:cubicBezTo>
                    <a:pt x="167" y="378"/>
                    <a:pt x="171" y="378"/>
                    <a:pt x="176" y="378"/>
                  </a:cubicBezTo>
                  <a:cubicBezTo>
                    <a:pt x="176" y="386"/>
                    <a:pt x="174" y="389"/>
                    <a:pt x="168" y="389"/>
                  </a:cubicBezTo>
                  <a:cubicBezTo>
                    <a:pt x="167" y="398"/>
                    <a:pt x="173" y="397"/>
                    <a:pt x="170" y="407"/>
                  </a:cubicBezTo>
                  <a:cubicBezTo>
                    <a:pt x="174" y="408"/>
                    <a:pt x="175" y="406"/>
                    <a:pt x="176" y="403"/>
                  </a:cubicBezTo>
                  <a:cubicBezTo>
                    <a:pt x="183" y="412"/>
                    <a:pt x="183" y="408"/>
                    <a:pt x="192" y="411"/>
                  </a:cubicBezTo>
                  <a:cubicBezTo>
                    <a:pt x="192" y="414"/>
                    <a:pt x="189" y="414"/>
                    <a:pt x="187" y="415"/>
                  </a:cubicBezTo>
                  <a:cubicBezTo>
                    <a:pt x="186" y="419"/>
                    <a:pt x="187" y="421"/>
                    <a:pt x="189" y="422"/>
                  </a:cubicBezTo>
                  <a:close/>
                  <a:moveTo>
                    <a:pt x="168" y="440"/>
                  </a:moveTo>
                  <a:cubicBezTo>
                    <a:pt x="169" y="447"/>
                    <a:pt x="153" y="447"/>
                    <a:pt x="157" y="437"/>
                  </a:cubicBezTo>
                  <a:cubicBezTo>
                    <a:pt x="162" y="436"/>
                    <a:pt x="163" y="441"/>
                    <a:pt x="168" y="440"/>
                  </a:cubicBezTo>
                  <a:close/>
                  <a:moveTo>
                    <a:pt x="152" y="444"/>
                  </a:moveTo>
                  <a:cubicBezTo>
                    <a:pt x="149" y="438"/>
                    <a:pt x="142" y="443"/>
                    <a:pt x="138" y="440"/>
                  </a:cubicBezTo>
                  <a:cubicBezTo>
                    <a:pt x="136" y="439"/>
                    <a:pt x="137" y="433"/>
                    <a:pt x="133" y="433"/>
                  </a:cubicBezTo>
                  <a:cubicBezTo>
                    <a:pt x="130" y="433"/>
                    <a:pt x="131" y="428"/>
                    <a:pt x="130" y="426"/>
                  </a:cubicBezTo>
                  <a:cubicBezTo>
                    <a:pt x="127" y="426"/>
                    <a:pt x="128" y="432"/>
                    <a:pt x="128" y="437"/>
                  </a:cubicBezTo>
                  <a:cubicBezTo>
                    <a:pt x="122" y="435"/>
                    <a:pt x="116" y="435"/>
                    <a:pt x="117" y="426"/>
                  </a:cubicBezTo>
                  <a:cubicBezTo>
                    <a:pt x="109" y="425"/>
                    <a:pt x="111" y="432"/>
                    <a:pt x="106" y="426"/>
                  </a:cubicBezTo>
                  <a:cubicBezTo>
                    <a:pt x="109" y="409"/>
                    <a:pt x="114" y="425"/>
                    <a:pt x="119" y="426"/>
                  </a:cubicBezTo>
                  <a:cubicBezTo>
                    <a:pt x="124" y="426"/>
                    <a:pt x="125" y="421"/>
                    <a:pt x="130" y="422"/>
                  </a:cubicBezTo>
                  <a:cubicBezTo>
                    <a:pt x="133" y="430"/>
                    <a:pt x="138" y="435"/>
                    <a:pt x="146" y="437"/>
                  </a:cubicBezTo>
                  <a:cubicBezTo>
                    <a:pt x="153" y="438"/>
                    <a:pt x="145" y="420"/>
                    <a:pt x="154" y="426"/>
                  </a:cubicBezTo>
                  <a:cubicBezTo>
                    <a:pt x="157" y="430"/>
                    <a:pt x="157" y="433"/>
                    <a:pt x="152" y="433"/>
                  </a:cubicBezTo>
                  <a:cubicBezTo>
                    <a:pt x="155" y="438"/>
                    <a:pt x="153" y="439"/>
                    <a:pt x="152" y="444"/>
                  </a:cubicBezTo>
                  <a:close/>
                  <a:moveTo>
                    <a:pt x="141" y="518"/>
                  </a:moveTo>
                  <a:cubicBezTo>
                    <a:pt x="138" y="525"/>
                    <a:pt x="131" y="526"/>
                    <a:pt x="128" y="533"/>
                  </a:cubicBezTo>
                  <a:cubicBezTo>
                    <a:pt x="122" y="531"/>
                    <a:pt x="125" y="519"/>
                    <a:pt x="117" y="522"/>
                  </a:cubicBezTo>
                  <a:cubicBezTo>
                    <a:pt x="116" y="515"/>
                    <a:pt x="129" y="516"/>
                    <a:pt x="125" y="525"/>
                  </a:cubicBezTo>
                  <a:cubicBezTo>
                    <a:pt x="131" y="526"/>
                    <a:pt x="133" y="522"/>
                    <a:pt x="133" y="514"/>
                  </a:cubicBezTo>
                  <a:cubicBezTo>
                    <a:pt x="132" y="510"/>
                    <a:pt x="118" y="506"/>
                    <a:pt x="119" y="511"/>
                  </a:cubicBezTo>
                  <a:cubicBezTo>
                    <a:pt x="111" y="508"/>
                    <a:pt x="122" y="503"/>
                    <a:pt x="119" y="496"/>
                  </a:cubicBezTo>
                  <a:cubicBezTo>
                    <a:pt x="123" y="501"/>
                    <a:pt x="131" y="500"/>
                    <a:pt x="138" y="500"/>
                  </a:cubicBezTo>
                  <a:cubicBezTo>
                    <a:pt x="143" y="509"/>
                    <a:pt x="135" y="513"/>
                    <a:pt x="141" y="518"/>
                  </a:cubicBezTo>
                  <a:close/>
                  <a:moveTo>
                    <a:pt x="133" y="559"/>
                  </a:moveTo>
                  <a:cubicBezTo>
                    <a:pt x="135" y="545"/>
                    <a:pt x="145" y="579"/>
                    <a:pt x="133" y="574"/>
                  </a:cubicBezTo>
                  <a:cubicBezTo>
                    <a:pt x="129" y="565"/>
                    <a:pt x="140" y="560"/>
                    <a:pt x="133" y="559"/>
                  </a:cubicBezTo>
                  <a:close/>
                  <a:moveTo>
                    <a:pt x="130" y="533"/>
                  </a:moveTo>
                  <a:cubicBezTo>
                    <a:pt x="138" y="534"/>
                    <a:pt x="136" y="547"/>
                    <a:pt x="141" y="551"/>
                  </a:cubicBezTo>
                  <a:cubicBezTo>
                    <a:pt x="138" y="559"/>
                    <a:pt x="130" y="542"/>
                    <a:pt x="130" y="533"/>
                  </a:cubicBezTo>
                  <a:close/>
                  <a:moveTo>
                    <a:pt x="125" y="540"/>
                  </a:moveTo>
                  <a:cubicBezTo>
                    <a:pt x="123" y="539"/>
                    <a:pt x="118" y="542"/>
                    <a:pt x="117" y="540"/>
                  </a:cubicBezTo>
                  <a:cubicBezTo>
                    <a:pt x="112" y="531"/>
                    <a:pt x="134" y="538"/>
                    <a:pt x="128" y="548"/>
                  </a:cubicBezTo>
                  <a:cubicBezTo>
                    <a:pt x="126" y="550"/>
                    <a:pt x="125" y="540"/>
                    <a:pt x="125" y="540"/>
                  </a:cubicBezTo>
                  <a:close/>
                  <a:moveTo>
                    <a:pt x="125" y="574"/>
                  </a:moveTo>
                  <a:cubicBezTo>
                    <a:pt x="123" y="574"/>
                    <a:pt x="121" y="568"/>
                    <a:pt x="122" y="566"/>
                  </a:cubicBezTo>
                  <a:cubicBezTo>
                    <a:pt x="126" y="553"/>
                    <a:pt x="127" y="573"/>
                    <a:pt x="125" y="574"/>
                  </a:cubicBezTo>
                  <a:close/>
                  <a:moveTo>
                    <a:pt x="125" y="611"/>
                  </a:moveTo>
                  <a:cubicBezTo>
                    <a:pt x="124" y="615"/>
                    <a:pt x="122" y="613"/>
                    <a:pt x="122" y="611"/>
                  </a:cubicBezTo>
                  <a:cubicBezTo>
                    <a:pt x="120" y="612"/>
                    <a:pt x="117" y="614"/>
                    <a:pt x="117" y="618"/>
                  </a:cubicBezTo>
                  <a:cubicBezTo>
                    <a:pt x="110" y="616"/>
                    <a:pt x="116" y="604"/>
                    <a:pt x="122" y="607"/>
                  </a:cubicBezTo>
                  <a:cubicBezTo>
                    <a:pt x="122" y="610"/>
                    <a:pt x="123" y="610"/>
                    <a:pt x="125" y="611"/>
                  </a:cubicBezTo>
                  <a:close/>
                  <a:moveTo>
                    <a:pt x="111" y="599"/>
                  </a:moveTo>
                  <a:cubicBezTo>
                    <a:pt x="112" y="592"/>
                    <a:pt x="123" y="600"/>
                    <a:pt x="125" y="603"/>
                  </a:cubicBezTo>
                  <a:cubicBezTo>
                    <a:pt x="133" y="608"/>
                    <a:pt x="114" y="602"/>
                    <a:pt x="111" y="599"/>
                  </a:cubicBezTo>
                  <a:close/>
                  <a:moveTo>
                    <a:pt x="93" y="592"/>
                  </a:moveTo>
                  <a:cubicBezTo>
                    <a:pt x="95" y="592"/>
                    <a:pt x="95" y="597"/>
                    <a:pt x="95" y="599"/>
                  </a:cubicBezTo>
                  <a:cubicBezTo>
                    <a:pt x="97" y="594"/>
                    <a:pt x="106" y="599"/>
                    <a:pt x="106" y="592"/>
                  </a:cubicBezTo>
                  <a:cubicBezTo>
                    <a:pt x="109" y="593"/>
                    <a:pt x="109" y="599"/>
                    <a:pt x="106" y="599"/>
                  </a:cubicBezTo>
                  <a:cubicBezTo>
                    <a:pt x="99" y="598"/>
                    <a:pt x="104" y="614"/>
                    <a:pt x="95" y="611"/>
                  </a:cubicBezTo>
                  <a:cubicBezTo>
                    <a:pt x="96" y="602"/>
                    <a:pt x="90" y="603"/>
                    <a:pt x="93" y="592"/>
                  </a:cubicBezTo>
                  <a:close/>
                  <a:moveTo>
                    <a:pt x="93" y="389"/>
                  </a:moveTo>
                  <a:cubicBezTo>
                    <a:pt x="100" y="389"/>
                    <a:pt x="98" y="404"/>
                    <a:pt x="90" y="403"/>
                  </a:cubicBezTo>
                  <a:cubicBezTo>
                    <a:pt x="92" y="400"/>
                    <a:pt x="93" y="395"/>
                    <a:pt x="93" y="389"/>
                  </a:cubicBezTo>
                  <a:close/>
                  <a:moveTo>
                    <a:pt x="87" y="315"/>
                  </a:moveTo>
                  <a:cubicBezTo>
                    <a:pt x="87" y="312"/>
                    <a:pt x="87" y="310"/>
                    <a:pt x="87" y="307"/>
                  </a:cubicBezTo>
                  <a:cubicBezTo>
                    <a:pt x="89" y="308"/>
                    <a:pt x="90" y="306"/>
                    <a:pt x="90" y="304"/>
                  </a:cubicBezTo>
                  <a:cubicBezTo>
                    <a:pt x="95" y="302"/>
                    <a:pt x="94" y="320"/>
                    <a:pt x="87" y="315"/>
                  </a:cubicBezTo>
                  <a:close/>
                  <a:moveTo>
                    <a:pt x="122" y="352"/>
                  </a:moveTo>
                  <a:cubicBezTo>
                    <a:pt x="119" y="355"/>
                    <a:pt x="115" y="357"/>
                    <a:pt x="109" y="355"/>
                  </a:cubicBezTo>
                  <a:cubicBezTo>
                    <a:pt x="109" y="353"/>
                    <a:pt x="109" y="350"/>
                    <a:pt x="109" y="348"/>
                  </a:cubicBezTo>
                  <a:cubicBezTo>
                    <a:pt x="111" y="349"/>
                    <a:pt x="111" y="346"/>
                    <a:pt x="111" y="344"/>
                  </a:cubicBezTo>
                  <a:cubicBezTo>
                    <a:pt x="114" y="345"/>
                    <a:pt x="113" y="352"/>
                    <a:pt x="117" y="352"/>
                  </a:cubicBezTo>
                  <a:cubicBezTo>
                    <a:pt x="119" y="352"/>
                    <a:pt x="119" y="350"/>
                    <a:pt x="119" y="348"/>
                  </a:cubicBezTo>
                  <a:cubicBezTo>
                    <a:pt x="121" y="342"/>
                    <a:pt x="122" y="348"/>
                    <a:pt x="122" y="352"/>
                  </a:cubicBezTo>
                  <a:close/>
                  <a:moveTo>
                    <a:pt x="125" y="381"/>
                  </a:moveTo>
                  <a:cubicBezTo>
                    <a:pt x="115" y="380"/>
                    <a:pt x="118" y="372"/>
                    <a:pt x="119" y="363"/>
                  </a:cubicBezTo>
                  <a:cubicBezTo>
                    <a:pt x="123" y="366"/>
                    <a:pt x="123" y="375"/>
                    <a:pt x="125" y="381"/>
                  </a:cubicBezTo>
                  <a:close/>
                  <a:moveTo>
                    <a:pt x="106" y="318"/>
                  </a:moveTo>
                  <a:cubicBezTo>
                    <a:pt x="109" y="315"/>
                    <a:pt x="107" y="305"/>
                    <a:pt x="114" y="307"/>
                  </a:cubicBezTo>
                  <a:cubicBezTo>
                    <a:pt x="115" y="315"/>
                    <a:pt x="112" y="319"/>
                    <a:pt x="106" y="318"/>
                  </a:cubicBezTo>
                  <a:close/>
                  <a:moveTo>
                    <a:pt x="109" y="363"/>
                  </a:moveTo>
                  <a:cubicBezTo>
                    <a:pt x="110" y="369"/>
                    <a:pt x="117" y="366"/>
                    <a:pt x="114" y="378"/>
                  </a:cubicBezTo>
                  <a:cubicBezTo>
                    <a:pt x="102" y="376"/>
                    <a:pt x="110" y="370"/>
                    <a:pt x="106" y="359"/>
                  </a:cubicBezTo>
                  <a:cubicBezTo>
                    <a:pt x="108" y="358"/>
                    <a:pt x="109" y="360"/>
                    <a:pt x="109" y="363"/>
                  </a:cubicBezTo>
                  <a:close/>
                  <a:moveTo>
                    <a:pt x="114" y="407"/>
                  </a:moveTo>
                  <a:cubicBezTo>
                    <a:pt x="110" y="407"/>
                    <a:pt x="105" y="407"/>
                    <a:pt x="101" y="407"/>
                  </a:cubicBezTo>
                  <a:cubicBezTo>
                    <a:pt x="103" y="394"/>
                    <a:pt x="101" y="398"/>
                    <a:pt x="103" y="385"/>
                  </a:cubicBezTo>
                  <a:cubicBezTo>
                    <a:pt x="106" y="386"/>
                    <a:pt x="106" y="392"/>
                    <a:pt x="106" y="396"/>
                  </a:cubicBezTo>
                  <a:cubicBezTo>
                    <a:pt x="112" y="397"/>
                    <a:pt x="104" y="379"/>
                    <a:pt x="114" y="385"/>
                  </a:cubicBezTo>
                  <a:cubicBezTo>
                    <a:pt x="109" y="392"/>
                    <a:pt x="113" y="398"/>
                    <a:pt x="114" y="407"/>
                  </a:cubicBezTo>
                  <a:close/>
                  <a:moveTo>
                    <a:pt x="106" y="352"/>
                  </a:moveTo>
                  <a:cubicBezTo>
                    <a:pt x="102" y="368"/>
                    <a:pt x="95" y="334"/>
                    <a:pt x="106" y="341"/>
                  </a:cubicBezTo>
                  <a:cubicBezTo>
                    <a:pt x="104" y="344"/>
                    <a:pt x="102" y="351"/>
                    <a:pt x="106" y="352"/>
                  </a:cubicBezTo>
                  <a:close/>
                  <a:moveTo>
                    <a:pt x="103" y="433"/>
                  </a:moveTo>
                  <a:cubicBezTo>
                    <a:pt x="104" y="439"/>
                    <a:pt x="107" y="443"/>
                    <a:pt x="103" y="448"/>
                  </a:cubicBezTo>
                  <a:cubicBezTo>
                    <a:pt x="98" y="444"/>
                    <a:pt x="100" y="435"/>
                    <a:pt x="98" y="429"/>
                  </a:cubicBezTo>
                  <a:cubicBezTo>
                    <a:pt x="96" y="425"/>
                    <a:pt x="92" y="426"/>
                    <a:pt x="93" y="418"/>
                  </a:cubicBezTo>
                  <a:cubicBezTo>
                    <a:pt x="96" y="419"/>
                    <a:pt x="97" y="417"/>
                    <a:pt x="98" y="415"/>
                  </a:cubicBezTo>
                  <a:cubicBezTo>
                    <a:pt x="102" y="417"/>
                    <a:pt x="102" y="426"/>
                    <a:pt x="103" y="433"/>
                  </a:cubicBezTo>
                  <a:close/>
                  <a:moveTo>
                    <a:pt x="109" y="440"/>
                  </a:moveTo>
                  <a:cubicBezTo>
                    <a:pt x="111" y="440"/>
                    <a:pt x="114" y="440"/>
                    <a:pt x="117" y="440"/>
                  </a:cubicBezTo>
                  <a:cubicBezTo>
                    <a:pt x="117" y="447"/>
                    <a:pt x="112" y="455"/>
                    <a:pt x="114" y="459"/>
                  </a:cubicBezTo>
                  <a:cubicBezTo>
                    <a:pt x="115" y="461"/>
                    <a:pt x="117" y="456"/>
                    <a:pt x="117" y="455"/>
                  </a:cubicBezTo>
                  <a:cubicBezTo>
                    <a:pt x="117" y="454"/>
                    <a:pt x="121" y="457"/>
                    <a:pt x="119" y="459"/>
                  </a:cubicBezTo>
                  <a:cubicBezTo>
                    <a:pt x="115" y="464"/>
                    <a:pt x="120" y="463"/>
                    <a:pt x="117" y="474"/>
                  </a:cubicBezTo>
                  <a:cubicBezTo>
                    <a:pt x="111" y="475"/>
                    <a:pt x="108" y="473"/>
                    <a:pt x="109" y="466"/>
                  </a:cubicBezTo>
                  <a:cubicBezTo>
                    <a:pt x="104" y="468"/>
                    <a:pt x="106" y="478"/>
                    <a:pt x="98" y="474"/>
                  </a:cubicBezTo>
                  <a:cubicBezTo>
                    <a:pt x="103" y="465"/>
                    <a:pt x="104" y="463"/>
                    <a:pt x="95" y="459"/>
                  </a:cubicBezTo>
                  <a:cubicBezTo>
                    <a:pt x="96" y="456"/>
                    <a:pt x="104" y="448"/>
                    <a:pt x="103" y="455"/>
                  </a:cubicBezTo>
                  <a:cubicBezTo>
                    <a:pt x="112" y="452"/>
                    <a:pt x="104" y="447"/>
                    <a:pt x="109" y="440"/>
                  </a:cubicBezTo>
                  <a:close/>
                  <a:moveTo>
                    <a:pt x="135" y="485"/>
                  </a:moveTo>
                  <a:cubicBezTo>
                    <a:pt x="138" y="498"/>
                    <a:pt x="121" y="492"/>
                    <a:pt x="119" y="489"/>
                  </a:cubicBezTo>
                  <a:cubicBezTo>
                    <a:pt x="121" y="484"/>
                    <a:pt x="130" y="491"/>
                    <a:pt x="135" y="485"/>
                  </a:cubicBezTo>
                  <a:close/>
                  <a:moveTo>
                    <a:pt x="128" y="463"/>
                  </a:moveTo>
                  <a:cubicBezTo>
                    <a:pt x="128" y="456"/>
                    <a:pt x="134" y="461"/>
                    <a:pt x="135" y="452"/>
                  </a:cubicBezTo>
                  <a:cubicBezTo>
                    <a:pt x="139" y="452"/>
                    <a:pt x="137" y="455"/>
                    <a:pt x="135" y="455"/>
                  </a:cubicBezTo>
                  <a:cubicBezTo>
                    <a:pt x="133" y="469"/>
                    <a:pt x="135" y="473"/>
                    <a:pt x="133" y="481"/>
                  </a:cubicBezTo>
                  <a:cubicBezTo>
                    <a:pt x="127" y="482"/>
                    <a:pt x="123" y="480"/>
                    <a:pt x="122" y="474"/>
                  </a:cubicBezTo>
                  <a:cubicBezTo>
                    <a:pt x="121" y="466"/>
                    <a:pt x="127" y="468"/>
                    <a:pt x="128" y="463"/>
                  </a:cubicBezTo>
                  <a:close/>
                  <a:moveTo>
                    <a:pt x="111" y="507"/>
                  </a:moveTo>
                  <a:cubicBezTo>
                    <a:pt x="106" y="509"/>
                    <a:pt x="104" y="504"/>
                    <a:pt x="101" y="503"/>
                  </a:cubicBezTo>
                  <a:cubicBezTo>
                    <a:pt x="101" y="499"/>
                    <a:pt x="106" y="500"/>
                    <a:pt x="109" y="500"/>
                  </a:cubicBezTo>
                  <a:cubicBezTo>
                    <a:pt x="109" y="495"/>
                    <a:pt x="109" y="490"/>
                    <a:pt x="109" y="485"/>
                  </a:cubicBezTo>
                  <a:cubicBezTo>
                    <a:pt x="113" y="473"/>
                    <a:pt x="111" y="501"/>
                    <a:pt x="111" y="507"/>
                  </a:cubicBezTo>
                  <a:close/>
                  <a:moveTo>
                    <a:pt x="109" y="544"/>
                  </a:moveTo>
                  <a:cubicBezTo>
                    <a:pt x="103" y="544"/>
                    <a:pt x="105" y="534"/>
                    <a:pt x="98" y="537"/>
                  </a:cubicBezTo>
                  <a:cubicBezTo>
                    <a:pt x="90" y="526"/>
                    <a:pt x="110" y="542"/>
                    <a:pt x="109" y="533"/>
                  </a:cubicBezTo>
                  <a:cubicBezTo>
                    <a:pt x="113" y="534"/>
                    <a:pt x="108" y="538"/>
                    <a:pt x="109" y="544"/>
                  </a:cubicBezTo>
                  <a:close/>
                  <a:moveTo>
                    <a:pt x="101" y="585"/>
                  </a:moveTo>
                  <a:cubicBezTo>
                    <a:pt x="98" y="596"/>
                    <a:pt x="98" y="574"/>
                    <a:pt x="93" y="577"/>
                  </a:cubicBezTo>
                  <a:cubicBezTo>
                    <a:pt x="95" y="566"/>
                    <a:pt x="100" y="581"/>
                    <a:pt x="101" y="585"/>
                  </a:cubicBezTo>
                  <a:close/>
                  <a:moveTo>
                    <a:pt x="93" y="492"/>
                  </a:moveTo>
                  <a:cubicBezTo>
                    <a:pt x="101" y="479"/>
                    <a:pt x="102" y="503"/>
                    <a:pt x="93" y="492"/>
                  </a:cubicBezTo>
                  <a:close/>
                  <a:moveTo>
                    <a:pt x="111" y="607"/>
                  </a:moveTo>
                  <a:cubicBezTo>
                    <a:pt x="110" y="611"/>
                    <a:pt x="108" y="614"/>
                    <a:pt x="103" y="614"/>
                  </a:cubicBezTo>
                  <a:cubicBezTo>
                    <a:pt x="104" y="610"/>
                    <a:pt x="107" y="607"/>
                    <a:pt x="111" y="607"/>
                  </a:cubicBezTo>
                  <a:close/>
                  <a:moveTo>
                    <a:pt x="106" y="581"/>
                  </a:moveTo>
                  <a:cubicBezTo>
                    <a:pt x="106" y="577"/>
                    <a:pt x="111" y="578"/>
                    <a:pt x="114" y="577"/>
                  </a:cubicBezTo>
                  <a:cubicBezTo>
                    <a:pt x="114" y="567"/>
                    <a:pt x="110" y="570"/>
                    <a:pt x="114" y="562"/>
                  </a:cubicBezTo>
                  <a:cubicBezTo>
                    <a:pt x="123" y="565"/>
                    <a:pt x="111" y="586"/>
                    <a:pt x="117" y="585"/>
                  </a:cubicBezTo>
                  <a:cubicBezTo>
                    <a:pt x="114" y="596"/>
                    <a:pt x="108" y="583"/>
                    <a:pt x="106" y="581"/>
                  </a:cubicBezTo>
                  <a:close/>
                  <a:moveTo>
                    <a:pt x="128" y="352"/>
                  </a:moveTo>
                  <a:cubicBezTo>
                    <a:pt x="130" y="348"/>
                    <a:pt x="128" y="338"/>
                    <a:pt x="135" y="341"/>
                  </a:cubicBezTo>
                  <a:cubicBezTo>
                    <a:pt x="133" y="344"/>
                    <a:pt x="135" y="354"/>
                    <a:pt x="128" y="352"/>
                  </a:cubicBezTo>
                  <a:close/>
                  <a:moveTo>
                    <a:pt x="135" y="355"/>
                  </a:moveTo>
                  <a:cubicBezTo>
                    <a:pt x="135" y="358"/>
                    <a:pt x="135" y="360"/>
                    <a:pt x="135" y="363"/>
                  </a:cubicBezTo>
                  <a:cubicBezTo>
                    <a:pt x="134" y="363"/>
                    <a:pt x="132" y="363"/>
                    <a:pt x="130" y="363"/>
                  </a:cubicBezTo>
                  <a:cubicBezTo>
                    <a:pt x="130" y="360"/>
                    <a:pt x="130" y="358"/>
                    <a:pt x="130" y="355"/>
                  </a:cubicBezTo>
                  <a:cubicBezTo>
                    <a:pt x="132" y="355"/>
                    <a:pt x="134" y="355"/>
                    <a:pt x="135" y="355"/>
                  </a:cubicBezTo>
                  <a:close/>
                  <a:moveTo>
                    <a:pt x="141" y="333"/>
                  </a:moveTo>
                  <a:cubicBezTo>
                    <a:pt x="147" y="335"/>
                    <a:pt x="143" y="353"/>
                    <a:pt x="141" y="355"/>
                  </a:cubicBezTo>
                  <a:cubicBezTo>
                    <a:pt x="133" y="351"/>
                    <a:pt x="144" y="343"/>
                    <a:pt x="141" y="333"/>
                  </a:cubicBezTo>
                  <a:close/>
                  <a:moveTo>
                    <a:pt x="138" y="363"/>
                  </a:moveTo>
                  <a:cubicBezTo>
                    <a:pt x="139" y="358"/>
                    <a:pt x="143" y="360"/>
                    <a:pt x="146" y="359"/>
                  </a:cubicBezTo>
                  <a:cubicBezTo>
                    <a:pt x="149" y="359"/>
                    <a:pt x="148" y="355"/>
                    <a:pt x="149" y="352"/>
                  </a:cubicBezTo>
                  <a:cubicBezTo>
                    <a:pt x="155" y="350"/>
                    <a:pt x="154" y="357"/>
                    <a:pt x="154" y="363"/>
                  </a:cubicBezTo>
                  <a:cubicBezTo>
                    <a:pt x="150" y="370"/>
                    <a:pt x="148" y="360"/>
                    <a:pt x="138" y="363"/>
                  </a:cubicBezTo>
                  <a:close/>
                  <a:moveTo>
                    <a:pt x="149" y="378"/>
                  </a:moveTo>
                  <a:cubicBezTo>
                    <a:pt x="161" y="379"/>
                    <a:pt x="146" y="399"/>
                    <a:pt x="149" y="378"/>
                  </a:cubicBezTo>
                  <a:close/>
                  <a:moveTo>
                    <a:pt x="184" y="389"/>
                  </a:moveTo>
                  <a:cubicBezTo>
                    <a:pt x="185" y="396"/>
                    <a:pt x="172" y="394"/>
                    <a:pt x="176" y="385"/>
                  </a:cubicBezTo>
                  <a:cubicBezTo>
                    <a:pt x="180" y="384"/>
                    <a:pt x="181" y="388"/>
                    <a:pt x="184" y="389"/>
                  </a:cubicBezTo>
                  <a:close/>
                  <a:moveTo>
                    <a:pt x="160" y="263"/>
                  </a:moveTo>
                  <a:cubicBezTo>
                    <a:pt x="157" y="263"/>
                    <a:pt x="147" y="266"/>
                    <a:pt x="146" y="259"/>
                  </a:cubicBezTo>
                  <a:cubicBezTo>
                    <a:pt x="146" y="256"/>
                    <a:pt x="147" y="252"/>
                    <a:pt x="149" y="252"/>
                  </a:cubicBezTo>
                  <a:cubicBezTo>
                    <a:pt x="150" y="252"/>
                    <a:pt x="151" y="259"/>
                    <a:pt x="152" y="259"/>
                  </a:cubicBezTo>
                  <a:cubicBezTo>
                    <a:pt x="158" y="261"/>
                    <a:pt x="162" y="258"/>
                    <a:pt x="168" y="259"/>
                  </a:cubicBezTo>
                  <a:cubicBezTo>
                    <a:pt x="167" y="260"/>
                    <a:pt x="166" y="266"/>
                    <a:pt x="165" y="267"/>
                  </a:cubicBezTo>
                  <a:cubicBezTo>
                    <a:pt x="161" y="269"/>
                    <a:pt x="161" y="263"/>
                    <a:pt x="160" y="263"/>
                  </a:cubicBezTo>
                  <a:close/>
                  <a:moveTo>
                    <a:pt x="149" y="278"/>
                  </a:moveTo>
                  <a:cubicBezTo>
                    <a:pt x="148" y="276"/>
                    <a:pt x="156" y="267"/>
                    <a:pt x="160" y="274"/>
                  </a:cubicBezTo>
                  <a:cubicBezTo>
                    <a:pt x="161" y="277"/>
                    <a:pt x="151" y="280"/>
                    <a:pt x="149" y="278"/>
                  </a:cubicBezTo>
                  <a:close/>
                  <a:moveTo>
                    <a:pt x="189" y="263"/>
                  </a:moveTo>
                  <a:cubicBezTo>
                    <a:pt x="187" y="266"/>
                    <a:pt x="188" y="273"/>
                    <a:pt x="184" y="274"/>
                  </a:cubicBezTo>
                  <a:cubicBezTo>
                    <a:pt x="185" y="280"/>
                    <a:pt x="192" y="277"/>
                    <a:pt x="189" y="289"/>
                  </a:cubicBezTo>
                  <a:cubicBezTo>
                    <a:pt x="181" y="292"/>
                    <a:pt x="186" y="276"/>
                    <a:pt x="176" y="281"/>
                  </a:cubicBezTo>
                  <a:cubicBezTo>
                    <a:pt x="177" y="277"/>
                    <a:pt x="179" y="274"/>
                    <a:pt x="184" y="274"/>
                  </a:cubicBezTo>
                  <a:cubicBezTo>
                    <a:pt x="183" y="267"/>
                    <a:pt x="185" y="262"/>
                    <a:pt x="189" y="263"/>
                  </a:cubicBezTo>
                  <a:close/>
                  <a:moveTo>
                    <a:pt x="176" y="267"/>
                  </a:moveTo>
                  <a:cubicBezTo>
                    <a:pt x="176" y="264"/>
                    <a:pt x="179" y="263"/>
                    <a:pt x="179" y="259"/>
                  </a:cubicBezTo>
                  <a:cubicBezTo>
                    <a:pt x="178" y="256"/>
                    <a:pt x="175" y="256"/>
                    <a:pt x="173" y="255"/>
                  </a:cubicBezTo>
                  <a:cubicBezTo>
                    <a:pt x="174" y="251"/>
                    <a:pt x="178" y="250"/>
                    <a:pt x="179" y="244"/>
                  </a:cubicBezTo>
                  <a:cubicBezTo>
                    <a:pt x="187" y="245"/>
                    <a:pt x="184" y="267"/>
                    <a:pt x="176" y="267"/>
                  </a:cubicBezTo>
                  <a:close/>
                  <a:moveTo>
                    <a:pt x="176" y="170"/>
                  </a:moveTo>
                  <a:cubicBezTo>
                    <a:pt x="173" y="183"/>
                    <a:pt x="171" y="172"/>
                    <a:pt x="163" y="174"/>
                  </a:cubicBezTo>
                  <a:cubicBezTo>
                    <a:pt x="165" y="168"/>
                    <a:pt x="172" y="165"/>
                    <a:pt x="176" y="170"/>
                  </a:cubicBezTo>
                  <a:close/>
                  <a:moveTo>
                    <a:pt x="90" y="226"/>
                  </a:moveTo>
                  <a:cubicBezTo>
                    <a:pt x="90" y="223"/>
                    <a:pt x="90" y="221"/>
                    <a:pt x="90" y="218"/>
                  </a:cubicBezTo>
                  <a:cubicBezTo>
                    <a:pt x="98" y="225"/>
                    <a:pt x="99" y="216"/>
                    <a:pt x="111" y="218"/>
                  </a:cubicBezTo>
                  <a:cubicBezTo>
                    <a:pt x="117" y="219"/>
                    <a:pt x="117" y="225"/>
                    <a:pt x="125" y="222"/>
                  </a:cubicBezTo>
                  <a:cubicBezTo>
                    <a:pt x="128" y="221"/>
                    <a:pt x="135" y="218"/>
                    <a:pt x="141" y="226"/>
                  </a:cubicBezTo>
                  <a:cubicBezTo>
                    <a:pt x="142" y="228"/>
                    <a:pt x="158" y="224"/>
                    <a:pt x="165" y="226"/>
                  </a:cubicBezTo>
                  <a:cubicBezTo>
                    <a:pt x="171" y="227"/>
                    <a:pt x="184" y="227"/>
                    <a:pt x="181" y="241"/>
                  </a:cubicBezTo>
                  <a:cubicBezTo>
                    <a:pt x="178" y="240"/>
                    <a:pt x="180" y="233"/>
                    <a:pt x="176" y="233"/>
                  </a:cubicBezTo>
                  <a:cubicBezTo>
                    <a:pt x="172" y="234"/>
                    <a:pt x="174" y="243"/>
                    <a:pt x="173" y="248"/>
                  </a:cubicBezTo>
                  <a:cubicBezTo>
                    <a:pt x="163" y="239"/>
                    <a:pt x="175" y="252"/>
                    <a:pt x="168" y="255"/>
                  </a:cubicBezTo>
                  <a:cubicBezTo>
                    <a:pt x="160" y="259"/>
                    <a:pt x="166" y="248"/>
                    <a:pt x="165" y="248"/>
                  </a:cubicBezTo>
                  <a:cubicBezTo>
                    <a:pt x="164" y="247"/>
                    <a:pt x="158" y="255"/>
                    <a:pt x="154" y="252"/>
                  </a:cubicBezTo>
                  <a:cubicBezTo>
                    <a:pt x="154" y="246"/>
                    <a:pt x="146" y="250"/>
                    <a:pt x="146" y="244"/>
                  </a:cubicBezTo>
                  <a:cubicBezTo>
                    <a:pt x="144" y="247"/>
                    <a:pt x="142" y="251"/>
                    <a:pt x="141" y="255"/>
                  </a:cubicBezTo>
                  <a:cubicBezTo>
                    <a:pt x="132" y="249"/>
                    <a:pt x="129" y="242"/>
                    <a:pt x="133" y="226"/>
                  </a:cubicBezTo>
                  <a:cubicBezTo>
                    <a:pt x="131" y="226"/>
                    <a:pt x="129" y="226"/>
                    <a:pt x="128" y="226"/>
                  </a:cubicBezTo>
                  <a:cubicBezTo>
                    <a:pt x="124" y="227"/>
                    <a:pt x="125" y="233"/>
                    <a:pt x="128" y="233"/>
                  </a:cubicBezTo>
                  <a:cubicBezTo>
                    <a:pt x="127" y="237"/>
                    <a:pt x="124" y="236"/>
                    <a:pt x="122" y="237"/>
                  </a:cubicBezTo>
                  <a:cubicBezTo>
                    <a:pt x="125" y="249"/>
                    <a:pt x="122" y="245"/>
                    <a:pt x="122" y="259"/>
                  </a:cubicBezTo>
                  <a:cubicBezTo>
                    <a:pt x="118" y="256"/>
                    <a:pt x="118" y="247"/>
                    <a:pt x="117" y="241"/>
                  </a:cubicBezTo>
                  <a:cubicBezTo>
                    <a:pt x="112" y="242"/>
                    <a:pt x="110" y="249"/>
                    <a:pt x="103" y="248"/>
                  </a:cubicBezTo>
                  <a:cubicBezTo>
                    <a:pt x="101" y="231"/>
                    <a:pt x="108" y="240"/>
                    <a:pt x="114" y="241"/>
                  </a:cubicBezTo>
                  <a:cubicBezTo>
                    <a:pt x="116" y="231"/>
                    <a:pt x="109" y="234"/>
                    <a:pt x="106" y="230"/>
                  </a:cubicBezTo>
                  <a:cubicBezTo>
                    <a:pt x="99" y="228"/>
                    <a:pt x="103" y="243"/>
                    <a:pt x="98" y="244"/>
                  </a:cubicBezTo>
                  <a:cubicBezTo>
                    <a:pt x="84" y="246"/>
                    <a:pt x="104" y="223"/>
                    <a:pt x="87" y="230"/>
                  </a:cubicBezTo>
                  <a:cubicBezTo>
                    <a:pt x="87" y="226"/>
                    <a:pt x="88" y="226"/>
                    <a:pt x="90" y="226"/>
                  </a:cubicBezTo>
                  <a:close/>
                  <a:moveTo>
                    <a:pt x="58" y="407"/>
                  </a:moveTo>
                  <a:cubicBezTo>
                    <a:pt x="67" y="405"/>
                    <a:pt x="58" y="424"/>
                    <a:pt x="55" y="418"/>
                  </a:cubicBezTo>
                  <a:cubicBezTo>
                    <a:pt x="55" y="418"/>
                    <a:pt x="57" y="411"/>
                    <a:pt x="58" y="411"/>
                  </a:cubicBezTo>
                  <a:cubicBezTo>
                    <a:pt x="58" y="411"/>
                    <a:pt x="57" y="407"/>
                    <a:pt x="58" y="407"/>
                  </a:cubicBezTo>
                  <a:close/>
                  <a:moveTo>
                    <a:pt x="55" y="433"/>
                  </a:moveTo>
                  <a:cubicBezTo>
                    <a:pt x="54" y="425"/>
                    <a:pt x="59" y="426"/>
                    <a:pt x="63" y="426"/>
                  </a:cubicBezTo>
                  <a:cubicBezTo>
                    <a:pt x="62" y="430"/>
                    <a:pt x="60" y="433"/>
                    <a:pt x="55" y="433"/>
                  </a:cubicBezTo>
                  <a:close/>
                  <a:moveTo>
                    <a:pt x="60" y="655"/>
                  </a:moveTo>
                  <a:cubicBezTo>
                    <a:pt x="60" y="649"/>
                    <a:pt x="60" y="643"/>
                    <a:pt x="60" y="636"/>
                  </a:cubicBezTo>
                  <a:cubicBezTo>
                    <a:pt x="69" y="631"/>
                    <a:pt x="69" y="661"/>
                    <a:pt x="60" y="655"/>
                  </a:cubicBezTo>
                  <a:close/>
                  <a:moveTo>
                    <a:pt x="71" y="244"/>
                  </a:moveTo>
                  <a:cubicBezTo>
                    <a:pt x="75" y="239"/>
                    <a:pt x="75" y="230"/>
                    <a:pt x="66" y="233"/>
                  </a:cubicBezTo>
                  <a:cubicBezTo>
                    <a:pt x="68" y="228"/>
                    <a:pt x="73" y="226"/>
                    <a:pt x="74" y="218"/>
                  </a:cubicBezTo>
                  <a:cubicBezTo>
                    <a:pt x="77" y="218"/>
                    <a:pt x="75" y="224"/>
                    <a:pt x="76" y="226"/>
                  </a:cubicBezTo>
                  <a:cubicBezTo>
                    <a:pt x="80" y="233"/>
                    <a:pt x="89" y="230"/>
                    <a:pt x="90" y="241"/>
                  </a:cubicBezTo>
                  <a:cubicBezTo>
                    <a:pt x="88" y="233"/>
                    <a:pt x="80" y="243"/>
                    <a:pt x="79" y="237"/>
                  </a:cubicBezTo>
                  <a:cubicBezTo>
                    <a:pt x="76" y="239"/>
                    <a:pt x="76" y="246"/>
                    <a:pt x="71" y="244"/>
                  </a:cubicBezTo>
                  <a:close/>
                  <a:moveTo>
                    <a:pt x="93" y="721"/>
                  </a:moveTo>
                  <a:cubicBezTo>
                    <a:pt x="93" y="712"/>
                    <a:pt x="87" y="712"/>
                    <a:pt x="82" y="710"/>
                  </a:cubicBezTo>
                  <a:cubicBezTo>
                    <a:pt x="83" y="703"/>
                    <a:pt x="92" y="707"/>
                    <a:pt x="90" y="696"/>
                  </a:cubicBezTo>
                  <a:cubicBezTo>
                    <a:pt x="93" y="700"/>
                    <a:pt x="99" y="700"/>
                    <a:pt x="106" y="699"/>
                  </a:cubicBezTo>
                  <a:cubicBezTo>
                    <a:pt x="106" y="714"/>
                    <a:pt x="102" y="721"/>
                    <a:pt x="93" y="721"/>
                  </a:cubicBezTo>
                  <a:close/>
                  <a:moveTo>
                    <a:pt x="106" y="692"/>
                  </a:moveTo>
                  <a:cubicBezTo>
                    <a:pt x="104" y="692"/>
                    <a:pt x="102" y="692"/>
                    <a:pt x="101" y="692"/>
                  </a:cubicBezTo>
                  <a:cubicBezTo>
                    <a:pt x="101" y="689"/>
                    <a:pt x="101" y="687"/>
                    <a:pt x="101" y="684"/>
                  </a:cubicBezTo>
                  <a:cubicBezTo>
                    <a:pt x="102" y="684"/>
                    <a:pt x="104" y="684"/>
                    <a:pt x="106" y="684"/>
                  </a:cubicBezTo>
                  <a:cubicBezTo>
                    <a:pt x="106" y="687"/>
                    <a:pt x="106" y="689"/>
                    <a:pt x="106" y="692"/>
                  </a:cubicBezTo>
                  <a:close/>
                  <a:moveTo>
                    <a:pt x="109" y="677"/>
                  </a:moveTo>
                  <a:cubicBezTo>
                    <a:pt x="101" y="677"/>
                    <a:pt x="98" y="669"/>
                    <a:pt x="93" y="666"/>
                  </a:cubicBezTo>
                  <a:cubicBezTo>
                    <a:pt x="92" y="672"/>
                    <a:pt x="95" y="673"/>
                    <a:pt x="98" y="673"/>
                  </a:cubicBezTo>
                  <a:cubicBezTo>
                    <a:pt x="95" y="685"/>
                    <a:pt x="86" y="673"/>
                    <a:pt x="90" y="662"/>
                  </a:cubicBezTo>
                  <a:cubicBezTo>
                    <a:pt x="82" y="663"/>
                    <a:pt x="83" y="678"/>
                    <a:pt x="79" y="655"/>
                  </a:cubicBezTo>
                  <a:cubicBezTo>
                    <a:pt x="87" y="665"/>
                    <a:pt x="97" y="649"/>
                    <a:pt x="101" y="662"/>
                  </a:cubicBezTo>
                  <a:cubicBezTo>
                    <a:pt x="103" y="662"/>
                    <a:pt x="103" y="659"/>
                    <a:pt x="106" y="659"/>
                  </a:cubicBezTo>
                  <a:cubicBezTo>
                    <a:pt x="106" y="652"/>
                    <a:pt x="97" y="656"/>
                    <a:pt x="95" y="651"/>
                  </a:cubicBezTo>
                  <a:cubicBezTo>
                    <a:pt x="97" y="649"/>
                    <a:pt x="106" y="640"/>
                    <a:pt x="98" y="636"/>
                  </a:cubicBezTo>
                  <a:cubicBezTo>
                    <a:pt x="96" y="634"/>
                    <a:pt x="105" y="634"/>
                    <a:pt x="106" y="636"/>
                  </a:cubicBezTo>
                  <a:cubicBezTo>
                    <a:pt x="107" y="637"/>
                    <a:pt x="105" y="643"/>
                    <a:pt x="106" y="644"/>
                  </a:cubicBezTo>
                  <a:cubicBezTo>
                    <a:pt x="108" y="645"/>
                    <a:pt x="112" y="643"/>
                    <a:pt x="114" y="644"/>
                  </a:cubicBezTo>
                  <a:cubicBezTo>
                    <a:pt x="115" y="648"/>
                    <a:pt x="109" y="646"/>
                    <a:pt x="109" y="648"/>
                  </a:cubicBezTo>
                  <a:cubicBezTo>
                    <a:pt x="106" y="657"/>
                    <a:pt x="115" y="669"/>
                    <a:pt x="109" y="677"/>
                  </a:cubicBezTo>
                  <a:close/>
                  <a:moveTo>
                    <a:pt x="163" y="736"/>
                  </a:moveTo>
                  <a:cubicBezTo>
                    <a:pt x="160" y="749"/>
                    <a:pt x="157" y="732"/>
                    <a:pt x="154" y="733"/>
                  </a:cubicBezTo>
                  <a:cubicBezTo>
                    <a:pt x="150" y="739"/>
                    <a:pt x="155" y="742"/>
                    <a:pt x="152" y="755"/>
                  </a:cubicBezTo>
                  <a:cubicBezTo>
                    <a:pt x="149" y="755"/>
                    <a:pt x="150" y="750"/>
                    <a:pt x="149" y="747"/>
                  </a:cubicBezTo>
                  <a:cubicBezTo>
                    <a:pt x="149" y="739"/>
                    <a:pt x="144" y="737"/>
                    <a:pt x="146" y="725"/>
                  </a:cubicBezTo>
                  <a:cubicBezTo>
                    <a:pt x="149" y="726"/>
                    <a:pt x="151" y="724"/>
                    <a:pt x="152" y="721"/>
                  </a:cubicBezTo>
                  <a:cubicBezTo>
                    <a:pt x="156" y="726"/>
                    <a:pt x="158" y="732"/>
                    <a:pt x="163" y="736"/>
                  </a:cubicBezTo>
                  <a:close/>
                  <a:moveTo>
                    <a:pt x="173" y="688"/>
                  </a:moveTo>
                  <a:cubicBezTo>
                    <a:pt x="172" y="693"/>
                    <a:pt x="170" y="696"/>
                    <a:pt x="165" y="696"/>
                  </a:cubicBezTo>
                  <a:cubicBezTo>
                    <a:pt x="159" y="695"/>
                    <a:pt x="161" y="690"/>
                    <a:pt x="157" y="688"/>
                  </a:cubicBezTo>
                  <a:cubicBezTo>
                    <a:pt x="153" y="690"/>
                    <a:pt x="158" y="693"/>
                    <a:pt x="157" y="699"/>
                  </a:cubicBezTo>
                  <a:cubicBezTo>
                    <a:pt x="148" y="700"/>
                    <a:pt x="151" y="685"/>
                    <a:pt x="144" y="684"/>
                  </a:cubicBezTo>
                  <a:cubicBezTo>
                    <a:pt x="135" y="692"/>
                    <a:pt x="148" y="702"/>
                    <a:pt x="154" y="703"/>
                  </a:cubicBezTo>
                  <a:cubicBezTo>
                    <a:pt x="153" y="706"/>
                    <a:pt x="151" y="710"/>
                    <a:pt x="154" y="710"/>
                  </a:cubicBezTo>
                  <a:cubicBezTo>
                    <a:pt x="153" y="721"/>
                    <a:pt x="149" y="707"/>
                    <a:pt x="144" y="710"/>
                  </a:cubicBezTo>
                  <a:cubicBezTo>
                    <a:pt x="140" y="711"/>
                    <a:pt x="146" y="729"/>
                    <a:pt x="144" y="740"/>
                  </a:cubicBezTo>
                  <a:cubicBezTo>
                    <a:pt x="135" y="736"/>
                    <a:pt x="139" y="748"/>
                    <a:pt x="138" y="755"/>
                  </a:cubicBezTo>
                  <a:cubicBezTo>
                    <a:pt x="136" y="766"/>
                    <a:pt x="135" y="748"/>
                    <a:pt x="135" y="744"/>
                  </a:cubicBezTo>
                  <a:cubicBezTo>
                    <a:pt x="134" y="735"/>
                    <a:pt x="140" y="736"/>
                    <a:pt x="138" y="725"/>
                  </a:cubicBezTo>
                  <a:cubicBezTo>
                    <a:pt x="126" y="722"/>
                    <a:pt x="142" y="735"/>
                    <a:pt x="130" y="733"/>
                  </a:cubicBezTo>
                  <a:cubicBezTo>
                    <a:pt x="129" y="723"/>
                    <a:pt x="131" y="719"/>
                    <a:pt x="138" y="721"/>
                  </a:cubicBezTo>
                  <a:cubicBezTo>
                    <a:pt x="138" y="712"/>
                    <a:pt x="138" y="704"/>
                    <a:pt x="144" y="703"/>
                  </a:cubicBezTo>
                  <a:cubicBezTo>
                    <a:pt x="140" y="696"/>
                    <a:pt x="130" y="700"/>
                    <a:pt x="125" y="696"/>
                  </a:cubicBezTo>
                  <a:cubicBezTo>
                    <a:pt x="119" y="698"/>
                    <a:pt x="122" y="718"/>
                    <a:pt x="130" y="714"/>
                  </a:cubicBezTo>
                  <a:cubicBezTo>
                    <a:pt x="129" y="719"/>
                    <a:pt x="127" y="722"/>
                    <a:pt x="122" y="721"/>
                  </a:cubicBezTo>
                  <a:cubicBezTo>
                    <a:pt x="123" y="729"/>
                    <a:pt x="118" y="729"/>
                    <a:pt x="114" y="729"/>
                  </a:cubicBezTo>
                  <a:cubicBezTo>
                    <a:pt x="115" y="694"/>
                    <a:pt x="115" y="674"/>
                    <a:pt x="117" y="644"/>
                  </a:cubicBezTo>
                  <a:cubicBezTo>
                    <a:pt x="128" y="642"/>
                    <a:pt x="124" y="657"/>
                    <a:pt x="119" y="662"/>
                  </a:cubicBezTo>
                  <a:cubicBezTo>
                    <a:pt x="122" y="673"/>
                    <a:pt x="123" y="654"/>
                    <a:pt x="130" y="659"/>
                  </a:cubicBezTo>
                  <a:cubicBezTo>
                    <a:pt x="132" y="670"/>
                    <a:pt x="127" y="672"/>
                    <a:pt x="128" y="681"/>
                  </a:cubicBezTo>
                  <a:cubicBezTo>
                    <a:pt x="123" y="679"/>
                    <a:pt x="122" y="684"/>
                    <a:pt x="122" y="688"/>
                  </a:cubicBezTo>
                  <a:cubicBezTo>
                    <a:pt x="132" y="706"/>
                    <a:pt x="130" y="664"/>
                    <a:pt x="138" y="677"/>
                  </a:cubicBezTo>
                  <a:cubicBezTo>
                    <a:pt x="139" y="670"/>
                    <a:pt x="135" y="669"/>
                    <a:pt x="135" y="662"/>
                  </a:cubicBezTo>
                  <a:cubicBezTo>
                    <a:pt x="135" y="652"/>
                    <a:pt x="127" y="654"/>
                    <a:pt x="128" y="644"/>
                  </a:cubicBezTo>
                  <a:cubicBezTo>
                    <a:pt x="133" y="637"/>
                    <a:pt x="132" y="646"/>
                    <a:pt x="141" y="644"/>
                  </a:cubicBezTo>
                  <a:cubicBezTo>
                    <a:pt x="141" y="651"/>
                    <a:pt x="141" y="659"/>
                    <a:pt x="141" y="666"/>
                  </a:cubicBezTo>
                  <a:cubicBezTo>
                    <a:pt x="149" y="669"/>
                    <a:pt x="144" y="653"/>
                    <a:pt x="154" y="659"/>
                  </a:cubicBezTo>
                  <a:cubicBezTo>
                    <a:pt x="153" y="654"/>
                    <a:pt x="151" y="651"/>
                    <a:pt x="146" y="651"/>
                  </a:cubicBezTo>
                  <a:cubicBezTo>
                    <a:pt x="146" y="645"/>
                    <a:pt x="151" y="642"/>
                    <a:pt x="146" y="640"/>
                  </a:cubicBezTo>
                  <a:cubicBezTo>
                    <a:pt x="152" y="634"/>
                    <a:pt x="150" y="637"/>
                    <a:pt x="149" y="618"/>
                  </a:cubicBezTo>
                  <a:cubicBezTo>
                    <a:pt x="153" y="618"/>
                    <a:pt x="156" y="618"/>
                    <a:pt x="160" y="618"/>
                  </a:cubicBezTo>
                  <a:cubicBezTo>
                    <a:pt x="158" y="623"/>
                    <a:pt x="156" y="627"/>
                    <a:pt x="154" y="633"/>
                  </a:cubicBezTo>
                  <a:cubicBezTo>
                    <a:pt x="158" y="638"/>
                    <a:pt x="165" y="640"/>
                    <a:pt x="163" y="655"/>
                  </a:cubicBezTo>
                  <a:cubicBezTo>
                    <a:pt x="159" y="654"/>
                    <a:pt x="161" y="648"/>
                    <a:pt x="157" y="648"/>
                  </a:cubicBezTo>
                  <a:cubicBezTo>
                    <a:pt x="151" y="652"/>
                    <a:pt x="160" y="668"/>
                    <a:pt x="160" y="677"/>
                  </a:cubicBezTo>
                  <a:cubicBezTo>
                    <a:pt x="157" y="677"/>
                    <a:pt x="155" y="678"/>
                    <a:pt x="154" y="681"/>
                  </a:cubicBezTo>
                  <a:cubicBezTo>
                    <a:pt x="159" y="694"/>
                    <a:pt x="166" y="679"/>
                    <a:pt x="173" y="688"/>
                  </a:cubicBezTo>
                  <a:close/>
                  <a:moveTo>
                    <a:pt x="173" y="648"/>
                  </a:moveTo>
                  <a:cubicBezTo>
                    <a:pt x="170" y="648"/>
                    <a:pt x="172" y="643"/>
                    <a:pt x="170" y="640"/>
                  </a:cubicBezTo>
                  <a:cubicBezTo>
                    <a:pt x="168" y="633"/>
                    <a:pt x="164" y="631"/>
                    <a:pt x="168" y="625"/>
                  </a:cubicBezTo>
                  <a:cubicBezTo>
                    <a:pt x="175" y="630"/>
                    <a:pt x="176" y="637"/>
                    <a:pt x="173" y="648"/>
                  </a:cubicBezTo>
                  <a:close/>
                  <a:moveTo>
                    <a:pt x="189" y="577"/>
                  </a:moveTo>
                  <a:cubicBezTo>
                    <a:pt x="185" y="575"/>
                    <a:pt x="183" y="572"/>
                    <a:pt x="179" y="570"/>
                  </a:cubicBezTo>
                  <a:cubicBezTo>
                    <a:pt x="173" y="587"/>
                    <a:pt x="189" y="575"/>
                    <a:pt x="187" y="588"/>
                  </a:cubicBezTo>
                  <a:cubicBezTo>
                    <a:pt x="182" y="592"/>
                    <a:pt x="178" y="577"/>
                    <a:pt x="176" y="588"/>
                  </a:cubicBezTo>
                  <a:cubicBezTo>
                    <a:pt x="169" y="584"/>
                    <a:pt x="176" y="569"/>
                    <a:pt x="176" y="562"/>
                  </a:cubicBezTo>
                  <a:cubicBezTo>
                    <a:pt x="176" y="556"/>
                    <a:pt x="174" y="550"/>
                    <a:pt x="170" y="548"/>
                  </a:cubicBezTo>
                  <a:cubicBezTo>
                    <a:pt x="163" y="553"/>
                    <a:pt x="173" y="552"/>
                    <a:pt x="173" y="562"/>
                  </a:cubicBezTo>
                  <a:cubicBezTo>
                    <a:pt x="173" y="563"/>
                    <a:pt x="168" y="562"/>
                    <a:pt x="168" y="562"/>
                  </a:cubicBezTo>
                  <a:cubicBezTo>
                    <a:pt x="166" y="567"/>
                    <a:pt x="171" y="583"/>
                    <a:pt x="168" y="588"/>
                  </a:cubicBezTo>
                  <a:cubicBezTo>
                    <a:pt x="166" y="588"/>
                    <a:pt x="165" y="585"/>
                    <a:pt x="163" y="585"/>
                  </a:cubicBezTo>
                  <a:cubicBezTo>
                    <a:pt x="164" y="596"/>
                    <a:pt x="159" y="599"/>
                    <a:pt x="157" y="607"/>
                  </a:cubicBezTo>
                  <a:cubicBezTo>
                    <a:pt x="160" y="617"/>
                    <a:pt x="182" y="602"/>
                    <a:pt x="179" y="622"/>
                  </a:cubicBezTo>
                  <a:cubicBezTo>
                    <a:pt x="164" y="624"/>
                    <a:pt x="163" y="609"/>
                    <a:pt x="149" y="611"/>
                  </a:cubicBezTo>
                  <a:cubicBezTo>
                    <a:pt x="143" y="611"/>
                    <a:pt x="143" y="620"/>
                    <a:pt x="144" y="629"/>
                  </a:cubicBezTo>
                  <a:cubicBezTo>
                    <a:pt x="138" y="629"/>
                    <a:pt x="140" y="619"/>
                    <a:pt x="133" y="622"/>
                  </a:cubicBezTo>
                  <a:cubicBezTo>
                    <a:pt x="133" y="616"/>
                    <a:pt x="134" y="608"/>
                    <a:pt x="130" y="607"/>
                  </a:cubicBezTo>
                  <a:cubicBezTo>
                    <a:pt x="131" y="601"/>
                    <a:pt x="138" y="606"/>
                    <a:pt x="138" y="599"/>
                  </a:cubicBezTo>
                  <a:cubicBezTo>
                    <a:pt x="137" y="584"/>
                    <a:pt x="128" y="591"/>
                    <a:pt x="119" y="592"/>
                  </a:cubicBezTo>
                  <a:cubicBezTo>
                    <a:pt x="120" y="569"/>
                    <a:pt x="146" y="603"/>
                    <a:pt x="141" y="577"/>
                  </a:cubicBezTo>
                  <a:cubicBezTo>
                    <a:pt x="146" y="578"/>
                    <a:pt x="147" y="584"/>
                    <a:pt x="146" y="592"/>
                  </a:cubicBezTo>
                  <a:cubicBezTo>
                    <a:pt x="150" y="592"/>
                    <a:pt x="153" y="592"/>
                    <a:pt x="157" y="592"/>
                  </a:cubicBezTo>
                  <a:cubicBezTo>
                    <a:pt x="159" y="579"/>
                    <a:pt x="147" y="586"/>
                    <a:pt x="146" y="577"/>
                  </a:cubicBezTo>
                  <a:cubicBezTo>
                    <a:pt x="145" y="566"/>
                    <a:pt x="155" y="570"/>
                    <a:pt x="160" y="566"/>
                  </a:cubicBezTo>
                  <a:cubicBezTo>
                    <a:pt x="160" y="570"/>
                    <a:pt x="160" y="574"/>
                    <a:pt x="160" y="577"/>
                  </a:cubicBezTo>
                  <a:cubicBezTo>
                    <a:pt x="163" y="577"/>
                    <a:pt x="162" y="573"/>
                    <a:pt x="163" y="570"/>
                  </a:cubicBezTo>
                  <a:cubicBezTo>
                    <a:pt x="164" y="566"/>
                    <a:pt x="164" y="563"/>
                    <a:pt x="165" y="551"/>
                  </a:cubicBezTo>
                  <a:cubicBezTo>
                    <a:pt x="165" y="550"/>
                    <a:pt x="165" y="545"/>
                    <a:pt x="165" y="544"/>
                  </a:cubicBezTo>
                  <a:cubicBezTo>
                    <a:pt x="170" y="539"/>
                    <a:pt x="162" y="533"/>
                    <a:pt x="168" y="525"/>
                  </a:cubicBezTo>
                  <a:cubicBezTo>
                    <a:pt x="169" y="516"/>
                    <a:pt x="153" y="529"/>
                    <a:pt x="157" y="514"/>
                  </a:cubicBezTo>
                  <a:cubicBezTo>
                    <a:pt x="152" y="514"/>
                    <a:pt x="151" y="519"/>
                    <a:pt x="146" y="518"/>
                  </a:cubicBezTo>
                  <a:cubicBezTo>
                    <a:pt x="144" y="510"/>
                    <a:pt x="141" y="504"/>
                    <a:pt x="141" y="492"/>
                  </a:cubicBezTo>
                  <a:cubicBezTo>
                    <a:pt x="143" y="495"/>
                    <a:pt x="145" y="499"/>
                    <a:pt x="146" y="503"/>
                  </a:cubicBezTo>
                  <a:cubicBezTo>
                    <a:pt x="157" y="503"/>
                    <a:pt x="143" y="482"/>
                    <a:pt x="154" y="492"/>
                  </a:cubicBezTo>
                  <a:cubicBezTo>
                    <a:pt x="155" y="482"/>
                    <a:pt x="148" y="482"/>
                    <a:pt x="141" y="481"/>
                  </a:cubicBezTo>
                  <a:cubicBezTo>
                    <a:pt x="136" y="456"/>
                    <a:pt x="158" y="468"/>
                    <a:pt x="157" y="448"/>
                  </a:cubicBezTo>
                  <a:cubicBezTo>
                    <a:pt x="162" y="447"/>
                    <a:pt x="163" y="452"/>
                    <a:pt x="168" y="452"/>
                  </a:cubicBezTo>
                  <a:cubicBezTo>
                    <a:pt x="175" y="453"/>
                    <a:pt x="166" y="431"/>
                    <a:pt x="173" y="433"/>
                  </a:cubicBezTo>
                  <a:cubicBezTo>
                    <a:pt x="186" y="433"/>
                    <a:pt x="171" y="442"/>
                    <a:pt x="179" y="444"/>
                  </a:cubicBezTo>
                  <a:cubicBezTo>
                    <a:pt x="180" y="445"/>
                    <a:pt x="183" y="443"/>
                    <a:pt x="184" y="444"/>
                  </a:cubicBezTo>
                  <a:cubicBezTo>
                    <a:pt x="189" y="449"/>
                    <a:pt x="186" y="458"/>
                    <a:pt x="192" y="463"/>
                  </a:cubicBezTo>
                  <a:cubicBezTo>
                    <a:pt x="185" y="475"/>
                    <a:pt x="186" y="447"/>
                    <a:pt x="179" y="448"/>
                  </a:cubicBezTo>
                  <a:cubicBezTo>
                    <a:pt x="176" y="448"/>
                    <a:pt x="177" y="452"/>
                    <a:pt x="176" y="455"/>
                  </a:cubicBezTo>
                  <a:cubicBezTo>
                    <a:pt x="170" y="455"/>
                    <a:pt x="165" y="455"/>
                    <a:pt x="160" y="455"/>
                  </a:cubicBezTo>
                  <a:cubicBezTo>
                    <a:pt x="157" y="458"/>
                    <a:pt x="157" y="464"/>
                    <a:pt x="152" y="463"/>
                  </a:cubicBezTo>
                  <a:cubicBezTo>
                    <a:pt x="157" y="470"/>
                    <a:pt x="157" y="466"/>
                    <a:pt x="154" y="477"/>
                  </a:cubicBezTo>
                  <a:cubicBezTo>
                    <a:pt x="161" y="477"/>
                    <a:pt x="159" y="464"/>
                    <a:pt x="163" y="459"/>
                  </a:cubicBezTo>
                  <a:cubicBezTo>
                    <a:pt x="168" y="452"/>
                    <a:pt x="171" y="466"/>
                    <a:pt x="173" y="466"/>
                  </a:cubicBezTo>
                  <a:cubicBezTo>
                    <a:pt x="177" y="467"/>
                    <a:pt x="179" y="455"/>
                    <a:pt x="184" y="463"/>
                  </a:cubicBezTo>
                  <a:cubicBezTo>
                    <a:pt x="186" y="474"/>
                    <a:pt x="181" y="476"/>
                    <a:pt x="181" y="485"/>
                  </a:cubicBezTo>
                  <a:cubicBezTo>
                    <a:pt x="188" y="482"/>
                    <a:pt x="201" y="475"/>
                    <a:pt x="200" y="492"/>
                  </a:cubicBezTo>
                  <a:cubicBezTo>
                    <a:pt x="188" y="487"/>
                    <a:pt x="193" y="505"/>
                    <a:pt x="184" y="503"/>
                  </a:cubicBezTo>
                  <a:cubicBezTo>
                    <a:pt x="184" y="500"/>
                    <a:pt x="184" y="496"/>
                    <a:pt x="184" y="492"/>
                  </a:cubicBezTo>
                  <a:cubicBezTo>
                    <a:pt x="180" y="493"/>
                    <a:pt x="183" y="503"/>
                    <a:pt x="179" y="503"/>
                  </a:cubicBezTo>
                  <a:cubicBezTo>
                    <a:pt x="179" y="514"/>
                    <a:pt x="191" y="508"/>
                    <a:pt x="195" y="514"/>
                  </a:cubicBezTo>
                  <a:cubicBezTo>
                    <a:pt x="194" y="519"/>
                    <a:pt x="190" y="518"/>
                    <a:pt x="187" y="518"/>
                  </a:cubicBezTo>
                  <a:cubicBezTo>
                    <a:pt x="187" y="525"/>
                    <a:pt x="187" y="533"/>
                    <a:pt x="187" y="540"/>
                  </a:cubicBezTo>
                  <a:cubicBezTo>
                    <a:pt x="174" y="544"/>
                    <a:pt x="191" y="528"/>
                    <a:pt x="181" y="525"/>
                  </a:cubicBezTo>
                  <a:cubicBezTo>
                    <a:pt x="177" y="529"/>
                    <a:pt x="178" y="541"/>
                    <a:pt x="176" y="548"/>
                  </a:cubicBezTo>
                  <a:cubicBezTo>
                    <a:pt x="174" y="558"/>
                    <a:pt x="181" y="555"/>
                    <a:pt x="181" y="562"/>
                  </a:cubicBezTo>
                  <a:cubicBezTo>
                    <a:pt x="180" y="572"/>
                    <a:pt x="192" y="565"/>
                    <a:pt x="189" y="577"/>
                  </a:cubicBezTo>
                  <a:close/>
                  <a:moveTo>
                    <a:pt x="168" y="607"/>
                  </a:moveTo>
                  <a:cubicBezTo>
                    <a:pt x="160" y="604"/>
                    <a:pt x="165" y="601"/>
                    <a:pt x="165" y="592"/>
                  </a:cubicBezTo>
                  <a:cubicBezTo>
                    <a:pt x="168" y="593"/>
                    <a:pt x="167" y="599"/>
                    <a:pt x="170" y="599"/>
                  </a:cubicBezTo>
                  <a:cubicBezTo>
                    <a:pt x="176" y="599"/>
                    <a:pt x="168" y="604"/>
                    <a:pt x="168" y="607"/>
                  </a:cubicBezTo>
                  <a:close/>
                  <a:moveTo>
                    <a:pt x="149" y="525"/>
                  </a:moveTo>
                  <a:cubicBezTo>
                    <a:pt x="152" y="525"/>
                    <a:pt x="154" y="525"/>
                    <a:pt x="157" y="525"/>
                  </a:cubicBezTo>
                  <a:cubicBezTo>
                    <a:pt x="162" y="532"/>
                    <a:pt x="159" y="547"/>
                    <a:pt x="160" y="559"/>
                  </a:cubicBezTo>
                  <a:cubicBezTo>
                    <a:pt x="151" y="556"/>
                    <a:pt x="148" y="551"/>
                    <a:pt x="152" y="566"/>
                  </a:cubicBezTo>
                  <a:cubicBezTo>
                    <a:pt x="137" y="563"/>
                    <a:pt x="147" y="547"/>
                    <a:pt x="149" y="537"/>
                  </a:cubicBezTo>
                  <a:cubicBezTo>
                    <a:pt x="150" y="533"/>
                    <a:pt x="145" y="530"/>
                    <a:pt x="149" y="525"/>
                  </a:cubicBezTo>
                  <a:close/>
                  <a:moveTo>
                    <a:pt x="189" y="566"/>
                  </a:moveTo>
                  <a:cubicBezTo>
                    <a:pt x="185" y="563"/>
                    <a:pt x="181" y="561"/>
                    <a:pt x="181" y="551"/>
                  </a:cubicBezTo>
                  <a:cubicBezTo>
                    <a:pt x="183" y="554"/>
                    <a:pt x="189" y="557"/>
                    <a:pt x="189" y="551"/>
                  </a:cubicBezTo>
                  <a:cubicBezTo>
                    <a:pt x="196" y="552"/>
                    <a:pt x="190" y="564"/>
                    <a:pt x="189" y="566"/>
                  </a:cubicBezTo>
                  <a:close/>
                  <a:moveTo>
                    <a:pt x="195" y="548"/>
                  </a:moveTo>
                  <a:cubicBezTo>
                    <a:pt x="187" y="544"/>
                    <a:pt x="198" y="536"/>
                    <a:pt x="195" y="525"/>
                  </a:cubicBezTo>
                  <a:cubicBezTo>
                    <a:pt x="201" y="533"/>
                    <a:pt x="200" y="541"/>
                    <a:pt x="195" y="548"/>
                  </a:cubicBezTo>
                  <a:close/>
                  <a:moveTo>
                    <a:pt x="205" y="525"/>
                  </a:moveTo>
                  <a:cubicBezTo>
                    <a:pt x="202" y="525"/>
                    <a:pt x="205" y="514"/>
                    <a:pt x="200" y="514"/>
                  </a:cubicBezTo>
                  <a:cubicBezTo>
                    <a:pt x="200" y="511"/>
                    <a:pt x="201" y="511"/>
                    <a:pt x="203" y="511"/>
                  </a:cubicBezTo>
                  <a:cubicBezTo>
                    <a:pt x="205" y="511"/>
                    <a:pt x="206" y="511"/>
                    <a:pt x="208" y="511"/>
                  </a:cubicBezTo>
                  <a:cubicBezTo>
                    <a:pt x="208" y="517"/>
                    <a:pt x="205" y="519"/>
                    <a:pt x="205" y="525"/>
                  </a:cubicBezTo>
                  <a:close/>
                  <a:moveTo>
                    <a:pt x="208" y="285"/>
                  </a:moveTo>
                  <a:cubicBezTo>
                    <a:pt x="201" y="280"/>
                    <a:pt x="216" y="258"/>
                    <a:pt x="208" y="285"/>
                  </a:cubicBezTo>
                  <a:close/>
                  <a:moveTo>
                    <a:pt x="458" y="803"/>
                  </a:moveTo>
                  <a:cubicBezTo>
                    <a:pt x="458" y="809"/>
                    <a:pt x="442" y="796"/>
                    <a:pt x="445" y="814"/>
                  </a:cubicBezTo>
                  <a:cubicBezTo>
                    <a:pt x="440" y="822"/>
                    <a:pt x="445" y="790"/>
                    <a:pt x="447" y="784"/>
                  </a:cubicBezTo>
                  <a:cubicBezTo>
                    <a:pt x="456" y="788"/>
                    <a:pt x="447" y="799"/>
                    <a:pt x="458" y="803"/>
                  </a:cubicBezTo>
                  <a:close/>
                  <a:moveTo>
                    <a:pt x="453" y="655"/>
                  </a:moveTo>
                  <a:cubicBezTo>
                    <a:pt x="457" y="642"/>
                    <a:pt x="458" y="662"/>
                    <a:pt x="456" y="662"/>
                  </a:cubicBezTo>
                  <a:cubicBezTo>
                    <a:pt x="454" y="663"/>
                    <a:pt x="452" y="657"/>
                    <a:pt x="453" y="655"/>
                  </a:cubicBezTo>
                  <a:close/>
                  <a:moveTo>
                    <a:pt x="447" y="648"/>
                  </a:moveTo>
                  <a:cubicBezTo>
                    <a:pt x="455" y="651"/>
                    <a:pt x="446" y="659"/>
                    <a:pt x="447" y="666"/>
                  </a:cubicBezTo>
                  <a:cubicBezTo>
                    <a:pt x="448" y="670"/>
                    <a:pt x="451" y="669"/>
                    <a:pt x="453" y="670"/>
                  </a:cubicBezTo>
                  <a:cubicBezTo>
                    <a:pt x="452" y="679"/>
                    <a:pt x="444" y="671"/>
                    <a:pt x="442" y="670"/>
                  </a:cubicBezTo>
                  <a:cubicBezTo>
                    <a:pt x="439" y="670"/>
                    <a:pt x="440" y="674"/>
                    <a:pt x="439" y="677"/>
                  </a:cubicBezTo>
                  <a:cubicBezTo>
                    <a:pt x="435" y="677"/>
                    <a:pt x="430" y="677"/>
                    <a:pt x="426" y="677"/>
                  </a:cubicBezTo>
                  <a:cubicBezTo>
                    <a:pt x="427" y="671"/>
                    <a:pt x="434" y="674"/>
                    <a:pt x="431" y="662"/>
                  </a:cubicBezTo>
                  <a:cubicBezTo>
                    <a:pt x="434" y="665"/>
                    <a:pt x="437" y="666"/>
                    <a:pt x="442" y="666"/>
                  </a:cubicBezTo>
                  <a:cubicBezTo>
                    <a:pt x="448" y="665"/>
                    <a:pt x="443" y="650"/>
                    <a:pt x="447" y="648"/>
                  </a:cubicBezTo>
                  <a:close/>
                  <a:moveTo>
                    <a:pt x="423" y="799"/>
                  </a:moveTo>
                  <a:cubicBezTo>
                    <a:pt x="418" y="798"/>
                    <a:pt x="410" y="807"/>
                    <a:pt x="410" y="792"/>
                  </a:cubicBezTo>
                  <a:cubicBezTo>
                    <a:pt x="404" y="793"/>
                    <a:pt x="401" y="791"/>
                    <a:pt x="402" y="784"/>
                  </a:cubicBezTo>
                  <a:cubicBezTo>
                    <a:pt x="399" y="784"/>
                    <a:pt x="400" y="789"/>
                    <a:pt x="399" y="792"/>
                  </a:cubicBezTo>
                  <a:cubicBezTo>
                    <a:pt x="392" y="787"/>
                    <a:pt x="399" y="772"/>
                    <a:pt x="407" y="777"/>
                  </a:cubicBezTo>
                  <a:cubicBezTo>
                    <a:pt x="407" y="782"/>
                    <a:pt x="407" y="787"/>
                    <a:pt x="410" y="788"/>
                  </a:cubicBezTo>
                  <a:cubicBezTo>
                    <a:pt x="416" y="783"/>
                    <a:pt x="408" y="780"/>
                    <a:pt x="412" y="773"/>
                  </a:cubicBezTo>
                  <a:cubicBezTo>
                    <a:pt x="415" y="770"/>
                    <a:pt x="407" y="761"/>
                    <a:pt x="410" y="751"/>
                  </a:cubicBezTo>
                  <a:cubicBezTo>
                    <a:pt x="412" y="750"/>
                    <a:pt x="412" y="753"/>
                    <a:pt x="412" y="755"/>
                  </a:cubicBezTo>
                  <a:cubicBezTo>
                    <a:pt x="413" y="759"/>
                    <a:pt x="415" y="757"/>
                    <a:pt x="415" y="755"/>
                  </a:cubicBezTo>
                  <a:cubicBezTo>
                    <a:pt x="419" y="756"/>
                    <a:pt x="417" y="764"/>
                    <a:pt x="418" y="770"/>
                  </a:cubicBezTo>
                  <a:cubicBezTo>
                    <a:pt x="419" y="774"/>
                    <a:pt x="427" y="776"/>
                    <a:pt x="423" y="784"/>
                  </a:cubicBezTo>
                  <a:cubicBezTo>
                    <a:pt x="432" y="783"/>
                    <a:pt x="435" y="781"/>
                    <a:pt x="442" y="784"/>
                  </a:cubicBezTo>
                  <a:cubicBezTo>
                    <a:pt x="439" y="789"/>
                    <a:pt x="439" y="798"/>
                    <a:pt x="437" y="803"/>
                  </a:cubicBezTo>
                  <a:cubicBezTo>
                    <a:pt x="434" y="801"/>
                    <a:pt x="425" y="806"/>
                    <a:pt x="423" y="803"/>
                  </a:cubicBezTo>
                  <a:cubicBezTo>
                    <a:pt x="423" y="803"/>
                    <a:pt x="423" y="799"/>
                    <a:pt x="423" y="799"/>
                  </a:cubicBezTo>
                  <a:close/>
                  <a:moveTo>
                    <a:pt x="388" y="792"/>
                  </a:moveTo>
                  <a:cubicBezTo>
                    <a:pt x="385" y="790"/>
                    <a:pt x="384" y="785"/>
                    <a:pt x="380" y="784"/>
                  </a:cubicBezTo>
                  <a:cubicBezTo>
                    <a:pt x="378" y="787"/>
                    <a:pt x="378" y="793"/>
                    <a:pt x="372" y="792"/>
                  </a:cubicBezTo>
                  <a:cubicBezTo>
                    <a:pt x="376" y="787"/>
                    <a:pt x="377" y="770"/>
                    <a:pt x="370" y="770"/>
                  </a:cubicBezTo>
                  <a:cubicBezTo>
                    <a:pt x="367" y="773"/>
                    <a:pt x="364" y="777"/>
                    <a:pt x="361" y="781"/>
                  </a:cubicBezTo>
                  <a:cubicBezTo>
                    <a:pt x="356" y="779"/>
                    <a:pt x="356" y="775"/>
                    <a:pt x="359" y="770"/>
                  </a:cubicBezTo>
                  <a:cubicBezTo>
                    <a:pt x="351" y="769"/>
                    <a:pt x="353" y="776"/>
                    <a:pt x="348" y="770"/>
                  </a:cubicBezTo>
                  <a:cubicBezTo>
                    <a:pt x="349" y="765"/>
                    <a:pt x="353" y="764"/>
                    <a:pt x="353" y="759"/>
                  </a:cubicBezTo>
                  <a:cubicBezTo>
                    <a:pt x="357" y="764"/>
                    <a:pt x="359" y="770"/>
                    <a:pt x="359" y="755"/>
                  </a:cubicBezTo>
                  <a:cubicBezTo>
                    <a:pt x="367" y="752"/>
                    <a:pt x="362" y="767"/>
                    <a:pt x="370" y="766"/>
                  </a:cubicBezTo>
                  <a:cubicBezTo>
                    <a:pt x="373" y="765"/>
                    <a:pt x="373" y="755"/>
                    <a:pt x="370" y="755"/>
                  </a:cubicBezTo>
                  <a:cubicBezTo>
                    <a:pt x="373" y="750"/>
                    <a:pt x="373" y="742"/>
                    <a:pt x="372" y="733"/>
                  </a:cubicBezTo>
                  <a:cubicBezTo>
                    <a:pt x="383" y="730"/>
                    <a:pt x="373" y="757"/>
                    <a:pt x="386" y="751"/>
                  </a:cubicBezTo>
                  <a:cubicBezTo>
                    <a:pt x="383" y="755"/>
                    <a:pt x="385" y="765"/>
                    <a:pt x="378" y="762"/>
                  </a:cubicBezTo>
                  <a:cubicBezTo>
                    <a:pt x="384" y="771"/>
                    <a:pt x="380" y="772"/>
                    <a:pt x="383" y="781"/>
                  </a:cubicBezTo>
                  <a:cubicBezTo>
                    <a:pt x="386" y="778"/>
                    <a:pt x="386" y="772"/>
                    <a:pt x="391" y="773"/>
                  </a:cubicBezTo>
                  <a:cubicBezTo>
                    <a:pt x="398" y="782"/>
                    <a:pt x="387" y="780"/>
                    <a:pt x="388" y="792"/>
                  </a:cubicBezTo>
                  <a:close/>
                  <a:moveTo>
                    <a:pt x="345" y="740"/>
                  </a:moveTo>
                  <a:cubicBezTo>
                    <a:pt x="346" y="740"/>
                    <a:pt x="344" y="746"/>
                    <a:pt x="343" y="744"/>
                  </a:cubicBezTo>
                  <a:cubicBezTo>
                    <a:pt x="340" y="739"/>
                    <a:pt x="339" y="743"/>
                    <a:pt x="335" y="740"/>
                  </a:cubicBezTo>
                  <a:cubicBezTo>
                    <a:pt x="334" y="740"/>
                    <a:pt x="335" y="734"/>
                    <a:pt x="335" y="733"/>
                  </a:cubicBezTo>
                  <a:cubicBezTo>
                    <a:pt x="332" y="727"/>
                    <a:pt x="326" y="732"/>
                    <a:pt x="321" y="733"/>
                  </a:cubicBezTo>
                  <a:cubicBezTo>
                    <a:pt x="321" y="723"/>
                    <a:pt x="316" y="721"/>
                    <a:pt x="321" y="714"/>
                  </a:cubicBezTo>
                  <a:cubicBezTo>
                    <a:pt x="325" y="713"/>
                    <a:pt x="322" y="723"/>
                    <a:pt x="324" y="725"/>
                  </a:cubicBezTo>
                  <a:cubicBezTo>
                    <a:pt x="327" y="729"/>
                    <a:pt x="331" y="718"/>
                    <a:pt x="335" y="721"/>
                  </a:cubicBezTo>
                  <a:cubicBezTo>
                    <a:pt x="335" y="725"/>
                    <a:pt x="335" y="729"/>
                    <a:pt x="335" y="733"/>
                  </a:cubicBezTo>
                  <a:cubicBezTo>
                    <a:pt x="341" y="731"/>
                    <a:pt x="345" y="727"/>
                    <a:pt x="353" y="729"/>
                  </a:cubicBezTo>
                  <a:cubicBezTo>
                    <a:pt x="353" y="725"/>
                    <a:pt x="348" y="726"/>
                    <a:pt x="345" y="725"/>
                  </a:cubicBezTo>
                  <a:cubicBezTo>
                    <a:pt x="349" y="720"/>
                    <a:pt x="356" y="720"/>
                    <a:pt x="356" y="710"/>
                  </a:cubicBezTo>
                  <a:cubicBezTo>
                    <a:pt x="360" y="711"/>
                    <a:pt x="357" y="721"/>
                    <a:pt x="361" y="721"/>
                  </a:cubicBezTo>
                  <a:cubicBezTo>
                    <a:pt x="356" y="729"/>
                    <a:pt x="357" y="723"/>
                    <a:pt x="359" y="736"/>
                  </a:cubicBezTo>
                  <a:cubicBezTo>
                    <a:pt x="359" y="741"/>
                    <a:pt x="358" y="746"/>
                    <a:pt x="359" y="751"/>
                  </a:cubicBezTo>
                  <a:cubicBezTo>
                    <a:pt x="356" y="751"/>
                    <a:pt x="354" y="752"/>
                    <a:pt x="353" y="755"/>
                  </a:cubicBezTo>
                  <a:cubicBezTo>
                    <a:pt x="346" y="754"/>
                    <a:pt x="357" y="748"/>
                    <a:pt x="353" y="740"/>
                  </a:cubicBezTo>
                  <a:cubicBezTo>
                    <a:pt x="358" y="727"/>
                    <a:pt x="336" y="740"/>
                    <a:pt x="345" y="740"/>
                  </a:cubicBezTo>
                  <a:close/>
                  <a:moveTo>
                    <a:pt x="332" y="747"/>
                  </a:moveTo>
                  <a:cubicBezTo>
                    <a:pt x="337" y="748"/>
                    <a:pt x="345" y="744"/>
                    <a:pt x="343" y="755"/>
                  </a:cubicBezTo>
                  <a:cubicBezTo>
                    <a:pt x="340" y="755"/>
                    <a:pt x="340" y="753"/>
                    <a:pt x="340" y="751"/>
                  </a:cubicBezTo>
                  <a:cubicBezTo>
                    <a:pt x="337" y="751"/>
                    <a:pt x="338" y="756"/>
                    <a:pt x="337" y="759"/>
                  </a:cubicBezTo>
                  <a:cubicBezTo>
                    <a:pt x="335" y="758"/>
                    <a:pt x="335" y="755"/>
                    <a:pt x="332" y="755"/>
                  </a:cubicBezTo>
                  <a:cubicBezTo>
                    <a:pt x="332" y="752"/>
                    <a:pt x="332" y="750"/>
                    <a:pt x="332" y="747"/>
                  </a:cubicBezTo>
                  <a:close/>
                  <a:moveTo>
                    <a:pt x="326" y="744"/>
                  </a:moveTo>
                  <a:cubicBezTo>
                    <a:pt x="326" y="741"/>
                    <a:pt x="326" y="739"/>
                    <a:pt x="326" y="736"/>
                  </a:cubicBezTo>
                  <a:cubicBezTo>
                    <a:pt x="328" y="736"/>
                    <a:pt x="330" y="736"/>
                    <a:pt x="332" y="736"/>
                  </a:cubicBezTo>
                  <a:cubicBezTo>
                    <a:pt x="332" y="739"/>
                    <a:pt x="332" y="741"/>
                    <a:pt x="332" y="744"/>
                  </a:cubicBezTo>
                  <a:cubicBezTo>
                    <a:pt x="330" y="744"/>
                    <a:pt x="328" y="744"/>
                    <a:pt x="326" y="744"/>
                  </a:cubicBezTo>
                  <a:close/>
                  <a:moveTo>
                    <a:pt x="297" y="607"/>
                  </a:moveTo>
                  <a:cubicBezTo>
                    <a:pt x="296" y="598"/>
                    <a:pt x="309" y="609"/>
                    <a:pt x="305" y="596"/>
                  </a:cubicBezTo>
                  <a:cubicBezTo>
                    <a:pt x="309" y="598"/>
                    <a:pt x="312" y="601"/>
                    <a:pt x="316" y="603"/>
                  </a:cubicBezTo>
                  <a:cubicBezTo>
                    <a:pt x="317" y="607"/>
                    <a:pt x="311" y="605"/>
                    <a:pt x="310" y="607"/>
                  </a:cubicBezTo>
                  <a:cubicBezTo>
                    <a:pt x="310" y="609"/>
                    <a:pt x="314" y="613"/>
                    <a:pt x="313" y="618"/>
                  </a:cubicBezTo>
                  <a:cubicBezTo>
                    <a:pt x="313" y="619"/>
                    <a:pt x="310" y="618"/>
                    <a:pt x="310" y="622"/>
                  </a:cubicBezTo>
                  <a:cubicBezTo>
                    <a:pt x="310" y="635"/>
                    <a:pt x="315" y="658"/>
                    <a:pt x="302" y="655"/>
                  </a:cubicBezTo>
                  <a:cubicBezTo>
                    <a:pt x="303" y="651"/>
                    <a:pt x="308" y="652"/>
                    <a:pt x="308" y="648"/>
                  </a:cubicBezTo>
                  <a:cubicBezTo>
                    <a:pt x="306" y="644"/>
                    <a:pt x="301" y="644"/>
                    <a:pt x="302" y="636"/>
                  </a:cubicBezTo>
                  <a:cubicBezTo>
                    <a:pt x="302" y="635"/>
                    <a:pt x="305" y="631"/>
                    <a:pt x="305" y="633"/>
                  </a:cubicBezTo>
                  <a:cubicBezTo>
                    <a:pt x="305" y="625"/>
                    <a:pt x="296" y="624"/>
                    <a:pt x="300" y="614"/>
                  </a:cubicBezTo>
                  <a:cubicBezTo>
                    <a:pt x="302" y="617"/>
                    <a:pt x="304" y="621"/>
                    <a:pt x="305" y="625"/>
                  </a:cubicBezTo>
                  <a:cubicBezTo>
                    <a:pt x="313" y="619"/>
                    <a:pt x="305" y="604"/>
                    <a:pt x="297" y="607"/>
                  </a:cubicBezTo>
                  <a:close/>
                  <a:moveTo>
                    <a:pt x="289" y="562"/>
                  </a:moveTo>
                  <a:cubicBezTo>
                    <a:pt x="284" y="562"/>
                    <a:pt x="283" y="567"/>
                    <a:pt x="278" y="566"/>
                  </a:cubicBezTo>
                  <a:cubicBezTo>
                    <a:pt x="276" y="558"/>
                    <a:pt x="286" y="554"/>
                    <a:pt x="275" y="555"/>
                  </a:cubicBezTo>
                  <a:cubicBezTo>
                    <a:pt x="279" y="541"/>
                    <a:pt x="293" y="558"/>
                    <a:pt x="286" y="537"/>
                  </a:cubicBezTo>
                  <a:cubicBezTo>
                    <a:pt x="281" y="542"/>
                    <a:pt x="280" y="540"/>
                    <a:pt x="281" y="529"/>
                  </a:cubicBezTo>
                  <a:cubicBezTo>
                    <a:pt x="276" y="529"/>
                    <a:pt x="272" y="529"/>
                    <a:pt x="267" y="529"/>
                  </a:cubicBezTo>
                  <a:cubicBezTo>
                    <a:pt x="268" y="518"/>
                    <a:pt x="277" y="524"/>
                    <a:pt x="281" y="529"/>
                  </a:cubicBezTo>
                  <a:cubicBezTo>
                    <a:pt x="287" y="528"/>
                    <a:pt x="291" y="523"/>
                    <a:pt x="300" y="525"/>
                  </a:cubicBezTo>
                  <a:cubicBezTo>
                    <a:pt x="300" y="531"/>
                    <a:pt x="284" y="531"/>
                    <a:pt x="297" y="533"/>
                  </a:cubicBezTo>
                  <a:cubicBezTo>
                    <a:pt x="291" y="548"/>
                    <a:pt x="294" y="552"/>
                    <a:pt x="292" y="570"/>
                  </a:cubicBezTo>
                  <a:cubicBezTo>
                    <a:pt x="296" y="571"/>
                    <a:pt x="297" y="567"/>
                    <a:pt x="297" y="562"/>
                  </a:cubicBezTo>
                  <a:cubicBezTo>
                    <a:pt x="300" y="562"/>
                    <a:pt x="302" y="563"/>
                    <a:pt x="302" y="566"/>
                  </a:cubicBezTo>
                  <a:cubicBezTo>
                    <a:pt x="308" y="565"/>
                    <a:pt x="303" y="550"/>
                    <a:pt x="308" y="548"/>
                  </a:cubicBezTo>
                  <a:cubicBezTo>
                    <a:pt x="313" y="548"/>
                    <a:pt x="308" y="559"/>
                    <a:pt x="310" y="562"/>
                  </a:cubicBezTo>
                  <a:cubicBezTo>
                    <a:pt x="311" y="565"/>
                    <a:pt x="313" y="560"/>
                    <a:pt x="313" y="559"/>
                  </a:cubicBezTo>
                  <a:cubicBezTo>
                    <a:pt x="313" y="558"/>
                    <a:pt x="318" y="560"/>
                    <a:pt x="316" y="562"/>
                  </a:cubicBezTo>
                  <a:cubicBezTo>
                    <a:pt x="311" y="567"/>
                    <a:pt x="319" y="566"/>
                    <a:pt x="313" y="585"/>
                  </a:cubicBezTo>
                  <a:cubicBezTo>
                    <a:pt x="316" y="582"/>
                    <a:pt x="316" y="576"/>
                    <a:pt x="321" y="577"/>
                  </a:cubicBezTo>
                  <a:cubicBezTo>
                    <a:pt x="321" y="583"/>
                    <a:pt x="321" y="590"/>
                    <a:pt x="321" y="596"/>
                  </a:cubicBezTo>
                  <a:cubicBezTo>
                    <a:pt x="318" y="596"/>
                    <a:pt x="319" y="591"/>
                    <a:pt x="318" y="588"/>
                  </a:cubicBezTo>
                  <a:cubicBezTo>
                    <a:pt x="315" y="588"/>
                    <a:pt x="314" y="589"/>
                    <a:pt x="313" y="592"/>
                  </a:cubicBezTo>
                  <a:cubicBezTo>
                    <a:pt x="311" y="588"/>
                    <a:pt x="301" y="577"/>
                    <a:pt x="300" y="585"/>
                  </a:cubicBezTo>
                  <a:cubicBezTo>
                    <a:pt x="291" y="581"/>
                    <a:pt x="303" y="577"/>
                    <a:pt x="302" y="574"/>
                  </a:cubicBezTo>
                  <a:cubicBezTo>
                    <a:pt x="300" y="568"/>
                    <a:pt x="281" y="577"/>
                    <a:pt x="289" y="562"/>
                  </a:cubicBezTo>
                  <a:close/>
                  <a:moveTo>
                    <a:pt x="292" y="625"/>
                  </a:moveTo>
                  <a:cubicBezTo>
                    <a:pt x="284" y="626"/>
                    <a:pt x="285" y="615"/>
                    <a:pt x="281" y="611"/>
                  </a:cubicBezTo>
                  <a:cubicBezTo>
                    <a:pt x="277" y="615"/>
                    <a:pt x="274" y="615"/>
                    <a:pt x="270" y="611"/>
                  </a:cubicBezTo>
                  <a:cubicBezTo>
                    <a:pt x="270" y="606"/>
                    <a:pt x="270" y="601"/>
                    <a:pt x="270" y="596"/>
                  </a:cubicBezTo>
                  <a:cubicBezTo>
                    <a:pt x="270" y="591"/>
                    <a:pt x="273" y="588"/>
                    <a:pt x="273" y="585"/>
                  </a:cubicBezTo>
                  <a:cubicBezTo>
                    <a:pt x="272" y="579"/>
                    <a:pt x="268" y="575"/>
                    <a:pt x="267" y="570"/>
                  </a:cubicBezTo>
                  <a:cubicBezTo>
                    <a:pt x="267" y="560"/>
                    <a:pt x="271" y="550"/>
                    <a:pt x="267" y="537"/>
                  </a:cubicBezTo>
                  <a:cubicBezTo>
                    <a:pt x="270" y="538"/>
                    <a:pt x="272" y="540"/>
                    <a:pt x="273" y="544"/>
                  </a:cubicBezTo>
                  <a:cubicBezTo>
                    <a:pt x="272" y="543"/>
                    <a:pt x="269" y="546"/>
                    <a:pt x="270" y="548"/>
                  </a:cubicBezTo>
                  <a:cubicBezTo>
                    <a:pt x="272" y="550"/>
                    <a:pt x="274" y="557"/>
                    <a:pt x="273" y="574"/>
                  </a:cubicBezTo>
                  <a:cubicBezTo>
                    <a:pt x="273" y="578"/>
                    <a:pt x="275" y="576"/>
                    <a:pt x="275" y="574"/>
                  </a:cubicBezTo>
                  <a:cubicBezTo>
                    <a:pt x="283" y="571"/>
                    <a:pt x="273" y="591"/>
                    <a:pt x="281" y="588"/>
                  </a:cubicBezTo>
                  <a:cubicBezTo>
                    <a:pt x="280" y="597"/>
                    <a:pt x="280" y="606"/>
                    <a:pt x="283" y="611"/>
                  </a:cubicBezTo>
                  <a:cubicBezTo>
                    <a:pt x="287" y="609"/>
                    <a:pt x="286" y="601"/>
                    <a:pt x="286" y="596"/>
                  </a:cubicBezTo>
                  <a:cubicBezTo>
                    <a:pt x="289" y="598"/>
                    <a:pt x="289" y="604"/>
                    <a:pt x="294" y="603"/>
                  </a:cubicBezTo>
                  <a:cubicBezTo>
                    <a:pt x="294" y="612"/>
                    <a:pt x="290" y="614"/>
                    <a:pt x="292" y="625"/>
                  </a:cubicBezTo>
                  <a:close/>
                  <a:moveTo>
                    <a:pt x="283" y="644"/>
                  </a:moveTo>
                  <a:cubicBezTo>
                    <a:pt x="283" y="648"/>
                    <a:pt x="278" y="646"/>
                    <a:pt x="278" y="651"/>
                  </a:cubicBezTo>
                  <a:cubicBezTo>
                    <a:pt x="275" y="651"/>
                    <a:pt x="277" y="648"/>
                    <a:pt x="278" y="648"/>
                  </a:cubicBezTo>
                  <a:cubicBezTo>
                    <a:pt x="274" y="637"/>
                    <a:pt x="276" y="643"/>
                    <a:pt x="283" y="644"/>
                  </a:cubicBezTo>
                  <a:close/>
                  <a:moveTo>
                    <a:pt x="270" y="618"/>
                  </a:moveTo>
                  <a:cubicBezTo>
                    <a:pt x="274" y="617"/>
                    <a:pt x="275" y="621"/>
                    <a:pt x="278" y="622"/>
                  </a:cubicBezTo>
                  <a:cubicBezTo>
                    <a:pt x="279" y="629"/>
                    <a:pt x="266" y="627"/>
                    <a:pt x="270" y="618"/>
                  </a:cubicBezTo>
                  <a:close/>
                  <a:moveTo>
                    <a:pt x="273" y="636"/>
                  </a:moveTo>
                  <a:cubicBezTo>
                    <a:pt x="273" y="635"/>
                    <a:pt x="270" y="648"/>
                    <a:pt x="270" y="648"/>
                  </a:cubicBezTo>
                  <a:cubicBezTo>
                    <a:pt x="268" y="650"/>
                    <a:pt x="269" y="635"/>
                    <a:pt x="267" y="629"/>
                  </a:cubicBezTo>
                  <a:cubicBezTo>
                    <a:pt x="272" y="628"/>
                    <a:pt x="273" y="632"/>
                    <a:pt x="273" y="636"/>
                  </a:cubicBezTo>
                  <a:close/>
                  <a:moveTo>
                    <a:pt x="232" y="470"/>
                  </a:moveTo>
                  <a:cubicBezTo>
                    <a:pt x="227" y="469"/>
                    <a:pt x="230" y="456"/>
                    <a:pt x="224" y="455"/>
                  </a:cubicBezTo>
                  <a:cubicBezTo>
                    <a:pt x="216" y="446"/>
                    <a:pt x="232" y="459"/>
                    <a:pt x="230" y="452"/>
                  </a:cubicBezTo>
                  <a:cubicBezTo>
                    <a:pt x="235" y="451"/>
                    <a:pt x="231" y="465"/>
                    <a:pt x="232" y="470"/>
                  </a:cubicBezTo>
                  <a:close/>
                  <a:moveTo>
                    <a:pt x="232" y="581"/>
                  </a:moveTo>
                  <a:cubicBezTo>
                    <a:pt x="228" y="578"/>
                    <a:pt x="229" y="569"/>
                    <a:pt x="227" y="562"/>
                  </a:cubicBezTo>
                  <a:cubicBezTo>
                    <a:pt x="233" y="563"/>
                    <a:pt x="233" y="572"/>
                    <a:pt x="232" y="581"/>
                  </a:cubicBezTo>
                  <a:close/>
                  <a:moveTo>
                    <a:pt x="214" y="751"/>
                  </a:moveTo>
                  <a:cubicBezTo>
                    <a:pt x="213" y="741"/>
                    <a:pt x="215" y="735"/>
                    <a:pt x="222" y="736"/>
                  </a:cubicBezTo>
                  <a:cubicBezTo>
                    <a:pt x="222" y="746"/>
                    <a:pt x="221" y="752"/>
                    <a:pt x="214" y="751"/>
                  </a:cubicBezTo>
                  <a:close/>
                  <a:moveTo>
                    <a:pt x="219" y="766"/>
                  </a:moveTo>
                  <a:cubicBezTo>
                    <a:pt x="218" y="767"/>
                    <a:pt x="216" y="757"/>
                    <a:pt x="214" y="759"/>
                  </a:cubicBezTo>
                  <a:cubicBezTo>
                    <a:pt x="218" y="746"/>
                    <a:pt x="221" y="763"/>
                    <a:pt x="219" y="766"/>
                  </a:cubicBezTo>
                  <a:close/>
                  <a:moveTo>
                    <a:pt x="224" y="537"/>
                  </a:moveTo>
                  <a:cubicBezTo>
                    <a:pt x="223" y="538"/>
                    <a:pt x="221" y="527"/>
                    <a:pt x="219" y="529"/>
                  </a:cubicBezTo>
                  <a:cubicBezTo>
                    <a:pt x="224" y="517"/>
                    <a:pt x="226" y="534"/>
                    <a:pt x="224" y="537"/>
                  </a:cubicBezTo>
                  <a:close/>
                  <a:moveTo>
                    <a:pt x="224" y="381"/>
                  </a:moveTo>
                  <a:cubicBezTo>
                    <a:pt x="224" y="378"/>
                    <a:pt x="224" y="374"/>
                    <a:pt x="224" y="370"/>
                  </a:cubicBezTo>
                  <a:cubicBezTo>
                    <a:pt x="232" y="365"/>
                    <a:pt x="232" y="387"/>
                    <a:pt x="224" y="381"/>
                  </a:cubicBezTo>
                  <a:close/>
                  <a:moveTo>
                    <a:pt x="230" y="392"/>
                  </a:moveTo>
                  <a:cubicBezTo>
                    <a:pt x="220" y="384"/>
                    <a:pt x="242" y="388"/>
                    <a:pt x="235" y="370"/>
                  </a:cubicBezTo>
                  <a:cubicBezTo>
                    <a:pt x="237" y="372"/>
                    <a:pt x="239" y="374"/>
                    <a:pt x="243" y="374"/>
                  </a:cubicBezTo>
                  <a:cubicBezTo>
                    <a:pt x="240" y="378"/>
                    <a:pt x="235" y="381"/>
                    <a:pt x="238" y="392"/>
                  </a:cubicBezTo>
                  <a:cubicBezTo>
                    <a:pt x="233" y="393"/>
                    <a:pt x="231" y="386"/>
                    <a:pt x="230" y="392"/>
                  </a:cubicBezTo>
                  <a:close/>
                  <a:moveTo>
                    <a:pt x="249" y="433"/>
                  </a:moveTo>
                  <a:cubicBezTo>
                    <a:pt x="248" y="437"/>
                    <a:pt x="245" y="436"/>
                    <a:pt x="243" y="437"/>
                  </a:cubicBezTo>
                  <a:cubicBezTo>
                    <a:pt x="240" y="432"/>
                    <a:pt x="242" y="431"/>
                    <a:pt x="243" y="426"/>
                  </a:cubicBezTo>
                  <a:cubicBezTo>
                    <a:pt x="246" y="427"/>
                    <a:pt x="245" y="433"/>
                    <a:pt x="249" y="433"/>
                  </a:cubicBezTo>
                  <a:close/>
                  <a:moveTo>
                    <a:pt x="235" y="477"/>
                  </a:moveTo>
                  <a:cubicBezTo>
                    <a:pt x="239" y="478"/>
                    <a:pt x="236" y="488"/>
                    <a:pt x="240" y="489"/>
                  </a:cubicBezTo>
                  <a:cubicBezTo>
                    <a:pt x="237" y="500"/>
                    <a:pt x="233" y="485"/>
                    <a:pt x="235" y="477"/>
                  </a:cubicBezTo>
                  <a:close/>
                  <a:moveTo>
                    <a:pt x="238" y="466"/>
                  </a:moveTo>
                  <a:cubicBezTo>
                    <a:pt x="238" y="456"/>
                    <a:pt x="252" y="459"/>
                    <a:pt x="251" y="470"/>
                  </a:cubicBezTo>
                  <a:cubicBezTo>
                    <a:pt x="246" y="462"/>
                    <a:pt x="243" y="473"/>
                    <a:pt x="238" y="466"/>
                  </a:cubicBezTo>
                  <a:close/>
                  <a:moveTo>
                    <a:pt x="254" y="533"/>
                  </a:moveTo>
                  <a:cubicBezTo>
                    <a:pt x="248" y="545"/>
                    <a:pt x="243" y="520"/>
                    <a:pt x="254" y="533"/>
                  </a:cubicBezTo>
                  <a:close/>
                  <a:moveTo>
                    <a:pt x="246" y="448"/>
                  </a:moveTo>
                  <a:cubicBezTo>
                    <a:pt x="246" y="444"/>
                    <a:pt x="251" y="445"/>
                    <a:pt x="254" y="444"/>
                  </a:cubicBezTo>
                  <a:cubicBezTo>
                    <a:pt x="256" y="448"/>
                    <a:pt x="257" y="454"/>
                    <a:pt x="257" y="463"/>
                  </a:cubicBezTo>
                  <a:cubicBezTo>
                    <a:pt x="252" y="459"/>
                    <a:pt x="252" y="449"/>
                    <a:pt x="246" y="448"/>
                  </a:cubicBezTo>
                  <a:close/>
                  <a:moveTo>
                    <a:pt x="254" y="437"/>
                  </a:moveTo>
                  <a:cubicBezTo>
                    <a:pt x="254" y="434"/>
                    <a:pt x="253" y="433"/>
                    <a:pt x="251" y="433"/>
                  </a:cubicBezTo>
                  <a:cubicBezTo>
                    <a:pt x="251" y="429"/>
                    <a:pt x="254" y="430"/>
                    <a:pt x="257" y="429"/>
                  </a:cubicBezTo>
                  <a:cubicBezTo>
                    <a:pt x="255" y="426"/>
                    <a:pt x="254" y="423"/>
                    <a:pt x="251" y="422"/>
                  </a:cubicBezTo>
                  <a:cubicBezTo>
                    <a:pt x="252" y="418"/>
                    <a:pt x="256" y="419"/>
                    <a:pt x="259" y="418"/>
                  </a:cubicBezTo>
                  <a:cubicBezTo>
                    <a:pt x="259" y="424"/>
                    <a:pt x="259" y="431"/>
                    <a:pt x="259" y="437"/>
                  </a:cubicBezTo>
                  <a:cubicBezTo>
                    <a:pt x="257" y="437"/>
                    <a:pt x="256" y="437"/>
                    <a:pt x="254" y="437"/>
                  </a:cubicBezTo>
                  <a:close/>
                  <a:moveTo>
                    <a:pt x="259" y="359"/>
                  </a:moveTo>
                  <a:cubicBezTo>
                    <a:pt x="251" y="360"/>
                    <a:pt x="254" y="347"/>
                    <a:pt x="251" y="341"/>
                  </a:cubicBezTo>
                  <a:cubicBezTo>
                    <a:pt x="254" y="346"/>
                    <a:pt x="259" y="350"/>
                    <a:pt x="259" y="359"/>
                  </a:cubicBezTo>
                  <a:close/>
                  <a:moveTo>
                    <a:pt x="254" y="329"/>
                  </a:moveTo>
                  <a:cubicBezTo>
                    <a:pt x="253" y="320"/>
                    <a:pt x="258" y="318"/>
                    <a:pt x="259" y="311"/>
                  </a:cubicBezTo>
                  <a:cubicBezTo>
                    <a:pt x="264" y="312"/>
                    <a:pt x="260" y="332"/>
                    <a:pt x="254" y="329"/>
                  </a:cubicBezTo>
                  <a:close/>
                  <a:moveTo>
                    <a:pt x="259" y="448"/>
                  </a:moveTo>
                  <a:cubicBezTo>
                    <a:pt x="267" y="434"/>
                    <a:pt x="268" y="459"/>
                    <a:pt x="259" y="448"/>
                  </a:cubicBezTo>
                  <a:close/>
                  <a:moveTo>
                    <a:pt x="265" y="437"/>
                  </a:moveTo>
                  <a:cubicBezTo>
                    <a:pt x="264" y="432"/>
                    <a:pt x="265" y="430"/>
                    <a:pt x="267" y="429"/>
                  </a:cubicBezTo>
                  <a:cubicBezTo>
                    <a:pt x="259" y="417"/>
                    <a:pt x="276" y="429"/>
                    <a:pt x="267" y="418"/>
                  </a:cubicBezTo>
                  <a:cubicBezTo>
                    <a:pt x="270" y="407"/>
                    <a:pt x="275" y="422"/>
                    <a:pt x="278" y="422"/>
                  </a:cubicBezTo>
                  <a:cubicBezTo>
                    <a:pt x="279" y="429"/>
                    <a:pt x="263" y="430"/>
                    <a:pt x="273" y="437"/>
                  </a:cubicBezTo>
                  <a:cubicBezTo>
                    <a:pt x="272" y="442"/>
                    <a:pt x="269" y="435"/>
                    <a:pt x="265" y="437"/>
                  </a:cubicBezTo>
                  <a:close/>
                  <a:moveTo>
                    <a:pt x="294" y="270"/>
                  </a:moveTo>
                  <a:cubicBezTo>
                    <a:pt x="289" y="267"/>
                    <a:pt x="293" y="246"/>
                    <a:pt x="300" y="248"/>
                  </a:cubicBezTo>
                  <a:cubicBezTo>
                    <a:pt x="298" y="256"/>
                    <a:pt x="293" y="259"/>
                    <a:pt x="294" y="270"/>
                  </a:cubicBezTo>
                  <a:close/>
                  <a:moveTo>
                    <a:pt x="294" y="296"/>
                  </a:moveTo>
                  <a:cubicBezTo>
                    <a:pt x="292" y="296"/>
                    <a:pt x="289" y="296"/>
                    <a:pt x="286" y="296"/>
                  </a:cubicBezTo>
                  <a:cubicBezTo>
                    <a:pt x="286" y="294"/>
                    <a:pt x="286" y="291"/>
                    <a:pt x="286" y="289"/>
                  </a:cubicBezTo>
                  <a:cubicBezTo>
                    <a:pt x="292" y="288"/>
                    <a:pt x="295" y="290"/>
                    <a:pt x="294" y="296"/>
                  </a:cubicBezTo>
                  <a:close/>
                  <a:moveTo>
                    <a:pt x="294" y="333"/>
                  </a:moveTo>
                  <a:cubicBezTo>
                    <a:pt x="291" y="332"/>
                    <a:pt x="292" y="324"/>
                    <a:pt x="292" y="318"/>
                  </a:cubicBezTo>
                  <a:cubicBezTo>
                    <a:pt x="302" y="317"/>
                    <a:pt x="293" y="326"/>
                    <a:pt x="294" y="333"/>
                  </a:cubicBezTo>
                  <a:close/>
                  <a:moveTo>
                    <a:pt x="294" y="389"/>
                  </a:moveTo>
                  <a:cubicBezTo>
                    <a:pt x="297" y="390"/>
                    <a:pt x="296" y="396"/>
                    <a:pt x="300" y="396"/>
                  </a:cubicBezTo>
                  <a:cubicBezTo>
                    <a:pt x="297" y="401"/>
                    <a:pt x="292" y="403"/>
                    <a:pt x="292" y="411"/>
                  </a:cubicBezTo>
                  <a:cubicBezTo>
                    <a:pt x="284" y="406"/>
                    <a:pt x="296" y="398"/>
                    <a:pt x="294" y="389"/>
                  </a:cubicBezTo>
                  <a:close/>
                  <a:moveTo>
                    <a:pt x="343" y="248"/>
                  </a:moveTo>
                  <a:cubicBezTo>
                    <a:pt x="347" y="242"/>
                    <a:pt x="351" y="250"/>
                    <a:pt x="361" y="244"/>
                  </a:cubicBezTo>
                  <a:cubicBezTo>
                    <a:pt x="365" y="249"/>
                    <a:pt x="364" y="257"/>
                    <a:pt x="364" y="267"/>
                  </a:cubicBezTo>
                  <a:cubicBezTo>
                    <a:pt x="355" y="262"/>
                    <a:pt x="362" y="279"/>
                    <a:pt x="353" y="274"/>
                  </a:cubicBezTo>
                  <a:cubicBezTo>
                    <a:pt x="351" y="261"/>
                    <a:pt x="356" y="258"/>
                    <a:pt x="361" y="255"/>
                  </a:cubicBezTo>
                  <a:cubicBezTo>
                    <a:pt x="359" y="240"/>
                    <a:pt x="348" y="259"/>
                    <a:pt x="343" y="248"/>
                  </a:cubicBezTo>
                  <a:close/>
                  <a:moveTo>
                    <a:pt x="348" y="300"/>
                  </a:moveTo>
                  <a:cubicBezTo>
                    <a:pt x="344" y="297"/>
                    <a:pt x="338" y="297"/>
                    <a:pt x="340" y="285"/>
                  </a:cubicBezTo>
                  <a:cubicBezTo>
                    <a:pt x="342" y="284"/>
                    <a:pt x="342" y="286"/>
                    <a:pt x="343" y="289"/>
                  </a:cubicBezTo>
                  <a:cubicBezTo>
                    <a:pt x="344" y="293"/>
                    <a:pt x="349" y="293"/>
                    <a:pt x="348" y="300"/>
                  </a:cubicBezTo>
                  <a:close/>
                  <a:moveTo>
                    <a:pt x="383" y="263"/>
                  </a:moveTo>
                  <a:cubicBezTo>
                    <a:pt x="388" y="264"/>
                    <a:pt x="388" y="273"/>
                    <a:pt x="394" y="274"/>
                  </a:cubicBezTo>
                  <a:cubicBezTo>
                    <a:pt x="393" y="279"/>
                    <a:pt x="388" y="278"/>
                    <a:pt x="388" y="274"/>
                  </a:cubicBezTo>
                  <a:cubicBezTo>
                    <a:pt x="386" y="274"/>
                    <a:pt x="386" y="279"/>
                    <a:pt x="386" y="281"/>
                  </a:cubicBezTo>
                  <a:cubicBezTo>
                    <a:pt x="377" y="278"/>
                    <a:pt x="384" y="274"/>
                    <a:pt x="383" y="263"/>
                  </a:cubicBezTo>
                  <a:close/>
                  <a:moveTo>
                    <a:pt x="386" y="333"/>
                  </a:moveTo>
                  <a:cubicBezTo>
                    <a:pt x="381" y="330"/>
                    <a:pt x="379" y="320"/>
                    <a:pt x="383" y="315"/>
                  </a:cubicBezTo>
                  <a:cubicBezTo>
                    <a:pt x="389" y="314"/>
                    <a:pt x="384" y="328"/>
                    <a:pt x="386" y="333"/>
                  </a:cubicBezTo>
                  <a:close/>
                  <a:moveTo>
                    <a:pt x="386" y="307"/>
                  </a:moveTo>
                  <a:cubicBezTo>
                    <a:pt x="378" y="299"/>
                    <a:pt x="384" y="297"/>
                    <a:pt x="380" y="285"/>
                  </a:cubicBezTo>
                  <a:cubicBezTo>
                    <a:pt x="387" y="285"/>
                    <a:pt x="386" y="297"/>
                    <a:pt x="386" y="307"/>
                  </a:cubicBezTo>
                  <a:close/>
                  <a:moveTo>
                    <a:pt x="388" y="489"/>
                  </a:moveTo>
                  <a:cubicBezTo>
                    <a:pt x="389" y="489"/>
                    <a:pt x="388" y="496"/>
                    <a:pt x="388" y="496"/>
                  </a:cubicBezTo>
                  <a:cubicBezTo>
                    <a:pt x="390" y="496"/>
                    <a:pt x="393" y="491"/>
                    <a:pt x="394" y="489"/>
                  </a:cubicBezTo>
                  <a:cubicBezTo>
                    <a:pt x="395" y="487"/>
                    <a:pt x="397" y="495"/>
                    <a:pt x="396" y="496"/>
                  </a:cubicBezTo>
                  <a:cubicBezTo>
                    <a:pt x="396" y="497"/>
                    <a:pt x="391" y="495"/>
                    <a:pt x="391" y="496"/>
                  </a:cubicBezTo>
                  <a:cubicBezTo>
                    <a:pt x="389" y="502"/>
                    <a:pt x="392" y="510"/>
                    <a:pt x="383" y="511"/>
                  </a:cubicBezTo>
                  <a:cubicBezTo>
                    <a:pt x="379" y="520"/>
                    <a:pt x="389" y="519"/>
                    <a:pt x="391" y="522"/>
                  </a:cubicBezTo>
                  <a:cubicBezTo>
                    <a:pt x="393" y="526"/>
                    <a:pt x="389" y="536"/>
                    <a:pt x="396" y="533"/>
                  </a:cubicBezTo>
                  <a:cubicBezTo>
                    <a:pt x="398" y="544"/>
                    <a:pt x="391" y="545"/>
                    <a:pt x="383" y="544"/>
                  </a:cubicBezTo>
                  <a:cubicBezTo>
                    <a:pt x="381" y="537"/>
                    <a:pt x="386" y="534"/>
                    <a:pt x="386" y="529"/>
                  </a:cubicBezTo>
                  <a:cubicBezTo>
                    <a:pt x="384" y="522"/>
                    <a:pt x="380" y="526"/>
                    <a:pt x="378" y="522"/>
                  </a:cubicBezTo>
                  <a:cubicBezTo>
                    <a:pt x="376" y="519"/>
                    <a:pt x="380" y="513"/>
                    <a:pt x="380" y="514"/>
                  </a:cubicBezTo>
                  <a:cubicBezTo>
                    <a:pt x="375" y="506"/>
                    <a:pt x="375" y="505"/>
                    <a:pt x="367" y="507"/>
                  </a:cubicBezTo>
                  <a:cubicBezTo>
                    <a:pt x="366" y="499"/>
                    <a:pt x="369" y="497"/>
                    <a:pt x="370" y="492"/>
                  </a:cubicBezTo>
                  <a:cubicBezTo>
                    <a:pt x="375" y="493"/>
                    <a:pt x="371" y="504"/>
                    <a:pt x="378" y="503"/>
                  </a:cubicBezTo>
                  <a:cubicBezTo>
                    <a:pt x="380" y="504"/>
                    <a:pt x="380" y="502"/>
                    <a:pt x="380" y="500"/>
                  </a:cubicBezTo>
                  <a:cubicBezTo>
                    <a:pt x="380" y="496"/>
                    <a:pt x="377" y="497"/>
                    <a:pt x="375" y="496"/>
                  </a:cubicBezTo>
                  <a:cubicBezTo>
                    <a:pt x="374" y="492"/>
                    <a:pt x="376" y="488"/>
                    <a:pt x="378" y="489"/>
                  </a:cubicBezTo>
                  <a:cubicBezTo>
                    <a:pt x="378" y="489"/>
                    <a:pt x="380" y="496"/>
                    <a:pt x="380" y="496"/>
                  </a:cubicBezTo>
                  <a:cubicBezTo>
                    <a:pt x="381" y="496"/>
                    <a:pt x="385" y="484"/>
                    <a:pt x="388" y="489"/>
                  </a:cubicBezTo>
                  <a:close/>
                  <a:moveTo>
                    <a:pt x="404" y="296"/>
                  </a:moveTo>
                  <a:cubicBezTo>
                    <a:pt x="406" y="299"/>
                    <a:pt x="394" y="307"/>
                    <a:pt x="396" y="300"/>
                  </a:cubicBezTo>
                  <a:cubicBezTo>
                    <a:pt x="397" y="299"/>
                    <a:pt x="402" y="293"/>
                    <a:pt x="404" y="296"/>
                  </a:cubicBezTo>
                  <a:close/>
                  <a:moveTo>
                    <a:pt x="396" y="278"/>
                  </a:moveTo>
                  <a:cubicBezTo>
                    <a:pt x="397" y="275"/>
                    <a:pt x="399" y="274"/>
                    <a:pt x="399" y="270"/>
                  </a:cubicBezTo>
                  <a:cubicBezTo>
                    <a:pt x="401" y="271"/>
                    <a:pt x="402" y="274"/>
                    <a:pt x="404" y="274"/>
                  </a:cubicBezTo>
                  <a:cubicBezTo>
                    <a:pt x="404" y="277"/>
                    <a:pt x="402" y="278"/>
                    <a:pt x="402" y="281"/>
                  </a:cubicBezTo>
                  <a:cubicBezTo>
                    <a:pt x="400" y="281"/>
                    <a:pt x="399" y="278"/>
                    <a:pt x="396" y="278"/>
                  </a:cubicBezTo>
                  <a:close/>
                  <a:moveTo>
                    <a:pt x="421" y="525"/>
                  </a:moveTo>
                  <a:cubicBezTo>
                    <a:pt x="422" y="534"/>
                    <a:pt x="416" y="534"/>
                    <a:pt x="418" y="544"/>
                  </a:cubicBezTo>
                  <a:cubicBezTo>
                    <a:pt x="412" y="539"/>
                    <a:pt x="410" y="546"/>
                    <a:pt x="402" y="540"/>
                  </a:cubicBezTo>
                  <a:cubicBezTo>
                    <a:pt x="404" y="537"/>
                    <a:pt x="405" y="532"/>
                    <a:pt x="404" y="525"/>
                  </a:cubicBezTo>
                  <a:cubicBezTo>
                    <a:pt x="410" y="528"/>
                    <a:pt x="410" y="531"/>
                    <a:pt x="407" y="537"/>
                  </a:cubicBezTo>
                  <a:cubicBezTo>
                    <a:pt x="419" y="543"/>
                    <a:pt x="411" y="522"/>
                    <a:pt x="421" y="525"/>
                  </a:cubicBezTo>
                  <a:close/>
                  <a:moveTo>
                    <a:pt x="410" y="285"/>
                  </a:moveTo>
                  <a:cubicBezTo>
                    <a:pt x="422" y="287"/>
                    <a:pt x="407" y="307"/>
                    <a:pt x="410" y="285"/>
                  </a:cubicBezTo>
                  <a:close/>
                  <a:moveTo>
                    <a:pt x="412" y="281"/>
                  </a:moveTo>
                  <a:cubicBezTo>
                    <a:pt x="412" y="279"/>
                    <a:pt x="412" y="276"/>
                    <a:pt x="412" y="274"/>
                  </a:cubicBezTo>
                  <a:cubicBezTo>
                    <a:pt x="414" y="274"/>
                    <a:pt x="416" y="274"/>
                    <a:pt x="418" y="274"/>
                  </a:cubicBezTo>
                  <a:cubicBezTo>
                    <a:pt x="418" y="276"/>
                    <a:pt x="418" y="279"/>
                    <a:pt x="418" y="281"/>
                  </a:cubicBezTo>
                  <a:cubicBezTo>
                    <a:pt x="416" y="281"/>
                    <a:pt x="414" y="281"/>
                    <a:pt x="412" y="281"/>
                  </a:cubicBezTo>
                  <a:close/>
                  <a:moveTo>
                    <a:pt x="396" y="500"/>
                  </a:moveTo>
                  <a:cubicBezTo>
                    <a:pt x="403" y="501"/>
                    <a:pt x="403" y="509"/>
                    <a:pt x="399" y="514"/>
                  </a:cubicBezTo>
                  <a:cubicBezTo>
                    <a:pt x="395" y="513"/>
                    <a:pt x="397" y="505"/>
                    <a:pt x="396" y="500"/>
                  </a:cubicBezTo>
                  <a:close/>
                  <a:moveTo>
                    <a:pt x="351" y="489"/>
                  </a:moveTo>
                  <a:cubicBezTo>
                    <a:pt x="352" y="483"/>
                    <a:pt x="356" y="482"/>
                    <a:pt x="361" y="481"/>
                  </a:cubicBezTo>
                  <a:cubicBezTo>
                    <a:pt x="363" y="490"/>
                    <a:pt x="368" y="509"/>
                    <a:pt x="356" y="507"/>
                  </a:cubicBezTo>
                  <a:cubicBezTo>
                    <a:pt x="356" y="503"/>
                    <a:pt x="356" y="500"/>
                    <a:pt x="356" y="496"/>
                  </a:cubicBezTo>
                  <a:cubicBezTo>
                    <a:pt x="359" y="496"/>
                    <a:pt x="358" y="500"/>
                    <a:pt x="359" y="503"/>
                  </a:cubicBezTo>
                  <a:cubicBezTo>
                    <a:pt x="367" y="498"/>
                    <a:pt x="357" y="487"/>
                    <a:pt x="351" y="489"/>
                  </a:cubicBezTo>
                  <a:close/>
                  <a:moveTo>
                    <a:pt x="364" y="285"/>
                  </a:moveTo>
                  <a:cubicBezTo>
                    <a:pt x="363" y="279"/>
                    <a:pt x="379" y="280"/>
                    <a:pt x="372" y="289"/>
                  </a:cubicBezTo>
                  <a:cubicBezTo>
                    <a:pt x="373" y="287"/>
                    <a:pt x="364" y="285"/>
                    <a:pt x="364" y="285"/>
                  </a:cubicBezTo>
                  <a:close/>
                  <a:moveTo>
                    <a:pt x="372" y="296"/>
                  </a:moveTo>
                  <a:cubicBezTo>
                    <a:pt x="372" y="303"/>
                    <a:pt x="375" y="304"/>
                    <a:pt x="375" y="311"/>
                  </a:cubicBezTo>
                  <a:cubicBezTo>
                    <a:pt x="372" y="311"/>
                    <a:pt x="373" y="306"/>
                    <a:pt x="372" y="304"/>
                  </a:cubicBezTo>
                  <a:cubicBezTo>
                    <a:pt x="370" y="303"/>
                    <a:pt x="370" y="305"/>
                    <a:pt x="370" y="307"/>
                  </a:cubicBezTo>
                  <a:cubicBezTo>
                    <a:pt x="368" y="314"/>
                    <a:pt x="365" y="303"/>
                    <a:pt x="370" y="304"/>
                  </a:cubicBezTo>
                  <a:cubicBezTo>
                    <a:pt x="371" y="295"/>
                    <a:pt x="357" y="306"/>
                    <a:pt x="361" y="292"/>
                  </a:cubicBezTo>
                  <a:cubicBezTo>
                    <a:pt x="364" y="295"/>
                    <a:pt x="367" y="296"/>
                    <a:pt x="372" y="296"/>
                  </a:cubicBezTo>
                  <a:close/>
                  <a:moveTo>
                    <a:pt x="375" y="533"/>
                  </a:moveTo>
                  <a:cubicBezTo>
                    <a:pt x="367" y="548"/>
                    <a:pt x="368" y="521"/>
                    <a:pt x="361" y="522"/>
                  </a:cubicBezTo>
                  <a:cubicBezTo>
                    <a:pt x="363" y="511"/>
                    <a:pt x="367" y="525"/>
                    <a:pt x="372" y="522"/>
                  </a:cubicBezTo>
                  <a:cubicBezTo>
                    <a:pt x="372" y="527"/>
                    <a:pt x="372" y="532"/>
                    <a:pt x="375" y="533"/>
                  </a:cubicBezTo>
                  <a:close/>
                  <a:moveTo>
                    <a:pt x="364" y="474"/>
                  </a:moveTo>
                  <a:cubicBezTo>
                    <a:pt x="361" y="473"/>
                    <a:pt x="362" y="467"/>
                    <a:pt x="361" y="463"/>
                  </a:cubicBezTo>
                  <a:cubicBezTo>
                    <a:pt x="366" y="461"/>
                    <a:pt x="367" y="465"/>
                    <a:pt x="367" y="470"/>
                  </a:cubicBezTo>
                  <a:cubicBezTo>
                    <a:pt x="365" y="469"/>
                    <a:pt x="364" y="471"/>
                    <a:pt x="364" y="474"/>
                  </a:cubicBezTo>
                  <a:close/>
                  <a:moveTo>
                    <a:pt x="364" y="344"/>
                  </a:moveTo>
                  <a:cubicBezTo>
                    <a:pt x="363" y="336"/>
                    <a:pt x="369" y="339"/>
                    <a:pt x="370" y="333"/>
                  </a:cubicBezTo>
                  <a:cubicBezTo>
                    <a:pt x="373" y="334"/>
                    <a:pt x="372" y="340"/>
                    <a:pt x="372" y="344"/>
                  </a:cubicBezTo>
                  <a:cubicBezTo>
                    <a:pt x="370" y="344"/>
                    <a:pt x="367" y="344"/>
                    <a:pt x="364" y="344"/>
                  </a:cubicBezTo>
                  <a:close/>
                  <a:moveTo>
                    <a:pt x="361" y="555"/>
                  </a:moveTo>
                  <a:cubicBezTo>
                    <a:pt x="368" y="551"/>
                    <a:pt x="379" y="549"/>
                    <a:pt x="378" y="566"/>
                  </a:cubicBezTo>
                  <a:cubicBezTo>
                    <a:pt x="373" y="561"/>
                    <a:pt x="360" y="567"/>
                    <a:pt x="361" y="555"/>
                  </a:cubicBezTo>
                  <a:close/>
                  <a:moveTo>
                    <a:pt x="364" y="274"/>
                  </a:moveTo>
                  <a:cubicBezTo>
                    <a:pt x="366" y="269"/>
                    <a:pt x="370" y="267"/>
                    <a:pt x="375" y="267"/>
                  </a:cubicBezTo>
                  <a:cubicBezTo>
                    <a:pt x="378" y="278"/>
                    <a:pt x="369" y="273"/>
                    <a:pt x="364" y="274"/>
                  </a:cubicBezTo>
                  <a:close/>
                  <a:moveTo>
                    <a:pt x="353" y="363"/>
                  </a:moveTo>
                  <a:cubicBezTo>
                    <a:pt x="352" y="364"/>
                    <a:pt x="350" y="353"/>
                    <a:pt x="348" y="355"/>
                  </a:cubicBezTo>
                  <a:cubicBezTo>
                    <a:pt x="353" y="343"/>
                    <a:pt x="355" y="360"/>
                    <a:pt x="353" y="363"/>
                  </a:cubicBezTo>
                  <a:close/>
                  <a:moveTo>
                    <a:pt x="351" y="459"/>
                  </a:moveTo>
                  <a:cubicBezTo>
                    <a:pt x="351" y="463"/>
                    <a:pt x="351" y="466"/>
                    <a:pt x="351" y="470"/>
                  </a:cubicBezTo>
                  <a:cubicBezTo>
                    <a:pt x="348" y="470"/>
                    <a:pt x="349" y="465"/>
                    <a:pt x="348" y="463"/>
                  </a:cubicBezTo>
                  <a:cubicBezTo>
                    <a:pt x="346" y="466"/>
                    <a:pt x="341" y="465"/>
                    <a:pt x="337" y="459"/>
                  </a:cubicBezTo>
                  <a:cubicBezTo>
                    <a:pt x="336" y="456"/>
                    <a:pt x="334" y="454"/>
                    <a:pt x="335" y="448"/>
                  </a:cubicBezTo>
                  <a:cubicBezTo>
                    <a:pt x="337" y="451"/>
                    <a:pt x="339" y="454"/>
                    <a:pt x="340" y="459"/>
                  </a:cubicBezTo>
                  <a:cubicBezTo>
                    <a:pt x="344" y="459"/>
                    <a:pt x="347" y="459"/>
                    <a:pt x="351" y="459"/>
                  </a:cubicBezTo>
                  <a:close/>
                  <a:moveTo>
                    <a:pt x="340" y="559"/>
                  </a:moveTo>
                  <a:cubicBezTo>
                    <a:pt x="347" y="549"/>
                    <a:pt x="345" y="570"/>
                    <a:pt x="343" y="574"/>
                  </a:cubicBezTo>
                  <a:cubicBezTo>
                    <a:pt x="336" y="572"/>
                    <a:pt x="336" y="564"/>
                    <a:pt x="343" y="562"/>
                  </a:cubicBezTo>
                  <a:cubicBezTo>
                    <a:pt x="343" y="559"/>
                    <a:pt x="342" y="559"/>
                    <a:pt x="340" y="559"/>
                  </a:cubicBezTo>
                  <a:close/>
                  <a:moveTo>
                    <a:pt x="335" y="522"/>
                  </a:moveTo>
                  <a:cubicBezTo>
                    <a:pt x="334" y="521"/>
                    <a:pt x="335" y="518"/>
                    <a:pt x="335" y="518"/>
                  </a:cubicBezTo>
                  <a:cubicBezTo>
                    <a:pt x="332" y="517"/>
                    <a:pt x="320" y="521"/>
                    <a:pt x="324" y="511"/>
                  </a:cubicBezTo>
                  <a:cubicBezTo>
                    <a:pt x="334" y="513"/>
                    <a:pt x="331" y="517"/>
                    <a:pt x="329" y="503"/>
                  </a:cubicBezTo>
                  <a:cubicBezTo>
                    <a:pt x="332" y="503"/>
                    <a:pt x="335" y="503"/>
                    <a:pt x="337" y="503"/>
                  </a:cubicBezTo>
                  <a:cubicBezTo>
                    <a:pt x="334" y="516"/>
                    <a:pt x="336" y="519"/>
                    <a:pt x="345" y="514"/>
                  </a:cubicBezTo>
                  <a:cubicBezTo>
                    <a:pt x="347" y="517"/>
                    <a:pt x="338" y="528"/>
                    <a:pt x="335" y="522"/>
                  </a:cubicBezTo>
                  <a:close/>
                  <a:moveTo>
                    <a:pt x="324" y="707"/>
                  </a:moveTo>
                  <a:cubicBezTo>
                    <a:pt x="320" y="705"/>
                    <a:pt x="325" y="702"/>
                    <a:pt x="324" y="696"/>
                  </a:cubicBezTo>
                  <a:cubicBezTo>
                    <a:pt x="332" y="698"/>
                    <a:pt x="329" y="698"/>
                    <a:pt x="337" y="696"/>
                  </a:cubicBezTo>
                  <a:cubicBezTo>
                    <a:pt x="338" y="706"/>
                    <a:pt x="338" y="716"/>
                    <a:pt x="329" y="714"/>
                  </a:cubicBezTo>
                  <a:cubicBezTo>
                    <a:pt x="329" y="710"/>
                    <a:pt x="329" y="707"/>
                    <a:pt x="329" y="703"/>
                  </a:cubicBezTo>
                  <a:cubicBezTo>
                    <a:pt x="326" y="702"/>
                    <a:pt x="324" y="704"/>
                    <a:pt x="324" y="707"/>
                  </a:cubicBezTo>
                  <a:close/>
                  <a:moveTo>
                    <a:pt x="316" y="644"/>
                  </a:moveTo>
                  <a:cubicBezTo>
                    <a:pt x="322" y="632"/>
                    <a:pt x="323" y="658"/>
                    <a:pt x="324" y="666"/>
                  </a:cubicBezTo>
                  <a:cubicBezTo>
                    <a:pt x="308" y="668"/>
                    <a:pt x="324" y="649"/>
                    <a:pt x="316" y="644"/>
                  </a:cubicBezTo>
                  <a:close/>
                  <a:moveTo>
                    <a:pt x="335" y="562"/>
                  </a:moveTo>
                  <a:cubicBezTo>
                    <a:pt x="335" y="571"/>
                    <a:pt x="335" y="580"/>
                    <a:pt x="335" y="588"/>
                  </a:cubicBezTo>
                  <a:cubicBezTo>
                    <a:pt x="331" y="589"/>
                    <a:pt x="325" y="578"/>
                    <a:pt x="332" y="577"/>
                  </a:cubicBezTo>
                  <a:cubicBezTo>
                    <a:pt x="329" y="573"/>
                    <a:pt x="326" y="577"/>
                    <a:pt x="321" y="570"/>
                  </a:cubicBezTo>
                  <a:cubicBezTo>
                    <a:pt x="322" y="560"/>
                    <a:pt x="326" y="575"/>
                    <a:pt x="332" y="570"/>
                  </a:cubicBezTo>
                  <a:cubicBezTo>
                    <a:pt x="329" y="565"/>
                    <a:pt x="330" y="562"/>
                    <a:pt x="335" y="562"/>
                  </a:cubicBezTo>
                  <a:close/>
                  <a:moveTo>
                    <a:pt x="324" y="618"/>
                  </a:moveTo>
                  <a:cubicBezTo>
                    <a:pt x="327" y="616"/>
                    <a:pt x="327" y="609"/>
                    <a:pt x="332" y="611"/>
                  </a:cubicBezTo>
                  <a:cubicBezTo>
                    <a:pt x="333" y="620"/>
                    <a:pt x="326" y="620"/>
                    <a:pt x="321" y="622"/>
                  </a:cubicBezTo>
                  <a:cubicBezTo>
                    <a:pt x="321" y="618"/>
                    <a:pt x="322" y="618"/>
                    <a:pt x="324" y="618"/>
                  </a:cubicBezTo>
                  <a:close/>
                  <a:moveTo>
                    <a:pt x="337" y="677"/>
                  </a:moveTo>
                  <a:cubicBezTo>
                    <a:pt x="329" y="691"/>
                    <a:pt x="328" y="666"/>
                    <a:pt x="337" y="677"/>
                  </a:cubicBezTo>
                  <a:close/>
                  <a:moveTo>
                    <a:pt x="326" y="670"/>
                  </a:moveTo>
                  <a:cubicBezTo>
                    <a:pt x="326" y="662"/>
                    <a:pt x="327" y="658"/>
                    <a:pt x="332" y="659"/>
                  </a:cubicBezTo>
                  <a:cubicBezTo>
                    <a:pt x="332" y="652"/>
                    <a:pt x="332" y="646"/>
                    <a:pt x="332" y="640"/>
                  </a:cubicBezTo>
                  <a:cubicBezTo>
                    <a:pt x="341" y="642"/>
                    <a:pt x="339" y="675"/>
                    <a:pt x="326" y="670"/>
                  </a:cubicBezTo>
                  <a:close/>
                  <a:moveTo>
                    <a:pt x="326" y="555"/>
                  </a:moveTo>
                  <a:cubicBezTo>
                    <a:pt x="326" y="555"/>
                    <a:pt x="330" y="548"/>
                    <a:pt x="329" y="548"/>
                  </a:cubicBezTo>
                  <a:cubicBezTo>
                    <a:pt x="325" y="546"/>
                    <a:pt x="325" y="551"/>
                    <a:pt x="324" y="551"/>
                  </a:cubicBezTo>
                  <a:cubicBezTo>
                    <a:pt x="322" y="552"/>
                    <a:pt x="319" y="545"/>
                    <a:pt x="318" y="551"/>
                  </a:cubicBezTo>
                  <a:cubicBezTo>
                    <a:pt x="314" y="550"/>
                    <a:pt x="319" y="548"/>
                    <a:pt x="318" y="544"/>
                  </a:cubicBezTo>
                  <a:cubicBezTo>
                    <a:pt x="319" y="541"/>
                    <a:pt x="317" y="540"/>
                    <a:pt x="316" y="540"/>
                  </a:cubicBezTo>
                  <a:cubicBezTo>
                    <a:pt x="309" y="535"/>
                    <a:pt x="333" y="541"/>
                    <a:pt x="337" y="544"/>
                  </a:cubicBezTo>
                  <a:cubicBezTo>
                    <a:pt x="335" y="547"/>
                    <a:pt x="333" y="554"/>
                    <a:pt x="337" y="555"/>
                  </a:cubicBezTo>
                  <a:cubicBezTo>
                    <a:pt x="341" y="561"/>
                    <a:pt x="326" y="554"/>
                    <a:pt x="326" y="555"/>
                  </a:cubicBezTo>
                  <a:close/>
                  <a:moveTo>
                    <a:pt x="313" y="463"/>
                  </a:moveTo>
                  <a:cubicBezTo>
                    <a:pt x="313" y="463"/>
                    <a:pt x="318" y="467"/>
                    <a:pt x="318" y="466"/>
                  </a:cubicBezTo>
                  <a:cubicBezTo>
                    <a:pt x="318" y="467"/>
                    <a:pt x="312" y="474"/>
                    <a:pt x="313" y="474"/>
                  </a:cubicBezTo>
                  <a:cubicBezTo>
                    <a:pt x="309" y="473"/>
                    <a:pt x="313" y="471"/>
                    <a:pt x="313" y="470"/>
                  </a:cubicBezTo>
                  <a:cubicBezTo>
                    <a:pt x="314" y="469"/>
                    <a:pt x="312" y="463"/>
                    <a:pt x="313" y="463"/>
                  </a:cubicBezTo>
                  <a:close/>
                  <a:moveTo>
                    <a:pt x="345" y="492"/>
                  </a:moveTo>
                  <a:cubicBezTo>
                    <a:pt x="350" y="491"/>
                    <a:pt x="350" y="495"/>
                    <a:pt x="351" y="500"/>
                  </a:cubicBezTo>
                  <a:cubicBezTo>
                    <a:pt x="348" y="499"/>
                    <a:pt x="348" y="501"/>
                    <a:pt x="348" y="503"/>
                  </a:cubicBezTo>
                  <a:cubicBezTo>
                    <a:pt x="345" y="503"/>
                    <a:pt x="346" y="497"/>
                    <a:pt x="345" y="492"/>
                  </a:cubicBezTo>
                  <a:close/>
                  <a:moveTo>
                    <a:pt x="343" y="422"/>
                  </a:moveTo>
                  <a:cubicBezTo>
                    <a:pt x="337" y="422"/>
                    <a:pt x="339" y="412"/>
                    <a:pt x="332" y="415"/>
                  </a:cubicBezTo>
                  <a:cubicBezTo>
                    <a:pt x="334" y="406"/>
                    <a:pt x="345" y="413"/>
                    <a:pt x="343" y="422"/>
                  </a:cubicBezTo>
                  <a:close/>
                  <a:moveTo>
                    <a:pt x="340" y="477"/>
                  </a:moveTo>
                  <a:cubicBezTo>
                    <a:pt x="340" y="478"/>
                    <a:pt x="340" y="481"/>
                    <a:pt x="340" y="481"/>
                  </a:cubicBezTo>
                  <a:cubicBezTo>
                    <a:pt x="343" y="483"/>
                    <a:pt x="346" y="481"/>
                    <a:pt x="345" y="489"/>
                  </a:cubicBezTo>
                  <a:cubicBezTo>
                    <a:pt x="341" y="490"/>
                    <a:pt x="340" y="486"/>
                    <a:pt x="340" y="481"/>
                  </a:cubicBezTo>
                  <a:cubicBezTo>
                    <a:pt x="337" y="481"/>
                    <a:pt x="338" y="486"/>
                    <a:pt x="337" y="489"/>
                  </a:cubicBezTo>
                  <a:cubicBezTo>
                    <a:pt x="333" y="487"/>
                    <a:pt x="332" y="491"/>
                    <a:pt x="332" y="496"/>
                  </a:cubicBezTo>
                  <a:cubicBezTo>
                    <a:pt x="329" y="495"/>
                    <a:pt x="330" y="489"/>
                    <a:pt x="329" y="485"/>
                  </a:cubicBezTo>
                  <a:cubicBezTo>
                    <a:pt x="326" y="485"/>
                    <a:pt x="324" y="485"/>
                    <a:pt x="321" y="485"/>
                  </a:cubicBezTo>
                  <a:cubicBezTo>
                    <a:pt x="320" y="482"/>
                    <a:pt x="337" y="476"/>
                    <a:pt x="340" y="477"/>
                  </a:cubicBezTo>
                  <a:close/>
                  <a:moveTo>
                    <a:pt x="332" y="466"/>
                  </a:moveTo>
                  <a:cubicBezTo>
                    <a:pt x="326" y="477"/>
                    <a:pt x="323" y="454"/>
                    <a:pt x="324" y="444"/>
                  </a:cubicBezTo>
                  <a:cubicBezTo>
                    <a:pt x="327" y="447"/>
                    <a:pt x="327" y="453"/>
                    <a:pt x="332" y="452"/>
                  </a:cubicBezTo>
                  <a:cubicBezTo>
                    <a:pt x="331" y="454"/>
                    <a:pt x="325" y="466"/>
                    <a:pt x="332" y="466"/>
                  </a:cubicBezTo>
                  <a:close/>
                  <a:moveTo>
                    <a:pt x="329" y="411"/>
                  </a:moveTo>
                  <a:cubicBezTo>
                    <a:pt x="326" y="411"/>
                    <a:pt x="327" y="418"/>
                    <a:pt x="326" y="422"/>
                  </a:cubicBezTo>
                  <a:cubicBezTo>
                    <a:pt x="323" y="421"/>
                    <a:pt x="322" y="423"/>
                    <a:pt x="321" y="426"/>
                  </a:cubicBezTo>
                  <a:cubicBezTo>
                    <a:pt x="315" y="425"/>
                    <a:pt x="321" y="413"/>
                    <a:pt x="324" y="415"/>
                  </a:cubicBezTo>
                  <a:cubicBezTo>
                    <a:pt x="324" y="407"/>
                    <a:pt x="324" y="400"/>
                    <a:pt x="324" y="392"/>
                  </a:cubicBezTo>
                  <a:cubicBezTo>
                    <a:pt x="328" y="395"/>
                    <a:pt x="328" y="404"/>
                    <a:pt x="329" y="411"/>
                  </a:cubicBezTo>
                  <a:close/>
                  <a:moveTo>
                    <a:pt x="324" y="344"/>
                  </a:moveTo>
                  <a:cubicBezTo>
                    <a:pt x="328" y="343"/>
                    <a:pt x="329" y="347"/>
                    <a:pt x="329" y="352"/>
                  </a:cubicBezTo>
                  <a:cubicBezTo>
                    <a:pt x="327" y="351"/>
                    <a:pt x="327" y="353"/>
                    <a:pt x="326" y="355"/>
                  </a:cubicBezTo>
                  <a:cubicBezTo>
                    <a:pt x="323" y="355"/>
                    <a:pt x="324" y="349"/>
                    <a:pt x="324" y="344"/>
                  </a:cubicBezTo>
                  <a:close/>
                  <a:moveTo>
                    <a:pt x="316" y="385"/>
                  </a:moveTo>
                  <a:cubicBezTo>
                    <a:pt x="316" y="381"/>
                    <a:pt x="321" y="382"/>
                    <a:pt x="321" y="378"/>
                  </a:cubicBezTo>
                  <a:cubicBezTo>
                    <a:pt x="324" y="378"/>
                    <a:pt x="323" y="382"/>
                    <a:pt x="324" y="385"/>
                  </a:cubicBezTo>
                  <a:cubicBezTo>
                    <a:pt x="320" y="389"/>
                    <a:pt x="320" y="386"/>
                    <a:pt x="316" y="385"/>
                  </a:cubicBezTo>
                  <a:close/>
                  <a:moveTo>
                    <a:pt x="321" y="352"/>
                  </a:moveTo>
                  <a:cubicBezTo>
                    <a:pt x="318" y="354"/>
                    <a:pt x="319" y="348"/>
                    <a:pt x="318" y="348"/>
                  </a:cubicBezTo>
                  <a:cubicBezTo>
                    <a:pt x="317" y="347"/>
                    <a:pt x="311" y="349"/>
                    <a:pt x="310" y="348"/>
                  </a:cubicBezTo>
                  <a:cubicBezTo>
                    <a:pt x="307" y="343"/>
                    <a:pt x="323" y="336"/>
                    <a:pt x="321" y="352"/>
                  </a:cubicBezTo>
                  <a:close/>
                  <a:moveTo>
                    <a:pt x="310" y="537"/>
                  </a:moveTo>
                  <a:cubicBezTo>
                    <a:pt x="312" y="551"/>
                    <a:pt x="297" y="551"/>
                    <a:pt x="300" y="537"/>
                  </a:cubicBezTo>
                  <a:cubicBezTo>
                    <a:pt x="305" y="530"/>
                    <a:pt x="303" y="537"/>
                    <a:pt x="310" y="537"/>
                  </a:cubicBezTo>
                  <a:close/>
                  <a:moveTo>
                    <a:pt x="286" y="496"/>
                  </a:moveTo>
                  <a:cubicBezTo>
                    <a:pt x="285" y="489"/>
                    <a:pt x="284" y="493"/>
                    <a:pt x="286" y="481"/>
                  </a:cubicBezTo>
                  <a:cubicBezTo>
                    <a:pt x="293" y="485"/>
                    <a:pt x="293" y="499"/>
                    <a:pt x="286" y="503"/>
                  </a:cubicBezTo>
                  <a:cubicBezTo>
                    <a:pt x="281" y="512"/>
                    <a:pt x="287" y="503"/>
                    <a:pt x="286" y="496"/>
                  </a:cubicBezTo>
                  <a:close/>
                  <a:moveTo>
                    <a:pt x="286" y="466"/>
                  </a:moveTo>
                  <a:cubicBezTo>
                    <a:pt x="286" y="461"/>
                    <a:pt x="286" y="456"/>
                    <a:pt x="286" y="452"/>
                  </a:cubicBezTo>
                  <a:cubicBezTo>
                    <a:pt x="284" y="452"/>
                    <a:pt x="283" y="452"/>
                    <a:pt x="281" y="452"/>
                  </a:cubicBezTo>
                  <a:cubicBezTo>
                    <a:pt x="281" y="447"/>
                    <a:pt x="286" y="448"/>
                    <a:pt x="289" y="448"/>
                  </a:cubicBezTo>
                  <a:cubicBezTo>
                    <a:pt x="289" y="453"/>
                    <a:pt x="289" y="458"/>
                    <a:pt x="289" y="463"/>
                  </a:cubicBezTo>
                  <a:cubicBezTo>
                    <a:pt x="292" y="462"/>
                    <a:pt x="291" y="456"/>
                    <a:pt x="292" y="452"/>
                  </a:cubicBezTo>
                  <a:cubicBezTo>
                    <a:pt x="299" y="456"/>
                    <a:pt x="300" y="464"/>
                    <a:pt x="297" y="474"/>
                  </a:cubicBezTo>
                  <a:cubicBezTo>
                    <a:pt x="293" y="472"/>
                    <a:pt x="295" y="462"/>
                    <a:pt x="286" y="466"/>
                  </a:cubicBezTo>
                  <a:close/>
                  <a:moveTo>
                    <a:pt x="289" y="344"/>
                  </a:moveTo>
                  <a:cubicBezTo>
                    <a:pt x="283" y="356"/>
                    <a:pt x="278" y="331"/>
                    <a:pt x="289" y="344"/>
                  </a:cubicBezTo>
                  <a:close/>
                  <a:moveTo>
                    <a:pt x="286" y="326"/>
                  </a:moveTo>
                  <a:cubicBezTo>
                    <a:pt x="281" y="325"/>
                    <a:pt x="280" y="319"/>
                    <a:pt x="281" y="311"/>
                  </a:cubicBezTo>
                  <a:cubicBezTo>
                    <a:pt x="286" y="312"/>
                    <a:pt x="287" y="317"/>
                    <a:pt x="286" y="326"/>
                  </a:cubicBezTo>
                  <a:close/>
                  <a:moveTo>
                    <a:pt x="281" y="500"/>
                  </a:moveTo>
                  <a:cubicBezTo>
                    <a:pt x="271" y="494"/>
                    <a:pt x="277" y="485"/>
                    <a:pt x="278" y="481"/>
                  </a:cubicBezTo>
                  <a:cubicBezTo>
                    <a:pt x="279" y="478"/>
                    <a:pt x="281" y="479"/>
                    <a:pt x="281" y="481"/>
                  </a:cubicBezTo>
                  <a:cubicBezTo>
                    <a:pt x="280" y="488"/>
                    <a:pt x="279" y="486"/>
                    <a:pt x="281" y="500"/>
                  </a:cubicBezTo>
                  <a:close/>
                  <a:moveTo>
                    <a:pt x="270" y="366"/>
                  </a:moveTo>
                  <a:cubicBezTo>
                    <a:pt x="264" y="367"/>
                    <a:pt x="269" y="353"/>
                    <a:pt x="267" y="348"/>
                  </a:cubicBezTo>
                  <a:cubicBezTo>
                    <a:pt x="271" y="352"/>
                    <a:pt x="274" y="352"/>
                    <a:pt x="275" y="344"/>
                  </a:cubicBezTo>
                  <a:cubicBezTo>
                    <a:pt x="286" y="354"/>
                    <a:pt x="267" y="355"/>
                    <a:pt x="270" y="366"/>
                  </a:cubicBezTo>
                  <a:close/>
                  <a:moveTo>
                    <a:pt x="270" y="389"/>
                  </a:moveTo>
                  <a:cubicBezTo>
                    <a:pt x="280" y="400"/>
                    <a:pt x="262" y="401"/>
                    <a:pt x="270" y="389"/>
                  </a:cubicBezTo>
                  <a:close/>
                  <a:moveTo>
                    <a:pt x="270" y="452"/>
                  </a:moveTo>
                  <a:cubicBezTo>
                    <a:pt x="277" y="452"/>
                    <a:pt x="283" y="460"/>
                    <a:pt x="278" y="466"/>
                  </a:cubicBezTo>
                  <a:cubicBezTo>
                    <a:pt x="271" y="467"/>
                    <a:pt x="269" y="461"/>
                    <a:pt x="270" y="452"/>
                  </a:cubicBezTo>
                  <a:close/>
                  <a:moveTo>
                    <a:pt x="278" y="315"/>
                  </a:moveTo>
                  <a:cubicBezTo>
                    <a:pt x="274" y="323"/>
                    <a:pt x="270" y="307"/>
                    <a:pt x="270" y="322"/>
                  </a:cubicBezTo>
                  <a:cubicBezTo>
                    <a:pt x="258" y="316"/>
                    <a:pt x="280" y="308"/>
                    <a:pt x="270" y="304"/>
                  </a:cubicBezTo>
                  <a:cubicBezTo>
                    <a:pt x="272" y="297"/>
                    <a:pt x="275" y="303"/>
                    <a:pt x="278" y="304"/>
                  </a:cubicBezTo>
                  <a:cubicBezTo>
                    <a:pt x="280" y="290"/>
                    <a:pt x="269" y="294"/>
                    <a:pt x="265" y="289"/>
                  </a:cubicBezTo>
                  <a:cubicBezTo>
                    <a:pt x="265" y="280"/>
                    <a:pt x="271" y="291"/>
                    <a:pt x="273" y="289"/>
                  </a:cubicBezTo>
                  <a:cubicBezTo>
                    <a:pt x="276" y="285"/>
                    <a:pt x="274" y="289"/>
                    <a:pt x="283" y="289"/>
                  </a:cubicBezTo>
                  <a:cubicBezTo>
                    <a:pt x="284" y="300"/>
                    <a:pt x="276" y="301"/>
                    <a:pt x="278" y="315"/>
                  </a:cubicBezTo>
                  <a:close/>
                  <a:moveTo>
                    <a:pt x="305" y="696"/>
                  </a:moveTo>
                  <a:cubicBezTo>
                    <a:pt x="314" y="700"/>
                    <a:pt x="305" y="707"/>
                    <a:pt x="310" y="718"/>
                  </a:cubicBezTo>
                  <a:cubicBezTo>
                    <a:pt x="308" y="715"/>
                    <a:pt x="304" y="714"/>
                    <a:pt x="300" y="714"/>
                  </a:cubicBezTo>
                  <a:cubicBezTo>
                    <a:pt x="297" y="702"/>
                    <a:pt x="304" y="703"/>
                    <a:pt x="305" y="696"/>
                  </a:cubicBezTo>
                  <a:close/>
                  <a:moveTo>
                    <a:pt x="294" y="699"/>
                  </a:moveTo>
                  <a:cubicBezTo>
                    <a:pt x="294" y="697"/>
                    <a:pt x="294" y="694"/>
                    <a:pt x="294" y="692"/>
                  </a:cubicBezTo>
                  <a:cubicBezTo>
                    <a:pt x="296" y="692"/>
                    <a:pt x="298" y="692"/>
                    <a:pt x="300" y="692"/>
                  </a:cubicBezTo>
                  <a:cubicBezTo>
                    <a:pt x="300" y="694"/>
                    <a:pt x="300" y="697"/>
                    <a:pt x="300" y="699"/>
                  </a:cubicBezTo>
                  <a:cubicBezTo>
                    <a:pt x="298" y="699"/>
                    <a:pt x="296" y="699"/>
                    <a:pt x="294" y="699"/>
                  </a:cubicBezTo>
                  <a:close/>
                  <a:moveTo>
                    <a:pt x="316" y="721"/>
                  </a:moveTo>
                  <a:cubicBezTo>
                    <a:pt x="311" y="724"/>
                    <a:pt x="316" y="740"/>
                    <a:pt x="308" y="736"/>
                  </a:cubicBezTo>
                  <a:cubicBezTo>
                    <a:pt x="307" y="727"/>
                    <a:pt x="309" y="720"/>
                    <a:pt x="316" y="721"/>
                  </a:cubicBezTo>
                  <a:close/>
                  <a:moveTo>
                    <a:pt x="316" y="751"/>
                  </a:moveTo>
                  <a:cubicBezTo>
                    <a:pt x="324" y="737"/>
                    <a:pt x="325" y="762"/>
                    <a:pt x="316" y="751"/>
                  </a:cubicBezTo>
                  <a:close/>
                  <a:moveTo>
                    <a:pt x="351" y="681"/>
                  </a:moveTo>
                  <a:cubicBezTo>
                    <a:pt x="353" y="689"/>
                    <a:pt x="341" y="689"/>
                    <a:pt x="343" y="681"/>
                  </a:cubicBezTo>
                  <a:cubicBezTo>
                    <a:pt x="344" y="676"/>
                    <a:pt x="350" y="678"/>
                    <a:pt x="351" y="681"/>
                  </a:cubicBezTo>
                  <a:close/>
                  <a:moveTo>
                    <a:pt x="351" y="662"/>
                  </a:moveTo>
                  <a:cubicBezTo>
                    <a:pt x="356" y="670"/>
                    <a:pt x="359" y="680"/>
                    <a:pt x="367" y="684"/>
                  </a:cubicBezTo>
                  <a:cubicBezTo>
                    <a:pt x="365" y="687"/>
                    <a:pt x="364" y="691"/>
                    <a:pt x="364" y="696"/>
                  </a:cubicBezTo>
                  <a:cubicBezTo>
                    <a:pt x="361" y="696"/>
                    <a:pt x="363" y="690"/>
                    <a:pt x="361" y="688"/>
                  </a:cubicBezTo>
                  <a:cubicBezTo>
                    <a:pt x="357" y="680"/>
                    <a:pt x="349" y="678"/>
                    <a:pt x="351" y="662"/>
                  </a:cubicBezTo>
                  <a:close/>
                  <a:moveTo>
                    <a:pt x="348" y="718"/>
                  </a:moveTo>
                  <a:cubicBezTo>
                    <a:pt x="342" y="717"/>
                    <a:pt x="342" y="708"/>
                    <a:pt x="345" y="703"/>
                  </a:cubicBezTo>
                  <a:cubicBezTo>
                    <a:pt x="349" y="704"/>
                    <a:pt x="347" y="712"/>
                    <a:pt x="348" y="718"/>
                  </a:cubicBezTo>
                  <a:close/>
                  <a:moveTo>
                    <a:pt x="388" y="755"/>
                  </a:moveTo>
                  <a:cubicBezTo>
                    <a:pt x="389" y="750"/>
                    <a:pt x="396" y="752"/>
                    <a:pt x="396" y="755"/>
                  </a:cubicBezTo>
                  <a:cubicBezTo>
                    <a:pt x="399" y="763"/>
                    <a:pt x="387" y="763"/>
                    <a:pt x="388" y="755"/>
                  </a:cubicBezTo>
                  <a:close/>
                  <a:moveTo>
                    <a:pt x="399" y="684"/>
                  </a:moveTo>
                  <a:cubicBezTo>
                    <a:pt x="405" y="687"/>
                    <a:pt x="407" y="696"/>
                    <a:pt x="410" y="703"/>
                  </a:cubicBezTo>
                  <a:cubicBezTo>
                    <a:pt x="408" y="709"/>
                    <a:pt x="407" y="703"/>
                    <a:pt x="407" y="699"/>
                  </a:cubicBezTo>
                  <a:cubicBezTo>
                    <a:pt x="403" y="698"/>
                    <a:pt x="403" y="703"/>
                    <a:pt x="399" y="703"/>
                  </a:cubicBezTo>
                  <a:cubicBezTo>
                    <a:pt x="395" y="701"/>
                    <a:pt x="399" y="699"/>
                    <a:pt x="402" y="699"/>
                  </a:cubicBezTo>
                  <a:cubicBezTo>
                    <a:pt x="402" y="693"/>
                    <a:pt x="398" y="692"/>
                    <a:pt x="399" y="684"/>
                  </a:cubicBezTo>
                  <a:close/>
                  <a:moveTo>
                    <a:pt x="412" y="696"/>
                  </a:moveTo>
                  <a:cubicBezTo>
                    <a:pt x="412" y="692"/>
                    <a:pt x="412" y="688"/>
                    <a:pt x="412" y="684"/>
                  </a:cubicBezTo>
                  <a:cubicBezTo>
                    <a:pt x="416" y="686"/>
                    <a:pt x="417" y="691"/>
                    <a:pt x="421" y="692"/>
                  </a:cubicBezTo>
                  <a:cubicBezTo>
                    <a:pt x="421" y="695"/>
                    <a:pt x="420" y="695"/>
                    <a:pt x="418" y="696"/>
                  </a:cubicBezTo>
                  <a:cubicBezTo>
                    <a:pt x="416" y="696"/>
                    <a:pt x="414" y="696"/>
                    <a:pt x="412" y="696"/>
                  </a:cubicBezTo>
                  <a:close/>
                  <a:moveTo>
                    <a:pt x="439" y="692"/>
                  </a:moveTo>
                  <a:cubicBezTo>
                    <a:pt x="436" y="691"/>
                    <a:pt x="438" y="685"/>
                    <a:pt x="434" y="684"/>
                  </a:cubicBezTo>
                  <a:cubicBezTo>
                    <a:pt x="435" y="680"/>
                    <a:pt x="439" y="681"/>
                    <a:pt x="442" y="681"/>
                  </a:cubicBezTo>
                  <a:cubicBezTo>
                    <a:pt x="443" y="687"/>
                    <a:pt x="440" y="687"/>
                    <a:pt x="439" y="692"/>
                  </a:cubicBezTo>
                  <a:close/>
                  <a:moveTo>
                    <a:pt x="439" y="581"/>
                  </a:moveTo>
                  <a:cubicBezTo>
                    <a:pt x="442" y="582"/>
                    <a:pt x="441" y="588"/>
                    <a:pt x="445" y="588"/>
                  </a:cubicBezTo>
                  <a:cubicBezTo>
                    <a:pt x="444" y="599"/>
                    <a:pt x="436" y="589"/>
                    <a:pt x="439" y="581"/>
                  </a:cubicBezTo>
                  <a:close/>
                  <a:moveTo>
                    <a:pt x="439" y="655"/>
                  </a:moveTo>
                  <a:cubicBezTo>
                    <a:pt x="438" y="666"/>
                    <a:pt x="434" y="651"/>
                    <a:pt x="429" y="655"/>
                  </a:cubicBezTo>
                  <a:cubicBezTo>
                    <a:pt x="424" y="657"/>
                    <a:pt x="427" y="668"/>
                    <a:pt x="423" y="673"/>
                  </a:cubicBezTo>
                  <a:cubicBezTo>
                    <a:pt x="422" y="676"/>
                    <a:pt x="416" y="682"/>
                    <a:pt x="412" y="681"/>
                  </a:cubicBezTo>
                  <a:cubicBezTo>
                    <a:pt x="410" y="666"/>
                    <a:pt x="397" y="665"/>
                    <a:pt x="399" y="644"/>
                  </a:cubicBezTo>
                  <a:cubicBezTo>
                    <a:pt x="393" y="644"/>
                    <a:pt x="393" y="653"/>
                    <a:pt x="394" y="662"/>
                  </a:cubicBezTo>
                  <a:cubicBezTo>
                    <a:pt x="395" y="671"/>
                    <a:pt x="398" y="658"/>
                    <a:pt x="402" y="666"/>
                  </a:cubicBezTo>
                  <a:cubicBezTo>
                    <a:pt x="396" y="674"/>
                    <a:pt x="392" y="680"/>
                    <a:pt x="383" y="673"/>
                  </a:cubicBezTo>
                  <a:cubicBezTo>
                    <a:pt x="386" y="686"/>
                    <a:pt x="389" y="687"/>
                    <a:pt x="383" y="699"/>
                  </a:cubicBezTo>
                  <a:cubicBezTo>
                    <a:pt x="380" y="695"/>
                    <a:pt x="373" y="695"/>
                    <a:pt x="367" y="696"/>
                  </a:cubicBezTo>
                  <a:cubicBezTo>
                    <a:pt x="367" y="689"/>
                    <a:pt x="371" y="687"/>
                    <a:pt x="378" y="688"/>
                  </a:cubicBezTo>
                  <a:cubicBezTo>
                    <a:pt x="379" y="682"/>
                    <a:pt x="371" y="683"/>
                    <a:pt x="370" y="681"/>
                  </a:cubicBezTo>
                  <a:cubicBezTo>
                    <a:pt x="369" y="680"/>
                    <a:pt x="372" y="675"/>
                    <a:pt x="372" y="673"/>
                  </a:cubicBezTo>
                  <a:cubicBezTo>
                    <a:pt x="372" y="672"/>
                    <a:pt x="370" y="661"/>
                    <a:pt x="367" y="659"/>
                  </a:cubicBezTo>
                  <a:cubicBezTo>
                    <a:pt x="361" y="658"/>
                    <a:pt x="366" y="672"/>
                    <a:pt x="364" y="677"/>
                  </a:cubicBezTo>
                  <a:cubicBezTo>
                    <a:pt x="362" y="677"/>
                    <a:pt x="356" y="665"/>
                    <a:pt x="361" y="666"/>
                  </a:cubicBezTo>
                  <a:cubicBezTo>
                    <a:pt x="361" y="658"/>
                    <a:pt x="354" y="659"/>
                    <a:pt x="351" y="655"/>
                  </a:cubicBezTo>
                  <a:cubicBezTo>
                    <a:pt x="345" y="655"/>
                    <a:pt x="345" y="664"/>
                    <a:pt x="345" y="673"/>
                  </a:cubicBezTo>
                  <a:cubicBezTo>
                    <a:pt x="335" y="670"/>
                    <a:pt x="346" y="658"/>
                    <a:pt x="343" y="644"/>
                  </a:cubicBezTo>
                  <a:cubicBezTo>
                    <a:pt x="345" y="646"/>
                    <a:pt x="345" y="652"/>
                    <a:pt x="351" y="651"/>
                  </a:cubicBezTo>
                  <a:cubicBezTo>
                    <a:pt x="360" y="653"/>
                    <a:pt x="351" y="633"/>
                    <a:pt x="351" y="633"/>
                  </a:cubicBezTo>
                  <a:cubicBezTo>
                    <a:pt x="348" y="632"/>
                    <a:pt x="347" y="645"/>
                    <a:pt x="345" y="636"/>
                  </a:cubicBezTo>
                  <a:cubicBezTo>
                    <a:pt x="345" y="634"/>
                    <a:pt x="346" y="631"/>
                    <a:pt x="345" y="629"/>
                  </a:cubicBezTo>
                  <a:cubicBezTo>
                    <a:pt x="343" y="623"/>
                    <a:pt x="335" y="621"/>
                    <a:pt x="340" y="611"/>
                  </a:cubicBezTo>
                  <a:cubicBezTo>
                    <a:pt x="342" y="603"/>
                    <a:pt x="344" y="615"/>
                    <a:pt x="340" y="614"/>
                  </a:cubicBezTo>
                  <a:cubicBezTo>
                    <a:pt x="336" y="622"/>
                    <a:pt x="347" y="618"/>
                    <a:pt x="351" y="622"/>
                  </a:cubicBezTo>
                  <a:cubicBezTo>
                    <a:pt x="352" y="623"/>
                    <a:pt x="360" y="639"/>
                    <a:pt x="359" y="618"/>
                  </a:cubicBezTo>
                  <a:cubicBezTo>
                    <a:pt x="365" y="625"/>
                    <a:pt x="364" y="640"/>
                    <a:pt x="364" y="655"/>
                  </a:cubicBezTo>
                  <a:cubicBezTo>
                    <a:pt x="368" y="656"/>
                    <a:pt x="369" y="651"/>
                    <a:pt x="372" y="651"/>
                  </a:cubicBezTo>
                  <a:cubicBezTo>
                    <a:pt x="371" y="645"/>
                    <a:pt x="364" y="648"/>
                    <a:pt x="367" y="636"/>
                  </a:cubicBezTo>
                  <a:cubicBezTo>
                    <a:pt x="370" y="636"/>
                    <a:pt x="372" y="636"/>
                    <a:pt x="375" y="636"/>
                  </a:cubicBezTo>
                  <a:cubicBezTo>
                    <a:pt x="374" y="632"/>
                    <a:pt x="371" y="629"/>
                    <a:pt x="367" y="629"/>
                  </a:cubicBezTo>
                  <a:cubicBezTo>
                    <a:pt x="365" y="624"/>
                    <a:pt x="377" y="620"/>
                    <a:pt x="370" y="618"/>
                  </a:cubicBezTo>
                  <a:cubicBezTo>
                    <a:pt x="372" y="606"/>
                    <a:pt x="375" y="622"/>
                    <a:pt x="378" y="622"/>
                  </a:cubicBezTo>
                  <a:cubicBezTo>
                    <a:pt x="378" y="652"/>
                    <a:pt x="373" y="658"/>
                    <a:pt x="378" y="681"/>
                  </a:cubicBezTo>
                  <a:cubicBezTo>
                    <a:pt x="386" y="678"/>
                    <a:pt x="375" y="653"/>
                    <a:pt x="380" y="648"/>
                  </a:cubicBezTo>
                  <a:cubicBezTo>
                    <a:pt x="384" y="643"/>
                    <a:pt x="377" y="638"/>
                    <a:pt x="383" y="629"/>
                  </a:cubicBezTo>
                  <a:cubicBezTo>
                    <a:pt x="390" y="634"/>
                    <a:pt x="391" y="637"/>
                    <a:pt x="388" y="648"/>
                  </a:cubicBezTo>
                  <a:cubicBezTo>
                    <a:pt x="399" y="651"/>
                    <a:pt x="392" y="630"/>
                    <a:pt x="402" y="633"/>
                  </a:cubicBezTo>
                  <a:cubicBezTo>
                    <a:pt x="402" y="622"/>
                    <a:pt x="395" y="620"/>
                    <a:pt x="394" y="611"/>
                  </a:cubicBezTo>
                  <a:cubicBezTo>
                    <a:pt x="391" y="612"/>
                    <a:pt x="387" y="617"/>
                    <a:pt x="391" y="618"/>
                  </a:cubicBezTo>
                  <a:cubicBezTo>
                    <a:pt x="389" y="624"/>
                    <a:pt x="385" y="620"/>
                    <a:pt x="386" y="614"/>
                  </a:cubicBezTo>
                  <a:cubicBezTo>
                    <a:pt x="383" y="610"/>
                    <a:pt x="376" y="613"/>
                    <a:pt x="378" y="603"/>
                  </a:cubicBezTo>
                  <a:cubicBezTo>
                    <a:pt x="370" y="603"/>
                    <a:pt x="363" y="603"/>
                    <a:pt x="356" y="603"/>
                  </a:cubicBezTo>
                  <a:cubicBezTo>
                    <a:pt x="358" y="607"/>
                    <a:pt x="361" y="609"/>
                    <a:pt x="364" y="611"/>
                  </a:cubicBezTo>
                  <a:cubicBezTo>
                    <a:pt x="364" y="624"/>
                    <a:pt x="355" y="603"/>
                    <a:pt x="356" y="614"/>
                  </a:cubicBezTo>
                  <a:cubicBezTo>
                    <a:pt x="349" y="614"/>
                    <a:pt x="353" y="598"/>
                    <a:pt x="343" y="603"/>
                  </a:cubicBezTo>
                  <a:cubicBezTo>
                    <a:pt x="340" y="598"/>
                    <a:pt x="345" y="593"/>
                    <a:pt x="345" y="592"/>
                  </a:cubicBezTo>
                  <a:cubicBezTo>
                    <a:pt x="345" y="585"/>
                    <a:pt x="336" y="584"/>
                    <a:pt x="343" y="581"/>
                  </a:cubicBezTo>
                  <a:cubicBezTo>
                    <a:pt x="352" y="577"/>
                    <a:pt x="347" y="592"/>
                    <a:pt x="348" y="599"/>
                  </a:cubicBezTo>
                  <a:cubicBezTo>
                    <a:pt x="355" y="599"/>
                    <a:pt x="352" y="586"/>
                    <a:pt x="356" y="581"/>
                  </a:cubicBezTo>
                  <a:cubicBezTo>
                    <a:pt x="357" y="577"/>
                    <a:pt x="352" y="579"/>
                    <a:pt x="351" y="577"/>
                  </a:cubicBezTo>
                  <a:cubicBezTo>
                    <a:pt x="349" y="574"/>
                    <a:pt x="353" y="565"/>
                    <a:pt x="348" y="566"/>
                  </a:cubicBezTo>
                  <a:cubicBezTo>
                    <a:pt x="350" y="562"/>
                    <a:pt x="354" y="562"/>
                    <a:pt x="353" y="555"/>
                  </a:cubicBezTo>
                  <a:cubicBezTo>
                    <a:pt x="360" y="556"/>
                    <a:pt x="354" y="568"/>
                    <a:pt x="353" y="570"/>
                  </a:cubicBezTo>
                  <a:cubicBezTo>
                    <a:pt x="353" y="578"/>
                    <a:pt x="363" y="572"/>
                    <a:pt x="367" y="574"/>
                  </a:cubicBezTo>
                  <a:cubicBezTo>
                    <a:pt x="365" y="585"/>
                    <a:pt x="372" y="587"/>
                    <a:pt x="370" y="599"/>
                  </a:cubicBezTo>
                  <a:cubicBezTo>
                    <a:pt x="384" y="595"/>
                    <a:pt x="371" y="585"/>
                    <a:pt x="372" y="570"/>
                  </a:cubicBezTo>
                  <a:cubicBezTo>
                    <a:pt x="376" y="571"/>
                    <a:pt x="376" y="576"/>
                    <a:pt x="380" y="577"/>
                  </a:cubicBezTo>
                  <a:cubicBezTo>
                    <a:pt x="386" y="578"/>
                    <a:pt x="382" y="564"/>
                    <a:pt x="383" y="559"/>
                  </a:cubicBezTo>
                  <a:cubicBezTo>
                    <a:pt x="390" y="562"/>
                    <a:pt x="390" y="554"/>
                    <a:pt x="396" y="555"/>
                  </a:cubicBezTo>
                  <a:cubicBezTo>
                    <a:pt x="397" y="570"/>
                    <a:pt x="403" y="555"/>
                    <a:pt x="410" y="562"/>
                  </a:cubicBezTo>
                  <a:cubicBezTo>
                    <a:pt x="409" y="567"/>
                    <a:pt x="405" y="568"/>
                    <a:pt x="404" y="574"/>
                  </a:cubicBezTo>
                  <a:cubicBezTo>
                    <a:pt x="413" y="576"/>
                    <a:pt x="410" y="563"/>
                    <a:pt x="418" y="566"/>
                  </a:cubicBezTo>
                  <a:cubicBezTo>
                    <a:pt x="419" y="574"/>
                    <a:pt x="426" y="573"/>
                    <a:pt x="421" y="581"/>
                  </a:cubicBezTo>
                  <a:cubicBezTo>
                    <a:pt x="417" y="580"/>
                    <a:pt x="420" y="570"/>
                    <a:pt x="415" y="570"/>
                  </a:cubicBezTo>
                  <a:cubicBezTo>
                    <a:pt x="412" y="571"/>
                    <a:pt x="412" y="577"/>
                    <a:pt x="415" y="577"/>
                  </a:cubicBezTo>
                  <a:cubicBezTo>
                    <a:pt x="415" y="582"/>
                    <a:pt x="415" y="588"/>
                    <a:pt x="418" y="588"/>
                  </a:cubicBezTo>
                  <a:cubicBezTo>
                    <a:pt x="416" y="600"/>
                    <a:pt x="416" y="595"/>
                    <a:pt x="418" y="607"/>
                  </a:cubicBezTo>
                  <a:cubicBezTo>
                    <a:pt x="424" y="609"/>
                    <a:pt x="423" y="602"/>
                    <a:pt x="423" y="596"/>
                  </a:cubicBezTo>
                  <a:cubicBezTo>
                    <a:pt x="426" y="596"/>
                    <a:pt x="426" y="602"/>
                    <a:pt x="426" y="607"/>
                  </a:cubicBezTo>
                  <a:cubicBezTo>
                    <a:pt x="426" y="614"/>
                    <a:pt x="433" y="612"/>
                    <a:pt x="431" y="622"/>
                  </a:cubicBezTo>
                  <a:cubicBezTo>
                    <a:pt x="429" y="620"/>
                    <a:pt x="427" y="618"/>
                    <a:pt x="423" y="618"/>
                  </a:cubicBezTo>
                  <a:cubicBezTo>
                    <a:pt x="416" y="617"/>
                    <a:pt x="427" y="642"/>
                    <a:pt x="415" y="636"/>
                  </a:cubicBezTo>
                  <a:cubicBezTo>
                    <a:pt x="418" y="630"/>
                    <a:pt x="416" y="618"/>
                    <a:pt x="421" y="614"/>
                  </a:cubicBezTo>
                  <a:cubicBezTo>
                    <a:pt x="419" y="611"/>
                    <a:pt x="416" y="609"/>
                    <a:pt x="412" y="607"/>
                  </a:cubicBezTo>
                  <a:cubicBezTo>
                    <a:pt x="407" y="607"/>
                    <a:pt x="412" y="615"/>
                    <a:pt x="412" y="614"/>
                  </a:cubicBezTo>
                  <a:cubicBezTo>
                    <a:pt x="411" y="620"/>
                    <a:pt x="400" y="622"/>
                    <a:pt x="410" y="625"/>
                  </a:cubicBezTo>
                  <a:cubicBezTo>
                    <a:pt x="409" y="629"/>
                    <a:pt x="404" y="628"/>
                    <a:pt x="404" y="633"/>
                  </a:cubicBezTo>
                  <a:cubicBezTo>
                    <a:pt x="405" y="637"/>
                    <a:pt x="409" y="636"/>
                    <a:pt x="412" y="636"/>
                  </a:cubicBezTo>
                  <a:cubicBezTo>
                    <a:pt x="414" y="644"/>
                    <a:pt x="409" y="643"/>
                    <a:pt x="404" y="644"/>
                  </a:cubicBezTo>
                  <a:cubicBezTo>
                    <a:pt x="400" y="653"/>
                    <a:pt x="411" y="651"/>
                    <a:pt x="412" y="655"/>
                  </a:cubicBezTo>
                  <a:cubicBezTo>
                    <a:pt x="415" y="662"/>
                    <a:pt x="408" y="669"/>
                    <a:pt x="415" y="673"/>
                  </a:cubicBezTo>
                  <a:cubicBezTo>
                    <a:pt x="420" y="668"/>
                    <a:pt x="415" y="648"/>
                    <a:pt x="421" y="636"/>
                  </a:cubicBezTo>
                  <a:cubicBezTo>
                    <a:pt x="422" y="638"/>
                    <a:pt x="429" y="651"/>
                    <a:pt x="431" y="640"/>
                  </a:cubicBezTo>
                  <a:cubicBezTo>
                    <a:pt x="437" y="641"/>
                    <a:pt x="432" y="657"/>
                    <a:pt x="439" y="655"/>
                  </a:cubicBezTo>
                  <a:close/>
                  <a:moveTo>
                    <a:pt x="426" y="570"/>
                  </a:moveTo>
                  <a:cubicBezTo>
                    <a:pt x="434" y="566"/>
                    <a:pt x="439" y="597"/>
                    <a:pt x="429" y="596"/>
                  </a:cubicBezTo>
                  <a:cubicBezTo>
                    <a:pt x="427" y="592"/>
                    <a:pt x="431" y="593"/>
                    <a:pt x="431" y="592"/>
                  </a:cubicBezTo>
                  <a:cubicBezTo>
                    <a:pt x="432" y="587"/>
                    <a:pt x="426" y="591"/>
                    <a:pt x="426" y="588"/>
                  </a:cubicBezTo>
                  <a:cubicBezTo>
                    <a:pt x="425" y="583"/>
                    <a:pt x="427" y="576"/>
                    <a:pt x="426" y="570"/>
                  </a:cubicBezTo>
                  <a:close/>
                  <a:moveTo>
                    <a:pt x="437" y="285"/>
                  </a:moveTo>
                  <a:cubicBezTo>
                    <a:pt x="435" y="284"/>
                    <a:pt x="434" y="281"/>
                    <a:pt x="431" y="281"/>
                  </a:cubicBezTo>
                  <a:cubicBezTo>
                    <a:pt x="427" y="283"/>
                    <a:pt x="435" y="294"/>
                    <a:pt x="423" y="292"/>
                  </a:cubicBezTo>
                  <a:cubicBezTo>
                    <a:pt x="425" y="290"/>
                    <a:pt x="427" y="282"/>
                    <a:pt x="423" y="281"/>
                  </a:cubicBezTo>
                  <a:cubicBezTo>
                    <a:pt x="423" y="275"/>
                    <a:pt x="441" y="274"/>
                    <a:pt x="437" y="285"/>
                  </a:cubicBezTo>
                  <a:close/>
                  <a:moveTo>
                    <a:pt x="426" y="30"/>
                  </a:moveTo>
                  <a:cubicBezTo>
                    <a:pt x="426" y="26"/>
                    <a:pt x="426" y="26"/>
                    <a:pt x="426" y="26"/>
                  </a:cubicBezTo>
                  <a:cubicBezTo>
                    <a:pt x="436" y="28"/>
                    <a:pt x="421" y="38"/>
                    <a:pt x="418" y="34"/>
                  </a:cubicBezTo>
                  <a:cubicBezTo>
                    <a:pt x="416" y="31"/>
                    <a:pt x="425" y="30"/>
                    <a:pt x="426" y="30"/>
                  </a:cubicBezTo>
                  <a:close/>
                  <a:moveTo>
                    <a:pt x="407" y="174"/>
                  </a:moveTo>
                  <a:cubicBezTo>
                    <a:pt x="413" y="173"/>
                    <a:pt x="422" y="196"/>
                    <a:pt x="410" y="196"/>
                  </a:cubicBezTo>
                  <a:cubicBezTo>
                    <a:pt x="410" y="193"/>
                    <a:pt x="412" y="193"/>
                    <a:pt x="412" y="189"/>
                  </a:cubicBezTo>
                  <a:cubicBezTo>
                    <a:pt x="410" y="183"/>
                    <a:pt x="404" y="184"/>
                    <a:pt x="399" y="182"/>
                  </a:cubicBezTo>
                  <a:cubicBezTo>
                    <a:pt x="400" y="176"/>
                    <a:pt x="407" y="180"/>
                    <a:pt x="407" y="174"/>
                  </a:cubicBezTo>
                  <a:close/>
                  <a:moveTo>
                    <a:pt x="415" y="252"/>
                  </a:moveTo>
                  <a:cubicBezTo>
                    <a:pt x="415" y="258"/>
                    <a:pt x="413" y="262"/>
                    <a:pt x="410" y="263"/>
                  </a:cubicBezTo>
                  <a:cubicBezTo>
                    <a:pt x="411" y="263"/>
                    <a:pt x="400" y="260"/>
                    <a:pt x="399" y="259"/>
                  </a:cubicBezTo>
                  <a:cubicBezTo>
                    <a:pt x="399" y="259"/>
                    <a:pt x="399" y="256"/>
                    <a:pt x="399" y="255"/>
                  </a:cubicBezTo>
                  <a:cubicBezTo>
                    <a:pt x="396" y="253"/>
                    <a:pt x="393" y="255"/>
                    <a:pt x="394" y="248"/>
                  </a:cubicBezTo>
                  <a:cubicBezTo>
                    <a:pt x="402" y="251"/>
                    <a:pt x="405" y="259"/>
                    <a:pt x="415" y="252"/>
                  </a:cubicBezTo>
                  <a:close/>
                  <a:moveTo>
                    <a:pt x="394" y="185"/>
                  </a:moveTo>
                  <a:cubicBezTo>
                    <a:pt x="391" y="182"/>
                    <a:pt x="388" y="181"/>
                    <a:pt x="383" y="182"/>
                  </a:cubicBezTo>
                  <a:cubicBezTo>
                    <a:pt x="382" y="175"/>
                    <a:pt x="398" y="175"/>
                    <a:pt x="394" y="185"/>
                  </a:cubicBezTo>
                  <a:close/>
                  <a:moveTo>
                    <a:pt x="391" y="248"/>
                  </a:moveTo>
                  <a:cubicBezTo>
                    <a:pt x="389" y="256"/>
                    <a:pt x="374" y="252"/>
                    <a:pt x="372" y="248"/>
                  </a:cubicBezTo>
                  <a:cubicBezTo>
                    <a:pt x="373" y="244"/>
                    <a:pt x="375" y="246"/>
                    <a:pt x="375" y="248"/>
                  </a:cubicBezTo>
                  <a:cubicBezTo>
                    <a:pt x="384" y="251"/>
                    <a:pt x="386" y="241"/>
                    <a:pt x="391" y="248"/>
                  </a:cubicBezTo>
                  <a:close/>
                  <a:moveTo>
                    <a:pt x="340" y="174"/>
                  </a:moveTo>
                  <a:cubicBezTo>
                    <a:pt x="350" y="177"/>
                    <a:pt x="339" y="185"/>
                    <a:pt x="345" y="193"/>
                  </a:cubicBezTo>
                  <a:cubicBezTo>
                    <a:pt x="355" y="195"/>
                    <a:pt x="361" y="181"/>
                    <a:pt x="367" y="189"/>
                  </a:cubicBezTo>
                  <a:cubicBezTo>
                    <a:pt x="367" y="185"/>
                    <a:pt x="366" y="182"/>
                    <a:pt x="364" y="182"/>
                  </a:cubicBezTo>
                  <a:cubicBezTo>
                    <a:pt x="362" y="171"/>
                    <a:pt x="377" y="184"/>
                    <a:pt x="375" y="174"/>
                  </a:cubicBezTo>
                  <a:cubicBezTo>
                    <a:pt x="380" y="177"/>
                    <a:pt x="373" y="200"/>
                    <a:pt x="370" y="204"/>
                  </a:cubicBezTo>
                  <a:cubicBezTo>
                    <a:pt x="368" y="205"/>
                    <a:pt x="367" y="208"/>
                    <a:pt x="364" y="207"/>
                  </a:cubicBezTo>
                  <a:cubicBezTo>
                    <a:pt x="370" y="200"/>
                    <a:pt x="364" y="195"/>
                    <a:pt x="359" y="193"/>
                  </a:cubicBezTo>
                  <a:cubicBezTo>
                    <a:pt x="355" y="191"/>
                    <a:pt x="357" y="199"/>
                    <a:pt x="356" y="200"/>
                  </a:cubicBezTo>
                  <a:cubicBezTo>
                    <a:pt x="352" y="203"/>
                    <a:pt x="345" y="198"/>
                    <a:pt x="340" y="200"/>
                  </a:cubicBezTo>
                  <a:cubicBezTo>
                    <a:pt x="335" y="191"/>
                    <a:pt x="333" y="182"/>
                    <a:pt x="340" y="174"/>
                  </a:cubicBezTo>
                  <a:close/>
                  <a:moveTo>
                    <a:pt x="340" y="300"/>
                  </a:moveTo>
                  <a:cubicBezTo>
                    <a:pt x="339" y="307"/>
                    <a:pt x="334" y="309"/>
                    <a:pt x="335" y="318"/>
                  </a:cubicBezTo>
                  <a:cubicBezTo>
                    <a:pt x="335" y="328"/>
                    <a:pt x="339" y="313"/>
                    <a:pt x="345" y="318"/>
                  </a:cubicBezTo>
                  <a:cubicBezTo>
                    <a:pt x="346" y="312"/>
                    <a:pt x="343" y="311"/>
                    <a:pt x="340" y="311"/>
                  </a:cubicBezTo>
                  <a:cubicBezTo>
                    <a:pt x="340" y="303"/>
                    <a:pt x="349" y="309"/>
                    <a:pt x="353" y="307"/>
                  </a:cubicBezTo>
                  <a:cubicBezTo>
                    <a:pt x="357" y="317"/>
                    <a:pt x="343" y="319"/>
                    <a:pt x="351" y="322"/>
                  </a:cubicBezTo>
                  <a:cubicBezTo>
                    <a:pt x="350" y="326"/>
                    <a:pt x="348" y="324"/>
                    <a:pt x="348" y="322"/>
                  </a:cubicBezTo>
                  <a:cubicBezTo>
                    <a:pt x="340" y="319"/>
                    <a:pt x="340" y="328"/>
                    <a:pt x="332" y="326"/>
                  </a:cubicBezTo>
                  <a:cubicBezTo>
                    <a:pt x="328" y="316"/>
                    <a:pt x="333" y="314"/>
                    <a:pt x="329" y="311"/>
                  </a:cubicBezTo>
                  <a:cubicBezTo>
                    <a:pt x="330" y="307"/>
                    <a:pt x="335" y="308"/>
                    <a:pt x="335" y="304"/>
                  </a:cubicBezTo>
                  <a:cubicBezTo>
                    <a:pt x="335" y="300"/>
                    <a:pt x="338" y="301"/>
                    <a:pt x="340" y="300"/>
                  </a:cubicBezTo>
                  <a:close/>
                  <a:moveTo>
                    <a:pt x="335" y="296"/>
                  </a:moveTo>
                  <a:cubicBezTo>
                    <a:pt x="331" y="294"/>
                    <a:pt x="330" y="288"/>
                    <a:pt x="329" y="281"/>
                  </a:cubicBezTo>
                  <a:cubicBezTo>
                    <a:pt x="334" y="282"/>
                    <a:pt x="335" y="288"/>
                    <a:pt x="335" y="296"/>
                  </a:cubicBezTo>
                  <a:close/>
                  <a:moveTo>
                    <a:pt x="324" y="163"/>
                  </a:moveTo>
                  <a:cubicBezTo>
                    <a:pt x="324" y="170"/>
                    <a:pt x="324" y="178"/>
                    <a:pt x="324" y="185"/>
                  </a:cubicBezTo>
                  <a:cubicBezTo>
                    <a:pt x="327" y="183"/>
                    <a:pt x="327" y="177"/>
                    <a:pt x="332" y="178"/>
                  </a:cubicBezTo>
                  <a:cubicBezTo>
                    <a:pt x="334" y="193"/>
                    <a:pt x="313" y="206"/>
                    <a:pt x="313" y="185"/>
                  </a:cubicBezTo>
                  <a:cubicBezTo>
                    <a:pt x="316" y="185"/>
                    <a:pt x="315" y="190"/>
                    <a:pt x="316" y="193"/>
                  </a:cubicBezTo>
                  <a:cubicBezTo>
                    <a:pt x="321" y="194"/>
                    <a:pt x="320" y="176"/>
                    <a:pt x="313" y="182"/>
                  </a:cubicBezTo>
                  <a:cubicBezTo>
                    <a:pt x="320" y="172"/>
                    <a:pt x="310" y="170"/>
                    <a:pt x="310" y="159"/>
                  </a:cubicBezTo>
                  <a:cubicBezTo>
                    <a:pt x="315" y="152"/>
                    <a:pt x="318" y="161"/>
                    <a:pt x="324" y="163"/>
                  </a:cubicBezTo>
                  <a:close/>
                  <a:moveTo>
                    <a:pt x="308" y="241"/>
                  </a:moveTo>
                  <a:cubicBezTo>
                    <a:pt x="316" y="246"/>
                    <a:pt x="318" y="237"/>
                    <a:pt x="321" y="248"/>
                  </a:cubicBezTo>
                  <a:cubicBezTo>
                    <a:pt x="323" y="246"/>
                    <a:pt x="326" y="244"/>
                    <a:pt x="329" y="244"/>
                  </a:cubicBezTo>
                  <a:cubicBezTo>
                    <a:pt x="330" y="248"/>
                    <a:pt x="328" y="248"/>
                    <a:pt x="326" y="248"/>
                  </a:cubicBezTo>
                  <a:cubicBezTo>
                    <a:pt x="319" y="255"/>
                    <a:pt x="326" y="266"/>
                    <a:pt x="326" y="274"/>
                  </a:cubicBezTo>
                  <a:cubicBezTo>
                    <a:pt x="327" y="282"/>
                    <a:pt x="324" y="291"/>
                    <a:pt x="326" y="296"/>
                  </a:cubicBezTo>
                  <a:cubicBezTo>
                    <a:pt x="323" y="296"/>
                    <a:pt x="319" y="296"/>
                    <a:pt x="318" y="300"/>
                  </a:cubicBezTo>
                  <a:cubicBezTo>
                    <a:pt x="312" y="292"/>
                    <a:pt x="326" y="281"/>
                    <a:pt x="321" y="263"/>
                  </a:cubicBezTo>
                  <a:cubicBezTo>
                    <a:pt x="321" y="266"/>
                    <a:pt x="307" y="266"/>
                    <a:pt x="313" y="259"/>
                  </a:cubicBezTo>
                  <a:cubicBezTo>
                    <a:pt x="313" y="259"/>
                    <a:pt x="318" y="260"/>
                    <a:pt x="318" y="259"/>
                  </a:cubicBezTo>
                  <a:cubicBezTo>
                    <a:pt x="318" y="258"/>
                    <a:pt x="314" y="249"/>
                    <a:pt x="313" y="248"/>
                  </a:cubicBezTo>
                  <a:cubicBezTo>
                    <a:pt x="311" y="247"/>
                    <a:pt x="309" y="251"/>
                    <a:pt x="310" y="252"/>
                  </a:cubicBezTo>
                  <a:cubicBezTo>
                    <a:pt x="314" y="256"/>
                    <a:pt x="310" y="255"/>
                    <a:pt x="308" y="252"/>
                  </a:cubicBezTo>
                  <a:cubicBezTo>
                    <a:pt x="305" y="248"/>
                    <a:pt x="308" y="249"/>
                    <a:pt x="308" y="241"/>
                  </a:cubicBezTo>
                  <a:close/>
                  <a:moveTo>
                    <a:pt x="308" y="270"/>
                  </a:moveTo>
                  <a:cubicBezTo>
                    <a:pt x="308" y="261"/>
                    <a:pt x="312" y="275"/>
                    <a:pt x="318" y="270"/>
                  </a:cubicBezTo>
                  <a:cubicBezTo>
                    <a:pt x="317" y="278"/>
                    <a:pt x="313" y="282"/>
                    <a:pt x="310" y="289"/>
                  </a:cubicBezTo>
                  <a:cubicBezTo>
                    <a:pt x="305" y="287"/>
                    <a:pt x="312" y="273"/>
                    <a:pt x="308" y="270"/>
                  </a:cubicBezTo>
                  <a:close/>
                  <a:moveTo>
                    <a:pt x="313" y="311"/>
                  </a:moveTo>
                  <a:cubicBezTo>
                    <a:pt x="318" y="310"/>
                    <a:pt x="321" y="312"/>
                    <a:pt x="321" y="318"/>
                  </a:cubicBezTo>
                  <a:cubicBezTo>
                    <a:pt x="316" y="317"/>
                    <a:pt x="309" y="317"/>
                    <a:pt x="310" y="307"/>
                  </a:cubicBezTo>
                  <a:cubicBezTo>
                    <a:pt x="303" y="306"/>
                    <a:pt x="313" y="328"/>
                    <a:pt x="302" y="322"/>
                  </a:cubicBezTo>
                  <a:cubicBezTo>
                    <a:pt x="303" y="313"/>
                    <a:pt x="303" y="304"/>
                    <a:pt x="297" y="304"/>
                  </a:cubicBezTo>
                  <a:cubicBezTo>
                    <a:pt x="293" y="305"/>
                    <a:pt x="298" y="308"/>
                    <a:pt x="297" y="315"/>
                  </a:cubicBezTo>
                  <a:cubicBezTo>
                    <a:pt x="289" y="318"/>
                    <a:pt x="292" y="306"/>
                    <a:pt x="292" y="300"/>
                  </a:cubicBezTo>
                  <a:cubicBezTo>
                    <a:pt x="299" y="295"/>
                    <a:pt x="306" y="311"/>
                    <a:pt x="305" y="296"/>
                  </a:cubicBezTo>
                  <a:cubicBezTo>
                    <a:pt x="312" y="295"/>
                    <a:pt x="312" y="304"/>
                    <a:pt x="313" y="311"/>
                  </a:cubicBezTo>
                  <a:close/>
                  <a:moveTo>
                    <a:pt x="292" y="159"/>
                  </a:moveTo>
                  <a:cubicBezTo>
                    <a:pt x="297" y="166"/>
                    <a:pt x="296" y="157"/>
                    <a:pt x="305" y="159"/>
                  </a:cubicBezTo>
                  <a:cubicBezTo>
                    <a:pt x="307" y="167"/>
                    <a:pt x="289" y="173"/>
                    <a:pt x="292" y="159"/>
                  </a:cubicBezTo>
                  <a:close/>
                  <a:moveTo>
                    <a:pt x="286" y="174"/>
                  </a:moveTo>
                  <a:cubicBezTo>
                    <a:pt x="293" y="173"/>
                    <a:pt x="292" y="181"/>
                    <a:pt x="300" y="178"/>
                  </a:cubicBezTo>
                  <a:cubicBezTo>
                    <a:pt x="298" y="181"/>
                    <a:pt x="297" y="184"/>
                    <a:pt x="297" y="189"/>
                  </a:cubicBezTo>
                  <a:cubicBezTo>
                    <a:pt x="293" y="185"/>
                    <a:pt x="285" y="186"/>
                    <a:pt x="286" y="174"/>
                  </a:cubicBezTo>
                  <a:close/>
                  <a:moveTo>
                    <a:pt x="289" y="255"/>
                  </a:moveTo>
                  <a:cubicBezTo>
                    <a:pt x="287" y="255"/>
                    <a:pt x="286" y="252"/>
                    <a:pt x="283" y="252"/>
                  </a:cubicBezTo>
                  <a:cubicBezTo>
                    <a:pt x="283" y="249"/>
                    <a:pt x="283" y="247"/>
                    <a:pt x="283" y="244"/>
                  </a:cubicBezTo>
                  <a:cubicBezTo>
                    <a:pt x="289" y="243"/>
                    <a:pt x="289" y="250"/>
                    <a:pt x="289" y="255"/>
                  </a:cubicBezTo>
                  <a:close/>
                  <a:moveTo>
                    <a:pt x="283" y="189"/>
                  </a:moveTo>
                  <a:cubicBezTo>
                    <a:pt x="278" y="188"/>
                    <a:pt x="282" y="177"/>
                    <a:pt x="275" y="178"/>
                  </a:cubicBezTo>
                  <a:cubicBezTo>
                    <a:pt x="279" y="167"/>
                    <a:pt x="287" y="178"/>
                    <a:pt x="283" y="189"/>
                  </a:cubicBezTo>
                  <a:close/>
                  <a:moveTo>
                    <a:pt x="278" y="248"/>
                  </a:moveTo>
                  <a:cubicBezTo>
                    <a:pt x="274" y="246"/>
                    <a:pt x="273" y="240"/>
                    <a:pt x="273" y="233"/>
                  </a:cubicBezTo>
                  <a:cubicBezTo>
                    <a:pt x="277" y="234"/>
                    <a:pt x="279" y="240"/>
                    <a:pt x="278" y="248"/>
                  </a:cubicBezTo>
                  <a:close/>
                  <a:moveTo>
                    <a:pt x="267" y="174"/>
                  </a:moveTo>
                  <a:cubicBezTo>
                    <a:pt x="269" y="174"/>
                    <a:pt x="271" y="174"/>
                    <a:pt x="273" y="174"/>
                  </a:cubicBezTo>
                  <a:cubicBezTo>
                    <a:pt x="273" y="177"/>
                    <a:pt x="273" y="179"/>
                    <a:pt x="273" y="182"/>
                  </a:cubicBezTo>
                  <a:cubicBezTo>
                    <a:pt x="271" y="182"/>
                    <a:pt x="269" y="182"/>
                    <a:pt x="267" y="182"/>
                  </a:cubicBezTo>
                  <a:cubicBezTo>
                    <a:pt x="267" y="179"/>
                    <a:pt x="267" y="177"/>
                    <a:pt x="267" y="174"/>
                  </a:cubicBezTo>
                  <a:close/>
                  <a:moveTo>
                    <a:pt x="276" y="259"/>
                  </a:moveTo>
                  <a:cubicBezTo>
                    <a:pt x="277" y="257"/>
                    <a:pt x="279" y="253"/>
                    <a:pt x="278" y="252"/>
                  </a:cubicBezTo>
                  <a:cubicBezTo>
                    <a:pt x="281" y="254"/>
                    <a:pt x="279" y="256"/>
                    <a:pt x="281" y="259"/>
                  </a:cubicBezTo>
                  <a:cubicBezTo>
                    <a:pt x="283" y="262"/>
                    <a:pt x="289" y="264"/>
                    <a:pt x="286" y="278"/>
                  </a:cubicBezTo>
                  <a:cubicBezTo>
                    <a:pt x="284" y="284"/>
                    <a:pt x="283" y="275"/>
                    <a:pt x="283" y="270"/>
                  </a:cubicBezTo>
                  <a:cubicBezTo>
                    <a:pt x="284" y="266"/>
                    <a:pt x="275" y="260"/>
                    <a:pt x="270" y="259"/>
                  </a:cubicBezTo>
                  <a:cubicBezTo>
                    <a:pt x="268" y="259"/>
                    <a:pt x="265" y="266"/>
                    <a:pt x="265" y="259"/>
                  </a:cubicBezTo>
                  <a:cubicBezTo>
                    <a:pt x="257" y="254"/>
                    <a:pt x="274" y="257"/>
                    <a:pt x="276" y="259"/>
                  </a:cubicBezTo>
                  <a:close/>
                  <a:moveTo>
                    <a:pt x="259" y="237"/>
                  </a:moveTo>
                  <a:cubicBezTo>
                    <a:pt x="263" y="238"/>
                    <a:pt x="260" y="248"/>
                    <a:pt x="265" y="248"/>
                  </a:cubicBezTo>
                  <a:cubicBezTo>
                    <a:pt x="264" y="257"/>
                    <a:pt x="257" y="245"/>
                    <a:pt x="259" y="237"/>
                  </a:cubicBezTo>
                  <a:close/>
                  <a:moveTo>
                    <a:pt x="257" y="270"/>
                  </a:moveTo>
                  <a:cubicBezTo>
                    <a:pt x="250" y="282"/>
                    <a:pt x="261" y="262"/>
                    <a:pt x="254" y="263"/>
                  </a:cubicBezTo>
                  <a:cubicBezTo>
                    <a:pt x="255" y="249"/>
                    <a:pt x="265" y="271"/>
                    <a:pt x="257" y="270"/>
                  </a:cubicBezTo>
                  <a:close/>
                  <a:moveTo>
                    <a:pt x="251" y="174"/>
                  </a:moveTo>
                  <a:cubicBezTo>
                    <a:pt x="253" y="174"/>
                    <a:pt x="255" y="174"/>
                    <a:pt x="257" y="174"/>
                  </a:cubicBezTo>
                  <a:cubicBezTo>
                    <a:pt x="257" y="177"/>
                    <a:pt x="257" y="179"/>
                    <a:pt x="257" y="182"/>
                  </a:cubicBezTo>
                  <a:cubicBezTo>
                    <a:pt x="255" y="182"/>
                    <a:pt x="253" y="182"/>
                    <a:pt x="251" y="182"/>
                  </a:cubicBezTo>
                  <a:cubicBezTo>
                    <a:pt x="251" y="179"/>
                    <a:pt x="251" y="177"/>
                    <a:pt x="251" y="174"/>
                  </a:cubicBezTo>
                  <a:close/>
                  <a:moveTo>
                    <a:pt x="249" y="289"/>
                  </a:moveTo>
                  <a:cubicBezTo>
                    <a:pt x="251" y="289"/>
                    <a:pt x="251" y="284"/>
                    <a:pt x="251" y="281"/>
                  </a:cubicBezTo>
                  <a:cubicBezTo>
                    <a:pt x="253" y="283"/>
                    <a:pt x="257" y="285"/>
                    <a:pt x="257" y="289"/>
                  </a:cubicBezTo>
                  <a:cubicBezTo>
                    <a:pt x="256" y="289"/>
                    <a:pt x="251" y="293"/>
                    <a:pt x="251" y="292"/>
                  </a:cubicBezTo>
                  <a:cubicBezTo>
                    <a:pt x="251" y="299"/>
                    <a:pt x="257" y="302"/>
                    <a:pt x="254" y="311"/>
                  </a:cubicBezTo>
                  <a:cubicBezTo>
                    <a:pt x="241" y="308"/>
                    <a:pt x="251" y="297"/>
                    <a:pt x="246" y="285"/>
                  </a:cubicBezTo>
                  <a:cubicBezTo>
                    <a:pt x="248" y="284"/>
                    <a:pt x="248" y="286"/>
                    <a:pt x="249" y="289"/>
                  </a:cubicBezTo>
                  <a:close/>
                  <a:moveTo>
                    <a:pt x="243" y="274"/>
                  </a:moveTo>
                  <a:cubicBezTo>
                    <a:pt x="240" y="279"/>
                    <a:pt x="242" y="275"/>
                    <a:pt x="240" y="270"/>
                  </a:cubicBezTo>
                  <a:cubicBezTo>
                    <a:pt x="240" y="270"/>
                    <a:pt x="238" y="270"/>
                    <a:pt x="238" y="270"/>
                  </a:cubicBezTo>
                  <a:cubicBezTo>
                    <a:pt x="238" y="265"/>
                    <a:pt x="240" y="270"/>
                    <a:pt x="240" y="270"/>
                  </a:cubicBezTo>
                  <a:cubicBezTo>
                    <a:pt x="245" y="273"/>
                    <a:pt x="246" y="271"/>
                    <a:pt x="243" y="274"/>
                  </a:cubicBezTo>
                  <a:close/>
                  <a:moveTo>
                    <a:pt x="227" y="304"/>
                  </a:moveTo>
                  <a:cubicBezTo>
                    <a:pt x="226" y="296"/>
                    <a:pt x="239" y="298"/>
                    <a:pt x="235" y="307"/>
                  </a:cubicBezTo>
                  <a:cubicBezTo>
                    <a:pt x="233" y="307"/>
                    <a:pt x="231" y="307"/>
                    <a:pt x="230" y="307"/>
                  </a:cubicBezTo>
                  <a:cubicBezTo>
                    <a:pt x="230" y="304"/>
                    <a:pt x="229" y="304"/>
                    <a:pt x="227" y="304"/>
                  </a:cubicBezTo>
                  <a:close/>
                  <a:moveTo>
                    <a:pt x="235" y="278"/>
                  </a:moveTo>
                  <a:cubicBezTo>
                    <a:pt x="238" y="279"/>
                    <a:pt x="237" y="285"/>
                    <a:pt x="240" y="285"/>
                  </a:cubicBezTo>
                  <a:cubicBezTo>
                    <a:pt x="239" y="295"/>
                    <a:pt x="232" y="285"/>
                    <a:pt x="235" y="278"/>
                  </a:cubicBezTo>
                  <a:close/>
                  <a:moveTo>
                    <a:pt x="235" y="244"/>
                  </a:moveTo>
                  <a:cubicBezTo>
                    <a:pt x="238" y="245"/>
                    <a:pt x="237" y="252"/>
                    <a:pt x="240" y="252"/>
                  </a:cubicBezTo>
                  <a:cubicBezTo>
                    <a:pt x="240" y="255"/>
                    <a:pt x="237" y="255"/>
                    <a:pt x="235" y="255"/>
                  </a:cubicBezTo>
                  <a:cubicBezTo>
                    <a:pt x="235" y="259"/>
                    <a:pt x="236" y="259"/>
                    <a:pt x="238" y="259"/>
                  </a:cubicBezTo>
                  <a:cubicBezTo>
                    <a:pt x="237" y="268"/>
                    <a:pt x="231" y="255"/>
                    <a:pt x="227" y="255"/>
                  </a:cubicBezTo>
                  <a:cubicBezTo>
                    <a:pt x="227" y="251"/>
                    <a:pt x="230" y="253"/>
                    <a:pt x="230" y="255"/>
                  </a:cubicBezTo>
                  <a:cubicBezTo>
                    <a:pt x="232" y="253"/>
                    <a:pt x="234" y="249"/>
                    <a:pt x="235" y="244"/>
                  </a:cubicBezTo>
                  <a:close/>
                  <a:moveTo>
                    <a:pt x="230" y="163"/>
                  </a:moveTo>
                  <a:cubicBezTo>
                    <a:pt x="231" y="162"/>
                    <a:pt x="222" y="159"/>
                    <a:pt x="222" y="159"/>
                  </a:cubicBezTo>
                  <a:cubicBezTo>
                    <a:pt x="221" y="153"/>
                    <a:pt x="236" y="154"/>
                    <a:pt x="230" y="163"/>
                  </a:cubicBezTo>
                  <a:close/>
                  <a:moveTo>
                    <a:pt x="222" y="244"/>
                  </a:moveTo>
                  <a:cubicBezTo>
                    <a:pt x="218" y="243"/>
                    <a:pt x="216" y="240"/>
                    <a:pt x="216" y="233"/>
                  </a:cubicBezTo>
                  <a:cubicBezTo>
                    <a:pt x="219" y="235"/>
                    <a:pt x="222" y="238"/>
                    <a:pt x="222" y="244"/>
                  </a:cubicBezTo>
                  <a:close/>
                  <a:moveTo>
                    <a:pt x="214" y="270"/>
                  </a:moveTo>
                  <a:cubicBezTo>
                    <a:pt x="212" y="260"/>
                    <a:pt x="226" y="273"/>
                    <a:pt x="224" y="263"/>
                  </a:cubicBezTo>
                  <a:cubicBezTo>
                    <a:pt x="230" y="265"/>
                    <a:pt x="220" y="277"/>
                    <a:pt x="222" y="285"/>
                  </a:cubicBezTo>
                  <a:cubicBezTo>
                    <a:pt x="221" y="299"/>
                    <a:pt x="215" y="274"/>
                    <a:pt x="222" y="278"/>
                  </a:cubicBezTo>
                  <a:cubicBezTo>
                    <a:pt x="220" y="274"/>
                    <a:pt x="217" y="272"/>
                    <a:pt x="214" y="270"/>
                  </a:cubicBezTo>
                  <a:close/>
                  <a:moveTo>
                    <a:pt x="216" y="337"/>
                  </a:moveTo>
                  <a:cubicBezTo>
                    <a:pt x="216" y="326"/>
                    <a:pt x="218" y="334"/>
                    <a:pt x="222" y="333"/>
                  </a:cubicBezTo>
                  <a:cubicBezTo>
                    <a:pt x="223" y="333"/>
                    <a:pt x="234" y="322"/>
                    <a:pt x="232" y="337"/>
                  </a:cubicBezTo>
                  <a:cubicBezTo>
                    <a:pt x="238" y="339"/>
                    <a:pt x="242" y="319"/>
                    <a:pt x="232" y="322"/>
                  </a:cubicBezTo>
                  <a:cubicBezTo>
                    <a:pt x="232" y="318"/>
                    <a:pt x="232" y="315"/>
                    <a:pt x="232" y="311"/>
                  </a:cubicBezTo>
                  <a:cubicBezTo>
                    <a:pt x="236" y="315"/>
                    <a:pt x="238" y="321"/>
                    <a:pt x="240" y="326"/>
                  </a:cubicBezTo>
                  <a:cubicBezTo>
                    <a:pt x="241" y="332"/>
                    <a:pt x="238" y="332"/>
                    <a:pt x="238" y="337"/>
                  </a:cubicBezTo>
                  <a:cubicBezTo>
                    <a:pt x="237" y="349"/>
                    <a:pt x="242" y="368"/>
                    <a:pt x="232" y="366"/>
                  </a:cubicBezTo>
                  <a:cubicBezTo>
                    <a:pt x="235" y="356"/>
                    <a:pt x="235" y="351"/>
                    <a:pt x="232" y="341"/>
                  </a:cubicBezTo>
                  <a:cubicBezTo>
                    <a:pt x="226" y="339"/>
                    <a:pt x="234" y="357"/>
                    <a:pt x="224" y="352"/>
                  </a:cubicBezTo>
                  <a:cubicBezTo>
                    <a:pt x="224" y="346"/>
                    <a:pt x="227" y="345"/>
                    <a:pt x="227" y="341"/>
                  </a:cubicBezTo>
                  <a:cubicBezTo>
                    <a:pt x="226" y="328"/>
                    <a:pt x="215" y="347"/>
                    <a:pt x="216" y="337"/>
                  </a:cubicBezTo>
                  <a:close/>
                  <a:moveTo>
                    <a:pt x="211" y="703"/>
                  </a:moveTo>
                  <a:cubicBezTo>
                    <a:pt x="210" y="696"/>
                    <a:pt x="203" y="696"/>
                    <a:pt x="205" y="684"/>
                  </a:cubicBezTo>
                  <a:cubicBezTo>
                    <a:pt x="208" y="684"/>
                    <a:pt x="211" y="684"/>
                    <a:pt x="214" y="684"/>
                  </a:cubicBezTo>
                  <a:cubicBezTo>
                    <a:pt x="216" y="693"/>
                    <a:pt x="215" y="705"/>
                    <a:pt x="222" y="707"/>
                  </a:cubicBezTo>
                  <a:cubicBezTo>
                    <a:pt x="221" y="712"/>
                    <a:pt x="215" y="710"/>
                    <a:pt x="211" y="710"/>
                  </a:cubicBezTo>
                  <a:cubicBezTo>
                    <a:pt x="209" y="707"/>
                    <a:pt x="208" y="704"/>
                    <a:pt x="211" y="703"/>
                  </a:cubicBezTo>
                  <a:close/>
                  <a:moveTo>
                    <a:pt x="214" y="795"/>
                  </a:moveTo>
                  <a:cubicBezTo>
                    <a:pt x="224" y="806"/>
                    <a:pt x="204" y="810"/>
                    <a:pt x="214" y="795"/>
                  </a:cubicBezTo>
                  <a:close/>
                  <a:moveTo>
                    <a:pt x="214" y="788"/>
                  </a:moveTo>
                  <a:cubicBezTo>
                    <a:pt x="212" y="779"/>
                    <a:pt x="218" y="780"/>
                    <a:pt x="216" y="770"/>
                  </a:cubicBezTo>
                  <a:cubicBezTo>
                    <a:pt x="219" y="772"/>
                    <a:pt x="222" y="774"/>
                    <a:pt x="227" y="773"/>
                  </a:cubicBezTo>
                  <a:cubicBezTo>
                    <a:pt x="227" y="777"/>
                    <a:pt x="224" y="776"/>
                    <a:pt x="222" y="777"/>
                  </a:cubicBezTo>
                  <a:cubicBezTo>
                    <a:pt x="221" y="783"/>
                    <a:pt x="224" y="784"/>
                    <a:pt x="227" y="784"/>
                  </a:cubicBezTo>
                  <a:cubicBezTo>
                    <a:pt x="228" y="790"/>
                    <a:pt x="216" y="793"/>
                    <a:pt x="224" y="795"/>
                  </a:cubicBezTo>
                  <a:cubicBezTo>
                    <a:pt x="222" y="806"/>
                    <a:pt x="218" y="787"/>
                    <a:pt x="214" y="788"/>
                  </a:cubicBezTo>
                  <a:close/>
                  <a:moveTo>
                    <a:pt x="227" y="832"/>
                  </a:moveTo>
                  <a:cubicBezTo>
                    <a:pt x="217" y="831"/>
                    <a:pt x="220" y="823"/>
                    <a:pt x="222" y="814"/>
                  </a:cubicBezTo>
                  <a:cubicBezTo>
                    <a:pt x="227" y="814"/>
                    <a:pt x="227" y="823"/>
                    <a:pt x="227" y="832"/>
                  </a:cubicBezTo>
                  <a:close/>
                  <a:moveTo>
                    <a:pt x="227" y="640"/>
                  </a:moveTo>
                  <a:cubicBezTo>
                    <a:pt x="230" y="629"/>
                    <a:pt x="236" y="642"/>
                    <a:pt x="238" y="644"/>
                  </a:cubicBezTo>
                  <a:cubicBezTo>
                    <a:pt x="237" y="653"/>
                    <a:pt x="231" y="640"/>
                    <a:pt x="227" y="640"/>
                  </a:cubicBezTo>
                  <a:close/>
                  <a:moveTo>
                    <a:pt x="232" y="559"/>
                  </a:moveTo>
                  <a:cubicBezTo>
                    <a:pt x="235" y="549"/>
                    <a:pt x="238" y="567"/>
                    <a:pt x="243" y="566"/>
                  </a:cubicBezTo>
                  <a:cubicBezTo>
                    <a:pt x="238" y="579"/>
                    <a:pt x="238" y="557"/>
                    <a:pt x="232" y="559"/>
                  </a:cubicBezTo>
                  <a:close/>
                  <a:moveTo>
                    <a:pt x="240" y="692"/>
                  </a:moveTo>
                  <a:cubicBezTo>
                    <a:pt x="243" y="689"/>
                    <a:pt x="243" y="684"/>
                    <a:pt x="243" y="677"/>
                  </a:cubicBezTo>
                  <a:cubicBezTo>
                    <a:pt x="248" y="676"/>
                    <a:pt x="248" y="698"/>
                    <a:pt x="240" y="692"/>
                  </a:cubicBezTo>
                  <a:close/>
                  <a:moveTo>
                    <a:pt x="246" y="592"/>
                  </a:moveTo>
                  <a:cubicBezTo>
                    <a:pt x="245" y="594"/>
                    <a:pt x="238" y="582"/>
                    <a:pt x="243" y="577"/>
                  </a:cubicBezTo>
                  <a:cubicBezTo>
                    <a:pt x="245" y="576"/>
                    <a:pt x="248" y="590"/>
                    <a:pt x="246" y="592"/>
                  </a:cubicBezTo>
                  <a:close/>
                  <a:moveTo>
                    <a:pt x="238" y="555"/>
                  </a:moveTo>
                  <a:cubicBezTo>
                    <a:pt x="238" y="547"/>
                    <a:pt x="250" y="554"/>
                    <a:pt x="249" y="544"/>
                  </a:cubicBezTo>
                  <a:cubicBezTo>
                    <a:pt x="252" y="550"/>
                    <a:pt x="264" y="545"/>
                    <a:pt x="267" y="551"/>
                  </a:cubicBezTo>
                  <a:cubicBezTo>
                    <a:pt x="262" y="560"/>
                    <a:pt x="249" y="542"/>
                    <a:pt x="249" y="562"/>
                  </a:cubicBezTo>
                  <a:cubicBezTo>
                    <a:pt x="244" y="561"/>
                    <a:pt x="246" y="551"/>
                    <a:pt x="238" y="555"/>
                  </a:cubicBezTo>
                  <a:close/>
                  <a:moveTo>
                    <a:pt x="249" y="651"/>
                  </a:moveTo>
                  <a:cubicBezTo>
                    <a:pt x="258" y="647"/>
                    <a:pt x="253" y="663"/>
                    <a:pt x="254" y="670"/>
                  </a:cubicBezTo>
                  <a:cubicBezTo>
                    <a:pt x="245" y="665"/>
                    <a:pt x="253" y="662"/>
                    <a:pt x="249" y="651"/>
                  </a:cubicBezTo>
                  <a:close/>
                  <a:moveTo>
                    <a:pt x="254" y="847"/>
                  </a:moveTo>
                  <a:cubicBezTo>
                    <a:pt x="250" y="846"/>
                    <a:pt x="252" y="838"/>
                    <a:pt x="251" y="832"/>
                  </a:cubicBezTo>
                  <a:cubicBezTo>
                    <a:pt x="262" y="831"/>
                    <a:pt x="253" y="840"/>
                    <a:pt x="254" y="847"/>
                  </a:cubicBezTo>
                  <a:close/>
                  <a:moveTo>
                    <a:pt x="262" y="633"/>
                  </a:moveTo>
                  <a:cubicBezTo>
                    <a:pt x="250" y="627"/>
                    <a:pt x="264" y="620"/>
                    <a:pt x="262" y="607"/>
                  </a:cubicBezTo>
                  <a:cubicBezTo>
                    <a:pt x="255" y="606"/>
                    <a:pt x="254" y="613"/>
                    <a:pt x="251" y="618"/>
                  </a:cubicBezTo>
                  <a:cubicBezTo>
                    <a:pt x="247" y="616"/>
                    <a:pt x="251" y="615"/>
                    <a:pt x="251" y="611"/>
                  </a:cubicBezTo>
                  <a:cubicBezTo>
                    <a:pt x="250" y="605"/>
                    <a:pt x="254" y="604"/>
                    <a:pt x="254" y="599"/>
                  </a:cubicBezTo>
                  <a:cubicBezTo>
                    <a:pt x="251" y="594"/>
                    <a:pt x="249" y="579"/>
                    <a:pt x="251" y="570"/>
                  </a:cubicBezTo>
                  <a:cubicBezTo>
                    <a:pt x="251" y="569"/>
                    <a:pt x="254" y="570"/>
                    <a:pt x="254" y="566"/>
                  </a:cubicBezTo>
                  <a:cubicBezTo>
                    <a:pt x="254" y="560"/>
                    <a:pt x="255" y="559"/>
                    <a:pt x="259" y="559"/>
                  </a:cubicBezTo>
                  <a:cubicBezTo>
                    <a:pt x="260" y="566"/>
                    <a:pt x="257" y="569"/>
                    <a:pt x="257" y="574"/>
                  </a:cubicBezTo>
                  <a:cubicBezTo>
                    <a:pt x="258" y="582"/>
                    <a:pt x="261" y="569"/>
                    <a:pt x="265" y="577"/>
                  </a:cubicBezTo>
                  <a:cubicBezTo>
                    <a:pt x="261" y="589"/>
                    <a:pt x="265" y="592"/>
                    <a:pt x="262" y="599"/>
                  </a:cubicBezTo>
                  <a:cubicBezTo>
                    <a:pt x="260" y="611"/>
                    <a:pt x="269" y="607"/>
                    <a:pt x="267" y="618"/>
                  </a:cubicBezTo>
                  <a:cubicBezTo>
                    <a:pt x="258" y="618"/>
                    <a:pt x="267" y="623"/>
                    <a:pt x="262" y="633"/>
                  </a:cubicBezTo>
                  <a:close/>
                  <a:moveTo>
                    <a:pt x="265" y="666"/>
                  </a:moveTo>
                  <a:cubicBezTo>
                    <a:pt x="269" y="667"/>
                    <a:pt x="270" y="662"/>
                    <a:pt x="275" y="662"/>
                  </a:cubicBezTo>
                  <a:cubicBezTo>
                    <a:pt x="273" y="664"/>
                    <a:pt x="264" y="682"/>
                    <a:pt x="265" y="666"/>
                  </a:cubicBezTo>
                  <a:close/>
                  <a:moveTo>
                    <a:pt x="278" y="766"/>
                  </a:moveTo>
                  <a:cubicBezTo>
                    <a:pt x="273" y="766"/>
                    <a:pt x="272" y="761"/>
                    <a:pt x="267" y="762"/>
                  </a:cubicBezTo>
                  <a:cubicBezTo>
                    <a:pt x="268" y="758"/>
                    <a:pt x="273" y="758"/>
                    <a:pt x="273" y="762"/>
                  </a:cubicBezTo>
                  <a:cubicBezTo>
                    <a:pt x="275" y="761"/>
                    <a:pt x="278" y="759"/>
                    <a:pt x="278" y="755"/>
                  </a:cubicBezTo>
                  <a:cubicBezTo>
                    <a:pt x="283" y="745"/>
                    <a:pt x="278" y="761"/>
                    <a:pt x="278" y="766"/>
                  </a:cubicBezTo>
                  <a:close/>
                  <a:moveTo>
                    <a:pt x="275" y="721"/>
                  </a:moveTo>
                  <a:cubicBezTo>
                    <a:pt x="275" y="717"/>
                    <a:pt x="280" y="716"/>
                    <a:pt x="281" y="714"/>
                  </a:cubicBezTo>
                  <a:cubicBezTo>
                    <a:pt x="282" y="710"/>
                    <a:pt x="272" y="697"/>
                    <a:pt x="283" y="699"/>
                  </a:cubicBezTo>
                  <a:cubicBezTo>
                    <a:pt x="283" y="702"/>
                    <a:pt x="281" y="703"/>
                    <a:pt x="281" y="707"/>
                  </a:cubicBezTo>
                  <a:cubicBezTo>
                    <a:pt x="279" y="713"/>
                    <a:pt x="288" y="712"/>
                    <a:pt x="289" y="714"/>
                  </a:cubicBezTo>
                  <a:cubicBezTo>
                    <a:pt x="290" y="718"/>
                    <a:pt x="284" y="717"/>
                    <a:pt x="283" y="718"/>
                  </a:cubicBezTo>
                  <a:cubicBezTo>
                    <a:pt x="282" y="723"/>
                    <a:pt x="292" y="724"/>
                    <a:pt x="289" y="733"/>
                  </a:cubicBezTo>
                  <a:cubicBezTo>
                    <a:pt x="279" y="737"/>
                    <a:pt x="285" y="719"/>
                    <a:pt x="275" y="721"/>
                  </a:cubicBezTo>
                  <a:close/>
                  <a:moveTo>
                    <a:pt x="281" y="766"/>
                  </a:moveTo>
                  <a:cubicBezTo>
                    <a:pt x="281" y="759"/>
                    <a:pt x="288" y="761"/>
                    <a:pt x="286" y="751"/>
                  </a:cubicBezTo>
                  <a:cubicBezTo>
                    <a:pt x="292" y="753"/>
                    <a:pt x="290" y="773"/>
                    <a:pt x="281" y="766"/>
                  </a:cubicBezTo>
                  <a:close/>
                  <a:moveTo>
                    <a:pt x="286" y="648"/>
                  </a:moveTo>
                  <a:cubicBezTo>
                    <a:pt x="286" y="643"/>
                    <a:pt x="286" y="638"/>
                    <a:pt x="286" y="633"/>
                  </a:cubicBezTo>
                  <a:cubicBezTo>
                    <a:pt x="289" y="634"/>
                    <a:pt x="291" y="636"/>
                    <a:pt x="292" y="640"/>
                  </a:cubicBezTo>
                  <a:cubicBezTo>
                    <a:pt x="294" y="640"/>
                    <a:pt x="294" y="636"/>
                    <a:pt x="294" y="633"/>
                  </a:cubicBezTo>
                  <a:cubicBezTo>
                    <a:pt x="304" y="636"/>
                    <a:pt x="296" y="650"/>
                    <a:pt x="286" y="648"/>
                  </a:cubicBezTo>
                  <a:close/>
                  <a:moveTo>
                    <a:pt x="297" y="777"/>
                  </a:moveTo>
                  <a:cubicBezTo>
                    <a:pt x="298" y="784"/>
                    <a:pt x="296" y="789"/>
                    <a:pt x="292" y="788"/>
                  </a:cubicBezTo>
                  <a:cubicBezTo>
                    <a:pt x="292" y="782"/>
                    <a:pt x="292" y="776"/>
                    <a:pt x="292" y="770"/>
                  </a:cubicBezTo>
                  <a:cubicBezTo>
                    <a:pt x="294" y="772"/>
                    <a:pt x="299" y="775"/>
                    <a:pt x="300" y="770"/>
                  </a:cubicBezTo>
                  <a:cubicBezTo>
                    <a:pt x="304" y="772"/>
                    <a:pt x="301" y="778"/>
                    <a:pt x="297" y="777"/>
                  </a:cubicBezTo>
                  <a:close/>
                  <a:moveTo>
                    <a:pt x="300" y="755"/>
                  </a:moveTo>
                  <a:cubicBezTo>
                    <a:pt x="300" y="755"/>
                    <a:pt x="300" y="750"/>
                    <a:pt x="302" y="751"/>
                  </a:cubicBezTo>
                  <a:cubicBezTo>
                    <a:pt x="300" y="751"/>
                    <a:pt x="306" y="756"/>
                    <a:pt x="305" y="755"/>
                  </a:cubicBezTo>
                  <a:cubicBezTo>
                    <a:pt x="307" y="759"/>
                    <a:pt x="286" y="756"/>
                    <a:pt x="300" y="755"/>
                  </a:cubicBezTo>
                  <a:close/>
                  <a:moveTo>
                    <a:pt x="361" y="825"/>
                  </a:moveTo>
                  <a:cubicBezTo>
                    <a:pt x="360" y="824"/>
                    <a:pt x="355" y="827"/>
                    <a:pt x="353" y="825"/>
                  </a:cubicBezTo>
                  <a:cubicBezTo>
                    <a:pt x="353" y="824"/>
                    <a:pt x="354" y="818"/>
                    <a:pt x="353" y="818"/>
                  </a:cubicBezTo>
                  <a:cubicBezTo>
                    <a:pt x="348" y="814"/>
                    <a:pt x="338" y="818"/>
                    <a:pt x="337" y="807"/>
                  </a:cubicBezTo>
                  <a:cubicBezTo>
                    <a:pt x="325" y="808"/>
                    <a:pt x="318" y="804"/>
                    <a:pt x="316" y="792"/>
                  </a:cubicBezTo>
                  <a:cubicBezTo>
                    <a:pt x="312" y="796"/>
                    <a:pt x="309" y="796"/>
                    <a:pt x="305" y="792"/>
                  </a:cubicBezTo>
                  <a:cubicBezTo>
                    <a:pt x="304" y="780"/>
                    <a:pt x="310" y="776"/>
                    <a:pt x="308" y="762"/>
                  </a:cubicBezTo>
                  <a:cubicBezTo>
                    <a:pt x="311" y="748"/>
                    <a:pt x="310" y="801"/>
                    <a:pt x="316" y="773"/>
                  </a:cubicBezTo>
                  <a:cubicBezTo>
                    <a:pt x="325" y="774"/>
                    <a:pt x="309" y="789"/>
                    <a:pt x="318" y="792"/>
                  </a:cubicBezTo>
                  <a:cubicBezTo>
                    <a:pt x="322" y="787"/>
                    <a:pt x="322" y="778"/>
                    <a:pt x="326" y="773"/>
                  </a:cubicBezTo>
                  <a:cubicBezTo>
                    <a:pt x="326" y="771"/>
                    <a:pt x="326" y="768"/>
                    <a:pt x="326" y="766"/>
                  </a:cubicBezTo>
                  <a:cubicBezTo>
                    <a:pt x="330" y="766"/>
                    <a:pt x="329" y="773"/>
                    <a:pt x="329" y="777"/>
                  </a:cubicBezTo>
                  <a:cubicBezTo>
                    <a:pt x="329" y="781"/>
                    <a:pt x="333" y="779"/>
                    <a:pt x="335" y="781"/>
                  </a:cubicBezTo>
                  <a:cubicBezTo>
                    <a:pt x="337" y="785"/>
                    <a:pt x="334" y="793"/>
                    <a:pt x="337" y="795"/>
                  </a:cubicBezTo>
                  <a:cubicBezTo>
                    <a:pt x="342" y="794"/>
                    <a:pt x="339" y="781"/>
                    <a:pt x="348" y="784"/>
                  </a:cubicBezTo>
                  <a:cubicBezTo>
                    <a:pt x="347" y="789"/>
                    <a:pt x="343" y="790"/>
                    <a:pt x="343" y="795"/>
                  </a:cubicBezTo>
                  <a:cubicBezTo>
                    <a:pt x="343" y="803"/>
                    <a:pt x="352" y="791"/>
                    <a:pt x="359" y="795"/>
                  </a:cubicBezTo>
                  <a:cubicBezTo>
                    <a:pt x="359" y="813"/>
                    <a:pt x="366" y="808"/>
                    <a:pt x="361" y="825"/>
                  </a:cubicBezTo>
                  <a:close/>
                  <a:moveTo>
                    <a:pt x="415" y="851"/>
                  </a:moveTo>
                  <a:cubicBezTo>
                    <a:pt x="407" y="853"/>
                    <a:pt x="414" y="833"/>
                    <a:pt x="404" y="836"/>
                  </a:cubicBezTo>
                  <a:cubicBezTo>
                    <a:pt x="400" y="838"/>
                    <a:pt x="405" y="841"/>
                    <a:pt x="404" y="847"/>
                  </a:cubicBezTo>
                  <a:cubicBezTo>
                    <a:pt x="399" y="847"/>
                    <a:pt x="401" y="840"/>
                    <a:pt x="399" y="836"/>
                  </a:cubicBezTo>
                  <a:cubicBezTo>
                    <a:pt x="396" y="830"/>
                    <a:pt x="395" y="830"/>
                    <a:pt x="391" y="825"/>
                  </a:cubicBezTo>
                  <a:cubicBezTo>
                    <a:pt x="387" y="828"/>
                    <a:pt x="392" y="831"/>
                    <a:pt x="388" y="840"/>
                  </a:cubicBezTo>
                  <a:cubicBezTo>
                    <a:pt x="386" y="840"/>
                    <a:pt x="386" y="835"/>
                    <a:pt x="386" y="832"/>
                  </a:cubicBezTo>
                  <a:cubicBezTo>
                    <a:pt x="378" y="829"/>
                    <a:pt x="379" y="838"/>
                    <a:pt x="372" y="836"/>
                  </a:cubicBezTo>
                  <a:cubicBezTo>
                    <a:pt x="371" y="835"/>
                    <a:pt x="368" y="818"/>
                    <a:pt x="367" y="829"/>
                  </a:cubicBezTo>
                  <a:cubicBezTo>
                    <a:pt x="361" y="830"/>
                    <a:pt x="367" y="818"/>
                    <a:pt x="370" y="818"/>
                  </a:cubicBezTo>
                  <a:cubicBezTo>
                    <a:pt x="367" y="809"/>
                    <a:pt x="365" y="798"/>
                    <a:pt x="378" y="795"/>
                  </a:cubicBezTo>
                  <a:cubicBezTo>
                    <a:pt x="376" y="803"/>
                    <a:pt x="383" y="804"/>
                    <a:pt x="383" y="799"/>
                  </a:cubicBezTo>
                  <a:cubicBezTo>
                    <a:pt x="388" y="802"/>
                    <a:pt x="383" y="806"/>
                    <a:pt x="383" y="810"/>
                  </a:cubicBezTo>
                  <a:cubicBezTo>
                    <a:pt x="386" y="817"/>
                    <a:pt x="386" y="807"/>
                    <a:pt x="391" y="814"/>
                  </a:cubicBezTo>
                  <a:cubicBezTo>
                    <a:pt x="397" y="822"/>
                    <a:pt x="394" y="802"/>
                    <a:pt x="402" y="807"/>
                  </a:cubicBezTo>
                  <a:cubicBezTo>
                    <a:pt x="403" y="816"/>
                    <a:pt x="403" y="827"/>
                    <a:pt x="407" y="832"/>
                  </a:cubicBezTo>
                  <a:cubicBezTo>
                    <a:pt x="415" y="832"/>
                    <a:pt x="401" y="822"/>
                    <a:pt x="412" y="825"/>
                  </a:cubicBezTo>
                  <a:cubicBezTo>
                    <a:pt x="410" y="838"/>
                    <a:pt x="417" y="839"/>
                    <a:pt x="415" y="851"/>
                  </a:cubicBezTo>
                  <a:close/>
                  <a:moveTo>
                    <a:pt x="466" y="866"/>
                  </a:moveTo>
                  <a:cubicBezTo>
                    <a:pt x="465" y="863"/>
                    <a:pt x="475" y="860"/>
                    <a:pt x="477" y="862"/>
                  </a:cubicBezTo>
                  <a:cubicBezTo>
                    <a:pt x="478" y="864"/>
                    <a:pt x="470" y="873"/>
                    <a:pt x="466" y="866"/>
                  </a:cubicBezTo>
                  <a:close/>
                  <a:moveTo>
                    <a:pt x="485" y="807"/>
                  </a:moveTo>
                  <a:cubicBezTo>
                    <a:pt x="482" y="797"/>
                    <a:pt x="477" y="818"/>
                    <a:pt x="472" y="818"/>
                  </a:cubicBezTo>
                  <a:cubicBezTo>
                    <a:pt x="468" y="837"/>
                    <a:pt x="482" y="845"/>
                    <a:pt x="474" y="858"/>
                  </a:cubicBezTo>
                  <a:cubicBezTo>
                    <a:pt x="469" y="858"/>
                    <a:pt x="473" y="846"/>
                    <a:pt x="469" y="844"/>
                  </a:cubicBezTo>
                  <a:cubicBezTo>
                    <a:pt x="464" y="843"/>
                    <a:pt x="468" y="855"/>
                    <a:pt x="466" y="858"/>
                  </a:cubicBezTo>
                  <a:cubicBezTo>
                    <a:pt x="466" y="859"/>
                    <a:pt x="454" y="847"/>
                    <a:pt x="458" y="862"/>
                  </a:cubicBezTo>
                  <a:cubicBezTo>
                    <a:pt x="451" y="866"/>
                    <a:pt x="445" y="851"/>
                    <a:pt x="442" y="862"/>
                  </a:cubicBezTo>
                  <a:cubicBezTo>
                    <a:pt x="438" y="857"/>
                    <a:pt x="439" y="844"/>
                    <a:pt x="431" y="844"/>
                  </a:cubicBezTo>
                  <a:cubicBezTo>
                    <a:pt x="428" y="844"/>
                    <a:pt x="429" y="851"/>
                    <a:pt x="431" y="851"/>
                  </a:cubicBezTo>
                  <a:cubicBezTo>
                    <a:pt x="430" y="862"/>
                    <a:pt x="418" y="849"/>
                    <a:pt x="418" y="847"/>
                  </a:cubicBezTo>
                  <a:cubicBezTo>
                    <a:pt x="418" y="845"/>
                    <a:pt x="426" y="835"/>
                    <a:pt x="415" y="836"/>
                  </a:cubicBezTo>
                  <a:cubicBezTo>
                    <a:pt x="415" y="829"/>
                    <a:pt x="419" y="828"/>
                    <a:pt x="418" y="821"/>
                  </a:cubicBezTo>
                  <a:cubicBezTo>
                    <a:pt x="428" y="819"/>
                    <a:pt x="430" y="827"/>
                    <a:pt x="429" y="840"/>
                  </a:cubicBezTo>
                  <a:cubicBezTo>
                    <a:pt x="431" y="838"/>
                    <a:pt x="433" y="836"/>
                    <a:pt x="437" y="836"/>
                  </a:cubicBezTo>
                  <a:cubicBezTo>
                    <a:pt x="437" y="830"/>
                    <a:pt x="435" y="827"/>
                    <a:pt x="431" y="825"/>
                  </a:cubicBezTo>
                  <a:cubicBezTo>
                    <a:pt x="431" y="814"/>
                    <a:pt x="439" y="834"/>
                    <a:pt x="439" y="821"/>
                  </a:cubicBezTo>
                  <a:cubicBezTo>
                    <a:pt x="444" y="822"/>
                    <a:pt x="441" y="834"/>
                    <a:pt x="445" y="836"/>
                  </a:cubicBezTo>
                  <a:cubicBezTo>
                    <a:pt x="447" y="834"/>
                    <a:pt x="448" y="828"/>
                    <a:pt x="453" y="829"/>
                  </a:cubicBezTo>
                  <a:cubicBezTo>
                    <a:pt x="455" y="839"/>
                    <a:pt x="447" y="836"/>
                    <a:pt x="447" y="844"/>
                  </a:cubicBezTo>
                  <a:cubicBezTo>
                    <a:pt x="450" y="855"/>
                    <a:pt x="455" y="832"/>
                    <a:pt x="458" y="836"/>
                  </a:cubicBezTo>
                  <a:cubicBezTo>
                    <a:pt x="462" y="842"/>
                    <a:pt x="461" y="833"/>
                    <a:pt x="469" y="832"/>
                  </a:cubicBezTo>
                  <a:cubicBezTo>
                    <a:pt x="470" y="824"/>
                    <a:pt x="464" y="824"/>
                    <a:pt x="466" y="814"/>
                  </a:cubicBezTo>
                  <a:cubicBezTo>
                    <a:pt x="475" y="817"/>
                    <a:pt x="471" y="804"/>
                    <a:pt x="480" y="807"/>
                  </a:cubicBezTo>
                  <a:cubicBezTo>
                    <a:pt x="479" y="802"/>
                    <a:pt x="475" y="803"/>
                    <a:pt x="472" y="803"/>
                  </a:cubicBezTo>
                  <a:cubicBezTo>
                    <a:pt x="478" y="789"/>
                    <a:pt x="490" y="800"/>
                    <a:pt x="496" y="807"/>
                  </a:cubicBezTo>
                  <a:cubicBezTo>
                    <a:pt x="497" y="820"/>
                    <a:pt x="478" y="810"/>
                    <a:pt x="485" y="807"/>
                  </a:cubicBezTo>
                  <a:close/>
                  <a:moveTo>
                    <a:pt x="493" y="858"/>
                  </a:moveTo>
                  <a:cubicBezTo>
                    <a:pt x="490" y="857"/>
                    <a:pt x="488" y="854"/>
                    <a:pt x="488" y="847"/>
                  </a:cubicBezTo>
                  <a:cubicBezTo>
                    <a:pt x="491" y="849"/>
                    <a:pt x="493" y="852"/>
                    <a:pt x="493" y="858"/>
                  </a:cubicBezTo>
                  <a:close/>
                  <a:moveTo>
                    <a:pt x="501" y="877"/>
                  </a:moveTo>
                  <a:cubicBezTo>
                    <a:pt x="499" y="877"/>
                    <a:pt x="499" y="872"/>
                    <a:pt x="499" y="869"/>
                  </a:cubicBezTo>
                  <a:cubicBezTo>
                    <a:pt x="494" y="869"/>
                    <a:pt x="493" y="874"/>
                    <a:pt x="488" y="873"/>
                  </a:cubicBezTo>
                  <a:cubicBezTo>
                    <a:pt x="488" y="869"/>
                    <a:pt x="488" y="866"/>
                    <a:pt x="488" y="862"/>
                  </a:cubicBezTo>
                  <a:cubicBezTo>
                    <a:pt x="492" y="867"/>
                    <a:pt x="510" y="865"/>
                    <a:pt x="501" y="877"/>
                  </a:cubicBezTo>
                  <a:close/>
                  <a:moveTo>
                    <a:pt x="590" y="45"/>
                  </a:moveTo>
                  <a:cubicBezTo>
                    <a:pt x="589" y="30"/>
                    <a:pt x="606" y="42"/>
                    <a:pt x="606" y="30"/>
                  </a:cubicBezTo>
                  <a:cubicBezTo>
                    <a:pt x="613" y="35"/>
                    <a:pt x="593" y="53"/>
                    <a:pt x="590" y="45"/>
                  </a:cubicBezTo>
                  <a:close/>
                  <a:moveTo>
                    <a:pt x="612" y="137"/>
                  </a:moveTo>
                  <a:cubicBezTo>
                    <a:pt x="609" y="136"/>
                    <a:pt x="609" y="133"/>
                    <a:pt x="606" y="133"/>
                  </a:cubicBezTo>
                  <a:cubicBezTo>
                    <a:pt x="606" y="125"/>
                    <a:pt x="619" y="130"/>
                    <a:pt x="612" y="137"/>
                  </a:cubicBezTo>
                  <a:close/>
                  <a:moveTo>
                    <a:pt x="636" y="126"/>
                  </a:moveTo>
                  <a:cubicBezTo>
                    <a:pt x="647" y="128"/>
                    <a:pt x="633" y="147"/>
                    <a:pt x="636" y="126"/>
                  </a:cubicBezTo>
                  <a:close/>
                  <a:moveTo>
                    <a:pt x="644" y="137"/>
                  </a:moveTo>
                  <a:cubicBezTo>
                    <a:pt x="645" y="127"/>
                    <a:pt x="658" y="120"/>
                    <a:pt x="657" y="137"/>
                  </a:cubicBezTo>
                  <a:cubicBezTo>
                    <a:pt x="652" y="144"/>
                    <a:pt x="652" y="135"/>
                    <a:pt x="644" y="137"/>
                  </a:cubicBezTo>
                  <a:close/>
                  <a:moveTo>
                    <a:pt x="708" y="137"/>
                  </a:moveTo>
                  <a:cubicBezTo>
                    <a:pt x="703" y="138"/>
                    <a:pt x="700" y="136"/>
                    <a:pt x="700" y="130"/>
                  </a:cubicBezTo>
                  <a:cubicBezTo>
                    <a:pt x="704" y="126"/>
                    <a:pt x="707" y="133"/>
                    <a:pt x="708" y="133"/>
                  </a:cubicBezTo>
                  <a:cubicBezTo>
                    <a:pt x="713" y="134"/>
                    <a:pt x="715" y="127"/>
                    <a:pt x="716" y="133"/>
                  </a:cubicBezTo>
                  <a:cubicBezTo>
                    <a:pt x="718" y="146"/>
                    <a:pt x="711" y="139"/>
                    <a:pt x="708" y="137"/>
                  </a:cubicBezTo>
                  <a:close/>
                  <a:moveTo>
                    <a:pt x="716" y="100"/>
                  </a:moveTo>
                  <a:cubicBezTo>
                    <a:pt x="719" y="100"/>
                    <a:pt x="722" y="100"/>
                    <a:pt x="724" y="100"/>
                  </a:cubicBezTo>
                  <a:cubicBezTo>
                    <a:pt x="723" y="111"/>
                    <a:pt x="696" y="99"/>
                    <a:pt x="716" y="100"/>
                  </a:cubicBezTo>
                  <a:close/>
                  <a:moveTo>
                    <a:pt x="792" y="115"/>
                  </a:moveTo>
                  <a:cubicBezTo>
                    <a:pt x="786" y="114"/>
                    <a:pt x="786" y="106"/>
                    <a:pt x="786" y="96"/>
                  </a:cubicBezTo>
                  <a:cubicBezTo>
                    <a:pt x="791" y="96"/>
                    <a:pt x="795" y="96"/>
                    <a:pt x="800" y="96"/>
                  </a:cubicBezTo>
                  <a:cubicBezTo>
                    <a:pt x="797" y="103"/>
                    <a:pt x="793" y="107"/>
                    <a:pt x="792" y="115"/>
                  </a:cubicBezTo>
                  <a:close/>
                  <a:moveTo>
                    <a:pt x="816" y="111"/>
                  </a:moveTo>
                  <a:cubicBezTo>
                    <a:pt x="812" y="108"/>
                    <a:pt x="810" y="102"/>
                    <a:pt x="810" y="93"/>
                  </a:cubicBezTo>
                  <a:cubicBezTo>
                    <a:pt x="815" y="90"/>
                    <a:pt x="820" y="87"/>
                    <a:pt x="827" y="85"/>
                  </a:cubicBezTo>
                  <a:cubicBezTo>
                    <a:pt x="830" y="104"/>
                    <a:pt x="818" y="101"/>
                    <a:pt x="816" y="111"/>
                  </a:cubicBezTo>
                  <a:close/>
                  <a:moveTo>
                    <a:pt x="827" y="126"/>
                  </a:moveTo>
                  <a:cubicBezTo>
                    <a:pt x="827" y="121"/>
                    <a:pt x="835" y="125"/>
                    <a:pt x="835" y="119"/>
                  </a:cubicBezTo>
                  <a:cubicBezTo>
                    <a:pt x="843" y="123"/>
                    <a:pt x="829" y="134"/>
                    <a:pt x="827" y="126"/>
                  </a:cubicBezTo>
                  <a:close/>
                  <a:moveTo>
                    <a:pt x="870" y="152"/>
                  </a:moveTo>
                  <a:cubicBezTo>
                    <a:pt x="867" y="153"/>
                    <a:pt x="865" y="157"/>
                    <a:pt x="862" y="156"/>
                  </a:cubicBezTo>
                  <a:cubicBezTo>
                    <a:pt x="861" y="156"/>
                    <a:pt x="861" y="152"/>
                    <a:pt x="859" y="152"/>
                  </a:cubicBezTo>
                  <a:cubicBezTo>
                    <a:pt x="857" y="152"/>
                    <a:pt x="855" y="147"/>
                    <a:pt x="851" y="148"/>
                  </a:cubicBezTo>
                  <a:cubicBezTo>
                    <a:pt x="853" y="142"/>
                    <a:pt x="873" y="142"/>
                    <a:pt x="875" y="148"/>
                  </a:cubicBezTo>
                  <a:cubicBezTo>
                    <a:pt x="875" y="159"/>
                    <a:pt x="873" y="151"/>
                    <a:pt x="870" y="152"/>
                  </a:cubicBezTo>
                  <a:close/>
                  <a:moveTo>
                    <a:pt x="859" y="133"/>
                  </a:moveTo>
                  <a:cubicBezTo>
                    <a:pt x="859" y="128"/>
                    <a:pt x="859" y="123"/>
                    <a:pt x="856" y="122"/>
                  </a:cubicBezTo>
                  <a:cubicBezTo>
                    <a:pt x="860" y="114"/>
                    <a:pt x="871" y="127"/>
                    <a:pt x="878" y="126"/>
                  </a:cubicBezTo>
                  <a:cubicBezTo>
                    <a:pt x="872" y="133"/>
                    <a:pt x="867" y="138"/>
                    <a:pt x="859" y="133"/>
                  </a:cubicBezTo>
                  <a:close/>
                  <a:moveTo>
                    <a:pt x="886" y="104"/>
                  </a:moveTo>
                  <a:cubicBezTo>
                    <a:pt x="884" y="104"/>
                    <a:pt x="882" y="104"/>
                    <a:pt x="880" y="104"/>
                  </a:cubicBezTo>
                  <a:cubicBezTo>
                    <a:pt x="880" y="101"/>
                    <a:pt x="880" y="99"/>
                    <a:pt x="880" y="96"/>
                  </a:cubicBezTo>
                  <a:cubicBezTo>
                    <a:pt x="882" y="96"/>
                    <a:pt x="884" y="96"/>
                    <a:pt x="886" y="96"/>
                  </a:cubicBezTo>
                  <a:cubicBezTo>
                    <a:pt x="886" y="99"/>
                    <a:pt x="886" y="101"/>
                    <a:pt x="886" y="104"/>
                  </a:cubicBezTo>
                  <a:close/>
                  <a:moveTo>
                    <a:pt x="913" y="1239"/>
                  </a:moveTo>
                  <a:cubicBezTo>
                    <a:pt x="909" y="1234"/>
                    <a:pt x="912" y="1233"/>
                    <a:pt x="913" y="1228"/>
                  </a:cubicBezTo>
                  <a:cubicBezTo>
                    <a:pt x="916" y="1229"/>
                    <a:pt x="914" y="1235"/>
                    <a:pt x="918" y="1235"/>
                  </a:cubicBezTo>
                  <a:cubicBezTo>
                    <a:pt x="918" y="1239"/>
                    <a:pt x="915" y="1238"/>
                    <a:pt x="913" y="1239"/>
                  </a:cubicBezTo>
                  <a:close/>
                  <a:moveTo>
                    <a:pt x="926" y="119"/>
                  </a:moveTo>
                  <a:cubicBezTo>
                    <a:pt x="923" y="118"/>
                    <a:pt x="924" y="112"/>
                    <a:pt x="923" y="108"/>
                  </a:cubicBezTo>
                  <a:cubicBezTo>
                    <a:pt x="926" y="108"/>
                    <a:pt x="929" y="108"/>
                    <a:pt x="931" y="108"/>
                  </a:cubicBezTo>
                  <a:cubicBezTo>
                    <a:pt x="931" y="112"/>
                    <a:pt x="927" y="113"/>
                    <a:pt x="926" y="119"/>
                  </a:cubicBezTo>
                  <a:close/>
                  <a:moveTo>
                    <a:pt x="931" y="673"/>
                  </a:moveTo>
                  <a:cubicBezTo>
                    <a:pt x="928" y="672"/>
                    <a:pt x="929" y="664"/>
                    <a:pt x="929" y="659"/>
                  </a:cubicBezTo>
                  <a:cubicBezTo>
                    <a:pt x="935" y="660"/>
                    <a:pt x="935" y="668"/>
                    <a:pt x="931" y="673"/>
                  </a:cubicBezTo>
                  <a:close/>
                  <a:moveTo>
                    <a:pt x="956" y="385"/>
                  </a:moveTo>
                  <a:cubicBezTo>
                    <a:pt x="954" y="385"/>
                    <a:pt x="952" y="385"/>
                    <a:pt x="950" y="385"/>
                  </a:cubicBezTo>
                  <a:cubicBezTo>
                    <a:pt x="951" y="382"/>
                    <a:pt x="949" y="381"/>
                    <a:pt x="948" y="381"/>
                  </a:cubicBezTo>
                  <a:cubicBezTo>
                    <a:pt x="947" y="374"/>
                    <a:pt x="960" y="376"/>
                    <a:pt x="956" y="385"/>
                  </a:cubicBezTo>
                  <a:close/>
                  <a:moveTo>
                    <a:pt x="977" y="111"/>
                  </a:moveTo>
                  <a:cubicBezTo>
                    <a:pt x="977" y="108"/>
                    <a:pt x="977" y="104"/>
                    <a:pt x="977" y="100"/>
                  </a:cubicBezTo>
                  <a:cubicBezTo>
                    <a:pt x="980" y="100"/>
                    <a:pt x="983" y="100"/>
                    <a:pt x="985" y="100"/>
                  </a:cubicBezTo>
                  <a:cubicBezTo>
                    <a:pt x="982" y="104"/>
                    <a:pt x="984" y="114"/>
                    <a:pt x="977" y="111"/>
                  </a:cubicBezTo>
                  <a:close/>
                  <a:moveTo>
                    <a:pt x="993" y="688"/>
                  </a:moveTo>
                  <a:cubicBezTo>
                    <a:pt x="993" y="684"/>
                    <a:pt x="993" y="681"/>
                    <a:pt x="993" y="677"/>
                  </a:cubicBezTo>
                  <a:cubicBezTo>
                    <a:pt x="1001" y="672"/>
                    <a:pt x="1001" y="694"/>
                    <a:pt x="993" y="688"/>
                  </a:cubicBezTo>
                  <a:close/>
                  <a:moveTo>
                    <a:pt x="1009" y="1254"/>
                  </a:moveTo>
                  <a:cubicBezTo>
                    <a:pt x="1008" y="1254"/>
                    <a:pt x="1006" y="1254"/>
                    <a:pt x="1004" y="1254"/>
                  </a:cubicBezTo>
                  <a:cubicBezTo>
                    <a:pt x="1003" y="1244"/>
                    <a:pt x="1005" y="1238"/>
                    <a:pt x="1012" y="1239"/>
                  </a:cubicBezTo>
                  <a:cubicBezTo>
                    <a:pt x="1010" y="1242"/>
                    <a:pt x="1008" y="1249"/>
                    <a:pt x="1012" y="1250"/>
                  </a:cubicBezTo>
                  <a:cubicBezTo>
                    <a:pt x="1013" y="1254"/>
                    <a:pt x="1011" y="1254"/>
                    <a:pt x="1009" y="1254"/>
                  </a:cubicBezTo>
                  <a:close/>
                  <a:moveTo>
                    <a:pt x="1039" y="145"/>
                  </a:moveTo>
                  <a:cubicBezTo>
                    <a:pt x="1031" y="158"/>
                    <a:pt x="1030" y="133"/>
                    <a:pt x="1039" y="145"/>
                  </a:cubicBezTo>
                  <a:close/>
                  <a:moveTo>
                    <a:pt x="1074" y="133"/>
                  </a:moveTo>
                  <a:cubicBezTo>
                    <a:pt x="1071" y="132"/>
                    <a:pt x="1068" y="129"/>
                    <a:pt x="1069" y="122"/>
                  </a:cubicBezTo>
                  <a:cubicBezTo>
                    <a:pt x="1071" y="123"/>
                    <a:pt x="1071" y="121"/>
                    <a:pt x="1071" y="119"/>
                  </a:cubicBezTo>
                  <a:cubicBezTo>
                    <a:pt x="1074" y="121"/>
                    <a:pt x="1076" y="123"/>
                    <a:pt x="1079" y="122"/>
                  </a:cubicBezTo>
                  <a:cubicBezTo>
                    <a:pt x="1078" y="126"/>
                    <a:pt x="1073" y="126"/>
                    <a:pt x="1074" y="133"/>
                  </a:cubicBezTo>
                  <a:close/>
                  <a:moveTo>
                    <a:pt x="1085" y="640"/>
                  </a:moveTo>
                  <a:cubicBezTo>
                    <a:pt x="1083" y="640"/>
                    <a:pt x="1081" y="640"/>
                    <a:pt x="1079" y="640"/>
                  </a:cubicBezTo>
                  <a:cubicBezTo>
                    <a:pt x="1079" y="638"/>
                    <a:pt x="1079" y="635"/>
                    <a:pt x="1079" y="633"/>
                  </a:cubicBezTo>
                  <a:cubicBezTo>
                    <a:pt x="1081" y="633"/>
                    <a:pt x="1083" y="633"/>
                    <a:pt x="1085" y="633"/>
                  </a:cubicBezTo>
                  <a:cubicBezTo>
                    <a:pt x="1085" y="635"/>
                    <a:pt x="1085" y="638"/>
                    <a:pt x="1085" y="640"/>
                  </a:cubicBezTo>
                  <a:close/>
                  <a:moveTo>
                    <a:pt x="1096" y="1254"/>
                  </a:moveTo>
                  <a:cubicBezTo>
                    <a:pt x="1094" y="1254"/>
                    <a:pt x="1092" y="1254"/>
                    <a:pt x="1090" y="1254"/>
                  </a:cubicBezTo>
                  <a:cubicBezTo>
                    <a:pt x="1090" y="1252"/>
                    <a:pt x="1090" y="1249"/>
                    <a:pt x="1090" y="1247"/>
                  </a:cubicBezTo>
                  <a:cubicBezTo>
                    <a:pt x="1092" y="1247"/>
                    <a:pt x="1094" y="1247"/>
                    <a:pt x="1096" y="1247"/>
                  </a:cubicBezTo>
                  <a:cubicBezTo>
                    <a:pt x="1096" y="1249"/>
                    <a:pt x="1096" y="1252"/>
                    <a:pt x="1096" y="1254"/>
                  </a:cubicBezTo>
                  <a:close/>
                  <a:moveTo>
                    <a:pt x="1101" y="170"/>
                  </a:moveTo>
                  <a:cubicBezTo>
                    <a:pt x="1109" y="167"/>
                    <a:pt x="1111" y="174"/>
                    <a:pt x="1114" y="178"/>
                  </a:cubicBezTo>
                  <a:cubicBezTo>
                    <a:pt x="1116" y="181"/>
                    <a:pt x="1098" y="181"/>
                    <a:pt x="1101" y="170"/>
                  </a:cubicBezTo>
                  <a:close/>
                  <a:moveTo>
                    <a:pt x="1117" y="119"/>
                  </a:moveTo>
                  <a:cubicBezTo>
                    <a:pt x="1117" y="115"/>
                    <a:pt x="1120" y="116"/>
                    <a:pt x="1122" y="115"/>
                  </a:cubicBezTo>
                  <a:cubicBezTo>
                    <a:pt x="1125" y="115"/>
                    <a:pt x="1128" y="115"/>
                    <a:pt x="1131" y="115"/>
                  </a:cubicBezTo>
                  <a:cubicBezTo>
                    <a:pt x="1131" y="123"/>
                    <a:pt x="1121" y="117"/>
                    <a:pt x="1117" y="119"/>
                  </a:cubicBezTo>
                  <a:close/>
                  <a:moveTo>
                    <a:pt x="1125" y="1265"/>
                  </a:moveTo>
                  <a:cubicBezTo>
                    <a:pt x="1118" y="1258"/>
                    <a:pt x="1128" y="1249"/>
                    <a:pt x="1122" y="1239"/>
                  </a:cubicBezTo>
                  <a:cubicBezTo>
                    <a:pt x="1135" y="1240"/>
                    <a:pt x="1123" y="1256"/>
                    <a:pt x="1125" y="1265"/>
                  </a:cubicBezTo>
                  <a:close/>
                  <a:moveTo>
                    <a:pt x="1147" y="178"/>
                  </a:moveTo>
                  <a:cubicBezTo>
                    <a:pt x="1140" y="190"/>
                    <a:pt x="1134" y="168"/>
                    <a:pt x="1147" y="178"/>
                  </a:cubicBezTo>
                  <a:close/>
                  <a:moveTo>
                    <a:pt x="1171" y="189"/>
                  </a:moveTo>
                  <a:cubicBezTo>
                    <a:pt x="1167" y="185"/>
                    <a:pt x="1161" y="185"/>
                    <a:pt x="1157" y="182"/>
                  </a:cubicBezTo>
                  <a:cubicBezTo>
                    <a:pt x="1159" y="174"/>
                    <a:pt x="1176" y="175"/>
                    <a:pt x="1171" y="189"/>
                  </a:cubicBezTo>
                  <a:close/>
                  <a:moveTo>
                    <a:pt x="1176" y="1217"/>
                  </a:moveTo>
                  <a:cubicBezTo>
                    <a:pt x="1176" y="1214"/>
                    <a:pt x="1181" y="1213"/>
                    <a:pt x="1184" y="1213"/>
                  </a:cubicBezTo>
                  <a:cubicBezTo>
                    <a:pt x="1183" y="1213"/>
                    <a:pt x="1190" y="1219"/>
                    <a:pt x="1190" y="1217"/>
                  </a:cubicBezTo>
                  <a:cubicBezTo>
                    <a:pt x="1192" y="1224"/>
                    <a:pt x="1181" y="1219"/>
                    <a:pt x="1176" y="1217"/>
                  </a:cubicBezTo>
                  <a:close/>
                  <a:moveTo>
                    <a:pt x="1187" y="592"/>
                  </a:moveTo>
                  <a:cubicBezTo>
                    <a:pt x="1190" y="580"/>
                    <a:pt x="1190" y="602"/>
                    <a:pt x="1190" y="607"/>
                  </a:cubicBezTo>
                  <a:cubicBezTo>
                    <a:pt x="1187" y="619"/>
                    <a:pt x="1187" y="597"/>
                    <a:pt x="1187" y="592"/>
                  </a:cubicBezTo>
                  <a:close/>
                  <a:moveTo>
                    <a:pt x="1192" y="577"/>
                  </a:moveTo>
                  <a:cubicBezTo>
                    <a:pt x="1191" y="577"/>
                    <a:pt x="1190" y="574"/>
                    <a:pt x="1190" y="574"/>
                  </a:cubicBezTo>
                  <a:cubicBezTo>
                    <a:pt x="1188" y="573"/>
                    <a:pt x="1186" y="576"/>
                    <a:pt x="1187" y="577"/>
                  </a:cubicBezTo>
                  <a:cubicBezTo>
                    <a:pt x="1185" y="575"/>
                    <a:pt x="1185" y="574"/>
                    <a:pt x="1187" y="574"/>
                  </a:cubicBezTo>
                  <a:cubicBezTo>
                    <a:pt x="1188" y="573"/>
                    <a:pt x="1189" y="569"/>
                    <a:pt x="1192" y="570"/>
                  </a:cubicBezTo>
                  <a:cubicBezTo>
                    <a:pt x="1192" y="570"/>
                    <a:pt x="1204" y="581"/>
                    <a:pt x="1192" y="577"/>
                  </a:cubicBezTo>
                  <a:close/>
                  <a:moveTo>
                    <a:pt x="1200" y="133"/>
                  </a:moveTo>
                  <a:cubicBezTo>
                    <a:pt x="1203" y="133"/>
                    <a:pt x="1203" y="137"/>
                    <a:pt x="1203" y="137"/>
                  </a:cubicBezTo>
                  <a:cubicBezTo>
                    <a:pt x="1207" y="137"/>
                    <a:pt x="1219" y="134"/>
                    <a:pt x="1217" y="145"/>
                  </a:cubicBezTo>
                  <a:cubicBezTo>
                    <a:pt x="1213" y="139"/>
                    <a:pt x="1205" y="141"/>
                    <a:pt x="1198" y="141"/>
                  </a:cubicBezTo>
                  <a:cubicBezTo>
                    <a:pt x="1199" y="141"/>
                    <a:pt x="1200" y="134"/>
                    <a:pt x="1200" y="133"/>
                  </a:cubicBezTo>
                  <a:close/>
                  <a:moveTo>
                    <a:pt x="1200" y="189"/>
                  </a:moveTo>
                  <a:cubicBezTo>
                    <a:pt x="1201" y="184"/>
                    <a:pt x="1207" y="186"/>
                    <a:pt x="1211" y="185"/>
                  </a:cubicBezTo>
                  <a:cubicBezTo>
                    <a:pt x="1210" y="194"/>
                    <a:pt x="1204" y="194"/>
                    <a:pt x="1200" y="189"/>
                  </a:cubicBezTo>
                  <a:close/>
                  <a:moveTo>
                    <a:pt x="1208" y="1269"/>
                  </a:moveTo>
                  <a:cubicBezTo>
                    <a:pt x="1205" y="1257"/>
                    <a:pt x="1213" y="1260"/>
                    <a:pt x="1214" y="1254"/>
                  </a:cubicBezTo>
                  <a:cubicBezTo>
                    <a:pt x="1217" y="1255"/>
                    <a:pt x="1216" y="1263"/>
                    <a:pt x="1217" y="1269"/>
                  </a:cubicBezTo>
                  <a:cubicBezTo>
                    <a:pt x="1214" y="1269"/>
                    <a:pt x="1211" y="1269"/>
                    <a:pt x="1208" y="1269"/>
                  </a:cubicBezTo>
                  <a:close/>
                  <a:moveTo>
                    <a:pt x="1214" y="237"/>
                  </a:moveTo>
                  <a:cubicBezTo>
                    <a:pt x="1213" y="243"/>
                    <a:pt x="1210" y="236"/>
                    <a:pt x="1206" y="237"/>
                  </a:cubicBezTo>
                  <a:cubicBezTo>
                    <a:pt x="1208" y="227"/>
                    <a:pt x="1202" y="227"/>
                    <a:pt x="1203" y="218"/>
                  </a:cubicBezTo>
                  <a:cubicBezTo>
                    <a:pt x="1206" y="217"/>
                    <a:pt x="1207" y="226"/>
                    <a:pt x="1208" y="226"/>
                  </a:cubicBezTo>
                  <a:cubicBezTo>
                    <a:pt x="1213" y="227"/>
                    <a:pt x="1215" y="211"/>
                    <a:pt x="1222" y="222"/>
                  </a:cubicBezTo>
                  <a:cubicBezTo>
                    <a:pt x="1220" y="227"/>
                    <a:pt x="1204" y="229"/>
                    <a:pt x="1214" y="237"/>
                  </a:cubicBezTo>
                  <a:close/>
                  <a:moveTo>
                    <a:pt x="1340" y="152"/>
                  </a:moveTo>
                  <a:cubicBezTo>
                    <a:pt x="1341" y="154"/>
                    <a:pt x="1333" y="158"/>
                    <a:pt x="1332" y="156"/>
                  </a:cubicBezTo>
                  <a:cubicBezTo>
                    <a:pt x="1332" y="155"/>
                    <a:pt x="1332" y="152"/>
                    <a:pt x="1332" y="152"/>
                  </a:cubicBezTo>
                  <a:cubicBezTo>
                    <a:pt x="1329" y="152"/>
                    <a:pt x="1324" y="159"/>
                    <a:pt x="1321" y="152"/>
                  </a:cubicBezTo>
                  <a:cubicBezTo>
                    <a:pt x="1323" y="144"/>
                    <a:pt x="1338" y="148"/>
                    <a:pt x="1340" y="152"/>
                  </a:cubicBezTo>
                  <a:close/>
                  <a:moveTo>
                    <a:pt x="1316" y="574"/>
                  </a:moveTo>
                  <a:cubicBezTo>
                    <a:pt x="1314" y="561"/>
                    <a:pt x="1320" y="559"/>
                    <a:pt x="1319" y="548"/>
                  </a:cubicBezTo>
                  <a:cubicBezTo>
                    <a:pt x="1328" y="549"/>
                    <a:pt x="1324" y="574"/>
                    <a:pt x="1316" y="574"/>
                  </a:cubicBezTo>
                  <a:close/>
                  <a:moveTo>
                    <a:pt x="1281" y="130"/>
                  </a:moveTo>
                  <a:cubicBezTo>
                    <a:pt x="1285" y="118"/>
                    <a:pt x="1285" y="140"/>
                    <a:pt x="1278" y="137"/>
                  </a:cubicBezTo>
                  <a:cubicBezTo>
                    <a:pt x="1273" y="134"/>
                    <a:pt x="1281" y="135"/>
                    <a:pt x="1281" y="130"/>
                  </a:cubicBezTo>
                  <a:close/>
                  <a:moveTo>
                    <a:pt x="1260" y="137"/>
                  </a:moveTo>
                  <a:cubicBezTo>
                    <a:pt x="1267" y="141"/>
                    <a:pt x="1273" y="146"/>
                    <a:pt x="1284" y="145"/>
                  </a:cubicBezTo>
                  <a:cubicBezTo>
                    <a:pt x="1286" y="157"/>
                    <a:pt x="1278" y="151"/>
                    <a:pt x="1276" y="148"/>
                  </a:cubicBezTo>
                  <a:cubicBezTo>
                    <a:pt x="1274" y="158"/>
                    <a:pt x="1277" y="162"/>
                    <a:pt x="1284" y="159"/>
                  </a:cubicBezTo>
                  <a:cubicBezTo>
                    <a:pt x="1294" y="168"/>
                    <a:pt x="1255" y="158"/>
                    <a:pt x="1265" y="167"/>
                  </a:cubicBezTo>
                  <a:cubicBezTo>
                    <a:pt x="1264" y="177"/>
                    <a:pt x="1256" y="167"/>
                    <a:pt x="1260" y="159"/>
                  </a:cubicBezTo>
                  <a:cubicBezTo>
                    <a:pt x="1257" y="159"/>
                    <a:pt x="1254" y="159"/>
                    <a:pt x="1251" y="159"/>
                  </a:cubicBezTo>
                  <a:cubicBezTo>
                    <a:pt x="1251" y="153"/>
                    <a:pt x="1268" y="153"/>
                    <a:pt x="1268" y="159"/>
                  </a:cubicBezTo>
                  <a:cubicBezTo>
                    <a:pt x="1270" y="157"/>
                    <a:pt x="1272" y="153"/>
                    <a:pt x="1273" y="148"/>
                  </a:cubicBezTo>
                  <a:cubicBezTo>
                    <a:pt x="1264" y="154"/>
                    <a:pt x="1261" y="150"/>
                    <a:pt x="1251" y="148"/>
                  </a:cubicBezTo>
                  <a:cubicBezTo>
                    <a:pt x="1247" y="135"/>
                    <a:pt x="1261" y="146"/>
                    <a:pt x="1260" y="137"/>
                  </a:cubicBezTo>
                  <a:close/>
                  <a:moveTo>
                    <a:pt x="1276" y="237"/>
                  </a:moveTo>
                  <a:cubicBezTo>
                    <a:pt x="1274" y="237"/>
                    <a:pt x="1272" y="237"/>
                    <a:pt x="1270" y="237"/>
                  </a:cubicBezTo>
                  <a:cubicBezTo>
                    <a:pt x="1270" y="231"/>
                    <a:pt x="1273" y="231"/>
                    <a:pt x="1273" y="226"/>
                  </a:cubicBezTo>
                  <a:cubicBezTo>
                    <a:pt x="1279" y="228"/>
                    <a:pt x="1279" y="232"/>
                    <a:pt x="1276" y="237"/>
                  </a:cubicBezTo>
                  <a:close/>
                  <a:moveTo>
                    <a:pt x="1260" y="237"/>
                  </a:moveTo>
                  <a:cubicBezTo>
                    <a:pt x="1255" y="238"/>
                    <a:pt x="1254" y="234"/>
                    <a:pt x="1254" y="230"/>
                  </a:cubicBezTo>
                  <a:cubicBezTo>
                    <a:pt x="1240" y="238"/>
                    <a:pt x="1262" y="214"/>
                    <a:pt x="1260" y="237"/>
                  </a:cubicBezTo>
                  <a:close/>
                  <a:moveTo>
                    <a:pt x="1254" y="614"/>
                  </a:moveTo>
                  <a:cubicBezTo>
                    <a:pt x="1248" y="625"/>
                    <a:pt x="1253" y="587"/>
                    <a:pt x="1254" y="581"/>
                  </a:cubicBezTo>
                  <a:cubicBezTo>
                    <a:pt x="1258" y="583"/>
                    <a:pt x="1259" y="586"/>
                    <a:pt x="1260" y="592"/>
                  </a:cubicBezTo>
                  <a:cubicBezTo>
                    <a:pt x="1260" y="600"/>
                    <a:pt x="1250" y="603"/>
                    <a:pt x="1254" y="614"/>
                  </a:cubicBezTo>
                  <a:close/>
                  <a:moveTo>
                    <a:pt x="1227" y="148"/>
                  </a:moveTo>
                  <a:cubicBezTo>
                    <a:pt x="1225" y="149"/>
                    <a:pt x="1225" y="147"/>
                    <a:pt x="1225" y="145"/>
                  </a:cubicBezTo>
                  <a:cubicBezTo>
                    <a:pt x="1225" y="142"/>
                    <a:pt x="1225" y="140"/>
                    <a:pt x="1225" y="137"/>
                  </a:cubicBezTo>
                  <a:cubicBezTo>
                    <a:pt x="1233" y="134"/>
                    <a:pt x="1234" y="141"/>
                    <a:pt x="1241" y="141"/>
                  </a:cubicBezTo>
                  <a:cubicBezTo>
                    <a:pt x="1239" y="145"/>
                    <a:pt x="1235" y="145"/>
                    <a:pt x="1235" y="152"/>
                  </a:cubicBezTo>
                  <a:cubicBezTo>
                    <a:pt x="1233" y="152"/>
                    <a:pt x="1230" y="136"/>
                    <a:pt x="1227" y="148"/>
                  </a:cubicBezTo>
                  <a:close/>
                  <a:moveTo>
                    <a:pt x="1230" y="588"/>
                  </a:moveTo>
                  <a:cubicBezTo>
                    <a:pt x="1229" y="580"/>
                    <a:pt x="1230" y="574"/>
                    <a:pt x="1233" y="570"/>
                  </a:cubicBezTo>
                  <a:cubicBezTo>
                    <a:pt x="1235" y="572"/>
                    <a:pt x="1237" y="574"/>
                    <a:pt x="1238" y="570"/>
                  </a:cubicBezTo>
                  <a:cubicBezTo>
                    <a:pt x="1244" y="574"/>
                    <a:pt x="1234" y="587"/>
                    <a:pt x="1238" y="599"/>
                  </a:cubicBezTo>
                  <a:cubicBezTo>
                    <a:pt x="1232" y="601"/>
                    <a:pt x="1240" y="583"/>
                    <a:pt x="1230" y="588"/>
                  </a:cubicBezTo>
                  <a:close/>
                  <a:moveTo>
                    <a:pt x="1238" y="1273"/>
                  </a:moveTo>
                  <a:cubicBezTo>
                    <a:pt x="1246" y="1259"/>
                    <a:pt x="1247" y="1284"/>
                    <a:pt x="1238" y="1273"/>
                  </a:cubicBezTo>
                  <a:close/>
                  <a:moveTo>
                    <a:pt x="1254" y="1239"/>
                  </a:moveTo>
                  <a:cubicBezTo>
                    <a:pt x="1257" y="1241"/>
                    <a:pt x="1260" y="1244"/>
                    <a:pt x="1260" y="1250"/>
                  </a:cubicBezTo>
                  <a:cubicBezTo>
                    <a:pt x="1256" y="1249"/>
                    <a:pt x="1254" y="1246"/>
                    <a:pt x="1254" y="1239"/>
                  </a:cubicBezTo>
                  <a:close/>
                  <a:moveTo>
                    <a:pt x="1260" y="1235"/>
                  </a:moveTo>
                  <a:cubicBezTo>
                    <a:pt x="1251" y="1233"/>
                    <a:pt x="1246" y="1228"/>
                    <a:pt x="1238" y="1225"/>
                  </a:cubicBezTo>
                  <a:cubicBezTo>
                    <a:pt x="1238" y="1215"/>
                    <a:pt x="1247" y="1223"/>
                    <a:pt x="1249" y="1225"/>
                  </a:cubicBezTo>
                  <a:cubicBezTo>
                    <a:pt x="1251" y="1224"/>
                    <a:pt x="1251" y="1220"/>
                    <a:pt x="1251" y="1217"/>
                  </a:cubicBezTo>
                  <a:cubicBezTo>
                    <a:pt x="1260" y="1215"/>
                    <a:pt x="1260" y="1225"/>
                    <a:pt x="1260" y="1235"/>
                  </a:cubicBezTo>
                  <a:close/>
                  <a:moveTo>
                    <a:pt x="1260" y="193"/>
                  </a:moveTo>
                  <a:cubicBezTo>
                    <a:pt x="1265" y="183"/>
                    <a:pt x="1269" y="196"/>
                    <a:pt x="1276" y="189"/>
                  </a:cubicBezTo>
                  <a:cubicBezTo>
                    <a:pt x="1278" y="203"/>
                    <a:pt x="1261" y="196"/>
                    <a:pt x="1260" y="193"/>
                  </a:cubicBezTo>
                  <a:close/>
                  <a:moveTo>
                    <a:pt x="1270" y="1261"/>
                  </a:moveTo>
                  <a:cubicBezTo>
                    <a:pt x="1274" y="1262"/>
                    <a:pt x="1271" y="1273"/>
                    <a:pt x="1276" y="1273"/>
                  </a:cubicBezTo>
                  <a:cubicBezTo>
                    <a:pt x="1274" y="1282"/>
                    <a:pt x="1268" y="1269"/>
                    <a:pt x="1270" y="1261"/>
                  </a:cubicBezTo>
                  <a:close/>
                  <a:moveTo>
                    <a:pt x="1284" y="1232"/>
                  </a:moveTo>
                  <a:cubicBezTo>
                    <a:pt x="1281" y="1228"/>
                    <a:pt x="1274" y="1231"/>
                    <a:pt x="1276" y="1221"/>
                  </a:cubicBezTo>
                  <a:cubicBezTo>
                    <a:pt x="1282" y="1220"/>
                    <a:pt x="1284" y="1224"/>
                    <a:pt x="1284" y="1232"/>
                  </a:cubicBezTo>
                  <a:close/>
                  <a:moveTo>
                    <a:pt x="1286" y="603"/>
                  </a:moveTo>
                  <a:cubicBezTo>
                    <a:pt x="1277" y="603"/>
                    <a:pt x="1292" y="591"/>
                    <a:pt x="1284" y="592"/>
                  </a:cubicBezTo>
                  <a:cubicBezTo>
                    <a:pt x="1290" y="581"/>
                    <a:pt x="1289" y="597"/>
                    <a:pt x="1286" y="603"/>
                  </a:cubicBezTo>
                  <a:close/>
                  <a:moveTo>
                    <a:pt x="1292" y="585"/>
                  </a:moveTo>
                  <a:cubicBezTo>
                    <a:pt x="1285" y="584"/>
                    <a:pt x="1286" y="572"/>
                    <a:pt x="1286" y="562"/>
                  </a:cubicBezTo>
                  <a:cubicBezTo>
                    <a:pt x="1296" y="559"/>
                    <a:pt x="1290" y="577"/>
                    <a:pt x="1292" y="585"/>
                  </a:cubicBezTo>
                  <a:close/>
                  <a:moveTo>
                    <a:pt x="1292" y="152"/>
                  </a:moveTo>
                  <a:cubicBezTo>
                    <a:pt x="1283" y="149"/>
                    <a:pt x="1317" y="141"/>
                    <a:pt x="1313" y="156"/>
                  </a:cubicBezTo>
                  <a:cubicBezTo>
                    <a:pt x="1309" y="150"/>
                    <a:pt x="1300" y="152"/>
                    <a:pt x="1292" y="152"/>
                  </a:cubicBezTo>
                  <a:close/>
                  <a:moveTo>
                    <a:pt x="1316" y="170"/>
                  </a:moveTo>
                  <a:cubicBezTo>
                    <a:pt x="1315" y="175"/>
                    <a:pt x="1313" y="178"/>
                    <a:pt x="1308" y="178"/>
                  </a:cubicBezTo>
                  <a:cubicBezTo>
                    <a:pt x="1309" y="173"/>
                    <a:pt x="1311" y="170"/>
                    <a:pt x="1316" y="170"/>
                  </a:cubicBezTo>
                  <a:close/>
                  <a:moveTo>
                    <a:pt x="1294" y="603"/>
                  </a:moveTo>
                  <a:cubicBezTo>
                    <a:pt x="1297" y="600"/>
                    <a:pt x="1297" y="595"/>
                    <a:pt x="1297" y="588"/>
                  </a:cubicBezTo>
                  <a:cubicBezTo>
                    <a:pt x="1305" y="589"/>
                    <a:pt x="1302" y="604"/>
                    <a:pt x="1294" y="603"/>
                  </a:cubicBezTo>
                  <a:close/>
                  <a:moveTo>
                    <a:pt x="1305" y="577"/>
                  </a:moveTo>
                  <a:cubicBezTo>
                    <a:pt x="1303" y="585"/>
                    <a:pt x="1304" y="585"/>
                    <a:pt x="1303" y="577"/>
                  </a:cubicBezTo>
                  <a:cubicBezTo>
                    <a:pt x="1303" y="569"/>
                    <a:pt x="1306" y="562"/>
                    <a:pt x="1308" y="555"/>
                  </a:cubicBezTo>
                  <a:cubicBezTo>
                    <a:pt x="1312" y="552"/>
                    <a:pt x="1308" y="570"/>
                    <a:pt x="1305" y="577"/>
                  </a:cubicBezTo>
                  <a:close/>
                  <a:moveTo>
                    <a:pt x="1300" y="200"/>
                  </a:moveTo>
                  <a:cubicBezTo>
                    <a:pt x="1301" y="192"/>
                    <a:pt x="1313" y="198"/>
                    <a:pt x="1319" y="196"/>
                  </a:cubicBezTo>
                  <a:cubicBezTo>
                    <a:pt x="1317" y="202"/>
                    <a:pt x="1315" y="206"/>
                    <a:pt x="1313" y="211"/>
                  </a:cubicBezTo>
                  <a:cubicBezTo>
                    <a:pt x="1306" y="211"/>
                    <a:pt x="1310" y="195"/>
                    <a:pt x="1300" y="200"/>
                  </a:cubicBezTo>
                  <a:close/>
                  <a:moveTo>
                    <a:pt x="1324" y="603"/>
                  </a:moveTo>
                  <a:cubicBezTo>
                    <a:pt x="1322" y="601"/>
                    <a:pt x="1317" y="597"/>
                    <a:pt x="1316" y="603"/>
                  </a:cubicBezTo>
                  <a:cubicBezTo>
                    <a:pt x="1313" y="602"/>
                    <a:pt x="1314" y="599"/>
                    <a:pt x="1316" y="599"/>
                  </a:cubicBezTo>
                  <a:cubicBezTo>
                    <a:pt x="1316" y="595"/>
                    <a:pt x="1315" y="593"/>
                    <a:pt x="1313" y="592"/>
                  </a:cubicBezTo>
                  <a:cubicBezTo>
                    <a:pt x="1316" y="582"/>
                    <a:pt x="1328" y="592"/>
                    <a:pt x="1324" y="603"/>
                  </a:cubicBezTo>
                  <a:close/>
                  <a:moveTo>
                    <a:pt x="1327" y="607"/>
                  </a:moveTo>
                  <a:cubicBezTo>
                    <a:pt x="1330" y="608"/>
                    <a:pt x="1329" y="614"/>
                    <a:pt x="1332" y="614"/>
                  </a:cubicBezTo>
                  <a:cubicBezTo>
                    <a:pt x="1331" y="624"/>
                    <a:pt x="1324" y="614"/>
                    <a:pt x="1327" y="607"/>
                  </a:cubicBezTo>
                  <a:close/>
                  <a:moveTo>
                    <a:pt x="1329" y="1235"/>
                  </a:moveTo>
                  <a:cubicBezTo>
                    <a:pt x="1329" y="1232"/>
                    <a:pt x="1329" y="1228"/>
                    <a:pt x="1329" y="1225"/>
                  </a:cubicBezTo>
                  <a:cubicBezTo>
                    <a:pt x="1337" y="1219"/>
                    <a:pt x="1337" y="1241"/>
                    <a:pt x="1329" y="1235"/>
                  </a:cubicBezTo>
                  <a:close/>
                  <a:moveTo>
                    <a:pt x="1329" y="555"/>
                  </a:moveTo>
                  <a:cubicBezTo>
                    <a:pt x="1329" y="551"/>
                    <a:pt x="1337" y="542"/>
                    <a:pt x="1338" y="551"/>
                  </a:cubicBezTo>
                  <a:cubicBezTo>
                    <a:pt x="1337" y="555"/>
                    <a:pt x="1339" y="555"/>
                    <a:pt x="1340" y="555"/>
                  </a:cubicBezTo>
                  <a:cubicBezTo>
                    <a:pt x="1338" y="566"/>
                    <a:pt x="1334" y="552"/>
                    <a:pt x="1329" y="555"/>
                  </a:cubicBezTo>
                  <a:close/>
                  <a:moveTo>
                    <a:pt x="1348" y="1232"/>
                  </a:moveTo>
                  <a:cubicBezTo>
                    <a:pt x="1348" y="1236"/>
                    <a:pt x="1349" y="1238"/>
                    <a:pt x="1351" y="1239"/>
                  </a:cubicBezTo>
                  <a:cubicBezTo>
                    <a:pt x="1346" y="1252"/>
                    <a:pt x="1347" y="1229"/>
                    <a:pt x="1338" y="1235"/>
                  </a:cubicBezTo>
                  <a:cubicBezTo>
                    <a:pt x="1338" y="1226"/>
                    <a:pt x="1347" y="1228"/>
                    <a:pt x="1354" y="1228"/>
                  </a:cubicBezTo>
                  <a:cubicBezTo>
                    <a:pt x="1354" y="1232"/>
                    <a:pt x="1350" y="1231"/>
                    <a:pt x="1348" y="1232"/>
                  </a:cubicBezTo>
                  <a:close/>
                  <a:moveTo>
                    <a:pt x="1628" y="326"/>
                  </a:moveTo>
                  <a:cubicBezTo>
                    <a:pt x="1627" y="327"/>
                    <a:pt x="1624" y="337"/>
                    <a:pt x="1623" y="337"/>
                  </a:cubicBezTo>
                  <a:cubicBezTo>
                    <a:pt x="1619" y="338"/>
                    <a:pt x="1619" y="324"/>
                    <a:pt x="1628" y="326"/>
                  </a:cubicBezTo>
                  <a:close/>
                  <a:moveTo>
                    <a:pt x="1628" y="1202"/>
                  </a:moveTo>
                  <a:cubicBezTo>
                    <a:pt x="1625" y="1201"/>
                    <a:pt x="1622" y="1198"/>
                    <a:pt x="1623" y="1191"/>
                  </a:cubicBezTo>
                  <a:cubicBezTo>
                    <a:pt x="1626" y="1193"/>
                    <a:pt x="1628" y="1196"/>
                    <a:pt x="1628" y="1202"/>
                  </a:cubicBezTo>
                  <a:close/>
                  <a:moveTo>
                    <a:pt x="1617" y="1235"/>
                  </a:moveTo>
                  <a:cubicBezTo>
                    <a:pt x="1611" y="1248"/>
                    <a:pt x="1604" y="1225"/>
                    <a:pt x="1617" y="1235"/>
                  </a:cubicBezTo>
                  <a:close/>
                  <a:moveTo>
                    <a:pt x="1609" y="1180"/>
                  </a:moveTo>
                  <a:cubicBezTo>
                    <a:pt x="1607" y="1179"/>
                    <a:pt x="1607" y="1182"/>
                    <a:pt x="1606" y="1184"/>
                  </a:cubicBezTo>
                  <a:cubicBezTo>
                    <a:pt x="1603" y="1183"/>
                    <a:pt x="1604" y="1177"/>
                    <a:pt x="1604" y="1173"/>
                  </a:cubicBezTo>
                  <a:cubicBezTo>
                    <a:pt x="1608" y="1171"/>
                    <a:pt x="1609" y="1176"/>
                    <a:pt x="1609" y="1180"/>
                  </a:cubicBezTo>
                  <a:close/>
                  <a:moveTo>
                    <a:pt x="1604" y="226"/>
                  </a:moveTo>
                  <a:cubicBezTo>
                    <a:pt x="1608" y="225"/>
                    <a:pt x="1608" y="247"/>
                    <a:pt x="1601" y="241"/>
                  </a:cubicBezTo>
                  <a:cubicBezTo>
                    <a:pt x="1600" y="233"/>
                    <a:pt x="1603" y="231"/>
                    <a:pt x="1604" y="226"/>
                  </a:cubicBezTo>
                  <a:close/>
                  <a:moveTo>
                    <a:pt x="1604" y="740"/>
                  </a:moveTo>
                  <a:cubicBezTo>
                    <a:pt x="1603" y="743"/>
                    <a:pt x="1605" y="743"/>
                    <a:pt x="1606" y="744"/>
                  </a:cubicBezTo>
                  <a:cubicBezTo>
                    <a:pt x="1605" y="755"/>
                    <a:pt x="1601" y="740"/>
                    <a:pt x="1596" y="744"/>
                  </a:cubicBezTo>
                  <a:cubicBezTo>
                    <a:pt x="1595" y="739"/>
                    <a:pt x="1603" y="731"/>
                    <a:pt x="1604" y="740"/>
                  </a:cubicBezTo>
                  <a:close/>
                  <a:moveTo>
                    <a:pt x="1593" y="551"/>
                  </a:moveTo>
                  <a:cubicBezTo>
                    <a:pt x="1599" y="553"/>
                    <a:pt x="1595" y="571"/>
                    <a:pt x="1593" y="574"/>
                  </a:cubicBezTo>
                  <a:cubicBezTo>
                    <a:pt x="1585" y="570"/>
                    <a:pt x="1594" y="558"/>
                    <a:pt x="1593" y="551"/>
                  </a:cubicBezTo>
                  <a:close/>
                  <a:moveTo>
                    <a:pt x="1588" y="611"/>
                  </a:moveTo>
                  <a:cubicBezTo>
                    <a:pt x="1589" y="600"/>
                    <a:pt x="1592" y="616"/>
                    <a:pt x="1596" y="614"/>
                  </a:cubicBezTo>
                  <a:cubicBezTo>
                    <a:pt x="1595" y="619"/>
                    <a:pt x="1591" y="617"/>
                    <a:pt x="1588" y="618"/>
                  </a:cubicBezTo>
                  <a:cubicBezTo>
                    <a:pt x="1587" y="615"/>
                    <a:pt x="1589" y="614"/>
                    <a:pt x="1590" y="614"/>
                  </a:cubicBezTo>
                  <a:cubicBezTo>
                    <a:pt x="1591" y="611"/>
                    <a:pt x="1589" y="611"/>
                    <a:pt x="1588" y="611"/>
                  </a:cubicBezTo>
                  <a:close/>
                  <a:moveTo>
                    <a:pt x="1593" y="636"/>
                  </a:moveTo>
                  <a:cubicBezTo>
                    <a:pt x="1593" y="639"/>
                    <a:pt x="1593" y="641"/>
                    <a:pt x="1593" y="644"/>
                  </a:cubicBezTo>
                  <a:cubicBezTo>
                    <a:pt x="1580" y="648"/>
                    <a:pt x="1588" y="624"/>
                    <a:pt x="1593" y="636"/>
                  </a:cubicBezTo>
                  <a:close/>
                  <a:moveTo>
                    <a:pt x="1580" y="577"/>
                  </a:moveTo>
                  <a:cubicBezTo>
                    <a:pt x="1581" y="567"/>
                    <a:pt x="1583" y="586"/>
                    <a:pt x="1582" y="588"/>
                  </a:cubicBezTo>
                  <a:cubicBezTo>
                    <a:pt x="1581" y="596"/>
                    <a:pt x="1577" y="591"/>
                    <a:pt x="1580" y="577"/>
                  </a:cubicBezTo>
                  <a:close/>
                  <a:moveTo>
                    <a:pt x="1577" y="263"/>
                  </a:moveTo>
                  <a:cubicBezTo>
                    <a:pt x="1575" y="274"/>
                    <a:pt x="1571" y="259"/>
                    <a:pt x="1566" y="263"/>
                  </a:cubicBezTo>
                  <a:cubicBezTo>
                    <a:pt x="1566" y="258"/>
                    <a:pt x="1566" y="252"/>
                    <a:pt x="1563" y="252"/>
                  </a:cubicBezTo>
                  <a:cubicBezTo>
                    <a:pt x="1565" y="245"/>
                    <a:pt x="1568" y="251"/>
                    <a:pt x="1569" y="252"/>
                  </a:cubicBezTo>
                  <a:cubicBezTo>
                    <a:pt x="1570" y="252"/>
                    <a:pt x="1573" y="251"/>
                    <a:pt x="1574" y="252"/>
                  </a:cubicBezTo>
                  <a:cubicBezTo>
                    <a:pt x="1574" y="252"/>
                    <a:pt x="1570" y="268"/>
                    <a:pt x="1577" y="263"/>
                  </a:cubicBezTo>
                  <a:close/>
                  <a:moveTo>
                    <a:pt x="1563" y="707"/>
                  </a:moveTo>
                  <a:cubicBezTo>
                    <a:pt x="1561" y="705"/>
                    <a:pt x="1561" y="704"/>
                    <a:pt x="1563" y="703"/>
                  </a:cubicBezTo>
                  <a:cubicBezTo>
                    <a:pt x="1564" y="703"/>
                    <a:pt x="1563" y="700"/>
                    <a:pt x="1563" y="699"/>
                  </a:cubicBezTo>
                  <a:cubicBezTo>
                    <a:pt x="1566" y="696"/>
                    <a:pt x="1570" y="704"/>
                    <a:pt x="1569" y="707"/>
                  </a:cubicBezTo>
                  <a:cubicBezTo>
                    <a:pt x="1567" y="710"/>
                    <a:pt x="1566" y="703"/>
                    <a:pt x="1566" y="703"/>
                  </a:cubicBezTo>
                  <a:cubicBezTo>
                    <a:pt x="1565" y="703"/>
                    <a:pt x="1562" y="706"/>
                    <a:pt x="1563" y="707"/>
                  </a:cubicBezTo>
                  <a:close/>
                  <a:moveTo>
                    <a:pt x="1566" y="640"/>
                  </a:moveTo>
                  <a:cubicBezTo>
                    <a:pt x="1564" y="640"/>
                    <a:pt x="1562" y="635"/>
                    <a:pt x="1558" y="636"/>
                  </a:cubicBezTo>
                  <a:cubicBezTo>
                    <a:pt x="1561" y="630"/>
                    <a:pt x="1569" y="630"/>
                    <a:pt x="1571" y="633"/>
                  </a:cubicBezTo>
                  <a:cubicBezTo>
                    <a:pt x="1573" y="634"/>
                    <a:pt x="1567" y="640"/>
                    <a:pt x="1566" y="640"/>
                  </a:cubicBezTo>
                  <a:close/>
                  <a:moveTo>
                    <a:pt x="1561" y="618"/>
                  </a:moveTo>
                  <a:cubicBezTo>
                    <a:pt x="1569" y="604"/>
                    <a:pt x="1570" y="629"/>
                    <a:pt x="1561" y="618"/>
                  </a:cubicBezTo>
                  <a:close/>
                  <a:moveTo>
                    <a:pt x="1569" y="599"/>
                  </a:moveTo>
                  <a:cubicBezTo>
                    <a:pt x="1569" y="594"/>
                    <a:pt x="1569" y="589"/>
                    <a:pt x="1566" y="588"/>
                  </a:cubicBezTo>
                  <a:cubicBezTo>
                    <a:pt x="1566" y="585"/>
                    <a:pt x="1567" y="585"/>
                    <a:pt x="1569" y="585"/>
                  </a:cubicBezTo>
                  <a:cubicBezTo>
                    <a:pt x="1571" y="585"/>
                    <a:pt x="1572" y="585"/>
                    <a:pt x="1574" y="585"/>
                  </a:cubicBezTo>
                  <a:cubicBezTo>
                    <a:pt x="1571" y="596"/>
                    <a:pt x="1573" y="594"/>
                    <a:pt x="1577" y="603"/>
                  </a:cubicBezTo>
                  <a:cubicBezTo>
                    <a:pt x="1574" y="616"/>
                    <a:pt x="1576" y="593"/>
                    <a:pt x="1569" y="599"/>
                  </a:cubicBezTo>
                  <a:close/>
                  <a:moveTo>
                    <a:pt x="1539" y="196"/>
                  </a:moveTo>
                  <a:cubicBezTo>
                    <a:pt x="1546" y="192"/>
                    <a:pt x="1550" y="207"/>
                    <a:pt x="1553" y="196"/>
                  </a:cubicBezTo>
                  <a:cubicBezTo>
                    <a:pt x="1556" y="198"/>
                    <a:pt x="1553" y="203"/>
                    <a:pt x="1550" y="204"/>
                  </a:cubicBezTo>
                  <a:cubicBezTo>
                    <a:pt x="1555" y="217"/>
                    <a:pt x="1557" y="197"/>
                    <a:pt x="1563" y="200"/>
                  </a:cubicBezTo>
                  <a:cubicBezTo>
                    <a:pt x="1561" y="203"/>
                    <a:pt x="1560" y="208"/>
                    <a:pt x="1561" y="215"/>
                  </a:cubicBezTo>
                  <a:cubicBezTo>
                    <a:pt x="1551" y="218"/>
                    <a:pt x="1548" y="211"/>
                    <a:pt x="1547" y="200"/>
                  </a:cubicBezTo>
                  <a:cubicBezTo>
                    <a:pt x="1537" y="195"/>
                    <a:pt x="1547" y="217"/>
                    <a:pt x="1536" y="211"/>
                  </a:cubicBezTo>
                  <a:cubicBezTo>
                    <a:pt x="1539" y="208"/>
                    <a:pt x="1539" y="203"/>
                    <a:pt x="1539" y="196"/>
                  </a:cubicBezTo>
                  <a:close/>
                  <a:moveTo>
                    <a:pt x="1571" y="222"/>
                  </a:moveTo>
                  <a:cubicBezTo>
                    <a:pt x="1571" y="227"/>
                    <a:pt x="1571" y="233"/>
                    <a:pt x="1574" y="233"/>
                  </a:cubicBezTo>
                  <a:cubicBezTo>
                    <a:pt x="1574" y="237"/>
                    <a:pt x="1571" y="236"/>
                    <a:pt x="1569" y="237"/>
                  </a:cubicBezTo>
                  <a:cubicBezTo>
                    <a:pt x="1566" y="239"/>
                    <a:pt x="1567" y="230"/>
                    <a:pt x="1566" y="230"/>
                  </a:cubicBezTo>
                  <a:cubicBezTo>
                    <a:pt x="1562" y="229"/>
                    <a:pt x="1558" y="234"/>
                    <a:pt x="1553" y="233"/>
                  </a:cubicBezTo>
                  <a:cubicBezTo>
                    <a:pt x="1553" y="233"/>
                    <a:pt x="1552" y="230"/>
                    <a:pt x="1550" y="230"/>
                  </a:cubicBezTo>
                  <a:cubicBezTo>
                    <a:pt x="1546" y="229"/>
                    <a:pt x="1537" y="229"/>
                    <a:pt x="1536" y="218"/>
                  </a:cubicBezTo>
                  <a:cubicBezTo>
                    <a:pt x="1548" y="219"/>
                    <a:pt x="1557" y="224"/>
                    <a:pt x="1571" y="222"/>
                  </a:cubicBezTo>
                  <a:close/>
                  <a:moveTo>
                    <a:pt x="1550" y="1221"/>
                  </a:moveTo>
                  <a:cubicBezTo>
                    <a:pt x="1554" y="1221"/>
                    <a:pt x="1551" y="1232"/>
                    <a:pt x="1555" y="1232"/>
                  </a:cubicBezTo>
                  <a:cubicBezTo>
                    <a:pt x="1554" y="1243"/>
                    <a:pt x="1550" y="1228"/>
                    <a:pt x="1545" y="1232"/>
                  </a:cubicBezTo>
                  <a:cubicBezTo>
                    <a:pt x="1545" y="1226"/>
                    <a:pt x="1545" y="1220"/>
                    <a:pt x="1545" y="1213"/>
                  </a:cubicBezTo>
                  <a:cubicBezTo>
                    <a:pt x="1548" y="1214"/>
                    <a:pt x="1546" y="1220"/>
                    <a:pt x="1550" y="1221"/>
                  </a:cubicBezTo>
                  <a:close/>
                  <a:moveTo>
                    <a:pt x="1528" y="200"/>
                  </a:moveTo>
                  <a:cubicBezTo>
                    <a:pt x="1523" y="202"/>
                    <a:pt x="1523" y="195"/>
                    <a:pt x="1523" y="189"/>
                  </a:cubicBezTo>
                  <a:cubicBezTo>
                    <a:pt x="1520" y="188"/>
                    <a:pt x="1518" y="190"/>
                    <a:pt x="1518" y="193"/>
                  </a:cubicBezTo>
                  <a:cubicBezTo>
                    <a:pt x="1508" y="182"/>
                    <a:pt x="1535" y="183"/>
                    <a:pt x="1528" y="200"/>
                  </a:cubicBezTo>
                  <a:close/>
                  <a:moveTo>
                    <a:pt x="1523" y="259"/>
                  </a:moveTo>
                  <a:cubicBezTo>
                    <a:pt x="1521" y="265"/>
                    <a:pt x="1519" y="271"/>
                    <a:pt x="1512" y="270"/>
                  </a:cubicBezTo>
                  <a:cubicBezTo>
                    <a:pt x="1514" y="263"/>
                    <a:pt x="1513" y="250"/>
                    <a:pt x="1523" y="259"/>
                  </a:cubicBezTo>
                  <a:close/>
                  <a:moveTo>
                    <a:pt x="1483" y="174"/>
                  </a:moveTo>
                  <a:cubicBezTo>
                    <a:pt x="1485" y="174"/>
                    <a:pt x="1486" y="174"/>
                    <a:pt x="1488" y="174"/>
                  </a:cubicBezTo>
                  <a:cubicBezTo>
                    <a:pt x="1489" y="185"/>
                    <a:pt x="1468" y="173"/>
                    <a:pt x="1483" y="174"/>
                  </a:cubicBezTo>
                  <a:close/>
                  <a:moveTo>
                    <a:pt x="1464" y="163"/>
                  </a:moveTo>
                  <a:cubicBezTo>
                    <a:pt x="1464" y="170"/>
                    <a:pt x="1467" y="171"/>
                    <a:pt x="1467" y="178"/>
                  </a:cubicBezTo>
                  <a:cubicBezTo>
                    <a:pt x="1463" y="178"/>
                    <a:pt x="1459" y="178"/>
                    <a:pt x="1456" y="178"/>
                  </a:cubicBezTo>
                  <a:cubicBezTo>
                    <a:pt x="1451" y="171"/>
                    <a:pt x="1460" y="165"/>
                    <a:pt x="1448" y="167"/>
                  </a:cubicBezTo>
                  <a:cubicBezTo>
                    <a:pt x="1440" y="161"/>
                    <a:pt x="1459" y="163"/>
                    <a:pt x="1464" y="163"/>
                  </a:cubicBezTo>
                  <a:close/>
                  <a:moveTo>
                    <a:pt x="1464" y="662"/>
                  </a:moveTo>
                  <a:cubicBezTo>
                    <a:pt x="1467" y="663"/>
                    <a:pt x="1466" y="670"/>
                    <a:pt x="1469" y="670"/>
                  </a:cubicBezTo>
                  <a:cubicBezTo>
                    <a:pt x="1470" y="673"/>
                    <a:pt x="1468" y="673"/>
                    <a:pt x="1467" y="673"/>
                  </a:cubicBezTo>
                  <a:cubicBezTo>
                    <a:pt x="1463" y="681"/>
                    <a:pt x="1467" y="670"/>
                    <a:pt x="1464" y="662"/>
                  </a:cubicBezTo>
                  <a:close/>
                  <a:moveTo>
                    <a:pt x="1445" y="562"/>
                  </a:moveTo>
                  <a:cubicBezTo>
                    <a:pt x="1444" y="561"/>
                    <a:pt x="1442" y="558"/>
                    <a:pt x="1445" y="562"/>
                  </a:cubicBezTo>
                  <a:cubicBezTo>
                    <a:pt x="1452" y="568"/>
                    <a:pt x="1449" y="572"/>
                    <a:pt x="1445" y="585"/>
                  </a:cubicBezTo>
                  <a:cubicBezTo>
                    <a:pt x="1442" y="584"/>
                    <a:pt x="1444" y="581"/>
                    <a:pt x="1445" y="581"/>
                  </a:cubicBezTo>
                  <a:cubicBezTo>
                    <a:pt x="1443" y="574"/>
                    <a:pt x="1440" y="580"/>
                    <a:pt x="1437" y="581"/>
                  </a:cubicBezTo>
                  <a:cubicBezTo>
                    <a:pt x="1431" y="589"/>
                    <a:pt x="1442" y="569"/>
                    <a:pt x="1448" y="570"/>
                  </a:cubicBezTo>
                  <a:cubicBezTo>
                    <a:pt x="1447" y="567"/>
                    <a:pt x="1445" y="566"/>
                    <a:pt x="1445" y="562"/>
                  </a:cubicBezTo>
                  <a:close/>
                  <a:moveTo>
                    <a:pt x="1442" y="1180"/>
                  </a:moveTo>
                  <a:cubicBezTo>
                    <a:pt x="1447" y="1185"/>
                    <a:pt x="1447" y="1195"/>
                    <a:pt x="1445" y="1199"/>
                  </a:cubicBezTo>
                  <a:cubicBezTo>
                    <a:pt x="1445" y="1199"/>
                    <a:pt x="1437" y="1189"/>
                    <a:pt x="1442" y="1180"/>
                  </a:cubicBezTo>
                  <a:close/>
                  <a:moveTo>
                    <a:pt x="1445" y="1228"/>
                  </a:moveTo>
                  <a:cubicBezTo>
                    <a:pt x="1443" y="1227"/>
                    <a:pt x="1443" y="1230"/>
                    <a:pt x="1442" y="1232"/>
                  </a:cubicBezTo>
                  <a:cubicBezTo>
                    <a:pt x="1439" y="1231"/>
                    <a:pt x="1440" y="1225"/>
                    <a:pt x="1440" y="1221"/>
                  </a:cubicBezTo>
                  <a:cubicBezTo>
                    <a:pt x="1444" y="1219"/>
                    <a:pt x="1445" y="1224"/>
                    <a:pt x="1445" y="1228"/>
                  </a:cubicBezTo>
                  <a:close/>
                  <a:moveTo>
                    <a:pt x="1440" y="644"/>
                  </a:moveTo>
                  <a:cubicBezTo>
                    <a:pt x="1444" y="637"/>
                    <a:pt x="1450" y="638"/>
                    <a:pt x="1453" y="640"/>
                  </a:cubicBezTo>
                  <a:cubicBezTo>
                    <a:pt x="1454" y="641"/>
                    <a:pt x="1447" y="651"/>
                    <a:pt x="1440" y="644"/>
                  </a:cubicBezTo>
                  <a:close/>
                  <a:moveTo>
                    <a:pt x="1450" y="270"/>
                  </a:moveTo>
                  <a:cubicBezTo>
                    <a:pt x="1449" y="259"/>
                    <a:pt x="1453" y="257"/>
                    <a:pt x="1453" y="248"/>
                  </a:cubicBezTo>
                  <a:cubicBezTo>
                    <a:pt x="1463" y="245"/>
                    <a:pt x="1456" y="258"/>
                    <a:pt x="1453" y="259"/>
                  </a:cubicBezTo>
                  <a:cubicBezTo>
                    <a:pt x="1455" y="267"/>
                    <a:pt x="1451" y="288"/>
                    <a:pt x="1450" y="270"/>
                  </a:cubicBezTo>
                  <a:close/>
                  <a:moveTo>
                    <a:pt x="1448" y="1210"/>
                  </a:moveTo>
                  <a:cubicBezTo>
                    <a:pt x="1452" y="1209"/>
                    <a:pt x="1452" y="1213"/>
                    <a:pt x="1456" y="1213"/>
                  </a:cubicBezTo>
                  <a:cubicBezTo>
                    <a:pt x="1457" y="1221"/>
                    <a:pt x="1444" y="1219"/>
                    <a:pt x="1448" y="1210"/>
                  </a:cubicBezTo>
                  <a:close/>
                  <a:moveTo>
                    <a:pt x="1450" y="1195"/>
                  </a:moveTo>
                  <a:cubicBezTo>
                    <a:pt x="1450" y="1190"/>
                    <a:pt x="1450" y="1185"/>
                    <a:pt x="1450" y="1180"/>
                  </a:cubicBezTo>
                  <a:cubicBezTo>
                    <a:pt x="1458" y="1173"/>
                    <a:pt x="1456" y="1196"/>
                    <a:pt x="1458" y="1184"/>
                  </a:cubicBezTo>
                  <a:cubicBezTo>
                    <a:pt x="1466" y="1188"/>
                    <a:pt x="1455" y="1196"/>
                    <a:pt x="1450" y="1195"/>
                  </a:cubicBezTo>
                  <a:close/>
                  <a:moveTo>
                    <a:pt x="1418" y="170"/>
                  </a:moveTo>
                  <a:cubicBezTo>
                    <a:pt x="1422" y="178"/>
                    <a:pt x="1402" y="180"/>
                    <a:pt x="1402" y="167"/>
                  </a:cubicBezTo>
                  <a:cubicBezTo>
                    <a:pt x="1405" y="171"/>
                    <a:pt x="1412" y="171"/>
                    <a:pt x="1418" y="170"/>
                  </a:cubicBezTo>
                  <a:close/>
                  <a:moveTo>
                    <a:pt x="1402" y="204"/>
                  </a:moveTo>
                  <a:cubicBezTo>
                    <a:pt x="1406" y="204"/>
                    <a:pt x="1409" y="204"/>
                    <a:pt x="1413" y="204"/>
                  </a:cubicBezTo>
                  <a:cubicBezTo>
                    <a:pt x="1413" y="213"/>
                    <a:pt x="1409" y="215"/>
                    <a:pt x="1407" y="222"/>
                  </a:cubicBezTo>
                  <a:cubicBezTo>
                    <a:pt x="1403" y="219"/>
                    <a:pt x="1402" y="213"/>
                    <a:pt x="1402" y="204"/>
                  </a:cubicBezTo>
                  <a:close/>
                  <a:moveTo>
                    <a:pt x="1413" y="566"/>
                  </a:moveTo>
                  <a:cubicBezTo>
                    <a:pt x="1404" y="581"/>
                    <a:pt x="1403" y="555"/>
                    <a:pt x="1405" y="544"/>
                  </a:cubicBezTo>
                  <a:cubicBezTo>
                    <a:pt x="1408" y="545"/>
                    <a:pt x="1410" y="543"/>
                    <a:pt x="1410" y="540"/>
                  </a:cubicBezTo>
                  <a:cubicBezTo>
                    <a:pt x="1420" y="544"/>
                    <a:pt x="1397" y="565"/>
                    <a:pt x="1413" y="566"/>
                  </a:cubicBezTo>
                  <a:close/>
                  <a:moveTo>
                    <a:pt x="1378" y="207"/>
                  </a:moveTo>
                  <a:cubicBezTo>
                    <a:pt x="1381" y="202"/>
                    <a:pt x="1389" y="204"/>
                    <a:pt x="1397" y="204"/>
                  </a:cubicBezTo>
                  <a:cubicBezTo>
                    <a:pt x="1389" y="213"/>
                    <a:pt x="1403" y="208"/>
                    <a:pt x="1399" y="222"/>
                  </a:cubicBezTo>
                  <a:cubicBezTo>
                    <a:pt x="1397" y="222"/>
                    <a:pt x="1397" y="218"/>
                    <a:pt x="1397" y="215"/>
                  </a:cubicBezTo>
                  <a:cubicBezTo>
                    <a:pt x="1393" y="220"/>
                    <a:pt x="1385" y="218"/>
                    <a:pt x="1378" y="218"/>
                  </a:cubicBezTo>
                  <a:cubicBezTo>
                    <a:pt x="1378" y="215"/>
                    <a:pt x="1378" y="211"/>
                    <a:pt x="1378" y="207"/>
                  </a:cubicBezTo>
                  <a:close/>
                  <a:moveTo>
                    <a:pt x="1359" y="562"/>
                  </a:moveTo>
                  <a:cubicBezTo>
                    <a:pt x="1365" y="561"/>
                    <a:pt x="1364" y="568"/>
                    <a:pt x="1364" y="574"/>
                  </a:cubicBezTo>
                  <a:cubicBezTo>
                    <a:pt x="1362" y="573"/>
                    <a:pt x="1362" y="570"/>
                    <a:pt x="1359" y="570"/>
                  </a:cubicBezTo>
                  <a:cubicBezTo>
                    <a:pt x="1359" y="567"/>
                    <a:pt x="1359" y="565"/>
                    <a:pt x="1359" y="562"/>
                  </a:cubicBezTo>
                  <a:close/>
                  <a:moveTo>
                    <a:pt x="1373" y="618"/>
                  </a:moveTo>
                  <a:cubicBezTo>
                    <a:pt x="1367" y="622"/>
                    <a:pt x="1377" y="595"/>
                    <a:pt x="1370" y="607"/>
                  </a:cubicBezTo>
                  <a:cubicBezTo>
                    <a:pt x="1367" y="607"/>
                    <a:pt x="1368" y="602"/>
                    <a:pt x="1367" y="599"/>
                  </a:cubicBezTo>
                  <a:cubicBezTo>
                    <a:pt x="1369" y="600"/>
                    <a:pt x="1370" y="598"/>
                    <a:pt x="1370" y="596"/>
                  </a:cubicBezTo>
                  <a:cubicBezTo>
                    <a:pt x="1375" y="599"/>
                    <a:pt x="1377" y="612"/>
                    <a:pt x="1373" y="618"/>
                  </a:cubicBezTo>
                  <a:close/>
                  <a:moveTo>
                    <a:pt x="1375" y="629"/>
                  </a:moveTo>
                  <a:cubicBezTo>
                    <a:pt x="1375" y="631"/>
                    <a:pt x="1375" y="634"/>
                    <a:pt x="1375" y="636"/>
                  </a:cubicBezTo>
                  <a:cubicBezTo>
                    <a:pt x="1373" y="636"/>
                    <a:pt x="1372" y="636"/>
                    <a:pt x="1370" y="636"/>
                  </a:cubicBezTo>
                  <a:cubicBezTo>
                    <a:pt x="1370" y="634"/>
                    <a:pt x="1370" y="631"/>
                    <a:pt x="1370" y="629"/>
                  </a:cubicBezTo>
                  <a:cubicBezTo>
                    <a:pt x="1372" y="629"/>
                    <a:pt x="1373" y="629"/>
                    <a:pt x="1375" y="629"/>
                  </a:cubicBezTo>
                  <a:close/>
                  <a:moveTo>
                    <a:pt x="1370" y="1235"/>
                  </a:moveTo>
                  <a:cubicBezTo>
                    <a:pt x="1366" y="1232"/>
                    <a:pt x="1359" y="1233"/>
                    <a:pt x="1362" y="1221"/>
                  </a:cubicBezTo>
                  <a:cubicBezTo>
                    <a:pt x="1364" y="1220"/>
                    <a:pt x="1364" y="1222"/>
                    <a:pt x="1364" y="1225"/>
                  </a:cubicBezTo>
                  <a:cubicBezTo>
                    <a:pt x="1366" y="1228"/>
                    <a:pt x="1371" y="1228"/>
                    <a:pt x="1370" y="1235"/>
                  </a:cubicBezTo>
                  <a:close/>
                  <a:moveTo>
                    <a:pt x="1356" y="1280"/>
                  </a:moveTo>
                  <a:cubicBezTo>
                    <a:pt x="1359" y="1275"/>
                    <a:pt x="1364" y="1273"/>
                    <a:pt x="1364" y="1265"/>
                  </a:cubicBezTo>
                  <a:cubicBezTo>
                    <a:pt x="1371" y="1264"/>
                    <a:pt x="1366" y="1279"/>
                    <a:pt x="1375" y="1276"/>
                  </a:cubicBezTo>
                  <a:cubicBezTo>
                    <a:pt x="1374" y="1285"/>
                    <a:pt x="1362" y="1278"/>
                    <a:pt x="1356" y="1280"/>
                  </a:cubicBezTo>
                  <a:close/>
                  <a:moveTo>
                    <a:pt x="1375" y="1239"/>
                  </a:moveTo>
                  <a:cubicBezTo>
                    <a:pt x="1370" y="1237"/>
                    <a:pt x="1375" y="1233"/>
                    <a:pt x="1375" y="1228"/>
                  </a:cubicBezTo>
                  <a:cubicBezTo>
                    <a:pt x="1380" y="1231"/>
                    <a:pt x="1376" y="1235"/>
                    <a:pt x="1375" y="1239"/>
                  </a:cubicBezTo>
                  <a:close/>
                  <a:moveTo>
                    <a:pt x="1378" y="255"/>
                  </a:moveTo>
                  <a:cubicBezTo>
                    <a:pt x="1369" y="255"/>
                    <a:pt x="1362" y="253"/>
                    <a:pt x="1362" y="241"/>
                  </a:cubicBezTo>
                  <a:cubicBezTo>
                    <a:pt x="1364" y="244"/>
                    <a:pt x="1379" y="249"/>
                    <a:pt x="1380" y="241"/>
                  </a:cubicBezTo>
                  <a:cubicBezTo>
                    <a:pt x="1392" y="245"/>
                    <a:pt x="1369" y="251"/>
                    <a:pt x="1380" y="255"/>
                  </a:cubicBezTo>
                  <a:cubicBezTo>
                    <a:pt x="1380" y="260"/>
                    <a:pt x="1378" y="258"/>
                    <a:pt x="1378" y="255"/>
                  </a:cubicBezTo>
                  <a:close/>
                  <a:moveTo>
                    <a:pt x="1383" y="562"/>
                  </a:moveTo>
                  <a:cubicBezTo>
                    <a:pt x="1380" y="587"/>
                    <a:pt x="1377" y="524"/>
                    <a:pt x="1383" y="562"/>
                  </a:cubicBezTo>
                  <a:close/>
                  <a:moveTo>
                    <a:pt x="1389" y="267"/>
                  </a:moveTo>
                  <a:cubicBezTo>
                    <a:pt x="1379" y="257"/>
                    <a:pt x="1398" y="256"/>
                    <a:pt x="1389" y="248"/>
                  </a:cubicBezTo>
                  <a:cubicBezTo>
                    <a:pt x="1391" y="242"/>
                    <a:pt x="1400" y="244"/>
                    <a:pt x="1405" y="241"/>
                  </a:cubicBezTo>
                  <a:cubicBezTo>
                    <a:pt x="1407" y="244"/>
                    <a:pt x="1406" y="251"/>
                    <a:pt x="1410" y="252"/>
                  </a:cubicBezTo>
                  <a:cubicBezTo>
                    <a:pt x="1409" y="256"/>
                    <a:pt x="1405" y="255"/>
                    <a:pt x="1405" y="252"/>
                  </a:cubicBezTo>
                  <a:cubicBezTo>
                    <a:pt x="1401" y="251"/>
                    <a:pt x="1404" y="261"/>
                    <a:pt x="1402" y="263"/>
                  </a:cubicBezTo>
                  <a:cubicBezTo>
                    <a:pt x="1400" y="266"/>
                    <a:pt x="1391" y="254"/>
                    <a:pt x="1391" y="267"/>
                  </a:cubicBezTo>
                  <a:cubicBezTo>
                    <a:pt x="1396" y="273"/>
                    <a:pt x="1401" y="265"/>
                    <a:pt x="1407" y="274"/>
                  </a:cubicBezTo>
                  <a:cubicBezTo>
                    <a:pt x="1407" y="278"/>
                    <a:pt x="1402" y="277"/>
                    <a:pt x="1402" y="281"/>
                  </a:cubicBezTo>
                  <a:cubicBezTo>
                    <a:pt x="1396" y="270"/>
                    <a:pt x="1400" y="280"/>
                    <a:pt x="1391" y="281"/>
                  </a:cubicBezTo>
                  <a:cubicBezTo>
                    <a:pt x="1399" y="273"/>
                    <a:pt x="1384" y="264"/>
                    <a:pt x="1383" y="278"/>
                  </a:cubicBezTo>
                  <a:cubicBezTo>
                    <a:pt x="1375" y="274"/>
                    <a:pt x="1386" y="268"/>
                    <a:pt x="1389" y="267"/>
                  </a:cubicBezTo>
                  <a:close/>
                  <a:moveTo>
                    <a:pt x="1389" y="555"/>
                  </a:moveTo>
                  <a:cubicBezTo>
                    <a:pt x="1390" y="550"/>
                    <a:pt x="1394" y="548"/>
                    <a:pt x="1399" y="548"/>
                  </a:cubicBezTo>
                  <a:cubicBezTo>
                    <a:pt x="1397" y="554"/>
                    <a:pt x="1393" y="562"/>
                    <a:pt x="1389" y="555"/>
                  </a:cubicBezTo>
                  <a:close/>
                  <a:moveTo>
                    <a:pt x="1399" y="577"/>
                  </a:moveTo>
                  <a:cubicBezTo>
                    <a:pt x="1396" y="576"/>
                    <a:pt x="1394" y="573"/>
                    <a:pt x="1394" y="566"/>
                  </a:cubicBezTo>
                  <a:cubicBezTo>
                    <a:pt x="1397" y="568"/>
                    <a:pt x="1399" y="571"/>
                    <a:pt x="1399" y="577"/>
                  </a:cubicBezTo>
                  <a:close/>
                  <a:moveTo>
                    <a:pt x="1389" y="1280"/>
                  </a:moveTo>
                  <a:cubicBezTo>
                    <a:pt x="1390" y="1280"/>
                    <a:pt x="1392" y="1280"/>
                    <a:pt x="1394" y="1280"/>
                  </a:cubicBezTo>
                  <a:cubicBezTo>
                    <a:pt x="1395" y="1290"/>
                    <a:pt x="1374" y="1279"/>
                    <a:pt x="1389" y="1280"/>
                  </a:cubicBezTo>
                  <a:close/>
                  <a:moveTo>
                    <a:pt x="1394" y="1250"/>
                  </a:moveTo>
                  <a:cubicBezTo>
                    <a:pt x="1391" y="1248"/>
                    <a:pt x="1391" y="1242"/>
                    <a:pt x="1386" y="1243"/>
                  </a:cubicBezTo>
                  <a:cubicBezTo>
                    <a:pt x="1388" y="1240"/>
                    <a:pt x="1390" y="1233"/>
                    <a:pt x="1386" y="1232"/>
                  </a:cubicBezTo>
                  <a:cubicBezTo>
                    <a:pt x="1387" y="1227"/>
                    <a:pt x="1394" y="1231"/>
                    <a:pt x="1394" y="1225"/>
                  </a:cubicBezTo>
                  <a:cubicBezTo>
                    <a:pt x="1400" y="1223"/>
                    <a:pt x="1397" y="1235"/>
                    <a:pt x="1402" y="1235"/>
                  </a:cubicBezTo>
                  <a:cubicBezTo>
                    <a:pt x="1401" y="1243"/>
                    <a:pt x="1390" y="1236"/>
                    <a:pt x="1394" y="1250"/>
                  </a:cubicBezTo>
                  <a:close/>
                  <a:moveTo>
                    <a:pt x="1402" y="577"/>
                  </a:moveTo>
                  <a:cubicBezTo>
                    <a:pt x="1404" y="567"/>
                    <a:pt x="1406" y="583"/>
                    <a:pt x="1410" y="581"/>
                  </a:cubicBezTo>
                  <a:cubicBezTo>
                    <a:pt x="1407" y="593"/>
                    <a:pt x="1405" y="577"/>
                    <a:pt x="1402" y="577"/>
                  </a:cubicBezTo>
                  <a:close/>
                  <a:moveTo>
                    <a:pt x="1405" y="1306"/>
                  </a:moveTo>
                  <a:cubicBezTo>
                    <a:pt x="1405" y="1297"/>
                    <a:pt x="1414" y="1305"/>
                    <a:pt x="1415" y="1306"/>
                  </a:cubicBezTo>
                  <a:cubicBezTo>
                    <a:pt x="1415" y="1315"/>
                    <a:pt x="1406" y="1307"/>
                    <a:pt x="1405" y="1306"/>
                  </a:cubicBezTo>
                  <a:close/>
                  <a:moveTo>
                    <a:pt x="1426" y="1247"/>
                  </a:moveTo>
                  <a:cubicBezTo>
                    <a:pt x="1422" y="1245"/>
                    <a:pt x="1424" y="1235"/>
                    <a:pt x="1415" y="1239"/>
                  </a:cubicBezTo>
                  <a:cubicBezTo>
                    <a:pt x="1415" y="1234"/>
                    <a:pt x="1415" y="1229"/>
                    <a:pt x="1415" y="1225"/>
                  </a:cubicBezTo>
                  <a:cubicBezTo>
                    <a:pt x="1421" y="1226"/>
                    <a:pt x="1420" y="1235"/>
                    <a:pt x="1429" y="1232"/>
                  </a:cubicBezTo>
                  <a:cubicBezTo>
                    <a:pt x="1430" y="1240"/>
                    <a:pt x="1427" y="1242"/>
                    <a:pt x="1426" y="1247"/>
                  </a:cubicBezTo>
                  <a:close/>
                  <a:moveTo>
                    <a:pt x="1421" y="1180"/>
                  </a:moveTo>
                  <a:cubicBezTo>
                    <a:pt x="1421" y="1183"/>
                    <a:pt x="1421" y="1185"/>
                    <a:pt x="1421" y="1187"/>
                  </a:cubicBezTo>
                  <a:cubicBezTo>
                    <a:pt x="1419" y="1187"/>
                    <a:pt x="1417" y="1187"/>
                    <a:pt x="1415" y="1187"/>
                  </a:cubicBezTo>
                  <a:cubicBezTo>
                    <a:pt x="1415" y="1185"/>
                    <a:pt x="1415" y="1183"/>
                    <a:pt x="1415" y="1180"/>
                  </a:cubicBezTo>
                  <a:cubicBezTo>
                    <a:pt x="1417" y="1180"/>
                    <a:pt x="1419" y="1180"/>
                    <a:pt x="1421" y="1180"/>
                  </a:cubicBezTo>
                  <a:close/>
                  <a:moveTo>
                    <a:pt x="1424" y="244"/>
                  </a:moveTo>
                  <a:cubicBezTo>
                    <a:pt x="1425" y="252"/>
                    <a:pt x="1422" y="254"/>
                    <a:pt x="1421" y="259"/>
                  </a:cubicBezTo>
                  <a:cubicBezTo>
                    <a:pt x="1413" y="259"/>
                    <a:pt x="1414" y="242"/>
                    <a:pt x="1424" y="244"/>
                  </a:cubicBezTo>
                  <a:close/>
                  <a:moveTo>
                    <a:pt x="1424" y="1180"/>
                  </a:moveTo>
                  <a:cubicBezTo>
                    <a:pt x="1424" y="1176"/>
                    <a:pt x="1424" y="1173"/>
                    <a:pt x="1424" y="1169"/>
                  </a:cubicBezTo>
                  <a:cubicBezTo>
                    <a:pt x="1431" y="1164"/>
                    <a:pt x="1431" y="1185"/>
                    <a:pt x="1424" y="1180"/>
                  </a:cubicBezTo>
                  <a:close/>
                  <a:moveTo>
                    <a:pt x="1421" y="289"/>
                  </a:moveTo>
                  <a:cubicBezTo>
                    <a:pt x="1420" y="282"/>
                    <a:pt x="1427" y="284"/>
                    <a:pt x="1429" y="281"/>
                  </a:cubicBezTo>
                  <a:cubicBezTo>
                    <a:pt x="1435" y="273"/>
                    <a:pt x="1430" y="288"/>
                    <a:pt x="1421" y="289"/>
                  </a:cubicBezTo>
                  <a:close/>
                  <a:moveTo>
                    <a:pt x="1421" y="270"/>
                  </a:moveTo>
                  <a:cubicBezTo>
                    <a:pt x="1423" y="267"/>
                    <a:pt x="1424" y="262"/>
                    <a:pt x="1424" y="255"/>
                  </a:cubicBezTo>
                  <a:cubicBezTo>
                    <a:pt x="1426" y="255"/>
                    <a:pt x="1429" y="255"/>
                    <a:pt x="1432" y="255"/>
                  </a:cubicBezTo>
                  <a:cubicBezTo>
                    <a:pt x="1428" y="261"/>
                    <a:pt x="1429" y="272"/>
                    <a:pt x="1421" y="270"/>
                  </a:cubicBezTo>
                  <a:close/>
                  <a:moveTo>
                    <a:pt x="1413" y="189"/>
                  </a:moveTo>
                  <a:cubicBezTo>
                    <a:pt x="1413" y="185"/>
                    <a:pt x="1416" y="186"/>
                    <a:pt x="1418" y="185"/>
                  </a:cubicBezTo>
                  <a:cubicBezTo>
                    <a:pt x="1425" y="187"/>
                    <a:pt x="1417" y="168"/>
                    <a:pt x="1426" y="174"/>
                  </a:cubicBezTo>
                  <a:cubicBezTo>
                    <a:pt x="1425" y="177"/>
                    <a:pt x="1423" y="180"/>
                    <a:pt x="1424" y="185"/>
                  </a:cubicBezTo>
                  <a:cubicBezTo>
                    <a:pt x="1436" y="183"/>
                    <a:pt x="1428" y="174"/>
                    <a:pt x="1429" y="159"/>
                  </a:cubicBezTo>
                  <a:cubicBezTo>
                    <a:pt x="1434" y="152"/>
                    <a:pt x="1434" y="162"/>
                    <a:pt x="1442" y="159"/>
                  </a:cubicBezTo>
                  <a:cubicBezTo>
                    <a:pt x="1442" y="165"/>
                    <a:pt x="1434" y="161"/>
                    <a:pt x="1434" y="167"/>
                  </a:cubicBezTo>
                  <a:cubicBezTo>
                    <a:pt x="1434" y="173"/>
                    <a:pt x="1448" y="163"/>
                    <a:pt x="1448" y="178"/>
                  </a:cubicBezTo>
                  <a:cubicBezTo>
                    <a:pt x="1444" y="182"/>
                    <a:pt x="1441" y="182"/>
                    <a:pt x="1440" y="174"/>
                  </a:cubicBezTo>
                  <a:cubicBezTo>
                    <a:pt x="1433" y="179"/>
                    <a:pt x="1431" y="182"/>
                    <a:pt x="1434" y="193"/>
                  </a:cubicBezTo>
                  <a:cubicBezTo>
                    <a:pt x="1426" y="193"/>
                    <a:pt x="1423" y="186"/>
                    <a:pt x="1413" y="189"/>
                  </a:cubicBezTo>
                  <a:close/>
                  <a:moveTo>
                    <a:pt x="1437" y="1295"/>
                  </a:moveTo>
                  <a:cubicBezTo>
                    <a:pt x="1434" y="1294"/>
                    <a:pt x="1435" y="1288"/>
                    <a:pt x="1434" y="1284"/>
                  </a:cubicBezTo>
                  <a:cubicBezTo>
                    <a:pt x="1439" y="1282"/>
                    <a:pt x="1439" y="1286"/>
                    <a:pt x="1440" y="1291"/>
                  </a:cubicBezTo>
                  <a:cubicBezTo>
                    <a:pt x="1437" y="1290"/>
                    <a:pt x="1437" y="1292"/>
                    <a:pt x="1437" y="1295"/>
                  </a:cubicBezTo>
                  <a:close/>
                  <a:moveTo>
                    <a:pt x="1445" y="1273"/>
                  </a:moveTo>
                  <a:cubicBezTo>
                    <a:pt x="1443" y="1273"/>
                    <a:pt x="1442" y="1273"/>
                    <a:pt x="1440" y="1273"/>
                  </a:cubicBezTo>
                  <a:cubicBezTo>
                    <a:pt x="1440" y="1270"/>
                    <a:pt x="1440" y="1268"/>
                    <a:pt x="1440" y="1265"/>
                  </a:cubicBezTo>
                  <a:cubicBezTo>
                    <a:pt x="1442" y="1265"/>
                    <a:pt x="1443" y="1265"/>
                    <a:pt x="1445" y="1265"/>
                  </a:cubicBezTo>
                  <a:cubicBezTo>
                    <a:pt x="1445" y="1268"/>
                    <a:pt x="1445" y="1270"/>
                    <a:pt x="1445" y="1273"/>
                  </a:cubicBezTo>
                  <a:close/>
                  <a:moveTo>
                    <a:pt x="1448" y="1254"/>
                  </a:moveTo>
                  <a:cubicBezTo>
                    <a:pt x="1444" y="1251"/>
                    <a:pt x="1439" y="1249"/>
                    <a:pt x="1440" y="1239"/>
                  </a:cubicBezTo>
                  <a:cubicBezTo>
                    <a:pt x="1444" y="1237"/>
                    <a:pt x="1454" y="1244"/>
                    <a:pt x="1453" y="1235"/>
                  </a:cubicBezTo>
                  <a:cubicBezTo>
                    <a:pt x="1451" y="1232"/>
                    <a:pt x="1447" y="1232"/>
                    <a:pt x="1448" y="1225"/>
                  </a:cubicBezTo>
                  <a:cubicBezTo>
                    <a:pt x="1450" y="1225"/>
                    <a:pt x="1453" y="1225"/>
                    <a:pt x="1456" y="1225"/>
                  </a:cubicBezTo>
                  <a:cubicBezTo>
                    <a:pt x="1452" y="1229"/>
                    <a:pt x="1454" y="1236"/>
                    <a:pt x="1458" y="1239"/>
                  </a:cubicBezTo>
                  <a:cubicBezTo>
                    <a:pt x="1460" y="1251"/>
                    <a:pt x="1445" y="1241"/>
                    <a:pt x="1448" y="1254"/>
                  </a:cubicBezTo>
                  <a:close/>
                  <a:moveTo>
                    <a:pt x="1458" y="1302"/>
                  </a:moveTo>
                  <a:cubicBezTo>
                    <a:pt x="1463" y="1294"/>
                    <a:pt x="1465" y="1305"/>
                    <a:pt x="1472" y="1298"/>
                  </a:cubicBezTo>
                  <a:cubicBezTo>
                    <a:pt x="1475" y="1312"/>
                    <a:pt x="1460" y="1305"/>
                    <a:pt x="1458" y="1302"/>
                  </a:cubicBezTo>
                  <a:close/>
                  <a:moveTo>
                    <a:pt x="1475" y="655"/>
                  </a:moveTo>
                  <a:cubicBezTo>
                    <a:pt x="1472" y="658"/>
                    <a:pt x="1470" y="652"/>
                    <a:pt x="1469" y="651"/>
                  </a:cubicBezTo>
                  <a:cubicBezTo>
                    <a:pt x="1469" y="651"/>
                    <a:pt x="1464" y="644"/>
                    <a:pt x="1467" y="640"/>
                  </a:cubicBezTo>
                  <a:cubicBezTo>
                    <a:pt x="1469" y="637"/>
                    <a:pt x="1469" y="650"/>
                    <a:pt x="1469" y="651"/>
                  </a:cubicBezTo>
                  <a:cubicBezTo>
                    <a:pt x="1469" y="651"/>
                    <a:pt x="1477" y="652"/>
                    <a:pt x="1475" y="655"/>
                  </a:cubicBezTo>
                  <a:close/>
                  <a:moveTo>
                    <a:pt x="1469" y="588"/>
                  </a:moveTo>
                  <a:cubicBezTo>
                    <a:pt x="1473" y="575"/>
                    <a:pt x="1474" y="595"/>
                    <a:pt x="1472" y="596"/>
                  </a:cubicBezTo>
                  <a:cubicBezTo>
                    <a:pt x="1470" y="596"/>
                    <a:pt x="1469" y="591"/>
                    <a:pt x="1469" y="588"/>
                  </a:cubicBezTo>
                  <a:close/>
                  <a:moveTo>
                    <a:pt x="1475" y="285"/>
                  </a:moveTo>
                  <a:cubicBezTo>
                    <a:pt x="1473" y="280"/>
                    <a:pt x="1468" y="276"/>
                    <a:pt x="1469" y="267"/>
                  </a:cubicBezTo>
                  <a:cubicBezTo>
                    <a:pt x="1472" y="267"/>
                    <a:pt x="1475" y="267"/>
                    <a:pt x="1477" y="267"/>
                  </a:cubicBezTo>
                  <a:cubicBezTo>
                    <a:pt x="1472" y="277"/>
                    <a:pt x="1483" y="284"/>
                    <a:pt x="1483" y="281"/>
                  </a:cubicBezTo>
                  <a:cubicBezTo>
                    <a:pt x="1483" y="285"/>
                    <a:pt x="1475" y="285"/>
                    <a:pt x="1477" y="292"/>
                  </a:cubicBezTo>
                  <a:cubicBezTo>
                    <a:pt x="1474" y="293"/>
                    <a:pt x="1476" y="288"/>
                    <a:pt x="1475" y="285"/>
                  </a:cubicBezTo>
                  <a:close/>
                  <a:moveTo>
                    <a:pt x="1480" y="699"/>
                  </a:moveTo>
                  <a:cubicBezTo>
                    <a:pt x="1480" y="695"/>
                    <a:pt x="1479" y="693"/>
                    <a:pt x="1477" y="692"/>
                  </a:cubicBezTo>
                  <a:cubicBezTo>
                    <a:pt x="1478" y="687"/>
                    <a:pt x="1483" y="688"/>
                    <a:pt x="1483" y="692"/>
                  </a:cubicBezTo>
                  <a:cubicBezTo>
                    <a:pt x="1485" y="693"/>
                    <a:pt x="1485" y="690"/>
                    <a:pt x="1485" y="688"/>
                  </a:cubicBezTo>
                  <a:cubicBezTo>
                    <a:pt x="1490" y="687"/>
                    <a:pt x="1486" y="703"/>
                    <a:pt x="1480" y="699"/>
                  </a:cubicBezTo>
                  <a:close/>
                  <a:moveTo>
                    <a:pt x="1493" y="1243"/>
                  </a:moveTo>
                  <a:cubicBezTo>
                    <a:pt x="1482" y="1245"/>
                    <a:pt x="1494" y="1235"/>
                    <a:pt x="1491" y="1225"/>
                  </a:cubicBezTo>
                  <a:cubicBezTo>
                    <a:pt x="1494" y="1226"/>
                    <a:pt x="1497" y="1245"/>
                    <a:pt x="1493" y="1243"/>
                  </a:cubicBezTo>
                  <a:close/>
                  <a:moveTo>
                    <a:pt x="1485" y="566"/>
                  </a:moveTo>
                  <a:cubicBezTo>
                    <a:pt x="1484" y="561"/>
                    <a:pt x="1496" y="557"/>
                    <a:pt x="1488" y="555"/>
                  </a:cubicBezTo>
                  <a:cubicBezTo>
                    <a:pt x="1499" y="541"/>
                    <a:pt x="1484" y="571"/>
                    <a:pt x="1496" y="566"/>
                  </a:cubicBezTo>
                  <a:cubicBezTo>
                    <a:pt x="1494" y="577"/>
                    <a:pt x="1490" y="563"/>
                    <a:pt x="1485" y="566"/>
                  </a:cubicBezTo>
                  <a:close/>
                  <a:moveTo>
                    <a:pt x="1491" y="182"/>
                  </a:moveTo>
                  <a:cubicBezTo>
                    <a:pt x="1491" y="179"/>
                    <a:pt x="1493" y="178"/>
                    <a:pt x="1493" y="174"/>
                  </a:cubicBezTo>
                  <a:cubicBezTo>
                    <a:pt x="1497" y="176"/>
                    <a:pt x="1499" y="179"/>
                    <a:pt x="1499" y="185"/>
                  </a:cubicBezTo>
                  <a:cubicBezTo>
                    <a:pt x="1494" y="186"/>
                    <a:pt x="1494" y="182"/>
                    <a:pt x="1491" y="182"/>
                  </a:cubicBezTo>
                  <a:close/>
                  <a:moveTo>
                    <a:pt x="1499" y="1221"/>
                  </a:moveTo>
                  <a:cubicBezTo>
                    <a:pt x="1494" y="1218"/>
                    <a:pt x="1498" y="1214"/>
                    <a:pt x="1499" y="1210"/>
                  </a:cubicBezTo>
                  <a:cubicBezTo>
                    <a:pt x="1504" y="1212"/>
                    <a:pt x="1499" y="1216"/>
                    <a:pt x="1499" y="1221"/>
                  </a:cubicBezTo>
                  <a:close/>
                  <a:moveTo>
                    <a:pt x="1496" y="170"/>
                  </a:moveTo>
                  <a:cubicBezTo>
                    <a:pt x="1495" y="165"/>
                    <a:pt x="1511" y="165"/>
                    <a:pt x="1504" y="174"/>
                  </a:cubicBezTo>
                  <a:cubicBezTo>
                    <a:pt x="1505" y="173"/>
                    <a:pt x="1496" y="170"/>
                    <a:pt x="1496" y="170"/>
                  </a:cubicBezTo>
                  <a:close/>
                  <a:moveTo>
                    <a:pt x="1504" y="651"/>
                  </a:moveTo>
                  <a:cubicBezTo>
                    <a:pt x="1506" y="648"/>
                    <a:pt x="1507" y="643"/>
                    <a:pt x="1507" y="636"/>
                  </a:cubicBezTo>
                  <a:cubicBezTo>
                    <a:pt x="1510" y="637"/>
                    <a:pt x="1512" y="636"/>
                    <a:pt x="1512" y="633"/>
                  </a:cubicBezTo>
                  <a:cubicBezTo>
                    <a:pt x="1516" y="634"/>
                    <a:pt x="1513" y="639"/>
                    <a:pt x="1510" y="640"/>
                  </a:cubicBezTo>
                  <a:cubicBezTo>
                    <a:pt x="1510" y="648"/>
                    <a:pt x="1509" y="652"/>
                    <a:pt x="1504" y="651"/>
                  </a:cubicBezTo>
                  <a:close/>
                  <a:moveTo>
                    <a:pt x="1515" y="1180"/>
                  </a:moveTo>
                  <a:cubicBezTo>
                    <a:pt x="1512" y="1178"/>
                    <a:pt x="1509" y="1175"/>
                    <a:pt x="1510" y="1169"/>
                  </a:cubicBezTo>
                  <a:cubicBezTo>
                    <a:pt x="1513" y="1171"/>
                    <a:pt x="1515" y="1174"/>
                    <a:pt x="1515" y="1180"/>
                  </a:cubicBezTo>
                  <a:close/>
                  <a:moveTo>
                    <a:pt x="1523" y="1291"/>
                  </a:moveTo>
                  <a:cubicBezTo>
                    <a:pt x="1518" y="1280"/>
                    <a:pt x="1511" y="1294"/>
                    <a:pt x="1510" y="1276"/>
                  </a:cubicBezTo>
                  <a:cubicBezTo>
                    <a:pt x="1522" y="1278"/>
                    <a:pt x="1514" y="1273"/>
                    <a:pt x="1515" y="1261"/>
                  </a:cubicBezTo>
                  <a:cubicBezTo>
                    <a:pt x="1522" y="1259"/>
                    <a:pt x="1520" y="1269"/>
                    <a:pt x="1526" y="1269"/>
                  </a:cubicBezTo>
                  <a:cubicBezTo>
                    <a:pt x="1525" y="1273"/>
                    <a:pt x="1523" y="1271"/>
                    <a:pt x="1523" y="1269"/>
                  </a:cubicBezTo>
                  <a:cubicBezTo>
                    <a:pt x="1520" y="1269"/>
                    <a:pt x="1521" y="1273"/>
                    <a:pt x="1520" y="1276"/>
                  </a:cubicBezTo>
                  <a:cubicBezTo>
                    <a:pt x="1523" y="1287"/>
                    <a:pt x="1532" y="1275"/>
                    <a:pt x="1536" y="1276"/>
                  </a:cubicBezTo>
                  <a:cubicBezTo>
                    <a:pt x="1538" y="1290"/>
                    <a:pt x="1524" y="1281"/>
                    <a:pt x="1523" y="1291"/>
                  </a:cubicBezTo>
                  <a:close/>
                  <a:moveTo>
                    <a:pt x="1534" y="230"/>
                  </a:moveTo>
                  <a:cubicBezTo>
                    <a:pt x="1536" y="230"/>
                    <a:pt x="1537" y="230"/>
                    <a:pt x="1539" y="230"/>
                  </a:cubicBezTo>
                  <a:cubicBezTo>
                    <a:pt x="1540" y="240"/>
                    <a:pt x="1519" y="229"/>
                    <a:pt x="1534" y="230"/>
                  </a:cubicBezTo>
                  <a:close/>
                  <a:moveTo>
                    <a:pt x="1553" y="1291"/>
                  </a:moveTo>
                  <a:cubicBezTo>
                    <a:pt x="1551" y="1291"/>
                    <a:pt x="1549" y="1291"/>
                    <a:pt x="1547" y="1291"/>
                  </a:cubicBezTo>
                  <a:cubicBezTo>
                    <a:pt x="1547" y="1289"/>
                    <a:pt x="1547" y="1286"/>
                    <a:pt x="1547" y="1284"/>
                  </a:cubicBezTo>
                  <a:cubicBezTo>
                    <a:pt x="1549" y="1284"/>
                    <a:pt x="1551" y="1284"/>
                    <a:pt x="1553" y="1284"/>
                  </a:cubicBezTo>
                  <a:cubicBezTo>
                    <a:pt x="1553" y="1286"/>
                    <a:pt x="1553" y="1289"/>
                    <a:pt x="1553" y="1291"/>
                  </a:cubicBezTo>
                  <a:close/>
                  <a:moveTo>
                    <a:pt x="1550" y="1276"/>
                  </a:moveTo>
                  <a:cubicBezTo>
                    <a:pt x="1548" y="1276"/>
                    <a:pt x="1547" y="1273"/>
                    <a:pt x="1545" y="1273"/>
                  </a:cubicBezTo>
                  <a:cubicBezTo>
                    <a:pt x="1545" y="1270"/>
                    <a:pt x="1547" y="1269"/>
                    <a:pt x="1547" y="1265"/>
                  </a:cubicBezTo>
                  <a:cubicBezTo>
                    <a:pt x="1549" y="1266"/>
                    <a:pt x="1550" y="1269"/>
                    <a:pt x="1553" y="1269"/>
                  </a:cubicBezTo>
                  <a:cubicBezTo>
                    <a:pt x="1552" y="1272"/>
                    <a:pt x="1550" y="1273"/>
                    <a:pt x="1550" y="1276"/>
                  </a:cubicBezTo>
                  <a:close/>
                  <a:moveTo>
                    <a:pt x="1555" y="1265"/>
                  </a:moveTo>
                  <a:cubicBezTo>
                    <a:pt x="1550" y="1266"/>
                    <a:pt x="1552" y="1257"/>
                    <a:pt x="1550" y="1254"/>
                  </a:cubicBezTo>
                  <a:cubicBezTo>
                    <a:pt x="1547" y="1251"/>
                    <a:pt x="1547" y="1254"/>
                    <a:pt x="1545" y="1250"/>
                  </a:cubicBezTo>
                  <a:cubicBezTo>
                    <a:pt x="1543" y="1247"/>
                    <a:pt x="1539" y="1246"/>
                    <a:pt x="1539" y="1239"/>
                  </a:cubicBezTo>
                  <a:cubicBezTo>
                    <a:pt x="1549" y="1240"/>
                    <a:pt x="1547" y="1243"/>
                    <a:pt x="1555" y="1239"/>
                  </a:cubicBezTo>
                  <a:cubicBezTo>
                    <a:pt x="1556" y="1250"/>
                    <a:pt x="1555" y="1252"/>
                    <a:pt x="1550" y="1247"/>
                  </a:cubicBezTo>
                  <a:cubicBezTo>
                    <a:pt x="1548" y="1258"/>
                    <a:pt x="1559" y="1251"/>
                    <a:pt x="1555" y="1265"/>
                  </a:cubicBezTo>
                  <a:close/>
                  <a:moveTo>
                    <a:pt x="1547" y="555"/>
                  </a:moveTo>
                  <a:cubicBezTo>
                    <a:pt x="1551" y="562"/>
                    <a:pt x="1556" y="568"/>
                    <a:pt x="1561" y="574"/>
                  </a:cubicBezTo>
                  <a:cubicBezTo>
                    <a:pt x="1558" y="579"/>
                    <a:pt x="1545" y="569"/>
                    <a:pt x="1547" y="555"/>
                  </a:cubicBezTo>
                  <a:close/>
                  <a:moveTo>
                    <a:pt x="1566" y="1243"/>
                  </a:moveTo>
                  <a:cubicBezTo>
                    <a:pt x="1560" y="1244"/>
                    <a:pt x="1563" y="1232"/>
                    <a:pt x="1558" y="1232"/>
                  </a:cubicBezTo>
                  <a:cubicBezTo>
                    <a:pt x="1558" y="1223"/>
                    <a:pt x="1567" y="1231"/>
                    <a:pt x="1569" y="1232"/>
                  </a:cubicBezTo>
                  <a:cubicBezTo>
                    <a:pt x="1567" y="1235"/>
                    <a:pt x="1566" y="1238"/>
                    <a:pt x="1566" y="1243"/>
                  </a:cubicBezTo>
                  <a:close/>
                  <a:moveTo>
                    <a:pt x="1561" y="1199"/>
                  </a:moveTo>
                  <a:cubicBezTo>
                    <a:pt x="1561" y="1195"/>
                    <a:pt x="1561" y="1191"/>
                    <a:pt x="1561" y="1187"/>
                  </a:cubicBezTo>
                  <a:cubicBezTo>
                    <a:pt x="1568" y="1185"/>
                    <a:pt x="1566" y="1195"/>
                    <a:pt x="1571" y="1195"/>
                  </a:cubicBezTo>
                  <a:cubicBezTo>
                    <a:pt x="1571" y="1200"/>
                    <a:pt x="1565" y="1198"/>
                    <a:pt x="1561" y="1199"/>
                  </a:cubicBezTo>
                  <a:close/>
                  <a:moveTo>
                    <a:pt x="1580" y="1250"/>
                  </a:moveTo>
                  <a:cubicBezTo>
                    <a:pt x="1577" y="1246"/>
                    <a:pt x="1570" y="1249"/>
                    <a:pt x="1571" y="1239"/>
                  </a:cubicBezTo>
                  <a:cubicBezTo>
                    <a:pt x="1574" y="1243"/>
                    <a:pt x="1581" y="1240"/>
                    <a:pt x="1580" y="1250"/>
                  </a:cubicBezTo>
                  <a:close/>
                  <a:moveTo>
                    <a:pt x="1577" y="640"/>
                  </a:moveTo>
                  <a:cubicBezTo>
                    <a:pt x="1577" y="638"/>
                    <a:pt x="1577" y="635"/>
                    <a:pt x="1577" y="633"/>
                  </a:cubicBezTo>
                  <a:cubicBezTo>
                    <a:pt x="1579" y="633"/>
                    <a:pt x="1580" y="633"/>
                    <a:pt x="1582" y="633"/>
                  </a:cubicBezTo>
                  <a:cubicBezTo>
                    <a:pt x="1582" y="635"/>
                    <a:pt x="1582" y="638"/>
                    <a:pt x="1582" y="640"/>
                  </a:cubicBezTo>
                  <a:cubicBezTo>
                    <a:pt x="1580" y="640"/>
                    <a:pt x="1579" y="640"/>
                    <a:pt x="1577" y="640"/>
                  </a:cubicBezTo>
                  <a:close/>
                  <a:moveTo>
                    <a:pt x="1598" y="1254"/>
                  </a:moveTo>
                  <a:cubicBezTo>
                    <a:pt x="1593" y="1257"/>
                    <a:pt x="1592" y="1248"/>
                    <a:pt x="1590" y="1247"/>
                  </a:cubicBezTo>
                  <a:cubicBezTo>
                    <a:pt x="1588" y="1246"/>
                    <a:pt x="1585" y="1252"/>
                    <a:pt x="1582" y="1247"/>
                  </a:cubicBezTo>
                  <a:cubicBezTo>
                    <a:pt x="1587" y="1239"/>
                    <a:pt x="1600" y="1236"/>
                    <a:pt x="1598" y="1254"/>
                  </a:cubicBezTo>
                  <a:close/>
                  <a:moveTo>
                    <a:pt x="1633" y="1291"/>
                  </a:moveTo>
                  <a:cubicBezTo>
                    <a:pt x="1625" y="1305"/>
                    <a:pt x="1624" y="1280"/>
                    <a:pt x="1633" y="1291"/>
                  </a:cubicBezTo>
                  <a:close/>
                  <a:moveTo>
                    <a:pt x="1628" y="1313"/>
                  </a:moveTo>
                  <a:cubicBezTo>
                    <a:pt x="1628" y="1308"/>
                    <a:pt x="1628" y="1303"/>
                    <a:pt x="1628" y="1298"/>
                  </a:cubicBezTo>
                  <a:cubicBezTo>
                    <a:pt x="1637" y="1298"/>
                    <a:pt x="1638" y="1316"/>
                    <a:pt x="1628" y="1313"/>
                  </a:cubicBezTo>
                  <a:close/>
                  <a:moveTo>
                    <a:pt x="1625" y="1250"/>
                  </a:moveTo>
                  <a:cubicBezTo>
                    <a:pt x="1617" y="1249"/>
                    <a:pt x="1607" y="1253"/>
                    <a:pt x="1601" y="1247"/>
                  </a:cubicBezTo>
                  <a:cubicBezTo>
                    <a:pt x="1602" y="1236"/>
                    <a:pt x="1609" y="1246"/>
                    <a:pt x="1612" y="1247"/>
                  </a:cubicBezTo>
                  <a:cubicBezTo>
                    <a:pt x="1614" y="1247"/>
                    <a:pt x="1615" y="1242"/>
                    <a:pt x="1617" y="1243"/>
                  </a:cubicBezTo>
                  <a:cubicBezTo>
                    <a:pt x="1618" y="1243"/>
                    <a:pt x="1617" y="1246"/>
                    <a:pt x="1620" y="1247"/>
                  </a:cubicBezTo>
                  <a:cubicBezTo>
                    <a:pt x="1625" y="1247"/>
                    <a:pt x="1629" y="1246"/>
                    <a:pt x="1636" y="1247"/>
                  </a:cubicBezTo>
                  <a:cubicBezTo>
                    <a:pt x="1638" y="1240"/>
                    <a:pt x="1638" y="1251"/>
                    <a:pt x="1641" y="1250"/>
                  </a:cubicBezTo>
                  <a:cubicBezTo>
                    <a:pt x="1639" y="1261"/>
                    <a:pt x="1631" y="1251"/>
                    <a:pt x="1625" y="1250"/>
                  </a:cubicBezTo>
                  <a:close/>
                  <a:moveTo>
                    <a:pt x="1641" y="588"/>
                  </a:moveTo>
                  <a:cubicBezTo>
                    <a:pt x="1641" y="595"/>
                    <a:pt x="1648" y="600"/>
                    <a:pt x="1639" y="599"/>
                  </a:cubicBezTo>
                  <a:cubicBezTo>
                    <a:pt x="1637" y="611"/>
                    <a:pt x="1644" y="611"/>
                    <a:pt x="1639" y="618"/>
                  </a:cubicBezTo>
                  <a:cubicBezTo>
                    <a:pt x="1627" y="611"/>
                    <a:pt x="1643" y="590"/>
                    <a:pt x="1641" y="574"/>
                  </a:cubicBezTo>
                  <a:cubicBezTo>
                    <a:pt x="1638" y="569"/>
                    <a:pt x="1641" y="572"/>
                    <a:pt x="1644" y="574"/>
                  </a:cubicBezTo>
                  <a:cubicBezTo>
                    <a:pt x="1646" y="581"/>
                    <a:pt x="1641" y="583"/>
                    <a:pt x="1641" y="588"/>
                  </a:cubicBezTo>
                  <a:close/>
                  <a:moveTo>
                    <a:pt x="2066" y="156"/>
                  </a:moveTo>
                  <a:cubicBezTo>
                    <a:pt x="2076" y="166"/>
                    <a:pt x="2060" y="179"/>
                    <a:pt x="2066" y="156"/>
                  </a:cubicBezTo>
                  <a:close/>
                  <a:moveTo>
                    <a:pt x="2055" y="562"/>
                  </a:moveTo>
                  <a:cubicBezTo>
                    <a:pt x="2055" y="562"/>
                    <a:pt x="2053" y="563"/>
                    <a:pt x="2053" y="562"/>
                  </a:cubicBezTo>
                  <a:cubicBezTo>
                    <a:pt x="2043" y="552"/>
                    <a:pt x="2062" y="561"/>
                    <a:pt x="2058" y="566"/>
                  </a:cubicBezTo>
                  <a:cubicBezTo>
                    <a:pt x="2057" y="568"/>
                    <a:pt x="2052" y="570"/>
                    <a:pt x="2053" y="566"/>
                  </a:cubicBezTo>
                  <a:cubicBezTo>
                    <a:pt x="2053" y="565"/>
                    <a:pt x="2056" y="566"/>
                    <a:pt x="2055" y="562"/>
                  </a:cubicBezTo>
                  <a:close/>
                  <a:moveTo>
                    <a:pt x="2034" y="296"/>
                  </a:moveTo>
                  <a:cubicBezTo>
                    <a:pt x="2038" y="296"/>
                    <a:pt x="2042" y="312"/>
                    <a:pt x="2042" y="296"/>
                  </a:cubicBezTo>
                  <a:cubicBezTo>
                    <a:pt x="2051" y="297"/>
                    <a:pt x="2042" y="306"/>
                    <a:pt x="2047" y="307"/>
                  </a:cubicBezTo>
                  <a:cubicBezTo>
                    <a:pt x="2047" y="312"/>
                    <a:pt x="2042" y="311"/>
                    <a:pt x="2042" y="307"/>
                  </a:cubicBezTo>
                  <a:cubicBezTo>
                    <a:pt x="2037" y="307"/>
                    <a:pt x="2036" y="312"/>
                    <a:pt x="2031" y="311"/>
                  </a:cubicBezTo>
                  <a:cubicBezTo>
                    <a:pt x="2031" y="304"/>
                    <a:pt x="2035" y="303"/>
                    <a:pt x="2034" y="296"/>
                  </a:cubicBezTo>
                  <a:close/>
                  <a:moveTo>
                    <a:pt x="2039" y="285"/>
                  </a:moveTo>
                  <a:cubicBezTo>
                    <a:pt x="2041" y="274"/>
                    <a:pt x="2045" y="289"/>
                    <a:pt x="2050" y="285"/>
                  </a:cubicBezTo>
                  <a:cubicBezTo>
                    <a:pt x="2050" y="294"/>
                    <a:pt x="2041" y="286"/>
                    <a:pt x="2039" y="285"/>
                  </a:cubicBezTo>
                  <a:close/>
                  <a:moveTo>
                    <a:pt x="2058" y="241"/>
                  </a:moveTo>
                  <a:cubicBezTo>
                    <a:pt x="2051" y="236"/>
                    <a:pt x="2066" y="214"/>
                    <a:pt x="2058" y="241"/>
                  </a:cubicBezTo>
                  <a:close/>
                  <a:moveTo>
                    <a:pt x="2050" y="174"/>
                  </a:moveTo>
                  <a:cubicBezTo>
                    <a:pt x="2060" y="185"/>
                    <a:pt x="2042" y="187"/>
                    <a:pt x="2050" y="174"/>
                  </a:cubicBezTo>
                  <a:close/>
                  <a:moveTo>
                    <a:pt x="2053" y="244"/>
                  </a:moveTo>
                  <a:cubicBezTo>
                    <a:pt x="2061" y="248"/>
                    <a:pt x="2052" y="257"/>
                    <a:pt x="2050" y="259"/>
                  </a:cubicBezTo>
                  <a:cubicBezTo>
                    <a:pt x="2047" y="259"/>
                    <a:pt x="2048" y="255"/>
                    <a:pt x="2047" y="252"/>
                  </a:cubicBezTo>
                  <a:cubicBezTo>
                    <a:pt x="2045" y="251"/>
                    <a:pt x="2045" y="253"/>
                    <a:pt x="2045" y="255"/>
                  </a:cubicBezTo>
                  <a:cubicBezTo>
                    <a:pt x="2042" y="256"/>
                    <a:pt x="2042" y="254"/>
                    <a:pt x="2042" y="252"/>
                  </a:cubicBezTo>
                  <a:cubicBezTo>
                    <a:pt x="2042" y="249"/>
                    <a:pt x="2042" y="247"/>
                    <a:pt x="2042" y="244"/>
                  </a:cubicBezTo>
                  <a:cubicBezTo>
                    <a:pt x="2047" y="241"/>
                    <a:pt x="2051" y="255"/>
                    <a:pt x="2053" y="244"/>
                  </a:cubicBezTo>
                  <a:close/>
                  <a:moveTo>
                    <a:pt x="2037" y="185"/>
                  </a:moveTo>
                  <a:cubicBezTo>
                    <a:pt x="2038" y="185"/>
                    <a:pt x="2040" y="185"/>
                    <a:pt x="2042" y="185"/>
                  </a:cubicBezTo>
                  <a:cubicBezTo>
                    <a:pt x="2042" y="188"/>
                    <a:pt x="2042" y="190"/>
                    <a:pt x="2042" y="193"/>
                  </a:cubicBezTo>
                  <a:cubicBezTo>
                    <a:pt x="2040" y="193"/>
                    <a:pt x="2038" y="193"/>
                    <a:pt x="2037" y="193"/>
                  </a:cubicBezTo>
                  <a:cubicBezTo>
                    <a:pt x="2037" y="190"/>
                    <a:pt x="2037" y="188"/>
                    <a:pt x="2037" y="185"/>
                  </a:cubicBezTo>
                  <a:close/>
                  <a:moveTo>
                    <a:pt x="2031" y="233"/>
                  </a:moveTo>
                  <a:cubicBezTo>
                    <a:pt x="2041" y="232"/>
                    <a:pt x="2035" y="253"/>
                    <a:pt x="2039" y="259"/>
                  </a:cubicBezTo>
                  <a:cubicBezTo>
                    <a:pt x="2029" y="262"/>
                    <a:pt x="2032" y="245"/>
                    <a:pt x="2031" y="233"/>
                  </a:cubicBezTo>
                  <a:close/>
                  <a:moveTo>
                    <a:pt x="2018" y="548"/>
                  </a:moveTo>
                  <a:cubicBezTo>
                    <a:pt x="2030" y="550"/>
                    <a:pt x="2016" y="570"/>
                    <a:pt x="2018" y="548"/>
                  </a:cubicBezTo>
                  <a:close/>
                  <a:moveTo>
                    <a:pt x="2020" y="1180"/>
                  </a:moveTo>
                  <a:cubicBezTo>
                    <a:pt x="2019" y="1187"/>
                    <a:pt x="2016" y="1181"/>
                    <a:pt x="2012" y="1180"/>
                  </a:cubicBezTo>
                  <a:cubicBezTo>
                    <a:pt x="2014" y="1173"/>
                    <a:pt x="2017" y="1180"/>
                    <a:pt x="2020" y="1180"/>
                  </a:cubicBezTo>
                  <a:close/>
                  <a:moveTo>
                    <a:pt x="2010" y="156"/>
                  </a:moveTo>
                  <a:cubicBezTo>
                    <a:pt x="2018" y="150"/>
                    <a:pt x="2018" y="172"/>
                    <a:pt x="2010" y="167"/>
                  </a:cubicBezTo>
                  <a:cubicBezTo>
                    <a:pt x="2010" y="163"/>
                    <a:pt x="2010" y="159"/>
                    <a:pt x="2010" y="156"/>
                  </a:cubicBezTo>
                  <a:close/>
                  <a:moveTo>
                    <a:pt x="2010" y="174"/>
                  </a:moveTo>
                  <a:cubicBezTo>
                    <a:pt x="2011" y="167"/>
                    <a:pt x="2013" y="176"/>
                    <a:pt x="2012" y="182"/>
                  </a:cubicBezTo>
                  <a:cubicBezTo>
                    <a:pt x="2011" y="189"/>
                    <a:pt x="2009" y="179"/>
                    <a:pt x="2010" y="174"/>
                  </a:cubicBezTo>
                  <a:close/>
                  <a:moveTo>
                    <a:pt x="2012" y="559"/>
                  </a:moveTo>
                  <a:cubicBezTo>
                    <a:pt x="2009" y="557"/>
                    <a:pt x="2007" y="554"/>
                    <a:pt x="2007" y="548"/>
                  </a:cubicBezTo>
                  <a:cubicBezTo>
                    <a:pt x="2010" y="549"/>
                    <a:pt x="2013" y="552"/>
                    <a:pt x="2012" y="559"/>
                  </a:cubicBezTo>
                  <a:close/>
                  <a:moveTo>
                    <a:pt x="2007" y="1187"/>
                  </a:moveTo>
                  <a:cubicBezTo>
                    <a:pt x="2019" y="1189"/>
                    <a:pt x="2004" y="1209"/>
                    <a:pt x="2007" y="1187"/>
                  </a:cubicBezTo>
                  <a:close/>
                  <a:moveTo>
                    <a:pt x="1991" y="182"/>
                  </a:moveTo>
                  <a:cubicBezTo>
                    <a:pt x="1995" y="172"/>
                    <a:pt x="2006" y="183"/>
                    <a:pt x="2004" y="193"/>
                  </a:cubicBezTo>
                  <a:cubicBezTo>
                    <a:pt x="1998" y="197"/>
                    <a:pt x="1993" y="182"/>
                    <a:pt x="1991" y="193"/>
                  </a:cubicBezTo>
                  <a:cubicBezTo>
                    <a:pt x="1988" y="192"/>
                    <a:pt x="1989" y="185"/>
                    <a:pt x="1986" y="185"/>
                  </a:cubicBezTo>
                  <a:cubicBezTo>
                    <a:pt x="1985" y="178"/>
                    <a:pt x="2004" y="189"/>
                    <a:pt x="1991" y="182"/>
                  </a:cubicBezTo>
                  <a:close/>
                  <a:moveTo>
                    <a:pt x="1996" y="537"/>
                  </a:moveTo>
                  <a:cubicBezTo>
                    <a:pt x="1995" y="544"/>
                    <a:pt x="1995" y="552"/>
                    <a:pt x="1988" y="551"/>
                  </a:cubicBezTo>
                  <a:cubicBezTo>
                    <a:pt x="1989" y="548"/>
                    <a:pt x="1991" y="545"/>
                    <a:pt x="1994" y="544"/>
                  </a:cubicBezTo>
                  <a:cubicBezTo>
                    <a:pt x="1991" y="539"/>
                    <a:pt x="1991" y="536"/>
                    <a:pt x="1996" y="537"/>
                  </a:cubicBezTo>
                  <a:close/>
                  <a:moveTo>
                    <a:pt x="1996" y="1169"/>
                  </a:moveTo>
                  <a:cubicBezTo>
                    <a:pt x="1999" y="1172"/>
                    <a:pt x="2000" y="1180"/>
                    <a:pt x="1996" y="1187"/>
                  </a:cubicBezTo>
                  <a:cubicBezTo>
                    <a:pt x="1990" y="1187"/>
                    <a:pt x="1995" y="1171"/>
                    <a:pt x="1996" y="1169"/>
                  </a:cubicBezTo>
                  <a:close/>
                  <a:moveTo>
                    <a:pt x="1996" y="211"/>
                  </a:moveTo>
                  <a:cubicBezTo>
                    <a:pt x="1990" y="213"/>
                    <a:pt x="1990" y="204"/>
                    <a:pt x="1983" y="207"/>
                  </a:cubicBezTo>
                  <a:cubicBezTo>
                    <a:pt x="1989" y="197"/>
                    <a:pt x="1991" y="205"/>
                    <a:pt x="1999" y="200"/>
                  </a:cubicBezTo>
                  <a:cubicBezTo>
                    <a:pt x="1998" y="203"/>
                    <a:pt x="1996" y="206"/>
                    <a:pt x="1996" y="211"/>
                  </a:cubicBezTo>
                  <a:close/>
                  <a:moveTo>
                    <a:pt x="1999" y="570"/>
                  </a:moveTo>
                  <a:cubicBezTo>
                    <a:pt x="2011" y="571"/>
                    <a:pt x="1996" y="591"/>
                    <a:pt x="1999" y="570"/>
                  </a:cubicBezTo>
                  <a:close/>
                  <a:moveTo>
                    <a:pt x="1986" y="122"/>
                  </a:moveTo>
                  <a:cubicBezTo>
                    <a:pt x="1988" y="123"/>
                    <a:pt x="1987" y="130"/>
                    <a:pt x="1991" y="130"/>
                  </a:cubicBezTo>
                  <a:cubicBezTo>
                    <a:pt x="1990" y="134"/>
                    <a:pt x="1986" y="132"/>
                    <a:pt x="1986" y="137"/>
                  </a:cubicBezTo>
                  <a:cubicBezTo>
                    <a:pt x="1977" y="135"/>
                    <a:pt x="1988" y="129"/>
                    <a:pt x="1986" y="122"/>
                  </a:cubicBezTo>
                  <a:close/>
                  <a:moveTo>
                    <a:pt x="1977" y="133"/>
                  </a:moveTo>
                  <a:cubicBezTo>
                    <a:pt x="1976" y="133"/>
                    <a:pt x="1974" y="133"/>
                    <a:pt x="1972" y="133"/>
                  </a:cubicBezTo>
                  <a:cubicBezTo>
                    <a:pt x="1973" y="130"/>
                    <a:pt x="1971" y="130"/>
                    <a:pt x="1969" y="130"/>
                  </a:cubicBezTo>
                  <a:cubicBezTo>
                    <a:pt x="1968" y="123"/>
                    <a:pt x="1982" y="124"/>
                    <a:pt x="1977" y="133"/>
                  </a:cubicBezTo>
                  <a:close/>
                  <a:moveTo>
                    <a:pt x="1961" y="133"/>
                  </a:moveTo>
                  <a:cubicBezTo>
                    <a:pt x="1966" y="142"/>
                    <a:pt x="1971" y="147"/>
                    <a:pt x="1980" y="141"/>
                  </a:cubicBezTo>
                  <a:cubicBezTo>
                    <a:pt x="1979" y="144"/>
                    <a:pt x="1978" y="145"/>
                    <a:pt x="1977" y="148"/>
                  </a:cubicBezTo>
                  <a:cubicBezTo>
                    <a:pt x="1977" y="156"/>
                    <a:pt x="1983" y="158"/>
                    <a:pt x="1983" y="163"/>
                  </a:cubicBezTo>
                  <a:cubicBezTo>
                    <a:pt x="1982" y="176"/>
                    <a:pt x="1978" y="182"/>
                    <a:pt x="1972" y="193"/>
                  </a:cubicBezTo>
                  <a:cubicBezTo>
                    <a:pt x="1969" y="192"/>
                    <a:pt x="1972" y="174"/>
                    <a:pt x="1975" y="174"/>
                  </a:cubicBezTo>
                  <a:cubicBezTo>
                    <a:pt x="1979" y="174"/>
                    <a:pt x="1974" y="159"/>
                    <a:pt x="1972" y="152"/>
                  </a:cubicBezTo>
                  <a:cubicBezTo>
                    <a:pt x="1968" y="152"/>
                    <a:pt x="1971" y="159"/>
                    <a:pt x="1969" y="163"/>
                  </a:cubicBezTo>
                  <a:cubicBezTo>
                    <a:pt x="1964" y="176"/>
                    <a:pt x="1972" y="145"/>
                    <a:pt x="1961" y="148"/>
                  </a:cubicBezTo>
                  <a:cubicBezTo>
                    <a:pt x="1961" y="143"/>
                    <a:pt x="1961" y="138"/>
                    <a:pt x="1961" y="133"/>
                  </a:cubicBezTo>
                  <a:close/>
                  <a:moveTo>
                    <a:pt x="1969" y="1232"/>
                  </a:moveTo>
                  <a:cubicBezTo>
                    <a:pt x="1973" y="1227"/>
                    <a:pt x="1971" y="1214"/>
                    <a:pt x="1961" y="1217"/>
                  </a:cubicBezTo>
                  <a:cubicBezTo>
                    <a:pt x="1960" y="1209"/>
                    <a:pt x="1966" y="1212"/>
                    <a:pt x="1967" y="1206"/>
                  </a:cubicBezTo>
                  <a:cubicBezTo>
                    <a:pt x="1967" y="1202"/>
                    <a:pt x="1972" y="1203"/>
                    <a:pt x="1975" y="1202"/>
                  </a:cubicBezTo>
                  <a:cubicBezTo>
                    <a:pt x="1976" y="1211"/>
                    <a:pt x="1974" y="1216"/>
                    <a:pt x="1972" y="1221"/>
                  </a:cubicBezTo>
                  <a:cubicBezTo>
                    <a:pt x="1974" y="1224"/>
                    <a:pt x="1978" y="1234"/>
                    <a:pt x="1969" y="1232"/>
                  </a:cubicBezTo>
                  <a:close/>
                  <a:moveTo>
                    <a:pt x="1964" y="1306"/>
                  </a:moveTo>
                  <a:cubicBezTo>
                    <a:pt x="1963" y="1310"/>
                    <a:pt x="1961" y="1313"/>
                    <a:pt x="1956" y="1313"/>
                  </a:cubicBezTo>
                  <a:cubicBezTo>
                    <a:pt x="1957" y="1309"/>
                    <a:pt x="1959" y="1306"/>
                    <a:pt x="1964" y="1306"/>
                  </a:cubicBezTo>
                  <a:close/>
                  <a:moveTo>
                    <a:pt x="1964" y="207"/>
                  </a:moveTo>
                  <a:cubicBezTo>
                    <a:pt x="1964" y="205"/>
                    <a:pt x="1964" y="202"/>
                    <a:pt x="1964" y="200"/>
                  </a:cubicBezTo>
                  <a:cubicBezTo>
                    <a:pt x="1969" y="199"/>
                    <a:pt x="1972" y="201"/>
                    <a:pt x="1972" y="207"/>
                  </a:cubicBezTo>
                  <a:cubicBezTo>
                    <a:pt x="1969" y="207"/>
                    <a:pt x="1967" y="207"/>
                    <a:pt x="1964" y="207"/>
                  </a:cubicBezTo>
                  <a:close/>
                  <a:moveTo>
                    <a:pt x="1961" y="163"/>
                  </a:moveTo>
                  <a:cubicBezTo>
                    <a:pt x="1969" y="151"/>
                    <a:pt x="1953" y="183"/>
                    <a:pt x="1967" y="178"/>
                  </a:cubicBezTo>
                  <a:cubicBezTo>
                    <a:pt x="1967" y="184"/>
                    <a:pt x="1963" y="186"/>
                    <a:pt x="1964" y="193"/>
                  </a:cubicBezTo>
                  <a:cubicBezTo>
                    <a:pt x="1960" y="187"/>
                    <a:pt x="1956" y="171"/>
                    <a:pt x="1961" y="163"/>
                  </a:cubicBezTo>
                  <a:close/>
                  <a:moveTo>
                    <a:pt x="1940" y="108"/>
                  </a:moveTo>
                  <a:cubicBezTo>
                    <a:pt x="1942" y="108"/>
                    <a:pt x="1945" y="108"/>
                    <a:pt x="1948" y="108"/>
                  </a:cubicBezTo>
                  <a:cubicBezTo>
                    <a:pt x="1945" y="115"/>
                    <a:pt x="1952" y="125"/>
                    <a:pt x="1953" y="115"/>
                  </a:cubicBezTo>
                  <a:cubicBezTo>
                    <a:pt x="1956" y="114"/>
                    <a:pt x="1956" y="116"/>
                    <a:pt x="1956" y="119"/>
                  </a:cubicBezTo>
                  <a:cubicBezTo>
                    <a:pt x="1955" y="122"/>
                    <a:pt x="1957" y="122"/>
                    <a:pt x="1959" y="122"/>
                  </a:cubicBezTo>
                  <a:cubicBezTo>
                    <a:pt x="1959" y="127"/>
                    <a:pt x="1954" y="124"/>
                    <a:pt x="1953" y="126"/>
                  </a:cubicBezTo>
                  <a:cubicBezTo>
                    <a:pt x="1951" y="130"/>
                    <a:pt x="1954" y="139"/>
                    <a:pt x="1951" y="141"/>
                  </a:cubicBezTo>
                  <a:cubicBezTo>
                    <a:pt x="1947" y="138"/>
                    <a:pt x="1945" y="132"/>
                    <a:pt x="1945" y="122"/>
                  </a:cubicBezTo>
                  <a:cubicBezTo>
                    <a:pt x="1943" y="122"/>
                    <a:pt x="1943" y="127"/>
                    <a:pt x="1942" y="130"/>
                  </a:cubicBezTo>
                  <a:cubicBezTo>
                    <a:pt x="1940" y="128"/>
                    <a:pt x="1938" y="126"/>
                    <a:pt x="1934" y="126"/>
                  </a:cubicBezTo>
                  <a:cubicBezTo>
                    <a:pt x="1937" y="121"/>
                    <a:pt x="1937" y="112"/>
                    <a:pt x="1940" y="108"/>
                  </a:cubicBezTo>
                  <a:close/>
                  <a:moveTo>
                    <a:pt x="1937" y="174"/>
                  </a:moveTo>
                  <a:cubicBezTo>
                    <a:pt x="1934" y="161"/>
                    <a:pt x="1954" y="164"/>
                    <a:pt x="1948" y="178"/>
                  </a:cubicBezTo>
                  <a:cubicBezTo>
                    <a:pt x="1943" y="171"/>
                    <a:pt x="1946" y="171"/>
                    <a:pt x="1937" y="174"/>
                  </a:cubicBezTo>
                  <a:close/>
                  <a:moveTo>
                    <a:pt x="1945" y="1095"/>
                  </a:moveTo>
                  <a:cubicBezTo>
                    <a:pt x="1944" y="1100"/>
                    <a:pt x="1942" y="1103"/>
                    <a:pt x="1937" y="1102"/>
                  </a:cubicBezTo>
                  <a:cubicBezTo>
                    <a:pt x="1938" y="1098"/>
                    <a:pt x="1941" y="1095"/>
                    <a:pt x="1945" y="1095"/>
                  </a:cubicBezTo>
                  <a:close/>
                  <a:moveTo>
                    <a:pt x="1942" y="137"/>
                  </a:moveTo>
                  <a:cubicBezTo>
                    <a:pt x="1941" y="142"/>
                    <a:pt x="1939" y="145"/>
                    <a:pt x="1934" y="145"/>
                  </a:cubicBezTo>
                  <a:cubicBezTo>
                    <a:pt x="1936" y="140"/>
                    <a:pt x="1938" y="137"/>
                    <a:pt x="1942" y="137"/>
                  </a:cubicBezTo>
                  <a:close/>
                  <a:moveTo>
                    <a:pt x="1908" y="193"/>
                  </a:moveTo>
                  <a:cubicBezTo>
                    <a:pt x="1910" y="201"/>
                    <a:pt x="1917" y="202"/>
                    <a:pt x="1921" y="207"/>
                  </a:cubicBezTo>
                  <a:cubicBezTo>
                    <a:pt x="1919" y="214"/>
                    <a:pt x="1915" y="210"/>
                    <a:pt x="1916" y="204"/>
                  </a:cubicBezTo>
                  <a:cubicBezTo>
                    <a:pt x="1910" y="205"/>
                    <a:pt x="1909" y="201"/>
                    <a:pt x="1905" y="200"/>
                  </a:cubicBezTo>
                  <a:cubicBezTo>
                    <a:pt x="1901" y="191"/>
                    <a:pt x="1913" y="185"/>
                    <a:pt x="1905" y="182"/>
                  </a:cubicBezTo>
                  <a:cubicBezTo>
                    <a:pt x="1905" y="173"/>
                    <a:pt x="1912" y="183"/>
                    <a:pt x="1913" y="182"/>
                  </a:cubicBezTo>
                  <a:cubicBezTo>
                    <a:pt x="1913" y="181"/>
                    <a:pt x="1913" y="178"/>
                    <a:pt x="1913" y="178"/>
                  </a:cubicBezTo>
                  <a:cubicBezTo>
                    <a:pt x="1919" y="179"/>
                    <a:pt x="1920" y="185"/>
                    <a:pt x="1924" y="193"/>
                  </a:cubicBezTo>
                  <a:cubicBezTo>
                    <a:pt x="1927" y="199"/>
                    <a:pt x="1935" y="201"/>
                    <a:pt x="1932" y="207"/>
                  </a:cubicBezTo>
                  <a:cubicBezTo>
                    <a:pt x="1922" y="210"/>
                    <a:pt x="1920" y="202"/>
                    <a:pt x="1921" y="189"/>
                  </a:cubicBezTo>
                  <a:cubicBezTo>
                    <a:pt x="1915" y="188"/>
                    <a:pt x="1911" y="190"/>
                    <a:pt x="1908" y="193"/>
                  </a:cubicBezTo>
                  <a:close/>
                  <a:moveTo>
                    <a:pt x="1897" y="244"/>
                  </a:moveTo>
                  <a:cubicBezTo>
                    <a:pt x="1897" y="239"/>
                    <a:pt x="1894" y="244"/>
                    <a:pt x="1894" y="244"/>
                  </a:cubicBezTo>
                  <a:cubicBezTo>
                    <a:pt x="1891" y="243"/>
                    <a:pt x="1892" y="235"/>
                    <a:pt x="1886" y="237"/>
                  </a:cubicBezTo>
                  <a:cubicBezTo>
                    <a:pt x="1888" y="231"/>
                    <a:pt x="1895" y="232"/>
                    <a:pt x="1899" y="230"/>
                  </a:cubicBezTo>
                  <a:cubicBezTo>
                    <a:pt x="1899" y="239"/>
                    <a:pt x="1897" y="253"/>
                    <a:pt x="1908" y="248"/>
                  </a:cubicBezTo>
                  <a:cubicBezTo>
                    <a:pt x="1909" y="258"/>
                    <a:pt x="1898" y="252"/>
                    <a:pt x="1897" y="259"/>
                  </a:cubicBezTo>
                  <a:cubicBezTo>
                    <a:pt x="1890" y="258"/>
                    <a:pt x="1900" y="253"/>
                    <a:pt x="1897" y="244"/>
                  </a:cubicBezTo>
                  <a:close/>
                  <a:moveTo>
                    <a:pt x="1908" y="241"/>
                  </a:moveTo>
                  <a:cubicBezTo>
                    <a:pt x="1901" y="240"/>
                    <a:pt x="1901" y="231"/>
                    <a:pt x="1905" y="226"/>
                  </a:cubicBezTo>
                  <a:cubicBezTo>
                    <a:pt x="1911" y="227"/>
                    <a:pt x="1911" y="236"/>
                    <a:pt x="1908" y="241"/>
                  </a:cubicBezTo>
                  <a:close/>
                  <a:moveTo>
                    <a:pt x="1902" y="222"/>
                  </a:moveTo>
                  <a:cubicBezTo>
                    <a:pt x="1904" y="217"/>
                    <a:pt x="1911" y="217"/>
                    <a:pt x="1916" y="215"/>
                  </a:cubicBezTo>
                  <a:cubicBezTo>
                    <a:pt x="1918" y="227"/>
                    <a:pt x="1907" y="221"/>
                    <a:pt x="1902" y="222"/>
                  </a:cubicBezTo>
                  <a:close/>
                  <a:moveTo>
                    <a:pt x="1926" y="189"/>
                  </a:moveTo>
                  <a:cubicBezTo>
                    <a:pt x="1936" y="167"/>
                    <a:pt x="1940" y="211"/>
                    <a:pt x="1926" y="189"/>
                  </a:cubicBezTo>
                  <a:close/>
                  <a:moveTo>
                    <a:pt x="1932" y="211"/>
                  </a:moveTo>
                  <a:cubicBezTo>
                    <a:pt x="1941" y="209"/>
                    <a:pt x="1932" y="228"/>
                    <a:pt x="1929" y="222"/>
                  </a:cubicBezTo>
                  <a:cubicBezTo>
                    <a:pt x="1929" y="222"/>
                    <a:pt x="1931" y="215"/>
                    <a:pt x="1932" y="215"/>
                  </a:cubicBezTo>
                  <a:cubicBezTo>
                    <a:pt x="1932" y="215"/>
                    <a:pt x="1932" y="211"/>
                    <a:pt x="1932" y="211"/>
                  </a:cubicBezTo>
                  <a:close/>
                  <a:moveTo>
                    <a:pt x="1934" y="159"/>
                  </a:moveTo>
                  <a:cubicBezTo>
                    <a:pt x="1934" y="164"/>
                    <a:pt x="1933" y="161"/>
                    <a:pt x="1932" y="163"/>
                  </a:cubicBezTo>
                  <a:cubicBezTo>
                    <a:pt x="1931" y="166"/>
                    <a:pt x="1922" y="176"/>
                    <a:pt x="1932" y="174"/>
                  </a:cubicBezTo>
                  <a:cubicBezTo>
                    <a:pt x="1931" y="178"/>
                    <a:pt x="1927" y="177"/>
                    <a:pt x="1924" y="178"/>
                  </a:cubicBezTo>
                  <a:cubicBezTo>
                    <a:pt x="1924" y="173"/>
                    <a:pt x="1924" y="168"/>
                    <a:pt x="1924" y="163"/>
                  </a:cubicBezTo>
                  <a:cubicBezTo>
                    <a:pt x="1928" y="163"/>
                    <a:pt x="1931" y="164"/>
                    <a:pt x="1932" y="159"/>
                  </a:cubicBezTo>
                  <a:cubicBezTo>
                    <a:pt x="1932" y="155"/>
                    <a:pt x="1935" y="157"/>
                    <a:pt x="1934" y="159"/>
                  </a:cubicBezTo>
                  <a:close/>
                  <a:moveTo>
                    <a:pt x="1921" y="119"/>
                  </a:moveTo>
                  <a:cubicBezTo>
                    <a:pt x="1923" y="120"/>
                    <a:pt x="1926" y="113"/>
                    <a:pt x="1929" y="119"/>
                  </a:cubicBezTo>
                  <a:cubicBezTo>
                    <a:pt x="1930" y="125"/>
                    <a:pt x="1920" y="138"/>
                    <a:pt x="1932" y="137"/>
                  </a:cubicBezTo>
                  <a:cubicBezTo>
                    <a:pt x="1929" y="146"/>
                    <a:pt x="1915" y="158"/>
                    <a:pt x="1921" y="167"/>
                  </a:cubicBezTo>
                  <a:cubicBezTo>
                    <a:pt x="1913" y="177"/>
                    <a:pt x="1913" y="159"/>
                    <a:pt x="1916" y="148"/>
                  </a:cubicBezTo>
                  <a:cubicBezTo>
                    <a:pt x="1918" y="148"/>
                    <a:pt x="1921" y="148"/>
                    <a:pt x="1924" y="148"/>
                  </a:cubicBezTo>
                  <a:cubicBezTo>
                    <a:pt x="1922" y="137"/>
                    <a:pt x="1922" y="141"/>
                    <a:pt x="1924" y="130"/>
                  </a:cubicBezTo>
                  <a:cubicBezTo>
                    <a:pt x="1921" y="129"/>
                    <a:pt x="1919" y="131"/>
                    <a:pt x="1918" y="133"/>
                  </a:cubicBezTo>
                  <a:cubicBezTo>
                    <a:pt x="1912" y="135"/>
                    <a:pt x="1926" y="115"/>
                    <a:pt x="1913" y="119"/>
                  </a:cubicBezTo>
                  <a:cubicBezTo>
                    <a:pt x="1914" y="117"/>
                    <a:pt x="1916" y="110"/>
                    <a:pt x="1918" y="111"/>
                  </a:cubicBezTo>
                  <a:cubicBezTo>
                    <a:pt x="1921" y="112"/>
                    <a:pt x="1920" y="118"/>
                    <a:pt x="1921" y="119"/>
                  </a:cubicBezTo>
                  <a:close/>
                  <a:moveTo>
                    <a:pt x="1913" y="71"/>
                  </a:moveTo>
                  <a:cubicBezTo>
                    <a:pt x="1915" y="71"/>
                    <a:pt x="1917" y="71"/>
                    <a:pt x="1918" y="71"/>
                  </a:cubicBezTo>
                  <a:cubicBezTo>
                    <a:pt x="1918" y="77"/>
                    <a:pt x="1918" y="83"/>
                    <a:pt x="1918" y="89"/>
                  </a:cubicBezTo>
                  <a:cubicBezTo>
                    <a:pt x="1916" y="87"/>
                    <a:pt x="1916" y="81"/>
                    <a:pt x="1910" y="82"/>
                  </a:cubicBezTo>
                  <a:cubicBezTo>
                    <a:pt x="1910" y="76"/>
                    <a:pt x="1913" y="75"/>
                    <a:pt x="1913" y="71"/>
                  </a:cubicBezTo>
                  <a:close/>
                  <a:moveTo>
                    <a:pt x="1897" y="111"/>
                  </a:moveTo>
                  <a:cubicBezTo>
                    <a:pt x="1904" y="113"/>
                    <a:pt x="1909" y="131"/>
                    <a:pt x="1897" y="130"/>
                  </a:cubicBezTo>
                  <a:cubicBezTo>
                    <a:pt x="1897" y="124"/>
                    <a:pt x="1897" y="117"/>
                    <a:pt x="1897" y="111"/>
                  </a:cubicBezTo>
                  <a:close/>
                  <a:moveTo>
                    <a:pt x="1894" y="137"/>
                  </a:moveTo>
                  <a:cubicBezTo>
                    <a:pt x="1891" y="136"/>
                    <a:pt x="1889" y="132"/>
                    <a:pt x="1889" y="126"/>
                  </a:cubicBezTo>
                  <a:cubicBezTo>
                    <a:pt x="1892" y="128"/>
                    <a:pt x="1894" y="131"/>
                    <a:pt x="1894" y="137"/>
                  </a:cubicBezTo>
                  <a:close/>
                  <a:moveTo>
                    <a:pt x="1875" y="126"/>
                  </a:moveTo>
                  <a:cubicBezTo>
                    <a:pt x="1884" y="126"/>
                    <a:pt x="1872" y="118"/>
                    <a:pt x="1873" y="108"/>
                  </a:cubicBezTo>
                  <a:cubicBezTo>
                    <a:pt x="1875" y="110"/>
                    <a:pt x="1879" y="111"/>
                    <a:pt x="1883" y="111"/>
                  </a:cubicBezTo>
                  <a:cubicBezTo>
                    <a:pt x="1883" y="116"/>
                    <a:pt x="1883" y="122"/>
                    <a:pt x="1886" y="122"/>
                  </a:cubicBezTo>
                  <a:cubicBezTo>
                    <a:pt x="1886" y="129"/>
                    <a:pt x="1877" y="125"/>
                    <a:pt x="1875" y="130"/>
                  </a:cubicBezTo>
                  <a:cubicBezTo>
                    <a:pt x="1876" y="137"/>
                    <a:pt x="1875" y="141"/>
                    <a:pt x="1870" y="141"/>
                  </a:cubicBezTo>
                  <a:cubicBezTo>
                    <a:pt x="1874" y="139"/>
                    <a:pt x="1867" y="126"/>
                    <a:pt x="1875" y="126"/>
                  </a:cubicBezTo>
                  <a:close/>
                  <a:moveTo>
                    <a:pt x="1878" y="152"/>
                  </a:moveTo>
                  <a:cubicBezTo>
                    <a:pt x="1879" y="149"/>
                    <a:pt x="1881" y="148"/>
                    <a:pt x="1881" y="145"/>
                  </a:cubicBezTo>
                  <a:cubicBezTo>
                    <a:pt x="1882" y="145"/>
                    <a:pt x="1884" y="145"/>
                    <a:pt x="1886" y="145"/>
                  </a:cubicBezTo>
                  <a:cubicBezTo>
                    <a:pt x="1887" y="152"/>
                    <a:pt x="1882" y="152"/>
                    <a:pt x="1878" y="152"/>
                  </a:cubicBezTo>
                  <a:close/>
                  <a:moveTo>
                    <a:pt x="1838" y="133"/>
                  </a:moveTo>
                  <a:cubicBezTo>
                    <a:pt x="1839" y="126"/>
                    <a:pt x="1841" y="136"/>
                    <a:pt x="1840" y="141"/>
                  </a:cubicBezTo>
                  <a:cubicBezTo>
                    <a:pt x="1839" y="148"/>
                    <a:pt x="1837" y="138"/>
                    <a:pt x="1838" y="133"/>
                  </a:cubicBezTo>
                  <a:close/>
                  <a:moveTo>
                    <a:pt x="1830" y="126"/>
                  </a:moveTo>
                  <a:cubicBezTo>
                    <a:pt x="1822" y="128"/>
                    <a:pt x="1827" y="112"/>
                    <a:pt x="1822" y="111"/>
                  </a:cubicBezTo>
                  <a:cubicBezTo>
                    <a:pt x="1825" y="101"/>
                    <a:pt x="1831" y="117"/>
                    <a:pt x="1830" y="126"/>
                  </a:cubicBezTo>
                  <a:close/>
                  <a:moveTo>
                    <a:pt x="1773" y="122"/>
                  </a:moveTo>
                  <a:cubicBezTo>
                    <a:pt x="1775" y="123"/>
                    <a:pt x="1776" y="126"/>
                    <a:pt x="1778" y="126"/>
                  </a:cubicBezTo>
                  <a:cubicBezTo>
                    <a:pt x="1778" y="129"/>
                    <a:pt x="1776" y="130"/>
                    <a:pt x="1776" y="133"/>
                  </a:cubicBezTo>
                  <a:cubicBezTo>
                    <a:pt x="1774" y="133"/>
                    <a:pt x="1773" y="130"/>
                    <a:pt x="1770" y="130"/>
                  </a:cubicBezTo>
                  <a:cubicBezTo>
                    <a:pt x="1771" y="127"/>
                    <a:pt x="1773" y="126"/>
                    <a:pt x="1773" y="122"/>
                  </a:cubicBezTo>
                  <a:close/>
                  <a:moveTo>
                    <a:pt x="1757" y="96"/>
                  </a:moveTo>
                  <a:cubicBezTo>
                    <a:pt x="1769" y="99"/>
                    <a:pt x="1755" y="119"/>
                    <a:pt x="1757" y="96"/>
                  </a:cubicBezTo>
                  <a:close/>
                  <a:moveTo>
                    <a:pt x="1711" y="163"/>
                  </a:moveTo>
                  <a:cubicBezTo>
                    <a:pt x="1717" y="164"/>
                    <a:pt x="1715" y="146"/>
                    <a:pt x="1709" y="152"/>
                  </a:cubicBezTo>
                  <a:cubicBezTo>
                    <a:pt x="1710" y="149"/>
                    <a:pt x="1711" y="145"/>
                    <a:pt x="1714" y="145"/>
                  </a:cubicBezTo>
                  <a:cubicBezTo>
                    <a:pt x="1723" y="135"/>
                    <a:pt x="1724" y="159"/>
                    <a:pt x="1725" y="137"/>
                  </a:cubicBezTo>
                  <a:cubicBezTo>
                    <a:pt x="1730" y="139"/>
                    <a:pt x="1730" y="148"/>
                    <a:pt x="1738" y="145"/>
                  </a:cubicBezTo>
                  <a:cubicBezTo>
                    <a:pt x="1736" y="155"/>
                    <a:pt x="1742" y="154"/>
                    <a:pt x="1741" y="163"/>
                  </a:cubicBezTo>
                  <a:cubicBezTo>
                    <a:pt x="1749" y="160"/>
                    <a:pt x="1739" y="151"/>
                    <a:pt x="1741" y="145"/>
                  </a:cubicBezTo>
                  <a:cubicBezTo>
                    <a:pt x="1746" y="151"/>
                    <a:pt x="1753" y="132"/>
                    <a:pt x="1760" y="141"/>
                  </a:cubicBezTo>
                  <a:cubicBezTo>
                    <a:pt x="1760" y="141"/>
                    <a:pt x="1760" y="145"/>
                    <a:pt x="1760" y="145"/>
                  </a:cubicBezTo>
                  <a:cubicBezTo>
                    <a:pt x="1761" y="144"/>
                    <a:pt x="1763" y="137"/>
                    <a:pt x="1762" y="137"/>
                  </a:cubicBezTo>
                  <a:cubicBezTo>
                    <a:pt x="1766" y="137"/>
                    <a:pt x="1766" y="147"/>
                    <a:pt x="1768" y="148"/>
                  </a:cubicBezTo>
                  <a:cubicBezTo>
                    <a:pt x="1772" y="151"/>
                    <a:pt x="1773" y="134"/>
                    <a:pt x="1778" y="145"/>
                  </a:cubicBezTo>
                  <a:cubicBezTo>
                    <a:pt x="1787" y="146"/>
                    <a:pt x="1779" y="126"/>
                    <a:pt x="1789" y="130"/>
                  </a:cubicBezTo>
                  <a:cubicBezTo>
                    <a:pt x="1788" y="135"/>
                    <a:pt x="1785" y="139"/>
                    <a:pt x="1784" y="145"/>
                  </a:cubicBezTo>
                  <a:cubicBezTo>
                    <a:pt x="1785" y="152"/>
                    <a:pt x="1794" y="147"/>
                    <a:pt x="1797" y="148"/>
                  </a:cubicBezTo>
                  <a:cubicBezTo>
                    <a:pt x="1797" y="148"/>
                    <a:pt x="1797" y="152"/>
                    <a:pt x="1797" y="152"/>
                  </a:cubicBezTo>
                  <a:cubicBezTo>
                    <a:pt x="1803" y="153"/>
                    <a:pt x="1811" y="148"/>
                    <a:pt x="1816" y="156"/>
                  </a:cubicBezTo>
                  <a:cubicBezTo>
                    <a:pt x="1816" y="156"/>
                    <a:pt x="1816" y="159"/>
                    <a:pt x="1816" y="159"/>
                  </a:cubicBezTo>
                  <a:cubicBezTo>
                    <a:pt x="1824" y="159"/>
                    <a:pt x="1822" y="138"/>
                    <a:pt x="1827" y="159"/>
                  </a:cubicBezTo>
                  <a:cubicBezTo>
                    <a:pt x="1831" y="158"/>
                    <a:pt x="1829" y="150"/>
                    <a:pt x="1830" y="145"/>
                  </a:cubicBezTo>
                  <a:cubicBezTo>
                    <a:pt x="1827" y="141"/>
                    <a:pt x="1824" y="137"/>
                    <a:pt x="1822" y="133"/>
                  </a:cubicBezTo>
                  <a:cubicBezTo>
                    <a:pt x="1821" y="122"/>
                    <a:pt x="1829" y="143"/>
                    <a:pt x="1830" y="130"/>
                  </a:cubicBezTo>
                  <a:cubicBezTo>
                    <a:pt x="1837" y="136"/>
                    <a:pt x="1826" y="166"/>
                    <a:pt x="1843" y="159"/>
                  </a:cubicBezTo>
                  <a:cubicBezTo>
                    <a:pt x="1842" y="162"/>
                    <a:pt x="1840" y="165"/>
                    <a:pt x="1840" y="170"/>
                  </a:cubicBezTo>
                  <a:cubicBezTo>
                    <a:pt x="1832" y="174"/>
                    <a:pt x="1832" y="165"/>
                    <a:pt x="1827" y="163"/>
                  </a:cubicBezTo>
                  <a:cubicBezTo>
                    <a:pt x="1820" y="163"/>
                    <a:pt x="1815" y="167"/>
                    <a:pt x="1811" y="167"/>
                  </a:cubicBezTo>
                  <a:cubicBezTo>
                    <a:pt x="1812" y="167"/>
                    <a:pt x="1808" y="155"/>
                    <a:pt x="1805" y="159"/>
                  </a:cubicBezTo>
                  <a:cubicBezTo>
                    <a:pt x="1803" y="164"/>
                    <a:pt x="1805" y="160"/>
                    <a:pt x="1803" y="159"/>
                  </a:cubicBezTo>
                  <a:cubicBezTo>
                    <a:pt x="1800" y="159"/>
                    <a:pt x="1800" y="163"/>
                    <a:pt x="1800" y="163"/>
                  </a:cubicBezTo>
                  <a:cubicBezTo>
                    <a:pt x="1794" y="162"/>
                    <a:pt x="1793" y="156"/>
                    <a:pt x="1787" y="156"/>
                  </a:cubicBezTo>
                  <a:cubicBezTo>
                    <a:pt x="1787" y="159"/>
                    <a:pt x="1790" y="159"/>
                    <a:pt x="1792" y="159"/>
                  </a:cubicBezTo>
                  <a:cubicBezTo>
                    <a:pt x="1789" y="166"/>
                    <a:pt x="1785" y="170"/>
                    <a:pt x="1784" y="178"/>
                  </a:cubicBezTo>
                  <a:cubicBezTo>
                    <a:pt x="1776" y="175"/>
                    <a:pt x="1787" y="169"/>
                    <a:pt x="1784" y="159"/>
                  </a:cubicBezTo>
                  <a:cubicBezTo>
                    <a:pt x="1781" y="159"/>
                    <a:pt x="1782" y="164"/>
                    <a:pt x="1781" y="167"/>
                  </a:cubicBezTo>
                  <a:cubicBezTo>
                    <a:pt x="1778" y="164"/>
                    <a:pt x="1778" y="158"/>
                    <a:pt x="1773" y="159"/>
                  </a:cubicBezTo>
                  <a:cubicBezTo>
                    <a:pt x="1773" y="156"/>
                    <a:pt x="1773" y="152"/>
                    <a:pt x="1773" y="148"/>
                  </a:cubicBezTo>
                  <a:cubicBezTo>
                    <a:pt x="1770" y="147"/>
                    <a:pt x="1764" y="159"/>
                    <a:pt x="1770" y="159"/>
                  </a:cubicBezTo>
                  <a:cubicBezTo>
                    <a:pt x="1769" y="163"/>
                    <a:pt x="1764" y="163"/>
                    <a:pt x="1765" y="170"/>
                  </a:cubicBezTo>
                  <a:cubicBezTo>
                    <a:pt x="1760" y="164"/>
                    <a:pt x="1762" y="171"/>
                    <a:pt x="1754" y="170"/>
                  </a:cubicBezTo>
                  <a:cubicBezTo>
                    <a:pt x="1754" y="160"/>
                    <a:pt x="1759" y="163"/>
                    <a:pt x="1754" y="156"/>
                  </a:cubicBezTo>
                  <a:cubicBezTo>
                    <a:pt x="1750" y="159"/>
                    <a:pt x="1749" y="165"/>
                    <a:pt x="1749" y="174"/>
                  </a:cubicBezTo>
                  <a:cubicBezTo>
                    <a:pt x="1747" y="172"/>
                    <a:pt x="1744" y="171"/>
                    <a:pt x="1744" y="167"/>
                  </a:cubicBezTo>
                  <a:cubicBezTo>
                    <a:pt x="1741" y="168"/>
                    <a:pt x="1741" y="170"/>
                    <a:pt x="1738" y="170"/>
                  </a:cubicBezTo>
                  <a:cubicBezTo>
                    <a:pt x="1734" y="171"/>
                    <a:pt x="1734" y="167"/>
                    <a:pt x="1730" y="167"/>
                  </a:cubicBezTo>
                  <a:cubicBezTo>
                    <a:pt x="1725" y="166"/>
                    <a:pt x="1722" y="176"/>
                    <a:pt x="1722" y="163"/>
                  </a:cubicBezTo>
                  <a:cubicBezTo>
                    <a:pt x="1717" y="159"/>
                    <a:pt x="1718" y="170"/>
                    <a:pt x="1717" y="170"/>
                  </a:cubicBezTo>
                  <a:cubicBezTo>
                    <a:pt x="1716" y="171"/>
                    <a:pt x="1706" y="163"/>
                    <a:pt x="1698" y="167"/>
                  </a:cubicBezTo>
                  <a:cubicBezTo>
                    <a:pt x="1700" y="155"/>
                    <a:pt x="1695" y="153"/>
                    <a:pt x="1695" y="145"/>
                  </a:cubicBezTo>
                  <a:cubicBezTo>
                    <a:pt x="1704" y="146"/>
                    <a:pt x="1704" y="160"/>
                    <a:pt x="1711" y="163"/>
                  </a:cubicBezTo>
                  <a:close/>
                  <a:moveTo>
                    <a:pt x="1832" y="196"/>
                  </a:moveTo>
                  <a:cubicBezTo>
                    <a:pt x="1824" y="194"/>
                    <a:pt x="1836" y="191"/>
                    <a:pt x="1835" y="185"/>
                  </a:cubicBezTo>
                  <a:cubicBezTo>
                    <a:pt x="1844" y="189"/>
                    <a:pt x="1832" y="193"/>
                    <a:pt x="1832" y="196"/>
                  </a:cubicBezTo>
                  <a:close/>
                  <a:moveTo>
                    <a:pt x="1838" y="1199"/>
                  </a:moveTo>
                  <a:cubicBezTo>
                    <a:pt x="1841" y="1198"/>
                    <a:pt x="1840" y="1202"/>
                    <a:pt x="1840" y="1202"/>
                  </a:cubicBezTo>
                  <a:cubicBezTo>
                    <a:pt x="1843" y="1203"/>
                    <a:pt x="1854" y="1199"/>
                    <a:pt x="1851" y="1210"/>
                  </a:cubicBezTo>
                  <a:cubicBezTo>
                    <a:pt x="1843" y="1212"/>
                    <a:pt x="1841" y="1206"/>
                    <a:pt x="1835" y="1206"/>
                  </a:cubicBezTo>
                  <a:cubicBezTo>
                    <a:pt x="1836" y="1206"/>
                    <a:pt x="1837" y="1199"/>
                    <a:pt x="1838" y="1199"/>
                  </a:cubicBezTo>
                  <a:close/>
                  <a:moveTo>
                    <a:pt x="1784" y="244"/>
                  </a:moveTo>
                  <a:cubicBezTo>
                    <a:pt x="1785" y="239"/>
                    <a:pt x="1792" y="241"/>
                    <a:pt x="1789" y="230"/>
                  </a:cubicBezTo>
                  <a:cubicBezTo>
                    <a:pt x="1792" y="232"/>
                    <a:pt x="1793" y="236"/>
                    <a:pt x="1795" y="241"/>
                  </a:cubicBezTo>
                  <a:cubicBezTo>
                    <a:pt x="1797" y="238"/>
                    <a:pt x="1799" y="234"/>
                    <a:pt x="1800" y="230"/>
                  </a:cubicBezTo>
                  <a:cubicBezTo>
                    <a:pt x="1804" y="231"/>
                    <a:pt x="1802" y="239"/>
                    <a:pt x="1803" y="244"/>
                  </a:cubicBezTo>
                  <a:cubicBezTo>
                    <a:pt x="1807" y="249"/>
                    <a:pt x="1809" y="255"/>
                    <a:pt x="1816" y="255"/>
                  </a:cubicBezTo>
                  <a:cubicBezTo>
                    <a:pt x="1814" y="266"/>
                    <a:pt x="1808" y="250"/>
                    <a:pt x="1800" y="255"/>
                  </a:cubicBezTo>
                  <a:cubicBezTo>
                    <a:pt x="1801" y="238"/>
                    <a:pt x="1795" y="249"/>
                    <a:pt x="1784" y="244"/>
                  </a:cubicBezTo>
                  <a:close/>
                  <a:moveTo>
                    <a:pt x="1805" y="226"/>
                  </a:moveTo>
                  <a:cubicBezTo>
                    <a:pt x="1796" y="232"/>
                    <a:pt x="1804" y="213"/>
                    <a:pt x="1797" y="215"/>
                  </a:cubicBezTo>
                  <a:cubicBezTo>
                    <a:pt x="1800" y="205"/>
                    <a:pt x="1808" y="217"/>
                    <a:pt x="1805" y="226"/>
                  </a:cubicBezTo>
                  <a:close/>
                  <a:moveTo>
                    <a:pt x="1797" y="189"/>
                  </a:moveTo>
                  <a:cubicBezTo>
                    <a:pt x="1800" y="178"/>
                    <a:pt x="1804" y="194"/>
                    <a:pt x="1811" y="189"/>
                  </a:cubicBezTo>
                  <a:cubicBezTo>
                    <a:pt x="1810" y="198"/>
                    <a:pt x="1799" y="191"/>
                    <a:pt x="1797" y="189"/>
                  </a:cubicBezTo>
                  <a:close/>
                  <a:moveTo>
                    <a:pt x="1730" y="1254"/>
                  </a:moveTo>
                  <a:cubicBezTo>
                    <a:pt x="1728" y="1255"/>
                    <a:pt x="1727" y="1258"/>
                    <a:pt x="1725" y="1258"/>
                  </a:cubicBezTo>
                  <a:cubicBezTo>
                    <a:pt x="1720" y="1258"/>
                    <a:pt x="1723" y="1270"/>
                    <a:pt x="1719" y="1273"/>
                  </a:cubicBezTo>
                  <a:cubicBezTo>
                    <a:pt x="1715" y="1265"/>
                    <a:pt x="1716" y="1269"/>
                    <a:pt x="1709" y="1265"/>
                  </a:cubicBezTo>
                  <a:cubicBezTo>
                    <a:pt x="1708" y="1258"/>
                    <a:pt x="1718" y="1265"/>
                    <a:pt x="1719" y="1261"/>
                  </a:cubicBezTo>
                  <a:cubicBezTo>
                    <a:pt x="1720" y="1261"/>
                    <a:pt x="1715" y="1252"/>
                    <a:pt x="1717" y="1250"/>
                  </a:cubicBezTo>
                  <a:cubicBezTo>
                    <a:pt x="1719" y="1248"/>
                    <a:pt x="1730" y="1259"/>
                    <a:pt x="1727" y="1243"/>
                  </a:cubicBezTo>
                  <a:cubicBezTo>
                    <a:pt x="1731" y="1232"/>
                    <a:pt x="1728" y="1261"/>
                    <a:pt x="1738" y="1254"/>
                  </a:cubicBezTo>
                  <a:cubicBezTo>
                    <a:pt x="1748" y="1256"/>
                    <a:pt x="1728" y="1263"/>
                    <a:pt x="1730" y="1254"/>
                  </a:cubicBezTo>
                  <a:close/>
                  <a:moveTo>
                    <a:pt x="1738" y="1265"/>
                  </a:moveTo>
                  <a:cubicBezTo>
                    <a:pt x="1732" y="1277"/>
                    <a:pt x="1725" y="1255"/>
                    <a:pt x="1738" y="1265"/>
                  </a:cubicBezTo>
                  <a:close/>
                  <a:moveTo>
                    <a:pt x="1725" y="1206"/>
                  </a:moveTo>
                  <a:cubicBezTo>
                    <a:pt x="1721" y="1207"/>
                    <a:pt x="1724" y="1217"/>
                    <a:pt x="1719" y="1217"/>
                  </a:cubicBezTo>
                  <a:cubicBezTo>
                    <a:pt x="1720" y="1221"/>
                    <a:pt x="1724" y="1220"/>
                    <a:pt x="1727" y="1221"/>
                  </a:cubicBezTo>
                  <a:cubicBezTo>
                    <a:pt x="1727" y="1226"/>
                    <a:pt x="1727" y="1231"/>
                    <a:pt x="1727" y="1235"/>
                  </a:cubicBezTo>
                  <a:cubicBezTo>
                    <a:pt x="1725" y="1235"/>
                    <a:pt x="1725" y="1231"/>
                    <a:pt x="1725" y="1228"/>
                  </a:cubicBezTo>
                  <a:cubicBezTo>
                    <a:pt x="1724" y="1223"/>
                    <a:pt x="1718" y="1225"/>
                    <a:pt x="1714" y="1225"/>
                  </a:cubicBezTo>
                  <a:cubicBezTo>
                    <a:pt x="1713" y="1216"/>
                    <a:pt x="1715" y="1211"/>
                    <a:pt x="1719" y="1210"/>
                  </a:cubicBezTo>
                  <a:cubicBezTo>
                    <a:pt x="1719" y="1204"/>
                    <a:pt x="1711" y="1208"/>
                    <a:pt x="1711" y="1202"/>
                  </a:cubicBezTo>
                  <a:cubicBezTo>
                    <a:pt x="1709" y="1191"/>
                    <a:pt x="1717" y="1196"/>
                    <a:pt x="1722" y="1195"/>
                  </a:cubicBezTo>
                  <a:cubicBezTo>
                    <a:pt x="1722" y="1192"/>
                    <a:pt x="1722" y="1190"/>
                    <a:pt x="1722" y="1187"/>
                  </a:cubicBezTo>
                  <a:cubicBezTo>
                    <a:pt x="1726" y="1189"/>
                    <a:pt x="1724" y="1197"/>
                    <a:pt x="1725" y="1202"/>
                  </a:cubicBezTo>
                  <a:cubicBezTo>
                    <a:pt x="1733" y="1205"/>
                    <a:pt x="1733" y="1195"/>
                    <a:pt x="1738" y="1202"/>
                  </a:cubicBezTo>
                  <a:cubicBezTo>
                    <a:pt x="1739" y="1210"/>
                    <a:pt x="1729" y="1204"/>
                    <a:pt x="1725" y="1206"/>
                  </a:cubicBezTo>
                  <a:close/>
                  <a:moveTo>
                    <a:pt x="1719" y="577"/>
                  </a:moveTo>
                  <a:cubicBezTo>
                    <a:pt x="1719" y="581"/>
                    <a:pt x="1716" y="580"/>
                    <a:pt x="1714" y="581"/>
                  </a:cubicBezTo>
                  <a:cubicBezTo>
                    <a:pt x="1714" y="578"/>
                    <a:pt x="1713" y="577"/>
                    <a:pt x="1711" y="577"/>
                  </a:cubicBezTo>
                  <a:cubicBezTo>
                    <a:pt x="1712" y="573"/>
                    <a:pt x="1717" y="575"/>
                    <a:pt x="1717" y="570"/>
                  </a:cubicBezTo>
                  <a:cubicBezTo>
                    <a:pt x="1720" y="571"/>
                    <a:pt x="1718" y="574"/>
                    <a:pt x="1717" y="574"/>
                  </a:cubicBezTo>
                  <a:cubicBezTo>
                    <a:pt x="1716" y="577"/>
                    <a:pt x="1718" y="577"/>
                    <a:pt x="1719" y="577"/>
                  </a:cubicBezTo>
                  <a:close/>
                  <a:moveTo>
                    <a:pt x="1722" y="614"/>
                  </a:moveTo>
                  <a:cubicBezTo>
                    <a:pt x="1718" y="616"/>
                    <a:pt x="1717" y="611"/>
                    <a:pt x="1717" y="607"/>
                  </a:cubicBezTo>
                  <a:cubicBezTo>
                    <a:pt x="1711" y="608"/>
                    <a:pt x="1708" y="606"/>
                    <a:pt x="1709" y="599"/>
                  </a:cubicBezTo>
                  <a:cubicBezTo>
                    <a:pt x="1719" y="597"/>
                    <a:pt x="1728" y="606"/>
                    <a:pt x="1722" y="614"/>
                  </a:cubicBezTo>
                  <a:close/>
                  <a:moveTo>
                    <a:pt x="1741" y="559"/>
                  </a:moveTo>
                  <a:cubicBezTo>
                    <a:pt x="1744" y="560"/>
                    <a:pt x="1742" y="562"/>
                    <a:pt x="1741" y="562"/>
                  </a:cubicBezTo>
                  <a:cubicBezTo>
                    <a:pt x="1739" y="576"/>
                    <a:pt x="1754" y="590"/>
                    <a:pt x="1738" y="592"/>
                  </a:cubicBezTo>
                  <a:cubicBezTo>
                    <a:pt x="1739" y="589"/>
                    <a:pt x="1741" y="585"/>
                    <a:pt x="1744" y="585"/>
                  </a:cubicBezTo>
                  <a:cubicBezTo>
                    <a:pt x="1744" y="577"/>
                    <a:pt x="1734" y="583"/>
                    <a:pt x="1730" y="581"/>
                  </a:cubicBezTo>
                  <a:cubicBezTo>
                    <a:pt x="1733" y="573"/>
                    <a:pt x="1738" y="567"/>
                    <a:pt x="1741" y="559"/>
                  </a:cubicBezTo>
                  <a:close/>
                  <a:moveTo>
                    <a:pt x="1738" y="230"/>
                  </a:moveTo>
                  <a:cubicBezTo>
                    <a:pt x="1738" y="227"/>
                    <a:pt x="1738" y="225"/>
                    <a:pt x="1738" y="222"/>
                  </a:cubicBezTo>
                  <a:cubicBezTo>
                    <a:pt x="1744" y="220"/>
                    <a:pt x="1743" y="228"/>
                    <a:pt x="1744" y="233"/>
                  </a:cubicBezTo>
                  <a:cubicBezTo>
                    <a:pt x="1741" y="233"/>
                    <a:pt x="1741" y="230"/>
                    <a:pt x="1738" y="230"/>
                  </a:cubicBezTo>
                  <a:close/>
                  <a:moveTo>
                    <a:pt x="1754" y="222"/>
                  </a:moveTo>
                  <a:cubicBezTo>
                    <a:pt x="1761" y="224"/>
                    <a:pt x="1753" y="246"/>
                    <a:pt x="1762" y="244"/>
                  </a:cubicBezTo>
                  <a:cubicBezTo>
                    <a:pt x="1760" y="263"/>
                    <a:pt x="1753" y="236"/>
                    <a:pt x="1749" y="248"/>
                  </a:cubicBezTo>
                  <a:cubicBezTo>
                    <a:pt x="1742" y="247"/>
                    <a:pt x="1747" y="231"/>
                    <a:pt x="1754" y="237"/>
                  </a:cubicBezTo>
                  <a:cubicBezTo>
                    <a:pt x="1753" y="224"/>
                    <a:pt x="1746" y="231"/>
                    <a:pt x="1754" y="222"/>
                  </a:cubicBezTo>
                  <a:close/>
                  <a:moveTo>
                    <a:pt x="1754" y="204"/>
                  </a:moveTo>
                  <a:cubicBezTo>
                    <a:pt x="1754" y="199"/>
                    <a:pt x="1754" y="194"/>
                    <a:pt x="1754" y="189"/>
                  </a:cubicBezTo>
                  <a:cubicBezTo>
                    <a:pt x="1756" y="189"/>
                    <a:pt x="1758" y="189"/>
                    <a:pt x="1760" y="189"/>
                  </a:cubicBezTo>
                  <a:cubicBezTo>
                    <a:pt x="1760" y="194"/>
                    <a:pt x="1760" y="199"/>
                    <a:pt x="1760" y="204"/>
                  </a:cubicBezTo>
                  <a:cubicBezTo>
                    <a:pt x="1758" y="204"/>
                    <a:pt x="1756" y="204"/>
                    <a:pt x="1754" y="204"/>
                  </a:cubicBezTo>
                  <a:close/>
                  <a:moveTo>
                    <a:pt x="1754" y="618"/>
                  </a:moveTo>
                  <a:cubicBezTo>
                    <a:pt x="1759" y="617"/>
                    <a:pt x="1759" y="621"/>
                    <a:pt x="1762" y="622"/>
                  </a:cubicBezTo>
                  <a:cubicBezTo>
                    <a:pt x="1763" y="629"/>
                    <a:pt x="1750" y="627"/>
                    <a:pt x="1754" y="618"/>
                  </a:cubicBezTo>
                  <a:close/>
                  <a:moveTo>
                    <a:pt x="1741" y="784"/>
                  </a:moveTo>
                  <a:cubicBezTo>
                    <a:pt x="1741" y="785"/>
                    <a:pt x="1743" y="777"/>
                    <a:pt x="1744" y="777"/>
                  </a:cubicBezTo>
                  <a:cubicBezTo>
                    <a:pt x="1744" y="777"/>
                    <a:pt x="1743" y="773"/>
                    <a:pt x="1744" y="773"/>
                  </a:cubicBezTo>
                  <a:cubicBezTo>
                    <a:pt x="1753" y="771"/>
                    <a:pt x="1744" y="790"/>
                    <a:pt x="1741" y="784"/>
                  </a:cubicBezTo>
                  <a:close/>
                  <a:moveTo>
                    <a:pt x="1735" y="640"/>
                  </a:moveTo>
                  <a:cubicBezTo>
                    <a:pt x="1736" y="636"/>
                    <a:pt x="1735" y="634"/>
                    <a:pt x="1733" y="633"/>
                  </a:cubicBezTo>
                  <a:cubicBezTo>
                    <a:pt x="1737" y="619"/>
                    <a:pt x="1737" y="641"/>
                    <a:pt x="1744" y="636"/>
                  </a:cubicBezTo>
                  <a:cubicBezTo>
                    <a:pt x="1743" y="645"/>
                    <a:pt x="1740" y="652"/>
                    <a:pt x="1738" y="659"/>
                  </a:cubicBezTo>
                  <a:cubicBezTo>
                    <a:pt x="1734" y="667"/>
                    <a:pt x="1739" y="635"/>
                    <a:pt x="1735" y="640"/>
                  </a:cubicBezTo>
                  <a:close/>
                  <a:moveTo>
                    <a:pt x="1730" y="603"/>
                  </a:moveTo>
                  <a:cubicBezTo>
                    <a:pt x="1736" y="612"/>
                    <a:pt x="1744" y="596"/>
                    <a:pt x="1744" y="614"/>
                  </a:cubicBezTo>
                  <a:cubicBezTo>
                    <a:pt x="1739" y="611"/>
                    <a:pt x="1729" y="614"/>
                    <a:pt x="1730" y="603"/>
                  </a:cubicBezTo>
                  <a:close/>
                  <a:moveTo>
                    <a:pt x="1733" y="566"/>
                  </a:moveTo>
                  <a:cubicBezTo>
                    <a:pt x="1731" y="568"/>
                    <a:pt x="1727" y="565"/>
                    <a:pt x="1727" y="570"/>
                  </a:cubicBezTo>
                  <a:cubicBezTo>
                    <a:pt x="1723" y="568"/>
                    <a:pt x="1725" y="564"/>
                    <a:pt x="1727" y="562"/>
                  </a:cubicBezTo>
                  <a:cubicBezTo>
                    <a:pt x="1731" y="560"/>
                    <a:pt x="1741" y="559"/>
                    <a:pt x="1733" y="566"/>
                  </a:cubicBezTo>
                  <a:close/>
                  <a:moveTo>
                    <a:pt x="1727" y="688"/>
                  </a:moveTo>
                  <a:cubicBezTo>
                    <a:pt x="1726" y="695"/>
                    <a:pt x="1731" y="711"/>
                    <a:pt x="1722" y="707"/>
                  </a:cubicBezTo>
                  <a:cubicBezTo>
                    <a:pt x="1727" y="700"/>
                    <a:pt x="1722" y="687"/>
                    <a:pt x="1717" y="684"/>
                  </a:cubicBezTo>
                  <a:cubicBezTo>
                    <a:pt x="1721" y="671"/>
                    <a:pt x="1721" y="693"/>
                    <a:pt x="1727" y="688"/>
                  </a:cubicBezTo>
                  <a:close/>
                  <a:moveTo>
                    <a:pt x="1738" y="1165"/>
                  </a:moveTo>
                  <a:cubicBezTo>
                    <a:pt x="1742" y="1168"/>
                    <a:pt x="1743" y="1173"/>
                    <a:pt x="1744" y="1180"/>
                  </a:cubicBezTo>
                  <a:cubicBezTo>
                    <a:pt x="1739" y="1179"/>
                    <a:pt x="1737" y="1174"/>
                    <a:pt x="1738" y="1165"/>
                  </a:cubicBezTo>
                  <a:close/>
                  <a:moveTo>
                    <a:pt x="1757" y="1206"/>
                  </a:moveTo>
                  <a:cubicBezTo>
                    <a:pt x="1750" y="1207"/>
                    <a:pt x="1751" y="1199"/>
                    <a:pt x="1744" y="1202"/>
                  </a:cubicBezTo>
                  <a:cubicBezTo>
                    <a:pt x="1744" y="1191"/>
                    <a:pt x="1760" y="1192"/>
                    <a:pt x="1757" y="1206"/>
                  </a:cubicBezTo>
                  <a:close/>
                  <a:moveTo>
                    <a:pt x="1757" y="1235"/>
                  </a:moveTo>
                  <a:cubicBezTo>
                    <a:pt x="1760" y="1237"/>
                    <a:pt x="1763" y="1240"/>
                    <a:pt x="1762" y="1247"/>
                  </a:cubicBezTo>
                  <a:cubicBezTo>
                    <a:pt x="1753" y="1250"/>
                    <a:pt x="1753" y="1241"/>
                    <a:pt x="1757" y="1235"/>
                  </a:cubicBezTo>
                  <a:close/>
                  <a:moveTo>
                    <a:pt x="1760" y="696"/>
                  </a:moveTo>
                  <a:cubicBezTo>
                    <a:pt x="1764" y="695"/>
                    <a:pt x="1765" y="699"/>
                    <a:pt x="1762" y="699"/>
                  </a:cubicBezTo>
                  <a:cubicBezTo>
                    <a:pt x="1763" y="709"/>
                    <a:pt x="1767" y="711"/>
                    <a:pt x="1762" y="718"/>
                  </a:cubicBezTo>
                  <a:cubicBezTo>
                    <a:pt x="1756" y="717"/>
                    <a:pt x="1761" y="702"/>
                    <a:pt x="1760" y="696"/>
                  </a:cubicBezTo>
                  <a:close/>
                  <a:moveTo>
                    <a:pt x="1706" y="640"/>
                  </a:moveTo>
                  <a:cubicBezTo>
                    <a:pt x="1711" y="640"/>
                    <a:pt x="1705" y="656"/>
                    <a:pt x="1698" y="651"/>
                  </a:cubicBezTo>
                  <a:cubicBezTo>
                    <a:pt x="1698" y="644"/>
                    <a:pt x="1707" y="649"/>
                    <a:pt x="1706" y="640"/>
                  </a:cubicBezTo>
                  <a:close/>
                  <a:moveTo>
                    <a:pt x="1698" y="540"/>
                  </a:moveTo>
                  <a:cubicBezTo>
                    <a:pt x="1699" y="533"/>
                    <a:pt x="1701" y="543"/>
                    <a:pt x="1700" y="548"/>
                  </a:cubicBezTo>
                  <a:cubicBezTo>
                    <a:pt x="1700" y="555"/>
                    <a:pt x="1697" y="545"/>
                    <a:pt x="1698" y="540"/>
                  </a:cubicBezTo>
                  <a:close/>
                  <a:moveTo>
                    <a:pt x="1698" y="200"/>
                  </a:moveTo>
                  <a:cubicBezTo>
                    <a:pt x="1700" y="200"/>
                    <a:pt x="1701" y="200"/>
                    <a:pt x="1703" y="200"/>
                  </a:cubicBezTo>
                  <a:cubicBezTo>
                    <a:pt x="1704" y="210"/>
                    <a:pt x="1683" y="199"/>
                    <a:pt x="1698" y="200"/>
                  </a:cubicBezTo>
                  <a:close/>
                  <a:moveTo>
                    <a:pt x="1684" y="566"/>
                  </a:moveTo>
                  <a:cubicBezTo>
                    <a:pt x="1684" y="560"/>
                    <a:pt x="1699" y="560"/>
                    <a:pt x="1695" y="570"/>
                  </a:cubicBezTo>
                  <a:cubicBezTo>
                    <a:pt x="1690" y="570"/>
                    <a:pt x="1689" y="565"/>
                    <a:pt x="1684" y="566"/>
                  </a:cubicBezTo>
                  <a:close/>
                  <a:moveTo>
                    <a:pt x="1692" y="622"/>
                  </a:moveTo>
                  <a:cubicBezTo>
                    <a:pt x="1692" y="624"/>
                    <a:pt x="1692" y="627"/>
                    <a:pt x="1692" y="629"/>
                  </a:cubicBezTo>
                  <a:cubicBezTo>
                    <a:pt x="1691" y="629"/>
                    <a:pt x="1689" y="629"/>
                    <a:pt x="1687" y="629"/>
                  </a:cubicBezTo>
                  <a:cubicBezTo>
                    <a:pt x="1687" y="627"/>
                    <a:pt x="1687" y="624"/>
                    <a:pt x="1687" y="622"/>
                  </a:cubicBezTo>
                  <a:cubicBezTo>
                    <a:pt x="1689" y="622"/>
                    <a:pt x="1691" y="622"/>
                    <a:pt x="1692" y="622"/>
                  </a:cubicBezTo>
                  <a:close/>
                  <a:moveTo>
                    <a:pt x="1690" y="63"/>
                  </a:moveTo>
                  <a:cubicBezTo>
                    <a:pt x="1699" y="70"/>
                    <a:pt x="1686" y="73"/>
                    <a:pt x="1684" y="71"/>
                  </a:cubicBezTo>
                  <a:cubicBezTo>
                    <a:pt x="1683" y="69"/>
                    <a:pt x="1691" y="66"/>
                    <a:pt x="1690" y="63"/>
                  </a:cubicBezTo>
                  <a:close/>
                  <a:moveTo>
                    <a:pt x="1684" y="1184"/>
                  </a:moveTo>
                  <a:cubicBezTo>
                    <a:pt x="1695" y="1183"/>
                    <a:pt x="1685" y="1187"/>
                    <a:pt x="1687" y="1195"/>
                  </a:cubicBezTo>
                  <a:cubicBezTo>
                    <a:pt x="1699" y="1195"/>
                    <a:pt x="1691" y="1186"/>
                    <a:pt x="1695" y="1180"/>
                  </a:cubicBezTo>
                  <a:cubicBezTo>
                    <a:pt x="1703" y="1180"/>
                    <a:pt x="1693" y="1203"/>
                    <a:pt x="1700" y="1202"/>
                  </a:cubicBezTo>
                  <a:cubicBezTo>
                    <a:pt x="1696" y="1213"/>
                    <a:pt x="1688" y="1197"/>
                    <a:pt x="1679" y="1202"/>
                  </a:cubicBezTo>
                  <a:cubicBezTo>
                    <a:pt x="1680" y="1195"/>
                    <a:pt x="1687" y="1196"/>
                    <a:pt x="1684" y="1184"/>
                  </a:cubicBezTo>
                  <a:close/>
                  <a:moveTo>
                    <a:pt x="1671" y="185"/>
                  </a:moveTo>
                  <a:cubicBezTo>
                    <a:pt x="1677" y="183"/>
                    <a:pt x="1681" y="207"/>
                    <a:pt x="1671" y="204"/>
                  </a:cubicBezTo>
                  <a:cubicBezTo>
                    <a:pt x="1675" y="198"/>
                    <a:pt x="1673" y="192"/>
                    <a:pt x="1666" y="193"/>
                  </a:cubicBezTo>
                  <a:cubicBezTo>
                    <a:pt x="1666" y="189"/>
                    <a:pt x="1671" y="190"/>
                    <a:pt x="1671" y="185"/>
                  </a:cubicBezTo>
                  <a:close/>
                  <a:moveTo>
                    <a:pt x="1668" y="215"/>
                  </a:moveTo>
                  <a:cubicBezTo>
                    <a:pt x="1676" y="215"/>
                    <a:pt x="1674" y="209"/>
                    <a:pt x="1679" y="215"/>
                  </a:cubicBezTo>
                  <a:cubicBezTo>
                    <a:pt x="1678" y="218"/>
                    <a:pt x="1676" y="221"/>
                    <a:pt x="1676" y="226"/>
                  </a:cubicBezTo>
                  <a:cubicBezTo>
                    <a:pt x="1668" y="229"/>
                    <a:pt x="1673" y="214"/>
                    <a:pt x="1666" y="215"/>
                  </a:cubicBezTo>
                  <a:cubicBezTo>
                    <a:pt x="1660" y="212"/>
                    <a:pt x="1668" y="209"/>
                    <a:pt x="1668" y="215"/>
                  </a:cubicBezTo>
                  <a:close/>
                  <a:moveTo>
                    <a:pt x="1668" y="237"/>
                  </a:moveTo>
                  <a:cubicBezTo>
                    <a:pt x="1669" y="234"/>
                    <a:pt x="1671" y="233"/>
                    <a:pt x="1671" y="230"/>
                  </a:cubicBezTo>
                  <a:cubicBezTo>
                    <a:pt x="1674" y="231"/>
                    <a:pt x="1676" y="234"/>
                    <a:pt x="1676" y="241"/>
                  </a:cubicBezTo>
                  <a:cubicBezTo>
                    <a:pt x="1672" y="242"/>
                    <a:pt x="1672" y="237"/>
                    <a:pt x="1668" y="237"/>
                  </a:cubicBezTo>
                  <a:close/>
                  <a:moveTo>
                    <a:pt x="1676" y="692"/>
                  </a:moveTo>
                  <a:cubicBezTo>
                    <a:pt x="1676" y="694"/>
                    <a:pt x="1676" y="697"/>
                    <a:pt x="1676" y="699"/>
                  </a:cubicBezTo>
                  <a:cubicBezTo>
                    <a:pt x="1675" y="699"/>
                    <a:pt x="1673" y="699"/>
                    <a:pt x="1671" y="699"/>
                  </a:cubicBezTo>
                  <a:cubicBezTo>
                    <a:pt x="1671" y="697"/>
                    <a:pt x="1671" y="694"/>
                    <a:pt x="1671" y="692"/>
                  </a:cubicBezTo>
                  <a:cubicBezTo>
                    <a:pt x="1673" y="692"/>
                    <a:pt x="1675" y="692"/>
                    <a:pt x="1676" y="692"/>
                  </a:cubicBezTo>
                  <a:close/>
                  <a:moveTo>
                    <a:pt x="1668" y="648"/>
                  </a:moveTo>
                  <a:cubicBezTo>
                    <a:pt x="1660" y="661"/>
                    <a:pt x="1659" y="636"/>
                    <a:pt x="1668" y="648"/>
                  </a:cubicBezTo>
                  <a:close/>
                  <a:moveTo>
                    <a:pt x="1663" y="1162"/>
                  </a:moveTo>
                  <a:cubicBezTo>
                    <a:pt x="1661" y="1161"/>
                    <a:pt x="1660" y="1163"/>
                    <a:pt x="1660" y="1165"/>
                  </a:cubicBezTo>
                  <a:cubicBezTo>
                    <a:pt x="1657" y="1165"/>
                    <a:pt x="1658" y="1159"/>
                    <a:pt x="1657" y="1154"/>
                  </a:cubicBezTo>
                  <a:cubicBezTo>
                    <a:pt x="1662" y="1153"/>
                    <a:pt x="1663" y="1157"/>
                    <a:pt x="1663" y="1162"/>
                  </a:cubicBezTo>
                  <a:close/>
                  <a:moveTo>
                    <a:pt x="1655" y="233"/>
                  </a:moveTo>
                  <a:cubicBezTo>
                    <a:pt x="1658" y="234"/>
                    <a:pt x="1657" y="241"/>
                    <a:pt x="1660" y="241"/>
                  </a:cubicBezTo>
                  <a:cubicBezTo>
                    <a:pt x="1659" y="251"/>
                    <a:pt x="1652" y="241"/>
                    <a:pt x="1655" y="233"/>
                  </a:cubicBezTo>
                  <a:close/>
                  <a:moveTo>
                    <a:pt x="1671" y="1254"/>
                  </a:moveTo>
                  <a:cubicBezTo>
                    <a:pt x="1670" y="1260"/>
                    <a:pt x="1673" y="1261"/>
                    <a:pt x="1676" y="1261"/>
                  </a:cubicBezTo>
                  <a:cubicBezTo>
                    <a:pt x="1675" y="1272"/>
                    <a:pt x="1668" y="1261"/>
                    <a:pt x="1666" y="1261"/>
                  </a:cubicBezTo>
                  <a:cubicBezTo>
                    <a:pt x="1660" y="1262"/>
                    <a:pt x="1659" y="1268"/>
                    <a:pt x="1652" y="1269"/>
                  </a:cubicBezTo>
                  <a:cubicBezTo>
                    <a:pt x="1652" y="1259"/>
                    <a:pt x="1660" y="1259"/>
                    <a:pt x="1663" y="1254"/>
                  </a:cubicBezTo>
                  <a:cubicBezTo>
                    <a:pt x="1662" y="1250"/>
                    <a:pt x="1658" y="1251"/>
                    <a:pt x="1655" y="1250"/>
                  </a:cubicBezTo>
                  <a:cubicBezTo>
                    <a:pt x="1652" y="1253"/>
                    <a:pt x="1652" y="1259"/>
                    <a:pt x="1647" y="1258"/>
                  </a:cubicBezTo>
                  <a:cubicBezTo>
                    <a:pt x="1643" y="1243"/>
                    <a:pt x="1655" y="1249"/>
                    <a:pt x="1655" y="1239"/>
                  </a:cubicBezTo>
                  <a:cubicBezTo>
                    <a:pt x="1657" y="1239"/>
                    <a:pt x="1657" y="1241"/>
                    <a:pt x="1657" y="1243"/>
                  </a:cubicBezTo>
                  <a:cubicBezTo>
                    <a:pt x="1662" y="1251"/>
                    <a:pt x="1679" y="1244"/>
                    <a:pt x="1684" y="1250"/>
                  </a:cubicBezTo>
                  <a:cubicBezTo>
                    <a:pt x="1683" y="1254"/>
                    <a:pt x="1678" y="1264"/>
                    <a:pt x="1687" y="1261"/>
                  </a:cubicBezTo>
                  <a:cubicBezTo>
                    <a:pt x="1680" y="1282"/>
                    <a:pt x="1683" y="1249"/>
                    <a:pt x="1671" y="1254"/>
                  </a:cubicBezTo>
                  <a:close/>
                  <a:moveTo>
                    <a:pt x="1690" y="1258"/>
                  </a:moveTo>
                  <a:cubicBezTo>
                    <a:pt x="1680" y="1250"/>
                    <a:pt x="1696" y="1247"/>
                    <a:pt x="1698" y="1243"/>
                  </a:cubicBezTo>
                  <a:cubicBezTo>
                    <a:pt x="1700" y="1242"/>
                    <a:pt x="1700" y="1244"/>
                    <a:pt x="1700" y="1247"/>
                  </a:cubicBezTo>
                  <a:cubicBezTo>
                    <a:pt x="1701" y="1252"/>
                    <a:pt x="1707" y="1250"/>
                    <a:pt x="1711" y="1250"/>
                  </a:cubicBezTo>
                  <a:cubicBezTo>
                    <a:pt x="1719" y="1260"/>
                    <a:pt x="1690" y="1248"/>
                    <a:pt x="1690" y="1258"/>
                  </a:cubicBezTo>
                  <a:close/>
                  <a:moveTo>
                    <a:pt x="1700" y="1273"/>
                  </a:moveTo>
                  <a:cubicBezTo>
                    <a:pt x="1697" y="1273"/>
                    <a:pt x="1697" y="1260"/>
                    <a:pt x="1706" y="1261"/>
                  </a:cubicBezTo>
                  <a:cubicBezTo>
                    <a:pt x="1705" y="1263"/>
                    <a:pt x="1702" y="1272"/>
                    <a:pt x="1700" y="1273"/>
                  </a:cubicBezTo>
                  <a:close/>
                  <a:moveTo>
                    <a:pt x="1730" y="1298"/>
                  </a:moveTo>
                  <a:cubicBezTo>
                    <a:pt x="1728" y="1299"/>
                    <a:pt x="1726" y="1312"/>
                    <a:pt x="1717" y="1306"/>
                  </a:cubicBezTo>
                  <a:cubicBezTo>
                    <a:pt x="1716" y="1305"/>
                    <a:pt x="1718" y="1295"/>
                    <a:pt x="1717" y="1295"/>
                  </a:cubicBezTo>
                  <a:cubicBezTo>
                    <a:pt x="1712" y="1293"/>
                    <a:pt x="1709" y="1301"/>
                    <a:pt x="1703" y="1298"/>
                  </a:cubicBezTo>
                  <a:cubicBezTo>
                    <a:pt x="1701" y="1288"/>
                    <a:pt x="1709" y="1291"/>
                    <a:pt x="1709" y="1284"/>
                  </a:cubicBezTo>
                  <a:cubicBezTo>
                    <a:pt x="1711" y="1283"/>
                    <a:pt x="1713" y="1291"/>
                    <a:pt x="1714" y="1291"/>
                  </a:cubicBezTo>
                  <a:cubicBezTo>
                    <a:pt x="1716" y="1292"/>
                    <a:pt x="1720" y="1286"/>
                    <a:pt x="1725" y="1287"/>
                  </a:cubicBezTo>
                  <a:cubicBezTo>
                    <a:pt x="1725" y="1287"/>
                    <a:pt x="1725" y="1295"/>
                    <a:pt x="1725" y="1295"/>
                  </a:cubicBezTo>
                  <a:cubicBezTo>
                    <a:pt x="1727" y="1295"/>
                    <a:pt x="1732" y="1290"/>
                    <a:pt x="1733" y="1287"/>
                  </a:cubicBezTo>
                  <a:cubicBezTo>
                    <a:pt x="1736" y="1290"/>
                    <a:pt x="1738" y="1295"/>
                    <a:pt x="1738" y="1302"/>
                  </a:cubicBezTo>
                  <a:cubicBezTo>
                    <a:pt x="1735" y="1306"/>
                    <a:pt x="1730" y="1298"/>
                    <a:pt x="1730" y="1298"/>
                  </a:cubicBezTo>
                  <a:close/>
                  <a:moveTo>
                    <a:pt x="1735" y="1324"/>
                  </a:moveTo>
                  <a:cubicBezTo>
                    <a:pt x="1733" y="1314"/>
                    <a:pt x="1741" y="1320"/>
                    <a:pt x="1744" y="1317"/>
                  </a:cubicBezTo>
                  <a:cubicBezTo>
                    <a:pt x="1748" y="1311"/>
                    <a:pt x="1745" y="1318"/>
                    <a:pt x="1752" y="1324"/>
                  </a:cubicBezTo>
                  <a:cubicBezTo>
                    <a:pt x="1751" y="1331"/>
                    <a:pt x="1743" y="1320"/>
                    <a:pt x="1735" y="1324"/>
                  </a:cubicBezTo>
                  <a:close/>
                  <a:moveTo>
                    <a:pt x="1752" y="1302"/>
                  </a:moveTo>
                  <a:cubicBezTo>
                    <a:pt x="1750" y="1302"/>
                    <a:pt x="1748" y="1302"/>
                    <a:pt x="1746" y="1302"/>
                  </a:cubicBezTo>
                  <a:cubicBezTo>
                    <a:pt x="1746" y="1300"/>
                    <a:pt x="1746" y="1297"/>
                    <a:pt x="1746" y="1295"/>
                  </a:cubicBezTo>
                  <a:cubicBezTo>
                    <a:pt x="1748" y="1295"/>
                    <a:pt x="1750" y="1295"/>
                    <a:pt x="1752" y="1295"/>
                  </a:cubicBezTo>
                  <a:cubicBezTo>
                    <a:pt x="1752" y="1297"/>
                    <a:pt x="1752" y="1300"/>
                    <a:pt x="1752" y="1302"/>
                  </a:cubicBezTo>
                  <a:close/>
                  <a:moveTo>
                    <a:pt x="1757" y="1269"/>
                  </a:moveTo>
                  <a:cubicBezTo>
                    <a:pt x="1752" y="1270"/>
                    <a:pt x="1754" y="1261"/>
                    <a:pt x="1752" y="1258"/>
                  </a:cubicBezTo>
                  <a:cubicBezTo>
                    <a:pt x="1750" y="1255"/>
                    <a:pt x="1745" y="1256"/>
                    <a:pt x="1744" y="1254"/>
                  </a:cubicBezTo>
                  <a:cubicBezTo>
                    <a:pt x="1741" y="1251"/>
                    <a:pt x="1742" y="1244"/>
                    <a:pt x="1738" y="1243"/>
                  </a:cubicBezTo>
                  <a:cubicBezTo>
                    <a:pt x="1741" y="1233"/>
                    <a:pt x="1749" y="1245"/>
                    <a:pt x="1746" y="1254"/>
                  </a:cubicBezTo>
                  <a:cubicBezTo>
                    <a:pt x="1753" y="1249"/>
                    <a:pt x="1756" y="1252"/>
                    <a:pt x="1762" y="1254"/>
                  </a:cubicBezTo>
                  <a:cubicBezTo>
                    <a:pt x="1762" y="1261"/>
                    <a:pt x="1755" y="1259"/>
                    <a:pt x="1757" y="1269"/>
                  </a:cubicBezTo>
                  <a:close/>
                  <a:moveTo>
                    <a:pt x="1762" y="1269"/>
                  </a:moveTo>
                  <a:cubicBezTo>
                    <a:pt x="1767" y="1261"/>
                    <a:pt x="1772" y="1268"/>
                    <a:pt x="1768" y="1254"/>
                  </a:cubicBezTo>
                  <a:cubicBezTo>
                    <a:pt x="1777" y="1256"/>
                    <a:pt x="1773" y="1273"/>
                    <a:pt x="1762" y="1269"/>
                  </a:cubicBezTo>
                  <a:close/>
                  <a:moveTo>
                    <a:pt x="1773" y="1210"/>
                  </a:moveTo>
                  <a:cubicBezTo>
                    <a:pt x="1771" y="1207"/>
                    <a:pt x="1767" y="1206"/>
                    <a:pt x="1762" y="1206"/>
                  </a:cubicBezTo>
                  <a:cubicBezTo>
                    <a:pt x="1762" y="1199"/>
                    <a:pt x="1777" y="1199"/>
                    <a:pt x="1773" y="1210"/>
                  </a:cubicBezTo>
                  <a:close/>
                  <a:moveTo>
                    <a:pt x="1776" y="241"/>
                  </a:moveTo>
                  <a:cubicBezTo>
                    <a:pt x="1771" y="240"/>
                    <a:pt x="1770" y="245"/>
                    <a:pt x="1765" y="244"/>
                  </a:cubicBezTo>
                  <a:cubicBezTo>
                    <a:pt x="1765" y="241"/>
                    <a:pt x="1765" y="237"/>
                    <a:pt x="1765" y="233"/>
                  </a:cubicBezTo>
                  <a:cubicBezTo>
                    <a:pt x="1768" y="238"/>
                    <a:pt x="1778" y="235"/>
                    <a:pt x="1778" y="244"/>
                  </a:cubicBezTo>
                  <a:cubicBezTo>
                    <a:pt x="1777" y="250"/>
                    <a:pt x="1776" y="245"/>
                    <a:pt x="1776" y="241"/>
                  </a:cubicBezTo>
                  <a:close/>
                  <a:moveTo>
                    <a:pt x="1776" y="1206"/>
                  </a:moveTo>
                  <a:cubicBezTo>
                    <a:pt x="1777" y="1201"/>
                    <a:pt x="1782" y="1203"/>
                    <a:pt x="1787" y="1202"/>
                  </a:cubicBezTo>
                  <a:cubicBezTo>
                    <a:pt x="1787" y="1200"/>
                    <a:pt x="1787" y="1197"/>
                    <a:pt x="1787" y="1195"/>
                  </a:cubicBezTo>
                  <a:cubicBezTo>
                    <a:pt x="1789" y="1194"/>
                    <a:pt x="1789" y="1196"/>
                    <a:pt x="1789" y="1199"/>
                  </a:cubicBezTo>
                  <a:cubicBezTo>
                    <a:pt x="1789" y="1207"/>
                    <a:pt x="1799" y="1200"/>
                    <a:pt x="1803" y="1202"/>
                  </a:cubicBezTo>
                  <a:cubicBezTo>
                    <a:pt x="1805" y="1202"/>
                    <a:pt x="1805" y="1198"/>
                    <a:pt x="1805" y="1195"/>
                  </a:cubicBezTo>
                  <a:cubicBezTo>
                    <a:pt x="1808" y="1197"/>
                    <a:pt x="1810" y="1199"/>
                    <a:pt x="1811" y="1195"/>
                  </a:cubicBezTo>
                  <a:cubicBezTo>
                    <a:pt x="1814" y="1194"/>
                    <a:pt x="1812" y="1201"/>
                    <a:pt x="1813" y="1202"/>
                  </a:cubicBezTo>
                  <a:cubicBezTo>
                    <a:pt x="1817" y="1206"/>
                    <a:pt x="1827" y="1196"/>
                    <a:pt x="1824" y="1210"/>
                  </a:cubicBezTo>
                  <a:cubicBezTo>
                    <a:pt x="1818" y="1204"/>
                    <a:pt x="1813" y="1210"/>
                    <a:pt x="1805" y="1210"/>
                  </a:cubicBezTo>
                  <a:cubicBezTo>
                    <a:pt x="1797" y="1209"/>
                    <a:pt x="1787" y="1203"/>
                    <a:pt x="1776" y="1206"/>
                  </a:cubicBezTo>
                  <a:close/>
                  <a:moveTo>
                    <a:pt x="1797" y="1225"/>
                  </a:moveTo>
                  <a:cubicBezTo>
                    <a:pt x="1805" y="1211"/>
                    <a:pt x="1806" y="1236"/>
                    <a:pt x="1797" y="1225"/>
                  </a:cubicBezTo>
                  <a:close/>
                  <a:moveTo>
                    <a:pt x="1787" y="1276"/>
                  </a:moveTo>
                  <a:cubicBezTo>
                    <a:pt x="1782" y="1273"/>
                    <a:pt x="1780" y="1266"/>
                    <a:pt x="1784" y="1261"/>
                  </a:cubicBezTo>
                  <a:cubicBezTo>
                    <a:pt x="1792" y="1265"/>
                    <a:pt x="1787" y="1267"/>
                    <a:pt x="1787" y="1276"/>
                  </a:cubicBezTo>
                  <a:close/>
                  <a:moveTo>
                    <a:pt x="1778" y="1258"/>
                  </a:moveTo>
                  <a:cubicBezTo>
                    <a:pt x="1779" y="1254"/>
                    <a:pt x="1782" y="1255"/>
                    <a:pt x="1784" y="1254"/>
                  </a:cubicBezTo>
                  <a:cubicBezTo>
                    <a:pt x="1787" y="1254"/>
                    <a:pt x="1789" y="1254"/>
                    <a:pt x="1792" y="1254"/>
                  </a:cubicBezTo>
                  <a:cubicBezTo>
                    <a:pt x="1792" y="1262"/>
                    <a:pt x="1782" y="1256"/>
                    <a:pt x="1778" y="1258"/>
                  </a:cubicBezTo>
                  <a:close/>
                  <a:moveTo>
                    <a:pt x="1800" y="1276"/>
                  </a:moveTo>
                  <a:cubicBezTo>
                    <a:pt x="1795" y="1276"/>
                    <a:pt x="1798" y="1264"/>
                    <a:pt x="1792" y="1265"/>
                  </a:cubicBezTo>
                  <a:cubicBezTo>
                    <a:pt x="1792" y="1261"/>
                    <a:pt x="1797" y="1262"/>
                    <a:pt x="1800" y="1261"/>
                  </a:cubicBezTo>
                  <a:cubicBezTo>
                    <a:pt x="1796" y="1256"/>
                    <a:pt x="1790" y="1252"/>
                    <a:pt x="1792" y="1239"/>
                  </a:cubicBezTo>
                  <a:cubicBezTo>
                    <a:pt x="1802" y="1236"/>
                    <a:pt x="1800" y="1269"/>
                    <a:pt x="1805" y="1261"/>
                  </a:cubicBezTo>
                  <a:cubicBezTo>
                    <a:pt x="1816" y="1270"/>
                    <a:pt x="1796" y="1265"/>
                    <a:pt x="1800" y="1276"/>
                  </a:cubicBezTo>
                  <a:close/>
                  <a:moveTo>
                    <a:pt x="1811" y="1221"/>
                  </a:moveTo>
                  <a:cubicBezTo>
                    <a:pt x="1811" y="1208"/>
                    <a:pt x="1820" y="1229"/>
                    <a:pt x="1819" y="1217"/>
                  </a:cubicBezTo>
                  <a:cubicBezTo>
                    <a:pt x="1820" y="1216"/>
                    <a:pt x="1822" y="1224"/>
                    <a:pt x="1822" y="1225"/>
                  </a:cubicBezTo>
                  <a:cubicBezTo>
                    <a:pt x="1821" y="1225"/>
                    <a:pt x="1816" y="1223"/>
                    <a:pt x="1816" y="1225"/>
                  </a:cubicBezTo>
                  <a:cubicBezTo>
                    <a:pt x="1814" y="1232"/>
                    <a:pt x="1814" y="1235"/>
                    <a:pt x="1813" y="1243"/>
                  </a:cubicBezTo>
                  <a:cubicBezTo>
                    <a:pt x="1801" y="1236"/>
                    <a:pt x="1818" y="1227"/>
                    <a:pt x="1811" y="1221"/>
                  </a:cubicBezTo>
                  <a:close/>
                  <a:moveTo>
                    <a:pt x="1811" y="1254"/>
                  </a:moveTo>
                  <a:cubicBezTo>
                    <a:pt x="1806" y="1252"/>
                    <a:pt x="1814" y="1248"/>
                    <a:pt x="1813" y="1254"/>
                  </a:cubicBezTo>
                  <a:cubicBezTo>
                    <a:pt x="1820" y="1254"/>
                    <a:pt x="1822" y="1247"/>
                    <a:pt x="1827" y="1254"/>
                  </a:cubicBezTo>
                  <a:cubicBezTo>
                    <a:pt x="1825" y="1264"/>
                    <a:pt x="1824" y="1275"/>
                    <a:pt x="1813" y="1273"/>
                  </a:cubicBezTo>
                  <a:cubicBezTo>
                    <a:pt x="1812" y="1267"/>
                    <a:pt x="1817" y="1253"/>
                    <a:pt x="1811" y="1254"/>
                  </a:cubicBezTo>
                  <a:close/>
                  <a:moveTo>
                    <a:pt x="1827" y="1295"/>
                  </a:moveTo>
                  <a:cubicBezTo>
                    <a:pt x="1820" y="1296"/>
                    <a:pt x="1821" y="1288"/>
                    <a:pt x="1813" y="1291"/>
                  </a:cubicBezTo>
                  <a:cubicBezTo>
                    <a:pt x="1813" y="1285"/>
                    <a:pt x="1831" y="1284"/>
                    <a:pt x="1827" y="1295"/>
                  </a:cubicBezTo>
                  <a:close/>
                  <a:moveTo>
                    <a:pt x="1835" y="1306"/>
                  </a:moveTo>
                  <a:cubicBezTo>
                    <a:pt x="1832" y="1305"/>
                    <a:pt x="1833" y="1299"/>
                    <a:pt x="1832" y="1295"/>
                  </a:cubicBezTo>
                  <a:cubicBezTo>
                    <a:pt x="1837" y="1293"/>
                    <a:pt x="1837" y="1298"/>
                    <a:pt x="1838" y="1302"/>
                  </a:cubicBezTo>
                  <a:cubicBezTo>
                    <a:pt x="1835" y="1301"/>
                    <a:pt x="1835" y="1304"/>
                    <a:pt x="1835" y="1306"/>
                  </a:cubicBezTo>
                  <a:close/>
                  <a:moveTo>
                    <a:pt x="1843" y="1269"/>
                  </a:moveTo>
                  <a:cubicBezTo>
                    <a:pt x="1842" y="1282"/>
                    <a:pt x="1831" y="1262"/>
                    <a:pt x="1832" y="1273"/>
                  </a:cubicBezTo>
                  <a:cubicBezTo>
                    <a:pt x="1823" y="1272"/>
                    <a:pt x="1838" y="1260"/>
                    <a:pt x="1830" y="1261"/>
                  </a:cubicBezTo>
                  <a:cubicBezTo>
                    <a:pt x="1829" y="1256"/>
                    <a:pt x="1845" y="1257"/>
                    <a:pt x="1835" y="1250"/>
                  </a:cubicBezTo>
                  <a:cubicBezTo>
                    <a:pt x="1837" y="1245"/>
                    <a:pt x="1839" y="1251"/>
                    <a:pt x="1846" y="1247"/>
                  </a:cubicBezTo>
                  <a:cubicBezTo>
                    <a:pt x="1846" y="1251"/>
                    <a:pt x="1845" y="1253"/>
                    <a:pt x="1843" y="1254"/>
                  </a:cubicBezTo>
                  <a:cubicBezTo>
                    <a:pt x="1843" y="1258"/>
                    <a:pt x="1846" y="1257"/>
                    <a:pt x="1848" y="1258"/>
                  </a:cubicBezTo>
                  <a:cubicBezTo>
                    <a:pt x="1847" y="1262"/>
                    <a:pt x="1828" y="1265"/>
                    <a:pt x="1843" y="1269"/>
                  </a:cubicBezTo>
                  <a:close/>
                  <a:moveTo>
                    <a:pt x="1862" y="1309"/>
                  </a:moveTo>
                  <a:cubicBezTo>
                    <a:pt x="1861" y="1311"/>
                    <a:pt x="1859" y="1300"/>
                    <a:pt x="1856" y="1302"/>
                  </a:cubicBezTo>
                  <a:cubicBezTo>
                    <a:pt x="1861" y="1290"/>
                    <a:pt x="1864" y="1307"/>
                    <a:pt x="1862" y="1309"/>
                  </a:cubicBezTo>
                  <a:close/>
                  <a:moveTo>
                    <a:pt x="1867" y="1273"/>
                  </a:moveTo>
                  <a:cubicBezTo>
                    <a:pt x="1862" y="1276"/>
                    <a:pt x="1856" y="1279"/>
                    <a:pt x="1854" y="1287"/>
                  </a:cubicBezTo>
                  <a:cubicBezTo>
                    <a:pt x="1845" y="1279"/>
                    <a:pt x="1860" y="1274"/>
                    <a:pt x="1859" y="1265"/>
                  </a:cubicBezTo>
                  <a:cubicBezTo>
                    <a:pt x="1859" y="1261"/>
                    <a:pt x="1854" y="1262"/>
                    <a:pt x="1851" y="1261"/>
                  </a:cubicBezTo>
                  <a:cubicBezTo>
                    <a:pt x="1853" y="1256"/>
                    <a:pt x="1857" y="1255"/>
                    <a:pt x="1862" y="1254"/>
                  </a:cubicBezTo>
                  <a:cubicBezTo>
                    <a:pt x="1859" y="1249"/>
                    <a:pt x="1861" y="1248"/>
                    <a:pt x="1862" y="1243"/>
                  </a:cubicBezTo>
                  <a:cubicBezTo>
                    <a:pt x="1868" y="1242"/>
                    <a:pt x="1860" y="1260"/>
                    <a:pt x="1870" y="1254"/>
                  </a:cubicBezTo>
                  <a:cubicBezTo>
                    <a:pt x="1869" y="1259"/>
                    <a:pt x="1866" y="1262"/>
                    <a:pt x="1862" y="1261"/>
                  </a:cubicBezTo>
                  <a:cubicBezTo>
                    <a:pt x="1862" y="1269"/>
                    <a:pt x="1868" y="1262"/>
                    <a:pt x="1867" y="1261"/>
                  </a:cubicBezTo>
                  <a:cubicBezTo>
                    <a:pt x="1870" y="1263"/>
                    <a:pt x="1870" y="1271"/>
                    <a:pt x="1875" y="1269"/>
                  </a:cubicBezTo>
                  <a:cubicBezTo>
                    <a:pt x="1875" y="1273"/>
                    <a:pt x="1870" y="1272"/>
                    <a:pt x="1867" y="1273"/>
                  </a:cubicBezTo>
                  <a:close/>
                  <a:moveTo>
                    <a:pt x="1867" y="1165"/>
                  </a:moveTo>
                  <a:cubicBezTo>
                    <a:pt x="1865" y="1165"/>
                    <a:pt x="1864" y="1165"/>
                    <a:pt x="1862" y="1165"/>
                  </a:cubicBezTo>
                  <a:cubicBezTo>
                    <a:pt x="1862" y="1163"/>
                    <a:pt x="1862" y="1160"/>
                    <a:pt x="1862" y="1158"/>
                  </a:cubicBezTo>
                  <a:cubicBezTo>
                    <a:pt x="1864" y="1158"/>
                    <a:pt x="1865" y="1158"/>
                    <a:pt x="1867" y="1158"/>
                  </a:cubicBezTo>
                  <a:cubicBezTo>
                    <a:pt x="1867" y="1160"/>
                    <a:pt x="1867" y="1163"/>
                    <a:pt x="1867" y="1165"/>
                  </a:cubicBezTo>
                  <a:close/>
                  <a:moveTo>
                    <a:pt x="1873" y="1173"/>
                  </a:moveTo>
                  <a:cubicBezTo>
                    <a:pt x="1873" y="1175"/>
                    <a:pt x="1873" y="1178"/>
                    <a:pt x="1873" y="1180"/>
                  </a:cubicBezTo>
                  <a:cubicBezTo>
                    <a:pt x="1871" y="1180"/>
                    <a:pt x="1869" y="1180"/>
                    <a:pt x="1867" y="1180"/>
                  </a:cubicBezTo>
                  <a:cubicBezTo>
                    <a:pt x="1867" y="1178"/>
                    <a:pt x="1867" y="1175"/>
                    <a:pt x="1867" y="1173"/>
                  </a:cubicBezTo>
                  <a:cubicBezTo>
                    <a:pt x="1869" y="1173"/>
                    <a:pt x="1871" y="1173"/>
                    <a:pt x="1873" y="1173"/>
                  </a:cubicBezTo>
                  <a:close/>
                  <a:moveTo>
                    <a:pt x="1873" y="1191"/>
                  </a:moveTo>
                  <a:cubicBezTo>
                    <a:pt x="1871" y="1197"/>
                    <a:pt x="1870" y="1191"/>
                    <a:pt x="1870" y="1187"/>
                  </a:cubicBezTo>
                  <a:cubicBezTo>
                    <a:pt x="1867" y="1187"/>
                    <a:pt x="1865" y="1188"/>
                    <a:pt x="1865" y="1191"/>
                  </a:cubicBezTo>
                  <a:cubicBezTo>
                    <a:pt x="1854" y="1184"/>
                    <a:pt x="1875" y="1179"/>
                    <a:pt x="1873" y="1191"/>
                  </a:cubicBezTo>
                  <a:close/>
                  <a:moveTo>
                    <a:pt x="1867" y="1210"/>
                  </a:moveTo>
                  <a:cubicBezTo>
                    <a:pt x="1866" y="1192"/>
                    <a:pt x="1879" y="1201"/>
                    <a:pt x="1878" y="1213"/>
                  </a:cubicBezTo>
                  <a:cubicBezTo>
                    <a:pt x="1876" y="1211"/>
                    <a:pt x="1872" y="1209"/>
                    <a:pt x="1867" y="1210"/>
                  </a:cubicBezTo>
                  <a:close/>
                  <a:moveTo>
                    <a:pt x="1873" y="174"/>
                  </a:moveTo>
                  <a:cubicBezTo>
                    <a:pt x="1868" y="183"/>
                    <a:pt x="1863" y="171"/>
                    <a:pt x="1859" y="170"/>
                  </a:cubicBezTo>
                  <a:cubicBezTo>
                    <a:pt x="1858" y="170"/>
                    <a:pt x="1854" y="170"/>
                    <a:pt x="1854" y="170"/>
                  </a:cubicBezTo>
                  <a:cubicBezTo>
                    <a:pt x="1850" y="176"/>
                    <a:pt x="1856" y="179"/>
                    <a:pt x="1846" y="174"/>
                  </a:cubicBezTo>
                  <a:cubicBezTo>
                    <a:pt x="1843" y="185"/>
                    <a:pt x="1852" y="181"/>
                    <a:pt x="1856" y="182"/>
                  </a:cubicBezTo>
                  <a:cubicBezTo>
                    <a:pt x="1856" y="188"/>
                    <a:pt x="1848" y="184"/>
                    <a:pt x="1848" y="193"/>
                  </a:cubicBezTo>
                  <a:cubicBezTo>
                    <a:pt x="1851" y="203"/>
                    <a:pt x="1856" y="187"/>
                    <a:pt x="1859" y="196"/>
                  </a:cubicBezTo>
                  <a:cubicBezTo>
                    <a:pt x="1864" y="199"/>
                    <a:pt x="1856" y="202"/>
                    <a:pt x="1856" y="196"/>
                  </a:cubicBezTo>
                  <a:cubicBezTo>
                    <a:pt x="1854" y="196"/>
                    <a:pt x="1854" y="201"/>
                    <a:pt x="1854" y="204"/>
                  </a:cubicBezTo>
                  <a:cubicBezTo>
                    <a:pt x="1848" y="205"/>
                    <a:pt x="1847" y="201"/>
                    <a:pt x="1843" y="200"/>
                  </a:cubicBezTo>
                  <a:cubicBezTo>
                    <a:pt x="1842" y="208"/>
                    <a:pt x="1844" y="214"/>
                    <a:pt x="1848" y="215"/>
                  </a:cubicBezTo>
                  <a:cubicBezTo>
                    <a:pt x="1842" y="227"/>
                    <a:pt x="1839" y="204"/>
                    <a:pt x="1838" y="196"/>
                  </a:cubicBezTo>
                  <a:cubicBezTo>
                    <a:pt x="1847" y="195"/>
                    <a:pt x="1846" y="185"/>
                    <a:pt x="1840" y="178"/>
                  </a:cubicBezTo>
                  <a:cubicBezTo>
                    <a:pt x="1840" y="171"/>
                    <a:pt x="1848" y="173"/>
                    <a:pt x="1846" y="163"/>
                  </a:cubicBezTo>
                  <a:cubicBezTo>
                    <a:pt x="1855" y="164"/>
                    <a:pt x="1863" y="162"/>
                    <a:pt x="1870" y="159"/>
                  </a:cubicBezTo>
                  <a:cubicBezTo>
                    <a:pt x="1869" y="162"/>
                    <a:pt x="1867" y="163"/>
                    <a:pt x="1867" y="167"/>
                  </a:cubicBezTo>
                  <a:cubicBezTo>
                    <a:pt x="1871" y="170"/>
                    <a:pt x="1875" y="163"/>
                    <a:pt x="1875" y="163"/>
                  </a:cubicBezTo>
                  <a:cubicBezTo>
                    <a:pt x="1879" y="164"/>
                    <a:pt x="1876" y="169"/>
                    <a:pt x="1878" y="170"/>
                  </a:cubicBezTo>
                  <a:cubicBezTo>
                    <a:pt x="1882" y="174"/>
                    <a:pt x="1889" y="167"/>
                    <a:pt x="1883" y="167"/>
                  </a:cubicBezTo>
                  <a:cubicBezTo>
                    <a:pt x="1883" y="167"/>
                    <a:pt x="1885" y="161"/>
                    <a:pt x="1886" y="163"/>
                  </a:cubicBezTo>
                  <a:cubicBezTo>
                    <a:pt x="1888" y="166"/>
                    <a:pt x="1891" y="166"/>
                    <a:pt x="1891" y="170"/>
                  </a:cubicBezTo>
                  <a:cubicBezTo>
                    <a:pt x="1897" y="170"/>
                    <a:pt x="1888" y="161"/>
                    <a:pt x="1891" y="152"/>
                  </a:cubicBezTo>
                  <a:cubicBezTo>
                    <a:pt x="1902" y="153"/>
                    <a:pt x="1896" y="131"/>
                    <a:pt x="1908" y="133"/>
                  </a:cubicBezTo>
                  <a:cubicBezTo>
                    <a:pt x="1903" y="144"/>
                    <a:pt x="1891" y="164"/>
                    <a:pt x="1902" y="174"/>
                  </a:cubicBezTo>
                  <a:cubicBezTo>
                    <a:pt x="1897" y="182"/>
                    <a:pt x="1893" y="205"/>
                    <a:pt x="1902" y="211"/>
                  </a:cubicBezTo>
                  <a:cubicBezTo>
                    <a:pt x="1900" y="218"/>
                    <a:pt x="1893" y="224"/>
                    <a:pt x="1889" y="218"/>
                  </a:cubicBezTo>
                  <a:cubicBezTo>
                    <a:pt x="1890" y="211"/>
                    <a:pt x="1893" y="211"/>
                    <a:pt x="1897" y="215"/>
                  </a:cubicBezTo>
                  <a:cubicBezTo>
                    <a:pt x="1892" y="209"/>
                    <a:pt x="1897" y="189"/>
                    <a:pt x="1886" y="193"/>
                  </a:cubicBezTo>
                  <a:cubicBezTo>
                    <a:pt x="1887" y="188"/>
                    <a:pt x="1891" y="190"/>
                    <a:pt x="1894" y="189"/>
                  </a:cubicBezTo>
                  <a:cubicBezTo>
                    <a:pt x="1891" y="177"/>
                    <a:pt x="1886" y="188"/>
                    <a:pt x="1881" y="178"/>
                  </a:cubicBezTo>
                  <a:cubicBezTo>
                    <a:pt x="1878" y="179"/>
                    <a:pt x="1879" y="182"/>
                    <a:pt x="1881" y="182"/>
                  </a:cubicBezTo>
                  <a:cubicBezTo>
                    <a:pt x="1880" y="191"/>
                    <a:pt x="1870" y="182"/>
                    <a:pt x="1873" y="174"/>
                  </a:cubicBezTo>
                  <a:close/>
                  <a:moveTo>
                    <a:pt x="1899" y="1317"/>
                  </a:moveTo>
                  <a:cubicBezTo>
                    <a:pt x="1889" y="1322"/>
                    <a:pt x="1899" y="1300"/>
                    <a:pt x="1889" y="1306"/>
                  </a:cubicBezTo>
                  <a:cubicBezTo>
                    <a:pt x="1890" y="1301"/>
                    <a:pt x="1895" y="1303"/>
                    <a:pt x="1899" y="1302"/>
                  </a:cubicBezTo>
                  <a:cubicBezTo>
                    <a:pt x="1899" y="1307"/>
                    <a:pt x="1899" y="1312"/>
                    <a:pt x="1899" y="1317"/>
                  </a:cubicBezTo>
                  <a:close/>
                  <a:moveTo>
                    <a:pt x="1937" y="1258"/>
                  </a:moveTo>
                  <a:cubicBezTo>
                    <a:pt x="1935" y="1258"/>
                    <a:pt x="1935" y="1253"/>
                    <a:pt x="1934" y="1250"/>
                  </a:cubicBezTo>
                  <a:cubicBezTo>
                    <a:pt x="1928" y="1251"/>
                    <a:pt x="1934" y="1262"/>
                    <a:pt x="1934" y="1261"/>
                  </a:cubicBezTo>
                  <a:cubicBezTo>
                    <a:pt x="1934" y="1269"/>
                    <a:pt x="1927" y="1263"/>
                    <a:pt x="1932" y="1276"/>
                  </a:cubicBezTo>
                  <a:cubicBezTo>
                    <a:pt x="1924" y="1279"/>
                    <a:pt x="1925" y="1271"/>
                    <a:pt x="1918" y="1273"/>
                  </a:cubicBezTo>
                  <a:cubicBezTo>
                    <a:pt x="1919" y="1268"/>
                    <a:pt x="1923" y="1269"/>
                    <a:pt x="1926" y="1269"/>
                  </a:cubicBezTo>
                  <a:cubicBezTo>
                    <a:pt x="1924" y="1260"/>
                    <a:pt x="1913" y="1260"/>
                    <a:pt x="1913" y="1273"/>
                  </a:cubicBezTo>
                  <a:cubicBezTo>
                    <a:pt x="1907" y="1275"/>
                    <a:pt x="1909" y="1265"/>
                    <a:pt x="1905" y="1265"/>
                  </a:cubicBezTo>
                  <a:cubicBezTo>
                    <a:pt x="1902" y="1266"/>
                    <a:pt x="1903" y="1269"/>
                    <a:pt x="1905" y="1269"/>
                  </a:cubicBezTo>
                  <a:cubicBezTo>
                    <a:pt x="1904" y="1279"/>
                    <a:pt x="1886" y="1266"/>
                    <a:pt x="1886" y="1276"/>
                  </a:cubicBezTo>
                  <a:cubicBezTo>
                    <a:pt x="1882" y="1275"/>
                    <a:pt x="1885" y="1265"/>
                    <a:pt x="1881" y="1265"/>
                  </a:cubicBezTo>
                  <a:cubicBezTo>
                    <a:pt x="1880" y="1258"/>
                    <a:pt x="1886" y="1261"/>
                    <a:pt x="1889" y="1258"/>
                  </a:cubicBezTo>
                  <a:cubicBezTo>
                    <a:pt x="1890" y="1256"/>
                    <a:pt x="1890" y="1242"/>
                    <a:pt x="1897" y="1247"/>
                  </a:cubicBezTo>
                  <a:cubicBezTo>
                    <a:pt x="1897" y="1257"/>
                    <a:pt x="1891" y="1260"/>
                    <a:pt x="1886" y="1265"/>
                  </a:cubicBezTo>
                  <a:cubicBezTo>
                    <a:pt x="1886" y="1273"/>
                    <a:pt x="1896" y="1267"/>
                    <a:pt x="1899" y="1269"/>
                  </a:cubicBezTo>
                  <a:cubicBezTo>
                    <a:pt x="1899" y="1265"/>
                    <a:pt x="1896" y="1266"/>
                    <a:pt x="1894" y="1265"/>
                  </a:cubicBezTo>
                  <a:cubicBezTo>
                    <a:pt x="1894" y="1262"/>
                    <a:pt x="1897" y="1262"/>
                    <a:pt x="1899" y="1261"/>
                  </a:cubicBezTo>
                  <a:cubicBezTo>
                    <a:pt x="1898" y="1254"/>
                    <a:pt x="1901" y="1252"/>
                    <a:pt x="1902" y="1247"/>
                  </a:cubicBezTo>
                  <a:cubicBezTo>
                    <a:pt x="1906" y="1247"/>
                    <a:pt x="1903" y="1258"/>
                    <a:pt x="1908" y="1258"/>
                  </a:cubicBezTo>
                  <a:cubicBezTo>
                    <a:pt x="1912" y="1258"/>
                    <a:pt x="1910" y="1230"/>
                    <a:pt x="1913" y="1250"/>
                  </a:cubicBezTo>
                  <a:cubicBezTo>
                    <a:pt x="1915" y="1255"/>
                    <a:pt x="1919" y="1257"/>
                    <a:pt x="1924" y="1258"/>
                  </a:cubicBezTo>
                  <a:cubicBezTo>
                    <a:pt x="1928" y="1254"/>
                    <a:pt x="1929" y="1246"/>
                    <a:pt x="1937" y="1247"/>
                  </a:cubicBezTo>
                  <a:cubicBezTo>
                    <a:pt x="1937" y="1250"/>
                    <a:pt x="1937" y="1254"/>
                    <a:pt x="1937" y="1258"/>
                  </a:cubicBezTo>
                  <a:close/>
                  <a:moveTo>
                    <a:pt x="1945" y="1217"/>
                  </a:moveTo>
                  <a:cubicBezTo>
                    <a:pt x="1942" y="1212"/>
                    <a:pt x="1944" y="1218"/>
                    <a:pt x="1940" y="1217"/>
                  </a:cubicBezTo>
                  <a:cubicBezTo>
                    <a:pt x="1937" y="1217"/>
                    <a:pt x="1934" y="1210"/>
                    <a:pt x="1932" y="1221"/>
                  </a:cubicBezTo>
                  <a:cubicBezTo>
                    <a:pt x="1929" y="1221"/>
                    <a:pt x="1930" y="1216"/>
                    <a:pt x="1929" y="1213"/>
                  </a:cubicBezTo>
                  <a:cubicBezTo>
                    <a:pt x="1925" y="1213"/>
                    <a:pt x="1920" y="1213"/>
                    <a:pt x="1916" y="1213"/>
                  </a:cubicBezTo>
                  <a:cubicBezTo>
                    <a:pt x="1913" y="1216"/>
                    <a:pt x="1913" y="1222"/>
                    <a:pt x="1908" y="1221"/>
                  </a:cubicBezTo>
                  <a:cubicBezTo>
                    <a:pt x="1912" y="1208"/>
                    <a:pt x="1900" y="1217"/>
                    <a:pt x="1894" y="1213"/>
                  </a:cubicBezTo>
                  <a:cubicBezTo>
                    <a:pt x="1892" y="1212"/>
                    <a:pt x="1892" y="1205"/>
                    <a:pt x="1889" y="1206"/>
                  </a:cubicBezTo>
                  <a:cubicBezTo>
                    <a:pt x="1887" y="1196"/>
                    <a:pt x="1901" y="1209"/>
                    <a:pt x="1899" y="1199"/>
                  </a:cubicBezTo>
                  <a:cubicBezTo>
                    <a:pt x="1901" y="1206"/>
                    <a:pt x="1914" y="1198"/>
                    <a:pt x="1916" y="1206"/>
                  </a:cubicBezTo>
                  <a:cubicBezTo>
                    <a:pt x="1919" y="1198"/>
                    <a:pt x="1927" y="1201"/>
                    <a:pt x="1942" y="1202"/>
                  </a:cubicBezTo>
                  <a:cubicBezTo>
                    <a:pt x="1943" y="1202"/>
                    <a:pt x="1942" y="1206"/>
                    <a:pt x="1942" y="1206"/>
                  </a:cubicBezTo>
                  <a:cubicBezTo>
                    <a:pt x="1945" y="1207"/>
                    <a:pt x="1945" y="1205"/>
                    <a:pt x="1945" y="1202"/>
                  </a:cubicBezTo>
                  <a:cubicBezTo>
                    <a:pt x="1948" y="1203"/>
                    <a:pt x="1947" y="1206"/>
                    <a:pt x="1945" y="1206"/>
                  </a:cubicBezTo>
                  <a:cubicBezTo>
                    <a:pt x="1945" y="1210"/>
                    <a:pt x="1946" y="1214"/>
                    <a:pt x="1948" y="1213"/>
                  </a:cubicBezTo>
                  <a:cubicBezTo>
                    <a:pt x="1951" y="1213"/>
                    <a:pt x="1953" y="1206"/>
                    <a:pt x="1959" y="1213"/>
                  </a:cubicBezTo>
                  <a:cubicBezTo>
                    <a:pt x="1962" y="1218"/>
                    <a:pt x="1947" y="1220"/>
                    <a:pt x="1945" y="1217"/>
                  </a:cubicBezTo>
                  <a:close/>
                  <a:moveTo>
                    <a:pt x="1967" y="1339"/>
                  </a:moveTo>
                  <a:cubicBezTo>
                    <a:pt x="1959" y="1342"/>
                    <a:pt x="1961" y="1332"/>
                    <a:pt x="1956" y="1332"/>
                  </a:cubicBezTo>
                  <a:cubicBezTo>
                    <a:pt x="1958" y="1327"/>
                    <a:pt x="1962" y="1325"/>
                    <a:pt x="1967" y="1324"/>
                  </a:cubicBezTo>
                  <a:cubicBezTo>
                    <a:pt x="1967" y="1329"/>
                    <a:pt x="1967" y="1334"/>
                    <a:pt x="1967" y="1339"/>
                  </a:cubicBezTo>
                  <a:close/>
                  <a:moveTo>
                    <a:pt x="1969" y="1269"/>
                  </a:moveTo>
                  <a:cubicBezTo>
                    <a:pt x="1970" y="1266"/>
                    <a:pt x="1968" y="1265"/>
                    <a:pt x="1967" y="1265"/>
                  </a:cubicBezTo>
                  <a:cubicBezTo>
                    <a:pt x="1967" y="1262"/>
                    <a:pt x="1970" y="1262"/>
                    <a:pt x="1972" y="1261"/>
                  </a:cubicBezTo>
                  <a:cubicBezTo>
                    <a:pt x="1967" y="1253"/>
                    <a:pt x="1973" y="1257"/>
                    <a:pt x="1975" y="1250"/>
                  </a:cubicBezTo>
                  <a:cubicBezTo>
                    <a:pt x="1983" y="1254"/>
                    <a:pt x="1971" y="1260"/>
                    <a:pt x="1975" y="1269"/>
                  </a:cubicBezTo>
                  <a:cubicBezTo>
                    <a:pt x="1973" y="1269"/>
                    <a:pt x="1971" y="1269"/>
                    <a:pt x="1969" y="1269"/>
                  </a:cubicBezTo>
                  <a:close/>
                  <a:moveTo>
                    <a:pt x="1977" y="1306"/>
                  </a:moveTo>
                  <a:cubicBezTo>
                    <a:pt x="1984" y="1296"/>
                    <a:pt x="1986" y="1310"/>
                    <a:pt x="1994" y="1309"/>
                  </a:cubicBezTo>
                  <a:cubicBezTo>
                    <a:pt x="1994" y="1315"/>
                    <a:pt x="1974" y="1318"/>
                    <a:pt x="1977" y="1306"/>
                  </a:cubicBezTo>
                  <a:close/>
                  <a:moveTo>
                    <a:pt x="1980" y="1232"/>
                  </a:moveTo>
                  <a:cubicBezTo>
                    <a:pt x="1981" y="1225"/>
                    <a:pt x="1985" y="1223"/>
                    <a:pt x="1991" y="1225"/>
                  </a:cubicBezTo>
                  <a:cubicBezTo>
                    <a:pt x="1989" y="1229"/>
                    <a:pt x="1985" y="1231"/>
                    <a:pt x="1980" y="1232"/>
                  </a:cubicBezTo>
                  <a:close/>
                  <a:moveTo>
                    <a:pt x="2015" y="1269"/>
                  </a:moveTo>
                  <a:cubicBezTo>
                    <a:pt x="2004" y="1271"/>
                    <a:pt x="2007" y="1255"/>
                    <a:pt x="2007" y="1243"/>
                  </a:cubicBezTo>
                  <a:cubicBezTo>
                    <a:pt x="2010" y="1245"/>
                    <a:pt x="2010" y="1252"/>
                    <a:pt x="2015" y="1250"/>
                  </a:cubicBezTo>
                  <a:cubicBezTo>
                    <a:pt x="2015" y="1257"/>
                    <a:pt x="2015" y="1263"/>
                    <a:pt x="2015" y="1269"/>
                  </a:cubicBezTo>
                  <a:close/>
                  <a:moveTo>
                    <a:pt x="2020" y="1261"/>
                  </a:moveTo>
                  <a:cubicBezTo>
                    <a:pt x="2028" y="1259"/>
                    <a:pt x="2019" y="1279"/>
                    <a:pt x="2026" y="1276"/>
                  </a:cubicBezTo>
                  <a:cubicBezTo>
                    <a:pt x="2021" y="1289"/>
                    <a:pt x="2019" y="1269"/>
                    <a:pt x="2020" y="1261"/>
                  </a:cubicBezTo>
                  <a:close/>
                  <a:moveTo>
                    <a:pt x="2026" y="1217"/>
                  </a:moveTo>
                  <a:cubicBezTo>
                    <a:pt x="2026" y="1217"/>
                    <a:pt x="2022" y="1221"/>
                    <a:pt x="2023" y="1221"/>
                  </a:cubicBezTo>
                  <a:cubicBezTo>
                    <a:pt x="2021" y="1221"/>
                    <a:pt x="2018" y="1213"/>
                    <a:pt x="2018" y="1213"/>
                  </a:cubicBezTo>
                  <a:cubicBezTo>
                    <a:pt x="2014" y="1214"/>
                    <a:pt x="2013" y="1220"/>
                    <a:pt x="2010" y="1221"/>
                  </a:cubicBezTo>
                  <a:cubicBezTo>
                    <a:pt x="2001" y="1223"/>
                    <a:pt x="1995" y="1212"/>
                    <a:pt x="1988" y="1221"/>
                  </a:cubicBezTo>
                  <a:cubicBezTo>
                    <a:pt x="1985" y="1222"/>
                    <a:pt x="1979" y="1210"/>
                    <a:pt x="1986" y="1210"/>
                  </a:cubicBezTo>
                  <a:cubicBezTo>
                    <a:pt x="1985" y="1206"/>
                    <a:pt x="1982" y="1207"/>
                    <a:pt x="1980" y="1206"/>
                  </a:cubicBezTo>
                  <a:cubicBezTo>
                    <a:pt x="1981" y="1198"/>
                    <a:pt x="1996" y="1201"/>
                    <a:pt x="1991" y="1213"/>
                  </a:cubicBezTo>
                  <a:cubicBezTo>
                    <a:pt x="1994" y="1213"/>
                    <a:pt x="1994" y="1202"/>
                    <a:pt x="1991" y="1202"/>
                  </a:cubicBezTo>
                  <a:cubicBezTo>
                    <a:pt x="1991" y="1198"/>
                    <a:pt x="1996" y="1199"/>
                    <a:pt x="1999" y="1199"/>
                  </a:cubicBezTo>
                  <a:cubicBezTo>
                    <a:pt x="1999" y="1202"/>
                    <a:pt x="1999" y="1206"/>
                    <a:pt x="1999" y="1210"/>
                  </a:cubicBezTo>
                  <a:cubicBezTo>
                    <a:pt x="2009" y="1209"/>
                    <a:pt x="2004" y="1201"/>
                    <a:pt x="2012" y="1206"/>
                  </a:cubicBezTo>
                  <a:cubicBezTo>
                    <a:pt x="2013" y="1206"/>
                    <a:pt x="2017" y="1205"/>
                    <a:pt x="2018" y="1206"/>
                  </a:cubicBezTo>
                  <a:cubicBezTo>
                    <a:pt x="2018" y="1206"/>
                    <a:pt x="2019" y="1212"/>
                    <a:pt x="2020" y="1210"/>
                  </a:cubicBezTo>
                  <a:cubicBezTo>
                    <a:pt x="2025" y="1204"/>
                    <a:pt x="2023" y="1215"/>
                    <a:pt x="2031" y="1213"/>
                  </a:cubicBezTo>
                  <a:cubicBezTo>
                    <a:pt x="2031" y="1217"/>
                    <a:pt x="2028" y="1216"/>
                    <a:pt x="2026" y="1217"/>
                  </a:cubicBezTo>
                  <a:close/>
                  <a:moveTo>
                    <a:pt x="2031" y="588"/>
                  </a:moveTo>
                  <a:cubicBezTo>
                    <a:pt x="2033" y="585"/>
                    <a:pt x="2034" y="580"/>
                    <a:pt x="2034" y="574"/>
                  </a:cubicBezTo>
                  <a:cubicBezTo>
                    <a:pt x="2039" y="572"/>
                    <a:pt x="2039" y="594"/>
                    <a:pt x="2031" y="588"/>
                  </a:cubicBezTo>
                  <a:close/>
                  <a:moveTo>
                    <a:pt x="2039" y="1210"/>
                  </a:moveTo>
                  <a:cubicBezTo>
                    <a:pt x="2044" y="1209"/>
                    <a:pt x="2044" y="1213"/>
                    <a:pt x="2047" y="1213"/>
                  </a:cubicBezTo>
                  <a:cubicBezTo>
                    <a:pt x="2046" y="1218"/>
                    <a:pt x="2042" y="1220"/>
                    <a:pt x="2037" y="1221"/>
                  </a:cubicBezTo>
                  <a:cubicBezTo>
                    <a:pt x="2038" y="1218"/>
                    <a:pt x="2039" y="1215"/>
                    <a:pt x="2039" y="1210"/>
                  </a:cubicBezTo>
                  <a:close/>
                  <a:moveTo>
                    <a:pt x="2039" y="1306"/>
                  </a:moveTo>
                  <a:cubicBezTo>
                    <a:pt x="2042" y="1309"/>
                    <a:pt x="2045" y="1310"/>
                    <a:pt x="2050" y="1309"/>
                  </a:cubicBezTo>
                  <a:cubicBezTo>
                    <a:pt x="2051" y="1316"/>
                    <a:pt x="2035" y="1316"/>
                    <a:pt x="2039" y="1306"/>
                  </a:cubicBezTo>
                  <a:close/>
                  <a:moveTo>
                    <a:pt x="2050" y="1269"/>
                  </a:moveTo>
                  <a:cubicBezTo>
                    <a:pt x="2048" y="1268"/>
                    <a:pt x="2048" y="1270"/>
                    <a:pt x="2047" y="1273"/>
                  </a:cubicBezTo>
                  <a:cubicBezTo>
                    <a:pt x="2044" y="1272"/>
                    <a:pt x="2045" y="1266"/>
                    <a:pt x="2045" y="1261"/>
                  </a:cubicBezTo>
                  <a:cubicBezTo>
                    <a:pt x="2048" y="1263"/>
                    <a:pt x="2049" y="1268"/>
                    <a:pt x="2053" y="1269"/>
                  </a:cubicBezTo>
                  <a:cubicBezTo>
                    <a:pt x="2052" y="1273"/>
                    <a:pt x="2050" y="1271"/>
                    <a:pt x="2050" y="1269"/>
                  </a:cubicBezTo>
                  <a:close/>
                  <a:moveTo>
                    <a:pt x="2064" y="1213"/>
                  </a:moveTo>
                  <a:cubicBezTo>
                    <a:pt x="2061" y="1219"/>
                    <a:pt x="2057" y="1221"/>
                    <a:pt x="2050" y="1221"/>
                  </a:cubicBezTo>
                  <a:cubicBezTo>
                    <a:pt x="2050" y="1214"/>
                    <a:pt x="2059" y="1218"/>
                    <a:pt x="2058" y="1210"/>
                  </a:cubicBezTo>
                  <a:cubicBezTo>
                    <a:pt x="2058" y="1206"/>
                    <a:pt x="2055" y="1207"/>
                    <a:pt x="2053" y="1206"/>
                  </a:cubicBezTo>
                  <a:cubicBezTo>
                    <a:pt x="2054" y="1201"/>
                    <a:pt x="2059" y="1203"/>
                    <a:pt x="2064" y="1202"/>
                  </a:cubicBezTo>
                  <a:cubicBezTo>
                    <a:pt x="2064" y="1209"/>
                    <a:pt x="2059" y="1212"/>
                    <a:pt x="2064" y="1213"/>
                  </a:cubicBezTo>
                  <a:close/>
                  <a:moveTo>
                    <a:pt x="2055" y="1195"/>
                  </a:moveTo>
                  <a:cubicBezTo>
                    <a:pt x="2055" y="1191"/>
                    <a:pt x="2055" y="1187"/>
                    <a:pt x="2055" y="1184"/>
                  </a:cubicBezTo>
                  <a:cubicBezTo>
                    <a:pt x="2060" y="1180"/>
                    <a:pt x="2064" y="1195"/>
                    <a:pt x="2066" y="1184"/>
                  </a:cubicBezTo>
                  <a:cubicBezTo>
                    <a:pt x="2072" y="1186"/>
                    <a:pt x="2063" y="1198"/>
                    <a:pt x="2055" y="1195"/>
                  </a:cubicBezTo>
                  <a:close/>
                  <a:moveTo>
                    <a:pt x="2069" y="204"/>
                  </a:moveTo>
                  <a:cubicBezTo>
                    <a:pt x="2065" y="208"/>
                    <a:pt x="2064" y="215"/>
                    <a:pt x="2058" y="207"/>
                  </a:cubicBezTo>
                  <a:cubicBezTo>
                    <a:pt x="2062" y="202"/>
                    <a:pt x="2071" y="196"/>
                    <a:pt x="2072" y="207"/>
                  </a:cubicBezTo>
                  <a:cubicBezTo>
                    <a:pt x="2070" y="213"/>
                    <a:pt x="2069" y="208"/>
                    <a:pt x="2069" y="204"/>
                  </a:cubicBezTo>
                  <a:close/>
                  <a:moveTo>
                    <a:pt x="2074" y="182"/>
                  </a:moveTo>
                  <a:cubicBezTo>
                    <a:pt x="2069" y="181"/>
                    <a:pt x="2074" y="174"/>
                    <a:pt x="2074" y="174"/>
                  </a:cubicBezTo>
                  <a:cubicBezTo>
                    <a:pt x="2074" y="170"/>
                    <a:pt x="2069" y="164"/>
                    <a:pt x="2074" y="159"/>
                  </a:cubicBezTo>
                  <a:cubicBezTo>
                    <a:pt x="2082" y="163"/>
                    <a:pt x="2073" y="175"/>
                    <a:pt x="2074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</p:grpSp>
      <p:sp>
        <p:nvSpPr>
          <p:cNvPr id="14" name="Text Placeholder 13"/>
          <p:cNvSpPr>
            <a:spLocks noGrp="1"/>
          </p:cNvSpPr>
          <p:nvPr userDrawn="1">
            <p:ph type="body" sz="quarter" idx="10"/>
          </p:nvPr>
        </p:nvSpPr>
        <p:spPr>
          <a:xfrm>
            <a:off x="5779531" y="4619610"/>
            <a:ext cx="6239749" cy="749300"/>
          </a:xfrm>
        </p:spPr>
        <p:txBody>
          <a:bodyPr/>
          <a:lstStyle>
            <a:lvl1pPr>
              <a:defRPr>
                <a:solidFill>
                  <a:srgbClr val="49853E"/>
                </a:solidFill>
              </a:defRPr>
            </a:lvl1pPr>
            <a:lvl2pPr>
              <a:defRPr>
                <a:solidFill>
                  <a:srgbClr val="49853E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  <a:endParaRPr lang="en-AU"/>
          </a:p>
        </p:txBody>
      </p:sp>
      <p:sp>
        <p:nvSpPr>
          <p:cNvPr id="278" name="Title 4124"/>
          <p:cNvSpPr>
            <a:spLocks noGrp="1"/>
          </p:cNvSpPr>
          <p:nvPr>
            <p:ph type="title"/>
          </p:nvPr>
        </p:nvSpPr>
        <p:spPr>
          <a:xfrm>
            <a:off x="5735264" y="1927683"/>
            <a:ext cx="5486400" cy="2603500"/>
          </a:xfrm>
        </p:spPr>
        <p:txBody>
          <a:bodyPr/>
          <a:lstStyle>
            <a:lvl1pPr>
              <a:defRPr sz="7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5951041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splash">
    <p:bg>
      <p:bgPr>
        <a:solidFill>
          <a:srgbClr val="C2532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5" name="Group 354"/>
          <p:cNvGrpSpPr/>
          <p:nvPr userDrawn="1"/>
        </p:nvGrpSpPr>
        <p:grpSpPr>
          <a:xfrm>
            <a:off x="3388559" y="1687629"/>
            <a:ext cx="8814356" cy="4310435"/>
            <a:chOff x="2541419" y="1687628"/>
            <a:chExt cx="6610767" cy="4310435"/>
          </a:xfrm>
          <a:solidFill>
            <a:schemeClr val="accent2"/>
          </a:solidFill>
        </p:grpSpPr>
        <p:sp>
          <p:nvSpPr>
            <p:cNvPr id="356" name="Freeform 7"/>
            <p:cNvSpPr>
              <a:spLocks/>
            </p:cNvSpPr>
            <p:nvPr userDrawn="1"/>
          </p:nvSpPr>
          <p:spPr bwMode="auto">
            <a:xfrm>
              <a:off x="3782953" y="1707783"/>
              <a:ext cx="34935" cy="79275"/>
            </a:xfrm>
            <a:custGeom>
              <a:avLst/>
              <a:gdLst>
                <a:gd name="T0" fmla="*/ 11 w 11"/>
                <a:gd name="T1" fmla="*/ 13 h 25"/>
                <a:gd name="T2" fmla="*/ 11 w 11"/>
                <a:gd name="T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25">
                  <a:moveTo>
                    <a:pt x="11" y="13"/>
                  </a:moveTo>
                  <a:cubicBezTo>
                    <a:pt x="0" y="0"/>
                    <a:pt x="4" y="25"/>
                    <a:pt x="1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57" name="Freeform 8"/>
            <p:cNvSpPr>
              <a:spLocks/>
            </p:cNvSpPr>
            <p:nvPr userDrawn="1"/>
          </p:nvSpPr>
          <p:spPr bwMode="auto">
            <a:xfrm>
              <a:off x="4782630" y="1722563"/>
              <a:ext cx="30904" cy="67183"/>
            </a:xfrm>
            <a:custGeom>
              <a:avLst/>
              <a:gdLst>
                <a:gd name="T0" fmla="*/ 10 w 10"/>
                <a:gd name="T1" fmla="*/ 11 h 21"/>
                <a:gd name="T2" fmla="*/ 0 w 10"/>
                <a:gd name="T3" fmla="*/ 11 h 21"/>
                <a:gd name="T4" fmla="*/ 10 w 10"/>
                <a:gd name="T5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1">
                  <a:moveTo>
                    <a:pt x="10" y="11"/>
                  </a:moveTo>
                  <a:cubicBezTo>
                    <a:pt x="5" y="15"/>
                    <a:pt x="1" y="0"/>
                    <a:pt x="0" y="11"/>
                  </a:cubicBezTo>
                  <a:cubicBezTo>
                    <a:pt x="1" y="13"/>
                    <a:pt x="10" y="21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58" name="Freeform 9"/>
            <p:cNvSpPr>
              <a:spLocks/>
            </p:cNvSpPr>
            <p:nvPr userDrawn="1"/>
          </p:nvSpPr>
          <p:spPr bwMode="auto">
            <a:xfrm>
              <a:off x="8294936" y="1770934"/>
              <a:ext cx="34935" cy="51059"/>
            </a:xfrm>
            <a:custGeom>
              <a:avLst/>
              <a:gdLst>
                <a:gd name="T0" fmla="*/ 3 w 11"/>
                <a:gd name="T1" fmla="*/ 0 h 16"/>
                <a:gd name="T2" fmla="*/ 0 w 11"/>
                <a:gd name="T3" fmla="*/ 15 h 16"/>
                <a:gd name="T4" fmla="*/ 3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3" y="0"/>
                  </a:moveTo>
                  <a:cubicBezTo>
                    <a:pt x="4" y="7"/>
                    <a:pt x="0" y="8"/>
                    <a:pt x="0" y="15"/>
                  </a:cubicBezTo>
                  <a:cubicBezTo>
                    <a:pt x="8" y="16"/>
                    <a:pt x="11" y="1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59" name="Freeform 10"/>
            <p:cNvSpPr>
              <a:spLocks/>
            </p:cNvSpPr>
            <p:nvPr userDrawn="1"/>
          </p:nvSpPr>
          <p:spPr bwMode="auto">
            <a:xfrm>
              <a:off x="8345995" y="1783027"/>
              <a:ext cx="18811" cy="57777"/>
            </a:xfrm>
            <a:custGeom>
              <a:avLst/>
              <a:gdLst>
                <a:gd name="T0" fmla="*/ 6 w 6"/>
                <a:gd name="T1" fmla="*/ 18 h 18"/>
                <a:gd name="T2" fmla="*/ 1 w 6"/>
                <a:gd name="T3" fmla="*/ 0 h 18"/>
                <a:gd name="T4" fmla="*/ 6 w 6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8">
                  <a:moveTo>
                    <a:pt x="6" y="18"/>
                  </a:moveTo>
                  <a:cubicBezTo>
                    <a:pt x="6" y="9"/>
                    <a:pt x="5" y="3"/>
                    <a:pt x="1" y="0"/>
                  </a:cubicBezTo>
                  <a:cubicBezTo>
                    <a:pt x="0" y="9"/>
                    <a:pt x="0" y="18"/>
                    <a:pt x="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60" name="Freeform 11"/>
            <p:cNvSpPr>
              <a:spLocks/>
            </p:cNvSpPr>
            <p:nvPr userDrawn="1"/>
          </p:nvSpPr>
          <p:spPr bwMode="auto">
            <a:xfrm>
              <a:off x="8921078" y="1783027"/>
              <a:ext cx="79275" cy="123616"/>
            </a:xfrm>
            <a:custGeom>
              <a:avLst/>
              <a:gdLst>
                <a:gd name="T0" fmla="*/ 5 w 25"/>
                <a:gd name="T1" fmla="*/ 33 h 39"/>
                <a:gd name="T2" fmla="*/ 10 w 25"/>
                <a:gd name="T3" fmla="*/ 37 h 39"/>
                <a:gd name="T4" fmla="*/ 13 w 25"/>
                <a:gd name="T5" fmla="*/ 33 h 39"/>
                <a:gd name="T6" fmla="*/ 19 w 25"/>
                <a:gd name="T7" fmla="*/ 26 h 39"/>
                <a:gd name="T8" fmla="*/ 24 w 25"/>
                <a:gd name="T9" fmla="*/ 18 h 39"/>
                <a:gd name="T10" fmla="*/ 16 w 25"/>
                <a:gd name="T11" fmla="*/ 0 h 39"/>
                <a:gd name="T12" fmla="*/ 2 w 25"/>
                <a:gd name="T13" fmla="*/ 15 h 39"/>
                <a:gd name="T14" fmla="*/ 13 w 25"/>
                <a:gd name="T15" fmla="*/ 11 h 39"/>
                <a:gd name="T16" fmla="*/ 10 w 25"/>
                <a:gd name="T17" fmla="*/ 30 h 39"/>
                <a:gd name="T18" fmla="*/ 0 w 25"/>
                <a:gd name="T19" fmla="*/ 26 h 39"/>
                <a:gd name="T20" fmla="*/ 2 w 25"/>
                <a:gd name="T21" fmla="*/ 37 h 39"/>
                <a:gd name="T22" fmla="*/ 5 w 25"/>
                <a:gd name="T23" fmla="*/ 3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39">
                  <a:moveTo>
                    <a:pt x="5" y="33"/>
                  </a:moveTo>
                  <a:cubicBezTo>
                    <a:pt x="8" y="32"/>
                    <a:pt x="9" y="38"/>
                    <a:pt x="10" y="37"/>
                  </a:cubicBezTo>
                  <a:cubicBezTo>
                    <a:pt x="12" y="36"/>
                    <a:pt x="10" y="33"/>
                    <a:pt x="13" y="33"/>
                  </a:cubicBezTo>
                  <a:cubicBezTo>
                    <a:pt x="17" y="33"/>
                    <a:pt x="16" y="26"/>
                    <a:pt x="19" y="26"/>
                  </a:cubicBezTo>
                  <a:cubicBezTo>
                    <a:pt x="22" y="25"/>
                    <a:pt x="21" y="20"/>
                    <a:pt x="24" y="18"/>
                  </a:cubicBezTo>
                  <a:cubicBezTo>
                    <a:pt x="25" y="8"/>
                    <a:pt x="19" y="6"/>
                    <a:pt x="16" y="0"/>
                  </a:cubicBezTo>
                  <a:cubicBezTo>
                    <a:pt x="10" y="3"/>
                    <a:pt x="0" y="0"/>
                    <a:pt x="2" y="15"/>
                  </a:cubicBezTo>
                  <a:cubicBezTo>
                    <a:pt x="9" y="20"/>
                    <a:pt x="11" y="0"/>
                    <a:pt x="13" y="11"/>
                  </a:cubicBezTo>
                  <a:cubicBezTo>
                    <a:pt x="14" y="21"/>
                    <a:pt x="3" y="20"/>
                    <a:pt x="10" y="30"/>
                  </a:cubicBezTo>
                  <a:cubicBezTo>
                    <a:pt x="5" y="23"/>
                    <a:pt x="5" y="32"/>
                    <a:pt x="0" y="26"/>
                  </a:cubicBezTo>
                  <a:cubicBezTo>
                    <a:pt x="0" y="30"/>
                    <a:pt x="0" y="35"/>
                    <a:pt x="2" y="37"/>
                  </a:cubicBezTo>
                  <a:cubicBezTo>
                    <a:pt x="5" y="39"/>
                    <a:pt x="5" y="33"/>
                    <a:pt x="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61" name="Freeform 12"/>
            <p:cNvSpPr>
              <a:spLocks/>
            </p:cNvSpPr>
            <p:nvPr userDrawn="1"/>
          </p:nvSpPr>
          <p:spPr bwMode="auto">
            <a:xfrm>
              <a:off x="8399741" y="1817962"/>
              <a:ext cx="16124" cy="22842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3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62" name="Freeform 13"/>
            <p:cNvSpPr>
              <a:spLocks/>
            </p:cNvSpPr>
            <p:nvPr userDrawn="1"/>
          </p:nvSpPr>
          <p:spPr bwMode="auto">
            <a:xfrm>
              <a:off x="7350349" y="1840804"/>
              <a:ext cx="14780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63" name="Freeform 14"/>
            <p:cNvSpPr>
              <a:spLocks/>
            </p:cNvSpPr>
            <p:nvPr userDrawn="1"/>
          </p:nvSpPr>
          <p:spPr bwMode="auto">
            <a:xfrm>
              <a:off x="8534106" y="1840804"/>
              <a:ext cx="28217" cy="72557"/>
            </a:xfrm>
            <a:custGeom>
              <a:avLst/>
              <a:gdLst>
                <a:gd name="T0" fmla="*/ 9 w 9"/>
                <a:gd name="T1" fmla="*/ 23 h 23"/>
                <a:gd name="T2" fmla="*/ 3 w 9"/>
                <a:gd name="T3" fmla="*/ 0 h 23"/>
                <a:gd name="T4" fmla="*/ 9 w 9"/>
                <a:gd name="T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3">
                  <a:moveTo>
                    <a:pt x="9" y="23"/>
                  </a:moveTo>
                  <a:cubicBezTo>
                    <a:pt x="6" y="16"/>
                    <a:pt x="8" y="4"/>
                    <a:pt x="3" y="0"/>
                  </a:cubicBezTo>
                  <a:cubicBezTo>
                    <a:pt x="0" y="5"/>
                    <a:pt x="1" y="23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64" name="Freeform 15"/>
            <p:cNvSpPr>
              <a:spLocks/>
            </p:cNvSpPr>
            <p:nvPr userDrawn="1"/>
          </p:nvSpPr>
          <p:spPr bwMode="auto">
            <a:xfrm>
              <a:off x="8986917" y="1831399"/>
              <a:ext cx="38966" cy="104805"/>
            </a:xfrm>
            <a:custGeom>
              <a:avLst/>
              <a:gdLst>
                <a:gd name="T0" fmla="*/ 3 w 12"/>
                <a:gd name="T1" fmla="*/ 33 h 33"/>
                <a:gd name="T2" fmla="*/ 8 w 12"/>
                <a:gd name="T3" fmla="*/ 33 h 33"/>
                <a:gd name="T4" fmla="*/ 11 w 12"/>
                <a:gd name="T5" fmla="*/ 29 h 33"/>
                <a:gd name="T6" fmla="*/ 6 w 12"/>
                <a:gd name="T7" fmla="*/ 18 h 33"/>
                <a:gd name="T8" fmla="*/ 3 w 12"/>
                <a:gd name="T9" fmla="*/ 3 h 33"/>
                <a:gd name="T10" fmla="*/ 3 w 12"/>
                <a:gd name="T1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33">
                  <a:moveTo>
                    <a:pt x="3" y="33"/>
                  </a:moveTo>
                  <a:cubicBezTo>
                    <a:pt x="5" y="33"/>
                    <a:pt x="7" y="33"/>
                    <a:pt x="8" y="33"/>
                  </a:cubicBezTo>
                  <a:cubicBezTo>
                    <a:pt x="9" y="31"/>
                    <a:pt x="9" y="29"/>
                    <a:pt x="11" y="29"/>
                  </a:cubicBezTo>
                  <a:cubicBezTo>
                    <a:pt x="12" y="22"/>
                    <a:pt x="7" y="22"/>
                    <a:pt x="6" y="18"/>
                  </a:cubicBezTo>
                  <a:cubicBezTo>
                    <a:pt x="8" y="15"/>
                    <a:pt x="12" y="0"/>
                    <a:pt x="3" y="3"/>
                  </a:cubicBezTo>
                  <a:cubicBezTo>
                    <a:pt x="0" y="17"/>
                    <a:pt x="1" y="24"/>
                    <a:pt x="3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65" name="Freeform 16"/>
            <p:cNvSpPr>
              <a:spLocks/>
            </p:cNvSpPr>
            <p:nvPr userDrawn="1"/>
          </p:nvSpPr>
          <p:spPr bwMode="auto">
            <a:xfrm>
              <a:off x="8476329" y="1887832"/>
              <a:ext cx="60464" cy="83306"/>
            </a:xfrm>
            <a:custGeom>
              <a:avLst/>
              <a:gdLst>
                <a:gd name="T0" fmla="*/ 11 w 19"/>
                <a:gd name="T1" fmla="*/ 26 h 26"/>
                <a:gd name="T2" fmla="*/ 19 w 19"/>
                <a:gd name="T3" fmla="*/ 15 h 26"/>
                <a:gd name="T4" fmla="*/ 19 w 19"/>
                <a:gd name="T5" fmla="*/ 0 h 26"/>
                <a:gd name="T6" fmla="*/ 11 w 19"/>
                <a:gd name="T7" fmla="*/ 0 h 26"/>
                <a:gd name="T8" fmla="*/ 11 w 19"/>
                <a:gd name="T9" fmla="*/ 15 h 26"/>
                <a:gd name="T10" fmla="*/ 11 w 19"/>
                <a:gd name="T1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6">
                  <a:moveTo>
                    <a:pt x="11" y="26"/>
                  </a:moveTo>
                  <a:cubicBezTo>
                    <a:pt x="14" y="23"/>
                    <a:pt x="11" y="12"/>
                    <a:pt x="19" y="15"/>
                  </a:cubicBezTo>
                  <a:cubicBezTo>
                    <a:pt x="19" y="10"/>
                    <a:pt x="19" y="5"/>
                    <a:pt x="19" y="0"/>
                  </a:cubicBezTo>
                  <a:cubicBezTo>
                    <a:pt x="16" y="0"/>
                    <a:pt x="13" y="0"/>
                    <a:pt x="11" y="0"/>
                  </a:cubicBezTo>
                  <a:cubicBezTo>
                    <a:pt x="7" y="10"/>
                    <a:pt x="11" y="11"/>
                    <a:pt x="11" y="15"/>
                  </a:cubicBezTo>
                  <a:cubicBezTo>
                    <a:pt x="10" y="17"/>
                    <a:pt x="0" y="23"/>
                    <a:pt x="11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66" name="Freeform 17"/>
            <p:cNvSpPr>
              <a:spLocks/>
            </p:cNvSpPr>
            <p:nvPr userDrawn="1"/>
          </p:nvSpPr>
          <p:spPr bwMode="auto">
            <a:xfrm>
              <a:off x="8771933" y="1885145"/>
              <a:ext cx="37622" cy="81963"/>
            </a:xfrm>
            <a:custGeom>
              <a:avLst/>
              <a:gdLst>
                <a:gd name="T0" fmla="*/ 12 w 12"/>
                <a:gd name="T1" fmla="*/ 23 h 26"/>
                <a:gd name="T2" fmla="*/ 1 w 12"/>
                <a:gd name="T3" fmla="*/ 1 h 26"/>
                <a:gd name="T4" fmla="*/ 6 w 12"/>
                <a:gd name="T5" fmla="*/ 16 h 26"/>
                <a:gd name="T6" fmla="*/ 12 w 12"/>
                <a:gd name="T7" fmla="*/ 2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12" y="23"/>
                  </a:moveTo>
                  <a:cubicBezTo>
                    <a:pt x="9" y="15"/>
                    <a:pt x="11" y="0"/>
                    <a:pt x="1" y="1"/>
                  </a:cubicBezTo>
                  <a:cubicBezTo>
                    <a:pt x="0" y="7"/>
                    <a:pt x="5" y="12"/>
                    <a:pt x="6" y="16"/>
                  </a:cubicBezTo>
                  <a:cubicBezTo>
                    <a:pt x="8" y="19"/>
                    <a:pt x="6" y="26"/>
                    <a:pt x="1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67" name="Freeform 18"/>
            <p:cNvSpPr>
              <a:spLocks/>
            </p:cNvSpPr>
            <p:nvPr userDrawn="1"/>
          </p:nvSpPr>
          <p:spPr bwMode="auto">
            <a:xfrm>
              <a:off x="4985522" y="1901268"/>
              <a:ext cx="18811" cy="21498"/>
            </a:xfrm>
            <a:custGeom>
              <a:avLst/>
              <a:gdLst>
                <a:gd name="T0" fmla="*/ 0 w 6"/>
                <a:gd name="T1" fmla="*/ 7 h 7"/>
                <a:gd name="T2" fmla="*/ 6 w 6"/>
                <a:gd name="T3" fmla="*/ 7 h 7"/>
                <a:gd name="T4" fmla="*/ 6 w 6"/>
                <a:gd name="T5" fmla="*/ 0 h 7"/>
                <a:gd name="T6" fmla="*/ 0 w 6"/>
                <a:gd name="T7" fmla="*/ 0 h 7"/>
                <a:gd name="T8" fmla="*/ 0 w 6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7"/>
                  </a:moveTo>
                  <a:cubicBezTo>
                    <a:pt x="2" y="7"/>
                    <a:pt x="4" y="7"/>
                    <a:pt x="6" y="7"/>
                  </a:cubicBezTo>
                  <a:cubicBezTo>
                    <a:pt x="6" y="5"/>
                    <a:pt x="6" y="2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68" name="Freeform 19"/>
            <p:cNvSpPr>
              <a:spLocks/>
            </p:cNvSpPr>
            <p:nvPr userDrawn="1"/>
          </p:nvSpPr>
          <p:spPr bwMode="auto">
            <a:xfrm>
              <a:off x="7707760" y="1901268"/>
              <a:ext cx="16124" cy="21498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4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69" name="Freeform 20"/>
            <p:cNvSpPr>
              <a:spLocks/>
            </p:cNvSpPr>
            <p:nvPr userDrawn="1"/>
          </p:nvSpPr>
          <p:spPr bwMode="auto">
            <a:xfrm>
              <a:off x="5395336" y="1910674"/>
              <a:ext cx="44341" cy="44341"/>
            </a:xfrm>
            <a:custGeom>
              <a:avLst/>
              <a:gdLst>
                <a:gd name="T0" fmla="*/ 0 w 14"/>
                <a:gd name="T1" fmla="*/ 8 h 14"/>
                <a:gd name="T2" fmla="*/ 14 w 14"/>
                <a:gd name="T3" fmla="*/ 4 h 14"/>
                <a:gd name="T4" fmla="*/ 0 w 14"/>
                <a:gd name="T5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0" y="8"/>
                  </a:moveTo>
                  <a:cubicBezTo>
                    <a:pt x="4" y="14"/>
                    <a:pt x="11" y="11"/>
                    <a:pt x="14" y="4"/>
                  </a:cubicBezTo>
                  <a:cubicBezTo>
                    <a:pt x="10" y="6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70" name="Freeform 21"/>
            <p:cNvSpPr>
              <a:spLocks/>
            </p:cNvSpPr>
            <p:nvPr userDrawn="1"/>
          </p:nvSpPr>
          <p:spPr bwMode="auto">
            <a:xfrm>
              <a:off x="7086993" y="1910674"/>
              <a:ext cx="37622" cy="85994"/>
            </a:xfrm>
            <a:custGeom>
              <a:avLst/>
              <a:gdLst>
                <a:gd name="T0" fmla="*/ 2 w 12"/>
                <a:gd name="T1" fmla="*/ 4 h 27"/>
                <a:gd name="T2" fmla="*/ 0 w 12"/>
                <a:gd name="T3" fmla="*/ 19 h 27"/>
                <a:gd name="T4" fmla="*/ 2 w 12"/>
                <a:gd name="T5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7">
                  <a:moveTo>
                    <a:pt x="2" y="4"/>
                  </a:moveTo>
                  <a:cubicBezTo>
                    <a:pt x="2" y="11"/>
                    <a:pt x="2" y="16"/>
                    <a:pt x="0" y="19"/>
                  </a:cubicBezTo>
                  <a:cubicBezTo>
                    <a:pt x="10" y="27"/>
                    <a:pt x="12" y="0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71" name="Freeform 22"/>
            <p:cNvSpPr>
              <a:spLocks/>
            </p:cNvSpPr>
            <p:nvPr userDrawn="1"/>
          </p:nvSpPr>
          <p:spPr bwMode="auto">
            <a:xfrm>
              <a:off x="8844490" y="1906643"/>
              <a:ext cx="22842" cy="69870"/>
            </a:xfrm>
            <a:custGeom>
              <a:avLst/>
              <a:gdLst>
                <a:gd name="T0" fmla="*/ 0 w 7"/>
                <a:gd name="T1" fmla="*/ 5 h 22"/>
                <a:gd name="T2" fmla="*/ 0 w 7"/>
                <a:gd name="T3" fmla="*/ 16 h 22"/>
                <a:gd name="T4" fmla="*/ 0 w 7"/>
                <a:gd name="T5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2">
                  <a:moveTo>
                    <a:pt x="0" y="5"/>
                  </a:moveTo>
                  <a:cubicBezTo>
                    <a:pt x="0" y="9"/>
                    <a:pt x="0" y="13"/>
                    <a:pt x="0" y="16"/>
                  </a:cubicBezTo>
                  <a:cubicBezTo>
                    <a:pt x="7" y="22"/>
                    <a:pt x="7" y="0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72" name="Freeform 23"/>
            <p:cNvSpPr>
              <a:spLocks/>
            </p:cNvSpPr>
            <p:nvPr userDrawn="1"/>
          </p:nvSpPr>
          <p:spPr bwMode="auto">
            <a:xfrm>
              <a:off x="5778276" y="1906643"/>
              <a:ext cx="34935" cy="79275"/>
            </a:xfrm>
            <a:custGeom>
              <a:avLst/>
              <a:gdLst>
                <a:gd name="T0" fmla="*/ 11 w 11"/>
                <a:gd name="T1" fmla="*/ 13 h 25"/>
                <a:gd name="T2" fmla="*/ 11 w 11"/>
                <a:gd name="T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25">
                  <a:moveTo>
                    <a:pt x="11" y="13"/>
                  </a:moveTo>
                  <a:cubicBezTo>
                    <a:pt x="0" y="0"/>
                    <a:pt x="5" y="25"/>
                    <a:pt x="1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73" name="Freeform 24"/>
            <p:cNvSpPr>
              <a:spLocks/>
            </p:cNvSpPr>
            <p:nvPr userDrawn="1"/>
          </p:nvSpPr>
          <p:spPr bwMode="auto">
            <a:xfrm>
              <a:off x="5870988" y="1926798"/>
              <a:ext cx="47028" cy="30904"/>
            </a:xfrm>
            <a:custGeom>
              <a:avLst/>
              <a:gdLst>
                <a:gd name="T0" fmla="*/ 9 w 15"/>
                <a:gd name="T1" fmla="*/ 10 h 10"/>
                <a:gd name="T2" fmla="*/ 14 w 15"/>
                <a:gd name="T3" fmla="*/ 3 h 10"/>
                <a:gd name="T4" fmla="*/ 9 w 15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9" y="10"/>
                  </a:moveTo>
                  <a:cubicBezTo>
                    <a:pt x="8" y="7"/>
                    <a:pt x="15" y="5"/>
                    <a:pt x="14" y="3"/>
                  </a:cubicBezTo>
                  <a:cubicBezTo>
                    <a:pt x="12" y="0"/>
                    <a:pt x="0" y="4"/>
                    <a:pt x="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74" name="Freeform 25"/>
            <p:cNvSpPr>
              <a:spLocks/>
            </p:cNvSpPr>
            <p:nvPr userDrawn="1"/>
          </p:nvSpPr>
          <p:spPr bwMode="auto">
            <a:xfrm>
              <a:off x="6940535" y="1932172"/>
              <a:ext cx="25529" cy="38966"/>
            </a:xfrm>
            <a:custGeom>
              <a:avLst/>
              <a:gdLst>
                <a:gd name="T0" fmla="*/ 8 w 8"/>
                <a:gd name="T1" fmla="*/ 5 h 12"/>
                <a:gd name="T2" fmla="*/ 0 w 8"/>
                <a:gd name="T3" fmla="*/ 1 h 12"/>
                <a:gd name="T4" fmla="*/ 0 w 8"/>
                <a:gd name="T5" fmla="*/ 12 h 12"/>
                <a:gd name="T6" fmla="*/ 5 w 8"/>
                <a:gd name="T7" fmla="*/ 12 h 12"/>
                <a:gd name="T8" fmla="*/ 8 w 8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8" y="5"/>
                  </a:moveTo>
                  <a:cubicBezTo>
                    <a:pt x="5" y="4"/>
                    <a:pt x="4" y="0"/>
                    <a:pt x="0" y="1"/>
                  </a:cubicBezTo>
                  <a:cubicBezTo>
                    <a:pt x="0" y="5"/>
                    <a:pt x="0" y="8"/>
                    <a:pt x="0" y="12"/>
                  </a:cubicBezTo>
                  <a:cubicBezTo>
                    <a:pt x="2" y="12"/>
                    <a:pt x="3" y="12"/>
                    <a:pt x="5" y="12"/>
                  </a:cubicBezTo>
                  <a:cubicBezTo>
                    <a:pt x="5" y="8"/>
                    <a:pt x="7" y="8"/>
                    <a:pt x="8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75" name="Freeform 26"/>
            <p:cNvSpPr>
              <a:spLocks/>
            </p:cNvSpPr>
            <p:nvPr userDrawn="1"/>
          </p:nvSpPr>
          <p:spPr bwMode="auto">
            <a:xfrm>
              <a:off x="5959669" y="1938891"/>
              <a:ext cx="37622" cy="44341"/>
            </a:xfrm>
            <a:custGeom>
              <a:avLst/>
              <a:gdLst>
                <a:gd name="T0" fmla="*/ 10 w 12"/>
                <a:gd name="T1" fmla="*/ 3 h 14"/>
                <a:gd name="T2" fmla="*/ 2 w 12"/>
                <a:gd name="T3" fmla="*/ 6 h 14"/>
                <a:gd name="T4" fmla="*/ 10 w 12"/>
                <a:gd name="T5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4">
                  <a:moveTo>
                    <a:pt x="10" y="3"/>
                  </a:moveTo>
                  <a:cubicBezTo>
                    <a:pt x="8" y="0"/>
                    <a:pt x="3" y="5"/>
                    <a:pt x="2" y="6"/>
                  </a:cubicBezTo>
                  <a:cubicBezTo>
                    <a:pt x="0" y="14"/>
                    <a:pt x="12" y="5"/>
                    <a:pt x="1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76" name="Freeform 27"/>
            <p:cNvSpPr>
              <a:spLocks/>
            </p:cNvSpPr>
            <p:nvPr userDrawn="1"/>
          </p:nvSpPr>
          <p:spPr bwMode="auto">
            <a:xfrm>
              <a:off x="6343954" y="1948296"/>
              <a:ext cx="16124" cy="22842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77" name="Freeform 28"/>
            <p:cNvSpPr>
              <a:spLocks/>
            </p:cNvSpPr>
            <p:nvPr userDrawn="1"/>
          </p:nvSpPr>
          <p:spPr bwMode="auto">
            <a:xfrm>
              <a:off x="8902267" y="1948296"/>
              <a:ext cx="18811" cy="22842"/>
            </a:xfrm>
            <a:custGeom>
              <a:avLst/>
              <a:gdLst>
                <a:gd name="T0" fmla="*/ 6 w 6"/>
                <a:gd name="T1" fmla="*/ 0 h 7"/>
                <a:gd name="T2" fmla="*/ 0 w 6"/>
                <a:gd name="T3" fmla="*/ 0 h 7"/>
                <a:gd name="T4" fmla="*/ 0 w 6"/>
                <a:gd name="T5" fmla="*/ 7 h 7"/>
                <a:gd name="T6" fmla="*/ 6 w 6"/>
                <a:gd name="T7" fmla="*/ 7 h 7"/>
                <a:gd name="T8" fmla="*/ 6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4" y="7"/>
                    <a:pt x="6" y="7"/>
                  </a:cubicBezTo>
                  <a:cubicBezTo>
                    <a:pt x="6" y="5"/>
                    <a:pt x="6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78" name="Freeform 29"/>
            <p:cNvSpPr>
              <a:spLocks/>
            </p:cNvSpPr>
            <p:nvPr userDrawn="1"/>
          </p:nvSpPr>
          <p:spPr bwMode="auto">
            <a:xfrm>
              <a:off x="8986917" y="1948296"/>
              <a:ext cx="29560" cy="37622"/>
            </a:xfrm>
            <a:custGeom>
              <a:avLst/>
              <a:gdLst>
                <a:gd name="T0" fmla="*/ 8 w 9"/>
                <a:gd name="T1" fmla="*/ 11 h 12"/>
                <a:gd name="T2" fmla="*/ 3 w 9"/>
                <a:gd name="T3" fmla="*/ 0 h 12"/>
                <a:gd name="T4" fmla="*/ 0 w 9"/>
                <a:gd name="T5" fmla="*/ 7 h 12"/>
                <a:gd name="T6" fmla="*/ 8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11"/>
                  </a:moveTo>
                  <a:cubicBezTo>
                    <a:pt x="9" y="4"/>
                    <a:pt x="6" y="1"/>
                    <a:pt x="3" y="0"/>
                  </a:cubicBezTo>
                  <a:cubicBezTo>
                    <a:pt x="3" y="3"/>
                    <a:pt x="1" y="4"/>
                    <a:pt x="0" y="7"/>
                  </a:cubicBezTo>
                  <a:cubicBezTo>
                    <a:pt x="4" y="7"/>
                    <a:pt x="4" y="12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79" name="Freeform 30"/>
            <p:cNvSpPr>
              <a:spLocks/>
            </p:cNvSpPr>
            <p:nvPr userDrawn="1"/>
          </p:nvSpPr>
          <p:spPr bwMode="auto">
            <a:xfrm>
              <a:off x="9037976" y="1938891"/>
              <a:ext cx="32248" cy="44341"/>
            </a:xfrm>
            <a:custGeom>
              <a:avLst/>
              <a:gdLst>
                <a:gd name="T0" fmla="*/ 0 w 10"/>
                <a:gd name="T1" fmla="*/ 10 h 14"/>
                <a:gd name="T2" fmla="*/ 8 w 10"/>
                <a:gd name="T3" fmla="*/ 14 h 14"/>
                <a:gd name="T4" fmla="*/ 0 w 10"/>
                <a:gd name="T5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4">
                  <a:moveTo>
                    <a:pt x="0" y="10"/>
                  </a:moveTo>
                  <a:cubicBezTo>
                    <a:pt x="4" y="10"/>
                    <a:pt x="6" y="12"/>
                    <a:pt x="8" y="14"/>
                  </a:cubicBezTo>
                  <a:cubicBezTo>
                    <a:pt x="10" y="2"/>
                    <a:pt x="1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80" name="Freeform 31"/>
            <p:cNvSpPr>
              <a:spLocks/>
            </p:cNvSpPr>
            <p:nvPr userDrawn="1"/>
          </p:nvSpPr>
          <p:spPr bwMode="auto">
            <a:xfrm>
              <a:off x="6521316" y="1983231"/>
              <a:ext cx="48371" cy="51059"/>
            </a:xfrm>
            <a:custGeom>
              <a:avLst/>
              <a:gdLst>
                <a:gd name="T0" fmla="*/ 6 w 15"/>
                <a:gd name="T1" fmla="*/ 11 h 16"/>
                <a:gd name="T2" fmla="*/ 3 w 15"/>
                <a:gd name="T3" fmla="*/ 15 h 16"/>
                <a:gd name="T4" fmla="*/ 14 w 15"/>
                <a:gd name="T5" fmla="*/ 0 h 16"/>
                <a:gd name="T6" fmla="*/ 0 w 15"/>
                <a:gd name="T7" fmla="*/ 7 h 16"/>
                <a:gd name="T8" fmla="*/ 6 w 15"/>
                <a:gd name="T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6" y="11"/>
                  </a:moveTo>
                  <a:cubicBezTo>
                    <a:pt x="4" y="11"/>
                    <a:pt x="2" y="11"/>
                    <a:pt x="3" y="15"/>
                  </a:cubicBezTo>
                  <a:cubicBezTo>
                    <a:pt x="11" y="16"/>
                    <a:pt x="15" y="11"/>
                    <a:pt x="14" y="0"/>
                  </a:cubicBezTo>
                  <a:cubicBezTo>
                    <a:pt x="9" y="2"/>
                    <a:pt x="2" y="2"/>
                    <a:pt x="0" y="7"/>
                  </a:cubicBezTo>
                  <a:cubicBezTo>
                    <a:pt x="2" y="8"/>
                    <a:pt x="5" y="7"/>
                    <a:pt x="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81" name="Freeform 32"/>
            <p:cNvSpPr>
              <a:spLocks/>
            </p:cNvSpPr>
            <p:nvPr userDrawn="1"/>
          </p:nvSpPr>
          <p:spPr bwMode="auto">
            <a:xfrm>
              <a:off x="7397377" y="1973826"/>
              <a:ext cx="51059" cy="37622"/>
            </a:xfrm>
            <a:custGeom>
              <a:avLst/>
              <a:gdLst>
                <a:gd name="T0" fmla="*/ 12 w 16"/>
                <a:gd name="T1" fmla="*/ 10 h 12"/>
                <a:gd name="T2" fmla="*/ 1 w 16"/>
                <a:gd name="T3" fmla="*/ 6 h 12"/>
                <a:gd name="T4" fmla="*/ 12 w 16"/>
                <a:gd name="T5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2" y="10"/>
                  </a:moveTo>
                  <a:cubicBezTo>
                    <a:pt x="16" y="0"/>
                    <a:pt x="0" y="0"/>
                    <a:pt x="1" y="6"/>
                  </a:cubicBezTo>
                  <a:cubicBezTo>
                    <a:pt x="5" y="8"/>
                    <a:pt x="6" y="12"/>
                    <a:pt x="1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82" name="Freeform 33"/>
            <p:cNvSpPr>
              <a:spLocks/>
            </p:cNvSpPr>
            <p:nvPr userDrawn="1"/>
          </p:nvSpPr>
          <p:spPr bwMode="auto">
            <a:xfrm>
              <a:off x="7508900" y="1983231"/>
              <a:ext cx="40310" cy="37622"/>
            </a:xfrm>
            <a:custGeom>
              <a:avLst/>
              <a:gdLst>
                <a:gd name="T0" fmla="*/ 12 w 13"/>
                <a:gd name="T1" fmla="*/ 11 h 12"/>
                <a:gd name="T2" fmla="*/ 1 w 13"/>
                <a:gd name="T3" fmla="*/ 0 h 12"/>
                <a:gd name="T4" fmla="*/ 12 w 13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2" y="11"/>
                  </a:moveTo>
                  <a:cubicBezTo>
                    <a:pt x="13" y="1"/>
                    <a:pt x="6" y="1"/>
                    <a:pt x="1" y="0"/>
                  </a:cubicBezTo>
                  <a:cubicBezTo>
                    <a:pt x="0" y="9"/>
                    <a:pt x="5" y="12"/>
                    <a:pt x="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83" name="Freeform 34"/>
            <p:cNvSpPr>
              <a:spLocks/>
            </p:cNvSpPr>
            <p:nvPr userDrawn="1"/>
          </p:nvSpPr>
          <p:spPr bwMode="auto">
            <a:xfrm>
              <a:off x="6061787" y="1989949"/>
              <a:ext cx="24186" cy="28217"/>
            </a:xfrm>
            <a:custGeom>
              <a:avLst/>
              <a:gdLst>
                <a:gd name="T0" fmla="*/ 0 w 8"/>
                <a:gd name="T1" fmla="*/ 1 h 9"/>
                <a:gd name="T2" fmla="*/ 0 w 8"/>
                <a:gd name="T3" fmla="*/ 9 h 9"/>
                <a:gd name="T4" fmla="*/ 8 w 8"/>
                <a:gd name="T5" fmla="*/ 9 h 9"/>
                <a:gd name="T6" fmla="*/ 0 w 8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3" y="9"/>
                    <a:pt x="5" y="9"/>
                    <a:pt x="8" y="9"/>
                  </a:cubicBezTo>
                  <a:cubicBezTo>
                    <a:pt x="8" y="2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84" name="Freeform 35"/>
            <p:cNvSpPr>
              <a:spLocks/>
            </p:cNvSpPr>
            <p:nvPr userDrawn="1"/>
          </p:nvSpPr>
          <p:spPr bwMode="auto">
            <a:xfrm>
              <a:off x="6290208" y="1976513"/>
              <a:ext cx="60464" cy="69870"/>
            </a:xfrm>
            <a:custGeom>
              <a:avLst/>
              <a:gdLst>
                <a:gd name="T0" fmla="*/ 19 w 19"/>
                <a:gd name="T1" fmla="*/ 13 h 22"/>
                <a:gd name="T2" fmla="*/ 0 w 19"/>
                <a:gd name="T3" fmla="*/ 13 h 22"/>
                <a:gd name="T4" fmla="*/ 19 w 19"/>
                <a:gd name="T5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22">
                  <a:moveTo>
                    <a:pt x="19" y="13"/>
                  </a:moveTo>
                  <a:cubicBezTo>
                    <a:pt x="13" y="11"/>
                    <a:pt x="2" y="0"/>
                    <a:pt x="0" y="13"/>
                  </a:cubicBezTo>
                  <a:cubicBezTo>
                    <a:pt x="9" y="8"/>
                    <a:pt x="17" y="22"/>
                    <a:pt x="19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85" name="Freeform 36"/>
            <p:cNvSpPr>
              <a:spLocks/>
            </p:cNvSpPr>
            <p:nvPr userDrawn="1"/>
          </p:nvSpPr>
          <p:spPr bwMode="auto">
            <a:xfrm>
              <a:off x="6632839" y="1980544"/>
              <a:ext cx="72557" cy="72557"/>
            </a:xfrm>
            <a:custGeom>
              <a:avLst/>
              <a:gdLst>
                <a:gd name="T0" fmla="*/ 14 w 23"/>
                <a:gd name="T1" fmla="*/ 23 h 23"/>
                <a:gd name="T2" fmla="*/ 14 w 23"/>
                <a:gd name="T3" fmla="*/ 4 h 23"/>
                <a:gd name="T4" fmla="*/ 3 w 23"/>
                <a:gd name="T5" fmla="*/ 4 h 23"/>
                <a:gd name="T6" fmla="*/ 0 w 23"/>
                <a:gd name="T7" fmla="*/ 16 h 23"/>
                <a:gd name="T8" fmla="*/ 14 w 23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4" y="23"/>
                  </a:moveTo>
                  <a:cubicBezTo>
                    <a:pt x="15" y="16"/>
                    <a:pt x="23" y="7"/>
                    <a:pt x="14" y="4"/>
                  </a:cubicBezTo>
                  <a:cubicBezTo>
                    <a:pt x="13" y="22"/>
                    <a:pt x="10" y="0"/>
                    <a:pt x="3" y="4"/>
                  </a:cubicBezTo>
                  <a:cubicBezTo>
                    <a:pt x="3" y="10"/>
                    <a:pt x="1" y="13"/>
                    <a:pt x="0" y="16"/>
                  </a:cubicBezTo>
                  <a:cubicBezTo>
                    <a:pt x="9" y="12"/>
                    <a:pt x="8" y="21"/>
                    <a:pt x="14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86" name="Freeform 37"/>
            <p:cNvSpPr>
              <a:spLocks/>
            </p:cNvSpPr>
            <p:nvPr userDrawn="1"/>
          </p:nvSpPr>
          <p:spPr bwMode="auto">
            <a:xfrm>
              <a:off x="8397054" y="1989949"/>
              <a:ext cx="32248" cy="51059"/>
            </a:xfrm>
            <a:custGeom>
              <a:avLst/>
              <a:gdLst>
                <a:gd name="T0" fmla="*/ 1 w 10"/>
                <a:gd name="T1" fmla="*/ 1 h 16"/>
                <a:gd name="T2" fmla="*/ 9 w 10"/>
                <a:gd name="T3" fmla="*/ 16 h 16"/>
                <a:gd name="T4" fmla="*/ 1 w 10"/>
                <a:gd name="T5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6">
                  <a:moveTo>
                    <a:pt x="1" y="1"/>
                  </a:moveTo>
                  <a:cubicBezTo>
                    <a:pt x="0" y="11"/>
                    <a:pt x="5" y="13"/>
                    <a:pt x="9" y="16"/>
                  </a:cubicBezTo>
                  <a:cubicBezTo>
                    <a:pt x="10" y="7"/>
                    <a:pt x="8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87" name="Freeform 38"/>
            <p:cNvSpPr>
              <a:spLocks/>
            </p:cNvSpPr>
            <p:nvPr userDrawn="1"/>
          </p:nvSpPr>
          <p:spPr bwMode="auto">
            <a:xfrm>
              <a:off x="7178362" y="2002042"/>
              <a:ext cx="76588" cy="83306"/>
            </a:xfrm>
            <a:custGeom>
              <a:avLst/>
              <a:gdLst>
                <a:gd name="T0" fmla="*/ 14 w 24"/>
                <a:gd name="T1" fmla="*/ 16 h 26"/>
                <a:gd name="T2" fmla="*/ 24 w 24"/>
                <a:gd name="T3" fmla="*/ 16 h 26"/>
                <a:gd name="T4" fmla="*/ 16 w 24"/>
                <a:gd name="T5" fmla="*/ 16 h 26"/>
                <a:gd name="T6" fmla="*/ 11 w 24"/>
                <a:gd name="T7" fmla="*/ 5 h 26"/>
                <a:gd name="T8" fmla="*/ 6 w 24"/>
                <a:gd name="T9" fmla="*/ 5 h 26"/>
                <a:gd name="T10" fmla="*/ 0 w 24"/>
                <a:gd name="T11" fmla="*/ 20 h 26"/>
                <a:gd name="T12" fmla="*/ 14 w 24"/>
                <a:gd name="T13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6">
                  <a:moveTo>
                    <a:pt x="14" y="16"/>
                  </a:moveTo>
                  <a:cubicBezTo>
                    <a:pt x="16" y="22"/>
                    <a:pt x="24" y="26"/>
                    <a:pt x="24" y="16"/>
                  </a:cubicBezTo>
                  <a:cubicBezTo>
                    <a:pt x="22" y="16"/>
                    <a:pt x="19" y="16"/>
                    <a:pt x="16" y="16"/>
                  </a:cubicBezTo>
                  <a:cubicBezTo>
                    <a:pt x="17" y="9"/>
                    <a:pt x="13" y="9"/>
                    <a:pt x="11" y="5"/>
                  </a:cubicBezTo>
                  <a:cubicBezTo>
                    <a:pt x="11" y="1"/>
                    <a:pt x="6" y="0"/>
                    <a:pt x="6" y="5"/>
                  </a:cubicBezTo>
                  <a:cubicBezTo>
                    <a:pt x="14" y="10"/>
                    <a:pt x="1" y="15"/>
                    <a:pt x="0" y="20"/>
                  </a:cubicBezTo>
                  <a:cubicBezTo>
                    <a:pt x="6" y="21"/>
                    <a:pt x="11" y="19"/>
                    <a:pt x="1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88" name="Freeform 39"/>
            <p:cNvSpPr>
              <a:spLocks/>
            </p:cNvSpPr>
            <p:nvPr userDrawn="1"/>
          </p:nvSpPr>
          <p:spPr bwMode="auto">
            <a:xfrm>
              <a:off x="6733613" y="2018166"/>
              <a:ext cx="25529" cy="22842"/>
            </a:xfrm>
            <a:custGeom>
              <a:avLst/>
              <a:gdLst>
                <a:gd name="T0" fmla="*/ 8 w 8"/>
                <a:gd name="T1" fmla="*/ 0 h 7"/>
                <a:gd name="T2" fmla="*/ 0 w 8"/>
                <a:gd name="T3" fmla="*/ 7 h 7"/>
                <a:gd name="T4" fmla="*/ 8 w 8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7">
                  <a:moveTo>
                    <a:pt x="8" y="0"/>
                  </a:moveTo>
                  <a:cubicBezTo>
                    <a:pt x="4" y="0"/>
                    <a:pt x="2" y="3"/>
                    <a:pt x="0" y="7"/>
                  </a:cubicBezTo>
                  <a:cubicBezTo>
                    <a:pt x="5" y="7"/>
                    <a:pt x="7" y="4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89" name="Freeform 40"/>
            <p:cNvSpPr>
              <a:spLocks/>
            </p:cNvSpPr>
            <p:nvPr userDrawn="1"/>
          </p:nvSpPr>
          <p:spPr bwMode="auto">
            <a:xfrm>
              <a:off x="8993635" y="2015479"/>
              <a:ext cx="28217" cy="44341"/>
            </a:xfrm>
            <a:custGeom>
              <a:avLst/>
              <a:gdLst>
                <a:gd name="T0" fmla="*/ 9 w 9"/>
                <a:gd name="T1" fmla="*/ 1 h 14"/>
                <a:gd name="T2" fmla="*/ 1 w 9"/>
                <a:gd name="T3" fmla="*/ 12 h 14"/>
                <a:gd name="T4" fmla="*/ 9 w 9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9" y="1"/>
                  </a:moveTo>
                  <a:cubicBezTo>
                    <a:pt x="3" y="0"/>
                    <a:pt x="0" y="4"/>
                    <a:pt x="1" y="12"/>
                  </a:cubicBezTo>
                  <a:cubicBezTo>
                    <a:pt x="8" y="14"/>
                    <a:pt x="6" y="4"/>
                    <a:pt x="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90" name="Freeform 41"/>
            <p:cNvSpPr>
              <a:spLocks/>
            </p:cNvSpPr>
            <p:nvPr userDrawn="1"/>
          </p:nvSpPr>
          <p:spPr bwMode="auto">
            <a:xfrm>
              <a:off x="6949941" y="2027572"/>
              <a:ext cx="56433" cy="95399"/>
            </a:xfrm>
            <a:custGeom>
              <a:avLst/>
              <a:gdLst>
                <a:gd name="T0" fmla="*/ 13 w 18"/>
                <a:gd name="T1" fmla="*/ 26 h 30"/>
                <a:gd name="T2" fmla="*/ 8 w 18"/>
                <a:gd name="T3" fmla="*/ 19 h 30"/>
                <a:gd name="T4" fmla="*/ 16 w 18"/>
                <a:gd name="T5" fmla="*/ 1 h 30"/>
                <a:gd name="T6" fmla="*/ 0 w 18"/>
                <a:gd name="T7" fmla="*/ 15 h 30"/>
                <a:gd name="T8" fmla="*/ 13 w 18"/>
                <a:gd name="T9" fmla="*/ 2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30">
                  <a:moveTo>
                    <a:pt x="13" y="26"/>
                  </a:moveTo>
                  <a:cubicBezTo>
                    <a:pt x="14" y="9"/>
                    <a:pt x="11" y="13"/>
                    <a:pt x="8" y="19"/>
                  </a:cubicBezTo>
                  <a:cubicBezTo>
                    <a:pt x="5" y="5"/>
                    <a:pt x="18" y="13"/>
                    <a:pt x="16" y="1"/>
                  </a:cubicBezTo>
                  <a:cubicBezTo>
                    <a:pt x="7" y="0"/>
                    <a:pt x="5" y="10"/>
                    <a:pt x="0" y="15"/>
                  </a:cubicBezTo>
                  <a:cubicBezTo>
                    <a:pt x="9" y="13"/>
                    <a:pt x="3" y="30"/>
                    <a:pt x="13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91" name="Freeform 42"/>
            <p:cNvSpPr>
              <a:spLocks/>
            </p:cNvSpPr>
            <p:nvPr userDrawn="1"/>
          </p:nvSpPr>
          <p:spPr bwMode="auto">
            <a:xfrm>
              <a:off x="7061464" y="2020853"/>
              <a:ext cx="40310" cy="60464"/>
            </a:xfrm>
            <a:custGeom>
              <a:avLst/>
              <a:gdLst>
                <a:gd name="T0" fmla="*/ 13 w 13"/>
                <a:gd name="T1" fmla="*/ 6 h 19"/>
                <a:gd name="T2" fmla="*/ 0 w 13"/>
                <a:gd name="T3" fmla="*/ 10 h 19"/>
                <a:gd name="T4" fmla="*/ 13 w 13"/>
                <a:gd name="T5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9">
                  <a:moveTo>
                    <a:pt x="13" y="6"/>
                  </a:moveTo>
                  <a:cubicBezTo>
                    <a:pt x="7" y="4"/>
                    <a:pt x="3" y="0"/>
                    <a:pt x="0" y="10"/>
                  </a:cubicBezTo>
                  <a:cubicBezTo>
                    <a:pt x="8" y="8"/>
                    <a:pt x="11" y="19"/>
                    <a:pt x="1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92" name="Freeform 43"/>
            <p:cNvSpPr>
              <a:spLocks/>
            </p:cNvSpPr>
            <p:nvPr userDrawn="1"/>
          </p:nvSpPr>
          <p:spPr bwMode="auto">
            <a:xfrm>
              <a:off x="7250919" y="2041008"/>
              <a:ext cx="67183" cy="49715"/>
            </a:xfrm>
            <a:custGeom>
              <a:avLst/>
              <a:gdLst>
                <a:gd name="T0" fmla="*/ 9 w 21"/>
                <a:gd name="T1" fmla="*/ 0 h 16"/>
                <a:gd name="T2" fmla="*/ 4 w 21"/>
                <a:gd name="T3" fmla="*/ 0 h 16"/>
                <a:gd name="T4" fmla="*/ 9 w 2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6">
                  <a:moveTo>
                    <a:pt x="9" y="0"/>
                  </a:moveTo>
                  <a:cubicBezTo>
                    <a:pt x="9" y="5"/>
                    <a:pt x="6" y="2"/>
                    <a:pt x="4" y="0"/>
                  </a:cubicBezTo>
                  <a:cubicBezTo>
                    <a:pt x="0" y="16"/>
                    <a:pt x="21" y="4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93" name="Freeform 44"/>
            <p:cNvSpPr>
              <a:spLocks/>
            </p:cNvSpPr>
            <p:nvPr userDrawn="1"/>
          </p:nvSpPr>
          <p:spPr bwMode="auto">
            <a:xfrm>
              <a:off x="7324820" y="2034290"/>
              <a:ext cx="44341" cy="88681"/>
            </a:xfrm>
            <a:custGeom>
              <a:avLst/>
              <a:gdLst>
                <a:gd name="T0" fmla="*/ 8 w 14"/>
                <a:gd name="T1" fmla="*/ 28 h 28"/>
                <a:gd name="T2" fmla="*/ 13 w 14"/>
                <a:gd name="T3" fmla="*/ 21 h 28"/>
                <a:gd name="T4" fmla="*/ 5 w 14"/>
                <a:gd name="T5" fmla="*/ 2 h 28"/>
                <a:gd name="T6" fmla="*/ 8 w 14"/>
                <a:gd name="T7" fmla="*/ 17 h 28"/>
                <a:gd name="T8" fmla="*/ 8 w 14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8">
                  <a:moveTo>
                    <a:pt x="8" y="28"/>
                  </a:moveTo>
                  <a:cubicBezTo>
                    <a:pt x="8" y="23"/>
                    <a:pt x="13" y="25"/>
                    <a:pt x="13" y="21"/>
                  </a:cubicBezTo>
                  <a:cubicBezTo>
                    <a:pt x="7" y="19"/>
                    <a:pt x="14" y="0"/>
                    <a:pt x="5" y="2"/>
                  </a:cubicBezTo>
                  <a:cubicBezTo>
                    <a:pt x="0" y="10"/>
                    <a:pt x="6" y="9"/>
                    <a:pt x="8" y="17"/>
                  </a:cubicBezTo>
                  <a:cubicBezTo>
                    <a:pt x="4" y="17"/>
                    <a:pt x="5" y="27"/>
                    <a:pt x="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94" name="Freeform 45"/>
            <p:cNvSpPr>
              <a:spLocks/>
            </p:cNvSpPr>
            <p:nvPr userDrawn="1"/>
          </p:nvSpPr>
          <p:spPr bwMode="auto">
            <a:xfrm>
              <a:off x="7504869" y="2041008"/>
              <a:ext cx="51059" cy="116898"/>
            </a:xfrm>
            <a:custGeom>
              <a:avLst/>
              <a:gdLst>
                <a:gd name="T0" fmla="*/ 7 w 16"/>
                <a:gd name="T1" fmla="*/ 0 h 37"/>
                <a:gd name="T2" fmla="*/ 5 w 16"/>
                <a:gd name="T3" fmla="*/ 15 h 37"/>
                <a:gd name="T4" fmla="*/ 10 w 16"/>
                <a:gd name="T5" fmla="*/ 22 h 37"/>
                <a:gd name="T6" fmla="*/ 5 w 16"/>
                <a:gd name="T7" fmla="*/ 37 h 37"/>
                <a:gd name="T8" fmla="*/ 16 w 16"/>
                <a:gd name="T9" fmla="*/ 30 h 37"/>
                <a:gd name="T10" fmla="*/ 13 w 16"/>
                <a:gd name="T11" fmla="*/ 22 h 37"/>
                <a:gd name="T12" fmla="*/ 7 w 16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37">
                  <a:moveTo>
                    <a:pt x="7" y="0"/>
                  </a:moveTo>
                  <a:cubicBezTo>
                    <a:pt x="2" y="10"/>
                    <a:pt x="8" y="10"/>
                    <a:pt x="5" y="15"/>
                  </a:cubicBezTo>
                  <a:cubicBezTo>
                    <a:pt x="3" y="17"/>
                    <a:pt x="10" y="21"/>
                    <a:pt x="10" y="22"/>
                  </a:cubicBezTo>
                  <a:cubicBezTo>
                    <a:pt x="10" y="25"/>
                    <a:pt x="0" y="30"/>
                    <a:pt x="5" y="37"/>
                  </a:cubicBezTo>
                  <a:cubicBezTo>
                    <a:pt x="10" y="37"/>
                    <a:pt x="14" y="35"/>
                    <a:pt x="16" y="30"/>
                  </a:cubicBezTo>
                  <a:cubicBezTo>
                    <a:pt x="9" y="30"/>
                    <a:pt x="12" y="28"/>
                    <a:pt x="13" y="22"/>
                  </a:cubicBezTo>
                  <a:cubicBezTo>
                    <a:pt x="14" y="14"/>
                    <a:pt x="9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95" name="Freeform 46"/>
            <p:cNvSpPr>
              <a:spLocks/>
            </p:cNvSpPr>
            <p:nvPr userDrawn="1"/>
          </p:nvSpPr>
          <p:spPr bwMode="auto">
            <a:xfrm>
              <a:off x="6753768" y="2046383"/>
              <a:ext cx="37622" cy="57777"/>
            </a:xfrm>
            <a:custGeom>
              <a:avLst/>
              <a:gdLst>
                <a:gd name="T0" fmla="*/ 2 w 12"/>
                <a:gd name="T1" fmla="*/ 6 h 18"/>
                <a:gd name="T2" fmla="*/ 0 w 12"/>
                <a:gd name="T3" fmla="*/ 13 h 18"/>
                <a:gd name="T4" fmla="*/ 2 w 12"/>
                <a:gd name="T5" fmla="*/ 2 h 18"/>
                <a:gd name="T6" fmla="*/ 2 w 12"/>
                <a:gd name="T7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8">
                  <a:moveTo>
                    <a:pt x="2" y="6"/>
                  </a:moveTo>
                  <a:cubicBezTo>
                    <a:pt x="2" y="6"/>
                    <a:pt x="0" y="13"/>
                    <a:pt x="0" y="13"/>
                  </a:cubicBezTo>
                  <a:cubicBezTo>
                    <a:pt x="3" y="18"/>
                    <a:pt x="12" y="0"/>
                    <a:pt x="2" y="2"/>
                  </a:cubicBezTo>
                  <a:cubicBezTo>
                    <a:pt x="2" y="2"/>
                    <a:pt x="3" y="5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96" name="Freeform 47"/>
            <p:cNvSpPr>
              <a:spLocks/>
            </p:cNvSpPr>
            <p:nvPr userDrawn="1"/>
          </p:nvSpPr>
          <p:spPr bwMode="auto">
            <a:xfrm>
              <a:off x="6171966" y="2071912"/>
              <a:ext cx="48371" cy="29560"/>
            </a:xfrm>
            <a:custGeom>
              <a:avLst/>
              <a:gdLst>
                <a:gd name="T0" fmla="*/ 8 w 15"/>
                <a:gd name="T1" fmla="*/ 1 h 9"/>
                <a:gd name="T2" fmla="*/ 0 w 15"/>
                <a:gd name="T3" fmla="*/ 5 h 9"/>
                <a:gd name="T4" fmla="*/ 8 w 15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8" y="1"/>
                  </a:moveTo>
                  <a:cubicBezTo>
                    <a:pt x="6" y="0"/>
                    <a:pt x="0" y="2"/>
                    <a:pt x="0" y="5"/>
                  </a:cubicBezTo>
                  <a:cubicBezTo>
                    <a:pt x="0" y="9"/>
                    <a:pt x="15" y="7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97" name="Freeform 48"/>
            <p:cNvSpPr>
              <a:spLocks/>
            </p:cNvSpPr>
            <p:nvPr userDrawn="1"/>
          </p:nvSpPr>
          <p:spPr bwMode="auto">
            <a:xfrm>
              <a:off x="7054746" y="2075943"/>
              <a:ext cx="34935" cy="34935"/>
            </a:xfrm>
            <a:custGeom>
              <a:avLst/>
              <a:gdLst>
                <a:gd name="T0" fmla="*/ 10 w 11"/>
                <a:gd name="T1" fmla="*/ 11 h 11"/>
                <a:gd name="T2" fmla="*/ 2 w 11"/>
                <a:gd name="T3" fmla="*/ 0 h 11"/>
                <a:gd name="T4" fmla="*/ 10 w 11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1">
                  <a:moveTo>
                    <a:pt x="10" y="11"/>
                  </a:moveTo>
                  <a:cubicBezTo>
                    <a:pt x="11" y="1"/>
                    <a:pt x="4" y="4"/>
                    <a:pt x="2" y="0"/>
                  </a:cubicBezTo>
                  <a:cubicBezTo>
                    <a:pt x="0" y="10"/>
                    <a:pt x="7" y="8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98" name="Freeform 49"/>
            <p:cNvSpPr>
              <a:spLocks/>
            </p:cNvSpPr>
            <p:nvPr userDrawn="1"/>
          </p:nvSpPr>
          <p:spPr bwMode="auto">
            <a:xfrm>
              <a:off x="7111179" y="2075943"/>
              <a:ext cx="48371" cy="72557"/>
            </a:xfrm>
            <a:custGeom>
              <a:avLst/>
              <a:gdLst>
                <a:gd name="T0" fmla="*/ 2 w 15"/>
                <a:gd name="T1" fmla="*/ 0 h 23"/>
                <a:gd name="T2" fmla="*/ 2 w 15"/>
                <a:gd name="T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3">
                  <a:moveTo>
                    <a:pt x="2" y="0"/>
                  </a:moveTo>
                  <a:cubicBezTo>
                    <a:pt x="0" y="23"/>
                    <a:pt x="15" y="3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99" name="Freeform 50"/>
            <p:cNvSpPr>
              <a:spLocks/>
            </p:cNvSpPr>
            <p:nvPr userDrawn="1"/>
          </p:nvSpPr>
          <p:spPr bwMode="auto">
            <a:xfrm>
              <a:off x="7143427" y="2088036"/>
              <a:ext cx="28217" cy="37622"/>
            </a:xfrm>
            <a:custGeom>
              <a:avLst/>
              <a:gdLst>
                <a:gd name="T0" fmla="*/ 8 w 9"/>
                <a:gd name="T1" fmla="*/ 11 h 12"/>
                <a:gd name="T2" fmla="*/ 3 w 9"/>
                <a:gd name="T3" fmla="*/ 0 h 12"/>
                <a:gd name="T4" fmla="*/ 0 w 9"/>
                <a:gd name="T5" fmla="*/ 7 h 12"/>
                <a:gd name="T6" fmla="*/ 8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11"/>
                  </a:moveTo>
                  <a:cubicBezTo>
                    <a:pt x="9" y="5"/>
                    <a:pt x="6" y="2"/>
                    <a:pt x="3" y="0"/>
                  </a:cubicBezTo>
                  <a:cubicBezTo>
                    <a:pt x="3" y="4"/>
                    <a:pt x="1" y="4"/>
                    <a:pt x="0" y="7"/>
                  </a:cubicBezTo>
                  <a:cubicBezTo>
                    <a:pt x="4" y="8"/>
                    <a:pt x="4" y="12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00" name="Freeform 51"/>
            <p:cNvSpPr>
              <a:spLocks/>
            </p:cNvSpPr>
            <p:nvPr userDrawn="1"/>
          </p:nvSpPr>
          <p:spPr bwMode="auto">
            <a:xfrm>
              <a:off x="6765860" y="2097442"/>
              <a:ext cx="41653" cy="38966"/>
            </a:xfrm>
            <a:custGeom>
              <a:avLst/>
              <a:gdLst>
                <a:gd name="T0" fmla="*/ 12 w 13"/>
                <a:gd name="T1" fmla="*/ 4 h 12"/>
                <a:gd name="T2" fmla="*/ 4 w 13"/>
                <a:gd name="T3" fmla="*/ 1 h 12"/>
                <a:gd name="T4" fmla="*/ 12 w 13"/>
                <a:gd name="T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2" y="4"/>
                  </a:moveTo>
                  <a:cubicBezTo>
                    <a:pt x="8" y="4"/>
                    <a:pt x="8" y="0"/>
                    <a:pt x="4" y="1"/>
                  </a:cubicBezTo>
                  <a:cubicBezTo>
                    <a:pt x="0" y="10"/>
                    <a:pt x="13" y="12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01" name="Freeform 52"/>
            <p:cNvSpPr>
              <a:spLocks/>
            </p:cNvSpPr>
            <p:nvPr userDrawn="1"/>
          </p:nvSpPr>
          <p:spPr bwMode="auto">
            <a:xfrm>
              <a:off x="7400064" y="2148500"/>
              <a:ext cx="32248" cy="34935"/>
            </a:xfrm>
            <a:custGeom>
              <a:avLst/>
              <a:gdLst>
                <a:gd name="T0" fmla="*/ 8 w 10"/>
                <a:gd name="T1" fmla="*/ 11 h 11"/>
                <a:gd name="T2" fmla="*/ 0 w 10"/>
                <a:gd name="T3" fmla="*/ 0 h 11"/>
                <a:gd name="T4" fmla="*/ 8 w 10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8" y="11"/>
                  </a:moveTo>
                  <a:cubicBezTo>
                    <a:pt x="10" y="1"/>
                    <a:pt x="3" y="3"/>
                    <a:pt x="0" y="0"/>
                  </a:cubicBezTo>
                  <a:cubicBezTo>
                    <a:pt x="0" y="8"/>
                    <a:pt x="2" y="11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02" name="Freeform 53"/>
            <p:cNvSpPr>
              <a:spLocks/>
            </p:cNvSpPr>
            <p:nvPr userDrawn="1"/>
          </p:nvSpPr>
          <p:spPr bwMode="auto">
            <a:xfrm>
              <a:off x="7674169" y="2155219"/>
              <a:ext cx="37622" cy="37622"/>
            </a:xfrm>
            <a:custGeom>
              <a:avLst/>
              <a:gdLst>
                <a:gd name="T0" fmla="*/ 6 w 12"/>
                <a:gd name="T1" fmla="*/ 12 h 12"/>
                <a:gd name="T2" fmla="*/ 11 w 12"/>
                <a:gd name="T3" fmla="*/ 1 h 12"/>
                <a:gd name="T4" fmla="*/ 0 w 12"/>
                <a:gd name="T5" fmla="*/ 5 h 12"/>
                <a:gd name="T6" fmla="*/ 6 w 12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6" y="7"/>
                    <a:pt x="12" y="9"/>
                    <a:pt x="11" y="1"/>
                  </a:cubicBezTo>
                  <a:cubicBezTo>
                    <a:pt x="7" y="2"/>
                    <a:pt x="1" y="0"/>
                    <a:pt x="0" y="5"/>
                  </a:cubicBezTo>
                  <a:cubicBezTo>
                    <a:pt x="4" y="5"/>
                    <a:pt x="3" y="11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03" name="Freeform 54"/>
            <p:cNvSpPr>
              <a:spLocks/>
            </p:cNvSpPr>
            <p:nvPr userDrawn="1"/>
          </p:nvSpPr>
          <p:spPr bwMode="auto">
            <a:xfrm>
              <a:off x="7991271" y="2157906"/>
              <a:ext cx="56433" cy="47028"/>
            </a:xfrm>
            <a:custGeom>
              <a:avLst/>
              <a:gdLst>
                <a:gd name="T0" fmla="*/ 13 w 18"/>
                <a:gd name="T1" fmla="*/ 15 h 15"/>
                <a:gd name="T2" fmla="*/ 18 w 18"/>
                <a:gd name="T3" fmla="*/ 4 h 15"/>
                <a:gd name="T4" fmla="*/ 0 w 18"/>
                <a:gd name="T5" fmla="*/ 11 h 15"/>
                <a:gd name="T6" fmla="*/ 13 w 18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13" y="15"/>
                  </a:moveTo>
                  <a:cubicBezTo>
                    <a:pt x="12" y="8"/>
                    <a:pt x="17" y="8"/>
                    <a:pt x="18" y="4"/>
                  </a:cubicBezTo>
                  <a:cubicBezTo>
                    <a:pt x="15" y="0"/>
                    <a:pt x="1" y="2"/>
                    <a:pt x="0" y="11"/>
                  </a:cubicBezTo>
                  <a:cubicBezTo>
                    <a:pt x="11" y="9"/>
                    <a:pt x="9" y="8"/>
                    <a:pt x="13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04" name="Freeform 55"/>
            <p:cNvSpPr>
              <a:spLocks/>
            </p:cNvSpPr>
            <p:nvPr userDrawn="1"/>
          </p:nvSpPr>
          <p:spPr bwMode="auto">
            <a:xfrm>
              <a:off x="7359755" y="2190154"/>
              <a:ext cx="14780" cy="37622"/>
            </a:xfrm>
            <a:custGeom>
              <a:avLst/>
              <a:gdLst>
                <a:gd name="T0" fmla="*/ 0 w 5"/>
                <a:gd name="T1" fmla="*/ 1 h 12"/>
                <a:gd name="T2" fmla="*/ 0 w 5"/>
                <a:gd name="T3" fmla="*/ 9 h 12"/>
                <a:gd name="T4" fmla="*/ 5 w 5"/>
                <a:gd name="T5" fmla="*/ 12 h 12"/>
                <a:gd name="T6" fmla="*/ 0 w 5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2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3" y="12"/>
                    <a:pt x="5" y="12"/>
                  </a:cubicBezTo>
                  <a:cubicBezTo>
                    <a:pt x="5" y="7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05" name="Freeform 56"/>
            <p:cNvSpPr>
              <a:spLocks/>
            </p:cNvSpPr>
            <p:nvPr userDrawn="1"/>
          </p:nvSpPr>
          <p:spPr bwMode="auto">
            <a:xfrm>
              <a:off x="7742695" y="2202246"/>
              <a:ext cx="25529" cy="51059"/>
            </a:xfrm>
            <a:custGeom>
              <a:avLst/>
              <a:gdLst>
                <a:gd name="T0" fmla="*/ 0 w 8"/>
                <a:gd name="T1" fmla="*/ 1 h 16"/>
                <a:gd name="T2" fmla="*/ 5 w 8"/>
                <a:gd name="T3" fmla="*/ 16 h 16"/>
                <a:gd name="T4" fmla="*/ 8 w 8"/>
                <a:gd name="T5" fmla="*/ 5 h 16"/>
                <a:gd name="T6" fmla="*/ 0 w 8"/>
                <a:gd name="T7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6">
                  <a:moveTo>
                    <a:pt x="0" y="1"/>
                  </a:moveTo>
                  <a:cubicBezTo>
                    <a:pt x="0" y="8"/>
                    <a:pt x="1" y="13"/>
                    <a:pt x="5" y="16"/>
                  </a:cubicBezTo>
                  <a:cubicBezTo>
                    <a:pt x="5" y="11"/>
                    <a:pt x="6" y="8"/>
                    <a:pt x="8" y="5"/>
                  </a:cubicBezTo>
                  <a:cubicBezTo>
                    <a:pt x="4" y="5"/>
                    <a:pt x="4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06" name="Freeform 57"/>
            <p:cNvSpPr>
              <a:spLocks/>
            </p:cNvSpPr>
            <p:nvPr userDrawn="1"/>
          </p:nvSpPr>
          <p:spPr bwMode="auto">
            <a:xfrm>
              <a:off x="7698355" y="2225089"/>
              <a:ext cx="34935" cy="63152"/>
            </a:xfrm>
            <a:custGeom>
              <a:avLst/>
              <a:gdLst>
                <a:gd name="T0" fmla="*/ 0 w 11"/>
                <a:gd name="T1" fmla="*/ 9 h 20"/>
                <a:gd name="T2" fmla="*/ 11 w 11"/>
                <a:gd name="T3" fmla="*/ 9 h 20"/>
                <a:gd name="T4" fmla="*/ 0 w 11"/>
                <a:gd name="T5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0">
                  <a:moveTo>
                    <a:pt x="0" y="9"/>
                  </a:moveTo>
                  <a:cubicBezTo>
                    <a:pt x="5" y="5"/>
                    <a:pt x="9" y="20"/>
                    <a:pt x="11" y="9"/>
                  </a:cubicBezTo>
                  <a:cubicBezTo>
                    <a:pt x="9" y="8"/>
                    <a:pt x="1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07" name="Freeform 58"/>
            <p:cNvSpPr>
              <a:spLocks/>
            </p:cNvSpPr>
            <p:nvPr userDrawn="1"/>
          </p:nvSpPr>
          <p:spPr bwMode="auto">
            <a:xfrm>
              <a:off x="7749414" y="2329893"/>
              <a:ext cx="18811" cy="40310"/>
            </a:xfrm>
            <a:custGeom>
              <a:avLst/>
              <a:gdLst>
                <a:gd name="T0" fmla="*/ 0 w 6"/>
                <a:gd name="T1" fmla="*/ 2 h 13"/>
                <a:gd name="T2" fmla="*/ 0 w 6"/>
                <a:gd name="T3" fmla="*/ 9 h 13"/>
                <a:gd name="T4" fmla="*/ 6 w 6"/>
                <a:gd name="T5" fmla="*/ 13 h 13"/>
                <a:gd name="T6" fmla="*/ 0 w 6"/>
                <a:gd name="T7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3">
                  <a:moveTo>
                    <a:pt x="0" y="2"/>
                  </a:moveTo>
                  <a:cubicBezTo>
                    <a:pt x="0" y="4"/>
                    <a:pt x="0" y="7"/>
                    <a:pt x="0" y="9"/>
                  </a:cubicBezTo>
                  <a:cubicBezTo>
                    <a:pt x="3" y="9"/>
                    <a:pt x="4" y="12"/>
                    <a:pt x="6" y="13"/>
                  </a:cubicBezTo>
                  <a:cubicBezTo>
                    <a:pt x="5" y="7"/>
                    <a:pt x="6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08" name="Freeform 59"/>
            <p:cNvSpPr>
              <a:spLocks/>
            </p:cNvSpPr>
            <p:nvPr userDrawn="1"/>
          </p:nvSpPr>
          <p:spPr bwMode="auto">
            <a:xfrm>
              <a:off x="6892164" y="2354079"/>
              <a:ext cx="67183" cy="38966"/>
            </a:xfrm>
            <a:custGeom>
              <a:avLst/>
              <a:gdLst>
                <a:gd name="T0" fmla="*/ 20 w 21"/>
                <a:gd name="T1" fmla="*/ 1 h 12"/>
                <a:gd name="T2" fmla="*/ 15 w 21"/>
                <a:gd name="T3" fmla="*/ 1 h 12"/>
                <a:gd name="T4" fmla="*/ 20 w 21"/>
                <a:gd name="T5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2">
                  <a:moveTo>
                    <a:pt x="20" y="1"/>
                  </a:moveTo>
                  <a:cubicBezTo>
                    <a:pt x="18" y="1"/>
                    <a:pt x="17" y="1"/>
                    <a:pt x="15" y="1"/>
                  </a:cubicBezTo>
                  <a:cubicBezTo>
                    <a:pt x="0" y="0"/>
                    <a:pt x="21" y="12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09" name="Freeform 60"/>
            <p:cNvSpPr>
              <a:spLocks/>
            </p:cNvSpPr>
            <p:nvPr userDrawn="1"/>
          </p:nvSpPr>
          <p:spPr bwMode="auto">
            <a:xfrm>
              <a:off x="2995573" y="2386327"/>
              <a:ext cx="18811" cy="67183"/>
            </a:xfrm>
            <a:custGeom>
              <a:avLst/>
              <a:gdLst>
                <a:gd name="T0" fmla="*/ 3 w 6"/>
                <a:gd name="T1" fmla="*/ 21 h 21"/>
                <a:gd name="T2" fmla="*/ 1 w 6"/>
                <a:gd name="T3" fmla="*/ 13 h 21"/>
                <a:gd name="T4" fmla="*/ 3 w 6"/>
                <a:gd name="T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1">
                  <a:moveTo>
                    <a:pt x="3" y="21"/>
                  </a:moveTo>
                  <a:cubicBezTo>
                    <a:pt x="6" y="20"/>
                    <a:pt x="5" y="0"/>
                    <a:pt x="1" y="13"/>
                  </a:cubicBezTo>
                  <a:cubicBezTo>
                    <a:pt x="0" y="16"/>
                    <a:pt x="2" y="21"/>
                    <a:pt x="3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0" name="Freeform 61"/>
            <p:cNvSpPr>
              <a:spLocks/>
            </p:cNvSpPr>
            <p:nvPr userDrawn="1"/>
          </p:nvSpPr>
          <p:spPr bwMode="auto">
            <a:xfrm>
              <a:off x="2970044" y="2423949"/>
              <a:ext cx="18811" cy="38966"/>
            </a:xfrm>
            <a:custGeom>
              <a:avLst/>
              <a:gdLst>
                <a:gd name="T0" fmla="*/ 3 w 6"/>
                <a:gd name="T1" fmla="*/ 12 h 12"/>
                <a:gd name="T2" fmla="*/ 6 w 6"/>
                <a:gd name="T3" fmla="*/ 9 h 12"/>
                <a:gd name="T4" fmla="*/ 0 w 6"/>
                <a:gd name="T5" fmla="*/ 1 h 12"/>
                <a:gd name="T6" fmla="*/ 3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3" y="12"/>
                  </a:moveTo>
                  <a:cubicBezTo>
                    <a:pt x="3" y="10"/>
                    <a:pt x="4" y="8"/>
                    <a:pt x="6" y="9"/>
                  </a:cubicBezTo>
                  <a:cubicBezTo>
                    <a:pt x="6" y="4"/>
                    <a:pt x="5" y="0"/>
                    <a:pt x="0" y="1"/>
                  </a:cubicBezTo>
                  <a:cubicBezTo>
                    <a:pt x="1" y="6"/>
                    <a:pt x="0" y="12"/>
                    <a:pt x="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1" name="Freeform 62"/>
            <p:cNvSpPr>
              <a:spLocks/>
            </p:cNvSpPr>
            <p:nvPr userDrawn="1"/>
          </p:nvSpPr>
          <p:spPr bwMode="auto">
            <a:xfrm>
              <a:off x="3023790" y="2440073"/>
              <a:ext cx="41653" cy="38966"/>
            </a:xfrm>
            <a:custGeom>
              <a:avLst/>
              <a:gdLst>
                <a:gd name="T0" fmla="*/ 13 w 13"/>
                <a:gd name="T1" fmla="*/ 4 h 12"/>
                <a:gd name="T2" fmla="*/ 2 w 13"/>
                <a:gd name="T3" fmla="*/ 11 h 12"/>
                <a:gd name="T4" fmla="*/ 13 w 13"/>
                <a:gd name="T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4"/>
                  </a:moveTo>
                  <a:cubicBezTo>
                    <a:pt x="8" y="5"/>
                    <a:pt x="0" y="0"/>
                    <a:pt x="2" y="11"/>
                  </a:cubicBezTo>
                  <a:cubicBezTo>
                    <a:pt x="9" y="12"/>
                    <a:pt x="13" y="10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2" name="Freeform 63"/>
            <p:cNvSpPr>
              <a:spLocks/>
            </p:cNvSpPr>
            <p:nvPr userDrawn="1"/>
          </p:nvSpPr>
          <p:spPr bwMode="auto">
            <a:xfrm>
              <a:off x="3792359" y="3484090"/>
              <a:ext cx="28217" cy="64495"/>
            </a:xfrm>
            <a:custGeom>
              <a:avLst/>
              <a:gdLst>
                <a:gd name="T0" fmla="*/ 8 w 9"/>
                <a:gd name="T1" fmla="*/ 19 h 20"/>
                <a:gd name="T2" fmla="*/ 0 w 9"/>
                <a:gd name="T3" fmla="*/ 0 h 20"/>
                <a:gd name="T4" fmla="*/ 8 w 9"/>
                <a:gd name="T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0">
                  <a:moveTo>
                    <a:pt x="8" y="19"/>
                  </a:moveTo>
                  <a:cubicBezTo>
                    <a:pt x="9" y="7"/>
                    <a:pt x="4" y="4"/>
                    <a:pt x="0" y="0"/>
                  </a:cubicBezTo>
                  <a:cubicBezTo>
                    <a:pt x="2" y="7"/>
                    <a:pt x="0" y="20"/>
                    <a:pt x="8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3" name="Freeform 64"/>
            <p:cNvSpPr>
              <a:spLocks/>
            </p:cNvSpPr>
            <p:nvPr userDrawn="1"/>
          </p:nvSpPr>
          <p:spPr bwMode="auto">
            <a:xfrm>
              <a:off x="3338205" y="3532462"/>
              <a:ext cx="47028" cy="75245"/>
            </a:xfrm>
            <a:custGeom>
              <a:avLst/>
              <a:gdLst>
                <a:gd name="T0" fmla="*/ 6 w 15"/>
                <a:gd name="T1" fmla="*/ 0 h 24"/>
                <a:gd name="T2" fmla="*/ 6 w 15"/>
                <a:gd name="T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4">
                  <a:moveTo>
                    <a:pt x="6" y="0"/>
                  </a:moveTo>
                  <a:cubicBezTo>
                    <a:pt x="0" y="24"/>
                    <a:pt x="15" y="1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4" name="Freeform 65"/>
            <p:cNvSpPr>
              <a:spLocks/>
            </p:cNvSpPr>
            <p:nvPr userDrawn="1"/>
          </p:nvSpPr>
          <p:spPr bwMode="auto">
            <a:xfrm>
              <a:off x="3748018" y="3523056"/>
              <a:ext cx="37622" cy="81963"/>
            </a:xfrm>
            <a:custGeom>
              <a:avLst/>
              <a:gdLst>
                <a:gd name="T0" fmla="*/ 3 w 12"/>
                <a:gd name="T1" fmla="*/ 3 h 26"/>
                <a:gd name="T2" fmla="*/ 0 w 12"/>
                <a:gd name="T3" fmla="*/ 25 h 26"/>
                <a:gd name="T4" fmla="*/ 6 w 12"/>
                <a:gd name="T5" fmla="*/ 14 h 26"/>
                <a:gd name="T6" fmla="*/ 3 w 12"/>
                <a:gd name="T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3" y="3"/>
                  </a:moveTo>
                  <a:cubicBezTo>
                    <a:pt x="5" y="14"/>
                    <a:pt x="0" y="16"/>
                    <a:pt x="0" y="25"/>
                  </a:cubicBezTo>
                  <a:cubicBezTo>
                    <a:pt x="7" y="26"/>
                    <a:pt x="4" y="21"/>
                    <a:pt x="6" y="14"/>
                  </a:cubicBezTo>
                  <a:cubicBezTo>
                    <a:pt x="7" y="9"/>
                    <a:pt x="12" y="0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5" name="Freeform 66"/>
            <p:cNvSpPr>
              <a:spLocks/>
            </p:cNvSpPr>
            <p:nvPr userDrawn="1"/>
          </p:nvSpPr>
          <p:spPr bwMode="auto">
            <a:xfrm>
              <a:off x="2998261" y="3574115"/>
              <a:ext cx="32248" cy="63152"/>
            </a:xfrm>
            <a:custGeom>
              <a:avLst/>
              <a:gdLst>
                <a:gd name="T0" fmla="*/ 0 w 10"/>
                <a:gd name="T1" fmla="*/ 9 h 20"/>
                <a:gd name="T2" fmla="*/ 10 w 10"/>
                <a:gd name="T3" fmla="*/ 9 h 20"/>
                <a:gd name="T4" fmla="*/ 0 w 10"/>
                <a:gd name="T5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9"/>
                  </a:moveTo>
                  <a:cubicBezTo>
                    <a:pt x="5" y="6"/>
                    <a:pt x="9" y="20"/>
                    <a:pt x="10" y="9"/>
                  </a:cubicBezTo>
                  <a:cubicBezTo>
                    <a:pt x="9" y="8"/>
                    <a:pt x="0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6" name="Freeform 67"/>
            <p:cNvSpPr>
              <a:spLocks/>
            </p:cNvSpPr>
            <p:nvPr userDrawn="1"/>
          </p:nvSpPr>
          <p:spPr bwMode="auto">
            <a:xfrm>
              <a:off x="3151437" y="3672202"/>
              <a:ext cx="44341" cy="69870"/>
            </a:xfrm>
            <a:custGeom>
              <a:avLst/>
              <a:gdLst>
                <a:gd name="T0" fmla="*/ 3 w 14"/>
                <a:gd name="T1" fmla="*/ 0 h 22"/>
                <a:gd name="T2" fmla="*/ 3 w 14"/>
                <a:gd name="T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22">
                  <a:moveTo>
                    <a:pt x="3" y="0"/>
                  </a:moveTo>
                  <a:cubicBezTo>
                    <a:pt x="0" y="22"/>
                    <a:pt x="14" y="2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7" name="Freeform 68"/>
            <p:cNvSpPr>
              <a:spLocks/>
            </p:cNvSpPr>
            <p:nvPr userDrawn="1"/>
          </p:nvSpPr>
          <p:spPr bwMode="auto">
            <a:xfrm>
              <a:off x="3140688" y="3872406"/>
              <a:ext cx="20155" cy="24186"/>
            </a:xfrm>
            <a:custGeom>
              <a:avLst/>
              <a:gdLst>
                <a:gd name="T0" fmla="*/ 6 w 6"/>
                <a:gd name="T1" fmla="*/ 0 h 8"/>
                <a:gd name="T2" fmla="*/ 0 w 6"/>
                <a:gd name="T3" fmla="*/ 0 h 8"/>
                <a:gd name="T4" fmla="*/ 0 w 6"/>
                <a:gd name="T5" fmla="*/ 8 h 8"/>
                <a:gd name="T6" fmla="*/ 6 w 6"/>
                <a:gd name="T7" fmla="*/ 8 h 8"/>
                <a:gd name="T8" fmla="*/ 6 w 6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6" y="8"/>
                  </a:cubicBezTo>
                  <a:cubicBezTo>
                    <a:pt x="6" y="5"/>
                    <a:pt x="6" y="3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8" name="Freeform 69"/>
            <p:cNvSpPr>
              <a:spLocks/>
            </p:cNvSpPr>
            <p:nvPr userDrawn="1"/>
          </p:nvSpPr>
          <p:spPr bwMode="auto">
            <a:xfrm>
              <a:off x="3081567" y="3919434"/>
              <a:ext cx="72557" cy="116898"/>
            </a:xfrm>
            <a:custGeom>
              <a:avLst/>
              <a:gdLst>
                <a:gd name="T0" fmla="*/ 11 w 23"/>
                <a:gd name="T1" fmla="*/ 4 h 37"/>
                <a:gd name="T2" fmla="*/ 3 w 23"/>
                <a:gd name="T3" fmla="*/ 0 h 37"/>
                <a:gd name="T4" fmla="*/ 3 w 23"/>
                <a:gd name="T5" fmla="*/ 33 h 37"/>
                <a:gd name="T6" fmla="*/ 22 w 23"/>
                <a:gd name="T7" fmla="*/ 26 h 37"/>
                <a:gd name="T8" fmla="*/ 17 w 23"/>
                <a:gd name="T9" fmla="*/ 15 h 37"/>
                <a:gd name="T10" fmla="*/ 14 w 23"/>
                <a:gd name="T11" fmla="*/ 4 h 37"/>
                <a:gd name="T12" fmla="*/ 6 w 23"/>
                <a:gd name="T13" fmla="*/ 11 h 37"/>
                <a:gd name="T14" fmla="*/ 11 w 23"/>
                <a:gd name="T15" fmla="*/ 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7">
                  <a:moveTo>
                    <a:pt x="11" y="4"/>
                  </a:moveTo>
                  <a:cubicBezTo>
                    <a:pt x="8" y="4"/>
                    <a:pt x="5" y="2"/>
                    <a:pt x="3" y="0"/>
                  </a:cubicBezTo>
                  <a:cubicBezTo>
                    <a:pt x="2" y="17"/>
                    <a:pt x="0" y="18"/>
                    <a:pt x="3" y="33"/>
                  </a:cubicBezTo>
                  <a:cubicBezTo>
                    <a:pt x="14" y="37"/>
                    <a:pt x="10" y="20"/>
                    <a:pt x="22" y="26"/>
                  </a:cubicBezTo>
                  <a:cubicBezTo>
                    <a:pt x="23" y="18"/>
                    <a:pt x="18" y="19"/>
                    <a:pt x="17" y="15"/>
                  </a:cubicBezTo>
                  <a:cubicBezTo>
                    <a:pt x="16" y="13"/>
                    <a:pt x="22" y="4"/>
                    <a:pt x="14" y="4"/>
                  </a:cubicBezTo>
                  <a:cubicBezTo>
                    <a:pt x="16" y="11"/>
                    <a:pt x="7" y="20"/>
                    <a:pt x="6" y="11"/>
                  </a:cubicBezTo>
                  <a:cubicBezTo>
                    <a:pt x="9" y="11"/>
                    <a:pt x="12" y="10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19" name="Freeform 70"/>
            <p:cNvSpPr>
              <a:spLocks/>
            </p:cNvSpPr>
            <p:nvPr userDrawn="1"/>
          </p:nvSpPr>
          <p:spPr bwMode="auto">
            <a:xfrm>
              <a:off x="3058725" y="3912715"/>
              <a:ext cx="32248" cy="60464"/>
            </a:xfrm>
            <a:custGeom>
              <a:avLst/>
              <a:gdLst>
                <a:gd name="T0" fmla="*/ 0 w 10"/>
                <a:gd name="T1" fmla="*/ 9 h 19"/>
                <a:gd name="T2" fmla="*/ 7 w 10"/>
                <a:gd name="T3" fmla="*/ 17 h 19"/>
                <a:gd name="T4" fmla="*/ 0 w 10"/>
                <a:gd name="T5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9">
                  <a:moveTo>
                    <a:pt x="0" y="9"/>
                  </a:moveTo>
                  <a:cubicBezTo>
                    <a:pt x="4" y="10"/>
                    <a:pt x="2" y="19"/>
                    <a:pt x="7" y="17"/>
                  </a:cubicBezTo>
                  <a:cubicBezTo>
                    <a:pt x="10" y="9"/>
                    <a:pt x="1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20" name="Freeform 71"/>
            <p:cNvSpPr>
              <a:spLocks/>
            </p:cNvSpPr>
            <p:nvPr userDrawn="1"/>
          </p:nvSpPr>
          <p:spPr bwMode="auto">
            <a:xfrm>
              <a:off x="3125908" y="4049768"/>
              <a:ext cx="75245" cy="126303"/>
            </a:xfrm>
            <a:custGeom>
              <a:avLst/>
              <a:gdLst>
                <a:gd name="T0" fmla="*/ 0 w 24"/>
                <a:gd name="T1" fmla="*/ 29 h 40"/>
                <a:gd name="T2" fmla="*/ 19 w 24"/>
                <a:gd name="T3" fmla="*/ 22 h 40"/>
                <a:gd name="T4" fmla="*/ 21 w 24"/>
                <a:gd name="T5" fmla="*/ 40 h 40"/>
                <a:gd name="T6" fmla="*/ 24 w 24"/>
                <a:gd name="T7" fmla="*/ 18 h 40"/>
                <a:gd name="T8" fmla="*/ 16 w 24"/>
                <a:gd name="T9" fmla="*/ 0 h 40"/>
                <a:gd name="T10" fmla="*/ 13 w 24"/>
                <a:gd name="T11" fmla="*/ 18 h 40"/>
                <a:gd name="T12" fmla="*/ 0 w 24"/>
                <a:gd name="T13" fmla="*/ 2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0">
                  <a:moveTo>
                    <a:pt x="0" y="29"/>
                  </a:moveTo>
                  <a:cubicBezTo>
                    <a:pt x="8" y="30"/>
                    <a:pt x="8" y="18"/>
                    <a:pt x="19" y="22"/>
                  </a:cubicBezTo>
                  <a:cubicBezTo>
                    <a:pt x="15" y="27"/>
                    <a:pt x="17" y="37"/>
                    <a:pt x="21" y="40"/>
                  </a:cubicBezTo>
                  <a:cubicBezTo>
                    <a:pt x="21" y="31"/>
                    <a:pt x="21" y="23"/>
                    <a:pt x="24" y="18"/>
                  </a:cubicBezTo>
                  <a:cubicBezTo>
                    <a:pt x="16" y="20"/>
                    <a:pt x="22" y="1"/>
                    <a:pt x="16" y="0"/>
                  </a:cubicBezTo>
                  <a:cubicBezTo>
                    <a:pt x="12" y="8"/>
                    <a:pt x="10" y="7"/>
                    <a:pt x="13" y="18"/>
                  </a:cubicBezTo>
                  <a:cubicBezTo>
                    <a:pt x="5" y="16"/>
                    <a:pt x="2" y="23"/>
                    <a:pt x="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21" name="Freeform 72"/>
            <p:cNvSpPr>
              <a:spLocks/>
            </p:cNvSpPr>
            <p:nvPr userDrawn="1"/>
          </p:nvSpPr>
          <p:spPr bwMode="auto">
            <a:xfrm>
              <a:off x="2792682" y="4059173"/>
              <a:ext cx="14780" cy="47028"/>
            </a:xfrm>
            <a:custGeom>
              <a:avLst/>
              <a:gdLst>
                <a:gd name="T0" fmla="*/ 5 w 5"/>
                <a:gd name="T1" fmla="*/ 15 h 15"/>
                <a:gd name="T2" fmla="*/ 5 w 5"/>
                <a:gd name="T3" fmla="*/ 0 h 15"/>
                <a:gd name="T4" fmla="*/ 0 w 5"/>
                <a:gd name="T5" fmla="*/ 0 h 15"/>
                <a:gd name="T6" fmla="*/ 0 w 5"/>
                <a:gd name="T7" fmla="*/ 15 h 15"/>
                <a:gd name="T8" fmla="*/ 5 w 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5">
                  <a:moveTo>
                    <a:pt x="5" y="15"/>
                  </a:moveTo>
                  <a:cubicBezTo>
                    <a:pt x="5" y="10"/>
                    <a:pt x="5" y="5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5"/>
                    <a:pt x="0" y="10"/>
                    <a:pt x="0" y="15"/>
                  </a:cubicBezTo>
                  <a:cubicBezTo>
                    <a:pt x="2" y="15"/>
                    <a:pt x="4" y="15"/>
                    <a:pt x="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22" name="Freeform 73"/>
            <p:cNvSpPr>
              <a:spLocks/>
            </p:cNvSpPr>
            <p:nvPr userDrawn="1"/>
          </p:nvSpPr>
          <p:spPr bwMode="auto">
            <a:xfrm>
              <a:off x="2823586" y="4059173"/>
              <a:ext cx="44341" cy="72557"/>
            </a:xfrm>
            <a:custGeom>
              <a:avLst/>
              <a:gdLst>
                <a:gd name="T0" fmla="*/ 9 w 14"/>
                <a:gd name="T1" fmla="*/ 23 h 23"/>
                <a:gd name="T2" fmla="*/ 14 w 14"/>
                <a:gd name="T3" fmla="*/ 8 h 23"/>
                <a:gd name="T4" fmla="*/ 4 w 14"/>
                <a:gd name="T5" fmla="*/ 0 h 23"/>
                <a:gd name="T6" fmla="*/ 9 w 14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3">
                  <a:moveTo>
                    <a:pt x="9" y="23"/>
                  </a:moveTo>
                  <a:cubicBezTo>
                    <a:pt x="10" y="17"/>
                    <a:pt x="13" y="13"/>
                    <a:pt x="14" y="8"/>
                  </a:cubicBezTo>
                  <a:cubicBezTo>
                    <a:pt x="10" y="6"/>
                    <a:pt x="7" y="2"/>
                    <a:pt x="4" y="0"/>
                  </a:cubicBezTo>
                  <a:cubicBezTo>
                    <a:pt x="9" y="11"/>
                    <a:pt x="0" y="19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23" name="Freeform 74"/>
            <p:cNvSpPr>
              <a:spLocks/>
            </p:cNvSpPr>
            <p:nvPr userDrawn="1"/>
          </p:nvSpPr>
          <p:spPr bwMode="auto">
            <a:xfrm>
              <a:off x="2867927" y="4084703"/>
              <a:ext cx="51059" cy="60464"/>
            </a:xfrm>
            <a:custGeom>
              <a:avLst/>
              <a:gdLst>
                <a:gd name="T0" fmla="*/ 16 w 16"/>
                <a:gd name="T1" fmla="*/ 18 h 19"/>
                <a:gd name="T2" fmla="*/ 3 w 16"/>
                <a:gd name="T3" fmla="*/ 0 h 19"/>
                <a:gd name="T4" fmla="*/ 0 w 16"/>
                <a:gd name="T5" fmla="*/ 15 h 19"/>
                <a:gd name="T6" fmla="*/ 16 w 16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9">
                  <a:moveTo>
                    <a:pt x="16" y="18"/>
                  </a:moveTo>
                  <a:cubicBezTo>
                    <a:pt x="15" y="8"/>
                    <a:pt x="11" y="1"/>
                    <a:pt x="3" y="0"/>
                  </a:cubicBezTo>
                  <a:cubicBezTo>
                    <a:pt x="5" y="12"/>
                    <a:pt x="5" y="7"/>
                    <a:pt x="0" y="15"/>
                  </a:cubicBezTo>
                  <a:cubicBezTo>
                    <a:pt x="3" y="19"/>
                    <a:pt x="10" y="19"/>
                    <a:pt x="1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24" name="Freeform 75"/>
            <p:cNvSpPr>
              <a:spLocks/>
            </p:cNvSpPr>
            <p:nvPr userDrawn="1"/>
          </p:nvSpPr>
          <p:spPr bwMode="auto">
            <a:xfrm>
              <a:off x="3090973" y="4084703"/>
              <a:ext cx="65839" cy="56433"/>
            </a:xfrm>
            <a:custGeom>
              <a:avLst/>
              <a:gdLst>
                <a:gd name="T0" fmla="*/ 8 w 21"/>
                <a:gd name="T1" fmla="*/ 0 h 18"/>
                <a:gd name="T2" fmla="*/ 0 w 21"/>
                <a:gd name="T3" fmla="*/ 7 h 18"/>
                <a:gd name="T4" fmla="*/ 6 w 21"/>
                <a:gd name="T5" fmla="*/ 18 h 18"/>
                <a:gd name="T6" fmla="*/ 8 w 21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8">
                  <a:moveTo>
                    <a:pt x="8" y="0"/>
                  </a:moveTo>
                  <a:cubicBezTo>
                    <a:pt x="8" y="5"/>
                    <a:pt x="2" y="4"/>
                    <a:pt x="0" y="7"/>
                  </a:cubicBezTo>
                  <a:cubicBezTo>
                    <a:pt x="0" y="14"/>
                    <a:pt x="2" y="17"/>
                    <a:pt x="6" y="18"/>
                  </a:cubicBezTo>
                  <a:cubicBezTo>
                    <a:pt x="5" y="7"/>
                    <a:pt x="21" y="6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25" name="Freeform 76"/>
            <p:cNvSpPr>
              <a:spLocks/>
            </p:cNvSpPr>
            <p:nvPr userDrawn="1"/>
          </p:nvSpPr>
          <p:spPr bwMode="auto">
            <a:xfrm>
              <a:off x="2937796" y="4112919"/>
              <a:ext cx="73901" cy="102118"/>
            </a:xfrm>
            <a:custGeom>
              <a:avLst/>
              <a:gdLst>
                <a:gd name="T0" fmla="*/ 0 w 23"/>
                <a:gd name="T1" fmla="*/ 2 h 32"/>
                <a:gd name="T2" fmla="*/ 0 w 23"/>
                <a:gd name="T3" fmla="*/ 17 h 32"/>
                <a:gd name="T4" fmla="*/ 16 w 23"/>
                <a:gd name="T5" fmla="*/ 13 h 32"/>
                <a:gd name="T6" fmla="*/ 10 w 23"/>
                <a:gd name="T7" fmla="*/ 31 h 32"/>
                <a:gd name="T8" fmla="*/ 19 w 23"/>
                <a:gd name="T9" fmla="*/ 6 h 32"/>
                <a:gd name="T10" fmla="*/ 0 w 23"/>
                <a:gd name="T11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32">
                  <a:moveTo>
                    <a:pt x="0" y="2"/>
                  </a:moveTo>
                  <a:cubicBezTo>
                    <a:pt x="0" y="7"/>
                    <a:pt x="0" y="12"/>
                    <a:pt x="0" y="17"/>
                  </a:cubicBezTo>
                  <a:cubicBezTo>
                    <a:pt x="8" y="21"/>
                    <a:pt x="14" y="4"/>
                    <a:pt x="16" y="13"/>
                  </a:cubicBezTo>
                  <a:cubicBezTo>
                    <a:pt x="9" y="20"/>
                    <a:pt x="13" y="19"/>
                    <a:pt x="10" y="31"/>
                  </a:cubicBezTo>
                  <a:cubicBezTo>
                    <a:pt x="20" y="32"/>
                    <a:pt x="23" y="12"/>
                    <a:pt x="19" y="6"/>
                  </a:cubicBezTo>
                  <a:cubicBezTo>
                    <a:pt x="9" y="9"/>
                    <a:pt x="8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26" name="Freeform 77"/>
            <p:cNvSpPr>
              <a:spLocks/>
            </p:cNvSpPr>
            <p:nvPr userDrawn="1"/>
          </p:nvSpPr>
          <p:spPr bwMode="auto">
            <a:xfrm>
              <a:off x="2814181" y="4115607"/>
              <a:ext cx="79275" cy="51059"/>
            </a:xfrm>
            <a:custGeom>
              <a:avLst/>
              <a:gdLst>
                <a:gd name="T0" fmla="*/ 12 w 25"/>
                <a:gd name="T1" fmla="*/ 16 h 16"/>
                <a:gd name="T2" fmla="*/ 20 w 25"/>
                <a:gd name="T3" fmla="*/ 16 h 16"/>
                <a:gd name="T4" fmla="*/ 12 w 25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16">
                  <a:moveTo>
                    <a:pt x="12" y="16"/>
                  </a:moveTo>
                  <a:cubicBezTo>
                    <a:pt x="13" y="10"/>
                    <a:pt x="18" y="13"/>
                    <a:pt x="20" y="16"/>
                  </a:cubicBezTo>
                  <a:cubicBezTo>
                    <a:pt x="25" y="0"/>
                    <a:pt x="0" y="10"/>
                    <a:pt x="1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27" name="Freeform 78"/>
            <p:cNvSpPr>
              <a:spLocks/>
            </p:cNvSpPr>
            <p:nvPr userDrawn="1"/>
          </p:nvSpPr>
          <p:spPr bwMode="auto">
            <a:xfrm>
              <a:off x="3033196" y="4138449"/>
              <a:ext cx="32248" cy="67183"/>
            </a:xfrm>
            <a:custGeom>
              <a:avLst/>
              <a:gdLst>
                <a:gd name="T0" fmla="*/ 5 w 10"/>
                <a:gd name="T1" fmla="*/ 20 h 21"/>
                <a:gd name="T2" fmla="*/ 10 w 10"/>
                <a:gd name="T3" fmla="*/ 1 h 21"/>
                <a:gd name="T4" fmla="*/ 5 w 10"/>
                <a:gd name="T5" fmla="*/ 1 h 21"/>
                <a:gd name="T6" fmla="*/ 5 w 10"/>
                <a:gd name="T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1">
                  <a:moveTo>
                    <a:pt x="5" y="20"/>
                  </a:moveTo>
                  <a:cubicBezTo>
                    <a:pt x="8" y="15"/>
                    <a:pt x="7" y="6"/>
                    <a:pt x="10" y="1"/>
                  </a:cubicBezTo>
                  <a:cubicBezTo>
                    <a:pt x="8" y="1"/>
                    <a:pt x="7" y="1"/>
                    <a:pt x="5" y="1"/>
                  </a:cubicBezTo>
                  <a:cubicBezTo>
                    <a:pt x="0" y="0"/>
                    <a:pt x="0" y="21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28" name="Freeform 79"/>
            <p:cNvSpPr>
              <a:spLocks/>
            </p:cNvSpPr>
            <p:nvPr userDrawn="1"/>
          </p:nvSpPr>
          <p:spPr bwMode="auto">
            <a:xfrm>
              <a:off x="3004979" y="4176071"/>
              <a:ext cx="28217" cy="34935"/>
            </a:xfrm>
            <a:custGeom>
              <a:avLst/>
              <a:gdLst>
                <a:gd name="T0" fmla="*/ 8 w 9"/>
                <a:gd name="T1" fmla="*/ 8 h 11"/>
                <a:gd name="T2" fmla="*/ 3 w 9"/>
                <a:gd name="T3" fmla="*/ 0 h 11"/>
                <a:gd name="T4" fmla="*/ 0 w 9"/>
                <a:gd name="T5" fmla="*/ 11 h 11"/>
                <a:gd name="T6" fmla="*/ 6 w 9"/>
                <a:gd name="T7" fmla="*/ 11 h 11"/>
                <a:gd name="T8" fmla="*/ 8 w 9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8" y="8"/>
                  </a:moveTo>
                  <a:cubicBezTo>
                    <a:pt x="5" y="8"/>
                    <a:pt x="6" y="1"/>
                    <a:pt x="3" y="0"/>
                  </a:cubicBezTo>
                  <a:cubicBezTo>
                    <a:pt x="3" y="5"/>
                    <a:pt x="0" y="6"/>
                    <a:pt x="0" y="11"/>
                  </a:cubicBezTo>
                  <a:cubicBezTo>
                    <a:pt x="2" y="11"/>
                    <a:pt x="4" y="11"/>
                    <a:pt x="6" y="11"/>
                  </a:cubicBezTo>
                  <a:cubicBezTo>
                    <a:pt x="7" y="11"/>
                    <a:pt x="9" y="11"/>
                    <a:pt x="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29" name="Freeform 80"/>
            <p:cNvSpPr>
              <a:spLocks/>
            </p:cNvSpPr>
            <p:nvPr userDrawn="1"/>
          </p:nvSpPr>
          <p:spPr bwMode="auto">
            <a:xfrm>
              <a:off x="3624403" y="4215037"/>
              <a:ext cx="40310" cy="40310"/>
            </a:xfrm>
            <a:custGeom>
              <a:avLst/>
              <a:gdLst>
                <a:gd name="T0" fmla="*/ 2 w 13"/>
                <a:gd name="T1" fmla="*/ 11 h 13"/>
                <a:gd name="T2" fmla="*/ 12 w 13"/>
                <a:gd name="T3" fmla="*/ 7 h 13"/>
                <a:gd name="T4" fmla="*/ 2 w 13"/>
                <a:gd name="T5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2" y="11"/>
                  </a:moveTo>
                  <a:cubicBezTo>
                    <a:pt x="3" y="13"/>
                    <a:pt x="13" y="10"/>
                    <a:pt x="12" y="7"/>
                  </a:cubicBezTo>
                  <a:cubicBezTo>
                    <a:pt x="9" y="0"/>
                    <a:pt x="0" y="9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30" name="Freeform 81"/>
            <p:cNvSpPr>
              <a:spLocks/>
            </p:cNvSpPr>
            <p:nvPr userDrawn="1"/>
          </p:nvSpPr>
          <p:spPr bwMode="auto">
            <a:xfrm>
              <a:off x="2792682" y="4205631"/>
              <a:ext cx="34935" cy="79275"/>
            </a:xfrm>
            <a:custGeom>
              <a:avLst/>
              <a:gdLst>
                <a:gd name="T0" fmla="*/ 8 w 11"/>
                <a:gd name="T1" fmla="*/ 25 h 25"/>
                <a:gd name="T2" fmla="*/ 11 w 11"/>
                <a:gd name="T3" fmla="*/ 17 h 25"/>
                <a:gd name="T4" fmla="*/ 0 w 11"/>
                <a:gd name="T5" fmla="*/ 14 h 25"/>
                <a:gd name="T6" fmla="*/ 3 w 11"/>
                <a:gd name="T7" fmla="*/ 25 h 25"/>
                <a:gd name="T8" fmla="*/ 8 w 11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5">
                  <a:moveTo>
                    <a:pt x="8" y="25"/>
                  </a:moveTo>
                  <a:cubicBezTo>
                    <a:pt x="8" y="21"/>
                    <a:pt x="10" y="20"/>
                    <a:pt x="11" y="17"/>
                  </a:cubicBezTo>
                  <a:cubicBezTo>
                    <a:pt x="4" y="22"/>
                    <a:pt x="4" y="0"/>
                    <a:pt x="0" y="14"/>
                  </a:cubicBezTo>
                  <a:cubicBezTo>
                    <a:pt x="3" y="14"/>
                    <a:pt x="3" y="19"/>
                    <a:pt x="3" y="25"/>
                  </a:cubicBezTo>
                  <a:cubicBezTo>
                    <a:pt x="5" y="25"/>
                    <a:pt x="6" y="25"/>
                    <a:pt x="8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31" name="Freeform 82"/>
            <p:cNvSpPr>
              <a:spLocks/>
            </p:cNvSpPr>
            <p:nvPr userDrawn="1"/>
          </p:nvSpPr>
          <p:spPr bwMode="auto">
            <a:xfrm>
              <a:off x="2960639" y="4236535"/>
              <a:ext cx="30904" cy="48371"/>
            </a:xfrm>
            <a:custGeom>
              <a:avLst/>
              <a:gdLst>
                <a:gd name="T0" fmla="*/ 1 w 10"/>
                <a:gd name="T1" fmla="*/ 4 h 15"/>
                <a:gd name="T2" fmla="*/ 6 w 10"/>
                <a:gd name="T3" fmla="*/ 15 h 15"/>
                <a:gd name="T4" fmla="*/ 9 w 10"/>
                <a:gd name="T5" fmla="*/ 0 h 15"/>
                <a:gd name="T6" fmla="*/ 3 w 10"/>
                <a:gd name="T7" fmla="*/ 0 h 15"/>
                <a:gd name="T8" fmla="*/ 1 w 10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1" y="4"/>
                  </a:moveTo>
                  <a:cubicBezTo>
                    <a:pt x="5" y="4"/>
                    <a:pt x="2" y="14"/>
                    <a:pt x="6" y="15"/>
                  </a:cubicBezTo>
                  <a:cubicBezTo>
                    <a:pt x="7" y="10"/>
                    <a:pt x="10" y="8"/>
                    <a:pt x="9" y="0"/>
                  </a:cubicBezTo>
                  <a:cubicBezTo>
                    <a:pt x="7" y="0"/>
                    <a:pt x="5" y="0"/>
                    <a:pt x="3" y="0"/>
                  </a:cubicBezTo>
                  <a:cubicBezTo>
                    <a:pt x="2" y="0"/>
                    <a:pt x="0" y="0"/>
                    <a:pt x="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32" name="Freeform 83"/>
            <p:cNvSpPr>
              <a:spLocks/>
            </p:cNvSpPr>
            <p:nvPr userDrawn="1"/>
          </p:nvSpPr>
          <p:spPr bwMode="auto">
            <a:xfrm>
              <a:off x="2998261" y="4227130"/>
              <a:ext cx="41653" cy="67183"/>
            </a:xfrm>
            <a:custGeom>
              <a:avLst/>
              <a:gdLst>
                <a:gd name="T0" fmla="*/ 0 w 13"/>
                <a:gd name="T1" fmla="*/ 10 h 21"/>
                <a:gd name="T2" fmla="*/ 13 w 13"/>
                <a:gd name="T3" fmla="*/ 10 h 21"/>
                <a:gd name="T4" fmla="*/ 0 w 13"/>
                <a:gd name="T5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1">
                  <a:moveTo>
                    <a:pt x="0" y="10"/>
                  </a:moveTo>
                  <a:cubicBezTo>
                    <a:pt x="6" y="5"/>
                    <a:pt x="11" y="21"/>
                    <a:pt x="13" y="10"/>
                  </a:cubicBezTo>
                  <a:cubicBezTo>
                    <a:pt x="8" y="5"/>
                    <a:pt x="4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33" name="Freeform 84"/>
            <p:cNvSpPr>
              <a:spLocks/>
            </p:cNvSpPr>
            <p:nvPr userDrawn="1"/>
          </p:nvSpPr>
          <p:spPr bwMode="auto">
            <a:xfrm>
              <a:off x="2802088" y="4249972"/>
              <a:ext cx="85994" cy="114210"/>
            </a:xfrm>
            <a:custGeom>
              <a:avLst/>
              <a:gdLst>
                <a:gd name="T0" fmla="*/ 11 w 27"/>
                <a:gd name="T1" fmla="*/ 33 h 36"/>
                <a:gd name="T2" fmla="*/ 21 w 27"/>
                <a:gd name="T3" fmla="*/ 33 h 36"/>
                <a:gd name="T4" fmla="*/ 21 w 27"/>
                <a:gd name="T5" fmla="*/ 0 h 36"/>
                <a:gd name="T6" fmla="*/ 13 w 27"/>
                <a:gd name="T7" fmla="*/ 0 h 36"/>
                <a:gd name="T8" fmla="*/ 11 w 27"/>
                <a:gd name="T9" fmla="*/ 11 h 36"/>
                <a:gd name="T10" fmla="*/ 11 w 27"/>
                <a:gd name="T11" fmla="*/ 3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36">
                  <a:moveTo>
                    <a:pt x="11" y="33"/>
                  </a:moveTo>
                  <a:cubicBezTo>
                    <a:pt x="12" y="22"/>
                    <a:pt x="16" y="36"/>
                    <a:pt x="21" y="33"/>
                  </a:cubicBezTo>
                  <a:cubicBezTo>
                    <a:pt x="17" y="21"/>
                    <a:pt x="20" y="13"/>
                    <a:pt x="21" y="0"/>
                  </a:cubicBezTo>
                  <a:cubicBezTo>
                    <a:pt x="19" y="0"/>
                    <a:pt x="16" y="0"/>
                    <a:pt x="13" y="0"/>
                  </a:cubicBezTo>
                  <a:cubicBezTo>
                    <a:pt x="13" y="5"/>
                    <a:pt x="12" y="8"/>
                    <a:pt x="11" y="11"/>
                  </a:cubicBezTo>
                  <a:cubicBezTo>
                    <a:pt x="27" y="13"/>
                    <a:pt x="0" y="27"/>
                    <a:pt x="11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34" name="Freeform 85"/>
            <p:cNvSpPr>
              <a:spLocks/>
            </p:cNvSpPr>
            <p:nvPr userDrawn="1"/>
          </p:nvSpPr>
          <p:spPr bwMode="auto">
            <a:xfrm>
              <a:off x="2867927" y="4255347"/>
              <a:ext cx="55090" cy="64495"/>
            </a:xfrm>
            <a:custGeom>
              <a:avLst/>
              <a:gdLst>
                <a:gd name="T0" fmla="*/ 8 w 17"/>
                <a:gd name="T1" fmla="*/ 9 h 20"/>
                <a:gd name="T2" fmla="*/ 6 w 17"/>
                <a:gd name="T3" fmla="*/ 9 h 20"/>
                <a:gd name="T4" fmla="*/ 3 w 17"/>
                <a:gd name="T5" fmla="*/ 1 h 20"/>
                <a:gd name="T6" fmla="*/ 0 w 17"/>
                <a:gd name="T7" fmla="*/ 16 h 20"/>
                <a:gd name="T8" fmla="*/ 16 w 17"/>
                <a:gd name="T9" fmla="*/ 20 h 20"/>
                <a:gd name="T10" fmla="*/ 8 w 17"/>
                <a:gd name="T11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20">
                  <a:moveTo>
                    <a:pt x="8" y="9"/>
                  </a:moveTo>
                  <a:cubicBezTo>
                    <a:pt x="6" y="10"/>
                    <a:pt x="9" y="13"/>
                    <a:pt x="6" y="9"/>
                  </a:cubicBezTo>
                  <a:cubicBezTo>
                    <a:pt x="4" y="7"/>
                    <a:pt x="6" y="0"/>
                    <a:pt x="3" y="1"/>
                  </a:cubicBezTo>
                  <a:cubicBezTo>
                    <a:pt x="3" y="8"/>
                    <a:pt x="2" y="13"/>
                    <a:pt x="0" y="16"/>
                  </a:cubicBezTo>
                  <a:cubicBezTo>
                    <a:pt x="9" y="13"/>
                    <a:pt x="10" y="20"/>
                    <a:pt x="16" y="20"/>
                  </a:cubicBezTo>
                  <a:cubicBezTo>
                    <a:pt x="17" y="10"/>
                    <a:pt x="12" y="7"/>
                    <a:pt x="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35" name="Freeform 86"/>
            <p:cNvSpPr>
              <a:spLocks/>
            </p:cNvSpPr>
            <p:nvPr userDrawn="1"/>
          </p:nvSpPr>
          <p:spPr bwMode="auto">
            <a:xfrm>
              <a:off x="3081567" y="4243254"/>
              <a:ext cx="25529" cy="69870"/>
            </a:xfrm>
            <a:custGeom>
              <a:avLst/>
              <a:gdLst>
                <a:gd name="T0" fmla="*/ 0 w 8"/>
                <a:gd name="T1" fmla="*/ 13 h 22"/>
                <a:gd name="T2" fmla="*/ 6 w 8"/>
                <a:gd name="T3" fmla="*/ 20 h 22"/>
                <a:gd name="T4" fmla="*/ 0 w 8"/>
                <a:gd name="T5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2">
                  <a:moveTo>
                    <a:pt x="0" y="13"/>
                  </a:moveTo>
                  <a:cubicBezTo>
                    <a:pt x="3" y="11"/>
                    <a:pt x="5" y="22"/>
                    <a:pt x="6" y="20"/>
                  </a:cubicBezTo>
                  <a:cubicBezTo>
                    <a:pt x="8" y="17"/>
                    <a:pt x="5" y="0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36" name="Freeform 87"/>
            <p:cNvSpPr>
              <a:spLocks/>
            </p:cNvSpPr>
            <p:nvPr userDrawn="1"/>
          </p:nvSpPr>
          <p:spPr bwMode="auto">
            <a:xfrm>
              <a:off x="2928391" y="4284907"/>
              <a:ext cx="69870" cy="116898"/>
            </a:xfrm>
            <a:custGeom>
              <a:avLst/>
              <a:gdLst>
                <a:gd name="T0" fmla="*/ 6 w 22"/>
                <a:gd name="T1" fmla="*/ 26 h 37"/>
                <a:gd name="T2" fmla="*/ 13 w 22"/>
                <a:gd name="T3" fmla="*/ 37 h 37"/>
                <a:gd name="T4" fmla="*/ 22 w 22"/>
                <a:gd name="T5" fmla="*/ 29 h 37"/>
                <a:gd name="T6" fmla="*/ 6 w 22"/>
                <a:gd name="T7" fmla="*/ 11 h 37"/>
                <a:gd name="T8" fmla="*/ 16 w 22"/>
                <a:gd name="T9" fmla="*/ 18 h 37"/>
                <a:gd name="T10" fmla="*/ 19 w 22"/>
                <a:gd name="T11" fmla="*/ 7 h 37"/>
                <a:gd name="T12" fmla="*/ 8 w 22"/>
                <a:gd name="T13" fmla="*/ 0 h 37"/>
                <a:gd name="T14" fmla="*/ 0 w 22"/>
                <a:gd name="T15" fmla="*/ 11 h 37"/>
                <a:gd name="T16" fmla="*/ 6 w 22"/>
                <a:gd name="T17" fmla="*/ 2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37">
                  <a:moveTo>
                    <a:pt x="6" y="26"/>
                  </a:moveTo>
                  <a:cubicBezTo>
                    <a:pt x="8" y="30"/>
                    <a:pt x="12" y="34"/>
                    <a:pt x="13" y="37"/>
                  </a:cubicBezTo>
                  <a:cubicBezTo>
                    <a:pt x="14" y="31"/>
                    <a:pt x="21" y="35"/>
                    <a:pt x="22" y="29"/>
                  </a:cubicBezTo>
                  <a:cubicBezTo>
                    <a:pt x="17" y="23"/>
                    <a:pt x="5" y="25"/>
                    <a:pt x="6" y="11"/>
                  </a:cubicBezTo>
                  <a:cubicBezTo>
                    <a:pt x="11" y="11"/>
                    <a:pt x="9" y="21"/>
                    <a:pt x="16" y="18"/>
                  </a:cubicBezTo>
                  <a:cubicBezTo>
                    <a:pt x="16" y="13"/>
                    <a:pt x="18" y="10"/>
                    <a:pt x="19" y="7"/>
                  </a:cubicBezTo>
                  <a:cubicBezTo>
                    <a:pt x="12" y="10"/>
                    <a:pt x="13" y="0"/>
                    <a:pt x="8" y="0"/>
                  </a:cubicBezTo>
                  <a:cubicBezTo>
                    <a:pt x="7" y="5"/>
                    <a:pt x="4" y="9"/>
                    <a:pt x="0" y="11"/>
                  </a:cubicBezTo>
                  <a:cubicBezTo>
                    <a:pt x="0" y="17"/>
                    <a:pt x="3" y="22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37" name="Freeform 88"/>
            <p:cNvSpPr>
              <a:spLocks/>
            </p:cNvSpPr>
            <p:nvPr userDrawn="1"/>
          </p:nvSpPr>
          <p:spPr bwMode="auto">
            <a:xfrm>
              <a:off x="3061412" y="4319842"/>
              <a:ext cx="29560" cy="44341"/>
            </a:xfrm>
            <a:custGeom>
              <a:avLst/>
              <a:gdLst>
                <a:gd name="T0" fmla="*/ 9 w 9"/>
                <a:gd name="T1" fmla="*/ 11 h 14"/>
                <a:gd name="T2" fmla="*/ 4 w 9"/>
                <a:gd name="T3" fmla="*/ 0 h 14"/>
                <a:gd name="T4" fmla="*/ 9 w 9"/>
                <a:gd name="T5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9" y="11"/>
                  </a:moveTo>
                  <a:cubicBezTo>
                    <a:pt x="9" y="4"/>
                    <a:pt x="7" y="1"/>
                    <a:pt x="4" y="0"/>
                  </a:cubicBezTo>
                  <a:cubicBezTo>
                    <a:pt x="0" y="5"/>
                    <a:pt x="0" y="14"/>
                    <a:pt x="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38" name="Freeform 89"/>
            <p:cNvSpPr>
              <a:spLocks/>
            </p:cNvSpPr>
            <p:nvPr userDrawn="1"/>
          </p:nvSpPr>
          <p:spPr bwMode="auto">
            <a:xfrm>
              <a:off x="2988855" y="4329247"/>
              <a:ext cx="16124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39" name="Freeform 90"/>
            <p:cNvSpPr>
              <a:spLocks/>
            </p:cNvSpPr>
            <p:nvPr userDrawn="1"/>
          </p:nvSpPr>
          <p:spPr bwMode="auto">
            <a:xfrm>
              <a:off x="3072162" y="4389712"/>
              <a:ext cx="30904" cy="56433"/>
            </a:xfrm>
            <a:custGeom>
              <a:avLst/>
              <a:gdLst>
                <a:gd name="T0" fmla="*/ 3 w 10"/>
                <a:gd name="T1" fmla="*/ 18 h 18"/>
                <a:gd name="T2" fmla="*/ 1 w 10"/>
                <a:gd name="T3" fmla="*/ 4 h 18"/>
                <a:gd name="T4" fmla="*/ 3 w 10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3" y="18"/>
                  </a:moveTo>
                  <a:cubicBezTo>
                    <a:pt x="5" y="16"/>
                    <a:pt x="10" y="0"/>
                    <a:pt x="1" y="4"/>
                  </a:cubicBezTo>
                  <a:cubicBezTo>
                    <a:pt x="1" y="9"/>
                    <a:pt x="0" y="17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40" name="Freeform 91"/>
            <p:cNvSpPr>
              <a:spLocks/>
            </p:cNvSpPr>
            <p:nvPr userDrawn="1"/>
          </p:nvSpPr>
          <p:spPr bwMode="auto">
            <a:xfrm>
              <a:off x="3131282" y="4401805"/>
              <a:ext cx="22842" cy="44341"/>
            </a:xfrm>
            <a:custGeom>
              <a:avLst/>
              <a:gdLst>
                <a:gd name="T0" fmla="*/ 6 w 7"/>
                <a:gd name="T1" fmla="*/ 14 h 14"/>
                <a:gd name="T2" fmla="*/ 1 w 7"/>
                <a:gd name="T3" fmla="*/ 0 h 14"/>
                <a:gd name="T4" fmla="*/ 6 w 7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6" y="14"/>
                  </a:moveTo>
                  <a:cubicBezTo>
                    <a:pt x="7" y="6"/>
                    <a:pt x="5" y="1"/>
                    <a:pt x="1" y="0"/>
                  </a:cubicBezTo>
                  <a:cubicBezTo>
                    <a:pt x="0" y="8"/>
                    <a:pt x="1" y="14"/>
                    <a:pt x="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41" name="Freeform 92"/>
            <p:cNvSpPr>
              <a:spLocks/>
            </p:cNvSpPr>
            <p:nvPr userDrawn="1"/>
          </p:nvSpPr>
          <p:spPr bwMode="auto">
            <a:xfrm>
              <a:off x="2807462" y="4378963"/>
              <a:ext cx="45684" cy="115554"/>
            </a:xfrm>
            <a:custGeom>
              <a:avLst/>
              <a:gdLst>
                <a:gd name="T0" fmla="*/ 14 w 14"/>
                <a:gd name="T1" fmla="*/ 18 h 36"/>
                <a:gd name="T2" fmla="*/ 11 w 14"/>
                <a:gd name="T3" fmla="*/ 14 h 36"/>
                <a:gd name="T4" fmla="*/ 14 w 14"/>
                <a:gd name="T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36">
                  <a:moveTo>
                    <a:pt x="14" y="18"/>
                  </a:moveTo>
                  <a:cubicBezTo>
                    <a:pt x="11" y="19"/>
                    <a:pt x="12" y="15"/>
                    <a:pt x="11" y="14"/>
                  </a:cubicBezTo>
                  <a:cubicBezTo>
                    <a:pt x="0" y="0"/>
                    <a:pt x="4" y="36"/>
                    <a:pt x="1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42" name="Freeform 93"/>
            <p:cNvSpPr>
              <a:spLocks/>
            </p:cNvSpPr>
            <p:nvPr userDrawn="1"/>
          </p:nvSpPr>
          <p:spPr bwMode="auto">
            <a:xfrm>
              <a:off x="2923016" y="4439427"/>
              <a:ext cx="81963" cy="83306"/>
            </a:xfrm>
            <a:custGeom>
              <a:avLst/>
              <a:gdLst>
                <a:gd name="T0" fmla="*/ 18 w 26"/>
                <a:gd name="T1" fmla="*/ 21 h 26"/>
                <a:gd name="T2" fmla="*/ 24 w 26"/>
                <a:gd name="T3" fmla="*/ 2 h 26"/>
                <a:gd name="T4" fmla="*/ 8 w 26"/>
                <a:gd name="T5" fmla="*/ 17 h 26"/>
                <a:gd name="T6" fmla="*/ 18 w 26"/>
                <a:gd name="T7" fmla="*/ 2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6">
                  <a:moveTo>
                    <a:pt x="18" y="21"/>
                  </a:moveTo>
                  <a:cubicBezTo>
                    <a:pt x="14" y="7"/>
                    <a:pt x="26" y="14"/>
                    <a:pt x="24" y="2"/>
                  </a:cubicBezTo>
                  <a:cubicBezTo>
                    <a:pt x="15" y="0"/>
                    <a:pt x="0" y="9"/>
                    <a:pt x="8" y="17"/>
                  </a:cubicBezTo>
                  <a:cubicBezTo>
                    <a:pt x="10" y="6"/>
                    <a:pt x="12" y="26"/>
                    <a:pt x="18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43" name="Freeform 94"/>
            <p:cNvSpPr>
              <a:spLocks/>
            </p:cNvSpPr>
            <p:nvPr userDrawn="1"/>
          </p:nvSpPr>
          <p:spPr bwMode="auto">
            <a:xfrm>
              <a:off x="3252211" y="4446145"/>
              <a:ext cx="34935" cy="85994"/>
            </a:xfrm>
            <a:custGeom>
              <a:avLst/>
              <a:gdLst>
                <a:gd name="T0" fmla="*/ 11 w 11"/>
                <a:gd name="T1" fmla="*/ 23 h 27"/>
                <a:gd name="T2" fmla="*/ 3 w 11"/>
                <a:gd name="T3" fmla="*/ 0 h 27"/>
                <a:gd name="T4" fmla="*/ 11 w 11"/>
                <a:gd name="T5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7">
                  <a:moveTo>
                    <a:pt x="11" y="23"/>
                  </a:moveTo>
                  <a:cubicBezTo>
                    <a:pt x="10" y="13"/>
                    <a:pt x="7" y="6"/>
                    <a:pt x="3" y="0"/>
                  </a:cubicBezTo>
                  <a:cubicBezTo>
                    <a:pt x="1" y="4"/>
                    <a:pt x="0" y="27"/>
                    <a:pt x="1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44" name="Freeform 95"/>
            <p:cNvSpPr>
              <a:spLocks/>
            </p:cNvSpPr>
            <p:nvPr userDrawn="1"/>
          </p:nvSpPr>
          <p:spPr bwMode="auto">
            <a:xfrm>
              <a:off x="2827617" y="4483767"/>
              <a:ext cx="28217" cy="22842"/>
            </a:xfrm>
            <a:custGeom>
              <a:avLst/>
              <a:gdLst>
                <a:gd name="T0" fmla="*/ 3 w 9"/>
                <a:gd name="T1" fmla="*/ 0 h 7"/>
                <a:gd name="T2" fmla="*/ 0 w 9"/>
                <a:gd name="T3" fmla="*/ 7 h 7"/>
                <a:gd name="T4" fmla="*/ 8 w 9"/>
                <a:gd name="T5" fmla="*/ 0 h 7"/>
                <a:gd name="T6" fmla="*/ 3 w 9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3" y="0"/>
                  </a:moveTo>
                  <a:cubicBezTo>
                    <a:pt x="3" y="3"/>
                    <a:pt x="0" y="4"/>
                    <a:pt x="0" y="7"/>
                  </a:cubicBezTo>
                  <a:cubicBezTo>
                    <a:pt x="4" y="7"/>
                    <a:pt x="9" y="7"/>
                    <a:pt x="8" y="0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45" name="Freeform 96"/>
            <p:cNvSpPr>
              <a:spLocks/>
            </p:cNvSpPr>
            <p:nvPr userDrawn="1"/>
          </p:nvSpPr>
          <p:spPr bwMode="auto">
            <a:xfrm>
              <a:off x="3109784" y="4483767"/>
              <a:ext cx="47028" cy="69870"/>
            </a:xfrm>
            <a:custGeom>
              <a:avLst/>
              <a:gdLst>
                <a:gd name="T0" fmla="*/ 8 w 15"/>
                <a:gd name="T1" fmla="*/ 22 h 22"/>
                <a:gd name="T2" fmla="*/ 13 w 15"/>
                <a:gd name="T3" fmla="*/ 22 h 22"/>
                <a:gd name="T4" fmla="*/ 8 w 15"/>
                <a:gd name="T5" fmla="*/ 7 h 22"/>
                <a:gd name="T6" fmla="*/ 8 w 15"/>
                <a:gd name="T7" fmla="*/ 0 h 22"/>
                <a:gd name="T8" fmla="*/ 8 w 15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2">
                  <a:moveTo>
                    <a:pt x="8" y="22"/>
                  </a:moveTo>
                  <a:cubicBezTo>
                    <a:pt x="8" y="17"/>
                    <a:pt x="11" y="19"/>
                    <a:pt x="13" y="22"/>
                  </a:cubicBezTo>
                  <a:cubicBezTo>
                    <a:pt x="15" y="12"/>
                    <a:pt x="8" y="14"/>
                    <a:pt x="8" y="7"/>
                  </a:cubicBezTo>
                  <a:cubicBezTo>
                    <a:pt x="10" y="7"/>
                    <a:pt x="11" y="0"/>
                    <a:pt x="8" y="0"/>
                  </a:cubicBezTo>
                  <a:cubicBezTo>
                    <a:pt x="4" y="8"/>
                    <a:pt x="0" y="16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46" name="Freeform 97"/>
            <p:cNvSpPr>
              <a:spLocks/>
            </p:cNvSpPr>
            <p:nvPr userDrawn="1"/>
          </p:nvSpPr>
          <p:spPr bwMode="auto">
            <a:xfrm>
              <a:off x="3151437" y="4481080"/>
              <a:ext cx="24186" cy="44341"/>
            </a:xfrm>
            <a:custGeom>
              <a:avLst/>
              <a:gdLst>
                <a:gd name="T0" fmla="*/ 8 w 8"/>
                <a:gd name="T1" fmla="*/ 1 h 14"/>
                <a:gd name="T2" fmla="*/ 0 w 8"/>
                <a:gd name="T3" fmla="*/ 12 h 14"/>
                <a:gd name="T4" fmla="*/ 8 w 8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4">
                  <a:moveTo>
                    <a:pt x="8" y="1"/>
                  </a:moveTo>
                  <a:cubicBezTo>
                    <a:pt x="2" y="0"/>
                    <a:pt x="0" y="4"/>
                    <a:pt x="0" y="12"/>
                  </a:cubicBezTo>
                  <a:cubicBezTo>
                    <a:pt x="7" y="14"/>
                    <a:pt x="5" y="4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47" name="Freeform 98"/>
            <p:cNvSpPr>
              <a:spLocks/>
            </p:cNvSpPr>
            <p:nvPr userDrawn="1"/>
          </p:nvSpPr>
          <p:spPr bwMode="auto">
            <a:xfrm>
              <a:off x="3217276" y="4513328"/>
              <a:ext cx="25529" cy="69870"/>
            </a:xfrm>
            <a:custGeom>
              <a:avLst/>
              <a:gdLst>
                <a:gd name="T0" fmla="*/ 3 w 8"/>
                <a:gd name="T1" fmla="*/ 2 h 22"/>
                <a:gd name="T2" fmla="*/ 1 w 8"/>
                <a:gd name="T3" fmla="*/ 16 h 22"/>
                <a:gd name="T4" fmla="*/ 3 w 8"/>
                <a:gd name="T5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2">
                  <a:moveTo>
                    <a:pt x="3" y="2"/>
                  </a:moveTo>
                  <a:cubicBezTo>
                    <a:pt x="4" y="9"/>
                    <a:pt x="0" y="10"/>
                    <a:pt x="1" y="16"/>
                  </a:cubicBezTo>
                  <a:cubicBezTo>
                    <a:pt x="8" y="22"/>
                    <a:pt x="8" y="0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48" name="Freeform 99"/>
            <p:cNvSpPr>
              <a:spLocks/>
            </p:cNvSpPr>
            <p:nvPr userDrawn="1"/>
          </p:nvSpPr>
          <p:spPr bwMode="auto">
            <a:xfrm>
              <a:off x="3252211" y="4499891"/>
              <a:ext cx="16124" cy="67183"/>
            </a:xfrm>
            <a:custGeom>
              <a:avLst/>
              <a:gdLst>
                <a:gd name="T0" fmla="*/ 3 w 5"/>
                <a:gd name="T1" fmla="*/ 20 h 21"/>
                <a:gd name="T2" fmla="*/ 0 w 5"/>
                <a:gd name="T3" fmla="*/ 13 h 21"/>
                <a:gd name="T4" fmla="*/ 3 w 5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1">
                  <a:moveTo>
                    <a:pt x="3" y="20"/>
                  </a:moveTo>
                  <a:cubicBezTo>
                    <a:pt x="5" y="20"/>
                    <a:pt x="4" y="0"/>
                    <a:pt x="0" y="13"/>
                  </a:cubicBezTo>
                  <a:cubicBezTo>
                    <a:pt x="0" y="15"/>
                    <a:pt x="1" y="21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49" name="Freeform 100"/>
            <p:cNvSpPr>
              <a:spLocks/>
            </p:cNvSpPr>
            <p:nvPr userDrawn="1"/>
          </p:nvSpPr>
          <p:spPr bwMode="auto">
            <a:xfrm>
              <a:off x="2704001" y="4563043"/>
              <a:ext cx="40310" cy="102118"/>
            </a:xfrm>
            <a:custGeom>
              <a:avLst/>
              <a:gdLst>
                <a:gd name="T0" fmla="*/ 4 w 13"/>
                <a:gd name="T1" fmla="*/ 0 h 32"/>
                <a:gd name="T2" fmla="*/ 1 w 13"/>
                <a:gd name="T3" fmla="*/ 8 h 32"/>
                <a:gd name="T4" fmla="*/ 4 w 13"/>
                <a:gd name="T5" fmla="*/ 19 h 32"/>
                <a:gd name="T6" fmla="*/ 4 w 13"/>
                <a:gd name="T7" fmla="*/ 26 h 32"/>
                <a:gd name="T8" fmla="*/ 9 w 13"/>
                <a:gd name="T9" fmla="*/ 26 h 32"/>
                <a:gd name="T10" fmla="*/ 4 w 13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32">
                  <a:moveTo>
                    <a:pt x="4" y="0"/>
                  </a:moveTo>
                  <a:cubicBezTo>
                    <a:pt x="3" y="3"/>
                    <a:pt x="4" y="8"/>
                    <a:pt x="1" y="8"/>
                  </a:cubicBezTo>
                  <a:cubicBezTo>
                    <a:pt x="0" y="13"/>
                    <a:pt x="4" y="16"/>
                    <a:pt x="4" y="19"/>
                  </a:cubicBezTo>
                  <a:cubicBezTo>
                    <a:pt x="5" y="25"/>
                    <a:pt x="1" y="22"/>
                    <a:pt x="4" y="26"/>
                  </a:cubicBezTo>
                  <a:cubicBezTo>
                    <a:pt x="5" y="28"/>
                    <a:pt x="8" y="32"/>
                    <a:pt x="9" y="26"/>
                  </a:cubicBezTo>
                  <a:cubicBezTo>
                    <a:pt x="3" y="19"/>
                    <a:pt x="13" y="7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50" name="Freeform 101"/>
            <p:cNvSpPr>
              <a:spLocks/>
            </p:cNvSpPr>
            <p:nvPr userDrawn="1"/>
          </p:nvSpPr>
          <p:spPr bwMode="auto">
            <a:xfrm>
              <a:off x="3074849" y="4563043"/>
              <a:ext cx="16124" cy="25529"/>
            </a:xfrm>
            <a:custGeom>
              <a:avLst/>
              <a:gdLst>
                <a:gd name="T0" fmla="*/ 0 w 5"/>
                <a:gd name="T1" fmla="*/ 8 h 8"/>
                <a:gd name="T2" fmla="*/ 5 w 5"/>
                <a:gd name="T3" fmla="*/ 8 h 8"/>
                <a:gd name="T4" fmla="*/ 5 w 5"/>
                <a:gd name="T5" fmla="*/ 0 h 8"/>
                <a:gd name="T6" fmla="*/ 0 w 5"/>
                <a:gd name="T7" fmla="*/ 0 h 8"/>
                <a:gd name="T8" fmla="*/ 0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0" y="8"/>
                  </a:moveTo>
                  <a:cubicBezTo>
                    <a:pt x="2" y="8"/>
                    <a:pt x="3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51" name="Freeform 102"/>
            <p:cNvSpPr>
              <a:spLocks/>
            </p:cNvSpPr>
            <p:nvPr userDrawn="1"/>
          </p:nvSpPr>
          <p:spPr bwMode="auto">
            <a:xfrm>
              <a:off x="3335517" y="4563043"/>
              <a:ext cx="59121" cy="64495"/>
            </a:xfrm>
            <a:custGeom>
              <a:avLst/>
              <a:gdLst>
                <a:gd name="T0" fmla="*/ 12 w 19"/>
                <a:gd name="T1" fmla="*/ 0 h 20"/>
                <a:gd name="T2" fmla="*/ 4 w 19"/>
                <a:gd name="T3" fmla="*/ 15 h 20"/>
                <a:gd name="T4" fmla="*/ 12 w 19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20">
                  <a:moveTo>
                    <a:pt x="12" y="0"/>
                  </a:moveTo>
                  <a:cubicBezTo>
                    <a:pt x="11" y="8"/>
                    <a:pt x="0" y="1"/>
                    <a:pt x="4" y="15"/>
                  </a:cubicBezTo>
                  <a:cubicBezTo>
                    <a:pt x="12" y="20"/>
                    <a:pt x="19" y="5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52" name="Freeform 103"/>
            <p:cNvSpPr>
              <a:spLocks/>
            </p:cNvSpPr>
            <p:nvPr userDrawn="1"/>
          </p:nvSpPr>
          <p:spPr bwMode="auto">
            <a:xfrm>
              <a:off x="3240118" y="4588572"/>
              <a:ext cx="30904" cy="64495"/>
            </a:xfrm>
            <a:custGeom>
              <a:avLst/>
              <a:gdLst>
                <a:gd name="T0" fmla="*/ 4 w 10"/>
                <a:gd name="T1" fmla="*/ 0 h 20"/>
                <a:gd name="T2" fmla="*/ 10 w 10"/>
                <a:gd name="T3" fmla="*/ 11 h 20"/>
                <a:gd name="T4" fmla="*/ 4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4" y="0"/>
                  </a:moveTo>
                  <a:cubicBezTo>
                    <a:pt x="0" y="8"/>
                    <a:pt x="5" y="20"/>
                    <a:pt x="10" y="11"/>
                  </a:cubicBezTo>
                  <a:cubicBezTo>
                    <a:pt x="5" y="11"/>
                    <a:pt x="8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53" name="Freeform 104"/>
            <p:cNvSpPr>
              <a:spLocks/>
            </p:cNvSpPr>
            <p:nvPr userDrawn="1"/>
          </p:nvSpPr>
          <p:spPr bwMode="auto">
            <a:xfrm>
              <a:off x="2998261" y="4585885"/>
              <a:ext cx="60464" cy="47028"/>
            </a:xfrm>
            <a:custGeom>
              <a:avLst/>
              <a:gdLst>
                <a:gd name="T0" fmla="*/ 19 w 19"/>
                <a:gd name="T1" fmla="*/ 5 h 15"/>
                <a:gd name="T2" fmla="*/ 0 w 19"/>
                <a:gd name="T3" fmla="*/ 8 h 15"/>
                <a:gd name="T4" fmla="*/ 10 w 19"/>
                <a:gd name="T5" fmla="*/ 8 h 15"/>
                <a:gd name="T6" fmla="*/ 16 w 19"/>
                <a:gd name="T7" fmla="*/ 12 h 15"/>
                <a:gd name="T8" fmla="*/ 19 w 19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19" y="5"/>
                  </a:moveTo>
                  <a:cubicBezTo>
                    <a:pt x="13" y="7"/>
                    <a:pt x="1" y="0"/>
                    <a:pt x="0" y="8"/>
                  </a:cubicBezTo>
                  <a:cubicBezTo>
                    <a:pt x="3" y="15"/>
                    <a:pt x="7" y="9"/>
                    <a:pt x="10" y="8"/>
                  </a:cubicBezTo>
                  <a:cubicBezTo>
                    <a:pt x="11" y="8"/>
                    <a:pt x="12" y="14"/>
                    <a:pt x="16" y="12"/>
                  </a:cubicBezTo>
                  <a:cubicBezTo>
                    <a:pt x="17" y="11"/>
                    <a:pt x="17" y="5"/>
                    <a:pt x="19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54" name="Freeform 105"/>
            <p:cNvSpPr>
              <a:spLocks/>
            </p:cNvSpPr>
            <p:nvPr userDrawn="1"/>
          </p:nvSpPr>
          <p:spPr bwMode="auto">
            <a:xfrm>
              <a:off x="3284459" y="4604696"/>
              <a:ext cx="25529" cy="76588"/>
            </a:xfrm>
            <a:custGeom>
              <a:avLst/>
              <a:gdLst>
                <a:gd name="T0" fmla="*/ 1 w 8"/>
                <a:gd name="T1" fmla="*/ 6 h 24"/>
                <a:gd name="T2" fmla="*/ 1 w 8"/>
                <a:gd name="T3" fmla="*/ 21 h 24"/>
                <a:gd name="T4" fmla="*/ 4 w 8"/>
                <a:gd name="T5" fmla="*/ 6 h 24"/>
                <a:gd name="T6" fmla="*/ 6 w 8"/>
                <a:gd name="T7" fmla="*/ 2 h 24"/>
                <a:gd name="T8" fmla="*/ 1 w 8"/>
                <a:gd name="T9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4">
                  <a:moveTo>
                    <a:pt x="1" y="6"/>
                  </a:moveTo>
                  <a:cubicBezTo>
                    <a:pt x="1" y="8"/>
                    <a:pt x="0" y="19"/>
                    <a:pt x="1" y="21"/>
                  </a:cubicBezTo>
                  <a:cubicBezTo>
                    <a:pt x="3" y="24"/>
                    <a:pt x="4" y="9"/>
                    <a:pt x="4" y="6"/>
                  </a:cubicBezTo>
                  <a:cubicBezTo>
                    <a:pt x="4" y="6"/>
                    <a:pt x="8" y="5"/>
                    <a:pt x="6" y="2"/>
                  </a:cubicBezTo>
                  <a:cubicBezTo>
                    <a:pt x="5" y="0"/>
                    <a:pt x="1" y="5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55" name="Freeform 106"/>
            <p:cNvSpPr>
              <a:spLocks/>
            </p:cNvSpPr>
            <p:nvPr userDrawn="1"/>
          </p:nvSpPr>
          <p:spPr bwMode="auto">
            <a:xfrm>
              <a:off x="3131282" y="4623507"/>
              <a:ext cx="41653" cy="34935"/>
            </a:xfrm>
            <a:custGeom>
              <a:avLst/>
              <a:gdLst>
                <a:gd name="T0" fmla="*/ 3 w 13"/>
                <a:gd name="T1" fmla="*/ 11 h 11"/>
                <a:gd name="T2" fmla="*/ 9 w 13"/>
                <a:gd name="T3" fmla="*/ 11 h 11"/>
                <a:gd name="T4" fmla="*/ 1 w 13"/>
                <a:gd name="T5" fmla="*/ 7 h 11"/>
                <a:gd name="T6" fmla="*/ 3 w 13"/>
                <a:gd name="T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3" y="11"/>
                  </a:moveTo>
                  <a:cubicBezTo>
                    <a:pt x="5" y="11"/>
                    <a:pt x="7" y="11"/>
                    <a:pt x="9" y="11"/>
                  </a:cubicBezTo>
                  <a:cubicBezTo>
                    <a:pt x="13" y="2"/>
                    <a:pt x="0" y="0"/>
                    <a:pt x="1" y="7"/>
                  </a:cubicBezTo>
                  <a:cubicBezTo>
                    <a:pt x="2" y="8"/>
                    <a:pt x="4" y="8"/>
                    <a:pt x="3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56" name="Freeform 107"/>
            <p:cNvSpPr>
              <a:spLocks/>
            </p:cNvSpPr>
            <p:nvPr userDrawn="1"/>
          </p:nvSpPr>
          <p:spPr bwMode="auto">
            <a:xfrm>
              <a:off x="3433604" y="4636944"/>
              <a:ext cx="16124" cy="21498"/>
            </a:xfrm>
            <a:custGeom>
              <a:avLst/>
              <a:gdLst>
                <a:gd name="T0" fmla="*/ 0 w 5"/>
                <a:gd name="T1" fmla="*/ 7 h 7"/>
                <a:gd name="T2" fmla="*/ 5 w 5"/>
                <a:gd name="T3" fmla="*/ 7 h 7"/>
                <a:gd name="T4" fmla="*/ 5 w 5"/>
                <a:gd name="T5" fmla="*/ 0 h 7"/>
                <a:gd name="T6" fmla="*/ 0 w 5"/>
                <a:gd name="T7" fmla="*/ 0 h 7"/>
                <a:gd name="T8" fmla="*/ 0 w 5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0" y="7"/>
                  </a:moveTo>
                  <a:cubicBezTo>
                    <a:pt x="2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57" name="Freeform 108"/>
            <p:cNvSpPr>
              <a:spLocks/>
            </p:cNvSpPr>
            <p:nvPr userDrawn="1"/>
          </p:nvSpPr>
          <p:spPr bwMode="auto">
            <a:xfrm>
              <a:off x="2923016" y="4646349"/>
              <a:ext cx="49715" cy="95399"/>
            </a:xfrm>
            <a:custGeom>
              <a:avLst/>
              <a:gdLst>
                <a:gd name="T0" fmla="*/ 5 w 16"/>
                <a:gd name="T1" fmla="*/ 0 h 30"/>
                <a:gd name="T2" fmla="*/ 13 w 16"/>
                <a:gd name="T3" fmla="*/ 30 h 30"/>
                <a:gd name="T4" fmla="*/ 8 w 16"/>
                <a:gd name="T5" fmla="*/ 4 h 30"/>
                <a:gd name="T6" fmla="*/ 5 w 16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0">
                  <a:moveTo>
                    <a:pt x="5" y="0"/>
                  </a:moveTo>
                  <a:cubicBezTo>
                    <a:pt x="0" y="17"/>
                    <a:pt x="7" y="19"/>
                    <a:pt x="13" y="30"/>
                  </a:cubicBezTo>
                  <a:cubicBezTo>
                    <a:pt x="16" y="15"/>
                    <a:pt x="7" y="15"/>
                    <a:pt x="8" y="4"/>
                  </a:cubicBezTo>
                  <a:cubicBezTo>
                    <a:pt x="7" y="2"/>
                    <a:pt x="7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58" name="Freeform 109"/>
            <p:cNvSpPr>
              <a:spLocks/>
            </p:cNvSpPr>
            <p:nvPr userDrawn="1"/>
          </p:nvSpPr>
          <p:spPr bwMode="auto">
            <a:xfrm>
              <a:off x="3100378" y="4646349"/>
              <a:ext cx="16124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59" name="Freeform 110"/>
            <p:cNvSpPr>
              <a:spLocks/>
            </p:cNvSpPr>
            <p:nvPr userDrawn="1"/>
          </p:nvSpPr>
          <p:spPr bwMode="auto">
            <a:xfrm>
              <a:off x="3201152" y="4627538"/>
              <a:ext cx="34935" cy="65839"/>
            </a:xfrm>
            <a:custGeom>
              <a:avLst/>
              <a:gdLst>
                <a:gd name="T0" fmla="*/ 0 w 11"/>
                <a:gd name="T1" fmla="*/ 10 h 21"/>
                <a:gd name="T2" fmla="*/ 8 w 11"/>
                <a:gd name="T3" fmla="*/ 21 h 21"/>
                <a:gd name="T4" fmla="*/ 0 w 11"/>
                <a:gd name="T5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1">
                  <a:moveTo>
                    <a:pt x="0" y="10"/>
                  </a:moveTo>
                  <a:cubicBezTo>
                    <a:pt x="6" y="9"/>
                    <a:pt x="3" y="21"/>
                    <a:pt x="8" y="21"/>
                  </a:cubicBezTo>
                  <a:cubicBezTo>
                    <a:pt x="11" y="12"/>
                    <a:pt x="3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60" name="Freeform 111"/>
            <p:cNvSpPr>
              <a:spLocks/>
            </p:cNvSpPr>
            <p:nvPr userDrawn="1"/>
          </p:nvSpPr>
          <p:spPr bwMode="auto">
            <a:xfrm>
              <a:off x="2893456" y="4671879"/>
              <a:ext cx="18811" cy="44341"/>
            </a:xfrm>
            <a:custGeom>
              <a:avLst/>
              <a:gdLst>
                <a:gd name="T0" fmla="*/ 0 w 6"/>
                <a:gd name="T1" fmla="*/ 14 h 14"/>
                <a:gd name="T2" fmla="*/ 6 w 6"/>
                <a:gd name="T3" fmla="*/ 14 h 14"/>
                <a:gd name="T4" fmla="*/ 6 w 6"/>
                <a:gd name="T5" fmla="*/ 0 h 14"/>
                <a:gd name="T6" fmla="*/ 0 w 6"/>
                <a:gd name="T7" fmla="*/ 0 h 14"/>
                <a:gd name="T8" fmla="*/ 0 w 6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2" y="14"/>
                    <a:pt x="4" y="14"/>
                    <a:pt x="6" y="14"/>
                  </a:cubicBezTo>
                  <a:cubicBezTo>
                    <a:pt x="6" y="10"/>
                    <a:pt x="6" y="5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61" name="Freeform 112"/>
            <p:cNvSpPr>
              <a:spLocks/>
            </p:cNvSpPr>
            <p:nvPr userDrawn="1"/>
          </p:nvSpPr>
          <p:spPr bwMode="auto">
            <a:xfrm>
              <a:off x="3370452" y="4671879"/>
              <a:ext cx="21498" cy="44341"/>
            </a:xfrm>
            <a:custGeom>
              <a:avLst/>
              <a:gdLst>
                <a:gd name="T0" fmla="*/ 1 w 7"/>
                <a:gd name="T1" fmla="*/ 0 h 14"/>
                <a:gd name="T2" fmla="*/ 4 w 7"/>
                <a:gd name="T3" fmla="*/ 14 h 14"/>
                <a:gd name="T4" fmla="*/ 1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1" y="0"/>
                  </a:moveTo>
                  <a:cubicBezTo>
                    <a:pt x="1" y="5"/>
                    <a:pt x="0" y="13"/>
                    <a:pt x="4" y="14"/>
                  </a:cubicBezTo>
                  <a:cubicBezTo>
                    <a:pt x="7" y="10"/>
                    <a:pt x="7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62" name="Freeform 113"/>
            <p:cNvSpPr>
              <a:spLocks/>
            </p:cNvSpPr>
            <p:nvPr userDrawn="1"/>
          </p:nvSpPr>
          <p:spPr bwMode="auto">
            <a:xfrm>
              <a:off x="3280428" y="4681284"/>
              <a:ext cx="32248" cy="34935"/>
            </a:xfrm>
            <a:custGeom>
              <a:avLst/>
              <a:gdLst>
                <a:gd name="T0" fmla="*/ 5 w 10"/>
                <a:gd name="T1" fmla="*/ 0 h 11"/>
                <a:gd name="T2" fmla="*/ 5 w 10"/>
                <a:gd name="T3" fmla="*/ 11 h 11"/>
                <a:gd name="T4" fmla="*/ 5 w 10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5" y="0"/>
                  </a:moveTo>
                  <a:cubicBezTo>
                    <a:pt x="4" y="5"/>
                    <a:pt x="0" y="9"/>
                    <a:pt x="5" y="11"/>
                  </a:cubicBezTo>
                  <a:cubicBezTo>
                    <a:pt x="5" y="7"/>
                    <a:pt x="10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63" name="Freeform 114"/>
            <p:cNvSpPr>
              <a:spLocks/>
            </p:cNvSpPr>
            <p:nvPr userDrawn="1"/>
          </p:nvSpPr>
          <p:spPr bwMode="auto">
            <a:xfrm>
              <a:off x="3410762" y="4690690"/>
              <a:ext cx="29560" cy="79275"/>
            </a:xfrm>
            <a:custGeom>
              <a:avLst/>
              <a:gdLst>
                <a:gd name="T0" fmla="*/ 1 w 9"/>
                <a:gd name="T1" fmla="*/ 20 h 25"/>
                <a:gd name="T2" fmla="*/ 4 w 9"/>
                <a:gd name="T3" fmla="*/ 1 h 25"/>
                <a:gd name="T4" fmla="*/ 1 w 9"/>
                <a:gd name="T5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5">
                  <a:moveTo>
                    <a:pt x="1" y="20"/>
                  </a:moveTo>
                  <a:cubicBezTo>
                    <a:pt x="9" y="25"/>
                    <a:pt x="8" y="0"/>
                    <a:pt x="4" y="1"/>
                  </a:cubicBezTo>
                  <a:cubicBezTo>
                    <a:pt x="6" y="12"/>
                    <a:pt x="0" y="11"/>
                    <a:pt x="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64" name="Freeform 115"/>
            <p:cNvSpPr>
              <a:spLocks/>
            </p:cNvSpPr>
            <p:nvPr userDrawn="1"/>
          </p:nvSpPr>
          <p:spPr bwMode="auto">
            <a:xfrm>
              <a:off x="3468539" y="4712188"/>
              <a:ext cx="25529" cy="29560"/>
            </a:xfrm>
            <a:custGeom>
              <a:avLst/>
              <a:gdLst>
                <a:gd name="T0" fmla="*/ 0 w 8"/>
                <a:gd name="T1" fmla="*/ 1 h 9"/>
                <a:gd name="T2" fmla="*/ 0 w 8"/>
                <a:gd name="T3" fmla="*/ 9 h 9"/>
                <a:gd name="T4" fmla="*/ 8 w 8"/>
                <a:gd name="T5" fmla="*/ 9 h 9"/>
                <a:gd name="T6" fmla="*/ 0 w 8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5" y="9"/>
                    <a:pt x="8" y="9"/>
                  </a:cubicBezTo>
                  <a:cubicBezTo>
                    <a:pt x="8" y="2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65" name="Freeform 116"/>
            <p:cNvSpPr>
              <a:spLocks/>
            </p:cNvSpPr>
            <p:nvPr userDrawn="1"/>
          </p:nvSpPr>
          <p:spPr bwMode="auto">
            <a:xfrm>
              <a:off x="3135313" y="4737718"/>
              <a:ext cx="51059" cy="57777"/>
            </a:xfrm>
            <a:custGeom>
              <a:avLst/>
              <a:gdLst>
                <a:gd name="T0" fmla="*/ 0 w 16"/>
                <a:gd name="T1" fmla="*/ 8 h 18"/>
                <a:gd name="T2" fmla="*/ 13 w 16"/>
                <a:gd name="T3" fmla="*/ 16 h 18"/>
                <a:gd name="T4" fmla="*/ 16 w 16"/>
                <a:gd name="T5" fmla="*/ 5 h 18"/>
                <a:gd name="T6" fmla="*/ 0 w 16"/>
                <a:gd name="T7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8">
                  <a:moveTo>
                    <a:pt x="0" y="8"/>
                  </a:moveTo>
                  <a:cubicBezTo>
                    <a:pt x="8" y="6"/>
                    <a:pt x="5" y="18"/>
                    <a:pt x="13" y="16"/>
                  </a:cubicBezTo>
                  <a:cubicBezTo>
                    <a:pt x="13" y="11"/>
                    <a:pt x="14" y="8"/>
                    <a:pt x="16" y="5"/>
                  </a:cubicBezTo>
                  <a:cubicBezTo>
                    <a:pt x="11" y="7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66" name="Freeform 117"/>
            <p:cNvSpPr>
              <a:spLocks/>
            </p:cNvSpPr>
            <p:nvPr userDrawn="1"/>
          </p:nvSpPr>
          <p:spPr bwMode="auto">
            <a:xfrm>
              <a:off x="3379858" y="4776684"/>
              <a:ext cx="47028" cy="65839"/>
            </a:xfrm>
            <a:custGeom>
              <a:avLst/>
              <a:gdLst>
                <a:gd name="T0" fmla="*/ 3 w 15"/>
                <a:gd name="T1" fmla="*/ 0 h 21"/>
                <a:gd name="T2" fmla="*/ 3 w 15"/>
                <a:gd name="T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1">
                  <a:moveTo>
                    <a:pt x="3" y="0"/>
                  </a:moveTo>
                  <a:cubicBezTo>
                    <a:pt x="0" y="21"/>
                    <a:pt x="15" y="2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67" name="Freeform 118"/>
            <p:cNvSpPr>
              <a:spLocks/>
            </p:cNvSpPr>
            <p:nvPr userDrawn="1"/>
          </p:nvSpPr>
          <p:spPr bwMode="auto">
            <a:xfrm>
              <a:off x="3452415" y="4798182"/>
              <a:ext cx="32248" cy="79275"/>
            </a:xfrm>
            <a:custGeom>
              <a:avLst/>
              <a:gdLst>
                <a:gd name="T0" fmla="*/ 5 w 10"/>
                <a:gd name="T1" fmla="*/ 0 h 25"/>
                <a:gd name="T2" fmla="*/ 2 w 10"/>
                <a:gd name="T3" fmla="*/ 19 h 25"/>
                <a:gd name="T4" fmla="*/ 5 w 10"/>
                <a:gd name="T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5">
                  <a:moveTo>
                    <a:pt x="5" y="0"/>
                  </a:moveTo>
                  <a:cubicBezTo>
                    <a:pt x="6" y="9"/>
                    <a:pt x="0" y="8"/>
                    <a:pt x="2" y="19"/>
                  </a:cubicBezTo>
                  <a:cubicBezTo>
                    <a:pt x="10" y="25"/>
                    <a:pt x="9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68" name="Freeform 119"/>
            <p:cNvSpPr>
              <a:spLocks/>
            </p:cNvSpPr>
            <p:nvPr userDrawn="1"/>
          </p:nvSpPr>
          <p:spPr bwMode="auto">
            <a:xfrm>
              <a:off x="3357016" y="4807588"/>
              <a:ext cx="104805" cy="69870"/>
            </a:xfrm>
            <a:custGeom>
              <a:avLst/>
              <a:gdLst>
                <a:gd name="T0" fmla="*/ 2 w 33"/>
                <a:gd name="T1" fmla="*/ 5 h 22"/>
                <a:gd name="T2" fmla="*/ 16 w 33"/>
                <a:gd name="T3" fmla="*/ 12 h 22"/>
                <a:gd name="T4" fmla="*/ 24 w 33"/>
                <a:gd name="T5" fmla="*/ 20 h 22"/>
                <a:gd name="T6" fmla="*/ 2 w 33"/>
                <a:gd name="T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22">
                  <a:moveTo>
                    <a:pt x="2" y="5"/>
                  </a:moveTo>
                  <a:cubicBezTo>
                    <a:pt x="0" y="17"/>
                    <a:pt x="11" y="10"/>
                    <a:pt x="16" y="12"/>
                  </a:cubicBezTo>
                  <a:cubicBezTo>
                    <a:pt x="18" y="13"/>
                    <a:pt x="18" y="22"/>
                    <a:pt x="24" y="20"/>
                  </a:cubicBezTo>
                  <a:cubicBezTo>
                    <a:pt x="33" y="6"/>
                    <a:pt x="7" y="0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69" name="Freeform 120"/>
            <p:cNvSpPr>
              <a:spLocks/>
            </p:cNvSpPr>
            <p:nvPr userDrawn="1"/>
          </p:nvSpPr>
          <p:spPr bwMode="auto">
            <a:xfrm>
              <a:off x="3484663" y="4802213"/>
              <a:ext cx="84650" cy="107492"/>
            </a:xfrm>
            <a:custGeom>
              <a:avLst/>
              <a:gdLst>
                <a:gd name="T0" fmla="*/ 16 w 27"/>
                <a:gd name="T1" fmla="*/ 14 h 34"/>
                <a:gd name="T2" fmla="*/ 21 w 27"/>
                <a:gd name="T3" fmla="*/ 3 h 34"/>
                <a:gd name="T4" fmla="*/ 11 w 27"/>
                <a:gd name="T5" fmla="*/ 18 h 34"/>
                <a:gd name="T6" fmla="*/ 5 w 27"/>
                <a:gd name="T7" fmla="*/ 22 h 34"/>
                <a:gd name="T8" fmla="*/ 21 w 27"/>
                <a:gd name="T9" fmla="*/ 22 h 34"/>
                <a:gd name="T10" fmla="*/ 27 w 27"/>
                <a:gd name="T11" fmla="*/ 33 h 34"/>
                <a:gd name="T12" fmla="*/ 27 w 27"/>
                <a:gd name="T13" fmla="*/ 18 h 34"/>
                <a:gd name="T14" fmla="*/ 16 w 27"/>
                <a:gd name="T15" fmla="*/ 1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34">
                  <a:moveTo>
                    <a:pt x="16" y="14"/>
                  </a:moveTo>
                  <a:cubicBezTo>
                    <a:pt x="21" y="15"/>
                    <a:pt x="22" y="10"/>
                    <a:pt x="21" y="3"/>
                  </a:cubicBezTo>
                  <a:cubicBezTo>
                    <a:pt x="12" y="0"/>
                    <a:pt x="17" y="17"/>
                    <a:pt x="11" y="18"/>
                  </a:cubicBezTo>
                  <a:cubicBezTo>
                    <a:pt x="7" y="18"/>
                    <a:pt x="0" y="19"/>
                    <a:pt x="5" y="22"/>
                  </a:cubicBezTo>
                  <a:cubicBezTo>
                    <a:pt x="14" y="20"/>
                    <a:pt x="16" y="30"/>
                    <a:pt x="21" y="22"/>
                  </a:cubicBezTo>
                  <a:cubicBezTo>
                    <a:pt x="22" y="27"/>
                    <a:pt x="21" y="34"/>
                    <a:pt x="27" y="33"/>
                  </a:cubicBezTo>
                  <a:cubicBezTo>
                    <a:pt x="27" y="28"/>
                    <a:pt x="27" y="23"/>
                    <a:pt x="27" y="18"/>
                  </a:cubicBezTo>
                  <a:cubicBezTo>
                    <a:pt x="23" y="9"/>
                    <a:pt x="19" y="25"/>
                    <a:pt x="1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70" name="Freeform 121"/>
            <p:cNvSpPr>
              <a:spLocks/>
            </p:cNvSpPr>
            <p:nvPr userDrawn="1"/>
          </p:nvSpPr>
          <p:spPr bwMode="auto">
            <a:xfrm>
              <a:off x="3585437" y="4823711"/>
              <a:ext cx="34935" cy="53746"/>
            </a:xfrm>
            <a:custGeom>
              <a:avLst/>
              <a:gdLst>
                <a:gd name="T0" fmla="*/ 0 w 11"/>
                <a:gd name="T1" fmla="*/ 0 h 17"/>
                <a:gd name="T2" fmla="*/ 3 w 11"/>
                <a:gd name="T3" fmla="*/ 7 h 17"/>
                <a:gd name="T4" fmla="*/ 11 w 11"/>
                <a:gd name="T5" fmla="*/ 15 h 17"/>
                <a:gd name="T6" fmla="*/ 0 w 11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7">
                  <a:moveTo>
                    <a:pt x="0" y="0"/>
                  </a:moveTo>
                  <a:cubicBezTo>
                    <a:pt x="1" y="3"/>
                    <a:pt x="0" y="7"/>
                    <a:pt x="3" y="7"/>
                  </a:cubicBezTo>
                  <a:cubicBezTo>
                    <a:pt x="7" y="7"/>
                    <a:pt x="5" y="17"/>
                    <a:pt x="11" y="15"/>
                  </a:cubicBezTo>
                  <a:cubicBezTo>
                    <a:pt x="11" y="5"/>
                    <a:pt x="7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71" name="Freeform 122"/>
            <p:cNvSpPr>
              <a:spLocks/>
            </p:cNvSpPr>
            <p:nvPr userDrawn="1"/>
          </p:nvSpPr>
          <p:spPr bwMode="auto">
            <a:xfrm>
              <a:off x="3569313" y="4849241"/>
              <a:ext cx="41653" cy="57777"/>
            </a:xfrm>
            <a:custGeom>
              <a:avLst/>
              <a:gdLst>
                <a:gd name="T0" fmla="*/ 2 w 13"/>
                <a:gd name="T1" fmla="*/ 3 h 18"/>
                <a:gd name="T2" fmla="*/ 13 w 13"/>
                <a:gd name="T3" fmla="*/ 10 h 18"/>
                <a:gd name="T4" fmla="*/ 2 w 13"/>
                <a:gd name="T5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2" y="3"/>
                  </a:moveTo>
                  <a:cubicBezTo>
                    <a:pt x="0" y="11"/>
                    <a:pt x="12" y="18"/>
                    <a:pt x="13" y="10"/>
                  </a:cubicBezTo>
                  <a:cubicBezTo>
                    <a:pt x="8" y="10"/>
                    <a:pt x="10" y="0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72" name="Freeform 123"/>
            <p:cNvSpPr>
              <a:spLocks/>
            </p:cNvSpPr>
            <p:nvPr userDrawn="1"/>
          </p:nvSpPr>
          <p:spPr bwMode="auto">
            <a:xfrm>
              <a:off x="3692929" y="4881488"/>
              <a:ext cx="22842" cy="47028"/>
            </a:xfrm>
            <a:custGeom>
              <a:avLst/>
              <a:gdLst>
                <a:gd name="T0" fmla="*/ 1 w 7"/>
                <a:gd name="T1" fmla="*/ 0 h 15"/>
                <a:gd name="T2" fmla="*/ 4 w 7"/>
                <a:gd name="T3" fmla="*/ 15 h 15"/>
                <a:gd name="T4" fmla="*/ 1 w 7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5">
                  <a:moveTo>
                    <a:pt x="1" y="0"/>
                  </a:moveTo>
                  <a:cubicBezTo>
                    <a:pt x="2" y="6"/>
                    <a:pt x="0" y="14"/>
                    <a:pt x="4" y="15"/>
                  </a:cubicBezTo>
                  <a:cubicBezTo>
                    <a:pt x="7" y="10"/>
                    <a:pt x="7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73" name="Freeform 124"/>
            <p:cNvSpPr>
              <a:spLocks/>
            </p:cNvSpPr>
            <p:nvPr userDrawn="1"/>
          </p:nvSpPr>
          <p:spPr bwMode="auto">
            <a:xfrm>
              <a:off x="6318424" y="5769642"/>
              <a:ext cx="16124" cy="37622"/>
            </a:xfrm>
            <a:custGeom>
              <a:avLst/>
              <a:gdLst>
                <a:gd name="T0" fmla="*/ 0 w 5"/>
                <a:gd name="T1" fmla="*/ 1 h 12"/>
                <a:gd name="T2" fmla="*/ 0 w 5"/>
                <a:gd name="T3" fmla="*/ 9 h 12"/>
                <a:gd name="T4" fmla="*/ 5 w 5"/>
                <a:gd name="T5" fmla="*/ 12 h 12"/>
                <a:gd name="T6" fmla="*/ 0 w 5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2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3" y="12"/>
                    <a:pt x="5" y="12"/>
                  </a:cubicBezTo>
                  <a:cubicBezTo>
                    <a:pt x="5" y="7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74" name="Freeform 125"/>
            <p:cNvSpPr>
              <a:spLocks/>
            </p:cNvSpPr>
            <p:nvPr userDrawn="1"/>
          </p:nvSpPr>
          <p:spPr bwMode="auto">
            <a:xfrm>
              <a:off x="6753768" y="5832794"/>
              <a:ext cx="47028" cy="69870"/>
            </a:xfrm>
            <a:custGeom>
              <a:avLst/>
              <a:gdLst>
                <a:gd name="T0" fmla="*/ 2 w 15"/>
                <a:gd name="T1" fmla="*/ 0 h 22"/>
                <a:gd name="T2" fmla="*/ 2 w 15"/>
                <a:gd name="T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2">
                  <a:moveTo>
                    <a:pt x="2" y="0"/>
                  </a:moveTo>
                  <a:cubicBezTo>
                    <a:pt x="0" y="22"/>
                    <a:pt x="15" y="2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75" name="Freeform 126"/>
            <p:cNvSpPr>
              <a:spLocks/>
            </p:cNvSpPr>
            <p:nvPr userDrawn="1"/>
          </p:nvSpPr>
          <p:spPr bwMode="auto">
            <a:xfrm>
              <a:off x="7911995" y="5820701"/>
              <a:ext cx="47028" cy="126303"/>
            </a:xfrm>
            <a:custGeom>
              <a:avLst/>
              <a:gdLst>
                <a:gd name="T0" fmla="*/ 0 w 15"/>
                <a:gd name="T1" fmla="*/ 30 h 40"/>
                <a:gd name="T2" fmla="*/ 11 w 15"/>
                <a:gd name="T3" fmla="*/ 37 h 40"/>
                <a:gd name="T4" fmla="*/ 6 w 15"/>
                <a:gd name="T5" fmla="*/ 26 h 40"/>
                <a:gd name="T6" fmla="*/ 8 w 15"/>
                <a:gd name="T7" fmla="*/ 15 h 40"/>
                <a:gd name="T8" fmla="*/ 14 w 15"/>
                <a:gd name="T9" fmla="*/ 11 h 40"/>
                <a:gd name="T10" fmla="*/ 0 w 15"/>
                <a:gd name="T11" fmla="*/ 3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40">
                  <a:moveTo>
                    <a:pt x="0" y="30"/>
                  </a:moveTo>
                  <a:cubicBezTo>
                    <a:pt x="6" y="30"/>
                    <a:pt x="4" y="40"/>
                    <a:pt x="11" y="37"/>
                  </a:cubicBezTo>
                  <a:cubicBezTo>
                    <a:pt x="12" y="30"/>
                    <a:pt x="8" y="30"/>
                    <a:pt x="6" y="26"/>
                  </a:cubicBezTo>
                  <a:cubicBezTo>
                    <a:pt x="10" y="27"/>
                    <a:pt x="7" y="18"/>
                    <a:pt x="8" y="15"/>
                  </a:cubicBezTo>
                  <a:cubicBezTo>
                    <a:pt x="10" y="13"/>
                    <a:pt x="15" y="16"/>
                    <a:pt x="14" y="11"/>
                  </a:cubicBezTo>
                  <a:cubicBezTo>
                    <a:pt x="5" y="0"/>
                    <a:pt x="2" y="19"/>
                    <a:pt x="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76" name="Freeform 127"/>
            <p:cNvSpPr>
              <a:spLocks/>
            </p:cNvSpPr>
            <p:nvPr userDrawn="1"/>
          </p:nvSpPr>
          <p:spPr bwMode="auto">
            <a:xfrm>
              <a:off x="6912318" y="5846230"/>
              <a:ext cx="40310" cy="34935"/>
            </a:xfrm>
            <a:custGeom>
              <a:avLst/>
              <a:gdLst>
                <a:gd name="T0" fmla="*/ 1 w 13"/>
                <a:gd name="T1" fmla="*/ 7 h 11"/>
                <a:gd name="T2" fmla="*/ 3 w 13"/>
                <a:gd name="T3" fmla="*/ 11 h 11"/>
                <a:gd name="T4" fmla="*/ 9 w 13"/>
                <a:gd name="T5" fmla="*/ 11 h 11"/>
                <a:gd name="T6" fmla="*/ 1 w 13"/>
                <a:gd name="T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1" y="7"/>
                  </a:moveTo>
                  <a:cubicBezTo>
                    <a:pt x="2" y="7"/>
                    <a:pt x="4" y="7"/>
                    <a:pt x="3" y="11"/>
                  </a:cubicBezTo>
                  <a:cubicBezTo>
                    <a:pt x="5" y="11"/>
                    <a:pt x="7" y="11"/>
                    <a:pt x="9" y="11"/>
                  </a:cubicBezTo>
                  <a:cubicBezTo>
                    <a:pt x="13" y="2"/>
                    <a:pt x="0" y="0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77" name="Freeform 128"/>
            <p:cNvSpPr>
              <a:spLocks/>
            </p:cNvSpPr>
            <p:nvPr userDrawn="1"/>
          </p:nvSpPr>
          <p:spPr bwMode="auto">
            <a:xfrm>
              <a:off x="7280479" y="5839512"/>
              <a:ext cx="56433" cy="67183"/>
            </a:xfrm>
            <a:custGeom>
              <a:avLst/>
              <a:gdLst>
                <a:gd name="T0" fmla="*/ 0 w 18"/>
                <a:gd name="T1" fmla="*/ 13 h 21"/>
                <a:gd name="T2" fmla="*/ 14 w 18"/>
                <a:gd name="T3" fmla="*/ 20 h 21"/>
                <a:gd name="T4" fmla="*/ 0 w 18"/>
                <a:gd name="T5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cubicBezTo>
                    <a:pt x="6" y="14"/>
                    <a:pt x="7" y="21"/>
                    <a:pt x="14" y="20"/>
                  </a:cubicBezTo>
                  <a:cubicBezTo>
                    <a:pt x="18" y="4"/>
                    <a:pt x="2" y="0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78" name="Freeform 129"/>
            <p:cNvSpPr>
              <a:spLocks/>
            </p:cNvSpPr>
            <p:nvPr userDrawn="1"/>
          </p:nvSpPr>
          <p:spPr bwMode="auto">
            <a:xfrm>
              <a:off x="7365129" y="5855636"/>
              <a:ext cx="41653" cy="34935"/>
            </a:xfrm>
            <a:custGeom>
              <a:avLst/>
              <a:gdLst>
                <a:gd name="T0" fmla="*/ 0 w 13"/>
                <a:gd name="T1" fmla="*/ 8 h 11"/>
                <a:gd name="T2" fmla="*/ 6 w 13"/>
                <a:gd name="T3" fmla="*/ 11 h 11"/>
                <a:gd name="T4" fmla="*/ 0 w 13"/>
                <a:gd name="T5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8"/>
                  </a:moveTo>
                  <a:cubicBezTo>
                    <a:pt x="3" y="8"/>
                    <a:pt x="4" y="11"/>
                    <a:pt x="6" y="11"/>
                  </a:cubicBezTo>
                  <a:cubicBezTo>
                    <a:pt x="13" y="4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79" name="Freeform 130"/>
            <p:cNvSpPr>
              <a:spLocks/>
            </p:cNvSpPr>
            <p:nvPr userDrawn="1"/>
          </p:nvSpPr>
          <p:spPr bwMode="auto">
            <a:xfrm>
              <a:off x="8921078" y="1980544"/>
              <a:ext cx="72557" cy="142427"/>
            </a:xfrm>
            <a:custGeom>
              <a:avLst/>
              <a:gdLst>
                <a:gd name="T0" fmla="*/ 21 w 23"/>
                <a:gd name="T1" fmla="*/ 30 h 45"/>
                <a:gd name="T2" fmla="*/ 16 w 23"/>
                <a:gd name="T3" fmla="*/ 8 h 45"/>
                <a:gd name="T4" fmla="*/ 2 w 23"/>
                <a:gd name="T5" fmla="*/ 4 h 45"/>
                <a:gd name="T6" fmla="*/ 13 w 23"/>
                <a:gd name="T7" fmla="*/ 19 h 45"/>
                <a:gd name="T8" fmla="*/ 13 w 23"/>
                <a:gd name="T9" fmla="*/ 30 h 45"/>
                <a:gd name="T10" fmla="*/ 5 w 23"/>
                <a:gd name="T11" fmla="*/ 23 h 45"/>
                <a:gd name="T12" fmla="*/ 16 w 23"/>
                <a:gd name="T13" fmla="*/ 45 h 45"/>
                <a:gd name="T14" fmla="*/ 21 w 23"/>
                <a:gd name="T15" fmla="*/ 3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45">
                  <a:moveTo>
                    <a:pt x="21" y="30"/>
                  </a:moveTo>
                  <a:cubicBezTo>
                    <a:pt x="23" y="21"/>
                    <a:pt x="18" y="10"/>
                    <a:pt x="16" y="8"/>
                  </a:cubicBezTo>
                  <a:cubicBezTo>
                    <a:pt x="12" y="20"/>
                    <a:pt x="9" y="0"/>
                    <a:pt x="2" y="4"/>
                  </a:cubicBezTo>
                  <a:cubicBezTo>
                    <a:pt x="0" y="17"/>
                    <a:pt x="12" y="11"/>
                    <a:pt x="13" y="19"/>
                  </a:cubicBezTo>
                  <a:cubicBezTo>
                    <a:pt x="14" y="24"/>
                    <a:pt x="18" y="28"/>
                    <a:pt x="13" y="30"/>
                  </a:cubicBezTo>
                  <a:cubicBezTo>
                    <a:pt x="9" y="30"/>
                    <a:pt x="11" y="21"/>
                    <a:pt x="5" y="23"/>
                  </a:cubicBezTo>
                  <a:cubicBezTo>
                    <a:pt x="6" y="35"/>
                    <a:pt x="7" y="45"/>
                    <a:pt x="16" y="45"/>
                  </a:cubicBezTo>
                  <a:cubicBezTo>
                    <a:pt x="11" y="36"/>
                    <a:pt x="22" y="26"/>
                    <a:pt x="2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80" name="Freeform 131"/>
            <p:cNvSpPr>
              <a:spLocks/>
            </p:cNvSpPr>
            <p:nvPr userDrawn="1"/>
          </p:nvSpPr>
          <p:spPr bwMode="auto">
            <a:xfrm>
              <a:off x="2601884" y="2917069"/>
              <a:ext cx="72557" cy="154520"/>
            </a:xfrm>
            <a:custGeom>
              <a:avLst/>
              <a:gdLst>
                <a:gd name="T0" fmla="*/ 17 w 23"/>
                <a:gd name="T1" fmla="*/ 31 h 49"/>
                <a:gd name="T2" fmla="*/ 12 w 23"/>
                <a:gd name="T3" fmla="*/ 46 h 49"/>
                <a:gd name="T4" fmla="*/ 17 w 23"/>
                <a:gd name="T5" fmla="*/ 35 h 49"/>
                <a:gd name="T6" fmla="*/ 22 w 23"/>
                <a:gd name="T7" fmla="*/ 28 h 49"/>
                <a:gd name="T8" fmla="*/ 17 w 23"/>
                <a:gd name="T9" fmla="*/ 16 h 49"/>
                <a:gd name="T10" fmla="*/ 12 w 23"/>
                <a:gd name="T11" fmla="*/ 2 h 49"/>
                <a:gd name="T12" fmla="*/ 4 w 23"/>
                <a:gd name="T13" fmla="*/ 9 h 49"/>
                <a:gd name="T14" fmla="*/ 1 w 23"/>
                <a:gd name="T15" fmla="*/ 13 h 49"/>
                <a:gd name="T16" fmla="*/ 9 w 23"/>
                <a:gd name="T17" fmla="*/ 20 h 49"/>
                <a:gd name="T18" fmla="*/ 1 w 23"/>
                <a:gd name="T19" fmla="*/ 20 h 49"/>
                <a:gd name="T20" fmla="*/ 6 w 23"/>
                <a:gd name="T21" fmla="*/ 28 h 49"/>
                <a:gd name="T22" fmla="*/ 17 w 23"/>
                <a:gd name="T23" fmla="*/ 3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9">
                  <a:moveTo>
                    <a:pt x="17" y="31"/>
                  </a:moveTo>
                  <a:cubicBezTo>
                    <a:pt x="13" y="34"/>
                    <a:pt x="12" y="39"/>
                    <a:pt x="12" y="46"/>
                  </a:cubicBezTo>
                  <a:cubicBezTo>
                    <a:pt x="19" y="49"/>
                    <a:pt x="15" y="40"/>
                    <a:pt x="17" y="35"/>
                  </a:cubicBezTo>
                  <a:cubicBezTo>
                    <a:pt x="18" y="32"/>
                    <a:pt x="23" y="32"/>
                    <a:pt x="22" y="28"/>
                  </a:cubicBezTo>
                  <a:cubicBezTo>
                    <a:pt x="15" y="29"/>
                    <a:pt x="19" y="22"/>
                    <a:pt x="17" y="16"/>
                  </a:cubicBezTo>
                  <a:cubicBezTo>
                    <a:pt x="16" y="13"/>
                    <a:pt x="7" y="9"/>
                    <a:pt x="12" y="2"/>
                  </a:cubicBezTo>
                  <a:cubicBezTo>
                    <a:pt x="6" y="0"/>
                    <a:pt x="6" y="7"/>
                    <a:pt x="4" y="9"/>
                  </a:cubicBezTo>
                  <a:cubicBezTo>
                    <a:pt x="2" y="9"/>
                    <a:pt x="0" y="10"/>
                    <a:pt x="1" y="13"/>
                  </a:cubicBezTo>
                  <a:cubicBezTo>
                    <a:pt x="5" y="13"/>
                    <a:pt x="10" y="12"/>
                    <a:pt x="9" y="20"/>
                  </a:cubicBezTo>
                  <a:cubicBezTo>
                    <a:pt x="6" y="20"/>
                    <a:pt x="3" y="14"/>
                    <a:pt x="1" y="20"/>
                  </a:cubicBezTo>
                  <a:cubicBezTo>
                    <a:pt x="4" y="21"/>
                    <a:pt x="5" y="24"/>
                    <a:pt x="6" y="28"/>
                  </a:cubicBezTo>
                  <a:cubicBezTo>
                    <a:pt x="13" y="27"/>
                    <a:pt x="15" y="21"/>
                    <a:pt x="1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81" name="Freeform 132"/>
            <p:cNvSpPr>
              <a:spLocks/>
            </p:cNvSpPr>
            <p:nvPr userDrawn="1"/>
          </p:nvSpPr>
          <p:spPr bwMode="auto">
            <a:xfrm>
              <a:off x="4563615" y="1735999"/>
              <a:ext cx="37622" cy="47028"/>
            </a:xfrm>
            <a:custGeom>
              <a:avLst/>
              <a:gdLst>
                <a:gd name="T0" fmla="*/ 12 w 12"/>
                <a:gd name="T1" fmla="*/ 0 h 15"/>
                <a:gd name="T2" fmla="*/ 1 w 12"/>
                <a:gd name="T3" fmla="*/ 4 h 15"/>
                <a:gd name="T4" fmla="*/ 12 w 1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12" y="0"/>
                  </a:moveTo>
                  <a:cubicBezTo>
                    <a:pt x="7" y="3"/>
                    <a:pt x="0" y="1"/>
                    <a:pt x="1" y="4"/>
                  </a:cubicBezTo>
                  <a:cubicBezTo>
                    <a:pt x="3" y="6"/>
                    <a:pt x="12" y="15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82" name="Freeform 133"/>
            <p:cNvSpPr>
              <a:spLocks/>
            </p:cNvSpPr>
            <p:nvPr userDrawn="1"/>
          </p:nvSpPr>
          <p:spPr bwMode="auto">
            <a:xfrm>
              <a:off x="7891841" y="1729281"/>
              <a:ext cx="99430" cy="76588"/>
            </a:xfrm>
            <a:custGeom>
              <a:avLst/>
              <a:gdLst>
                <a:gd name="T0" fmla="*/ 28 w 31"/>
                <a:gd name="T1" fmla="*/ 17 h 24"/>
                <a:gd name="T2" fmla="*/ 28 w 31"/>
                <a:gd name="T3" fmla="*/ 2 h 24"/>
                <a:gd name="T4" fmla="*/ 20 w 31"/>
                <a:gd name="T5" fmla="*/ 13 h 24"/>
                <a:gd name="T6" fmla="*/ 12 w 31"/>
                <a:gd name="T7" fmla="*/ 2 h 24"/>
                <a:gd name="T8" fmla="*/ 1 w 31"/>
                <a:gd name="T9" fmla="*/ 6 h 24"/>
                <a:gd name="T10" fmla="*/ 4 w 31"/>
                <a:gd name="T11" fmla="*/ 21 h 24"/>
                <a:gd name="T12" fmla="*/ 28 w 31"/>
                <a:gd name="T13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4">
                  <a:moveTo>
                    <a:pt x="28" y="17"/>
                  </a:moveTo>
                  <a:cubicBezTo>
                    <a:pt x="28" y="12"/>
                    <a:pt x="28" y="7"/>
                    <a:pt x="28" y="2"/>
                  </a:cubicBezTo>
                  <a:cubicBezTo>
                    <a:pt x="17" y="0"/>
                    <a:pt x="31" y="12"/>
                    <a:pt x="20" y="13"/>
                  </a:cubicBezTo>
                  <a:cubicBezTo>
                    <a:pt x="17" y="10"/>
                    <a:pt x="19" y="0"/>
                    <a:pt x="12" y="2"/>
                  </a:cubicBezTo>
                  <a:cubicBezTo>
                    <a:pt x="12" y="24"/>
                    <a:pt x="11" y="1"/>
                    <a:pt x="1" y="6"/>
                  </a:cubicBezTo>
                  <a:cubicBezTo>
                    <a:pt x="0" y="13"/>
                    <a:pt x="4" y="14"/>
                    <a:pt x="4" y="21"/>
                  </a:cubicBezTo>
                  <a:cubicBezTo>
                    <a:pt x="16" y="17"/>
                    <a:pt x="20" y="11"/>
                    <a:pt x="2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83" name="Freeform 134"/>
            <p:cNvSpPr>
              <a:spLocks/>
            </p:cNvSpPr>
            <p:nvPr userDrawn="1"/>
          </p:nvSpPr>
          <p:spPr bwMode="auto">
            <a:xfrm>
              <a:off x="8168633" y="1726594"/>
              <a:ext cx="104805" cy="110179"/>
            </a:xfrm>
            <a:custGeom>
              <a:avLst/>
              <a:gdLst>
                <a:gd name="T0" fmla="*/ 5 w 33"/>
                <a:gd name="T1" fmla="*/ 18 h 35"/>
                <a:gd name="T2" fmla="*/ 32 w 33"/>
                <a:gd name="T3" fmla="*/ 10 h 35"/>
                <a:gd name="T4" fmla="*/ 24 w 33"/>
                <a:gd name="T5" fmla="*/ 18 h 35"/>
                <a:gd name="T6" fmla="*/ 0 w 33"/>
                <a:gd name="T7" fmla="*/ 7 h 35"/>
                <a:gd name="T8" fmla="*/ 5 w 33"/>
                <a:gd name="T9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5">
                  <a:moveTo>
                    <a:pt x="5" y="18"/>
                  </a:moveTo>
                  <a:cubicBezTo>
                    <a:pt x="10" y="7"/>
                    <a:pt x="33" y="35"/>
                    <a:pt x="32" y="10"/>
                  </a:cubicBezTo>
                  <a:cubicBezTo>
                    <a:pt x="27" y="9"/>
                    <a:pt x="27" y="15"/>
                    <a:pt x="24" y="18"/>
                  </a:cubicBezTo>
                  <a:cubicBezTo>
                    <a:pt x="17" y="9"/>
                    <a:pt x="4" y="0"/>
                    <a:pt x="0" y="7"/>
                  </a:cubicBezTo>
                  <a:cubicBezTo>
                    <a:pt x="5" y="7"/>
                    <a:pt x="2" y="17"/>
                    <a:pt x="5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84" name="Freeform 135"/>
            <p:cNvSpPr>
              <a:spLocks/>
            </p:cNvSpPr>
            <p:nvPr userDrawn="1"/>
          </p:nvSpPr>
          <p:spPr bwMode="auto">
            <a:xfrm>
              <a:off x="4878030" y="1748092"/>
              <a:ext cx="79275" cy="48371"/>
            </a:xfrm>
            <a:custGeom>
              <a:avLst/>
              <a:gdLst>
                <a:gd name="T0" fmla="*/ 18 w 25"/>
                <a:gd name="T1" fmla="*/ 3 h 15"/>
                <a:gd name="T2" fmla="*/ 5 w 25"/>
                <a:gd name="T3" fmla="*/ 0 h 15"/>
                <a:gd name="T4" fmla="*/ 13 w 25"/>
                <a:gd name="T5" fmla="*/ 11 h 15"/>
                <a:gd name="T6" fmla="*/ 18 w 25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5">
                  <a:moveTo>
                    <a:pt x="18" y="3"/>
                  </a:moveTo>
                  <a:cubicBezTo>
                    <a:pt x="16" y="14"/>
                    <a:pt x="9" y="0"/>
                    <a:pt x="5" y="0"/>
                  </a:cubicBezTo>
                  <a:cubicBezTo>
                    <a:pt x="0" y="13"/>
                    <a:pt x="14" y="2"/>
                    <a:pt x="13" y="11"/>
                  </a:cubicBezTo>
                  <a:cubicBezTo>
                    <a:pt x="18" y="15"/>
                    <a:pt x="25" y="5"/>
                    <a:pt x="1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85" name="Freeform 136"/>
            <p:cNvSpPr>
              <a:spLocks/>
            </p:cNvSpPr>
            <p:nvPr userDrawn="1"/>
          </p:nvSpPr>
          <p:spPr bwMode="auto">
            <a:xfrm>
              <a:off x="4804129" y="1773622"/>
              <a:ext cx="146458" cy="73901"/>
            </a:xfrm>
            <a:custGeom>
              <a:avLst/>
              <a:gdLst>
                <a:gd name="T0" fmla="*/ 3 w 46"/>
                <a:gd name="T1" fmla="*/ 18 h 23"/>
                <a:gd name="T2" fmla="*/ 14 w 46"/>
                <a:gd name="T3" fmla="*/ 18 h 23"/>
                <a:gd name="T4" fmla="*/ 33 w 46"/>
                <a:gd name="T5" fmla="*/ 15 h 23"/>
                <a:gd name="T6" fmla="*/ 33 w 46"/>
                <a:gd name="T7" fmla="*/ 14 h 23"/>
                <a:gd name="T8" fmla="*/ 33 w 46"/>
                <a:gd name="T9" fmla="*/ 15 h 23"/>
                <a:gd name="T10" fmla="*/ 44 w 46"/>
                <a:gd name="T11" fmla="*/ 14 h 23"/>
                <a:gd name="T12" fmla="*/ 36 w 46"/>
                <a:gd name="T13" fmla="*/ 3 h 23"/>
                <a:gd name="T14" fmla="*/ 3 w 46"/>
                <a:gd name="T15" fmla="*/ 7 h 23"/>
                <a:gd name="T16" fmla="*/ 3 w 46"/>
                <a:gd name="T17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23">
                  <a:moveTo>
                    <a:pt x="3" y="18"/>
                  </a:moveTo>
                  <a:cubicBezTo>
                    <a:pt x="11" y="16"/>
                    <a:pt x="11" y="13"/>
                    <a:pt x="14" y="18"/>
                  </a:cubicBezTo>
                  <a:cubicBezTo>
                    <a:pt x="17" y="23"/>
                    <a:pt x="30" y="17"/>
                    <a:pt x="33" y="15"/>
                  </a:cubicBezTo>
                  <a:cubicBezTo>
                    <a:pt x="32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5"/>
                  </a:cubicBezTo>
                  <a:cubicBezTo>
                    <a:pt x="34" y="17"/>
                    <a:pt x="46" y="22"/>
                    <a:pt x="44" y="14"/>
                  </a:cubicBezTo>
                  <a:cubicBezTo>
                    <a:pt x="41" y="10"/>
                    <a:pt x="34" y="13"/>
                    <a:pt x="36" y="3"/>
                  </a:cubicBezTo>
                  <a:cubicBezTo>
                    <a:pt x="29" y="14"/>
                    <a:pt x="7" y="0"/>
                    <a:pt x="3" y="7"/>
                  </a:cubicBezTo>
                  <a:cubicBezTo>
                    <a:pt x="16" y="8"/>
                    <a:pt x="0" y="8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86" name="Freeform 137"/>
            <p:cNvSpPr>
              <a:spLocks/>
            </p:cNvSpPr>
            <p:nvPr userDrawn="1"/>
          </p:nvSpPr>
          <p:spPr bwMode="auto">
            <a:xfrm>
              <a:off x="4953274" y="1726594"/>
              <a:ext cx="486402" cy="151833"/>
            </a:xfrm>
            <a:custGeom>
              <a:avLst/>
              <a:gdLst>
                <a:gd name="T0" fmla="*/ 7 w 153"/>
                <a:gd name="T1" fmla="*/ 25 h 48"/>
                <a:gd name="T2" fmla="*/ 13 w 153"/>
                <a:gd name="T3" fmla="*/ 22 h 48"/>
                <a:gd name="T4" fmla="*/ 32 w 153"/>
                <a:gd name="T5" fmla="*/ 29 h 48"/>
                <a:gd name="T6" fmla="*/ 37 w 153"/>
                <a:gd name="T7" fmla="*/ 33 h 48"/>
                <a:gd name="T8" fmla="*/ 37 w 153"/>
                <a:gd name="T9" fmla="*/ 36 h 48"/>
                <a:gd name="T10" fmla="*/ 69 w 153"/>
                <a:gd name="T11" fmla="*/ 40 h 48"/>
                <a:gd name="T12" fmla="*/ 94 w 153"/>
                <a:gd name="T13" fmla="*/ 40 h 48"/>
                <a:gd name="T14" fmla="*/ 104 w 153"/>
                <a:gd name="T15" fmla="*/ 36 h 48"/>
                <a:gd name="T16" fmla="*/ 115 w 153"/>
                <a:gd name="T17" fmla="*/ 36 h 48"/>
                <a:gd name="T18" fmla="*/ 115 w 153"/>
                <a:gd name="T19" fmla="*/ 33 h 48"/>
                <a:gd name="T20" fmla="*/ 123 w 153"/>
                <a:gd name="T21" fmla="*/ 36 h 48"/>
                <a:gd name="T22" fmla="*/ 115 w 153"/>
                <a:gd name="T23" fmla="*/ 40 h 48"/>
                <a:gd name="T24" fmla="*/ 131 w 153"/>
                <a:gd name="T25" fmla="*/ 36 h 48"/>
                <a:gd name="T26" fmla="*/ 139 w 153"/>
                <a:gd name="T27" fmla="*/ 40 h 48"/>
                <a:gd name="T28" fmla="*/ 150 w 153"/>
                <a:gd name="T29" fmla="*/ 40 h 48"/>
                <a:gd name="T30" fmla="*/ 153 w 153"/>
                <a:gd name="T31" fmla="*/ 33 h 48"/>
                <a:gd name="T32" fmla="*/ 142 w 153"/>
                <a:gd name="T33" fmla="*/ 33 h 48"/>
                <a:gd name="T34" fmla="*/ 145 w 153"/>
                <a:gd name="T35" fmla="*/ 22 h 48"/>
                <a:gd name="T36" fmla="*/ 126 w 153"/>
                <a:gd name="T37" fmla="*/ 33 h 48"/>
                <a:gd name="T38" fmla="*/ 131 w 153"/>
                <a:gd name="T39" fmla="*/ 18 h 48"/>
                <a:gd name="T40" fmla="*/ 118 w 153"/>
                <a:gd name="T41" fmla="*/ 22 h 48"/>
                <a:gd name="T42" fmla="*/ 118 w 153"/>
                <a:gd name="T43" fmla="*/ 25 h 48"/>
                <a:gd name="T44" fmla="*/ 112 w 153"/>
                <a:gd name="T45" fmla="*/ 18 h 48"/>
                <a:gd name="T46" fmla="*/ 107 w 153"/>
                <a:gd name="T47" fmla="*/ 25 h 48"/>
                <a:gd name="T48" fmla="*/ 104 w 153"/>
                <a:gd name="T49" fmla="*/ 18 h 48"/>
                <a:gd name="T50" fmla="*/ 102 w 153"/>
                <a:gd name="T51" fmla="*/ 25 h 48"/>
                <a:gd name="T52" fmla="*/ 102 w 153"/>
                <a:gd name="T53" fmla="*/ 18 h 48"/>
                <a:gd name="T54" fmla="*/ 88 w 153"/>
                <a:gd name="T55" fmla="*/ 29 h 48"/>
                <a:gd name="T56" fmla="*/ 91 w 153"/>
                <a:gd name="T57" fmla="*/ 10 h 48"/>
                <a:gd name="T58" fmla="*/ 72 w 153"/>
                <a:gd name="T59" fmla="*/ 18 h 48"/>
                <a:gd name="T60" fmla="*/ 75 w 153"/>
                <a:gd name="T61" fmla="*/ 18 h 48"/>
                <a:gd name="T62" fmla="*/ 83 w 153"/>
                <a:gd name="T63" fmla="*/ 14 h 48"/>
                <a:gd name="T64" fmla="*/ 85 w 153"/>
                <a:gd name="T65" fmla="*/ 25 h 48"/>
                <a:gd name="T66" fmla="*/ 32 w 153"/>
                <a:gd name="T67" fmla="*/ 25 h 48"/>
                <a:gd name="T68" fmla="*/ 24 w 153"/>
                <a:gd name="T69" fmla="*/ 18 h 48"/>
                <a:gd name="T70" fmla="*/ 21 w 153"/>
                <a:gd name="T71" fmla="*/ 10 h 48"/>
                <a:gd name="T72" fmla="*/ 13 w 153"/>
                <a:gd name="T73" fmla="*/ 18 h 48"/>
                <a:gd name="T74" fmla="*/ 7 w 153"/>
                <a:gd name="T75" fmla="*/ 2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3" h="48">
                  <a:moveTo>
                    <a:pt x="7" y="25"/>
                  </a:moveTo>
                  <a:cubicBezTo>
                    <a:pt x="8" y="22"/>
                    <a:pt x="10" y="21"/>
                    <a:pt x="13" y="22"/>
                  </a:cubicBezTo>
                  <a:cubicBezTo>
                    <a:pt x="12" y="34"/>
                    <a:pt x="27" y="35"/>
                    <a:pt x="32" y="29"/>
                  </a:cubicBezTo>
                  <a:cubicBezTo>
                    <a:pt x="29" y="39"/>
                    <a:pt x="37" y="33"/>
                    <a:pt x="37" y="33"/>
                  </a:cubicBezTo>
                  <a:cubicBezTo>
                    <a:pt x="37" y="33"/>
                    <a:pt x="37" y="36"/>
                    <a:pt x="37" y="36"/>
                  </a:cubicBezTo>
                  <a:cubicBezTo>
                    <a:pt x="46" y="38"/>
                    <a:pt x="64" y="39"/>
                    <a:pt x="69" y="40"/>
                  </a:cubicBezTo>
                  <a:cubicBezTo>
                    <a:pt x="84" y="43"/>
                    <a:pt x="84" y="41"/>
                    <a:pt x="94" y="40"/>
                  </a:cubicBezTo>
                  <a:cubicBezTo>
                    <a:pt x="99" y="39"/>
                    <a:pt x="101" y="40"/>
                    <a:pt x="104" y="36"/>
                  </a:cubicBezTo>
                  <a:cubicBezTo>
                    <a:pt x="106" y="35"/>
                    <a:pt x="113" y="37"/>
                    <a:pt x="115" y="36"/>
                  </a:cubicBezTo>
                  <a:cubicBezTo>
                    <a:pt x="115" y="36"/>
                    <a:pt x="115" y="33"/>
                    <a:pt x="115" y="33"/>
                  </a:cubicBezTo>
                  <a:cubicBezTo>
                    <a:pt x="116" y="31"/>
                    <a:pt x="124" y="34"/>
                    <a:pt x="123" y="36"/>
                  </a:cubicBezTo>
                  <a:cubicBezTo>
                    <a:pt x="120" y="37"/>
                    <a:pt x="115" y="36"/>
                    <a:pt x="115" y="40"/>
                  </a:cubicBezTo>
                  <a:cubicBezTo>
                    <a:pt x="121" y="48"/>
                    <a:pt x="126" y="39"/>
                    <a:pt x="131" y="36"/>
                  </a:cubicBezTo>
                  <a:cubicBezTo>
                    <a:pt x="136" y="43"/>
                    <a:pt x="136" y="36"/>
                    <a:pt x="139" y="40"/>
                  </a:cubicBezTo>
                  <a:cubicBezTo>
                    <a:pt x="141" y="43"/>
                    <a:pt x="148" y="38"/>
                    <a:pt x="150" y="40"/>
                  </a:cubicBezTo>
                  <a:cubicBezTo>
                    <a:pt x="151" y="37"/>
                    <a:pt x="150" y="33"/>
                    <a:pt x="153" y="33"/>
                  </a:cubicBezTo>
                  <a:cubicBezTo>
                    <a:pt x="148" y="26"/>
                    <a:pt x="149" y="33"/>
                    <a:pt x="142" y="33"/>
                  </a:cubicBezTo>
                  <a:cubicBezTo>
                    <a:pt x="137" y="24"/>
                    <a:pt x="143" y="29"/>
                    <a:pt x="145" y="22"/>
                  </a:cubicBezTo>
                  <a:cubicBezTo>
                    <a:pt x="135" y="18"/>
                    <a:pt x="130" y="40"/>
                    <a:pt x="126" y="33"/>
                  </a:cubicBezTo>
                  <a:cubicBezTo>
                    <a:pt x="122" y="21"/>
                    <a:pt x="134" y="30"/>
                    <a:pt x="131" y="18"/>
                  </a:cubicBezTo>
                  <a:cubicBezTo>
                    <a:pt x="123" y="19"/>
                    <a:pt x="121" y="15"/>
                    <a:pt x="118" y="22"/>
                  </a:cubicBezTo>
                  <a:cubicBezTo>
                    <a:pt x="118" y="22"/>
                    <a:pt x="122" y="24"/>
                    <a:pt x="118" y="25"/>
                  </a:cubicBezTo>
                  <a:cubicBezTo>
                    <a:pt x="118" y="25"/>
                    <a:pt x="114" y="17"/>
                    <a:pt x="112" y="18"/>
                  </a:cubicBezTo>
                  <a:cubicBezTo>
                    <a:pt x="111" y="18"/>
                    <a:pt x="112" y="30"/>
                    <a:pt x="107" y="25"/>
                  </a:cubicBezTo>
                  <a:cubicBezTo>
                    <a:pt x="106" y="22"/>
                    <a:pt x="107" y="18"/>
                    <a:pt x="104" y="18"/>
                  </a:cubicBezTo>
                  <a:cubicBezTo>
                    <a:pt x="104" y="20"/>
                    <a:pt x="104" y="26"/>
                    <a:pt x="102" y="25"/>
                  </a:cubicBezTo>
                  <a:cubicBezTo>
                    <a:pt x="101" y="25"/>
                    <a:pt x="102" y="18"/>
                    <a:pt x="102" y="18"/>
                  </a:cubicBezTo>
                  <a:cubicBezTo>
                    <a:pt x="96" y="14"/>
                    <a:pt x="96" y="25"/>
                    <a:pt x="88" y="29"/>
                  </a:cubicBezTo>
                  <a:cubicBezTo>
                    <a:pt x="89" y="25"/>
                    <a:pt x="99" y="15"/>
                    <a:pt x="91" y="10"/>
                  </a:cubicBezTo>
                  <a:cubicBezTo>
                    <a:pt x="87" y="22"/>
                    <a:pt x="73" y="0"/>
                    <a:pt x="72" y="18"/>
                  </a:cubicBezTo>
                  <a:cubicBezTo>
                    <a:pt x="75" y="19"/>
                    <a:pt x="78" y="22"/>
                    <a:pt x="75" y="18"/>
                  </a:cubicBezTo>
                  <a:cubicBezTo>
                    <a:pt x="75" y="14"/>
                    <a:pt x="79" y="14"/>
                    <a:pt x="83" y="14"/>
                  </a:cubicBezTo>
                  <a:cubicBezTo>
                    <a:pt x="83" y="19"/>
                    <a:pt x="84" y="22"/>
                    <a:pt x="85" y="25"/>
                  </a:cubicBezTo>
                  <a:cubicBezTo>
                    <a:pt x="61" y="26"/>
                    <a:pt x="50" y="22"/>
                    <a:pt x="32" y="25"/>
                  </a:cubicBezTo>
                  <a:cubicBezTo>
                    <a:pt x="28" y="24"/>
                    <a:pt x="27" y="19"/>
                    <a:pt x="24" y="18"/>
                  </a:cubicBezTo>
                  <a:cubicBezTo>
                    <a:pt x="23" y="24"/>
                    <a:pt x="20" y="18"/>
                    <a:pt x="21" y="10"/>
                  </a:cubicBezTo>
                  <a:cubicBezTo>
                    <a:pt x="16" y="9"/>
                    <a:pt x="16" y="15"/>
                    <a:pt x="13" y="18"/>
                  </a:cubicBezTo>
                  <a:cubicBezTo>
                    <a:pt x="14" y="8"/>
                    <a:pt x="0" y="26"/>
                    <a:pt x="7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87" name="Freeform 138"/>
            <p:cNvSpPr>
              <a:spLocks/>
            </p:cNvSpPr>
            <p:nvPr userDrawn="1"/>
          </p:nvSpPr>
          <p:spPr bwMode="auto">
            <a:xfrm>
              <a:off x="5439676" y="1792433"/>
              <a:ext cx="116898" cy="67183"/>
            </a:xfrm>
            <a:custGeom>
              <a:avLst/>
              <a:gdLst>
                <a:gd name="T0" fmla="*/ 24 w 37"/>
                <a:gd name="T1" fmla="*/ 15 h 21"/>
                <a:gd name="T2" fmla="*/ 35 w 37"/>
                <a:gd name="T3" fmla="*/ 19 h 21"/>
                <a:gd name="T4" fmla="*/ 37 w 37"/>
                <a:gd name="T5" fmla="*/ 4 h 21"/>
                <a:gd name="T6" fmla="*/ 16 w 37"/>
                <a:gd name="T7" fmla="*/ 12 h 21"/>
                <a:gd name="T8" fmla="*/ 10 w 37"/>
                <a:gd name="T9" fmla="*/ 8 h 21"/>
                <a:gd name="T10" fmla="*/ 8 w 37"/>
                <a:gd name="T11" fmla="*/ 12 h 21"/>
                <a:gd name="T12" fmla="*/ 0 w 37"/>
                <a:gd name="T13" fmla="*/ 12 h 21"/>
                <a:gd name="T14" fmla="*/ 0 w 37"/>
                <a:gd name="T15" fmla="*/ 19 h 21"/>
                <a:gd name="T16" fmla="*/ 24 w 37"/>
                <a:gd name="T1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21">
                  <a:moveTo>
                    <a:pt x="24" y="15"/>
                  </a:moveTo>
                  <a:cubicBezTo>
                    <a:pt x="28" y="16"/>
                    <a:pt x="29" y="21"/>
                    <a:pt x="35" y="19"/>
                  </a:cubicBezTo>
                  <a:cubicBezTo>
                    <a:pt x="34" y="13"/>
                    <a:pt x="35" y="8"/>
                    <a:pt x="37" y="4"/>
                  </a:cubicBezTo>
                  <a:cubicBezTo>
                    <a:pt x="27" y="0"/>
                    <a:pt x="22" y="10"/>
                    <a:pt x="16" y="12"/>
                  </a:cubicBezTo>
                  <a:cubicBezTo>
                    <a:pt x="13" y="12"/>
                    <a:pt x="13" y="8"/>
                    <a:pt x="10" y="8"/>
                  </a:cubicBezTo>
                  <a:cubicBezTo>
                    <a:pt x="11" y="8"/>
                    <a:pt x="9" y="11"/>
                    <a:pt x="8" y="12"/>
                  </a:cubicBezTo>
                  <a:cubicBezTo>
                    <a:pt x="7" y="12"/>
                    <a:pt x="0" y="12"/>
                    <a:pt x="0" y="12"/>
                  </a:cubicBezTo>
                  <a:cubicBezTo>
                    <a:pt x="0" y="12"/>
                    <a:pt x="0" y="19"/>
                    <a:pt x="0" y="19"/>
                  </a:cubicBezTo>
                  <a:cubicBezTo>
                    <a:pt x="7" y="19"/>
                    <a:pt x="15" y="14"/>
                    <a:pt x="2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88" name="Freeform 139"/>
            <p:cNvSpPr>
              <a:spLocks/>
            </p:cNvSpPr>
            <p:nvPr userDrawn="1"/>
          </p:nvSpPr>
          <p:spPr bwMode="auto">
            <a:xfrm>
              <a:off x="9003041" y="1796464"/>
              <a:ext cx="149145" cy="139740"/>
            </a:xfrm>
            <a:custGeom>
              <a:avLst/>
              <a:gdLst>
                <a:gd name="T0" fmla="*/ 36 w 47"/>
                <a:gd name="T1" fmla="*/ 11 h 44"/>
                <a:gd name="T2" fmla="*/ 36 w 47"/>
                <a:gd name="T3" fmla="*/ 3 h 44"/>
                <a:gd name="T4" fmla="*/ 25 w 47"/>
                <a:gd name="T5" fmla="*/ 0 h 44"/>
                <a:gd name="T6" fmla="*/ 22 w 47"/>
                <a:gd name="T7" fmla="*/ 18 h 44"/>
                <a:gd name="T8" fmla="*/ 9 w 47"/>
                <a:gd name="T9" fmla="*/ 18 h 44"/>
                <a:gd name="T10" fmla="*/ 6 w 47"/>
                <a:gd name="T11" fmla="*/ 18 h 44"/>
                <a:gd name="T12" fmla="*/ 14 w 47"/>
                <a:gd name="T13" fmla="*/ 44 h 44"/>
                <a:gd name="T14" fmla="*/ 19 w 47"/>
                <a:gd name="T15" fmla="*/ 26 h 44"/>
                <a:gd name="T16" fmla="*/ 30 w 47"/>
                <a:gd name="T17" fmla="*/ 29 h 44"/>
                <a:gd name="T18" fmla="*/ 46 w 47"/>
                <a:gd name="T19" fmla="*/ 18 h 44"/>
                <a:gd name="T20" fmla="*/ 36 w 47"/>
                <a:gd name="T21" fmla="*/ 1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44">
                  <a:moveTo>
                    <a:pt x="36" y="11"/>
                  </a:moveTo>
                  <a:cubicBezTo>
                    <a:pt x="35" y="9"/>
                    <a:pt x="36" y="4"/>
                    <a:pt x="36" y="3"/>
                  </a:cubicBezTo>
                  <a:cubicBezTo>
                    <a:pt x="33" y="0"/>
                    <a:pt x="26" y="5"/>
                    <a:pt x="25" y="0"/>
                  </a:cubicBezTo>
                  <a:cubicBezTo>
                    <a:pt x="17" y="6"/>
                    <a:pt x="28" y="18"/>
                    <a:pt x="22" y="18"/>
                  </a:cubicBezTo>
                  <a:cubicBezTo>
                    <a:pt x="22" y="10"/>
                    <a:pt x="15" y="23"/>
                    <a:pt x="9" y="18"/>
                  </a:cubicBezTo>
                  <a:cubicBezTo>
                    <a:pt x="9" y="16"/>
                    <a:pt x="7" y="14"/>
                    <a:pt x="6" y="18"/>
                  </a:cubicBezTo>
                  <a:cubicBezTo>
                    <a:pt x="18" y="21"/>
                    <a:pt x="0" y="42"/>
                    <a:pt x="14" y="44"/>
                  </a:cubicBezTo>
                  <a:cubicBezTo>
                    <a:pt x="19" y="44"/>
                    <a:pt x="9" y="25"/>
                    <a:pt x="19" y="26"/>
                  </a:cubicBezTo>
                  <a:cubicBezTo>
                    <a:pt x="20" y="31"/>
                    <a:pt x="26" y="29"/>
                    <a:pt x="30" y="29"/>
                  </a:cubicBezTo>
                  <a:cubicBezTo>
                    <a:pt x="26" y="14"/>
                    <a:pt x="47" y="29"/>
                    <a:pt x="46" y="18"/>
                  </a:cubicBezTo>
                  <a:cubicBezTo>
                    <a:pt x="44" y="16"/>
                    <a:pt x="36" y="15"/>
                    <a:pt x="3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89" name="Freeform 140"/>
            <p:cNvSpPr>
              <a:spLocks/>
            </p:cNvSpPr>
            <p:nvPr userDrawn="1"/>
          </p:nvSpPr>
          <p:spPr bwMode="auto">
            <a:xfrm>
              <a:off x="5772902" y="1805869"/>
              <a:ext cx="40310" cy="41653"/>
            </a:xfrm>
            <a:custGeom>
              <a:avLst/>
              <a:gdLst>
                <a:gd name="T0" fmla="*/ 13 w 13"/>
                <a:gd name="T1" fmla="*/ 4 h 13"/>
                <a:gd name="T2" fmla="*/ 0 w 13"/>
                <a:gd name="T3" fmla="*/ 4 h 13"/>
                <a:gd name="T4" fmla="*/ 13 w 13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13" y="4"/>
                  </a:moveTo>
                  <a:cubicBezTo>
                    <a:pt x="8" y="2"/>
                    <a:pt x="0" y="0"/>
                    <a:pt x="0" y="4"/>
                  </a:cubicBezTo>
                  <a:cubicBezTo>
                    <a:pt x="1" y="6"/>
                    <a:pt x="12" y="13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90" name="Freeform 141"/>
            <p:cNvSpPr>
              <a:spLocks/>
            </p:cNvSpPr>
            <p:nvPr userDrawn="1"/>
          </p:nvSpPr>
          <p:spPr bwMode="auto">
            <a:xfrm>
              <a:off x="8429301" y="1770934"/>
              <a:ext cx="30904" cy="104805"/>
            </a:xfrm>
            <a:custGeom>
              <a:avLst/>
              <a:gdLst>
                <a:gd name="T0" fmla="*/ 10 w 10"/>
                <a:gd name="T1" fmla="*/ 30 h 33"/>
                <a:gd name="T2" fmla="*/ 4 w 10"/>
                <a:gd name="T3" fmla="*/ 19 h 33"/>
                <a:gd name="T4" fmla="*/ 10 w 10"/>
                <a:gd name="T5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33">
                  <a:moveTo>
                    <a:pt x="10" y="30"/>
                  </a:moveTo>
                  <a:cubicBezTo>
                    <a:pt x="10" y="22"/>
                    <a:pt x="6" y="22"/>
                    <a:pt x="4" y="19"/>
                  </a:cubicBezTo>
                  <a:cubicBezTo>
                    <a:pt x="0" y="0"/>
                    <a:pt x="1" y="33"/>
                    <a:pt x="1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91" name="Freeform 142"/>
            <p:cNvSpPr>
              <a:spLocks/>
            </p:cNvSpPr>
            <p:nvPr userDrawn="1"/>
          </p:nvSpPr>
          <p:spPr bwMode="auto">
            <a:xfrm>
              <a:off x="8485735" y="1817962"/>
              <a:ext cx="25529" cy="67183"/>
            </a:xfrm>
            <a:custGeom>
              <a:avLst/>
              <a:gdLst>
                <a:gd name="T0" fmla="*/ 5 w 8"/>
                <a:gd name="T1" fmla="*/ 7 h 21"/>
                <a:gd name="T2" fmla="*/ 8 w 8"/>
                <a:gd name="T3" fmla="*/ 0 h 21"/>
                <a:gd name="T4" fmla="*/ 2 w 8"/>
                <a:gd name="T5" fmla="*/ 7 h 21"/>
                <a:gd name="T6" fmla="*/ 5 w 8"/>
                <a:gd name="T7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1">
                  <a:moveTo>
                    <a:pt x="5" y="7"/>
                  </a:moveTo>
                  <a:cubicBezTo>
                    <a:pt x="7" y="7"/>
                    <a:pt x="8" y="4"/>
                    <a:pt x="8" y="0"/>
                  </a:cubicBezTo>
                  <a:cubicBezTo>
                    <a:pt x="4" y="0"/>
                    <a:pt x="5" y="6"/>
                    <a:pt x="2" y="7"/>
                  </a:cubicBezTo>
                  <a:cubicBezTo>
                    <a:pt x="0" y="21"/>
                    <a:pt x="7" y="21"/>
                    <a:pt x="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92" name="Freeform 143"/>
            <p:cNvSpPr>
              <a:spLocks/>
            </p:cNvSpPr>
            <p:nvPr userDrawn="1"/>
          </p:nvSpPr>
          <p:spPr bwMode="auto">
            <a:xfrm>
              <a:off x="8651004" y="1817962"/>
              <a:ext cx="142427" cy="139740"/>
            </a:xfrm>
            <a:custGeom>
              <a:avLst/>
              <a:gdLst>
                <a:gd name="T0" fmla="*/ 9 w 45"/>
                <a:gd name="T1" fmla="*/ 37 h 44"/>
                <a:gd name="T2" fmla="*/ 20 w 45"/>
                <a:gd name="T3" fmla="*/ 33 h 44"/>
                <a:gd name="T4" fmla="*/ 17 w 45"/>
                <a:gd name="T5" fmla="*/ 30 h 44"/>
                <a:gd name="T6" fmla="*/ 31 w 45"/>
                <a:gd name="T7" fmla="*/ 30 h 44"/>
                <a:gd name="T8" fmla="*/ 36 w 45"/>
                <a:gd name="T9" fmla="*/ 44 h 44"/>
                <a:gd name="T10" fmla="*/ 36 w 45"/>
                <a:gd name="T11" fmla="*/ 0 h 44"/>
                <a:gd name="T12" fmla="*/ 17 w 45"/>
                <a:gd name="T13" fmla="*/ 22 h 44"/>
                <a:gd name="T14" fmla="*/ 1 w 45"/>
                <a:gd name="T15" fmla="*/ 19 h 44"/>
                <a:gd name="T16" fmla="*/ 9 w 45"/>
                <a:gd name="T17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44">
                  <a:moveTo>
                    <a:pt x="9" y="37"/>
                  </a:moveTo>
                  <a:cubicBezTo>
                    <a:pt x="10" y="24"/>
                    <a:pt x="21" y="44"/>
                    <a:pt x="20" y="33"/>
                  </a:cubicBezTo>
                  <a:cubicBezTo>
                    <a:pt x="19" y="33"/>
                    <a:pt x="17" y="33"/>
                    <a:pt x="17" y="30"/>
                  </a:cubicBezTo>
                  <a:cubicBezTo>
                    <a:pt x="20" y="19"/>
                    <a:pt x="26" y="32"/>
                    <a:pt x="31" y="30"/>
                  </a:cubicBezTo>
                  <a:cubicBezTo>
                    <a:pt x="30" y="38"/>
                    <a:pt x="32" y="43"/>
                    <a:pt x="36" y="44"/>
                  </a:cubicBezTo>
                  <a:cubicBezTo>
                    <a:pt x="29" y="30"/>
                    <a:pt x="45" y="15"/>
                    <a:pt x="36" y="0"/>
                  </a:cubicBezTo>
                  <a:cubicBezTo>
                    <a:pt x="26" y="1"/>
                    <a:pt x="24" y="15"/>
                    <a:pt x="17" y="22"/>
                  </a:cubicBezTo>
                  <a:cubicBezTo>
                    <a:pt x="8" y="21"/>
                    <a:pt x="11" y="12"/>
                    <a:pt x="1" y="19"/>
                  </a:cubicBezTo>
                  <a:cubicBezTo>
                    <a:pt x="0" y="30"/>
                    <a:pt x="5" y="34"/>
                    <a:pt x="9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93" name="Freeform 144"/>
            <p:cNvSpPr>
              <a:spLocks/>
            </p:cNvSpPr>
            <p:nvPr userDrawn="1"/>
          </p:nvSpPr>
          <p:spPr bwMode="auto">
            <a:xfrm>
              <a:off x="5568667" y="1917392"/>
              <a:ext cx="48371" cy="30904"/>
            </a:xfrm>
            <a:custGeom>
              <a:avLst/>
              <a:gdLst>
                <a:gd name="T0" fmla="*/ 10 w 15"/>
                <a:gd name="T1" fmla="*/ 6 h 10"/>
                <a:gd name="T2" fmla="*/ 15 w 15"/>
                <a:gd name="T3" fmla="*/ 10 h 10"/>
                <a:gd name="T4" fmla="*/ 10 w 15"/>
                <a:gd name="T5" fmla="*/ 2 h 10"/>
                <a:gd name="T6" fmla="*/ 10 w 15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0">
                  <a:moveTo>
                    <a:pt x="10" y="6"/>
                  </a:moveTo>
                  <a:cubicBezTo>
                    <a:pt x="10" y="9"/>
                    <a:pt x="12" y="10"/>
                    <a:pt x="15" y="10"/>
                  </a:cubicBezTo>
                  <a:cubicBezTo>
                    <a:pt x="15" y="5"/>
                    <a:pt x="10" y="6"/>
                    <a:pt x="10" y="2"/>
                  </a:cubicBezTo>
                  <a:cubicBezTo>
                    <a:pt x="0" y="0"/>
                    <a:pt x="0" y="9"/>
                    <a:pt x="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94" name="Freeform 145"/>
            <p:cNvSpPr>
              <a:spLocks/>
            </p:cNvSpPr>
            <p:nvPr userDrawn="1"/>
          </p:nvSpPr>
          <p:spPr bwMode="auto">
            <a:xfrm>
              <a:off x="6854541" y="1948296"/>
              <a:ext cx="92712" cy="158551"/>
            </a:xfrm>
            <a:custGeom>
              <a:avLst/>
              <a:gdLst>
                <a:gd name="T0" fmla="*/ 14 w 29"/>
                <a:gd name="T1" fmla="*/ 40 h 50"/>
                <a:gd name="T2" fmla="*/ 5 w 29"/>
                <a:gd name="T3" fmla="*/ 33 h 50"/>
                <a:gd name="T4" fmla="*/ 27 w 29"/>
                <a:gd name="T5" fmla="*/ 37 h 50"/>
                <a:gd name="T6" fmla="*/ 19 w 29"/>
                <a:gd name="T7" fmla="*/ 22 h 50"/>
                <a:gd name="T8" fmla="*/ 19 w 29"/>
                <a:gd name="T9" fmla="*/ 7 h 50"/>
                <a:gd name="T10" fmla="*/ 5 w 29"/>
                <a:gd name="T11" fmla="*/ 0 h 50"/>
                <a:gd name="T12" fmla="*/ 3 w 29"/>
                <a:gd name="T13" fmla="*/ 14 h 50"/>
                <a:gd name="T14" fmla="*/ 11 w 29"/>
                <a:gd name="T15" fmla="*/ 26 h 50"/>
                <a:gd name="T16" fmla="*/ 3 w 29"/>
                <a:gd name="T17" fmla="*/ 18 h 50"/>
                <a:gd name="T18" fmla="*/ 14 w 29"/>
                <a:gd name="T19" fmla="*/ 4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50">
                  <a:moveTo>
                    <a:pt x="14" y="40"/>
                  </a:moveTo>
                  <a:cubicBezTo>
                    <a:pt x="10" y="39"/>
                    <a:pt x="7" y="36"/>
                    <a:pt x="5" y="33"/>
                  </a:cubicBezTo>
                  <a:cubicBezTo>
                    <a:pt x="13" y="30"/>
                    <a:pt x="19" y="29"/>
                    <a:pt x="27" y="37"/>
                  </a:cubicBezTo>
                  <a:cubicBezTo>
                    <a:pt x="29" y="25"/>
                    <a:pt x="20" y="29"/>
                    <a:pt x="19" y="22"/>
                  </a:cubicBezTo>
                  <a:cubicBezTo>
                    <a:pt x="19" y="17"/>
                    <a:pt x="19" y="12"/>
                    <a:pt x="19" y="7"/>
                  </a:cubicBezTo>
                  <a:cubicBezTo>
                    <a:pt x="10" y="10"/>
                    <a:pt x="11" y="1"/>
                    <a:pt x="5" y="0"/>
                  </a:cubicBezTo>
                  <a:cubicBezTo>
                    <a:pt x="6" y="6"/>
                    <a:pt x="5" y="11"/>
                    <a:pt x="3" y="14"/>
                  </a:cubicBezTo>
                  <a:cubicBezTo>
                    <a:pt x="10" y="12"/>
                    <a:pt x="12" y="16"/>
                    <a:pt x="11" y="26"/>
                  </a:cubicBezTo>
                  <a:cubicBezTo>
                    <a:pt x="7" y="25"/>
                    <a:pt x="6" y="19"/>
                    <a:pt x="3" y="18"/>
                  </a:cubicBezTo>
                  <a:cubicBezTo>
                    <a:pt x="0" y="32"/>
                    <a:pt x="8" y="50"/>
                    <a:pt x="14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95" name="Freeform 146"/>
            <p:cNvSpPr>
              <a:spLocks/>
            </p:cNvSpPr>
            <p:nvPr userDrawn="1"/>
          </p:nvSpPr>
          <p:spPr bwMode="auto">
            <a:xfrm>
              <a:off x="6385607" y="1989949"/>
              <a:ext cx="56433" cy="47028"/>
            </a:xfrm>
            <a:custGeom>
              <a:avLst/>
              <a:gdLst>
                <a:gd name="T0" fmla="*/ 6 w 18"/>
                <a:gd name="T1" fmla="*/ 13 h 15"/>
                <a:gd name="T2" fmla="*/ 14 w 18"/>
                <a:gd name="T3" fmla="*/ 1 h 15"/>
                <a:gd name="T4" fmla="*/ 6 w 18"/>
                <a:gd name="T5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6" y="13"/>
                  </a:moveTo>
                  <a:cubicBezTo>
                    <a:pt x="4" y="4"/>
                    <a:pt x="18" y="15"/>
                    <a:pt x="14" y="1"/>
                  </a:cubicBezTo>
                  <a:cubicBezTo>
                    <a:pt x="8" y="0"/>
                    <a:pt x="0" y="11"/>
                    <a:pt x="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96" name="Freeform 147"/>
            <p:cNvSpPr>
              <a:spLocks/>
            </p:cNvSpPr>
            <p:nvPr userDrawn="1"/>
          </p:nvSpPr>
          <p:spPr bwMode="auto">
            <a:xfrm>
              <a:off x="7387971" y="2204934"/>
              <a:ext cx="47028" cy="48371"/>
            </a:xfrm>
            <a:custGeom>
              <a:avLst/>
              <a:gdLst>
                <a:gd name="T0" fmla="*/ 15 w 15"/>
                <a:gd name="T1" fmla="*/ 0 h 15"/>
                <a:gd name="T2" fmla="*/ 1 w 15"/>
                <a:gd name="T3" fmla="*/ 0 h 15"/>
                <a:gd name="T4" fmla="*/ 15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5" y="0"/>
                  </a:moveTo>
                  <a:cubicBezTo>
                    <a:pt x="8" y="0"/>
                    <a:pt x="7" y="7"/>
                    <a:pt x="1" y="0"/>
                  </a:cubicBezTo>
                  <a:cubicBezTo>
                    <a:pt x="0" y="15"/>
                    <a:pt x="14" y="5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97" name="Freeform 148"/>
            <p:cNvSpPr>
              <a:spLocks/>
            </p:cNvSpPr>
            <p:nvPr userDrawn="1"/>
          </p:nvSpPr>
          <p:spPr bwMode="auto">
            <a:xfrm>
              <a:off x="3808483" y="3544555"/>
              <a:ext cx="44341" cy="57777"/>
            </a:xfrm>
            <a:custGeom>
              <a:avLst/>
              <a:gdLst>
                <a:gd name="T0" fmla="*/ 11 w 14"/>
                <a:gd name="T1" fmla="*/ 3 h 18"/>
                <a:gd name="T2" fmla="*/ 13 w 14"/>
                <a:gd name="T3" fmla="*/ 0 h 18"/>
                <a:gd name="T4" fmla="*/ 0 w 14"/>
                <a:gd name="T5" fmla="*/ 14 h 18"/>
                <a:gd name="T6" fmla="*/ 11 w 14"/>
                <a:gd name="T7" fmla="*/ 18 h 18"/>
                <a:gd name="T8" fmla="*/ 11 w 14"/>
                <a:gd name="T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8">
                  <a:moveTo>
                    <a:pt x="11" y="3"/>
                  </a:moveTo>
                  <a:cubicBezTo>
                    <a:pt x="11" y="7"/>
                    <a:pt x="14" y="6"/>
                    <a:pt x="13" y="0"/>
                  </a:cubicBezTo>
                  <a:cubicBezTo>
                    <a:pt x="7" y="2"/>
                    <a:pt x="0" y="3"/>
                    <a:pt x="0" y="14"/>
                  </a:cubicBezTo>
                  <a:cubicBezTo>
                    <a:pt x="5" y="14"/>
                    <a:pt x="8" y="15"/>
                    <a:pt x="11" y="18"/>
                  </a:cubicBezTo>
                  <a:cubicBezTo>
                    <a:pt x="13" y="11"/>
                    <a:pt x="3" y="6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98" name="Freeform 149"/>
            <p:cNvSpPr>
              <a:spLocks/>
            </p:cNvSpPr>
            <p:nvPr userDrawn="1"/>
          </p:nvSpPr>
          <p:spPr bwMode="auto">
            <a:xfrm>
              <a:off x="2630100" y="3649360"/>
              <a:ext cx="79275" cy="48371"/>
            </a:xfrm>
            <a:custGeom>
              <a:avLst/>
              <a:gdLst>
                <a:gd name="T0" fmla="*/ 5 w 25"/>
                <a:gd name="T1" fmla="*/ 11 h 15"/>
                <a:gd name="T2" fmla="*/ 0 w 25"/>
                <a:gd name="T3" fmla="*/ 7 h 15"/>
                <a:gd name="T4" fmla="*/ 5 w 25"/>
                <a:gd name="T5" fmla="*/ 15 h 15"/>
                <a:gd name="T6" fmla="*/ 5 w 25"/>
                <a:gd name="T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5">
                  <a:moveTo>
                    <a:pt x="5" y="11"/>
                  </a:moveTo>
                  <a:cubicBezTo>
                    <a:pt x="4" y="10"/>
                    <a:pt x="2" y="0"/>
                    <a:pt x="0" y="7"/>
                  </a:cubicBezTo>
                  <a:cubicBezTo>
                    <a:pt x="3" y="8"/>
                    <a:pt x="4" y="11"/>
                    <a:pt x="5" y="15"/>
                  </a:cubicBezTo>
                  <a:cubicBezTo>
                    <a:pt x="25" y="12"/>
                    <a:pt x="12" y="15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499" name="Freeform 150"/>
            <p:cNvSpPr>
              <a:spLocks/>
            </p:cNvSpPr>
            <p:nvPr userDrawn="1"/>
          </p:nvSpPr>
          <p:spPr bwMode="auto">
            <a:xfrm>
              <a:off x="3074849" y="4150542"/>
              <a:ext cx="44341" cy="108836"/>
            </a:xfrm>
            <a:custGeom>
              <a:avLst/>
              <a:gdLst>
                <a:gd name="T0" fmla="*/ 5 w 14"/>
                <a:gd name="T1" fmla="*/ 27 h 34"/>
                <a:gd name="T2" fmla="*/ 2 w 14"/>
                <a:gd name="T3" fmla="*/ 19 h 34"/>
                <a:gd name="T4" fmla="*/ 11 w 14"/>
                <a:gd name="T5" fmla="*/ 19 h 34"/>
                <a:gd name="T6" fmla="*/ 8 w 14"/>
                <a:gd name="T7" fmla="*/ 1 h 34"/>
                <a:gd name="T8" fmla="*/ 2 w 14"/>
                <a:gd name="T9" fmla="*/ 5 h 34"/>
                <a:gd name="T10" fmla="*/ 0 w 14"/>
                <a:gd name="T11" fmla="*/ 23 h 34"/>
                <a:gd name="T12" fmla="*/ 5 w 14"/>
                <a:gd name="T1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34">
                  <a:moveTo>
                    <a:pt x="5" y="27"/>
                  </a:moveTo>
                  <a:cubicBezTo>
                    <a:pt x="5" y="23"/>
                    <a:pt x="3" y="22"/>
                    <a:pt x="2" y="19"/>
                  </a:cubicBezTo>
                  <a:cubicBezTo>
                    <a:pt x="5" y="19"/>
                    <a:pt x="8" y="19"/>
                    <a:pt x="11" y="19"/>
                  </a:cubicBezTo>
                  <a:cubicBezTo>
                    <a:pt x="9" y="14"/>
                    <a:pt x="14" y="0"/>
                    <a:pt x="8" y="1"/>
                  </a:cubicBezTo>
                  <a:cubicBezTo>
                    <a:pt x="7" y="4"/>
                    <a:pt x="6" y="5"/>
                    <a:pt x="2" y="5"/>
                  </a:cubicBezTo>
                  <a:cubicBezTo>
                    <a:pt x="3" y="13"/>
                    <a:pt x="2" y="19"/>
                    <a:pt x="0" y="23"/>
                  </a:cubicBezTo>
                  <a:cubicBezTo>
                    <a:pt x="4" y="23"/>
                    <a:pt x="3" y="34"/>
                    <a:pt x="5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00" name="Freeform 151"/>
            <p:cNvSpPr>
              <a:spLocks/>
            </p:cNvSpPr>
            <p:nvPr userDrawn="1"/>
          </p:nvSpPr>
          <p:spPr bwMode="auto">
            <a:xfrm>
              <a:off x="3096347" y="4173384"/>
              <a:ext cx="67183" cy="85994"/>
            </a:xfrm>
            <a:custGeom>
              <a:avLst/>
              <a:gdLst>
                <a:gd name="T0" fmla="*/ 12 w 21"/>
                <a:gd name="T1" fmla="*/ 1 h 27"/>
                <a:gd name="T2" fmla="*/ 6 w 21"/>
                <a:gd name="T3" fmla="*/ 9 h 27"/>
                <a:gd name="T4" fmla="*/ 6 w 21"/>
                <a:gd name="T5" fmla="*/ 16 h 27"/>
                <a:gd name="T6" fmla="*/ 1 w 21"/>
                <a:gd name="T7" fmla="*/ 20 h 27"/>
                <a:gd name="T8" fmla="*/ 9 w 21"/>
                <a:gd name="T9" fmla="*/ 16 h 27"/>
                <a:gd name="T10" fmla="*/ 20 w 21"/>
                <a:gd name="T11" fmla="*/ 16 h 27"/>
                <a:gd name="T12" fmla="*/ 12 w 21"/>
                <a:gd name="T13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7">
                  <a:moveTo>
                    <a:pt x="12" y="1"/>
                  </a:moveTo>
                  <a:cubicBezTo>
                    <a:pt x="14" y="9"/>
                    <a:pt x="8" y="6"/>
                    <a:pt x="6" y="9"/>
                  </a:cubicBezTo>
                  <a:cubicBezTo>
                    <a:pt x="5" y="10"/>
                    <a:pt x="7" y="15"/>
                    <a:pt x="6" y="16"/>
                  </a:cubicBezTo>
                  <a:cubicBezTo>
                    <a:pt x="5" y="18"/>
                    <a:pt x="0" y="15"/>
                    <a:pt x="1" y="20"/>
                  </a:cubicBezTo>
                  <a:cubicBezTo>
                    <a:pt x="7" y="27"/>
                    <a:pt x="4" y="19"/>
                    <a:pt x="9" y="16"/>
                  </a:cubicBezTo>
                  <a:cubicBezTo>
                    <a:pt x="13" y="16"/>
                    <a:pt x="16" y="16"/>
                    <a:pt x="20" y="16"/>
                  </a:cubicBezTo>
                  <a:cubicBezTo>
                    <a:pt x="21" y="7"/>
                    <a:pt x="19" y="0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01" name="Freeform 152"/>
            <p:cNvSpPr>
              <a:spLocks/>
            </p:cNvSpPr>
            <p:nvPr userDrawn="1"/>
          </p:nvSpPr>
          <p:spPr bwMode="auto">
            <a:xfrm>
              <a:off x="2874645" y="4319842"/>
              <a:ext cx="44341" cy="100774"/>
            </a:xfrm>
            <a:custGeom>
              <a:avLst/>
              <a:gdLst>
                <a:gd name="T0" fmla="*/ 12 w 14"/>
                <a:gd name="T1" fmla="*/ 3 h 32"/>
                <a:gd name="T2" fmla="*/ 6 w 14"/>
                <a:gd name="T3" fmla="*/ 18 h 32"/>
                <a:gd name="T4" fmla="*/ 9 w 14"/>
                <a:gd name="T5" fmla="*/ 15 h 32"/>
                <a:gd name="T6" fmla="*/ 12 w 14"/>
                <a:gd name="T7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2">
                  <a:moveTo>
                    <a:pt x="12" y="3"/>
                  </a:moveTo>
                  <a:cubicBezTo>
                    <a:pt x="5" y="0"/>
                    <a:pt x="0" y="16"/>
                    <a:pt x="6" y="18"/>
                  </a:cubicBezTo>
                  <a:cubicBezTo>
                    <a:pt x="7" y="16"/>
                    <a:pt x="7" y="14"/>
                    <a:pt x="9" y="15"/>
                  </a:cubicBezTo>
                  <a:cubicBezTo>
                    <a:pt x="14" y="32"/>
                    <a:pt x="7" y="7"/>
                    <a:pt x="1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02" name="Freeform 153"/>
            <p:cNvSpPr>
              <a:spLocks/>
            </p:cNvSpPr>
            <p:nvPr userDrawn="1"/>
          </p:nvSpPr>
          <p:spPr bwMode="auto">
            <a:xfrm>
              <a:off x="2767153" y="4376275"/>
              <a:ext cx="60464" cy="48371"/>
            </a:xfrm>
            <a:custGeom>
              <a:avLst/>
              <a:gdLst>
                <a:gd name="T0" fmla="*/ 5 w 19"/>
                <a:gd name="T1" fmla="*/ 11 h 15"/>
                <a:gd name="T2" fmla="*/ 0 w 19"/>
                <a:gd name="T3" fmla="*/ 15 h 15"/>
                <a:gd name="T4" fmla="*/ 11 w 19"/>
                <a:gd name="T5" fmla="*/ 15 h 15"/>
                <a:gd name="T6" fmla="*/ 16 w 19"/>
                <a:gd name="T7" fmla="*/ 0 h 15"/>
                <a:gd name="T8" fmla="*/ 5 w 19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5" y="11"/>
                  </a:moveTo>
                  <a:cubicBezTo>
                    <a:pt x="7" y="10"/>
                    <a:pt x="0" y="7"/>
                    <a:pt x="0" y="15"/>
                  </a:cubicBezTo>
                  <a:cubicBezTo>
                    <a:pt x="4" y="15"/>
                    <a:pt x="7" y="15"/>
                    <a:pt x="11" y="15"/>
                  </a:cubicBezTo>
                  <a:cubicBezTo>
                    <a:pt x="8" y="3"/>
                    <a:pt x="19" y="12"/>
                    <a:pt x="16" y="0"/>
                  </a:cubicBezTo>
                  <a:cubicBezTo>
                    <a:pt x="9" y="2"/>
                    <a:pt x="10" y="7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03" name="Freeform 154"/>
            <p:cNvSpPr>
              <a:spLocks/>
            </p:cNvSpPr>
            <p:nvPr userDrawn="1"/>
          </p:nvSpPr>
          <p:spPr bwMode="auto">
            <a:xfrm>
              <a:off x="2842397" y="4360151"/>
              <a:ext cx="92712" cy="155864"/>
            </a:xfrm>
            <a:custGeom>
              <a:avLst/>
              <a:gdLst>
                <a:gd name="T0" fmla="*/ 16 w 29"/>
                <a:gd name="T1" fmla="*/ 27 h 49"/>
                <a:gd name="T2" fmla="*/ 11 w 29"/>
                <a:gd name="T3" fmla="*/ 13 h 49"/>
                <a:gd name="T4" fmla="*/ 0 w 29"/>
                <a:gd name="T5" fmla="*/ 13 h 49"/>
                <a:gd name="T6" fmla="*/ 8 w 29"/>
                <a:gd name="T7" fmla="*/ 31 h 49"/>
                <a:gd name="T8" fmla="*/ 6 w 29"/>
                <a:gd name="T9" fmla="*/ 46 h 49"/>
                <a:gd name="T10" fmla="*/ 14 w 29"/>
                <a:gd name="T11" fmla="*/ 31 h 49"/>
                <a:gd name="T12" fmla="*/ 24 w 29"/>
                <a:gd name="T13" fmla="*/ 27 h 49"/>
                <a:gd name="T14" fmla="*/ 27 w 29"/>
                <a:gd name="T15" fmla="*/ 31 h 49"/>
                <a:gd name="T16" fmla="*/ 16 w 29"/>
                <a:gd name="T17" fmla="*/ 2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49">
                  <a:moveTo>
                    <a:pt x="16" y="27"/>
                  </a:moveTo>
                  <a:cubicBezTo>
                    <a:pt x="11" y="21"/>
                    <a:pt x="14" y="16"/>
                    <a:pt x="11" y="13"/>
                  </a:cubicBezTo>
                  <a:cubicBezTo>
                    <a:pt x="9" y="27"/>
                    <a:pt x="1" y="0"/>
                    <a:pt x="0" y="13"/>
                  </a:cubicBezTo>
                  <a:cubicBezTo>
                    <a:pt x="4" y="17"/>
                    <a:pt x="4" y="27"/>
                    <a:pt x="8" y="31"/>
                  </a:cubicBezTo>
                  <a:cubicBezTo>
                    <a:pt x="9" y="38"/>
                    <a:pt x="8" y="43"/>
                    <a:pt x="6" y="46"/>
                  </a:cubicBezTo>
                  <a:cubicBezTo>
                    <a:pt x="18" y="49"/>
                    <a:pt x="9" y="32"/>
                    <a:pt x="14" y="31"/>
                  </a:cubicBezTo>
                  <a:cubicBezTo>
                    <a:pt x="19" y="39"/>
                    <a:pt x="21" y="32"/>
                    <a:pt x="24" y="27"/>
                  </a:cubicBezTo>
                  <a:cubicBezTo>
                    <a:pt x="25" y="30"/>
                    <a:pt x="25" y="32"/>
                    <a:pt x="27" y="31"/>
                  </a:cubicBezTo>
                  <a:cubicBezTo>
                    <a:pt x="29" y="18"/>
                    <a:pt x="18" y="25"/>
                    <a:pt x="1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04" name="Freeform 155"/>
            <p:cNvSpPr>
              <a:spLocks/>
            </p:cNvSpPr>
            <p:nvPr userDrawn="1"/>
          </p:nvSpPr>
          <p:spPr bwMode="auto">
            <a:xfrm>
              <a:off x="3156812" y="4385681"/>
              <a:ext cx="57777" cy="216328"/>
            </a:xfrm>
            <a:custGeom>
              <a:avLst/>
              <a:gdLst>
                <a:gd name="T0" fmla="*/ 11 w 18"/>
                <a:gd name="T1" fmla="*/ 12 h 68"/>
                <a:gd name="T2" fmla="*/ 1 w 18"/>
                <a:gd name="T3" fmla="*/ 12 h 68"/>
                <a:gd name="T4" fmla="*/ 3 w 18"/>
                <a:gd name="T5" fmla="*/ 16 h 68"/>
                <a:gd name="T6" fmla="*/ 1 w 18"/>
                <a:gd name="T7" fmla="*/ 27 h 68"/>
                <a:gd name="T8" fmla="*/ 9 w 18"/>
                <a:gd name="T9" fmla="*/ 19 h 68"/>
                <a:gd name="T10" fmla="*/ 11 w 18"/>
                <a:gd name="T11" fmla="*/ 38 h 68"/>
                <a:gd name="T12" fmla="*/ 6 w 18"/>
                <a:gd name="T13" fmla="*/ 60 h 68"/>
                <a:gd name="T14" fmla="*/ 6 w 18"/>
                <a:gd name="T15" fmla="*/ 68 h 68"/>
                <a:gd name="T16" fmla="*/ 14 w 18"/>
                <a:gd name="T17" fmla="*/ 56 h 68"/>
                <a:gd name="T18" fmla="*/ 14 w 18"/>
                <a:gd name="T19" fmla="*/ 34 h 68"/>
                <a:gd name="T20" fmla="*/ 11 w 18"/>
                <a:gd name="T21" fmla="*/ 1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68">
                  <a:moveTo>
                    <a:pt x="11" y="12"/>
                  </a:moveTo>
                  <a:cubicBezTo>
                    <a:pt x="9" y="26"/>
                    <a:pt x="2" y="0"/>
                    <a:pt x="1" y="12"/>
                  </a:cubicBezTo>
                  <a:cubicBezTo>
                    <a:pt x="2" y="12"/>
                    <a:pt x="4" y="13"/>
                    <a:pt x="3" y="16"/>
                  </a:cubicBezTo>
                  <a:cubicBezTo>
                    <a:pt x="3" y="20"/>
                    <a:pt x="0" y="21"/>
                    <a:pt x="1" y="27"/>
                  </a:cubicBezTo>
                  <a:cubicBezTo>
                    <a:pt x="6" y="28"/>
                    <a:pt x="6" y="22"/>
                    <a:pt x="9" y="19"/>
                  </a:cubicBezTo>
                  <a:cubicBezTo>
                    <a:pt x="8" y="28"/>
                    <a:pt x="9" y="34"/>
                    <a:pt x="11" y="38"/>
                  </a:cubicBezTo>
                  <a:cubicBezTo>
                    <a:pt x="5" y="38"/>
                    <a:pt x="6" y="50"/>
                    <a:pt x="6" y="60"/>
                  </a:cubicBezTo>
                  <a:cubicBezTo>
                    <a:pt x="6" y="64"/>
                    <a:pt x="2" y="66"/>
                    <a:pt x="6" y="68"/>
                  </a:cubicBezTo>
                  <a:cubicBezTo>
                    <a:pt x="9" y="64"/>
                    <a:pt x="11" y="60"/>
                    <a:pt x="14" y="56"/>
                  </a:cubicBezTo>
                  <a:cubicBezTo>
                    <a:pt x="12" y="46"/>
                    <a:pt x="12" y="45"/>
                    <a:pt x="14" y="34"/>
                  </a:cubicBezTo>
                  <a:cubicBezTo>
                    <a:pt x="9" y="25"/>
                    <a:pt x="18" y="19"/>
                    <a:pt x="1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05" name="Freeform 156"/>
            <p:cNvSpPr>
              <a:spLocks/>
            </p:cNvSpPr>
            <p:nvPr userDrawn="1"/>
          </p:nvSpPr>
          <p:spPr bwMode="auto">
            <a:xfrm>
              <a:off x="2709376" y="4439427"/>
              <a:ext cx="57777" cy="118241"/>
            </a:xfrm>
            <a:custGeom>
              <a:avLst/>
              <a:gdLst>
                <a:gd name="T0" fmla="*/ 7 w 18"/>
                <a:gd name="T1" fmla="*/ 2 h 37"/>
                <a:gd name="T2" fmla="*/ 2 w 18"/>
                <a:gd name="T3" fmla="*/ 17 h 37"/>
                <a:gd name="T4" fmla="*/ 10 w 18"/>
                <a:gd name="T5" fmla="*/ 32 h 37"/>
                <a:gd name="T6" fmla="*/ 13 w 18"/>
                <a:gd name="T7" fmla="*/ 36 h 37"/>
                <a:gd name="T8" fmla="*/ 15 w 18"/>
                <a:gd name="T9" fmla="*/ 17 h 37"/>
                <a:gd name="T10" fmla="*/ 15 w 18"/>
                <a:gd name="T11" fmla="*/ 10 h 37"/>
                <a:gd name="T12" fmla="*/ 18 w 18"/>
                <a:gd name="T13" fmla="*/ 10 h 37"/>
                <a:gd name="T14" fmla="*/ 7 w 18"/>
                <a:gd name="T15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37">
                  <a:moveTo>
                    <a:pt x="7" y="2"/>
                  </a:moveTo>
                  <a:cubicBezTo>
                    <a:pt x="11" y="12"/>
                    <a:pt x="11" y="28"/>
                    <a:pt x="2" y="17"/>
                  </a:cubicBezTo>
                  <a:cubicBezTo>
                    <a:pt x="0" y="29"/>
                    <a:pt x="11" y="22"/>
                    <a:pt x="10" y="32"/>
                  </a:cubicBezTo>
                  <a:cubicBezTo>
                    <a:pt x="7" y="32"/>
                    <a:pt x="8" y="37"/>
                    <a:pt x="13" y="36"/>
                  </a:cubicBezTo>
                  <a:cubicBezTo>
                    <a:pt x="12" y="27"/>
                    <a:pt x="13" y="21"/>
                    <a:pt x="15" y="17"/>
                  </a:cubicBezTo>
                  <a:cubicBezTo>
                    <a:pt x="13" y="17"/>
                    <a:pt x="12" y="11"/>
                    <a:pt x="15" y="10"/>
                  </a:cubicBezTo>
                  <a:cubicBezTo>
                    <a:pt x="15" y="12"/>
                    <a:pt x="18" y="14"/>
                    <a:pt x="18" y="10"/>
                  </a:cubicBezTo>
                  <a:cubicBezTo>
                    <a:pt x="13" y="10"/>
                    <a:pt x="15" y="0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06" name="Freeform 157"/>
            <p:cNvSpPr>
              <a:spLocks/>
            </p:cNvSpPr>
            <p:nvPr userDrawn="1"/>
          </p:nvSpPr>
          <p:spPr bwMode="auto">
            <a:xfrm>
              <a:off x="3214589" y="4446145"/>
              <a:ext cx="30904" cy="60464"/>
            </a:xfrm>
            <a:custGeom>
              <a:avLst/>
              <a:gdLst>
                <a:gd name="T0" fmla="*/ 10 w 10"/>
                <a:gd name="T1" fmla="*/ 15 h 19"/>
                <a:gd name="T2" fmla="*/ 2 w 10"/>
                <a:gd name="T3" fmla="*/ 0 h 19"/>
                <a:gd name="T4" fmla="*/ 2 w 10"/>
                <a:gd name="T5" fmla="*/ 19 h 19"/>
                <a:gd name="T6" fmla="*/ 7 w 10"/>
                <a:gd name="T7" fmla="*/ 19 h 19"/>
                <a:gd name="T8" fmla="*/ 10 w 10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9">
                  <a:moveTo>
                    <a:pt x="10" y="15"/>
                  </a:moveTo>
                  <a:cubicBezTo>
                    <a:pt x="2" y="17"/>
                    <a:pt x="7" y="1"/>
                    <a:pt x="2" y="0"/>
                  </a:cubicBezTo>
                  <a:cubicBezTo>
                    <a:pt x="0" y="12"/>
                    <a:pt x="7" y="12"/>
                    <a:pt x="2" y="19"/>
                  </a:cubicBezTo>
                  <a:cubicBezTo>
                    <a:pt x="3" y="19"/>
                    <a:pt x="5" y="19"/>
                    <a:pt x="7" y="19"/>
                  </a:cubicBezTo>
                  <a:cubicBezTo>
                    <a:pt x="9" y="19"/>
                    <a:pt x="10" y="18"/>
                    <a:pt x="1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07" name="Freeform 158"/>
            <p:cNvSpPr>
              <a:spLocks/>
            </p:cNvSpPr>
            <p:nvPr userDrawn="1"/>
          </p:nvSpPr>
          <p:spPr bwMode="auto">
            <a:xfrm>
              <a:off x="2998261" y="4427334"/>
              <a:ext cx="92712" cy="100774"/>
            </a:xfrm>
            <a:custGeom>
              <a:avLst/>
              <a:gdLst>
                <a:gd name="T0" fmla="*/ 21 w 29"/>
                <a:gd name="T1" fmla="*/ 25 h 32"/>
                <a:gd name="T2" fmla="*/ 2 w 29"/>
                <a:gd name="T3" fmla="*/ 14 h 32"/>
                <a:gd name="T4" fmla="*/ 5 w 29"/>
                <a:gd name="T5" fmla="*/ 21 h 32"/>
                <a:gd name="T6" fmla="*/ 0 w 29"/>
                <a:gd name="T7" fmla="*/ 25 h 32"/>
                <a:gd name="T8" fmla="*/ 13 w 29"/>
                <a:gd name="T9" fmla="*/ 18 h 32"/>
                <a:gd name="T10" fmla="*/ 16 w 29"/>
                <a:gd name="T11" fmla="*/ 32 h 32"/>
                <a:gd name="T12" fmla="*/ 29 w 29"/>
                <a:gd name="T13" fmla="*/ 32 h 32"/>
                <a:gd name="T14" fmla="*/ 29 w 29"/>
                <a:gd name="T15" fmla="*/ 14 h 32"/>
                <a:gd name="T16" fmla="*/ 19 w 29"/>
                <a:gd name="T17" fmla="*/ 10 h 32"/>
                <a:gd name="T18" fmla="*/ 21 w 29"/>
                <a:gd name="T19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2">
                  <a:moveTo>
                    <a:pt x="21" y="25"/>
                  </a:moveTo>
                  <a:cubicBezTo>
                    <a:pt x="15" y="24"/>
                    <a:pt x="11" y="0"/>
                    <a:pt x="2" y="14"/>
                  </a:cubicBezTo>
                  <a:cubicBezTo>
                    <a:pt x="4" y="15"/>
                    <a:pt x="5" y="17"/>
                    <a:pt x="5" y="21"/>
                  </a:cubicBezTo>
                  <a:cubicBezTo>
                    <a:pt x="3" y="22"/>
                    <a:pt x="0" y="21"/>
                    <a:pt x="0" y="25"/>
                  </a:cubicBezTo>
                  <a:cubicBezTo>
                    <a:pt x="9" y="21"/>
                    <a:pt x="8" y="26"/>
                    <a:pt x="13" y="18"/>
                  </a:cubicBezTo>
                  <a:cubicBezTo>
                    <a:pt x="13" y="24"/>
                    <a:pt x="14" y="29"/>
                    <a:pt x="16" y="32"/>
                  </a:cubicBezTo>
                  <a:cubicBezTo>
                    <a:pt x="22" y="32"/>
                    <a:pt x="24" y="25"/>
                    <a:pt x="29" y="32"/>
                  </a:cubicBezTo>
                  <a:cubicBezTo>
                    <a:pt x="29" y="26"/>
                    <a:pt x="29" y="20"/>
                    <a:pt x="29" y="14"/>
                  </a:cubicBezTo>
                  <a:cubicBezTo>
                    <a:pt x="25" y="14"/>
                    <a:pt x="21" y="13"/>
                    <a:pt x="19" y="10"/>
                  </a:cubicBezTo>
                  <a:cubicBezTo>
                    <a:pt x="15" y="19"/>
                    <a:pt x="29" y="22"/>
                    <a:pt x="21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08" name="Freeform 159"/>
            <p:cNvSpPr>
              <a:spLocks/>
            </p:cNvSpPr>
            <p:nvPr userDrawn="1"/>
          </p:nvSpPr>
          <p:spPr bwMode="auto">
            <a:xfrm>
              <a:off x="2970044" y="4494517"/>
              <a:ext cx="53746" cy="84650"/>
            </a:xfrm>
            <a:custGeom>
              <a:avLst/>
              <a:gdLst>
                <a:gd name="T0" fmla="*/ 9 w 17"/>
                <a:gd name="T1" fmla="*/ 19 h 27"/>
                <a:gd name="T2" fmla="*/ 17 w 17"/>
                <a:gd name="T3" fmla="*/ 19 h 27"/>
                <a:gd name="T4" fmla="*/ 9 w 17"/>
                <a:gd name="T5" fmla="*/ 15 h 27"/>
                <a:gd name="T6" fmla="*/ 0 w 17"/>
                <a:gd name="T7" fmla="*/ 19 h 27"/>
                <a:gd name="T8" fmla="*/ 9 w 17"/>
                <a:gd name="T9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7">
                  <a:moveTo>
                    <a:pt x="9" y="19"/>
                  </a:moveTo>
                  <a:cubicBezTo>
                    <a:pt x="9" y="27"/>
                    <a:pt x="16" y="27"/>
                    <a:pt x="17" y="19"/>
                  </a:cubicBezTo>
                  <a:cubicBezTo>
                    <a:pt x="12" y="16"/>
                    <a:pt x="3" y="0"/>
                    <a:pt x="9" y="15"/>
                  </a:cubicBezTo>
                  <a:cubicBezTo>
                    <a:pt x="5" y="16"/>
                    <a:pt x="1" y="14"/>
                    <a:pt x="0" y="19"/>
                  </a:cubicBezTo>
                  <a:cubicBezTo>
                    <a:pt x="4" y="20"/>
                    <a:pt x="5" y="23"/>
                    <a:pt x="9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09" name="Freeform 160"/>
            <p:cNvSpPr>
              <a:spLocks/>
            </p:cNvSpPr>
            <p:nvPr userDrawn="1"/>
          </p:nvSpPr>
          <p:spPr bwMode="auto">
            <a:xfrm>
              <a:off x="2979450" y="4636944"/>
              <a:ext cx="57777" cy="126303"/>
            </a:xfrm>
            <a:custGeom>
              <a:avLst/>
              <a:gdLst>
                <a:gd name="T0" fmla="*/ 8 w 18"/>
                <a:gd name="T1" fmla="*/ 25 h 40"/>
                <a:gd name="T2" fmla="*/ 6 w 18"/>
                <a:gd name="T3" fmla="*/ 0 h 40"/>
                <a:gd name="T4" fmla="*/ 0 w 18"/>
                <a:gd name="T5" fmla="*/ 18 h 40"/>
                <a:gd name="T6" fmla="*/ 6 w 18"/>
                <a:gd name="T7" fmla="*/ 40 h 40"/>
                <a:gd name="T8" fmla="*/ 14 w 18"/>
                <a:gd name="T9" fmla="*/ 40 h 40"/>
                <a:gd name="T10" fmla="*/ 8 w 18"/>
                <a:gd name="T11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0">
                  <a:moveTo>
                    <a:pt x="8" y="25"/>
                  </a:moveTo>
                  <a:cubicBezTo>
                    <a:pt x="7" y="19"/>
                    <a:pt x="14" y="6"/>
                    <a:pt x="6" y="0"/>
                  </a:cubicBezTo>
                  <a:cubicBezTo>
                    <a:pt x="3" y="12"/>
                    <a:pt x="14" y="21"/>
                    <a:pt x="0" y="18"/>
                  </a:cubicBezTo>
                  <a:cubicBezTo>
                    <a:pt x="1" y="31"/>
                    <a:pt x="12" y="25"/>
                    <a:pt x="6" y="40"/>
                  </a:cubicBezTo>
                  <a:cubicBezTo>
                    <a:pt x="8" y="40"/>
                    <a:pt x="11" y="40"/>
                    <a:pt x="14" y="40"/>
                  </a:cubicBezTo>
                  <a:cubicBezTo>
                    <a:pt x="18" y="31"/>
                    <a:pt x="9" y="32"/>
                    <a:pt x="8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10" name="Freeform 161"/>
            <p:cNvSpPr>
              <a:spLocks/>
            </p:cNvSpPr>
            <p:nvPr userDrawn="1"/>
          </p:nvSpPr>
          <p:spPr bwMode="auto">
            <a:xfrm>
              <a:off x="3046632" y="4667848"/>
              <a:ext cx="91368" cy="118241"/>
            </a:xfrm>
            <a:custGeom>
              <a:avLst/>
              <a:gdLst>
                <a:gd name="T0" fmla="*/ 25 w 29"/>
                <a:gd name="T1" fmla="*/ 19 h 37"/>
                <a:gd name="T2" fmla="*/ 9 w 29"/>
                <a:gd name="T3" fmla="*/ 15 h 37"/>
                <a:gd name="T4" fmla="*/ 1 w 29"/>
                <a:gd name="T5" fmla="*/ 23 h 37"/>
                <a:gd name="T6" fmla="*/ 11 w 29"/>
                <a:gd name="T7" fmla="*/ 34 h 37"/>
                <a:gd name="T8" fmla="*/ 17 w 29"/>
                <a:gd name="T9" fmla="*/ 27 h 37"/>
                <a:gd name="T10" fmla="*/ 25 w 29"/>
                <a:gd name="T11" fmla="*/ 30 h 37"/>
                <a:gd name="T12" fmla="*/ 25 w 29"/>
                <a:gd name="T13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37">
                  <a:moveTo>
                    <a:pt x="25" y="19"/>
                  </a:moveTo>
                  <a:cubicBezTo>
                    <a:pt x="19" y="36"/>
                    <a:pt x="14" y="0"/>
                    <a:pt x="9" y="15"/>
                  </a:cubicBezTo>
                  <a:cubicBezTo>
                    <a:pt x="17" y="23"/>
                    <a:pt x="0" y="9"/>
                    <a:pt x="1" y="23"/>
                  </a:cubicBezTo>
                  <a:cubicBezTo>
                    <a:pt x="8" y="22"/>
                    <a:pt x="3" y="37"/>
                    <a:pt x="11" y="34"/>
                  </a:cubicBezTo>
                  <a:cubicBezTo>
                    <a:pt x="15" y="34"/>
                    <a:pt x="14" y="28"/>
                    <a:pt x="17" y="27"/>
                  </a:cubicBezTo>
                  <a:cubicBezTo>
                    <a:pt x="17" y="31"/>
                    <a:pt x="21" y="31"/>
                    <a:pt x="25" y="30"/>
                  </a:cubicBezTo>
                  <a:cubicBezTo>
                    <a:pt x="24" y="24"/>
                    <a:pt x="29" y="21"/>
                    <a:pt x="2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11" name="Freeform 162"/>
            <p:cNvSpPr>
              <a:spLocks/>
            </p:cNvSpPr>
            <p:nvPr userDrawn="1"/>
          </p:nvSpPr>
          <p:spPr bwMode="auto">
            <a:xfrm>
              <a:off x="3191747" y="4753841"/>
              <a:ext cx="79275" cy="67183"/>
            </a:xfrm>
            <a:custGeom>
              <a:avLst/>
              <a:gdLst>
                <a:gd name="T0" fmla="*/ 0 w 25"/>
                <a:gd name="T1" fmla="*/ 11 h 21"/>
                <a:gd name="T2" fmla="*/ 14 w 25"/>
                <a:gd name="T3" fmla="*/ 18 h 21"/>
                <a:gd name="T4" fmla="*/ 25 w 25"/>
                <a:gd name="T5" fmla="*/ 7 h 21"/>
                <a:gd name="T6" fmla="*/ 14 w 25"/>
                <a:gd name="T7" fmla="*/ 11 h 21"/>
                <a:gd name="T8" fmla="*/ 0 w 25"/>
                <a:gd name="T9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1">
                  <a:moveTo>
                    <a:pt x="0" y="11"/>
                  </a:moveTo>
                  <a:cubicBezTo>
                    <a:pt x="9" y="8"/>
                    <a:pt x="6" y="21"/>
                    <a:pt x="14" y="18"/>
                  </a:cubicBezTo>
                  <a:cubicBezTo>
                    <a:pt x="18" y="14"/>
                    <a:pt x="22" y="12"/>
                    <a:pt x="25" y="7"/>
                  </a:cubicBezTo>
                  <a:cubicBezTo>
                    <a:pt x="20" y="7"/>
                    <a:pt x="19" y="11"/>
                    <a:pt x="14" y="11"/>
                  </a:cubicBezTo>
                  <a:cubicBezTo>
                    <a:pt x="11" y="11"/>
                    <a:pt x="2" y="0"/>
                    <a:pt x="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12" name="Freeform 163"/>
            <p:cNvSpPr>
              <a:spLocks/>
            </p:cNvSpPr>
            <p:nvPr userDrawn="1"/>
          </p:nvSpPr>
          <p:spPr bwMode="auto">
            <a:xfrm>
              <a:off x="3030508" y="3239546"/>
              <a:ext cx="69870" cy="64495"/>
            </a:xfrm>
            <a:custGeom>
              <a:avLst/>
              <a:gdLst>
                <a:gd name="T0" fmla="*/ 19 w 22"/>
                <a:gd name="T1" fmla="*/ 0 h 20"/>
                <a:gd name="T2" fmla="*/ 3 w 22"/>
                <a:gd name="T3" fmla="*/ 0 h 20"/>
                <a:gd name="T4" fmla="*/ 0 w 22"/>
                <a:gd name="T5" fmla="*/ 11 h 20"/>
                <a:gd name="T6" fmla="*/ 22 w 22"/>
                <a:gd name="T7" fmla="*/ 18 h 20"/>
                <a:gd name="T8" fmla="*/ 19 w 22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0">
                  <a:moveTo>
                    <a:pt x="19" y="0"/>
                  </a:moveTo>
                  <a:cubicBezTo>
                    <a:pt x="14" y="0"/>
                    <a:pt x="9" y="0"/>
                    <a:pt x="3" y="0"/>
                  </a:cubicBezTo>
                  <a:cubicBezTo>
                    <a:pt x="3" y="5"/>
                    <a:pt x="2" y="8"/>
                    <a:pt x="0" y="11"/>
                  </a:cubicBezTo>
                  <a:cubicBezTo>
                    <a:pt x="6" y="15"/>
                    <a:pt x="11" y="20"/>
                    <a:pt x="22" y="18"/>
                  </a:cubicBezTo>
                  <a:cubicBezTo>
                    <a:pt x="21" y="5"/>
                    <a:pt x="15" y="13"/>
                    <a:pt x="1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13" name="Freeform 164"/>
            <p:cNvSpPr>
              <a:spLocks/>
            </p:cNvSpPr>
            <p:nvPr userDrawn="1"/>
          </p:nvSpPr>
          <p:spPr bwMode="auto">
            <a:xfrm>
              <a:off x="3116502" y="4325216"/>
              <a:ext cx="44341" cy="64495"/>
            </a:xfrm>
            <a:custGeom>
              <a:avLst/>
              <a:gdLst>
                <a:gd name="T0" fmla="*/ 6 w 14"/>
                <a:gd name="T1" fmla="*/ 1 h 20"/>
                <a:gd name="T2" fmla="*/ 3 w 14"/>
                <a:gd name="T3" fmla="*/ 20 h 20"/>
                <a:gd name="T4" fmla="*/ 14 w 14"/>
                <a:gd name="T5" fmla="*/ 20 h 20"/>
                <a:gd name="T6" fmla="*/ 6 w 14"/>
                <a:gd name="T7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0">
                  <a:moveTo>
                    <a:pt x="6" y="1"/>
                  </a:moveTo>
                  <a:cubicBezTo>
                    <a:pt x="0" y="9"/>
                    <a:pt x="8" y="13"/>
                    <a:pt x="3" y="20"/>
                  </a:cubicBezTo>
                  <a:cubicBezTo>
                    <a:pt x="7" y="20"/>
                    <a:pt x="10" y="20"/>
                    <a:pt x="14" y="20"/>
                  </a:cubicBezTo>
                  <a:cubicBezTo>
                    <a:pt x="14" y="9"/>
                    <a:pt x="14" y="0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14" name="Freeform 165"/>
            <p:cNvSpPr>
              <a:spLocks/>
            </p:cNvSpPr>
            <p:nvPr userDrawn="1"/>
          </p:nvSpPr>
          <p:spPr bwMode="auto">
            <a:xfrm>
              <a:off x="7714479" y="2323175"/>
              <a:ext cx="4031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15" name="Freeform 166"/>
            <p:cNvSpPr>
              <a:spLocks/>
            </p:cNvSpPr>
            <p:nvPr userDrawn="1"/>
          </p:nvSpPr>
          <p:spPr bwMode="auto">
            <a:xfrm>
              <a:off x="2783277" y="4115607"/>
              <a:ext cx="56433" cy="51059"/>
            </a:xfrm>
            <a:custGeom>
              <a:avLst/>
              <a:gdLst>
                <a:gd name="T0" fmla="*/ 11 w 18"/>
                <a:gd name="T1" fmla="*/ 8 h 16"/>
                <a:gd name="T2" fmla="*/ 14 w 18"/>
                <a:gd name="T3" fmla="*/ 16 h 16"/>
                <a:gd name="T4" fmla="*/ 6 w 18"/>
                <a:gd name="T5" fmla="*/ 5 h 16"/>
                <a:gd name="T6" fmla="*/ 6 w 18"/>
                <a:gd name="T7" fmla="*/ 1 h 16"/>
                <a:gd name="T8" fmla="*/ 0 w 18"/>
                <a:gd name="T9" fmla="*/ 1 h 16"/>
                <a:gd name="T10" fmla="*/ 11 w 1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6">
                  <a:moveTo>
                    <a:pt x="11" y="8"/>
                  </a:moveTo>
                  <a:cubicBezTo>
                    <a:pt x="12" y="11"/>
                    <a:pt x="11" y="16"/>
                    <a:pt x="14" y="16"/>
                  </a:cubicBezTo>
                  <a:cubicBezTo>
                    <a:pt x="18" y="2"/>
                    <a:pt x="9" y="7"/>
                    <a:pt x="6" y="5"/>
                  </a:cubicBezTo>
                  <a:cubicBezTo>
                    <a:pt x="5" y="4"/>
                    <a:pt x="6" y="1"/>
                    <a:pt x="6" y="1"/>
                  </a:cubicBezTo>
                  <a:cubicBezTo>
                    <a:pt x="5" y="0"/>
                    <a:pt x="1" y="2"/>
                    <a:pt x="0" y="1"/>
                  </a:cubicBezTo>
                  <a:cubicBezTo>
                    <a:pt x="2" y="6"/>
                    <a:pt x="6" y="8"/>
                    <a:pt x="1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16" name="Freeform 167"/>
            <p:cNvSpPr>
              <a:spLocks/>
            </p:cNvSpPr>
            <p:nvPr userDrawn="1"/>
          </p:nvSpPr>
          <p:spPr bwMode="auto">
            <a:xfrm>
              <a:off x="3414793" y="2509943"/>
              <a:ext cx="2687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17" name="Freeform 168"/>
            <p:cNvSpPr>
              <a:spLocks noEditPoints="1"/>
            </p:cNvSpPr>
            <p:nvPr userDrawn="1"/>
          </p:nvSpPr>
          <p:spPr bwMode="auto">
            <a:xfrm>
              <a:off x="2541419" y="1687628"/>
              <a:ext cx="6608080" cy="4310435"/>
            </a:xfrm>
            <a:custGeom>
              <a:avLst/>
              <a:gdLst>
                <a:gd name="T0" fmla="*/ 1924 w 2082"/>
                <a:gd name="T1" fmla="*/ 100 h 1358"/>
                <a:gd name="T2" fmla="*/ 1692 w 2082"/>
                <a:gd name="T3" fmla="*/ 41 h 1358"/>
                <a:gd name="T4" fmla="*/ 1606 w 2082"/>
                <a:gd name="T5" fmla="*/ 174 h 1358"/>
                <a:gd name="T6" fmla="*/ 1364 w 2082"/>
                <a:gd name="T7" fmla="*/ 145 h 1358"/>
                <a:gd name="T8" fmla="*/ 1063 w 2082"/>
                <a:gd name="T9" fmla="*/ 100 h 1358"/>
                <a:gd name="T10" fmla="*/ 738 w 2082"/>
                <a:gd name="T11" fmla="*/ 78 h 1358"/>
                <a:gd name="T12" fmla="*/ 356 w 2082"/>
                <a:gd name="T13" fmla="*/ 22 h 1358"/>
                <a:gd name="T14" fmla="*/ 17 w 2082"/>
                <a:gd name="T15" fmla="*/ 333 h 1358"/>
                <a:gd name="T16" fmla="*/ 36 w 2082"/>
                <a:gd name="T17" fmla="*/ 751 h 1358"/>
                <a:gd name="T18" fmla="*/ 176 w 2082"/>
                <a:gd name="T19" fmla="*/ 662 h 1358"/>
                <a:gd name="T20" fmla="*/ 243 w 2082"/>
                <a:gd name="T21" fmla="*/ 884 h 1358"/>
                <a:gd name="T22" fmla="*/ 698 w 2082"/>
                <a:gd name="T23" fmla="*/ 1210 h 1358"/>
                <a:gd name="T24" fmla="*/ 1101 w 2082"/>
                <a:gd name="T25" fmla="*/ 1287 h 1358"/>
                <a:gd name="T26" fmla="*/ 1480 w 2082"/>
                <a:gd name="T27" fmla="*/ 1317 h 1358"/>
                <a:gd name="T28" fmla="*/ 1881 w 2082"/>
                <a:gd name="T29" fmla="*/ 1350 h 1358"/>
                <a:gd name="T30" fmla="*/ 189 w 2082"/>
                <a:gd name="T31" fmla="*/ 644 h 1358"/>
                <a:gd name="T32" fmla="*/ 146 w 2082"/>
                <a:gd name="T33" fmla="*/ 403 h 1358"/>
                <a:gd name="T34" fmla="*/ 111 w 2082"/>
                <a:gd name="T35" fmla="*/ 599 h 1358"/>
                <a:gd name="T36" fmla="*/ 135 w 2082"/>
                <a:gd name="T37" fmla="*/ 485 h 1358"/>
                <a:gd name="T38" fmla="*/ 165 w 2082"/>
                <a:gd name="T39" fmla="*/ 267 h 1358"/>
                <a:gd name="T40" fmla="*/ 74 w 2082"/>
                <a:gd name="T41" fmla="*/ 218 h 1358"/>
                <a:gd name="T42" fmla="*/ 130 w 2082"/>
                <a:gd name="T43" fmla="*/ 659 h 1358"/>
                <a:gd name="T44" fmla="*/ 157 w 2082"/>
                <a:gd name="T45" fmla="*/ 448 h 1358"/>
                <a:gd name="T46" fmla="*/ 447 w 2082"/>
                <a:gd name="T47" fmla="*/ 648 h 1358"/>
                <a:gd name="T48" fmla="*/ 353 w 2082"/>
                <a:gd name="T49" fmla="*/ 755 h 1358"/>
                <a:gd name="T50" fmla="*/ 267 w 2082"/>
                <a:gd name="T51" fmla="*/ 537 h 1358"/>
                <a:gd name="T52" fmla="*/ 246 w 2082"/>
                <a:gd name="T53" fmla="*/ 448 h 1358"/>
                <a:gd name="T54" fmla="*/ 386 w 2082"/>
                <a:gd name="T55" fmla="*/ 307 h 1358"/>
                <a:gd name="T56" fmla="*/ 375 w 2082"/>
                <a:gd name="T57" fmla="*/ 311 h 1358"/>
                <a:gd name="T58" fmla="*/ 321 w 2082"/>
                <a:gd name="T59" fmla="*/ 570 h 1358"/>
                <a:gd name="T60" fmla="*/ 316 w 2082"/>
                <a:gd name="T61" fmla="*/ 385 h 1358"/>
                <a:gd name="T62" fmla="*/ 294 w 2082"/>
                <a:gd name="T63" fmla="*/ 699 h 1358"/>
                <a:gd name="T64" fmla="*/ 351 w 2082"/>
                <a:gd name="T65" fmla="*/ 651 h 1358"/>
                <a:gd name="T66" fmla="*/ 412 w 2082"/>
                <a:gd name="T67" fmla="*/ 614 h 1358"/>
                <a:gd name="T68" fmla="*/ 353 w 2082"/>
                <a:gd name="T69" fmla="*/ 307 h 1358"/>
                <a:gd name="T70" fmla="*/ 275 w 2082"/>
                <a:gd name="T71" fmla="*/ 178 h 1358"/>
                <a:gd name="T72" fmla="*/ 230 w 2082"/>
                <a:gd name="T73" fmla="*/ 163 h 1358"/>
                <a:gd name="T74" fmla="*/ 254 w 2082"/>
                <a:gd name="T75" fmla="*/ 670 h 1358"/>
                <a:gd name="T76" fmla="*/ 308 w 2082"/>
                <a:gd name="T77" fmla="*/ 762 h 1358"/>
                <a:gd name="T78" fmla="*/ 496 w 2082"/>
                <a:gd name="T79" fmla="*/ 807 h 1358"/>
                <a:gd name="T80" fmla="*/ 918 w 2082"/>
                <a:gd name="T81" fmla="*/ 1235 h 1358"/>
                <a:gd name="T82" fmla="*/ 1176 w 2082"/>
                <a:gd name="T83" fmla="*/ 1217 h 1358"/>
                <a:gd name="T84" fmla="*/ 1260 w 2082"/>
                <a:gd name="T85" fmla="*/ 237 h 1358"/>
                <a:gd name="T86" fmla="*/ 1319 w 2082"/>
                <a:gd name="T87" fmla="*/ 196 h 1358"/>
                <a:gd name="T88" fmla="*/ 1566 w 2082"/>
                <a:gd name="T89" fmla="*/ 263 h 1358"/>
                <a:gd name="T90" fmla="*/ 1448 w 2082"/>
                <a:gd name="T91" fmla="*/ 167 h 1358"/>
                <a:gd name="T92" fmla="*/ 1367 w 2082"/>
                <a:gd name="T93" fmla="*/ 599 h 1358"/>
                <a:gd name="T94" fmla="*/ 1415 w 2082"/>
                <a:gd name="T95" fmla="*/ 1306 h 1358"/>
                <a:gd name="T96" fmla="*/ 1467 w 2082"/>
                <a:gd name="T97" fmla="*/ 640 h 1358"/>
                <a:gd name="T98" fmla="*/ 1553 w 2082"/>
                <a:gd name="T99" fmla="*/ 1291 h 1358"/>
                <a:gd name="T100" fmla="*/ 2055 w 2082"/>
                <a:gd name="T101" fmla="*/ 562 h 1358"/>
                <a:gd name="T102" fmla="*/ 1996 w 2082"/>
                <a:gd name="T103" fmla="*/ 537 h 1358"/>
                <a:gd name="T104" fmla="*/ 1948 w 2082"/>
                <a:gd name="T105" fmla="*/ 178 h 1358"/>
                <a:gd name="T106" fmla="*/ 1918 w 2082"/>
                <a:gd name="T107" fmla="*/ 71 h 1358"/>
                <a:gd name="T108" fmla="*/ 1840 w 2082"/>
                <a:gd name="T109" fmla="*/ 170 h 1358"/>
                <a:gd name="T110" fmla="*/ 1738 w 2082"/>
                <a:gd name="T111" fmla="*/ 1265 h 1358"/>
                <a:gd name="T112" fmla="*/ 1730 w 2082"/>
                <a:gd name="T113" fmla="*/ 603 h 1358"/>
                <a:gd name="T114" fmla="*/ 1666 w 2082"/>
                <a:gd name="T115" fmla="*/ 215 h 1358"/>
                <a:gd name="T116" fmla="*/ 1746 w 2082"/>
                <a:gd name="T117" fmla="*/ 1295 h 1358"/>
                <a:gd name="T118" fmla="*/ 1811 w 2082"/>
                <a:gd name="T119" fmla="*/ 1254 h 1358"/>
                <a:gd name="T120" fmla="*/ 1848 w 2082"/>
                <a:gd name="T121" fmla="*/ 215 h 1358"/>
                <a:gd name="T122" fmla="*/ 1899 w 2082"/>
                <a:gd name="T123" fmla="*/ 1199 h 1358"/>
                <a:gd name="T124" fmla="*/ 2039 w 2082"/>
                <a:gd name="T125" fmla="*/ 1306 h 1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82" h="1358">
                  <a:moveTo>
                    <a:pt x="2050" y="100"/>
                  </a:moveTo>
                  <a:cubicBezTo>
                    <a:pt x="2048" y="103"/>
                    <a:pt x="2053" y="115"/>
                    <a:pt x="2045" y="119"/>
                  </a:cubicBezTo>
                  <a:cubicBezTo>
                    <a:pt x="2041" y="120"/>
                    <a:pt x="2037" y="118"/>
                    <a:pt x="2034" y="119"/>
                  </a:cubicBezTo>
                  <a:cubicBezTo>
                    <a:pt x="2032" y="131"/>
                    <a:pt x="2045" y="123"/>
                    <a:pt x="2042" y="137"/>
                  </a:cubicBezTo>
                  <a:cubicBezTo>
                    <a:pt x="2047" y="138"/>
                    <a:pt x="2047" y="132"/>
                    <a:pt x="2050" y="130"/>
                  </a:cubicBezTo>
                  <a:cubicBezTo>
                    <a:pt x="2050" y="133"/>
                    <a:pt x="2050" y="137"/>
                    <a:pt x="2050" y="141"/>
                  </a:cubicBezTo>
                  <a:cubicBezTo>
                    <a:pt x="2057" y="143"/>
                    <a:pt x="2071" y="136"/>
                    <a:pt x="2074" y="145"/>
                  </a:cubicBezTo>
                  <a:cubicBezTo>
                    <a:pt x="2074" y="147"/>
                    <a:pt x="2074" y="152"/>
                    <a:pt x="2072" y="152"/>
                  </a:cubicBezTo>
                  <a:cubicBezTo>
                    <a:pt x="2067" y="151"/>
                    <a:pt x="2062" y="141"/>
                    <a:pt x="2058" y="145"/>
                  </a:cubicBezTo>
                  <a:cubicBezTo>
                    <a:pt x="2057" y="146"/>
                    <a:pt x="2059" y="153"/>
                    <a:pt x="2055" y="152"/>
                  </a:cubicBezTo>
                  <a:cubicBezTo>
                    <a:pt x="2053" y="144"/>
                    <a:pt x="2049" y="139"/>
                    <a:pt x="2039" y="141"/>
                  </a:cubicBezTo>
                  <a:cubicBezTo>
                    <a:pt x="2041" y="153"/>
                    <a:pt x="2037" y="158"/>
                    <a:pt x="2037" y="167"/>
                  </a:cubicBezTo>
                  <a:cubicBezTo>
                    <a:pt x="2048" y="170"/>
                    <a:pt x="2047" y="157"/>
                    <a:pt x="2053" y="152"/>
                  </a:cubicBezTo>
                  <a:cubicBezTo>
                    <a:pt x="2050" y="162"/>
                    <a:pt x="2057" y="162"/>
                    <a:pt x="2055" y="170"/>
                  </a:cubicBezTo>
                  <a:cubicBezTo>
                    <a:pt x="2059" y="171"/>
                    <a:pt x="2062" y="171"/>
                    <a:pt x="2061" y="178"/>
                  </a:cubicBezTo>
                  <a:cubicBezTo>
                    <a:pt x="2057" y="172"/>
                    <a:pt x="2050" y="170"/>
                    <a:pt x="2045" y="167"/>
                  </a:cubicBezTo>
                  <a:cubicBezTo>
                    <a:pt x="2042" y="172"/>
                    <a:pt x="2043" y="181"/>
                    <a:pt x="2034" y="178"/>
                  </a:cubicBezTo>
                  <a:cubicBezTo>
                    <a:pt x="2038" y="165"/>
                    <a:pt x="2033" y="151"/>
                    <a:pt x="2037" y="137"/>
                  </a:cubicBezTo>
                  <a:cubicBezTo>
                    <a:pt x="2032" y="137"/>
                    <a:pt x="2034" y="128"/>
                    <a:pt x="2029" y="130"/>
                  </a:cubicBezTo>
                  <a:cubicBezTo>
                    <a:pt x="2028" y="137"/>
                    <a:pt x="2032" y="137"/>
                    <a:pt x="2034" y="141"/>
                  </a:cubicBezTo>
                  <a:cubicBezTo>
                    <a:pt x="2028" y="144"/>
                    <a:pt x="2032" y="154"/>
                    <a:pt x="2031" y="159"/>
                  </a:cubicBezTo>
                  <a:cubicBezTo>
                    <a:pt x="2031" y="160"/>
                    <a:pt x="2029" y="160"/>
                    <a:pt x="2029" y="163"/>
                  </a:cubicBezTo>
                  <a:cubicBezTo>
                    <a:pt x="2028" y="168"/>
                    <a:pt x="2028" y="171"/>
                    <a:pt x="2026" y="174"/>
                  </a:cubicBezTo>
                  <a:cubicBezTo>
                    <a:pt x="2023" y="180"/>
                    <a:pt x="2024" y="190"/>
                    <a:pt x="2020" y="193"/>
                  </a:cubicBezTo>
                  <a:cubicBezTo>
                    <a:pt x="2013" y="185"/>
                    <a:pt x="2023" y="171"/>
                    <a:pt x="2026" y="167"/>
                  </a:cubicBezTo>
                  <a:cubicBezTo>
                    <a:pt x="2027" y="155"/>
                    <a:pt x="2019" y="157"/>
                    <a:pt x="2018" y="148"/>
                  </a:cubicBezTo>
                  <a:cubicBezTo>
                    <a:pt x="2021" y="148"/>
                    <a:pt x="2022" y="153"/>
                    <a:pt x="2026" y="152"/>
                  </a:cubicBezTo>
                  <a:cubicBezTo>
                    <a:pt x="2029" y="152"/>
                    <a:pt x="2029" y="142"/>
                    <a:pt x="2026" y="141"/>
                  </a:cubicBezTo>
                  <a:cubicBezTo>
                    <a:pt x="2026" y="156"/>
                    <a:pt x="2022" y="141"/>
                    <a:pt x="2020" y="137"/>
                  </a:cubicBezTo>
                  <a:cubicBezTo>
                    <a:pt x="2012" y="140"/>
                    <a:pt x="2015" y="140"/>
                    <a:pt x="2007" y="137"/>
                  </a:cubicBezTo>
                  <a:cubicBezTo>
                    <a:pt x="2000" y="144"/>
                    <a:pt x="2009" y="172"/>
                    <a:pt x="2002" y="178"/>
                  </a:cubicBezTo>
                  <a:cubicBezTo>
                    <a:pt x="1999" y="168"/>
                    <a:pt x="1995" y="172"/>
                    <a:pt x="1999" y="167"/>
                  </a:cubicBezTo>
                  <a:cubicBezTo>
                    <a:pt x="2001" y="164"/>
                    <a:pt x="1990" y="162"/>
                    <a:pt x="1991" y="159"/>
                  </a:cubicBezTo>
                  <a:cubicBezTo>
                    <a:pt x="1990" y="153"/>
                    <a:pt x="1995" y="150"/>
                    <a:pt x="1991" y="148"/>
                  </a:cubicBezTo>
                  <a:cubicBezTo>
                    <a:pt x="1991" y="150"/>
                    <a:pt x="1989" y="152"/>
                    <a:pt x="1988" y="148"/>
                  </a:cubicBezTo>
                  <a:cubicBezTo>
                    <a:pt x="1994" y="147"/>
                    <a:pt x="1995" y="141"/>
                    <a:pt x="1999" y="137"/>
                  </a:cubicBezTo>
                  <a:cubicBezTo>
                    <a:pt x="2000" y="143"/>
                    <a:pt x="2002" y="136"/>
                    <a:pt x="2007" y="137"/>
                  </a:cubicBezTo>
                  <a:cubicBezTo>
                    <a:pt x="2009" y="134"/>
                    <a:pt x="2008" y="129"/>
                    <a:pt x="2010" y="126"/>
                  </a:cubicBezTo>
                  <a:cubicBezTo>
                    <a:pt x="2010" y="126"/>
                    <a:pt x="2012" y="126"/>
                    <a:pt x="2012" y="126"/>
                  </a:cubicBezTo>
                  <a:cubicBezTo>
                    <a:pt x="2013" y="121"/>
                    <a:pt x="2010" y="118"/>
                    <a:pt x="2010" y="115"/>
                  </a:cubicBezTo>
                  <a:cubicBezTo>
                    <a:pt x="2010" y="115"/>
                    <a:pt x="2013" y="114"/>
                    <a:pt x="2012" y="111"/>
                  </a:cubicBezTo>
                  <a:cubicBezTo>
                    <a:pt x="2012" y="111"/>
                    <a:pt x="2007" y="109"/>
                    <a:pt x="2007" y="108"/>
                  </a:cubicBezTo>
                  <a:cubicBezTo>
                    <a:pt x="2007" y="113"/>
                    <a:pt x="2007" y="120"/>
                    <a:pt x="2002" y="119"/>
                  </a:cubicBezTo>
                  <a:cubicBezTo>
                    <a:pt x="2001" y="112"/>
                    <a:pt x="2005" y="111"/>
                    <a:pt x="2004" y="104"/>
                  </a:cubicBezTo>
                  <a:cubicBezTo>
                    <a:pt x="2001" y="104"/>
                    <a:pt x="1998" y="106"/>
                    <a:pt x="1996" y="108"/>
                  </a:cubicBezTo>
                  <a:cubicBezTo>
                    <a:pt x="2003" y="102"/>
                    <a:pt x="1993" y="95"/>
                    <a:pt x="1988" y="96"/>
                  </a:cubicBezTo>
                  <a:cubicBezTo>
                    <a:pt x="1985" y="98"/>
                    <a:pt x="1986" y="102"/>
                    <a:pt x="1983" y="104"/>
                  </a:cubicBezTo>
                  <a:cubicBezTo>
                    <a:pt x="1983" y="99"/>
                    <a:pt x="1984" y="96"/>
                    <a:pt x="1986" y="93"/>
                  </a:cubicBezTo>
                  <a:cubicBezTo>
                    <a:pt x="1982" y="93"/>
                    <a:pt x="1978" y="93"/>
                    <a:pt x="1975" y="93"/>
                  </a:cubicBezTo>
                  <a:cubicBezTo>
                    <a:pt x="1974" y="97"/>
                    <a:pt x="1975" y="103"/>
                    <a:pt x="1972" y="104"/>
                  </a:cubicBezTo>
                  <a:cubicBezTo>
                    <a:pt x="1969" y="104"/>
                    <a:pt x="1970" y="97"/>
                    <a:pt x="1967" y="96"/>
                  </a:cubicBezTo>
                  <a:cubicBezTo>
                    <a:pt x="1967" y="97"/>
                    <a:pt x="1960" y="104"/>
                    <a:pt x="1956" y="100"/>
                  </a:cubicBezTo>
                  <a:cubicBezTo>
                    <a:pt x="1955" y="90"/>
                    <a:pt x="1948" y="87"/>
                    <a:pt x="1940" y="85"/>
                  </a:cubicBezTo>
                  <a:cubicBezTo>
                    <a:pt x="1939" y="93"/>
                    <a:pt x="1943" y="93"/>
                    <a:pt x="1945" y="96"/>
                  </a:cubicBezTo>
                  <a:cubicBezTo>
                    <a:pt x="1936" y="90"/>
                    <a:pt x="1937" y="97"/>
                    <a:pt x="1932" y="104"/>
                  </a:cubicBezTo>
                  <a:cubicBezTo>
                    <a:pt x="1930" y="93"/>
                    <a:pt x="1936" y="93"/>
                    <a:pt x="1934" y="82"/>
                  </a:cubicBezTo>
                  <a:cubicBezTo>
                    <a:pt x="1924" y="83"/>
                    <a:pt x="1936" y="98"/>
                    <a:pt x="1924" y="100"/>
                  </a:cubicBezTo>
                  <a:cubicBezTo>
                    <a:pt x="1928" y="88"/>
                    <a:pt x="1922" y="81"/>
                    <a:pt x="1924" y="63"/>
                  </a:cubicBezTo>
                  <a:cubicBezTo>
                    <a:pt x="1920" y="64"/>
                    <a:pt x="1915" y="60"/>
                    <a:pt x="1916" y="56"/>
                  </a:cubicBezTo>
                  <a:cubicBezTo>
                    <a:pt x="1916" y="56"/>
                    <a:pt x="1920" y="54"/>
                    <a:pt x="1918" y="52"/>
                  </a:cubicBezTo>
                  <a:cubicBezTo>
                    <a:pt x="1914" y="48"/>
                    <a:pt x="1902" y="50"/>
                    <a:pt x="1905" y="52"/>
                  </a:cubicBezTo>
                  <a:cubicBezTo>
                    <a:pt x="1908" y="54"/>
                    <a:pt x="1910" y="57"/>
                    <a:pt x="1910" y="63"/>
                  </a:cubicBezTo>
                  <a:cubicBezTo>
                    <a:pt x="1905" y="59"/>
                    <a:pt x="1897" y="69"/>
                    <a:pt x="1905" y="71"/>
                  </a:cubicBezTo>
                  <a:cubicBezTo>
                    <a:pt x="1905" y="67"/>
                    <a:pt x="1910" y="66"/>
                    <a:pt x="1910" y="71"/>
                  </a:cubicBezTo>
                  <a:cubicBezTo>
                    <a:pt x="1909" y="76"/>
                    <a:pt x="1906" y="80"/>
                    <a:pt x="1902" y="82"/>
                  </a:cubicBezTo>
                  <a:cubicBezTo>
                    <a:pt x="1896" y="73"/>
                    <a:pt x="1893" y="76"/>
                    <a:pt x="1886" y="82"/>
                  </a:cubicBezTo>
                  <a:cubicBezTo>
                    <a:pt x="1884" y="95"/>
                    <a:pt x="1889" y="100"/>
                    <a:pt x="1891" y="108"/>
                  </a:cubicBezTo>
                  <a:cubicBezTo>
                    <a:pt x="1888" y="112"/>
                    <a:pt x="1881" y="109"/>
                    <a:pt x="1878" y="104"/>
                  </a:cubicBezTo>
                  <a:cubicBezTo>
                    <a:pt x="1881" y="102"/>
                    <a:pt x="1884" y="99"/>
                    <a:pt x="1883" y="93"/>
                  </a:cubicBezTo>
                  <a:cubicBezTo>
                    <a:pt x="1877" y="93"/>
                    <a:pt x="1875" y="100"/>
                    <a:pt x="1873" y="89"/>
                  </a:cubicBezTo>
                  <a:cubicBezTo>
                    <a:pt x="1871" y="83"/>
                    <a:pt x="1876" y="67"/>
                    <a:pt x="1870" y="67"/>
                  </a:cubicBezTo>
                  <a:cubicBezTo>
                    <a:pt x="1870" y="84"/>
                    <a:pt x="1861" y="97"/>
                    <a:pt x="1862" y="111"/>
                  </a:cubicBezTo>
                  <a:cubicBezTo>
                    <a:pt x="1862" y="119"/>
                    <a:pt x="1874" y="123"/>
                    <a:pt x="1865" y="130"/>
                  </a:cubicBezTo>
                  <a:cubicBezTo>
                    <a:pt x="1854" y="127"/>
                    <a:pt x="1867" y="117"/>
                    <a:pt x="1856" y="115"/>
                  </a:cubicBezTo>
                  <a:cubicBezTo>
                    <a:pt x="1852" y="121"/>
                    <a:pt x="1857" y="147"/>
                    <a:pt x="1848" y="156"/>
                  </a:cubicBezTo>
                  <a:cubicBezTo>
                    <a:pt x="1850" y="144"/>
                    <a:pt x="1844" y="145"/>
                    <a:pt x="1846" y="133"/>
                  </a:cubicBezTo>
                  <a:cubicBezTo>
                    <a:pt x="1855" y="137"/>
                    <a:pt x="1850" y="122"/>
                    <a:pt x="1851" y="115"/>
                  </a:cubicBezTo>
                  <a:cubicBezTo>
                    <a:pt x="1842" y="117"/>
                    <a:pt x="1840" y="91"/>
                    <a:pt x="1846" y="85"/>
                  </a:cubicBezTo>
                  <a:cubicBezTo>
                    <a:pt x="1849" y="86"/>
                    <a:pt x="1852" y="105"/>
                    <a:pt x="1856" y="93"/>
                  </a:cubicBezTo>
                  <a:cubicBezTo>
                    <a:pt x="1850" y="85"/>
                    <a:pt x="1863" y="96"/>
                    <a:pt x="1865" y="89"/>
                  </a:cubicBezTo>
                  <a:cubicBezTo>
                    <a:pt x="1865" y="79"/>
                    <a:pt x="1863" y="68"/>
                    <a:pt x="1867" y="63"/>
                  </a:cubicBezTo>
                  <a:cubicBezTo>
                    <a:pt x="1862" y="62"/>
                    <a:pt x="1861" y="67"/>
                    <a:pt x="1856" y="67"/>
                  </a:cubicBezTo>
                  <a:cubicBezTo>
                    <a:pt x="1853" y="67"/>
                    <a:pt x="1852" y="59"/>
                    <a:pt x="1848" y="60"/>
                  </a:cubicBezTo>
                  <a:cubicBezTo>
                    <a:pt x="1847" y="60"/>
                    <a:pt x="1847" y="65"/>
                    <a:pt x="1843" y="63"/>
                  </a:cubicBezTo>
                  <a:cubicBezTo>
                    <a:pt x="1843" y="63"/>
                    <a:pt x="1843" y="57"/>
                    <a:pt x="1843" y="56"/>
                  </a:cubicBezTo>
                  <a:cubicBezTo>
                    <a:pt x="1837" y="57"/>
                    <a:pt x="1832" y="60"/>
                    <a:pt x="1827" y="63"/>
                  </a:cubicBezTo>
                  <a:cubicBezTo>
                    <a:pt x="1827" y="57"/>
                    <a:pt x="1827" y="50"/>
                    <a:pt x="1822" y="52"/>
                  </a:cubicBezTo>
                  <a:cubicBezTo>
                    <a:pt x="1821" y="56"/>
                    <a:pt x="1822" y="63"/>
                    <a:pt x="1819" y="63"/>
                  </a:cubicBezTo>
                  <a:cubicBezTo>
                    <a:pt x="1817" y="57"/>
                    <a:pt x="1816" y="65"/>
                    <a:pt x="1813" y="67"/>
                  </a:cubicBezTo>
                  <a:cubicBezTo>
                    <a:pt x="1810" y="55"/>
                    <a:pt x="1818" y="58"/>
                    <a:pt x="1819" y="52"/>
                  </a:cubicBezTo>
                  <a:cubicBezTo>
                    <a:pt x="1810" y="55"/>
                    <a:pt x="1813" y="55"/>
                    <a:pt x="1808" y="48"/>
                  </a:cubicBezTo>
                  <a:cubicBezTo>
                    <a:pt x="1809" y="54"/>
                    <a:pt x="1798" y="61"/>
                    <a:pt x="1797" y="52"/>
                  </a:cubicBezTo>
                  <a:cubicBezTo>
                    <a:pt x="1796" y="44"/>
                    <a:pt x="1808" y="57"/>
                    <a:pt x="1800" y="48"/>
                  </a:cubicBezTo>
                  <a:cubicBezTo>
                    <a:pt x="1798" y="36"/>
                    <a:pt x="1792" y="64"/>
                    <a:pt x="1792" y="48"/>
                  </a:cubicBezTo>
                  <a:cubicBezTo>
                    <a:pt x="1792" y="43"/>
                    <a:pt x="1783" y="41"/>
                    <a:pt x="1778" y="41"/>
                  </a:cubicBezTo>
                  <a:cubicBezTo>
                    <a:pt x="1778" y="45"/>
                    <a:pt x="1779" y="51"/>
                    <a:pt x="1776" y="52"/>
                  </a:cubicBezTo>
                  <a:cubicBezTo>
                    <a:pt x="1778" y="34"/>
                    <a:pt x="1767" y="40"/>
                    <a:pt x="1765" y="41"/>
                  </a:cubicBezTo>
                  <a:cubicBezTo>
                    <a:pt x="1756" y="44"/>
                    <a:pt x="1758" y="34"/>
                    <a:pt x="1752" y="37"/>
                  </a:cubicBezTo>
                  <a:cubicBezTo>
                    <a:pt x="1750" y="38"/>
                    <a:pt x="1752" y="46"/>
                    <a:pt x="1749" y="45"/>
                  </a:cubicBezTo>
                  <a:cubicBezTo>
                    <a:pt x="1748" y="40"/>
                    <a:pt x="1749" y="34"/>
                    <a:pt x="1746" y="34"/>
                  </a:cubicBezTo>
                  <a:cubicBezTo>
                    <a:pt x="1744" y="42"/>
                    <a:pt x="1729" y="44"/>
                    <a:pt x="1727" y="30"/>
                  </a:cubicBezTo>
                  <a:cubicBezTo>
                    <a:pt x="1728" y="24"/>
                    <a:pt x="1734" y="27"/>
                    <a:pt x="1735" y="22"/>
                  </a:cubicBezTo>
                  <a:cubicBezTo>
                    <a:pt x="1735" y="23"/>
                    <a:pt x="1731" y="19"/>
                    <a:pt x="1735" y="19"/>
                  </a:cubicBezTo>
                  <a:cubicBezTo>
                    <a:pt x="1741" y="16"/>
                    <a:pt x="1741" y="27"/>
                    <a:pt x="1744" y="26"/>
                  </a:cubicBezTo>
                  <a:cubicBezTo>
                    <a:pt x="1744" y="26"/>
                    <a:pt x="1749" y="14"/>
                    <a:pt x="1749" y="22"/>
                  </a:cubicBezTo>
                  <a:cubicBezTo>
                    <a:pt x="1749" y="28"/>
                    <a:pt x="1755" y="27"/>
                    <a:pt x="1757" y="30"/>
                  </a:cubicBezTo>
                  <a:cubicBezTo>
                    <a:pt x="1757" y="26"/>
                    <a:pt x="1757" y="19"/>
                    <a:pt x="1760" y="19"/>
                  </a:cubicBezTo>
                  <a:cubicBezTo>
                    <a:pt x="1759" y="25"/>
                    <a:pt x="1763" y="29"/>
                    <a:pt x="1765" y="22"/>
                  </a:cubicBezTo>
                  <a:cubicBezTo>
                    <a:pt x="1751" y="5"/>
                    <a:pt x="1742" y="19"/>
                    <a:pt x="1725" y="11"/>
                  </a:cubicBezTo>
                  <a:cubicBezTo>
                    <a:pt x="1719" y="18"/>
                    <a:pt x="1724" y="25"/>
                    <a:pt x="1725" y="34"/>
                  </a:cubicBezTo>
                  <a:cubicBezTo>
                    <a:pt x="1716" y="39"/>
                    <a:pt x="1713" y="35"/>
                    <a:pt x="1703" y="34"/>
                  </a:cubicBezTo>
                  <a:cubicBezTo>
                    <a:pt x="1703" y="37"/>
                    <a:pt x="1703" y="40"/>
                    <a:pt x="1700" y="41"/>
                  </a:cubicBezTo>
                  <a:cubicBezTo>
                    <a:pt x="1698" y="42"/>
                    <a:pt x="1698" y="38"/>
                    <a:pt x="1698" y="37"/>
                  </a:cubicBezTo>
                  <a:cubicBezTo>
                    <a:pt x="1695" y="36"/>
                    <a:pt x="1694" y="41"/>
                    <a:pt x="1692" y="41"/>
                  </a:cubicBezTo>
                  <a:cubicBezTo>
                    <a:pt x="1693" y="41"/>
                    <a:pt x="1691" y="38"/>
                    <a:pt x="1690" y="37"/>
                  </a:cubicBezTo>
                  <a:cubicBezTo>
                    <a:pt x="1687" y="36"/>
                    <a:pt x="1684" y="38"/>
                    <a:pt x="1682" y="37"/>
                  </a:cubicBezTo>
                  <a:cubicBezTo>
                    <a:pt x="1681" y="40"/>
                    <a:pt x="1682" y="45"/>
                    <a:pt x="1679" y="45"/>
                  </a:cubicBezTo>
                  <a:cubicBezTo>
                    <a:pt x="1676" y="36"/>
                    <a:pt x="1666" y="51"/>
                    <a:pt x="1666" y="34"/>
                  </a:cubicBezTo>
                  <a:cubicBezTo>
                    <a:pt x="1670" y="34"/>
                    <a:pt x="1675" y="34"/>
                    <a:pt x="1679" y="34"/>
                  </a:cubicBezTo>
                  <a:cubicBezTo>
                    <a:pt x="1680" y="18"/>
                    <a:pt x="1672" y="29"/>
                    <a:pt x="1671" y="22"/>
                  </a:cubicBezTo>
                  <a:cubicBezTo>
                    <a:pt x="1673" y="22"/>
                    <a:pt x="1674" y="22"/>
                    <a:pt x="1674" y="19"/>
                  </a:cubicBezTo>
                  <a:cubicBezTo>
                    <a:pt x="1665" y="23"/>
                    <a:pt x="1657" y="20"/>
                    <a:pt x="1652" y="22"/>
                  </a:cubicBezTo>
                  <a:cubicBezTo>
                    <a:pt x="1651" y="23"/>
                    <a:pt x="1648" y="29"/>
                    <a:pt x="1647" y="30"/>
                  </a:cubicBezTo>
                  <a:cubicBezTo>
                    <a:pt x="1644" y="32"/>
                    <a:pt x="1641" y="30"/>
                    <a:pt x="1639" y="34"/>
                  </a:cubicBezTo>
                  <a:cubicBezTo>
                    <a:pt x="1636" y="38"/>
                    <a:pt x="1638" y="46"/>
                    <a:pt x="1636" y="52"/>
                  </a:cubicBezTo>
                  <a:cubicBezTo>
                    <a:pt x="1635" y="55"/>
                    <a:pt x="1629" y="55"/>
                    <a:pt x="1628" y="60"/>
                  </a:cubicBezTo>
                  <a:cubicBezTo>
                    <a:pt x="1640" y="53"/>
                    <a:pt x="1641" y="69"/>
                    <a:pt x="1644" y="71"/>
                  </a:cubicBezTo>
                  <a:cubicBezTo>
                    <a:pt x="1649" y="73"/>
                    <a:pt x="1655" y="66"/>
                    <a:pt x="1660" y="74"/>
                  </a:cubicBezTo>
                  <a:cubicBezTo>
                    <a:pt x="1647" y="75"/>
                    <a:pt x="1648" y="95"/>
                    <a:pt x="1633" y="93"/>
                  </a:cubicBezTo>
                  <a:cubicBezTo>
                    <a:pt x="1633" y="98"/>
                    <a:pt x="1633" y="103"/>
                    <a:pt x="1633" y="108"/>
                  </a:cubicBezTo>
                  <a:cubicBezTo>
                    <a:pt x="1637" y="108"/>
                    <a:pt x="1643" y="106"/>
                    <a:pt x="1644" y="111"/>
                  </a:cubicBezTo>
                  <a:cubicBezTo>
                    <a:pt x="1644" y="115"/>
                    <a:pt x="1646" y="116"/>
                    <a:pt x="1647" y="119"/>
                  </a:cubicBezTo>
                  <a:cubicBezTo>
                    <a:pt x="1642" y="122"/>
                    <a:pt x="1637" y="125"/>
                    <a:pt x="1631" y="126"/>
                  </a:cubicBezTo>
                  <a:cubicBezTo>
                    <a:pt x="1629" y="139"/>
                    <a:pt x="1641" y="132"/>
                    <a:pt x="1641" y="141"/>
                  </a:cubicBezTo>
                  <a:cubicBezTo>
                    <a:pt x="1649" y="136"/>
                    <a:pt x="1647" y="141"/>
                    <a:pt x="1652" y="141"/>
                  </a:cubicBezTo>
                  <a:cubicBezTo>
                    <a:pt x="1652" y="141"/>
                    <a:pt x="1653" y="138"/>
                    <a:pt x="1655" y="137"/>
                  </a:cubicBezTo>
                  <a:cubicBezTo>
                    <a:pt x="1657" y="137"/>
                    <a:pt x="1660" y="138"/>
                    <a:pt x="1660" y="141"/>
                  </a:cubicBezTo>
                  <a:cubicBezTo>
                    <a:pt x="1654" y="143"/>
                    <a:pt x="1646" y="144"/>
                    <a:pt x="1647" y="156"/>
                  </a:cubicBezTo>
                  <a:cubicBezTo>
                    <a:pt x="1654" y="158"/>
                    <a:pt x="1664" y="145"/>
                    <a:pt x="1668" y="156"/>
                  </a:cubicBezTo>
                  <a:cubicBezTo>
                    <a:pt x="1657" y="155"/>
                    <a:pt x="1652" y="162"/>
                    <a:pt x="1652" y="178"/>
                  </a:cubicBezTo>
                  <a:cubicBezTo>
                    <a:pt x="1663" y="184"/>
                    <a:pt x="1653" y="162"/>
                    <a:pt x="1660" y="163"/>
                  </a:cubicBezTo>
                  <a:cubicBezTo>
                    <a:pt x="1666" y="165"/>
                    <a:pt x="1678" y="158"/>
                    <a:pt x="1679" y="167"/>
                  </a:cubicBezTo>
                  <a:cubicBezTo>
                    <a:pt x="1678" y="179"/>
                    <a:pt x="1663" y="178"/>
                    <a:pt x="1663" y="185"/>
                  </a:cubicBezTo>
                  <a:cubicBezTo>
                    <a:pt x="1662" y="195"/>
                    <a:pt x="1655" y="189"/>
                    <a:pt x="1655" y="196"/>
                  </a:cubicBezTo>
                  <a:cubicBezTo>
                    <a:pt x="1661" y="199"/>
                    <a:pt x="1656" y="217"/>
                    <a:pt x="1657" y="226"/>
                  </a:cubicBezTo>
                  <a:cubicBezTo>
                    <a:pt x="1644" y="218"/>
                    <a:pt x="1654" y="243"/>
                    <a:pt x="1647" y="244"/>
                  </a:cubicBezTo>
                  <a:cubicBezTo>
                    <a:pt x="1648" y="231"/>
                    <a:pt x="1642" y="234"/>
                    <a:pt x="1641" y="230"/>
                  </a:cubicBezTo>
                  <a:cubicBezTo>
                    <a:pt x="1641" y="229"/>
                    <a:pt x="1646" y="230"/>
                    <a:pt x="1647" y="230"/>
                  </a:cubicBezTo>
                  <a:cubicBezTo>
                    <a:pt x="1648" y="228"/>
                    <a:pt x="1643" y="223"/>
                    <a:pt x="1644" y="222"/>
                  </a:cubicBezTo>
                  <a:cubicBezTo>
                    <a:pt x="1643" y="209"/>
                    <a:pt x="1637" y="235"/>
                    <a:pt x="1636" y="222"/>
                  </a:cubicBezTo>
                  <a:cubicBezTo>
                    <a:pt x="1636" y="208"/>
                    <a:pt x="1640" y="201"/>
                    <a:pt x="1644" y="193"/>
                  </a:cubicBezTo>
                  <a:cubicBezTo>
                    <a:pt x="1642" y="193"/>
                    <a:pt x="1640" y="192"/>
                    <a:pt x="1639" y="193"/>
                  </a:cubicBezTo>
                  <a:cubicBezTo>
                    <a:pt x="1635" y="194"/>
                    <a:pt x="1637" y="196"/>
                    <a:pt x="1636" y="200"/>
                  </a:cubicBezTo>
                  <a:cubicBezTo>
                    <a:pt x="1636" y="200"/>
                    <a:pt x="1633" y="200"/>
                    <a:pt x="1633" y="200"/>
                  </a:cubicBezTo>
                  <a:cubicBezTo>
                    <a:pt x="1632" y="203"/>
                    <a:pt x="1634" y="211"/>
                    <a:pt x="1633" y="215"/>
                  </a:cubicBezTo>
                  <a:cubicBezTo>
                    <a:pt x="1633" y="219"/>
                    <a:pt x="1630" y="220"/>
                    <a:pt x="1631" y="226"/>
                  </a:cubicBezTo>
                  <a:cubicBezTo>
                    <a:pt x="1631" y="231"/>
                    <a:pt x="1635" y="233"/>
                    <a:pt x="1633" y="241"/>
                  </a:cubicBezTo>
                  <a:cubicBezTo>
                    <a:pt x="1628" y="234"/>
                    <a:pt x="1627" y="240"/>
                    <a:pt x="1620" y="241"/>
                  </a:cubicBezTo>
                  <a:cubicBezTo>
                    <a:pt x="1620" y="231"/>
                    <a:pt x="1608" y="237"/>
                    <a:pt x="1612" y="222"/>
                  </a:cubicBezTo>
                  <a:cubicBezTo>
                    <a:pt x="1615" y="223"/>
                    <a:pt x="1617" y="227"/>
                    <a:pt x="1623" y="226"/>
                  </a:cubicBezTo>
                  <a:cubicBezTo>
                    <a:pt x="1622" y="215"/>
                    <a:pt x="1623" y="213"/>
                    <a:pt x="1628" y="218"/>
                  </a:cubicBezTo>
                  <a:cubicBezTo>
                    <a:pt x="1625" y="212"/>
                    <a:pt x="1629" y="201"/>
                    <a:pt x="1630" y="200"/>
                  </a:cubicBezTo>
                  <a:cubicBezTo>
                    <a:pt x="1629" y="199"/>
                    <a:pt x="1624" y="199"/>
                    <a:pt x="1625" y="196"/>
                  </a:cubicBezTo>
                  <a:cubicBezTo>
                    <a:pt x="1627" y="193"/>
                    <a:pt x="1637" y="199"/>
                    <a:pt x="1633" y="189"/>
                  </a:cubicBezTo>
                  <a:cubicBezTo>
                    <a:pt x="1629" y="189"/>
                    <a:pt x="1624" y="189"/>
                    <a:pt x="1620" y="189"/>
                  </a:cubicBezTo>
                  <a:cubicBezTo>
                    <a:pt x="1620" y="202"/>
                    <a:pt x="1621" y="215"/>
                    <a:pt x="1614" y="218"/>
                  </a:cubicBezTo>
                  <a:cubicBezTo>
                    <a:pt x="1614" y="211"/>
                    <a:pt x="1607" y="224"/>
                    <a:pt x="1606" y="211"/>
                  </a:cubicBezTo>
                  <a:cubicBezTo>
                    <a:pt x="1612" y="210"/>
                    <a:pt x="1618" y="210"/>
                    <a:pt x="1617" y="200"/>
                  </a:cubicBezTo>
                  <a:cubicBezTo>
                    <a:pt x="1612" y="198"/>
                    <a:pt x="1601" y="205"/>
                    <a:pt x="1601" y="196"/>
                  </a:cubicBezTo>
                  <a:cubicBezTo>
                    <a:pt x="1602" y="191"/>
                    <a:pt x="1605" y="189"/>
                    <a:pt x="1604" y="182"/>
                  </a:cubicBezTo>
                  <a:cubicBezTo>
                    <a:pt x="1590" y="179"/>
                    <a:pt x="1607" y="180"/>
                    <a:pt x="1606" y="174"/>
                  </a:cubicBezTo>
                  <a:cubicBezTo>
                    <a:pt x="1603" y="174"/>
                    <a:pt x="1599" y="175"/>
                    <a:pt x="1598" y="170"/>
                  </a:cubicBezTo>
                  <a:cubicBezTo>
                    <a:pt x="1610" y="173"/>
                    <a:pt x="1596" y="163"/>
                    <a:pt x="1604" y="163"/>
                  </a:cubicBezTo>
                  <a:cubicBezTo>
                    <a:pt x="1606" y="176"/>
                    <a:pt x="1618" y="182"/>
                    <a:pt x="1612" y="196"/>
                  </a:cubicBezTo>
                  <a:cubicBezTo>
                    <a:pt x="1622" y="199"/>
                    <a:pt x="1615" y="179"/>
                    <a:pt x="1617" y="170"/>
                  </a:cubicBezTo>
                  <a:cubicBezTo>
                    <a:pt x="1618" y="169"/>
                    <a:pt x="1624" y="171"/>
                    <a:pt x="1623" y="167"/>
                  </a:cubicBezTo>
                  <a:cubicBezTo>
                    <a:pt x="1621" y="167"/>
                    <a:pt x="1619" y="166"/>
                    <a:pt x="1620" y="163"/>
                  </a:cubicBezTo>
                  <a:cubicBezTo>
                    <a:pt x="1617" y="163"/>
                    <a:pt x="1617" y="160"/>
                    <a:pt x="1614" y="159"/>
                  </a:cubicBezTo>
                  <a:cubicBezTo>
                    <a:pt x="1613" y="164"/>
                    <a:pt x="1612" y="168"/>
                    <a:pt x="1609" y="170"/>
                  </a:cubicBezTo>
                  <a:cubicBezTo>
                    <a:pt x="1614" y="153"/>
                    <a:pt x="1602" y="159"/>
                    <a:pt x="1598" y="152"/>
                  </a:cubicBezTo>
                  <a:cubicBezTo>
                    <a:pt x="1598" y="147"/>
                    <a:pt x="1614" y="147"/>
                    <a:pt x="1604" y="141"/>
                  </a:cubicBezTo>
                  <a:cubicBezTo>
                    <a:pt x="1602" y="152"/>
                    <a:pt x="1600" y="135"/>
                    <a:pt x="1596" y="137"/>
                  </a:cubicBezTo>
                  <a:cubicBezTo>
                    <a:pt x="1596" y="143"/>
                    <a:pt x="1588" y="139"/>
                    <a:pt x="1588" y="145"/>
                  </a:cubicBezTo>
                  <a:cubicBezTo>
                    <a:pt x="1590" y="148"/>
                    <a:pt x="1597" y="146"/>
                    <a:pt x="1596" y="156"/>
                  </a:cubicBezTo>
                  <a:cubicBezTo>
                    <a:pt x="1579" y="151"/>
                    <a:pt x="1596" y="170"/>
                    <a:pt x="1588" y="174"/>
                  </a:cubicBezTo>
                  <a:cubicBezTo>
                    <a:pt x="1584" y="174"/>
                    <a:pt x="1582" y="168"/>
                    <a:pt x="1580" y="174"/>
                  </a:cubicBezTo>
                  <a:cubicBezTo>
                    <a:pt x="1591" y="170"/>
                    <a:pt x="1585" y="192"/>
                    <a:pt x="1585" y="193"/>
                  </a:cubicBezTo>
                  <a:cubicBezTo>
                    <a:pt x="1585" y="194"/>
                    <a:pt x="1592" y="192"/>
                    <a:pt x="1590" y="196"/>
                  </a:cubicBezTo>
                  <a:cubicBezTo>
                    <a:pt x="1583" y="199"/>
                    <a:pt x="1588" y="217"/>
                    <a:pt x="1580" y="218"/>
                  </a:cubicBezTo>
                  <a:cubicBezTo>
                    <a:pt x="1574" y="217"/>
                    <a:pt x="1574" y="208"/>
                    <a:pt x="1569" y="207"/>
                  </a:cubicBezTo>
                  <a:cubicBezTo>
                    <a:pt x="1568" y="210"/>
                    <a:pt x="1569" y="215"/>
                    <a:pt x="1566" y="215"/>
                  </a:cubicBezTo>
                  <a:cubicBezTo>
                    <a:pt x="1564" y="204"/>
                    <a:pt x="1570" y="205"/>
                    <a:pt x="1569" y="196"/>
                  </a:cubicBezTo>
                  <a:cubicBezTo>
                    <a:pt x="1564" y="198"/>
                    <a:pt x="1560" y="183"/>
                    <a:pt x="1566" y="182"/>
                  </a:cubicBezTo>
                  <a:cubicBezTo>
                    <a:pt x="1566" y="188"/>
                    <a:pt x="1569" y="190"/>
                    <a:pt x="1574" y="189"/>
                  </a:cubicBezTo>
                  <a:cubicBezTo>
                    <a:pt x="1573" y="199"/>
                    <a:pt x="1575" y="205"/>
                    <a:pt x="1582" y="204"/>
                  </a:cubicBezTo>
                  <a:cubicBezTo>
                    <a:pt x="1581" y="191"/>
                    <a:pt x="1575" y="199"/>
                    <a:pt x="1580" y="185"/>
                  </a:cubicBezTo>
                  <a:cubicBezTo>
                    <a:pt x="1568" y="190"/>
                    <a:pt x="1575" y="170"/>
                    <a:pt x="1569" y="167"/>
                  </a:cubicBezTo>
                  <a:cubicBezTo>
                    <a:pt x="1565" y="181"/>
                    <a:pt x="1568" y="156"/>
                    <a:pt x="1563" y="159"/>
                  </a:cubicBezTo>
                  <a:cubicBezTo>
                    <a:pt x="1558" y="172"/>
                    <a:pt x="1554" y="153"/>
                    <a:pt x="1547" y="156"/>
                  </a:cubicBezTo>
                  <a:cubicBezTo>
                    <a:pt x="1550" y="161"/>
                    <a:pt x="1548" y="171"/>
                    <a:pt x="1550" y="174"/>
                  </a:cubicBezTo>
                  <a:cubicBezTo>
                    <a:pt x="1552" y="177"/>
                    <a:pt x="1557" y="177"/>
                    <a:pt x="1558" y="182"/>
                  </a:cubicBezTo>
                  <a:cubicBezTo>
                    <a:pt x="1554" y="182"/>
                    <a:pt x="1553" y="188"/>
                    <a:pt x="1550" y="189"/>
                  </a:cubicBezTo>
                  <a:cubicBezTo>
                    <a:pt x="1547" y="176"/>
                    <a:pt x="1530" y="182"/>
                    <a:pt x="1523" y="174"/>
                  </a:cubicBezTo>
                  <a:cubicBezTo>
                    <a:pt x="1522" y="177"/>
                    <a:pt x="1521" y="178"/>
                    <a:pt x="1518" y="178"/>
                  </a:cubicBezTo>
                  <a:cubicBezTo>
                    <a:pt x="1518" y="166"/>
                    <a:pt x="1510" y="187"/>
                    <a:pt x="1510" y="174"/>
                  </a:cubicBezTo>
                  <a:cubicBezTo>
                    <a:pt x="1510" y="169"/>
                    <a:pt x="1514" y="168"/>
                    <a:pt x="1515" y="163"/>
                  </a:cubicBezTo>
                  <a:cubicBezTo>
                    <a:pt x="1504" y="168"/>
                    <a:pt x="1506" y="156"/>
                    <a:pt x="1502" y="152"/>
                  </a:cubicBezTo>
                  <a:cubicBezTo>
                    <a:pt x="1501" y="156"/>
                    <a:pt x="1501" y="161"/>
                    <a:pt x="1496" y="159"/>
                  </a:cubicBezTo>
                  <a:cubicBezTo>
                    <a:pt x="1498" y="156"/>
                    <a:pt x="1502" y="146"/>
                    <a:pt x="1493" y="148"/>
                  </a:cubicBezTo>
                  <a:cubicBezTo>
                    <a:pt x="1485" y="147"/>
                    <a:pt x="1500" y="159"/>
                    <a:pt x="1491" y="159"/>
                  </a:cubicBezTo>
                  <a:cubicBezTo>
                    <a:pt x="1489" y="154"/>
                    <a:pt x="1487" y="150"/>
                    <a:pt x="1483" y="148"/>
                  </a:cubicBezTo>
                  <a:cubicBezTo>
                    <a:pt x="1483" y="164"/>
                    <a:pt x="1458" y="151"/>
                    <a:pt x="1450" y="156"/>
                  </a:cubicBezTo>
                  <a:cubicBezTo>
                    <a:pt x="1450" y="152"/>
                    <a:pt x="1450" y="148"/>
                    <a:pt x="1450" y="145"/>
                  </a:cubicBezTo>
                  <a:cubicBezTo>
                    <a:pt x="1445" y="143"/>
                    <a:pt x="1445" y="151"/>
                    <a:pt x="1442" y="152"/>
                  </a:cubicBezTo>
                  <a:cubicBezTo>
                    <a:pt x="1438" y="154"/>
                    <a:pt x="1433" y="151"/>
                    <a:pt x="1429" y="152"/>
                  </a:cubicBezTo>
                  <a:cubicBezTo>
                    <a:pt x="1428" y="150"/>
                    <a:pt x="1430" y="142"/>
                    <a:pt x="1429" y="141"/>
                  </a:cubicBezTo>
                  <a:cubicBezTo>
                    <a:pt x="1425" y="137"/>
                    <a:pt x="1406" y="140"/>
                    <a:pt x="1391" y="137"/>
                  </a:cubicBezTo>
                  <a:cubicBezTo>
                    <a:pt x="1388" y="137"/>
                    <a:pt x="1388" y="134"/>
                    <a:pt x="1383" y="133"/>
                  </a:cubicBezTo>
                  <a:cubicBezTo>
                    <a:pt x="1375" y="133"/>
                    <a:pt x="1377" y="140"/>
                    <a:pt x="1373" y="133"/>
                  </a:cubicBezTo>
                  <a:cubicBezTo>
                    <a:pt x="1370" y="130"/>
                    <a:pt x="1351" y="133"/>
                    <a:pt x="1354" y="137"/>
                  </a:cubicBezTo>
                  <a:cubicBezTo>
                    <a:pt x="1355" y="144"/>
                    <a:pt x="1366" y="137"/>
                    <a:pt x="1367" y="145"/>
                  </a:cubicBezTo>
                  <a:cubicBezTo>
                    <a:pt x="1362" y="152"/>
                    <a:pt x="1368" y="161"/>
                    <a:pt x="1367" y="163"/>
                  </a:cubicBezTo>
                  <a:cubicBezTo>
                    <a:pt x="1367" y="164"/>
                    <a:pt x="1362" y="162"/>
                    <a:pt x="1362" y="163"/>
                  </a:cubicBezTo>
                  <a:cubicBezTo>
                    <a:pt x="1361" y="164"/>
                    <a:pt x="1362" y="170"/>
                    <a:pt x="1362" y="170"/>
                  </a:cubicBezTo>
                  <a:cubicBezTo>
                    <a:pt x="1359" y="172"/>
                    <a:pt x="1354" y="170"/>
                    <a:pt x="1354" y="167"/>
                  </a:cubicBezTo>
                  <a:cubicBezTo>
                    <a:pt x="1357" y="166"/>
                    <a:pt x="1360" y="166"/>
                    <a:pt x="1359" y="159"/>
                  </a:cubicBezTo>
                  <a:cubicBezTo>
                    <a:pt x="1352" y="162"/>
                    <a:pt x="1349" y="158"/>
                    <a:pt x="1351" y="148"/>
                  </a:cubicBezTo>
                  <a:cubicBezTo>
                    <a:pt x="1354" y="153"/>
                    <a:pt x="1364" y="154"/>
                    <a:pt x="1364" y="145"/>
                  </a:cubicBezTo>
                  <a:cubicBezTo>
                    <a:pt x="1352" y="148"/>
                    <a:pt x="1351" y="136"/>
                    <a:pt x="1346" y="130"/>
                  </a:cubicBezTo>
                  <a:cubicBezTo>
                    <a:pt x="1345" y="135"/>
                    <a:pt x="1347" y="138"/>
                    <a:pt x="1348" y="141"/>
                  </a:cubicBezTo>
                  <a:cubicBezTo>
                    <a:pt x="1345" y="141"/>
                    <a:pt x="1342" y="143"/>
                    <a:pt x="1340" y="145"/>
                  </a:cubicBezTo>
                  <a:cubicBezTo>
                    <a:pt x="1339" y="140"/>
                    <a:pt x="1332" y="144"/>
                    <a:pt x="1329" y="141"/>
                  </a:cubicBezTo>
                  <a:cubicBezTo>
                    <a:pt x="1328" y="139"/>
                    <a:pt x="1330" y="132"/>
                    <a:pt x="1327" y="133"/>
                  </a:cubicBezTo>
                  <a:cubicBezTo>
                    <a:pt x="1322" y="151"/>
                    <a:pt x="1306" y="131"/>
                    <a:pt x="1297" y="141"/>
                  </a:cubicBezTo>
                  <a:cubicBezTo>
                    <a:pt x="1297" y="136"/>
                    <a:pt x="1298" y="133"/>
                    <a:pt x="1300" y="130"/>
                  </a:cubicBezTo>
                  <a:cubicBezTo>
                    <a:pt x="1291" y="132"/>
                    <a:pt x="1293" y="117"/>
                    <a:pt x="1286" y="126"/>
                  </a:cubicBezTo>
                  <a:cubicBezTo>
                    <a:pt x="1287" y="121"/>
                    <a:pt x="1285" y="118"/>
                    <a:pt x="1284" y="115"/>
                  </a:cubicBezTo>
                  <a:cubicBezTo>
                    <a:pt x="1283" y="112"/>
                    <a:pt x="1284" y="108"/>
                    <a:pt x="1281" y="108"/>
                  </a:cubicBezTo>
                  <a:cubicBezTo>
                    <a:pt x="1281" y="117"/>
                    <a:pt x="1280" y="123"/>
                    <a:pt x="1276" y="126"/>
                  </a:cubicBezTo>
                  <a:cubicBezTo>
                    <a:pt x="1268" y="131"/>
                    <a:pt x="1262" y="116"/>
                    <a:pt x="1260" y="126"/>
                  </a:cubicBezTo>
                  <a:cubicBezTo>
                    <a:pt x="1262" y="127"/>
                    <a:pt x="1263" y="129"/>
                    <a:pt x="1262" y="133"/>
                  </a:cubicBezTo>
                  <a:cubicBezTo>
                    <a:pt x="1255" y="133"/>
                    <a:pt x="1248" y="133"/>
                    <a:pt x="1241" y="133"/>
                  </a:cubicBezTo>
                  <a:cubicBezTo>
                    <a:pt x="1248" y="120"/>
                    <a:pt x="1234" y="134"/>
                    <a:pt x="1225" y="130"/>
                  </a:cubicBezTo>
                  <a:cubicBezTo>
                    <a:pt x="1225" y="109"/>
                    <a:pt x="1222" y="127"/>
                    <a:pt x="1219" y="126"/>
                  </a:cubicBezTo>
                  <a:cubicBezTo>
                    <a:pt x="1217" y="125"/>
                    <a:pt x="1220" y="119"/>
                    <a:pt x="1217" y="119"/>
                  </a:cubicBezTo>
                  <a:cubicBezTo>
                    <a:pt x="1216" y="119"/>
                    <a:pt x="1216" y="126"/>
                    <a:pt x="1214" y="126"/>
                  </a:cubicBezTo>
                  <a:cubicBezTo>
                    <a:pt x="1213" y="126"/>
                    <a:pt x="1211" y="117"/>
                    <a:pt x="1208" y="119"/>
                  </a:cubicBezTo>
                  <a:cubicBezTo>
                    <a:pt x="1208" y="122"/>
                    <a:pt x="1208" y="126"/>
                    <a:pt x="1206" y="126"/>
                  </a:cubicBezTo>
                  <a:cubicBezTo>
                    <a:pt x="1205" y="122"/>
                    <a:pt x="1206" y="116"/>
                    <a:pt x="1203" y="115"/>
                  </a:cubicBezTo>
                  <a:cubicBezTo>
                    <a:pt x="1197" y="120"/>
                    <a:pt x="1207" y="124"/>
                    <a:pt x="1200" y="126"/>
                  </a:cubicBezTo>
                  <a:cubicBezTo>
                    <a:pt x="1197" y="125"/>
                    <a:pt x="1197" y="120"/>
                    <a:pt x="1198" y="115"/>
                  </a:cubicBezTo>
                  <a:cubicBezTo>
                    <a:pt x="1190" y="116"/>
                    <a:pt x="1179" y="112"/>
                    <a:pt x="1179" y="122"/>
                  </a:cubicBezTo>
                  <a:cubicBezTo>
                    <a:pt x="1182" y="123"/>
                    <a:pt x="1187" y="122"/>
                    <a:pt x="1187" y="126"/>
                  </a:cubicBezTo>
                  <a:cubicBezTo>
                    <a:pt x="1182" y="126"/>
                    <a:pt x="1178" y="126"/>
                    <a:pt x="1173" y="126"/>
                  </a:cubicBezTo>
                  <a:cubicBezTo>
                    <a:pt x="1170" y="121"/>
                    <a:pt x="1172" y="105"/>
                    <a:pt x="1165" y="115"/>
                  </a:cubicBezTo>
                  <a:cubicBezTo>
                    <a:pt x="1169" y="103"/>
                    <a:pt x="1161" y="106"/>
                    <a:pt x="1160" y="100"/>
                  </a:cubicBezTo>
                  <a:cubicBezTo>
                    <a:pt x="1164" y="100"/>
                    <a:pt x="1170" y="101"/>
                    <a:pt x="1171" y="96"/>
                  </a:cubicBezTo>
                  <a:cubicBezTo>
                    <a:pt x="1163" y="97"/>
                    <a:pt x="1168" y="78"/>
                    <a:pt x="1160" y="78"/>
                  </a:cubicBezTo>
                  <a:cubicBezTo>
                    <a:pt x="1157" y="87"/>
                    <a:pt x="1168" y="93"/>
                    <a:pt x="1160" y="96"/>
                  </a:cubicBezTo>
                  <a:cubicBezTo>
                    <a:pt x="1158" y="94"/>
                    <a:pt x="1145" y="88"/>
                    <a:pt x="1144" y="96"/>
                  </a:cubicBezTo>
                  <a:cubicBezTo>
                    <a:pt x="1147" y="100"/>
                    <a:pt x="1151" y="101"/>
                    <a:pt x="1157" y="100"/>
                  </a:cubicBezTo>
                  <a:cubicBezTo>
                    <a:pt x="1161" y="105"/>
                    <a:pt x="1161" y="118"/>
                    <a:pt x="1155" y="119"/>
                  </a:cubicBezTo>
                  <a:cubicBezTo>
                    <a:pt x="1154" y="112"/>
                    <a:pt x="1145" y="98"/>
                    <a:pt x="1141" y="108"/>
                  </a:cubicBezTo>
                  <a:cubicBezTo>
                    <a:pt x="1144" y="109"/>
                    <a:pt x="1145" y="112"/>
                    <a:pt x="1147" y="115"/>
                  </a:cubicBezTo>
                  <a:cubicBezTo>
                    <a:pt x="1149" y="118"/>
                    <a:pt x="1152" y="119"/>
                    <a:pt x="1155" y="122"/>
                  </a:cubicBezTo>
                  <a:cubicBezTo>
                    <a:pt x="1156" y="123"/>
                    <a:pt x="1154" y="128"/>
                    <a:pt x="1155" y="130"/>
                  </a:cubicBezTo>
                  <a:cubicBezTo>
                    <a:pt x="1156" y="132"/>
                    <a:pt x="1161" y="129"/>
                    <a:pt x="1160" y="133"/>
                  </a:cubicBezTo>
                  <a:cubicBezTo>
                    <a:pt x="1155" y="134"/>
                    <a:pt x="1162" y="140"/>
                    <a:pt x="1157" y="141"/>
                  </a:cubicBezTo>
                  <a:cubicBezTo>
                    <a:pt x="1151" y="135"/>
                    <a:pt x="1147" y="142"/>
                    <a:pt x="1144" y="137"/>
                  </a:cubicBezTo>
                  <a:cubicBezTo>
                    <a:pt x="1140" y="131"/>
                    <a:pt x="1131" y="142"/>
                    <a:pt x="1131" y="141"/>
                  </a:cubicBezTo>
                  <a:cubicBezTo>
                    <a:pt x="1134" y="132"/>
                    <a:pt x="1120" y="129"/>
                    <a:pt x="1128" y="126"/>
                  </a:cubicBezTo>
                  <a:cubicBezTo>
                    <a:pt x="1134" y="127"/>
                    <a:pt x="1139" y="134"/>
                    <a:pt x="1141" y="122"/>
                  </a:cubicBezTo>
                  <a:cubicBezTo>
                    <a:pt x="1134" y="123"/>
                    <a:pt x="1132" y="117"/>
                    <a:pt x="1133" y="108"/>
                  </a:cubicBezTo>
                  <a:cubicBezTo>
                    <a:pt x="1124" y="111"/>
                    <a:pt x="1113" y="109"/>
                    <a:pt x="1098" y="104"/>
                  </a:cubicBezTo>
                  <a:cubicBezTo>
                    <a:pt x="1092" y="109"/>
                    <a:pt x="1102" y="113"/>
                    <a:pt x="1096" y="115"/>
                  </a:cubicBezTo>
                  <a:cubicBezTo>
                    <a:pt x="1091" y="115"/>
                    <a:pt x="1086" y="114"/>
                    <a:pt x="1087" y="122"/>
                  </a:cubicBezTo>
                  <a:cubicBezTo>
                    <a:pt x="1097" y="123"/>
                    <a:pt x="1095" y="117"/>
                    <a:pt x="1098" y="122"/>
                  </a:cubicBezTo>
                  <a:cubicBezTo>
                    <a:pt x="1099" y="123"/>
                    <a:pt x="1103" y="122"/>
                    <a:pt x="1104" y="122"/>
                  </a:cubicBezTo>
                  <a:cubicBezTo>
                    <a:pt x="1109" y="123"/>
                    <a:pt x="1123" y="119"/>
                    <a:pt x="1122" y="130"/>
                  </a:cubicBezTo>
                  <a:cubicBezTo>
                    <a:pt x="1119" y="130"/>
                    <a:pt x="1120" y="136"/>
                    <a:pt x="1117" y="137"/>
                  </a:cubicBezTo>
                  <a:cubicBezTo>
                    <a:pt x="1117" y="135"/>
                    <a:pt x="1117" y="132"/>
                    <a:pt x="1117" y="130"/>
                  </a:cubicBezTo>
                  <a:cubicBezTo>
                    <a:pt x="1104" y="125"/>
                    <a:pt x="1081" y="135"/>
                    <a:pt x="1085" y="108"/>
                  </a:cubicBezTo>
                  <a:cubicBezTo>
                    <a:pt x="1079" y="105"/>
                    <a:pt x="1073" y="95"/>
                    <a:pt x="1071" y="108"/>
                  </a:cubicBezTo>
                  <a:cubicBezTo>
                    <a:pt x="1076" y="105"/>
                    <a:pt x="1083" y="115"/>
                    <a:pt x="1077" y="115"/>
                  </a:cubicBezTo>
                  <a:cubicBezTo>
                    <a:pt x="1069" y="112"/>
                    <a:pt x="1070" y="101"/>
                    <a:pt x="1063" y="100"/>
                  </a:cubicBezTo>
                  <a:cubicBezTo>
                    <a:pt x="1063" y="100"/>
                    <a:pt x="1063" y="106"/>
                    <a:pt x="1061" y="104"/>
                  </a:cubicBezTo>
                  <a:cubicBezTo>
                    <a:pt x="1059" y="103"/>
                    <a:pt x="1060" y="94"/>
                    <a:pt x="1058" y="93"/>
                  </a:cubicBezTo>
                  <a:cubicBezTo>
                    <a:pt x="1055" y="91"/>
                    <a:pt x="1050" y="94"/>
                    <a:pt x="1047" y="93"/>
                  </a:cubicBezTo>
                  <a:cubicBezTo>
                    <a:pt x="1048" y="102"/>
                    <a:pt x="1043" y="104"/>
                    <a:pt x="1039" y="108"/>
                  </a:cubicBezTo>
                  <a:cubicBezTo>
                    <a:pt x="1041" y="93"/>
                    <a:pt x="1031" y="110"/>
                    <a:pt x="1028" y="111"/>
                  </a:cubicBezTo>
                  <a:cubicBezTo>
                    <a:pt x="1028" y="111"/>
                    <a:pt x="1029" y="104"/>
                    <a:pt x="1028" y="104"/>
                  </a:cubicBezTo>
                  <a:cubicBezTo>
                    <a:pt x="1025" y="99"/>
                    <a:pt x="1017" y="111"/>
                    <a:pt x="1020" y="115"/>
                  </a:cubicBezTo>
                  <a:cubicBezTo>
                    <a:pt x="1031" y="116"/>
                    <a:pt x="1046" y="111"/>
                    <a:pt x="1050" y="122"/>
                  </a:cubicBezTo>
                  <a:cubicBezTo>
                    <a:pt x="1039" y="118"/>
                    <a:pt x="1033" y="124"/>
                    <a:pt x="1018" y="122"/>
                  </a:cubicBezTo>
                  <a:cubicBezTo>
                    <a:pt x="1015" y="105"/>
                    <a:pt x="1020" y="94"/>
                    <a:pt x="1012" y="89"/>
                  </a:cubicBezTo>
                  <a:cubicBezTo>
                    <a:pt x="1008" y="103"/>
                    <a:pt x="1014" y="113"/>
                    <a:pt x="1009" y="119"/>
                  </a:cubicBezTo>
                  <a:cubicBezTo>
                    <a:pt x="1007" y="114"/>
                    <a:pt x="1008" y="111"/>
                    <a:pt x="1007" y="104"/>
                  </a:cubicBezTo>
                  <a:cubicBezTo>
                    <a:pt x="1006" y="101"/>
                    <a:pt x="1004" y="101"/>
                    <a:pt x="1004" y="100"/>
                  </a:cubicBezTo>
                  <a:cubicBezTo>
                    <a:pt x="1003" y="97"/>
                    <a:pt x="1007" y="95"/>
                    <a:pt x="1007" y="93"/>
                  </a:cubicBezTo>
                  <a:cubicBezTo>
                    <a:pt x="1006" y="90"/>
                    <a:pt x="999" y="89"/>
                    <a:pt x="1001" y="82"/>
                  </a:cubicBezTo>
                  <a:cubicBezTo>
                    <a:pt x="1005" y="81"/>
                    <a:pt x="1009" y="82"/>
                    <a:pt x="1009" y="78"/>
                  </a:cubicBezTo>
                  <a:cubicBezTo>
                    <a:pt x="1006" y="78"/>
                    <a:pt x="1002" y="78"/>
                    <a:pt x="999" y="78"/>
                  </a:cubicBezTo>
                  <a:cubicBezTo>
                    <a:pt x="999" y="84"/>
                    <a:pt x="998" y="89"/>
                    <a:pt x="996" y="93"/>
                  </a:cubicBezTo>
                  <a:cubicBezTo>
                    <a:pt x="998" y="94"/>
                    <a:pt x="1008" y="103"/>
                    <a:pt x="1001" y="104"/>
                  </a:cubicBezTo>
                  <a:cubicBezTo>
                    <a:pt x="993" y="107"/>
                    <a:pt x="998" y="92"/>
                    <a:pt x="991" y="93"/>
                  </a:cubicBezTo>
                  <a:cubicBezTo>
                    <a:pt x="982" y="104"/>
                    <a:pt x="968" y="88"/>
                    <a:pt x="966" y="96"/>
                  </a:cubicBezTo>
                  <a:cubicBezTo>
                    <a:pt x="970" y="98"/>
                    <a:pt x="972" y="100"/>
                    <a:pt x="975" y="104"/>
                  </a:cubicBezTo>
                  <a:cubicBezTo>
                    <a:pt x="972" y="107"/>
                    <a:pt x="974" y="111"/>
                    <a:pt x="972" y="122"/>
                  </a:cubicBezTo>
                  <a:cubicBezTo>
                    <a:pt x="970" y="124"/>
                    <a:pt x="959" y="131"/>
                    <a:pt x="958" y="122"/>
                  </a:cubicBezTo>
                  <a:cubicBezTo>
                    <a:pt x="958" y="115"/>
                    <a:pt x="962" y="115"/>
                    <a:pt x="964" y="111"/>
                  </a:cubicBezTo>
                  <a:cubicBezTo>
                    <a:pt x="959" y="110"/>
                    <a:pt x="965" y="105"/>
                    <a:pt x="961" y="104"/>
                  </a:cubicBezTo>
                  <a:cubicBezTo>
                    <a:pt x="959" y="113"/>
                    <a:pt x="952" y="91"/>
                    <a:pt x="950" y="108"/>
                  </a:cubicBezTo>
                  <a:cubicBezTo>
                    <a:pt x="952" y="108"/>
                    <a:pt x="956" y="108"/>
                    <a:pt x="956" y="111"/>
                  </a:cubicBezTo>
                  <a:cubicBezTo>
                    <a:pt x="951" y="111"/>
                    <a:pt x="947" y="109"/>
                    <a:pt x="945" y="104"/>
                  </a:cubicBezTo>
                  <a:cubicBezTo>
                    <a:pt x="947" y="95"/>
                    <a:pt x="949" y="87"/>
                    <a:pt x="940" y="85"/>
                  </a:cubicBezTo>
                  <a:cubicBezTo>
                    <a:pt x="937" y="99"/>
                    <a:pt x="947" y="108"/>
                    <a:pt x="937" y="111"/>
                  </a:cubicBezTo>
                  <a:cubicBezTo>
                    <a:pt x="935" y="94"/>
                    <a:pt x="924" y="96"/>
                    <a:pt x="918" y="108"/>
                  </a:cubicBezTo>
                  <a:cubicBezTo>
                    <a:pt x="917" y="99"/>
                    <a:pt x="919" y="93"/>
                    <a:pt x="921" y="89"/>
                  </a:cubicBezTo>
                  <a:cubicBezTo>
                    <a:pt x="912" y="83"/>
                    <a:pt x="904" y="87"/>
                    <a:pt x="894" y="89"/>
                  </a:cubicBezTo>
                  <a:cubicBezTo>
                    <a:pt x="890" y="84"/>
                    <a:pt x="890" y="75"/>
                    <a:pt x="894" y="71"/>
                  </a:cubicBezTo>
                  <a:cubicBezTo>
                    <a:pt x="890" y="71"/>
                    <a:pt x="887" y="71"/>
                    <a:pt x="883" y="71"/>
                  </a:cubicBezTo>
                  <a:cubicBezTo>
                    <a:pt x="881" y="82"/>
                    <a:pt x="892" y="75"/>
                    <a:pt x="889" y="89"/>
                  </a:cubicBezTo>
                  <a:cubicBezTo>
                    <a:pt x="875" y="87"/>
                    <a:pt x="875" y="90"/>
                    <a:pt x="867" y="82"/>
                  </a:cubicBezTo>
                  <a:cubicBezTo>
                    <a:pt x="865" y="94"/>
                    <a:pt x="858" y="80"/>
                    <a:pt x="856" y="82"/>
                  </a:cubicBezTo>
                  <a:cubicBezTo>
                    <a:pt x="854" y="83"/>
                    <a:pt x="856" y="95"/>
                    <a:pt x="851" y="93"/>
                  </a:cubicBezTo>
                  <a:cubicBezTo>
                    <a:pt x="853" y="81"/>
                    <a:pt x="847" y="81"/>
                    <a:pt x="843" y="78"/>
                  </a:cubicBezTo>
                  <a:cubicBezTo>
                    <a:pt x="841" y="96"/>
                    <a:pt x="839" y="103"/>
                    <a:pt x="843" y="115"/>
                  </a:cubicBezTo>
                  <a:cubicBezTo>
                    <a:pt x="838" y="115"/>
                    <a:pt x="834" y="115"/>
                    <a:pt x="829" y="115"/>
                  </a:cubicBezTo>
                  <a:cubicBezTo>
                    <a:pt x="829" y="109"/>
                    <a:pt x="829" y="103"/>
                    <a:pt x="827" y="100"/>
                  </a:cubicBezTo>
                  <a:cubicBezTo>
                    <a:pt x="829" y="94"/>
                    <a:pt x="840" y="101"/>
                    <a:pt x="837" y="89"/>
                  </a:cubicBezTo>
                  <a:cubicBezTo>
                    <a:pt x="830" y="90"/>
                    <a:pt x="826" y="88"/>
                    <a:pt x="827" y="78"/>
                  </a:cubicBezTo>
                  <a:cubicBezTo>
                    <a:pt x="818" y="75"/>
                    <a:pt x="823" y="91"/>
                    <a:pt x="813" y="85"/>
                  </a:cubicBezTo>
                  <a:cubicBezTo>
                    <a:pt x="817" y="72"/>
                    <a:pt x="806" y="62"/>
                    <a:pt x="802" y="71"/>
                  </a:cubicBezTo>
                  <a:cubicBezTo>
                    <a:pt x="808" y="70"/>
                    <a:pt x="811" y="74"/>
                    <a:pt x="810" y="82"/>
                  </a:cubicBezTo>
                  <a:cubicBezTo>
                    <a:pt x="807" y="85"/>
                    <a:pt x="801" y="85"/>
                    <a:pt x="797" y="89"/>
                  </a:cubicBezTo>
                  <a:cubicBezTo>
                    <a:pt x="797" y="82"/>
                    <a:pt x="797" y="74"/>
                    <a:pt x="797" y="67"/>
                  </a:cubicBezTo>
                  <a:cubicBezTo>
                    <a:pt x="784" y="67"/>
                    <a:pt x="795" y="82"/>
                    <a:pt x="789" y="85"/>
                  </a:cubicBezTo>
                  <a:cubicBezTo>
                    <a:pt x="776" y="81"/>
                    <a:pt x="771" y="88"/>
                    <a:pt x="765" y="78"/>
                  </a:cubicBezTo>
                  <a:cubicBezTo>
                    <a:pt x="758" y="79"/>
                    <a:pt x="755" y="84"/>
                    <a:pt x="746" y="82"/>
                  </a:cubicBezTo>
                  <a:cubicBezTo>
                    <a:pt x="746" y="78"/>
                    <a:pt x="744" y="77"/>
                    <a:pt x="743" y="74"/>
                  </a:cubicBezTo>
                  <a:cubicBezTo>
                    <a:pt x="744" y="70"/>
                    <a:pt x="747" y="67"/>
                    <a:pt x="741" y="67"/>
                  </a:cubicBezTo>
                  <a:cubicBezTo>
                    <a:pt x="732" y="66"/>
                    <a:pt x="747" y="78"/>
                    <a:pt x="738" y="78"/>
                  </a:cubicBezTo>
                  <a:cubicBezTo>
                    <a:pt x="733" y="78"/>
                    <a:pt x="736" y="66"/>
                    <a:pt x="730" y="67"/>
                  </a:cubicBezTo>
                  <a:cubicBezTo>
                    <a:pt x="729" y="71"/>
                    <a:pt x="727" y="73"/>
                    <a:pt x="724" y="74"/>
                  </a:cubicBezTo>
                  <a:cubicBezTo>
                    <a:pt x="718" y="57"/>
                    <a:pt x="687" y="71"/>
                    <a:pt x="681" y="52"/>
                  </a:cubicBezTo>
                  <a:cubicBezTo>
                    <a:pt x="691" y="55"/>
                    <a:pt x="692" y="44"/>
                    <a:pt x="700" y="45"/>
                  </a:cubicBezTo>
                  <a:cubicBezTo>
                    <a:pt x="700" y="48"/>
                    <a:pt x="700" y="52"/>
                    <a:pt x="700" y="56"/>
                  </a:cubicBezTo>
                  <a:cubicBezTo>
                    <a:pt x="707" y="55"/>
                    <a:pt x="710" y="49"/>
                    <a:pt x="714" y="45"/>
                  </a:cubicBezTo>
                  <a:cubicBezTo>
                    <a:pt x="710" y="41"/>
                    <a:pt x="707" y="34"/>
                    <a:pt x="703" y="30"/>
                  </a:cubicBezTo>
                  <a:cubicBezTo>
                    <a:pt x="702" y="34"/>
                    <a:pt x="700" y="38"/>
                    <a:pt x="698" y="41"/>
                  </a:cubicBezTo>
                  <a:cubicBezTo>
                    <a:pt x="697" y="31"/>
                    <a:pt x="693" y="46"/>
                    <a:pt x="687" y="41"/>
                  </a:cubicBezTo>
                  <a:cubicBezTo>
                    <a:pt x="687" y="35"/>
                    <a:pt x="680" y="38"/>
                    <a:pt x="681" y="30"/>
                  </a:cubicBezTo>
                  <a:cubicBezTo>
                    <a:pt x="673" y="25"/>
                    <a:pt x="679" y="42"/>
                    <a:pt x="671" y="37"/>
                  </a:cubicBezTo>
                  <a:cubicBezTo>
                    <a:pt x="667" y="38"/>
                    <a:pt x="668" y="30"/>
                    <a:pt x="665" y="30"/>
                  </a:cubicBezTo>
                  <a:cubicBezTo>
                    <a:pt x="664" y="30"/>
                    <a:pt x="664" y="36"/>
                    <a:pt x="660" y="34"/>
                  </a:cubicBezTo>
                  <a:cubicBezTo>
                    <a:pt x="659" y="33"/>
                    <a:pt x="660" y="27"/>
                    <a:pt x="660" y="26"/>
                  </a:cubicBezTo>
                  <a:cubicBezTo>
                    <a:pt x="646" y="29"/>
                    <a:pt x="636" y="25"/>
                    <a:pt x="630" y="15"/>
                  </a:cubicBezTo>
                  <a:cubicBezTo>
                    <a:pt x="631" y="22"/>
                    <a:pt x="627" y="22"/>
                    <a:pt x="625" y="26"/>
                  </a:cubicBezTo>
                  <a:cubicBezTo>
                    <a:pt x="626" y="26"/>
                    <a:pt x="628" y="29"/>
                    <a:pt x="625" y="30"/>
                  </a:cubicBezTo>
                  <a:cubicBezTo>
                    <a:pt x="625" y="26"/>
                    <a:pt x="621" y="24"/>
                    <a:pt x="625" y="22"/>
                  </a:cubicBezTo>
                  <a:cubicBezTo>
                    <a:pt x="626" y="18"/>
                    <a:pt x="629" y="15"/>
                    <a:pt x="622" y="15"/>
                  </a:cubicBezTo>
                  <a:cubicBezTo>
                    <a:pt x="618" y="15"/>
                    <a:pt x="621" y="25"/>
                    <a:pt x="617" y="26"/>
                  </a:cubicBezTo>
                  <a:cubicBezTo>
                    <a:pt x="608" y="12"/>
                    <a:pt x="600" y="36"/>
                    <a:pt x="593" y="34"/>
                  </a:cubicBezTo>
                  <a:cubicBezTo>
                    <a:pt x="591" y="33"/>
                    <a:pt x="590" y="22"/>
                    <a:pt x="587" y="22"/>
                  </a:cubicBezTo>
                  <a:cubicBezTo>
                    <a:pt x="587" y="28"/>
                    <a:pt x="588" y="36"/>
                    <a:pt x="585" y="37"/>
                  </a:cubicBezTo>
                  <a:cubicBezTo>
                    <a:pt x="584" y="33"/>
                    <a:pt x="580" y="33"/>
                    <a:pt x="577" y="34"/>
                  </a:cubicBezTo>
                  <a:cubicBezTo>
                    <a:pt x="578" y="24"/>
                    <a:pt x="571" y="26"/>
                    <a:pt x="568" y="22"/>
                  </a:cubicBezTo>
                  <a:cubicBezTo>
                    <a:pt x="568" y="26"/>
                    <a:pt x="566" y="27"/>
                    <a:pt x="566" y="30"/>
                  </a:cubicBezTo>
                  <a:cubicBezTo>
                    <a:pt x="566" y="34"/>
                    <a:pt x="570" y="36"/>
                    <a:pt x="566" y="37"/>
                  </a:cubicBezTo>
                  <a:cubicBezTo>
                    <a:pt x="565" y="32"/>
                    <a:pt x="562" y="30"/>
                    <a:pt x="563" y="22"/>
                  </a:cubicBezTo>
                  <a:cubicBezTo>
                    <a:pt x="557" y="30"/>
                    <a:pt x="548" y="16"/>
                    <a:pt x="542" y="26"/>
                  </a:cubicBezTo>
                  <a:cubicBezTo>
                    <a:pt x="544" y="30"/>
                    <a:pt x="547" y="34"/>
                    <a:pt x="550" y="37"/>
                  </a:cubicBezTo>
                  <a:cubicBezTo>
                    <a:pt x="541" y="38"/>
                    <a:pt x="542" y="26"/>
                    <a:pt x="531" y="30"/>
                  </a:cubicBezTo>
                  <a:cubicBezTo>
                    <a:pt x="528" y="24"/>
                    <a:pt x="527" y="18"/>
                    <a:pt x="520" y="19"/>
                  </a:cubicBezTo>
                  <a:cubicBezTo>
                    <a:pt x="519" y="16"/>
                    <a:pt x="520" y="12"/>
                    <a:pt x="517" y="11"/>
                  </a:cubicBezTo>
                  <a:cubicBezTo>
                    <a:pt x="519" y="29"/>
                    <a:pt x="509" y="18"/>
                    <a:pt x="515" y="26"/>
                  </a:cubicBezTo>
                  <a:cubicBezTo>
                    <a:pt x="516" y="28"/>
                    <a:pt x="517" y="34"/>
                    <a:pt x="515" y="34"/>
                  </a:cubicBezTo>
                  <a:cubicBezTo>
                    <a:pt x="510" y="32"/>
                    <a:pt x="513" y="19"/>
                    <a:pt x="504" y="22"/>
                  </a:cubicBezTo>
                  <a:cubicBezTo>
                    <a:pt x="501" y="29"/>
                    <a:pt x="512" y="35"/>
                    <a:pt x="504" y="37"/>
                  </a:cubicBezTo>
                  <a:cubicBezTo>
                    <a:pt x="500" y="33"/>
                    <a:pt x="503" y="19"/>
                    <a:pt x="496" y="19"/>
                  </a:cubicBezTo>
                  <a:cubicBezTo>
                    <a:pt x="497" y="29"/>
                    <a:pt x="486" y="10"/>
                    <a:pt x="485" y="22"/>
                  </a:cubicBezTo>
                  <a:cubicBezTo>
                    <a:pt x="489" y="25"/>
                    <a:pt x="492" y="28"/>
                    <a:pt x="493" y="34"/>
                  </a:cubicBezTo>
                  <a:cubicBezTo>
                    <a:pt x="487" y="29"/>
                    <a:pt x="483" y="43"/>
                    <a:pt x="482" y="34"/>
                  </a:cubicBezTo>
                  <a:cubicBezTo>
                    <a:pt x="482" y="29"/>
                    <a:pt x="487" y="30"/>
                    <a:pt x="488" y="26"/>
                  </a:cubicBezTo>
                  <a:cubicBezTo>
                    <a:pt x="488" y="26"/>
                    <a:pt x="482" y="22"/>
                    <a:pt x="482" y="19"/>
                  </a:cubicBezTo>
                  <a:cubicBezTo>
                    <a:pt x="483" y="17"/>
                    <a:pt x="489" y="15"/>
                    <a:pt x="488" y="11"/>
                  </a:cubicBezTo>
                  <a:cubicBezTo>
                    <a:pt x="479" y="8"/>
                    <a:pt x="484" y="24"/>
                    <a:pt x="477" y="22"/>
                  </a:cubicBezTo>
                  <a:cubicBezTo>
                    <a:pt x="467" y="27"/>
                    <a:pt x="462" y="15"/>
                    <a:pt x="458" y="22"/>
                  </a:cubicBezTo>
                  <a:cubicBezTo>
                    <a:pt x="459" y="22"/>
                    <a:pt x="462" y="26"/>
                    <a:pt x="458" y="26"/>
                  </a:cubicBezTo>
                  <a:cubicBezTo>
                    <a:pt x="459" y="16"/>
                    <a:pt x="441" y="31"/>
                    <a:pt x="445" y="15"/>
                  </a:cubicBezTo>
                  <a:cubicBezTo>
                    <a:pt x="440" y="14"/>
                    <a:pt x="439" y="20"/>
                    <a:pt x="437" y="22"/>
                  </a:cubicBezTo>
                  <a:cubicBezTo>
                    <a:pt x="435" y="18"/>
                    <a:pt x="434" y="14"/>
                    <a:pt x="431" y="11"/>
                  </a:cubicBezTo>
                  <a:cubicBezTo>
                    <a:pt x="425" y="29"/>
                    <a:pt x="405" y="19"/>
                    <a:pt x="399" y="30"/>
                  </a:cubicBezTo>
                  <a:cubicBezTo>
                    <a:pt x="397" y="25"/>
                    <a:pt x="393" y="23"/>
                    <a:pt x="388" y="22"/>
                  </a:cubicBezTo>
                  <a:cubicBezTo>
                    <a:pt x="388" y="18"/>
                    <a:pt x="388" y="14"/>
                    <a:pt x="383" y="15"/>
                  </a:cubicBezTo>
                  <a:cubicBezTo>
                    <a:pt x="378" y="18"/>
                    <a:pt x="379" y="29"/>
                    <a:pt x="372" y="30"/>
                  </a:cubicBezTo>
                  <a:cubicBezTo>
                    <a:pt x="372" y="26"/>
                    <a:pt x="370" y="26"/>
                    <a:pt x="367" y="26"/>
                  </a:cubicBezTo>
                  <a:cubicBezTo>
                    <a:pt x="364" y="26"/>
                    <a:pt x="365" y="23"/>
                    <a:pt x="364" y="22"/>
                  </a:cubicBezTo>
                  <a:cubicBezTo>
                    <a:pt x="362" y="21"/>
                    <a:pt x="359" y="23"/>
                    <a:pt x="356" y="22"/>
                  </a:cubicBezTo>
                  <a:cubicBezTo>
                    <a:pt x="354" y="22"/>
                    <a:pt x="352" y="19"/>
                    <a:pt x="351" y="19"/>
                  </a:cubicBezTo>
                  <a:cubicBezTo>
                    <a:pt x="349" y="19"/>
                    <a:pt x="348" y="30"/>
                    <a:pt x="343" y="26"/>
                  </a:cubicBezTo>
                  <a:cubicBezTo>
                    <a:pt x="342" y="21"/>
                    <a:pt x="344" y="13"/>
                    <a:pt x="340" y="11"/>
                  </a:cubicBezTo>
                  <a:cubicBezTo>
                    <a:pt x="339" y="14"/>
                    <a:pt x="340" y="19"/>
                    <a:pt x="337" y="19"/>
                  </a:cubicBezTo>
                  <a:cubicBezTo>
                    <a:pt x="333" y="23"/>
                    <a:pt x="333" y="20"/>
                    <a:pt x="329" y="19"/>
                  </a:cubicBezTo>
                  <a:cubicBezTo>
                    <a:pt x="324" y="17"/>
                    <a:pt x="321" y="23"/>
                    <a:pt x="318" y="22"/>
                  </a:cubicBezTo>
                  <a:cubicBezTo>
                    <a:pt x="317" y="22"/>
                    <a:pt x="317" y="18"/>
                    <a:pt x="313" y="19"/>
                  </a:cubicBezTo>
                  <a:cubicBezTo>
                    <a:pt x="311" y="19"/>
                    <a:pt x="312" y="23"/>
                    <a:pt x="308" y="22"/>
                  </a:cubicBezTo>
                  <a:cubicBezTo>
                    <a:pt x="307" y="22"/>
                    <a:pt x="303" y="15"/>
                    <a:pt x="302" y="15"/>
                  </a:cubicBezTo>
                  <a:cubicBezTo>
                    <a:pt x="288" y="21"/>
                    <a:pt x="275" y="26"/>
                    <a:pt x="265" y="15"/>
                  </a:cubicBezTo>
                  <a:cubicBezTo>
                    <a:pt x="265" y="21"/>
                    <a:pt x="253" y="23"/>
                    <a:pt x="251" y="22"/>
                  </a:cubicBezTo>
                  <a:cubicBezTo>
                    <a:pt x="249" y="22"/>
                    <a:pt x="249" y="19"/>
                    <a:pt x="249" y="19"/>
                  </a:cubicBezTo>
                  <a:cubicBezTo>
                    <a:pt x="243" y="18"/>
                    <a:pt x="234" y="31"/>
                    <a:pt x="235" y="15"/>
                  </a:cubicBezTo>
                  <a:cubicBezTo>
                    <a:pt x="225" y="18"/>
                    <a:pt x="215" y="19"/>
                    <a:pt x="205" y="22"/>
                  </a:cubicBezTo>
                  <a:cubicBezTo>
                    <a:pt x="202" y="22"/>
                    <a:pt x="201" y="18"/>
                    <a:pt x="200" y="15"/>
                  </a:cubicBezTo>
                  <a:cubicBezTo>
                    <a:pt x="195" y="12"/>
                    <a:pt x="195" y="21"/>
                    <a:pt x="189" y="22"/>
                  </a:cubicBezTo>
                  <a:cubicBezTo>
                    <a:pt x="189" y="22"/>
                    <a:pt x="187" y="18"/>
                    <a:pt x="184" y="19"/>
                  </a:cubicBezTo>
                  <a:cubicBezTo>
                    <a:pt x="184" y="19"/>
                    <a:pt x="184" y="22"/>
                    <a:pt x="184" y="22"/>
                  </a:cubicBezTo>
                  <a:cubicBezTo>
                    <a:pt x="182" y="25"/>
                    <a:pt x="166" y="23"/>
                    <a:pt x="165" y="22"/>
                  </a:cubicBezTo>
                  <a:cubicBezTo>
                    <a:pt x="161" y="21"/>
                    <a:pt x="162" y="19"/>
                    <a:pt x="160" y="22"/>
                  </a:cubicBezTo>
                  <a:cubicBezTo>
                    <a:pt x="158" y="26"/>
                    <a:pt x="145" y="22"/>
                    <a:pt x="144" y="22"/>
                  </a:cubicBezTo>
                  <a:cubicBezTo>
                    <a:pt x="140" y="24"/>
                    <a:pt x="140" y="26"/>
                    <a:pt x="138" y="22"/>
                  </a:cubicBezTo>
                  <a:cubicBezTo>
                    <a:pt x="138" y="22"/>
                    <a:pt x="134" y="23"/>
                    <a:pt x="133" y="22"/>
                  </a:cubicBezTo>
                  <a:cubicBezTo>
                    <a:pt x="123" y="21"/>
                    <a:pt x="120" y="19"/>
                    <a:pt x="114" y="19"/>
                  </a:cubicBezTo>
                  <a:cubicBezTo>
                    <a:pt x="110" y="18"/>
                    <a:pt x="111" y="23"/>
                    <a:pt x="109" y="19"/>
                  </a:cubicBezTo>
                  <a:cubicBezTo>
                    <a:pt x="108" y="18"/>
                    <a:pt x="104" y="19"/>
                    <a:pt x="103" y="19"/>
                  </a:cubicBezTo>
                  <a:cubicBezTo>
                    <a:pt x="99" y="17"/>
                    <a:pt x="97" y="16"/>
                    <a:pt x="95" y="19"/>
                  </a:cubicBezTo>
                  <a:cubicBezTo>
                    <a:pt x="95" y="19"/>
                    <a:pt x="91" y="19"/>
                    <a:pt x="90" y="19"/>
                  </a:cubicBezTo>
                  <a:cubicBezTo>
                    <a:pt x="80" y="19"/>
                    <a:pt x="79" y="14"/>
                    <a:pt x="76" y="19"/>
                  </a:cubicBezTo>
                  <a:cubicBezTo>
                    <a:pt x="74" y="23"/>
                    <a:pt x="64" y="15"/>
                    <a:pt x="63" y="15"/>
                  </a:cubicBezTo>
                  <a:cubicBezTo>
                    <a:pt x="55" y="13"/>
                    <a:pt x="48" y="12"/>
                    <a:pt x="39" y="11"/>
                  </a:cubicBezTo>
                  <a:cubicBezTo>
                    <a:pt x="39" y="7"/>
                    <a:pt x="42" y="6"/>
                    <a:pt x="41" y="0"/>
                  </a:cubicBezTo>
                  <a:cubicBezTo>
                    <a:pt x="28" y="7"/>
                    <a:pt x="16" y="24"/>
                    <a:pt x="12" y="37"/>
                  </a:cubicBezTo>
                  <a:cubicBezTo>
                    <a:pt x="11" y="39"/>
                    <a:pt x="9" y="43"/>
                    <a:pt x="9" y="45"/>
                  </a:cubicBezTo>
                  <a:cubicBezTo>
                    <a:pt x="9" y="48"/>
                    <a:pt x="7" y="47"/>
                    <a:pt x="7" y="48"/>
                  </a:cubicBezTo>
                  <a:cubicBezTo>
                    <a:pt x="4" y="56"/>
                    <a:pt x="5" y="69"/>
                    <a:pt x="4" y="78"/>
                  </a:cubicBezTo>
                  <a:cubicBezTo>
                    <a:pt x="4" y="78"/>
                    <a:pt x="2" y="79"/>
                    <a:pt x="1" y="82"/>
                  </a:cubicBezTo>
                  <a:cubicBezTo>
                    <a:pt x="0" y="85"/>
                    <a:pt x="2" y="89"/>
                    <a:pt x="1" y="93"/>
                  </a:cubicBezTo>
                  <a:cubicBezTo>
                    <a:pt x="18" y="99"/>
                    <a:pt x="3" y="124"/>
                    <a:pt x="4" y="141"/>
                  </a:cubicBezTo>
                  <a:cubicBezTo>
                    <a:pt x="9" y="138"/>
                    <a:pt x="8" y="146"/>
                    <a:pt x="9" y="148"/>
                  </a:cubicBezTo>
                  <a:cubicBezTo>
                    <a:pt x="12" y="151"/>
                    <a:pt x="18" y="149"/>
                    <a:pt x="17" y="156"/>
                  </a:cubicBezTo>
                  <a:cubicBezTo>
                    <a:pt x="15" y="156"/>
                    <a:pt x="14" y="156"/>
                    <a:pt x="12" y="156"/>
                  </a:cubicBezTo>
                  <a:cubicBezTo>
                    <a:pt x="15" y="172"/>
                    <a:pt x="3" y="168"/>
                    <a:pt x="4" y="182"/>
                  </a:cubicBezTo>
                  <a:cubicBezTo>
                    <a:pt x="7" y="182"/>
                    <a:pt x="11" y="181"/>
                    <a:pt x="12" y="185"/>
                  </a:cubicBezTo>
                  <a:cubicBezTo>
                    <a:pt x="13" y="199"/>
                    <a:pt x="19" y="203"/>
                    <a:pt x="15" y="215"/>
                  </a:cubicBezTo>
                  <a:cubicBezTo>
                    <a:pt x="20" y="212"/>
                    <a:pt x="18" y="220"/>
                    <a:pt x="20" y="222"/>
                  </a:cubicBezTo>
                  <a:cubicBezTo>
                    <a:pt x="21" y="224"/>
                    <a:pt x="26" y="222"/>
                    <a:pt x="25" y="226"/>
                  </a:cubicBezTo>
                  <a:cubicBezTo>
                    <a:pt x="25" y="232"/>
                    <a:pt x="26" y="237"/>
                    <a:pt x="28" y="241"/>
                  </a:cubicBezTo>
                  <a:cubicBezTo>
                    <a:pt x="25" y="241"/>
                    <a:pt x="23" y="241"/>
                    <a:pt x="20" y="241"/>
                  </a:cubicBezTo>
                  <a:cubicBezTo>
                    <a:pt x="23" y="252"/>
                    <a:pt x="22" y="255"/>
                    <a:pt x="17" y="263"/>
                  </a:cubicBezTo>
                  <a:cubicBezTo>
                    <a:pt x="22" y="264"/>
                    <a:pt x="24" y="257"/>
                    <a:pt x="25" y="263"/>
                  </a:cubicBezTo>
                  <a:cubicBezTo>
                    <a:pt x="24" y="268"/>
                    <a:pt x="20" y="270"/>
                    <a:pt x="15" y="270"/>
                  </a:cubicBezTo>
                  <a:cubicBezTo>
                    <a:pt x="12" y="282"/>
                    <a:pt x="22" y="278"/>
                    <a:pt x="23" y="285"/>
                  </a:cubicBezTo>
                  <a:cubicBezTo>
                    <a:pt x="14" y="288"/>
                    <a:pt x="18" y="297"/>
                    <a:pt x="15" y="300"/>
                  </a:cubicBezTo>
                  <a:cubicBezTo>
                    <a:pt x="7" y="310"/>
                    <a:pt x="12" y="294"/>
                    <a:pt x="7" y="292"/>
                  </a:cubicBezTo>
                  <a:cubicBezTo>
                    <a:pt x="1" y="306"/>
                    <a:pt x="12" y="313"/>
                    <a:pt x="15" y="322"/>
                  </a:cubicBezTo>
                  <a:cubicBezTo>
                    <a:pt x="16" y="325"/>
                    <a:pt x="9" y="334"/>
                    <a:pt x="17" y="333"/>
                  </a:cubicBezTo>
                  <a:cubicBezTo>
                    <a:pt x="18" y="329"/>
                    <a:pt x="17" y="323"/>
                    <a:pt x="20" y="322"/>
                  </a:cubicBezTo>
                  <a:cubicBezTo>
                    <a:pt x="19" y="334"/>
                    <a:pt x="25" y="335"/>
                    <a:pt x="23" y="348"/>
                  </a:cubicBezTo>
                  <a:cubicBezTo>
                    <a:pt x="22" y="352"/>
                    <a:pt x="6" y="352"/>
                    <a:pt x="15" y="355"/>
                  </a:cubicBezTo>
                  <a:cubicBezTo>
                    <a:pt x="23" y="357"/>
                    <a:pt x="26" y="347"/>
                    <a:pt x="28" y="359"/>
                  </a:cubicBezTo>
                  <a:cubicBezTo>
                    <a:pt x="25" y="358"/>
                    <a:pt x="23" y="353"/>
                    <a:pt x="23" y="363"/>
                  </a:cubicBezTo>
                  <a:cubicBezTo>
                    <a:pt x="31" y="367"/>
                    <a:pt x="29" y="357"/>
                    <a:pt x="33" y="355"/>
                  </a:cubicBezTo>
                  <a:cubicBezTo>
                    <a:pt x="34" y="363"/>
                    <a:pt x="43" y="359"/>
                    <a:pt x="44" y="366"/>
                  </a:cubicBezTo>
                  <a:cubicBezTo>
                    <a:pt x="39" y="374"/>
                    <a:pt x="45" y="374"/>
                    <a:pt x="47" y="381"/>
                  </a:cubicBezTo>
                  <a:cubicBezTo>
                    <a:pt x="43" y="380"/>
                    <a:pt x="42" y="377"/>
                    <a:pt x="39" y="381"/>
                  </a:cubicBezTo>
                  <a:cubicBezTo>
                    <a:pt x="41" y="369"/>
                    <a:pt x="33" y="376"/>
                    <a:pt x="33" y="381"/>
                  </a:cubicBezTo>
                  <a:cubicBezTo>
                    <a:pt x="40" y="382"/>
                    <a:pt x="43" y="388"/>
                    <a:pt x="47" y="392"/>
                  </a:cubicBezTo>
                  <a:cubicBezTo>
                    <a:pt x="42" y="392"/>
                    <a:pt x="38" y="392"/>
                    <a:pt x="33" y="392"/>
                  </a:cubicBezTo>
                  <a:cubicBezTo>
                    <a:pt x="31" y="404"/>
                    <a:pt x="41" y="399"/>
                    <a:pt x="39" y="411"/>
                  </a:cubicBezTo>
                  <a:cubicBezTo>
                    <a:pt x="45" y="416"/>
                    <a:pt x="50" y="400"/>
                    <a:pt x="52" y="411"/>
                  </a:cubicBezTo>
                  <a:cubicBezTo>
                    <a:pt x="49" y="411"/>
                    <a:pt x="46" y="412"/>
                    <a:pt x="47" y="418"/>
                  </a:cubicBezTo>
                  <a:cubicBezTo>
                    <a:pt x="47" y="423"/>
                    <a:pt x="51" y="422"/>
                    <a:pt x="52" y="426"/>
                  </a:cubicBezTo>
                  <a:cubicBezTo>
                    <a:pt x="46" y="425"/>
                    <a:pt x="42" y="427"/>
                    <a:pt x="41" y="433"/>
                  </a:cubicBezTo>
                  <a:cubicBezTo>
                    <a:pt x="45" y="434"/>
                    <a:pt x="44" y="439"/>
                    <a:pt x="44" y="444"/>
                  </a:cubicBezTo>
                  <a:cubicBezTo>
                    <a:pt x="52" y="450"/>
                    <a:pt x="56" y="439"/>
                    <a:pt x="58" y="455"/>
                  </a:cubicBezTo>
                  <a:cubicBezTo>
                    <a:pt x="48" y="458"/>
                    <a:pt x="46" y="451"/>
                    <a:pt x="41" y="448"/>
                  </a:cubicBezTo>
                  <a:cubicBezTo>
                    <a:pt x="45" y="457"/>
                    <a:pt x="31" y="459"/>
                    <a:pt x="39" y="463"/>
                  </a:cubicBezTo>
                  <a:cubicBezTo>
                    <a:pt x="39" y="458"/>
                    <a:pt x="46" y="458"/>
                    <a:pt x="47" y="463"/>
                  </a:cubicBezTo>
                  <a:cubicBezTo>
                    <a:pt x="36" y="459"/>
                    <a:pt x="51" y="487"/>
                    <a:pt x="36" y="485"/>
                  </a:cubicBezTo>
                  <a:cubicBezTo>
                    <a:pt x="38" y="499"/>
                    <a:pt x="44" y="506"/>
                    <a:pt x="47" y="518"/>
                  </a:cubicBezTo>
                  <a:cubicBezTo>
                    <a:pt x="39" y="526"/>
                    <a:pt x="47" y="532"/>
                    <a:pt x="39" y="537"/>
                  </a:cubicBezTo>
                  <a:cubicBezTo>
                    <a:pt x="40" y="534"/>
                    <a:pt x="36" y="533"/>
                    <a:pt x="36" y="533"/>
                  </a:cubicBezTo>
                  <a:cubicBezTo>
                    <a:pt x="36" y="530"/>
                    <a:pt x="39" y="528"/>
                    <a:pt x="39" y="529"/>
                  </a:cubicBezTo>
                  <a:cubicBezTo>
                    <a:pt x="38" y="525"/>
                    <a:pt x="36" y="520"/>
                    <a:pt x="36" y="518"/>
                  </a:cubicBezTo>
                  <a:cubicBezTo>
                    <a:pt x="36" y="518"/>
                    <a:pt x="41" y="517"/>
                    <a:pt x="41" y="514"/>
                  </a:cubicBezTo>
                  <a:cubicBezTo>
                    <a:pt x="42" y="511"/>
                    <a:pt x="37" y="508"/>
                    <a:pt x="36" y="507"/>
                  </a:cubicBezTo>
                  <a:cubicBezTo>
                    <a:pt x="31" y="519"/>
                    <a:pt x="41" y="530"/>
                    <a:pt x="28" y="533"/>
                  </a:cubicBezTo>
                  <a:cubicBezTo>
                    <a:pt x="28" y="539"/>
                    <a:pt x="28" y="545"/>
                    <a:pt x="28" y="551"/>
                  </a:cubicBezTo>
                  <a:cubicBezTo>
                    <a:pt x="38" y="557"/>
                    <a:pt x="29" y="535"/>
                    <a:pt x="39" y="540"/>
                  </a:cubicBezTo>
                  <a:cubicBezTo>
                    <a:pt x="34" y="547"/>
                    <a:pt x="38" y="550"/>
                    <a:pt x="39" y="559"/>
                  </a:cubicBezTo>
                  <a:cubicBezTo>
                    <a:pt x="37" y="560"/>
                    <a:pt x="34" y="559"/>
                    <a:pt x="33" y="562"/>
                  </a:cubicBezTo>
                  <a:cubicBezTo>
                    <a:pt x="37" y="572"/>
                    <a:pt x="41" y="556"/>
                    <a:pt x="44" y="566"/>
                  </a:cubicBezTo>
                  <a:cubicBezTo>
                    <a:pt x="39" y="564"/>
                    <a:pt x="36" y="583"/>
                    <a:pt x="41" y="585"/>
                  </a:cubicBezTo>
                  <a:cubicBezTo>
                    <a:pt x="45" y="579"/>
                    <a:pt x="46" y="569"/>
                    <a:pt x="52" y="566"/>
                  </a:cubicBezTo>
                  <a:cubicBezTo>
                    <a:pt x="57" y="573"/>
                    <a:pt x="50" y="579"/>
                    <a:pt x="47" y="585"/>
                  </a:cubicBezTo>
                  <a:cubicBezTo>
                    <a:pt x="44" y="585"/>
                    <a:pt x="44" y="588"/>
                    <a:pt x="41" y="588"/>
                  </a:cubicBezTo>
                  <a:cubicBezTo>
                    <a:pt x="35" y="593"/>
                    <a:pt x="31" y="579"/>
                    <a:pt x="31" y="588"/>
                  </a:cubicBezTo>
                  <a:cubicBezTo>
                    <a:pt x="34" y="598"/>
                    <a:pt x="52" y="589"/>
                    <a:pt x="49" y="607"/>
                  </a:cubicBezTo>
                  <a:cubicBezTo>
                    <a:pt x="46" y="602"/>
                    <a:pt x="38" y="604"/>
                    <a:pt x="39" y="614"/>
                  </a:cubicBezTo>
                  <a:cubicBezTo>
                    <a:pt x="49" y="609"/>
                    <a:pt x="45" y="622"/>
                    <a:pt x="47" y="625"/>
                  </a:cubicBezTo>
                  <a:cubicBezTo>
                    <a:pt x="48" y="627"/>
                    <a:pt x="53" y="625"/>
                    <a:pt x="52" y="629"/>
                  </a:cubicBezTo>
                  <a:cubicBezTo>
                    <a:pt x="50" y="649"/>
                    <a:pt x="39" y="636"/>
                    <a:pt x="33" y="648"/>
                  </a:cubicBezTo>
                  <a:cubicBezTo>
                    <a:pt x="42" y="647"/>
                    <a:pt x="35" y="663"/>
                    <a:pt x="36" y="670"/>
                  </a:cubicBezTo>
                  <a:cubicBezTo>
                    <a:pt x="36" y="670"/>
                    <a:pt x="41" y="671"/>
                    <a:pt x="41" y="673"/>
                  </a:cubicBezTo>
                  <a:cubicBezTo>
                    <a:pt x="42" y="678"/>
                    <a:pt x="37" y="679"/>
                    <a:pt x="39" y="684"/>
                  </a:cubicBezTo>
                  <a:cubicBezTo>
                    <a:pt x="41" y="685"/>
                    <a:pt x="42" y="688"/>
                    <a:pt x="41" y="692"/>
                  </a:cubicBezTo>
                  <a:cubicBezTo>
                    <a:pt x="46" y="692"/>
                    <a:pt x="51" y="691"/>
                    <a:pt x="49" y="699"/>
                  </a:cubicBezTo>
                  <a:cubicBezTo>
                    <a:pt x="46" y="699"/>
                    <a:pt x="46" y="695"/>
                    <a:pt x="41" y="696"/>
                  </a:cubicBezTo>
                  <a:cubicBezTo>
                    <a:pt x="45" y="707"/>
                    <a:pt x="37" y="705"/>
                    <a:pt x="36" y="710"/>
                  </a:cubicBezTo>
                  <a:cubicBezTo>
                    <a:pt x="40" y="712"/>
                    <a:pt x="43" y="716"/>
                    <a:pt x="44" y="721"/>
                  </a:cubicBezTo>
                  <a:cubicBezTo>
                    <a:pt x="39" y="722"/>
                    <a:pt x="36" y="721"/>
                    <a:pt x="33" y="718"/>
                  </a:cubicBezTo>
                  <a:cubicBezTo>
                    <a:pt x="31" y="730"/>
                    <a:pt x="36" y="732"/>
                    <a:pt x="39" y="736"/>
                  </a:cubicBezTo>
                  <a:cubicBezTo>
                    <a:pt x="31" y="730"/>
                    <a:pt x="31" y="752"/>
                    <a:pt x="36" y="751"/>
                  </a:cubicBezTo>
                  <a:cubicBezTo>
                    <a:pt x="38" y="733"/>
                    <a:pt x="37" y="755"/>
                    <a:pt x="41" y="755"/>
                  </a:cubicBezTo>
                  <a:cubicBezTo>
                    <a:pt x="40" y="748"/>
                    <a:pt x="49" y="736"/>
                    <a:pt x="49" y="744"/>
                  </a:cubicBezTo>
                  <a:cubicBezTo>
                    <a:pt x="49" y="751"/>
                    <a:pt x="42" y="748"/>
                    <a:pt x="44" y="759"/>
                  </a:cubicBezTo>
                  <a:cubicBezTo>
                    <a:pt x="47" y="757"/>
                    <a:pt x="53" y="769"/>
                    <a:pt x="47" y="770"/>
                  </a:cubicBezTo>
                  <a:cubicBezTo>
                    <a:pt x="50" y="760"/>
                    <a:pt x="38" y="753"/>
                    <a:pt x="36" y="762"/>
                  </a:cubicBezTo>
                  <a:cubicBezTo>
                    <a:pt x="42" y="763"/>
                    <a:pt x="42" y="772"/>
                    <a:pt x="39" y="777"/>
                  </a:cubicBezTo>
                  <a:cubicBezTo>
                    <a:pt x="44" y="781"/>
                    <a:pt x="48" y="766"/>
                    <a:pt x="49" y="777"/>
                  </a:cubicBezTo>
                  <a:cubicBezTo>
                    <a:pt x="51" y="791"/>
                    <a:pt x="38" y="783"/>
                    <a:pt x="36" y="792"/>
                  </a:cubicBezTo>
                  <a:cubicBezTo>
                    <a:pt x="39" y="792"/>
                    <a:pt x="39" y="798"/>
                    <a:pt x="39" y="803"/>
                  </a:cubicBezTo>
                  <a:cubicBezTo>
                    <a:pt x="44" y="807"/>
                    <a:pt x="50" y="809"/>
                    <a:pt x="52" y="818"/>
                  </a:cubicBezTo>
                  <a:cubicBezTo>
                    <a:pt x="48" y="814"/>
                    <a:pt x="46" y="814"/>
                    <a:pt x="44" y="821"/>
                  </a:cubicBezTo>
                  <a:cubicBezTo>
                    <a:pt x="46" y="828"/>
                    <a:pt x="57" y="821"/>
                    <a:pt x="58" y="829"/>
                  </a:cubicBezTo>
                  <a:cubicBezTo>
                    <a:pt x="58" y="837"/>
                    <a:pt x="57" y="843"/>
                    <a:pt x="52" y="844"/>
                  </a:cubicBezTo>
                  <a:cubicBezTo>
                    <a:pt x="52" y="839"/>
                    <a:pt x="56" y="838"/>
                    <a:pt x="55" y="832"/>
                  </a:cubicBezTo>
                  <a:cubicBezTo>
                    <a:pt x="47" y="831"/>
                    <a:pt x="49" y="839"/>
                    <a:pt x="44" y="840"/>
                  </a:cubicBezTo>
                  <a:cubicBezTo>
                    <a:pt x="45" y="840"/>
                    <a:pt x="42" y="833"/>
                    <a:pt x="41" y="832"/>
                  </a:cubicBezTo>
                  <a:cubicBezTo>
                    <a:pt x="39" y="831"/>
                    <a:pt x="37" y="838"/>
                    <a:pt x="36" y="840"/>
                  </a:cubicBezTo>
                  <a:cubicBezTo>
                    <a:pt x="39" y="841"/>
                    <a:pt x="42" y="845"/>
                    <a:pt x="41" y="851"/>
                  </a:cubicBezTo>
                  <a:cubicBezTo>
                    <a:pt x="45" y="852"/>
                    <a:pt x="49" y="845"/>
                    <a:pt x="49" y="851"/>
                  </a:cubicBezTo>
                  <a:cubicBezTo>
                    <a:pt x="49" y="852"/>
                    <a:pt x="47" y="858"/>
                    <a:pt x="47" y="858"/>
                  </a:cubicBezTo>
                  <a:cubicBezTo>
                    <a:pt x="55" y="864"/>
                    <a:pt x="56" y="859"/>
                    <a:pt x="63" y="858"/>
                  </a:cubicBezTo>
                  <a:cubicBezTo>
                    <a:pt x="62" y="864"/>
                    <a:pt x="67" y="868"/>
                    <a:pt x="68" y="862"/>
                  </a:cubicBezTo>
                  <a:cubicBezTo>
                    <a:pt x="64" y="862"/>
                    <a:pt x="73" y="838"/>
                    <a:pt x="66" y="832"/>
                  </a:cubicBezTo>
                  <a:cubicBezTo>
                    <a:pt x="76" y="835"/>
                    <a:pt x="67" y="801"/>
                    <a:pt x="79" y="818"/>
                  </a:cubicBezTo>
                  <a:cubicBezTo>
                    <a:pt x="81" y="807"/>
                    <a:pt x="75" y="808"/>
                    <a:pt x="76" y="799"/>
                  </a:cubicBezTo>
                  <a:cubicBezTo>
                    <a:pt x="70" y="800"/>
                    <a:pt x="66" y="798"/>
                    <a:pt x="66" y="792"/>
                  </a:cubicBezTo>
                  <a:cubicBezTo>
                    <a:pt x="71" y="792"/>
                    <a:pt x="65" y="787"/>
                    <a:pt x="66" y="784"/>
                  </a:cubicBezTo>
                  <a:cubicBezTo>
                    <a:pt x="66" y="783"/>
                    <a:pt x="71" y="785"/>
                    <a:pt x="71" y="784"/>
                  </a:cubicBezTo>
                  <a:cubicBezTo>
                    <a:pt x="73" y="780"/>
                    <a:pt x="69" y="763"/>
                    <a:pt x="76" y="766"/>
                  </a:cubicBezTo>
                  <a:cubicBezTo>
                    <a:pt x="70" y="760"/>
                    <a:pt x="77" y="755"/>
                    <a:pt x="76" y="751"/>
                  </a:cubicBezTo>
                  <a:cubicBezTo>
                    <a:pt x="76" y="749"/>
                    <a:pt x="64" y="739"/>
                    <a:pt x="74" y="736"/>
                  </a:cubicBezTo>
                  <a:cubicBezTo>
                    <a:pt x="77" y="741"/>
                    <a:pt x="86" y="739"/>
                    <a:pt x="90" y="744"/>
                  </a:cubicBezTo>
                  <a:cubicBezTo>
                    <a:pt x="88" y="735"/>
                    <a:pt x="86" y="726"/>
                    <a:pt x="95" y="725"/>
                  </a:cubicBezTo>
                  <a:cubicBezTo>
                    <a:pt x="92" y="739"/>
                    <a:pt x="100" y="756"/>
                    <a:pt x="106" y="744"/>
                  </a:cubicBezTo>
                  <a:cubicBezTo>
                    <a:pt x="102" y="741"/>
                    <a:pt x="101" y="739"/>
                    <a:pt x="103" y="736"/>
                  </a:cubicBezTo>
                  <a:cubicBezTo>
                    <a:pt x="104" y="736"/>
                    <a:pt x="96" y="719"/>
                    <a:pt x="103" y="721"/>
                  </a:cubicBezTo>
                  <a:cubicBezTo>
                    <a:pt x="107" y="735"/>
                    <a:pt x="113" y="734"/>
                    <a:pt x="109" y="751"/>
                  </a:cubicBezTo>
                  <a:cubicBezTo>
                    <a:pt x="113" y="751"/>
                    <a:pt x="117" y="752"/>
                    <a:pt x="119" y="755"/>
                  </a:cubicBezTo>
                  <a:cubicBezTo>
                    <a:pt x="119" y="746"/>
                    <a:pt x="114" y="739"/>
                    <a:pt x="122" y="736"/>
                  </a:cubicBezTo>
                  <a:cubicBezTo>
                    <a:pt x="122" y="752"/>
                    <a:pt x="124" y="745"/>
                    <a:pt x="128" y="740"/>
                  </a:cubicBezTo>
                  <a:cubicBezTo>
                    <a:pt x="125" y="764"/>
                    <a:pt x="138" y="764"/>
                    <a:pt x="149" y="770"/>
                  </a:cubicBezTo>
                  <a:cubicBezTo>
                    <a:pt x="149" y="765"/>
                    <a:pt x="150" y="761"/>
                    <a:pt x="154" y="762"/>
                  </a:cubicBezTo>
                  <a:cubicBezTo>
                    <a:pt x="155" y="758"/>
                    <a:pt x="155" y="753"/>
                    <a:pt x="160" y="755"/>
                  </a:cubicBezTo>
                  <a:cubicBezTo>
                    <a:pt x="163" y="767"/>
                    <a:pt x="151" y="758"/>
                    <a:pt x="154" y="770"/>
                  </a:cubicBezTo>
                  <a:cubicBezTo>
                    <a:pt x="158" y="769"/>
                    <a:pt x="164" y="771"/>
                    <a:pt x="165" y="766"/>
                  </a:cubicBezTo>
                  <a:cubicBezTo>
                    <a:pt x="161" y="766"/>
                    <a:pt x="165" y="762"/>
                    <a:pt x="165" y="762"/>
                  </a:cubicBezTo>
                  <a:cubicBezTo>
                    <a:pt x="165" y="760"/>
                    <a:pt x="162" y="756"/>
                    <a:pt x="163" y="755"/>
                  </a:cubicBezTo>
                  <a:cubicBezTo>
                    <a:pt x="163" y="751"/>
                    <a:pt x="168" y="752"/>
                    <a:pt x="168" y="744"/>
                  </a:cubicBezTo>
                  <a:cubicBezTo>
                    <a:pt x="168" y="744"/>
                    <a:pt x="165" y="744"/>
                    <a:pt x="165" y="744"/>
                  </a:cubicBezTo>
                  <a:cubicBezTo>
                    <a:pt x="163" y="741"/>
                    <a:pt x="161" y="721"/>
                    <a:pt x="168" y="729"/>
                  </a:cubicBezTo>
                  <a:cubicBezTo>
                    <a:pt x="169" y="715"/>
                    <a:pt x="157" y="719"/>
                    <a:pt x="160" y="703"/>
                  </a:cubicBezTo>
                  <a:cubicBezTo>
                    <a:pt x="166" y="702"/>
                    <a:pt x="171" y="699"/>
                    <a:pt x="176" y="696"/>
                  </a:cubicBezTo>
                  <a:cubicBezTo>
                    <a:pt x="176" y="691"/>
                    <a:pt x="176" y="686"/>
                    <a:pt x="176" y="681"/>
                  </a:cubicBezTo>
                  <a:cubicBezTo>
                    <a:pt x="165" y="683"/>
                    <a:pt x="174" y="672"/>
                    <a:pt x="173" y="670"/>
                  </a:cubicBezTo>
                  <a:cubicBezTo>
                    <a:pt x="173" y="667"/>
                    <a:pt x="168" y="666"/>
                    <a:pt x="168" y="662"/>
                  </a:cubicBezTo>
                  <a:cubicBezTo>
                    <a:pt x="167" y="658"/>
                    <a:pt x="168" y="652"/>
                    <a:pt x="170" y="651"/>
                  </a:cubicBezTo>
                  <a:cubicBezTo>
                    <a:pt x="174" y="653"/>
                    <a:pt x="173" y="659"/>
                    <a:pt x="176" y="662"/>
                  </a:cubicBezTo>
                  <a:cubicBezTo>
                    <a:pt x="175" y="661"/>
                    <a:pt x="177" y="658"/>
                    <a:pt x="178" y="658"/>
                  </a:cubicBezTo>
                  <a:cubicBezTo>
                    <a:pt x="177" y="659"/>
                    <a:pt x="188" y="675"/>
                    <a:pt x="187" y="662"/>
                  </a:cubicBezTo>
                  <a:cubicBezTo>
                    <a:pt x="184" y="661"/>
                    <a:pt x="183" y="655"/>
                    <a:pt x="181" y="651"/>
                  </a:cubicBezTo>
                  <a:cubicBezTo>
                    <a:pt x="177" y="641"/>
                    <a:pt x="184" y="646"/>
                    <a:pt x="181" y="636"/>
                  </a:cubicBezTo>
                  <a:cubicBezTo>
                    <a:pt x="181" y="634"/>
                    <a:pt x="176" y="634"/>
                    <a:pt x="176" y="629"/>
                  </a:cubicBezTo>
                  <a:cubicBezTo>
                    <a:pt x="176" y="629"/>
                    <a:pt x="181" y="626"/>
                    <a:pt x="181" y="625"/>
                  </a:cubicBezTo>
                  <a:cubicBezTo>
                    <a:pt x="184" y="619"/>
                    <a:pt x="180" y="610"/>
                    <a:pt x="184" y="607"/>
                  </a:cubicBezTo>
                  <a:cubicBezTo>
                    <a:pt x="177" y="609"/>
                    <a:pt x="174" y="605"/>
                    <a:pt x="176" y="596"/>
                  </a:cubicBezTo>
                  <a:cubicBezTo>
                    <a:pt x="181" y="595"/>
                    <a:pt x="182" y="600"/>
                    <a:pt x="187" y="599"/>
                  </a:cubicBezTo>
                  <a:cubicBezTo>
                    <a:pt x="187" y="597"/>
                    <a:pt x="187" y="592"/>
                    <a:pt x="189" y="592"/>
                  </a:cubicBezTo>
                  <a:cubicBezTo>
                    <a:pt x="189" y="597"/>
                    <a:pt x="190" y="606"/>
                    <a:pt x="192" y="599"/>
                  </a:cubicBezTo>
                  <a:cubicBezTo>
                    <a:pt x="191" y="591"/>
                    <a:pt x="193" y="586"/>
                    <a:pt x="197" y="585"/>
                  </a:cubicBezTo>
                  <a:cubicBezTo>
                    <a:pt x="195" y="598"/>
                    <a:pt x="197" y="594"/>
                    <a:pt x="195" y="607"/>
                  </a:cubicBezTo>
                  <a:cubicBezTo>
                    <a:pt x="202" y="604"/>
                    <a:pt x="193" y="624"/>
                    <a:pt x="200" y="622"/>
                  </a:cubicBezTo>
                  <a:cubicBezTo>
                    <a:pt x="206" y="611"/>
                    <a:pt x="195" y="608"/>
                    <a:pt x="200" y="603"/>
                  </a:cubicBezTo>
                  <a:cubicBezTo>
                    <a:pt x="208" y="613"/>
                    <a:pt x="210" y="635"/>
                    <a:pt x="200" y="644"/>
                  </a:cubicBezTo>
                  <a:cubicBezTo>
                    <a:pt x="197" y="640"/>
                    <a:pt x="191" y="640"/>
                    <a:pt x="184" y="640"/>
                  </a:cubicBezTo>
                  <a:cubicBezTo>
                    <a:pt x="185" y="650"/>
                    <a:pt x="187" y="658"/>
                    <a:pt x="192" y="662"/>
                  </a:cubicBezTo>
                  <a:cubicBezTo>
                    <a:pt x="187" y="664"/>
                    <a:pt x="193" y="667"/>
                    <a:pt x="192" y="673"/>
                  </a:cubicBezTo>
                  <a:cubicBezTo>
                    <a:pt x="185" y="673"/>
                    <a:pt x="184" y="666"/>
                    <a:pt x="181" y="677"/>
                  </a:cubicBezTo>
                  <a:cubicBezTo>
                    <a:pt x="188" y="675"/>
                    <a:pt x="175" y="694"/>
                    <a:pt x="184" y="696"/>
                  </a:cubicBezTo>
                  <a:cubicBezTo>
                    <a:pt x="188" y="691"/>
                    <a:pt x="184" y="676"/>
                    <a:pt x="195" y="681"/>
                  </a:cubicBezTo>
                  <a:cubicBezTo>
                    <a:pt x="194" y="668"/>
                    <a:pt x="199" y="665"/>
                    <a:pt x="203" y="659"/>
                  </a:cubicBezTo>
                  <a:cubicBezTo>
                    <a:pt x="207" y="661"/>
                    <a:pt x="202" y="677"/>
                    <a:pt x="211" y="673"/>
                  </a:cubicBezTo>
                  <a:cubicBezTo>
                    <a:pt x="212" y="667"/>
                    <a:pt x="207" y="664"/>
                    <a:pt x="211" y="662"/>
                  </a:cubicBezTo>
                  <a:cubicBezTo>
                    <a:pt x="213" y="663"/>
                    <a:pt x="216" y="662"/>
                    <a:pt x="216" y="666"/>
                  </a:cubicBezTo>
                  <a:cubicBezTo>
                    <a:pt x="212" y="668"/>
                    <a:pt x="216" y="680"/>
                    <a:pt x="211" y="681"/>
                  </a:cubicBezTo>
                  <a:cubicBezTo>
                    <a:pt x="205" y="679"/>
                    <a:pt x="206" y="670"/>
                    <a:pt x="200" y="677"/>
                  </a:cubicBezTo>
                  <a:cubicBezTo>
                    <a:pt x="199" y="691"/>
                    <a:pt x="201" y="701"/>
                    <a:pt x="205" y="707"/>
                  </a:cubicBezTo>
                  <a:cubicBezTo>
                    <a:pt x="199" y="706"/>
                    <a:pt x="197" y="700"/>
                    <a:pt x="195" y="710"/>
                  </a:cubicBezTo>
                  <a:cubicBezTo>
                    <a:pt x="202" y="714"/>
                    <a:pt x="191" y="722"/>
                    <a:pt x="195" y="733"/>
                  </a:cubicBezTo>
                  <a:cubicBezTo>
                    <a:pt x="200" y="736"/>
                    <a:pt x="204" y="722"/>
                    <a:pt x="205" y="733"/>
                  </a:cubicBezTo>
                  <a:cubicBezTo>
                    <a:pt x="200" y="731"/>
                    <a:pt x="200" y="738"/>
                    <a:pt x="197" y="740"/>
                  </a:cubicBezTo>
                  <a:cubicBezTo>
                    <a:pt x="196" y="740"/>
                    <a:pt x="194" y="741"/>
                    <a:pt x="195" y="744"/>
                  </a:cubicBezTo>
                  <a:cubicBezTo>
                    <a:pt x="203" y="747"/>
                    <a:pt x="208" y="728"/>
                    <a:pt x="211" y="736"/>
                  </a:cubicBezTo>
                  <a:cubicBezTo>
                    <a:pt x="204" y="742"/>
                    <a:pt x="210" y="762"/>
                    <a:pt x="211" y="770"/>
                  </a:cubicBezTo>
                  <a:cubicBezTo>
                    <a:pt x="211" y="779"/>
                    <a:pt x="211" y="789"/>
                    <a:pt x="211" y="799"/>
                  </a:cubicBezTo>
                  <a:cubicBezTo>
                    <a:pt x="201" y="797"/>
                    <a:pt x="199" y="806"/>
                    <a:pt x="189" y="803"/>
                  </a:cubicBezTo>
                  <a:cubicBezTo>
                    <a:pt x="188" y="817"/>
                    <a:pt x="206" y="804"/>
                    <a:pt x="200" y="825"/>
                  </a:cubicBezTo>
                  <a:cubicBezTo>
                    <a:pt x="209" y="826"/>
                    <a:pt x="206" y="811"/>
                    <a:pt x="214" y="810"/>
                  </a:cubicBezTo>
                  <a:cubicBezTo>
                    <a:pt x="218" y="823"/>
                    <a:pt x="214" y="823"/>
                    <a:pt x="214" y="840"/>
                  </a:cubicBezTo>
                  <a:cubicBezTo>
                    <a:pt x="208" y="837"/>
                    <a:pt x="203" y="852"/>
                    <a:pt x="208" y="851"/>
                  </a:cubicBezTo>
                  <a:cubicBezTo>
                    <a:pt x="209" y="847"/>
                    <a:pt x="212" y="847"/>
                    <a:pt x="216" y="847"/>
                  </a:cubicBezTo>
                  <a:cubicBezTo>
                    <a:pt x="210" y="855"/>
                    <a:pt x="219" y="859"/>
                    <a:pt x="214" y="866"/>
                  </a:cubicBezTo>
                  <a:cubicBezTo>
                    <a:pt x="223" y="869"/>
                    <a:pt x="216" y="849"/>
                    <a:pt x="224" y="851"/>
                  </a:cubicBezTo>
                  <a:cubicBezTo>
                    <a:pt x="227" y="854"/>
                    <a:pt x="225" y="865"/>
                    <a:pt x="232" y="862"/>
                  </a:cubicBezTo>
                  <a:cubicBezTo>
                    <a:pt x="229" y="850"/>
                    <a:pt x="241" y="859"/>
                    <a:pt x="238" y="847"/>
                  </a:cubicBezTo>
                  <a:cubicBezTo>
                    <a:pt x="229" y="843"/>
                    <a:pt x="236" y="859"/>
                    <a:pt x="227" y="855"/>
                  </a:cubicBezTo>
                  <a:cubicBezTo>
                    <a:pt x="231" y="840"/>
                    <a:pt x="220" y="847"/>
                    <a:pt x="219" y="840"/>
                  </a:cubicBezTo>
                  <a:cubicBezTo>
                    <a:pt x="222" y="837"/>
                    <a:pt x="226" y="835"/>
                    <a:pt x="232" y="836"/>
                  </a:cubicBezTo>
                  <a:cubicBezTo>
                    <a:pt x="233" y="831"/>
                    <a:pt x="231" y="822"/>
                    <a:pt x="235" y="821"/>
                  </a:cubicBezTo>
                  <a:cubicBezTo>
                    <a:pt x="239" y="830"/>
                    <a:pt x="243" y="815"/>
                    <a:pt x="246" y="825"/>
                  </a:cubicBezTo>
                  <a:cubicBezTo>
                    <a:pt x="242" y="834"/>
                    <a:pt x="247" y="832"/>
                    <a:pt x="243" y="836"/>
                  </a:cubicBezTo>
                  <a:cubicBezTo>
                    <a:pt x="242" y="837"/>
                    <a:pt x="243" y="842"/>
                    <a:pt x="243" y="844"/>
                  </a:cubicBezTo>
                  <a:cubicBezTo>
                    <a:pt x="240" y="853"/>
                    <a:pt x="245" y="849"/>
                    <a:pt x="243" y="858"/>
                  </a:cubicBezTo>
                  <a:cubicBezTo>
                    <a:pt x="243" y="861"/>
                    <a:pt x="235" y="862"/>
                    <a:pt x="238" y="869"/>
                  </a:cubicBezTo>
                  <a:cubicBezTo>
                    <a:pt x="241" y="872"/>
                    <a:pt x="243" y="877"/>
                    <a:pt x="243" y="884"/>
                  </a:cubicBezTo>
                  <a:cubicBezTo>
                    <a:pt x="240" y="885"/>
                    <a:pt x="239" y="879"/>
                    <a:pt x="238" y="884"/>
                  </a:cubicBezTo>
                  <a:cubicBezTo>
                    <a:pt x="241" y="885"/>
                    <a:pt x="241" y="890"/>
                    <a:pt x="240" y="895"/>
                  </a:cubicBezTo>
                  <a:cubicBezTo>
                    <a:pt x="237" y="896"/>
                    <a:pt x="233" y="895"/>
                    <a:pt x="232" y="899"/>
                  </a:cubicBezTo>
                  <a:cubicBezTo>
                    <a:pt x="238" y="898"/>
                    <a:pt x="234" y="912"/>
                    <a:pt x="235" y="918"/>
                  </a:cubicBezTo>
                  <a:cubicBezTo>
                    <a:pt x="245" y="916"/>
                    <a:pt x="249" y="907"/>
                    <a:pt x="251" y="895"/>
                  </a:cubicBezTo>
                  <a:cubicBezTo>
                    <a:pt x="249" y="894"/>
                    <a:pt x="246" y="895"/>
                    <a:pt x="246" y="892"/>
                  </a:cubicBezTo>
                  <a:cubicBezTo>
                    <a:pt x="254" y="879"/>
                    <a:pt x="238" y="856"/>
                    <a:pt x="254" y="855"/>
                  </a:cubicBezTo>
                  <a:cubicBezTo>
                    <a:pt x="255" y="866"/>
                    <a:pt x="249" y="868"/>
                    <a:pt x="251" y="881"/>
                  </a:cubicBezTo>
                  <a:cubicBezTo>
                    <a:pt x="256" y="879"/>
                    <a:pt x="257" y="886"/>
                    <a:pt x="259" y="888"/>
                  </a:cubicBezTo>
                  <a:cubicBezTo>
                    <a:pt x="265" y="875"/>
                    <a:pt x="267" y="899"/>
                    <a:pt x="273" y="899"/>
                  </a:cubicBezTo>
                  <a:cubicBezTo>
                    <a:pt x="273" y="895"/>
                    <a:pt x="277" y="894"/>
                    <a:pt x="278" y="899"/>
                  </a:cubicBezTo>
                  <a:cubicBezTo>
                    <a:pt x="283" y="911"/>
                    <a:pt x="268" y="914"/>
                    <a:pt x="275" y="918"/>
                  </a:cubicBezTo>
                  <a:cubicBezTo>
                    <a:pt x="276" y="909"/>
                    <a:pt x="287" y="916"/>
                    <a:pt x="292" y="914"/>
                  </a:cubicBezTo>
                  <a:cubicBezTo>
                    <a:pt x="291" y="919"/>
                    <a:pt x="293" y="922"/>
                    <a:pt x="294" y="925"/>
                  </a:cubicBezTo>
                  <a:cubicBezTo>
                    <a:pt x="304" y="925"/>
                    <a:pt x="310" y="931"/>
                    <a:pt x="313" y="940"/>
                  </a:cubicBezTo>
                  <a:cubicBezTo>
                    <a:pt x="312" y="940"/>
                    <a:pt x="310" y="943"/>
                    <a:pt x="313" y="943"/>
                  </a:cubicBezTo>
                  <a:cubicBezTo>
                    <a:pt x="314" y="937"/>
                    <a:pt x="319" y="941"/>
                    <a:pt x="321" y="943"/>
                  </a:cubicBezTo>
                  <a:cubicBezTo>
                    <a:pt x="323" y="945"/>
                    <a:pt x="325" y="946"/>
                    <a:pt x="326" y="947"/>
                  </a:cubicBezTo>
                  <a:cubicBezTo>
                    <a:pt x="329" y="949"/>
                    <a:pt x="332" y="954"/>
                    <a:pt x="335" y="954"/>
                  </a:cubicBezTo>
                  <a:cubicBezTo>
                    <a:pt x="334" y="954"/>
                    <a:pt x="335" y="948"/>
                    <a:pt x="337" y="951"/>
                  </a:cubicBezTo>
                  <a:cubicBezTo>
                    <a:pt x="339" y="953"/>
                    <a:pt x="336" y="958"/>
                    <a:pt x="340" y="958"/>
                  </a:cubicBezTo>
                  <a:cubicBezTo>
                    <a:pt x="344" y="959"/>
                    <a:pt x="345" y="969"/>
                    <a:pt x="345" y="973"/>
                  </a:cubicBezTo>
                  <a:cubicBezTo>
                    <a:pt x="364" y="976"/>
                    <a:pt x="367" y="1002"/>
                    <a:pt x="388" y="1003"/>
                  </a:cubicBezTo>
                  <a:cubicBezTo>
                    <a:pt x="391" y="1008"/>
                    <a:pt x="394" y="1015"/>
                    <a:pt x="396" y="1017"/>
                  </a:cubicBezTo>
                  <a:cubicBezTo>
                    <a:pt x="400" y="1021"/>
                    <a:pt x="406" y="1018"/>
                    <a:pt x="410" y="1021"/>
                  </a:cubicBezTo>
                  <a:cubicBezTo>
                    <a:pt x="411" y="1022"/>
                    <a:pt x="411" y="1028"/>
                    <a:pt x="412" y="1028"/>
                  </a:cubicBezTo>
                  <a:cubicBezTo>
                    <a:pt x="415" y="1030"/>
                    <a:pt x="418" y="1028"/>
                    <a:pt x="421" y="1028"/>
                  </a:cubicBezTo>
                  <a:cubicBezTo>
                    <a:pt x="421" y="1029"/>
                    <a:pt x="420" y="1032"/>
                    <a:pt x="421" y="1032"/>
                  </a:cubicBezTo>
                  <a:cubicBezTo>
                    <a:pt x="421" y="1033"/>
                    <a:pt x="428" y="1035"/>
                    <a:pt x="429" y="1036"/>
                  </a:cubicBezTo>
                  <a:cubicBezTo>
                    <a:pt x="433" y="1040"/>
                    <a:pt x="436" y="1038"/>
                    <a:pt x="442" y="1040"/>
                  </a:cubicBezTo>
                  <a:cubicBezTo>
                    <a:pt x="442" y="1040"/>
                    <a:pt x="443" y="1043"/>
                    <a:pt x="445" y="1043"/>
                  </a:cubicBezTo>
                  <a:cubicBezTo>
                    <a:pt x="448" y="1044"/>
                    <a:pt x="450" y="1046"/>
                    <a:pt x="453" y="1047"/>
                  </a:cubicBezTo>
                  <a:cubicBezTo>
                    <a:pt x="460" y="1049"/>
                    <a:pt x="461" y="1051"/>
                    <a:pt x="464" y="1058"/>
                  </a:cubicBezTo>
                  <a:cubicBezTo>
                    <a:pt x="469" y="1058"/>
                    <a:pt x="474" y="1058"/>
                    <a:pt x="480" y="1058"/>
                  </a:cubicBezTo>
                  <a:cubicBezTo>
                    <a:pt x="480" y="1065"/>
                    <a:pt x="481" y="1064"/>
                    <a:pt x="485" y="1065"/>
                  </a:cubicBezTo>
                  <a:cubicBezTo>
                    <a:pt x="486" y="1066"/>
                    <a:pt x="489" y="1069"/>
                    <a:pt x="488" y="1069"/>
                  </a:cubicBezTo>
                  <a:cubicBezTo>
                    <a:pt x="491" y="1069"/>
                    <a:pt x="495" y="1065"/>
                    <a:pt x="496" y="1065"/>
                  </a:cubicBezTo>
                  <a:cubicBezTo>
                    <a:pt x="496" y="1066"/>
                    <a:pt x="495" y="1072"/>
                    <a:pt x="496" y="1073"/>
                  </a:cubicBezTo>
                  <a:cubicBezTo>
                    <a:pt x="497" y="1074"/>
                    <a:pt x="500" y="1072"/>
                    <a:pt x="501" y="1073"/>
                  </a:cubicBezTo>
                  <a:cubicBezTo>
                    <a:pt x="502" y="1073"/>
                    <a:pt x="505" y="1077"/>
                    <a:pt x="504" y="1077"/>
                  </a:cubicBezTo>
                  <a:cubicBezTo>
                    <a:pt x="507" y="1077"/>
                    <a:pt x="511" y="1072"/>
                    <a:pt x="512" y="1073"/>
                  </a:cubicBezTo>
                  <a:cubicBezTo>
                    <a:pt x="514" y="1074"/>
                    <a:pt x="515" y="1082"/>
                    <a:pt x="517" y="1084"/>
                  </a:cubicBezTo>
                  <a:cubicBezTo>
                    <a:pt x="526" y="1087"/>
                    <a:pt x="523" y="1074"/>
                    <a:pt x="531" y="1077"/>
                  </a:cubicBezTo>
                  <a:cubicBezTo>
                    <a:pt x="532" y="1087"/>
                    <a:pt x="545" y="1082"/>
                    <a:pt x="542" y="1099"/>
                  </a:cubicBezTo>
                  <a:cubicBezTo>
                    <a:pt x="550" y="1098"/>
                    <a:pt x="553" y="1105"/>
                    <a:pt x="563" y="1102"/>
                  </a:cubicBezTo>
                  <a:cubicBezTo>
                    <a:pt x="565" y="1112"/>
                    <a:pt x="571" y="1117"/>
                    <a:pt x="574" y="1125"/>
                  </a:cubicBezTo>
                  <a:cubicBezTo>
                    <a:pt x="576" y="1129"/>
                    <a:pt x="574" y="1129"/>
                    <a:pt x="577" y="1132"/>
                  </a:cubicBezTo>
                  <a:cubicBezTo>
                    <a:pt x="577" y="1133"/>
                    <a:pt x="576" y="1138"/>
                    <a:pt x="577" y="1139"/>
                  </a:cubicBezTo>
                  <a:cubicBezTo>
                    <a:pt x="577" y="1140"/>
                    <a:pt x="579" y="1139"/>
                    <a:pt x="579" y="1139"/>
                  </a:cubicBezTo>
                  <a:cubicBezTo>
                    <a:pt x="580" y="1140"/>
                    <a:pt x="579" y="1145"/>
                    <a:pt x="579" y="1147"/>
                  </a:cubicBezTo>
                  <a:cubicBezTo>
                    <a:pt x="580" y="1148"/>
                    <a:pt x="584" y="1149"/>
                    <a:pt x="585" y="1151"/>
                  </a:cubicBezTo>
                  <a:cubicBezTo>
                    <a:pt x="586" y="1154"/>
                    <a:pt x="585" y="1159"/>
                    <a:pt x="587" y="1162"/>
                  </a:cubicBezTo>
                  <a:cubicBezTo>
                    <a:pt x="589" y="1165"/>
                    <a:pt x="593" y="1163"/>
                    <a:pt x="595" y="1165"/>
                  </a:cubicBezTo>
                  <a:cubicBezTo>
                    <a:pt x="599" y="1169"/>
                    <a:pt x="603" y="1175"/>
                    <a:pt x="606" y="1180"/>
                  </a:cubicBezTo>
                  <a:cubicBezTo>
                    <a:pt x="611" y="1186"/>
                    <a:pt x="614" y="1193"/>
                    <a:pt x="617" y="1199"/>
                  </a:cubicBezTo>
                  <a:cubicBezTo>
                    <a:pt x="634" y="1201"/>
                    <a:pt x="644" y="1194"/>
                    <a:pt x="660" y="1195"/>
                  </a:cubicBezTo>
                  <a:cubicBezTo>
                    <a:pt x="670" y="1210"/>
                    <a:pt x="684" y="1205"/>
                    <a:pt x="698" y="1210"/>
                  </a:cubicBezTo>
                  <a:cubicBezTo>
                    <a:pt x="699" y="1210"/>
                    <a:pt x="702" y="1216"/>
                    <a:pt x="703" y="1217"/>
                  </a:cubicBezTo>
                  <a:cubicBezTo>
                    <a:pt x="706" y="1218"/>
                    <a:pt x="710" y="1216"/>
                    <a:pt x="714" y="1217"/>
                  </a:cubicBezTo>
                  <a:cubicBezTo>
                    <a:pt x="714" y="1217"/>
                    <a:pt x="714" y="1220"/>
                    <a:pt x="716" y="1221"/>
                  </a:cubicBezTo>
                  <a:cubicBezTo>
                    <a:pt x="720" y="1222"/>
                    <a:pt x="722" y="1222"/>
                    <a:pt x="724" y="1225"/>
                  </a:cubicBezTo>
                  <a:cubicBezTo>
                    <a:pt x="730" y="1230"/>
                    <a:pt x="736" y="1226"/>
                    <a:pt x="743" y="1228"/>
                  </a:cubicBezTo>
                  <a:cubicBezTo>
                    <a:pt x="744" y="1228"/>
                    <a:pt x="747" y="1235"/>
                    <a:pt x="749" y="1235"/>
                  </a:cubicBezTo>
                  <a:cubicBezTo>
                    <a:pt x="752" y="1237"/>
                    <a:pt x="755" y="1232"/>
                    <a:pt x="757" y="1232"/>
                  </a:cubicBezTo>
                  <a:cubicBezTo>
                    <a:pt x="756" y="1232"/>
                    <a:pt x="758" y="1235"/>
                    <a:pt x="759" y="1235"/>
                  </a:cubicBezTo>
                  <a:cubicBezTo>
                    <a:pt x="763" y="1237"/>
                    <a:pt x="765" y="1238"/>
                    <a:pt x="767" y="1239"/>
                  </a:cubicBezTo>
                  <a:cubicBezTo>
                    <a:pt x="775" y="1242"/>
                    <a:pt x="773" y="1245"/>
                    <a:pt x="778" y="1247"/>
                  </a:cubicBezTo>
                  <a:cubicBezTo>
                    <a:pt x="777" y="1246"/>
                    <a:pt x="780" y="1243"/>
                    <a:pt x="781" y="1243"/>
                  </a:cubicBezTo>
                  <a:cubicBezTo>
                    <a:pt x="784" y="1242"/>
                    <a:pt x="788" y="1245"/>
                    <a:pt x="789" y="1247"/>
                  </a:cubicBezTo>
                  <a:cubicBezTo>
                    <a:pt x="795" y="1255"/>
                    <a:pt x="799" y="1246"/>
                    <a:pt x="805" y="1247"/>
                  </a:cubicBezTo>
                  <a:cubicBezTo>
                    <a:pt x="805" y="1247"/>
                    <a:pt x="806" y="1250"/>
                    <a:pt x="808" y="1250"/>
                  </a:cubicBezTo>
                  <a:cubicBezTo>
                    <a:pt x="809" y="1251"/>
                    <a:pt x="812" y="1250"/>
                    <a:pt x="813" y="1250"/>
                  </a:cubicBezTo>
                  <a:cubicBezTo>
                    <a:pt x="813" y="1251"/>
                    <a:pt x="813" y="1254"/>
                    <a:pt x="813" y="1254"/>
                  </a:cubicBezTo>
                  <a:cubicBezTo>
                    <a:pt x="817" y="1256"/>
                    <a:pt x="823" y="1255"/>
                    <a:pt x="827" y="1258"/>
                  </a:cubicBezTo>
                  <a:cubicBezTo>
                    <a:pt x="827" y="1255"/>
                    <a:pt x="827" y="1250"/>
                    <a:pt x="829" y="1250"/>
                  </a:cubicBezTo>
                  <a:cubicBezTo>
                    <a:pt x="835" y="1258"/>
                    <a:pt x="835" y="1249"/>
                    <a:pt x="840" y="1247"/>
                  </a:cubicBezTo>
                  <a:cubicBezTo>
                    <a:pt x="840" y="1252"/>
                    <a:pt x="840" y="1257"/>
                    <a:pt x="840" y="1261"/>
                  </a:cubicBezTo>
                  <a:cubicBezTo>
                    <a:pt x="845" y="1263"/>
                    <a:pt x="845" y="1256"/>
                    <a:pt x="848" y="1254"/>
                  </a:cubicBezTo>
                  <a:cubicBezTo>
                    <a:pt x="849" y="1258"/>
                    <a:pt x="851" y="1260"/>
                    <a:pt x="854" y="1261"/>
                  </a:cubicBezTo>
                  <a:cubicBezTo>
                    <a:pt x="854" y="1257"/>
                    <a:pt x="853" y="1251"/>
                    <a:pt x="856" y="1250"/>
                  </a:cubicBezTo>
                  <a:cubicBezTo>
                    <a:pt x="864" y="1260"/>
                    <a:pt x="866" y="1254"/>
                    <a:pt x="878" y="1258"/>
                  </a:cubicBezTo>
                  <a:cubicBezTo>
                    <a:pt x="878" y="1262"/>
                    <a:pt x="878" y="1266"/>
                    <a:pt x="883" y="1265"/>
                  </a:cubicBezTo>
                  <a:cubicBezTo>
                    <a:pt x="884" y="1253"/>
                    <a:pt x="888" y="1263"/>
                    <a:pt x="897" y="1258"/>
                  </a:cubicBezTo>
                  <a:cubicBezTo>
                    <a:pt x="896" y="1264"/>
                    <a:pt x="899" y="1267"/>
                    <a:pt x="902" y="1269"/>
                  </a:cubicBezTo>
                  <a:cubicBezTo>
                    <a:pt x="904" y="1263"/>
                    <a:pt x="905" y="1269"/>
                    <a:pt x="907" y="1265"/>
                  </a:cubicBezTo>
                  <a:cubicBezTo>
                    <a:pt x="911" y="1260"/>
                    <a:pt x="921" y="1269"/>
                    <a:pt x="921" y="1269"/>
                  </a:cubicBezTo>
                  <a:cubicBezTo>
                    <a:pt x="923" y="1268"/>
                    <a:pt x="926" y="1255"/>
                    <a:pt x="931" y="1261"/>
                  </a:cubicBezTo>
                  <a:cubicBezTo>
                    <a:pt x="930" y="1276"/>
                    <a:pt x="940" y="1266"/>
                    <a:pt x="945" y="1265"/>
                  </a:cubicBezTo>
                  <a:cubicBezTo>
                    <a:pt x="948" y="1265"/>
                    <a:pt x="949" y="1269"/>
                    <a:pt x="953" y="1269"/>
                  </a:cubicBezTo>
                  <a:cubicBezTo>
                    <a:pt x="952" y="1269"/>
                    <a:pt x="955" y="1265"/>
                    <a:pt x="956" y="1265"/>
                  </a:cubicBezTo>
                  <a:cubicBezTo>
                    <a:pt x="968" y="1258"/>
                    <a:pt x="952" y="1267"/>
                    <a:pt x="953" y="1258"/>
                  </a:cubicBezTo>
                  <a:cubicBezTo>
                    <a:pt x="957" y="1258"/>
                    <a:pt x="959" y="1256"/>
                    <a:pt x="961" y="1254"/>
                  </a:cubicBezTo>
                  <a:cubicBezTo>
                    <a:pt x="966" y="1259"/>
                    <a:pt x="961" y="1276"/>
                    <a:pt x="969" y="1276"/>
                  </a:cubicBezTo>
                  <a:cubicBezTo>
                    <a:pt x="968" y="1266"/>
                    <a:pt x="984" y="1279"/>
                    <a:pt x="983" y="1269"/>
                  </a:cubicBezTo>
                  <a:cubicBezTo>
                    <a:pt x="980" y="1268"/>
                    <a:pt x="978" y="1265"/>
                    <a:pt x="977" y="1261"/>
                  </a:cubicBezTo>
                  <a:cubicBezTo>
                    <a:pt x="990" y="1261"/>
                    <a:pt x="987" y="1259"/>
                    <a:pt x="999" y="1254"/>
                  </a:cubicBezTo>
                  <a:cubicBezTo>
                    <a:pt x="999" y="1260"/>
                    <a:pt x="998" y="1268"/>
                    <a:pt x="1001" y="1269"/>
                  </a:cubicBezTo>
                  <a:cubicBezTo>
                    <a:pt x="1002" y="1264"/>
                    <a:pt x="1002" y="1260"/>
                    <a:pt x="1007" y="1261"/>
                  </a:cubicBezTo>
                  <a:cubicBezTo>
                    <a:pt x="1007" y="1269"/>
                    <a:pt x="999" y="1266"/>
                    <a:pt x="1001" y="1276"/>
                  </a:cubicBezTo>
                  <a:cubicBezTo>
                    <a:pt x="1010" y="1279"/>
                    <a:pt x="1007" y="1267"/>
                    <a:pt x="1012" y="1265"/>
                  </a:cubicBezTo>
                  <a:cubicBezTo>
                    <a:pt x="1016" y="1264"/>
                    <a:pt x="1016" y="1272"/>
                    <a:pt x="1018" y="1273"/>
                  </a:cubicBezTo>
                  <a:cubicBezTo>
                    <a:pt x="1023" y="1275"/>
                    <a:pt x="1027" y="1266"/>
                    <a:pt x="1031" y="1269"/>
                  </a:cubicBezTo>
                  <a:cubicBezTo>
                    <a:pt x="1037" y="1273"/>
                    <a:pt x="1028" y="1282"/>
                    <a:pt x="1034" y="1280"/>
                  </a:cubicBezTo>
                  <a:cubicBezTo>
                    <a:pt x="1036" y="1279"/>
                    <a:pt x="1040" y="1267"/>
                    <a:pt x="1042" y="1265"/>
                  </a:cubicBezTo>
                  <a:cubicBezTo>
                    <a:pt x="1037" y="1264"/>
                    <a:pt x="1035" y="1271"/>
                    <a:pt x="1034" y="1265"/>
                  </a:cubicBezTo>
                  <a:cubicBezTo>
                    <a:pt x="1037" y="1255"/>
                    <a:pt x="1046" y="1268"/>
                    <a:pt x="1050" y="1269"/>
                  </a:cubicBezTo>
                  <a:cubicBezTo>
                    <a:pt x="1050" y="1254"/>
                    <a:pt x="1054" y="1269"/>
                    <a:pt x="1058" y="1269"/>
                  </a:cubicBezTo>
                  <a:cubicBezTo>
                    <a:pt x="1059" y="1269"/>
                    <a:pt x="1059" y="1263"/>
                    <a:pt x="1063" y="1265"/>
                  </a:cubicBezTo>
                  <a:cubicBezTo>
                    <a:pt x="1063" y="1265"/>
                    <a:pt x="1066" y="1269"/>
                    <a:pt x="1066" y="1269"/>
                  </a:cubicBezTo>
                  <a:cubicBezTo>
                    <a:pt x="1072" y="1275"/>
                    <a:pt x="1069" y="1268"/>
                    <a:pt x="1077" y="1269"/>
                  </a:cubicBezTo>
                  <a:cubicBezTo>
                    <a:pt x="1071" y="1277"/>
                    <a:pt x="1078" y="1277"/>
                    <a:pt x="1082" y="1273"/>
                  </a:cubicBezTo>
                  <a:cubicBezTo>
                    <a:pt x="1080" y="1284"/>
                    <a:pt x="1086" y="1284"/>
                    <a:pt x="1090" y="1287"/>
                  </a:cubicBezTo>
                  <a:cubicBezTo>
                    <a:pt x="1090" y="1281"/>
                    <a:pt x="1092" y="1278"/>
                    <a:pt x="1096" y="1276"/>
                  </a:cubicBezTo>
                  <a:cubicBezTo>
                    <a:pt x="1096" y="1282"/>
                    <a:pt x="1095" y="1289"/>
                    <a:pt x="1101" y="1287"/>
                  </a:cubicBezTo>
                  <a:cubicBezTo>
                    <a:pt x="1101" y="1281"/>
                    <a:pt x="1100" y="1276"/>
                    <a:pt x="1098" y="1273"/>
                  </a:cubicBezTo>
                  <a:cubicBezTo>
                    <a:pt x="1102" y="1273"/>
                    <a:pt x="1104" y="1271"/>
                    <a:pt x="1106" y="1269"/>
                  </a:cubicBezTo>
                  <a:cubicBezTo>
                    <a:pt x="1109" y="1274"/>
                    <a:pt x="1110" y="1284"/>
                    <a:pt x="1114" y="1287"/>
                  </a:cubicBezTo>
                  <a:cubicBezTo>
                    <a:pt x="1119" y="1280"/>
                    <a:pt x="1115" y="1278"/>
                    <a:pt x="1114" y="1269"/>
                  </a:cubicBezTo>
                  <a:cubicBezTo>
                    <a:pt x="1117" y="1275"/>
                    <a:pt x="1124" y="1269"/>
                    <a:pt x="1128" y="1273"/>
                  </a:cubicBezTo>
                  <a:cubicBezTo>
                    <a:pt x="1130" y="1274"/>
                    <a:pt x="1128" y="1285"/>
                    <a:pt x="1133" y="1284"/>
                  </a:cubicBezTo>
                  <a:cubicBezTo>
                    <a:pt x="1134" y="1279"/>
                    <a:pt x="1133" y="1273"/>
                    <a:pt x="1136" y="1273"/>
                  </a:cubicBezTo>
                  <a:cubicBezTo>
                    <a:pt x="1136" y="1277"/>
                    <a:pt x="1140" y="1277"/>
                    <a:pt x="1144" y="1276"/>
                  </a:cubicBezTo>
                  <a:cubicBezTo>
                    <a:pt x="1143" y="1284"/>
                    <a:pt x="1148" y="1284"/>
                    <a:pt x="1149" y="1287"/>
                  </a:cubicBezTo>
                  <a:cubicBezTo>
                    <a:pt x="1147" y="1288"/>
                    <a:pt x="1146" y="1290"/>
                    <a:pt x="1147" y="1295"/>
                  </a:cubicBezTo>
                  <a:cubicBezTo>
                    <a:pt x="1157" y="1295"/>
                    <a:pt x="1158" y="1280"/>
                    <a:pt x="1163" y="1273"/>
                  </a:cubicBezTo>
                  <a:cubicBezTo>
                    <a:pt x="1166" y="1273"/>
                    <a:pt x="1170" y="1273"/>
                    <a:pt x="1173" y="1273"/>
                  </a:cubicBezTo>
                  <a:cubicBezTo>
                    <a:pt x="1173" y="1282"/>
                    <a:pt x="1174" y="1288"/>
                    <a:pt x="1181" y="1287"/>
                  </a:cubicBezTo>
                  <a:cubicBezTo>
                    <a:pt x="1182" y="1282"/>
                    <a:pt x="1181" y="1274"/>
                    <a:pt x="1184" y="1273"/>
                  </a:cubicBezTo>
                  <a:cubicBezTo>
                    <a:pt x="1184" y="1277"/>
                    <a:pt x="1188" y="1274"/>
                    <a:pt x="1190" y="1276"/>
                  </a:cubicBezTo>
                  <a:cubicBezTo>
                    <a:pt x="1190" y="1277"/>
                    <a:pt x="1189" y="1283"/>
                    <a:pt x="1190" y="1284"/>
                  </a:cubicBezTo>
                  <a:cubicBezTo>
                    <a:pt x="1195" y="1287"/>
                    <a:pt x="1202" y="1281"/>
                    <a:pt x="1208" y="1280"/>
                  </a:cubicBezTo>
                  <a:cubicBezTo>
                    <a:pt x="1218" y="1287"/>
                    <a:pt x="1208" y="1278"/>
                    <a:pt x="1214" y="1276"/>
                  </a:cubicBezTo>
                  <a:cubicBezTo>
                    <a:pt x="1221" y="1282"/>
                    <a:pt x="1207" y="1306"/>
                    <a:pt x="1222" y="1306"/>
                  </a:cubicBezTo>
                  <a:cubicBezTo>
                    <a:pt x="1223" y="1300"/>
                    <a:pt x="1219" y="1287"/>
                    <a:pt x="1225" y="1287"/>
                  </a:cubicBezTo>
                  <a:cubicBezTo>
                    <a:pt x="1229" y="1301"/>
                    <a:pt x="1233" y="1282"/>
                    <a:pt x="1235" y="1280"/>
                  </a:cubicBezTo>
                  <a:cubicBezTo>
                    <a:pt x="1236" y="1281"/>
                    <a:pt x="1234" y="1290"/>
                    <a:pt x="1235" y="1291"/>
                  </a:cubicBezTo>
                  <a:cubicBezTo>
                    <a:pt x="1244" y="1297"/>
                    <a:pt x="1256" y="1287"/>
                    <a:pt x="1249" y="1306"/>
                  </a:cubicBezTo>
                  <a:cubicBezTo>
                    <a:pt x="1262" y="1313"/>
                    <a:pt x="1253" y="1289"/>
                    <a:pt x="1260" y="1287"/>
                  </a:cubicBezTo>
                  <a:cubicBezTo>
                    <a:pt x="1260" y="1291"/>
                    <a:pt x="1260" y="1295"/>
                    <a:pt x="1260" y="1298"/>
                  </a:cubicBezTo>
                  <a:cubicBezTo>
                    <a:pt x="1268" y="1302"/>
                    <a:pt x="1263" y="1286"/>
                    <a:pt x="1270" y="1287"/>
                  </a:cubicBezTo>
                  <a:cubicBezTo>
                    <a:pt x="1275" y="1289"/>
                    <a:pt x="1277" y="1282"/>
                    <a:pt x="1278" y="1287"/>
                  </a:cubicBezTo>
                  <a:cubicBezTo>
                    <a:pt x="1276" y="1292"/>
                    <a:pt x="1275" y="1297"/>
                    <a:pt x="1276" y="1306"/>
                  </a:cubicBezTo>
                  <a:cubicBezTo>
                    <a:pt x="1285" y="1306"/>
                    <a:pt x="1280" y="1287"/>
                    <a:pt x="1289" y="1287"/>
                  </a:cubicBezTo>
                  <a:cubicBezTo>
                    <a:pt x="1289" y="1294"/>
                    <a:pt x="1291" y="1300"/>
                    <a:pt x="1294" y="1302"/>
                  </a:cubicBezTo>
                  <a:cubicBezTo>
                    <a:pt x="1296" y="1295"/>
                    <a:pt x="1295" y="1286"/>
                    <a:pt x="1303" y="1287"/>
                  </a:cubicBezTo>
                  <a:cubicBezTo>
                    <a:pt x="1304" y="1295"/>
                    <a:pt x="1299" y="1312"/>
                    <a:pt x="1305" y="1313"/>
                  </a:cubicBezTo>
                  <a:cubicBezTo>
                    <a:pt x="1309" y="1311"/>
                    <a:pt x="1306" y="1299"/>
                    <a:pt x="1311" y="1298"/>
                  </a:cubicBezTo>
                  <a:cubicBezTo>
                    <a:pt x="1316" y="1300"/>
                    <a:pt x="1316" y="1293"/>
                    <a:pt x="1319" y="1291"/>
                  </a:cubicBezTo>
                  <a:cubicBezTo>
                    <a:pt x="1322" y="1291"/>
                    <a:pt x="1325" y="1289"/>
                    <a:pt x="1327" y="1287"/>
                  </a:cubicBezTo>
                  <a:cubicBezTo>
                    <a:pt x="1328" y="1296"/>
                    <a:pt x="1319" y="1291"/>
                    <a:pt x="1319" y="1298"/>
                  </a:cubicBezTo>
                  <a:cubicBezTo>
                    <a:pt x="1326" y="1309"/>
                    <a:pt x="1327" y="1291"/>
                    <a:pt x="1338" y="1295"/>
                  </a:cubicBezTo>
                  <a:cubicBezTo>
                    <a:pt x="1342" y="1297"/>
                    <a:pt x="1337" y="1312"/>
                    <a:pt x="1343" y="1313"/>
                  </a:cubicBezTo>
                  <a:cubicBezTo>
                    <a:pt x="1353" y="1295"/>
                    <a:pt x="1338" y="1295"/>
                    <a:pt x="1338" y="1284"/>
                  </a:cubicBezTo>
                  <a:cubicBezTo>
                    <a:pt x="1345" y="1284"/>
                    <a:pt x="1350" y="1288"/>
                    <a:pt x="1348" y="1302"/>
                  </a:cubicBezTo>
                  <a:cubicBezTo>
                    <a:pt x="1352" y="1302"/>
                    <a:pt x="1355" y="1302"/>
                    <a:pt x="1359" y="1302"/>
                  </a:cubicBezTo>
                  <a:cubicBezTo>
                    <a:pt x="1359" y="1290"/>
                    <a:pt x="1353" y="1284"/>
                    <a:pt x="1364" y="1284"/>
                  </a:cubicBezTo>
                  <a:cubicBezTo>
                    <a:pt x="1363" y="1297"/>
                    <a:pt x="1367" y="1305"/>
                    <a:pt x="1375" y="1306"/>
                  </a:cubicBezTo>
                  <a:cubicBezTo>
                    <a:pt x="1376" y="1300"/>
                    <a:pt x="1374" y="1292"/>
                    <a:pt x="1378" y="1291"/>
                  </a:cubicBezTo>
                  <a:cubicBezTo>
                    <a:pt x="1383" y="1292"/>
                    <a:pt x="1380" y="1300"/>
                    <a:pt x="1383" y="1295"/>
                  </a:cubicBezTo>
                  <a:cubicBezTo>
                    <a:pt x="1385" y="1292"/>
                    <a:pt x="1388" y="1292"/>
                    <a:pt x="1391" y="1291"/>
                  </a:cubicBezTo>
                  <a:cubicBezTo>
                    <a:pt x="1387" y="1304"/>
                    <a:pt x="1400" y="1293"/>
                    <a:pt x="1399" y="1302"/>
                  </a:cubicBezTo>
                  <a:cubicBezTo>
                    <a:pt x="1398" y="1309"/>
                    <a:pt x="1389" y="1305"/>
                    <a:pt x="1391" y="1317"/>
                  </a:cubicBezTo>
                  <a:cubicBezTo>
                    <a:pt x="1399" y="1320"/>
                    <a:pt x="1397" y="1310"/>
                    <a:pt x="1402" y="1309"/>
                  </a:cubicBezTo>
                  <a:cubicBezTo>
                    <a:pt x="1403" y="1314"/>
                    <a:pt x="1406" y="1314"/>
                    <a:pt x="1410" y="1313"/>
                  </a:cubicBezTo>
                  <a:cubicBezTo>
                    <a:pt x="1411" y="1318"/>
                    <a:pt x="1414" y="1321"/>
                    <a:pt x="1418" y="1321"/>
                  </a:cubicBezTo>
                  <a:cubicBezTo>
                    <a:pt x="1422" y="1307"/>
                    <a:pt x="1414" y="1301"/>
                    <a:pt x="1424" y="1295"/>
                  </a:cubicBezTo>
                  <a:cubicBezTo>
                    <a:pt x="1423" y="1303"/>
                    <a:pt x="1424" y="1309"/>
                    <a:pt x="1426" y="1313"/>
                  </a:cubicBezTo>
                  <a:cubicBezTo>
                    <a:pt x="1441" y="1318"/>
                    <a:pt x="1443" y="1304"/>
                    <a:pt x="1450" y="1298"/>
                  </a:cubicBezTo>
                  <a:cubicBezTo>
                    <a:pt x="1449" y="1312"/>
                    <a:pt x="1447" y="1315"/>
                    <a:pt x="1456" y="1321"/>
                  </a:cubicBezTo>
                  <a:cubicBezTo>
                    <a:pt x="1456" y="1313"/>
                    <a:pt x="1463" y="1313"/>
                    <a:pt x="1469" y="1313"/>
                  </a:cubicBezTo>
                  <a:cubicBezTo>
                    <a:pt x="1465" y="1324"/>
                    <a:pt x="1481" y="1323"/>
                    <a:pt x="1480" y="1317"/>
                  </a:cubicBezTo>
                  <a:cubicBezTo>
                    <a:pt x="1471" y="1314"/>
                    <a:pt x="1477" y="1305"/>
                    <a:pt x="1480" y="1302"/>
                  </a:cubicBezTo>
                  <a:cubicBezTo>
                    <a:pt x="1483" y="1299"/>
                    <a:pt x="1487" y="1307"/>
                    <a:pt x="1491" y="1306"/>
                  </a:cubicBezTo>
                  <a:cubicBezTo>
                    <a:pt x="1492" y="1305"/>
                    <a:pt x="1493" y="1298"/>
                    <a:pt x="1496" y="1298"/>
                  </a:cubicBezTo>
                  <a:cubicBezTo>
                    <a:pt x="1497" y="1298"/>
                    <a:pt x="1496" y="1305"/>
                    <a:pt x="1496" y="1306"/>
                  </a:cubicBezTo>
                  <a:cubicBezTo>
                    <a:pt x="1498" y="1309"/>
                    <a:pt x="1507" y="1304"/>
                    <a:pt x="1510" y="1306"/>
                  </a:cubicBezTo>
                  <a:cubicBezTo>
                    <a:pt x="1511" y="1313"/>
                    <a:pt x="1511" y="1322"/>
                    <a:pt x="1518" y="1321"/>
                  </a:cubicBezTo>
                  <a:cubicBezTo>
                    <a:pt x="1520" y="1309"/>
                    <a:pt x="1513" y="1309"/>
                    <a:pt x="1512" y="1302"/>
                  </a:cubicBezTo>
                  <a:cubicBezTo>
                    <a:pt x="1520" y="1305"/>
                    <a:pt x="1519" y="1297"/>
                    <a:pt x="1526" y="1298"/>
                  </a:cubicBezTo>
                  <a:cubicBezTo>
                    <a:pt x="1525" y="1309"/>
                    <a:pt x="1536" y="1302"/>
                    <a:pt x="1536" y="1309"/>
                  </a:cubicBezTo>
                  <a:cubicBezTo>
                    <a:pt x="1536" y="1316"/>
                    <a:pt x="1537" y="1321"/>
                    <a:pt x="1539" y="1324"/>
                  </a:cubicBezTo>
                  <a:cubicBezTo>
                    <a:pt x="1548" y="1321"/>
                    <a:pt x="1551" y="1313"/>
                    <a:pt x="1558" y="1324"/>
                  </a:cubicBezTo>
                  <a:cubicBezTo>
                    <a:pt x="1558" y="1321"/>
                    <a:pt x="1560" y="1320"/>
                    <a:pt x="1561" y="1317"/>
                  </a:cubicBezTo>
                  <a:cubicBezTo>
                    <a:pt x="1561" y="1313"/>
                    <a:pt x="1557" y="1311"/>
                    <a:pt x="1561" y="1309"/>
                  </a:cubicBezTo>
                  <a:cubicBezTo>
                    <a:pt x="1569" y="1304"/>
                    <a:pt x="1570" y="1313"/>
                    <a:pt x="1577" y="1306"/>
                  </a:cubicBezTo>
                  <a:cubicBezTo>
                    <a:pt x="1582" y="1313"/>
                    <a:pt x="1575" y="1313"/>
                    <a:pt x="1577" y="1324"/>
                  </a:cubicBezTo>
                  <a:cubicBezTo>
                    <a:pt x="1582" y="1325"/>
                    <a:pt x="1582" y="1319"/>
                    <a:pt x="1585" y="1317"/>
                  </a:cubicBezTo>
                  <a:cubicBezTo>
                    <a:pt x="1590" y="1317"/>
                    <a:pt x="1588" y="1307"/>
                    <a:pt x="1596" y="1309"/>
                  </a:cubicBezTo>
                  <a:cubicBezTo>
                    <a:pt x="1596" y="1331"/>
                    <a:pt x="1611" y="1299"/>
                    <a:pt x="1612" y="1309"/>
                  </a:cubicBezTo>
                  <a:cubicBezTo>
                    <a:pt x="1611" y="1317"/>
                    <a:pt x="1606" y="1319"/>
                    <a:pt x="1606" y="1328"/>
                  </a:cubicBezTo>
                  <a:cubicBezTo>
                    <a:pt x="1616" y="1329"/>
                    <a:pt x="1616" y="1317"/>
                    <a:pt x="1625" y="1317"/>
                  </a:cubicBezTo>
                  <a:cubicBezTo>
                    <a:pt x="1625" y="1322"/>
                    <a:pt x="1630" y="1320"/>
                    <a:pt x="1631" y="1324"/>
                  </a:cubicBezTo>
                  <a:cubicBezTo>
                    <a:pt x="1622" y="1328"/>
                    <a:pt x="1628" y="1333"/>
                    <a:pt x="1631" y="1339"/>
                  </a:cubicBezTo>
                  <a:cubicBezTo>
                    <a:pt x="1636" y="1339"/>
                    <a:pt x="1644" y="1332"/>
                    <a:pt x="1644" y="1332"/>
                  </a:cubicBezTo>
                  <a:cubicBezTo>
                    <a:pt x="1644" y="1332"/>
                    <a:pt x="1644" y="1339"/>
                    <a:pt x="1644" y="1339"/>
                  </a:cubicBezTo>
                  <a:cubicBezTo>
                    <a:pt x="1652" y="1336"/>
                    <a:pt x="1652" y="1336"/>
                    <a:pt x="1660" y="1324"/>
                  </a:cubicBezTo>
                  <a:cubicBezTo>
                    <a:pt x="1661" y="1329"/>
                    <a:pt x="1661" y="1333"/>
                    <a:pt x="1666" y="1332"/>
                  </a:cubicBezTo>
                  <a:cubicBezTo>
                    <a:pt x="1666" y="1327"/>
                    <a:pt x="1666" y="1323"/>
                    <a:pt x="1671" y="1324"/>
                  </a:cubicBezTo>
                  <a:cubicBezTo>
                    <a:pt x="1672" y="1320"/>
                    <a:pt x="1674" y="1316"/>
                    <a:pt x="1676" y="1313"/>
                  </a:cubicBezTo>
                  <a:cubicBezTo>
                    <a:pt x="1678" y="1320"/>
                    <a:pt x="1673" y="1336"/>
                    <a:pt x="1682" y="1332"/>
                  </a:cubicBezTo>
                  <a:cubicBezTo>
                    <a:pt x="1680" y="1318"/>
                    <a:pt x="1684" y="1312"/>
                    <a:pt x="1687" y="1306"/>
                  </a:cubicBezTo>
                  <a:cubicBezTo>
                    <a:pt x="1684" y="1304"/>
                    <a:pt x="1681" y="1302"/>
                    <a:pt x="1679" y="1298"/>
                  </a:cubicBezTo>
                  <a:cubicBezTo>
                    <a:pt x="1691" y="1301"/>
                    <a:pt x="1683" y="1284"/>
                    <a:pt x="1687" y="1284"/>
                  </a:cubicBezTo>
                  <a:cubicBezTo>
                    <a:pt x="1691" y="1285"/>
                    <a:pt x="1692" y="1288"/>
                    <a:pt x="1695" y="1284"/>
                  </a:cubicBezTo>
                  <a:cubicBezTo>
                    <a:pt x="1695" y="1290"/>
                    <a:pt x="1696" y="1295"/>
                    <a:pt x="1698" y="1298"/>
                  </a:cubicBezTo>
                  <a:cubicBezTo>
                    <a:pt x="1693" y="1298"/>
                    <a:pt x="1691" y="1301"/>
                    <a:pt x="1690" y="1306"/>
                  </a:cubicBezTo>
                  <a:cubicBezTo>
                    <a:pt x="1698" y="1306"/>
                    <a:pt x="1706" y="1306"/>
                    <a:pt x="1714" y="1306"/>
                  </a:cubicBezTo>
                  <a:cubicBezTo>
                    <a:pt x="1719" y="1315"/>
                    <a:pt x="1719" y="1332"/>
                    <a:pt x="1725" y="1339"/>
                  </a:cubicBezTo>
                  <a:cubicBezTo>
                    <a:pt x="1735" y="1342"/>
                    <a:pt x="1735" y="1331"/>
                    <a:pt x="1744" y="1332"/>
                  </a:cubicBezTo>
                  <a:cubicBezTo>
                    <a:pt x="1744" y="1337"/>
                    <a:pt x="1742" y="1340"/>
                    <a:pt x="1741" y="1343"/>
                  </a:cubicBezTo>
                  <a:cubicBezTo>
                    <a:pt x="1751" y="1347"/>
                    <a:pt x="1749" y="1334"/>
                    <a:pt x="1757" y="1335"/>
                  </a:cubicBezTo>
                  <a:cubicBezTo>
                    <a:pt x="1759" y="1342"/>
                    <a:pt x="1766" y="1342"/>
                    <a:pt x="1770" y="1347"/>
                  </a:cubicBezTo>
                  <a:cubicBezTo>
                    <a:pt x="1776" y="1344"/>
                    <a:pt x="1770" y="1326"/>
                    <a:pt x="1776" y="1324"/>
                  </a:cubicBezTo>
                  <a:cubicBezTo>
                    <a:pt x="1776" y="1330"/>
                    <a:pt x="1775" y="1338"/>
                    <a:pt x="1778" y="1339"/>
                  </a:cubicBezTo>
                  <a:cubicBezTo>
                    <a:pt x="1780" y="1335"/>
                    <a:pt x="1782" y="1332"/>
                    <a:pt x="1787" y="1332"/>
                  </a:cubicBezTo>
                  <a:cubicBezTo>
                    <a:pt x="1792" y="1337"/>
                    <a:pt x="1802" y="1326"/>
                    <a:pt x="1811" y="1324"/>
                  </a:cubicBezTo>
                  <a:cubicBezTo>
                    <a:pt x="1811" y="1329"/>
                    <a:pt x="1811" y="1334"/>
                    <a:pt x="1811" y="1339"/>
                  </a:cubicBezTo>
                  <a:cubicBezTo>
                    <a:pt x="1813" y="1339"/>
                    <a:pt x="1816" y="1339"/>
                    <a:pt x="1819" y="1339"/>
                  </a:cubicBezTo>
                  <a:cubicBezTo>
                    <a:pt x="1826" y="1334"/>
                    <a:pt x="1813" y="1320"/>
                    <a:pt x="1819" y="1317"/>
                  </a:cubicBezTo>
                  <a:cubicBezTo>
                    <a:pt x="1824" y="1321"/>
                    <a:pt x="1828" y="1327"/>
                    <a:pt x="1832" y="1332"/>
                  </a:cubicBezTo>
                  <a:cubicBezTo>
                    <a:pt x="1832" y="1337"/>
                    <a:pt x="1828" y="1335"/>
                    <a:pt x="1827" y="1339"/>
                  </a:cubicBezTo>
                  <a:cubicBezTo>
                    <a:pt x="1832" y="1342"/>
                    <a:pt x="1835" y="1348"/>
                    <a:pt x="1840" y="1350"/>
                  </a:cubicBezTo>
                  <a:cubicBezTo>
                    <a:pt x="1840" y="1339"/>
                    <a:pt x="1850" y="1346"/>
                    <a:pt x="1854" y="1343"/>
                  </a:cubicBezTo>
                  <a:cubicBezTo>
                    <a:pt x="1855" y="1342"/>
                    <a:pt x="1858" y="1337"/>
                    <a:pt x="1859" y="1335"/>
                  </a:cubicBezTo>
                  <a:cubicBezTo>
                    <a:pt x="1861" y="1333"/>
                    <a:pt x="1861" y="1328"/>
                    <a:pt x="1865" y="1328"/>
                  </a:cubicBezTo>
                  <a:cubicBezTo>
                    <a:pt x="1864" y="1337"/>
                    <a:pt x="1859" y="1340"/>
                    <a:pt x="1867" y="1343"/>
                  </a:cubicBezTo>
                  <a:cubicBezTo>
                    <a:pt x="1867" y="1334"/>
                    <a:pt x="1869" y="1327"/>
                    <a:pt x="1873" y="1324"/>
                  </a:cubicBezTo>
                  <a:cubicBezTo>
                    <a:pt x="1877" y="1331"/>
                    <a:pt x="1874" y="1347"/>
                    <a:pt x="1881" y="1350"/>
                  </a:cubicBezTo>
                  <a:cubicBezTo>
                    <a:pt x="1877" y="1329"/>
                    <a:pt x="1890" y="1349"/>
                    <a:pt x="1891" y="1339"/>
                  </a:cubicBezTo>
                  <a:cubicBezTo>
                    <a:pt x="1888" y="1338"/>
                    <a:pt x="1887" y="1335"/>
                    <a:pt x="1886" y="1332"/>
                  </a:cubicBezTo>
                  <a:cubicBezTo>
                    <a:pt x="1891" y="1332"/>
                    <a:pt x="1894" y="1331"/>
                    <a:pt x="1897" y="1328"/>
                  </a:cubicBezTo>
                  <a:cubicBezTo>
                    <a:pt x="1899" y="1340"/>
                    <a:pt x="1899" y="1336"/>
                    <a:pt x="1894" y="1343"/>
                  </a:cubicBezTo>
                  <a:cubicBezTo>
                    <a:pt x="1904" y="1347"/>
                    <a:pt x="1902" y="1334"/>
                    <a:pt x="1910" y="1335"/>
                  </a:cubicBezTo>
                  <a:cubicBezTo>
                    <a:pt x="1904" y="1343"/>
                    <a:pt x="1911" y="1347"/>
                    <a:pt x="1913" y="1354"/>
                  </a:cubicBezTo>
                  <a:cubicBezTo>
                    <a:pt x="1917" y="1354"/>
                    <a:pt x="1919" y="1352"/>
                    <a:pt x="1921" y="1350"/>
                  </a:cubicBezTo>
                  <a:cubicBezTo>
                    <a:pt x="1921" y="1344"/>
                    <a:pt x="1928" y="1348"/>
                    <a:pt x="1929" y="1343"/>
                  </a:cubicBezTo>
                  <a:cubicBezTo>
                    <a:pt x="1925" y="1343"/>
                    <a:pt x="1929" y="1340"/>
                    <a:pt x="1929" y="1339"/>
                  </a:cubicBezTo>
                  <a:cubicBezTo>
                    <a:pt x="1929" y="1334"/>
                    <a:pt x="1928" y="1331"/>
                    <a:pt x="1926" y="1328"/>
                  </a:cubicBezTo>
                  <a:cubicBezTo>
                    <a:pt x="1930" y="1329"/>
                    <a:pt x="1936" y="1327"/>
                    <a:pt x="1937" y="1332"/>
                  </a:cubicBezTo>
                  <a:cubicBezTo>
                    <a:pt x="1934" y="1332"/>
                    <a:pt x="1931" y="1333"/>
                    <a:pt x="1932" y="1339"/>
                  </a:cubicBezTo>
                  <a:cubicBezTo>
                    <a:pt x="1938" y="1348"/>
                    <a:pt x="1939" y="1333"/>
                    <a:pt x="1945" y="1332"/>
                  </a:cubicBezTo>
                  <a:cubicBezTo>
                    <a:pt x="1949" y="1336"/>
                    <a:pt x="1946" y="1350"/>
                    <a:pt x="1953" y="1350"/>
                  </a:cubicBezTo>
                  <a:cubicBezTo>
                    <a:pt x="1954" y="1346"/>
                    <a:pt x="1953" y="1340"/>
                    <a:pt x="1956" y="1339"/>
                  </a:cubicBezTo>
                  <a:cubicBezTo>
                    <a:pt x="1956" y="1344"/>
                    <a:pt x="1961" y="1343"/>
                    <a:pt x="1961" y="1347"/>
                  </a:cubicBezTo>
                  <a:cubicBezTo>
                    <a:pt x="1962" y="1351"/>
                    <a:pt x="1965" y="1354"/>
                    <a:pt x="1969" y="1354"/>
                  </a:cubicBezTo>
                  <a:cubicBezTo>
                    <a:pt x="1973" y="1353"/>
                    <a:pt x="1973" y="1349"/>
                    <a:pt x="1975" y="1347"/>
                  </a:cubicBezTo>
                  <a:cubicBezTo>
                    <a:pt x="1975" y="1345"/>
                    <a:pt x="1980" y="1339"/>
                    <a:pt x="1980" y="1339"/>
                  </a:cubicBezTo>
                  <a:cubicBezTo>
                    <a:pt x="1982" y="1333"/>
                    <a:pt x="1976" y="1330"/>
                    <a:pt x="1980" y="1328"/>
                  </a:cubicBezTo>
                  <a:cubicBezTo>
                    <a:pt x="1988" y="1331"/>
                    <a:pt x="1984" y="1349"/>
                    <a:pt x="1994" y="1350"/>
                  </a:cubicBezTo>
                  <a:cubicBezTo>
                    <a:pt x="1995" y="1345"/>
                    <a:pt x="1998" y="1341"/>
                    <a:pt x="2002" y="1339"/>
                  </a:cubicBezTo>
                  <a:cubicBezTo>
                    <a:pt x="2002" y="1334"/>
                    <a:pt x="2001" y="1325"/>
                    <a:pt x="2004" y="1324"/>
                  </a:cubicBezTo>
                  <a:cubicBezTo>
                    <a:pt x="2008" y="1326"/>
                    <a:pt x="2010" y="1329"/>
                    <a:pt x="2010" y="1335"/>
                  </a:cubicBezTo>
                  <a:cubicBezTo>
                    <a:pt x="2018" y="1342"/>
                    <a:pt x="2021" y="1322"/>
                    <a:pt x="2023" y="1332"/>
                  </a:cubicBezTo>
                  <a:cubicBezTo>
                    <a:pt x="2019" y="1335"/>
                    <a:pt x="2019" y="1344"/>
                    <a:pt x="2018" y="1350"/>
                  </a:cubicBezTo>
                  <a:cubicBezTo>
                    <a:pt x="2025" y="1351"/>
                    <a:pt x="2029" y="1357"/>
                    <a:pt x="2037" y="1358"/>
                  </a:cubicBezTo>
                  <a:cubicBezTo>
                    <a:pt x="2046" y="1349"/>
                    <a:pt x="2032" y="1329"/>
                    <a:pt x="2037" y="1328"/>
                  </a:cubicBezTo>
                  <a:cubicBezTo>
                    <a:pt x="2047" y="1331"/>
                    <a:pt x="2040" y="1341"/>
                    <a:pt x="2045" y="1347"/>
                  </a:cubicBezTo>
                  <a:cubicBezTo>
                    <a:pt x="2046" y="1342"/>
                    <a:pt x="2048" y="1338"/>
                    <a:pt x="2050" y="1335"/>
                  </a:cubicBezTo>
                  <a:cubicBezTo>
                    <a:pt x="2057" y="1340"/>
                    <a:pt x="2043" y="1351"/>
                    <a:pt x="2055" y="1350"/>
                  </a:cubicBezTo>
                  <a:cubicBezTo>
                    <a:pt x="2056" y="1345"/>
                    <a:pt x="2075" y="1337"/>
                    <a:pt x="2079" y="1335"/>
                  </a:cubicBezTo>
                  <a:cubicBezTo>
                    <a:pt x="2079" y="68"/>
                    <a:pt x="2079" y="68"/>
                    <a:pt x="2079" y="68"/>
                  </a:cubicBezTo>
                  <a:cubicBezTo>
                    <a:pt x="2079" y="68"/>
                    <a:pt x="2061" y="100"/>
                    <a:pt x="2061" y="100"/>
                  </a:cubicBezTo>
                  <a:cubicBezTo>
                    <a:pt x="2059" y="102"/>
                    <a:pt x="2052" y="98"/>
                    <a:pt x="2050" y="100"/>
                  </a:cubicBezTo>
                  <a:close/>
                  <a:moveTo>
                    <a:pt x="28" y="300"/>
                  </a:moveTo>
                  <a:cubicBezTo>
                    <a:pt x="24" y="315"/>
                    <a:pt x="23" y="298"/>
                    <a:pt x="17" y="296"/>
                  </a:cubicBezTo>
                  <a:cubicBezTo>
                    <a:pt x="22" y="283"/>
                    <a:pt x="21" y="305"/>
                    <a:pt x="28" y="300"/>
                  </a:cubicBezTo>
                  <a:close/>
                  <a:moveTo>
                    <a:pt x="17" y="318"/>
                  </a:moveTo>
                  <a:cubicBezTo>
                    <a:pt x="15" y="316"/>
                    <a:pt x="24" y="315"/>
                    <a:pt x="25" y="315"/>
                  </a:cubicBezTo>
                  <a:cubicBezTo>
                    <a:pt x="25" y="315"/>
                    <a:pt x="25" y="311"/>
                    <a:pt x="25" y="311"/>
                  </a:cubicBezTo>
                  <a:cubicBezTo>
                    <a:pt x="35" y="313"/>
                    <a:pt x="21" y="323"/>
                    <a:pt x="17" y="318"/>
                  </a:cubicBezTo>
                  <a:close/>
                  <a:moveTo>
                    <a:pt x="31" y="311"/>
                  </a:moveTo>
                  <a:cubicBezTo>
                    <a:pt x="32" y="307"/>
                    <a:pt x="43" y="299"/>
                    <a:pt x="36" y="296"/>
                  </a:cubicBezTo>
                  <a:cubicBezTo>
                    <a:pt x="44" y="282"/>
                    <a:pt x="44" y="321"/>
                    <a:pt x="31" y="311"/>
                  </a:cubicBezTo>
                  <a:close/>
                  <a:moveTo>
                    <a:pt x="39" y="352"/>
                  </a:moveTo>
                  <a:cubicBezTo>
                    <a:pt x="40" y="347"/>
                    <a:pt x="42" y="344"/>
                    <a:pt x="47" y="344"/>
                  </a:cubicBezTo>
                  <a:cubicBezTo>
                    <a:pt x="46" y="349"/>
                    <a:pt x="43" y="352"/>
                    <a:pt x="39" y="352"/>
                  </a:cubicBezTo>
                  <a:close/>
                  <a:moveTo>
                    <a:pt x="41" y="215"/>
                  </a:moveTo>
                  <a:cubicBezTo>
                    <a:pt x="45" y="216"/>
                    <a:pt x="47" y="220"/>
                    <a:pt x="47" y="226"/>
                  </a:cubicBezTo>
                  <a:cubicBezTo>
                    <a:pt x="44" y="224"/>
                    <a:pt x="41" y="221"/>
                    <a:pt x="41" y="215"/>
                  </a:cubicBezTo>
                  <a:close/>
                  <a:moveTo>
                    <a:pt x="41" y="677"/>
                  </a:moveTo>
                  <a:cubicBezTo>
                    <a:pt x="43" y="675"/>
                    <a:pt x="49" y="681"/>
                    <a:pt x="49" y="681"/>
                  </a:cubicBezTo>
                  <a:cubicBezTo>
                    <a:pt x="53" y="694"/>
                    <a:pt x="36" y="684"/>
                    <a:pt x="41" y="677"/>
                  </a:cubicBezTo>
                  <a:close/>
                  <a:moveTo>
                    <a:pt x="189" y="644"/>
                  </a:moveTo>
                  <a:cubicBezTo>
                    <a:pt x="194" y="643"/>
                    <a:pt x="194" y="647"/>
                    <a:pt x="197" y="648"/>
                  </a:cubicBezTo>
                  <a:cubicBezTo>
                    <a:pt x="198" y="655"/>
                    <a:pt x="185" y="653"/>
                    <a:pt x="189" y="644"/>
                  </a:cubicBezTo>
                  <a:close/>
                  <a:moveTo>
                    <a:pt x="192" y="337"/>
                  </a:moveTo>
                  <a:cubicBezTo>
                    <a:pt x="191" y="343"/>
                    <a:pt x="184" y="340"/>
                    <a:pt x="187" y="352"/>
                  </a:cubicBezTo>
                  <a:cubicBezTo>
                    <a:pt x="180" y="351"/>
                    <a:pt x="180" y="342"/>
                    <a:pt x="184" y="337"/>
                  </a:cubicBezTo>
                  <a:cubicBezTo>
                    <a:pt x="176" y="325"/>
                    <a:pt x="165" y="336"/>
                    <a:pt x="154" y="329"/>
                  </a:cubicBezTo>
                  <a:cubicBezTo>
                    <a:pt x="156" y="332"/>
                    <a:pt x="157" y="335"/>
                    <a:pt x="157" y="341"/>
                  </a:cubicBezTo>
                  <a:cubicBezTo>
                    <a:pt x="165" y="336"/>
                    <a:pt x="169" y="339"/>
                    <a:pt x="170" y="352"/>
                  </a:cubicBezTo>
                  <a:cubicBezTo>
                    <a:pt x="167" y="350"/>
                    <a:pt x="166" y="345"/>
                    <a:pt x="163" y="344"/>
                  </a:cubicBezTo>
                  <a:cubicBezTo>
                    <a:pt x="161" y="352"/>
                    <a:pt x="168" y="350"/>
                    <a:pt x="168" y="355"/>
                  </a:cubicBezTo>
                  <a:cubicBezTo>
                    <a:pt x="171" y="356"/>
                    <a:pt x="170" y="363"/>
                    <a:pt x="173" y="363"/>
                  </a:cubicBezTo>
                  <a:cubicBezTo>
                    <a:pt x="172" y="371"/>
                    <a:pt x="158" y="362"/>
                    <a:pt x="160" y="374"/>
                  </a:cubicBezTo>
                  <a:cubicBezTo>
                    <a:pt x="156" y="373"/>
                    <a:pt x="158" y="365"/>
                    <a:pt x="157" y="359"/>
                  </a:cubicBezTo>
                  <a:cubicBezTo>
                    <a:pt x="161" y="359"/>
                    <a:pt x="164" y="359"/>
                    <a:pt x="168" y="359"/>
                  </a:cubicBezTo>
                  <a:cubicBezTo>
                    <a:pt x="168" y="353"/>
                    <a:pt x="162" y="358"/>
                    <a:pt x="160" y="355"/>
                  </a:cubicBezTo>
                  <a:cubicBezTo>
                    <a:pt x="157" y="353"/>
                    <a:pt x="162" y="337"/>
                    <a:pt x="152" y="344"/>
                  </a:cubicBezTo>
                  <a:cubicBezTo>
                    <a:pt x="153" y="331"/>
                    <a:pt x="149" y="325"/>
                    <a:pt x="144" y="322"/>
                  </a:cubicBezTo>
                  <a:cubicBezTo>
                    <a:pt x="144" y="318"/>
                    <a:pt x="149" y="320"/>
                    <a:pt x="149" y="315"/>
                  </a:cubicBezTo>
                  <a:cubicBezTo>
                    <a:pt x="149" y="307"/>
                    <a:pt x="139" y="313"/>
                    <a:pt x="135" y="311"/>
                  </a:cubicBezTo>
                  <a:cubicBezTo>
                    <a:pt x="135" y="318"/>
                    <a:pt x="139" y="319"/>
                    <a:pt x="138" y="326"/>
                  </a:cubicBezTo>
                  <a:cubicBezTo>
                    <a:pt x="136" y="323"/>
                    <a:pt x="131" y="320"/>
                    <a:pt x="130" y="326"/>
                  </a:cubicBezTo>
                  <a:cubicBezTo>
                    <a:pt x="123" y="323"/>
                    <a:pt x="135" y="316"/>
                    <a:pt x="133" y="307"/>
                  </a:cubicBezTo>
                  <a:cubicBezTo>
                    <a:pt x="144" y="301"/>
                    <a:pt x="153" y="317"/>
                    <a:pt x="154" y="311"/>
                  </a:cubicBezTo>
                  <a:cubicBezTo>
                    <a:pt x="163" y="315"/>
                    <a:pt x="151" y="321"/>
                    <a:pt x="152" y="326"/>
                  </a:cubicBezTo>
                  <a:cubicBezTo>
                    <a:pt x="160" y="328"/>
                    <a:pt x="160" y="319"/>
                    <a:pt x="168" y="322"/>
                  </a:cubicBezTo>
                  <a:cubicBezTo>
                    <a:pt x="171" y="316"/>
                    <a:pt x="163" y="315"/>
                    <a:pt x="163" y="315"/>
                  </a:cubicBezTo>
                  <a:cubicBezTo>
                    <a:pt x="162" y="309"/>
                    <a:pt x="171" y="313"/>
                    <a:pt x="170" y="307"/>
                  </a:cubicBezTo>
                  <a:cubicBezTo>
                    <a:pt x="171" y="297"/>
                    <a:pt x="154" y="310"/>
                    <a:pt x="154" y="300"/>
                  </a:cubicBezTo>
                  <a:cubicBezTo>
                    <a:pt x="151" y="298"/>
                    <a:pt x="140" y="304"/>
                    <a:pt x="141" y="296"/>
                  </a:cubicBezTo>
                  <a:cubicBezTo>
                    <a:pt x="145" y="296"/>
                    <a:pt x="150" y="296"/>
                    <a:pt x="154" y="296"/>
                  </a:cubicBezTo>
                  <a:cubicBezTo>
                    <a:pt x="159" y="296"/>
                    <a:pt x="160" y="301"/>
                    <a:pt x="165" y="300"/>
                  </a:cubicBezTo>
                  <a:cubicBezTo>
                    <a:pt x="169" y="298"/>
                    <a:pt x="165" y="297"/>
                    <a:pt x="165" y="292"/>
                  </a:cubicBezTo>
                  <a:cubicBezTo>
                    <a:pt x="168" y="293"/>
                    <a:pt x="170" y="292"/>
                    <a:pt x="170" y="289"/>
                  </a:cubicBezTo>
                  <a:cubicBezTo>
                    <a:pt x="176" y="289"/>
                    <a:pt x="171" y="297"/>
                    <a:pt x="170" y="296"/>
                  </a:cubicBezTo>
                  <a:cubicBezTo>
                    <a:pt x="173" y="308"/>
                    <a:pt x="177" y="297"/>
                    <a:pt x="187" y="304"/>
                  </a:cubicBezTo>
                  <a:cubicBezTo>
                    <a:pt x="186" y="309"/>
                    <a:pt x="180" y="307"/>
                    <a:pt x="176" y="307"/>
                  </a:cubicBezTo>
                  <a:cubicBezTo>
                    <a:pt x="172" y="310"/>
                    <a:pt x="172" y="319"/>
                    <a:pt x="170" y="326"/>
                  </a:cubicBezTo>
                  <a:cubicBezTo>
                    <a:pt x="181" y="328"/>
                    <a:pt x="179" y="301"/>
                    <a:pt x="189" y="315"/>
                  </a:cubicBezTo>
                  <a:cubicBezTo>
                    <a:pt x="191" y="320"/>
                    <a:pt x="182" y="316"/>
                    <a:pt x="181" y="318"/>
                  </a:cubicBezTo>
                  <a:cubicBezTo>
                    <a:pt x="180" y="323"/>
                    <a:pt x="188" y="320"/>
                    <a:pt x="189" y="322"/>
                  </a:cubicBezTo>
                  <a:cubicBezTo>
                    <a:pt x="192" y="325"/>
                    <a:pt x="187" y="338"/>
                    <a:pt x="192" y="337"/>
                  </a:cubicBezTo>
                  <a:close/>
                  <a:moveTo>
                    <a:pt x="189" y="422"/>
                  </a:moveTo>
                  <a:cubicBezTo>
                    <a:pt x="190" y="425"/>
                    <a:pt x="178" y="426"/>
                    <a:pt x="173" y="422"/>
                  </a:cubicBezTo>
                  <a:cubicBezTo>
                    <a:pt x="171" y="420"/>
                    <a:pt x="181" y="416"/>
                    <a:pt x="181" y="418"/>
                  </a:cubicBezTo>
                  <a:cubicBezTo>
                    <a:pt x="180" y="412"/>
                    <a:pt x="176" y="418"/>
                    <a:pt x="173" y="415"/>
                  </a:cubicBezTo>
                  <a:cubicBezTo>
                    <a:pt x="173" y="414"/>
                    <a:pt x="172" y="408"/>
                    <a:pt x="170" y="411"/>
                  </a:cubicBezTo>
                  <a:cubicBezTo>
                    <a:pt x="170" y="411"/>
                    <a:pt x="170" y="415"/>
                    <a:pt x="170" y="415"/>
                  </a:cubicBezTo>
                  <a:cubicBezTo>
                    <a:pt x="168" y="414"/>
                    <a:pt x="166" y="412"/>
                    <a:pt x="163" y="411"/>
                  </a:cubicBezTo>
                  <a:cubicBezTo>
                    <a:pt x="159" y="410"/>
                    <a:pt x="157" y="407"/>
                    <a:pt x="154" y="407"/>
                  </a:cubicBezTo>
                  <a:cubicBezTo>
                    <a:pt x="152" y="407"/>
                    <a:pt x="151" y="414"/>
                    <a:pt x="152" y="415"/>
                  </a:cubicBezTo>
                  <a:cubicBezTo>
                    <a:pt x="148" y="414"/>
                    <a:pt x="151" y="409"/>
                    <a:pt x="149" y="407"/>
                  </a:cubicBezTo>
                  <a:cubicBezTo>
                    <a:pt x="146" y="405"/>
                    <a:pt x="137" y="416"/>
                    <a:pt x="138" y="403"/>
                  </a:cubicBezTo>
                  <a:cubicBezTo>
                    <a:pt x="131" y="406"/>
                    <a:pt x="134" y="405"/>
                    <a:pt x="128" y="403"/>
                  </a:cubicBezTo>
                  <a:cubicBezTo>
                    <a:pt x="123" y="402"/>
                    <a:pt x="113" y="406"/>
                    <a:pt x="117" y="396"/>
                  </a:cubicBezTo>
                  <a:cubicBezTo>
                    <a:pt x="124" y="396"/>
                    <a:pt x="122" y="402"/>
                    <a:pt x="128" y="396"/>
                  </a:cubicBezTo>
                  <a:cubicBezTo>
                    <a:pt x="127" y="392"/>
                    <a:pt x="123" y="393"/>
                    <a:pt x="119" y="392"/>
                  </a:cubicBezTo>
                  <a:cubicBezTo>
                    <a:pt x="123" y="376"/>
                    <a:pt x="130" y="393"/>
                    <a:pt x="133" y="400"/>
                  </a:cubicBezTo>
                  <a:cubicBezTo>
                    <a:pt x="137" y="403"/>
                    <a:pt x="141" y="396"/>
                    <a:pt x="141" y="396"/>
                  </a:cubicBezTo>
                  <a:cubicBezTo>
                    <a:pt x="144" y="396"/>
                    <a:pt x="145" y="403"/>
                    <a:pt x="146" y="403"/>
                  </a:cubicBezTo>
                  <a:cubicBezTo>
                    <a:pt x="147" y="404"/>
                    <a:pt x="158" y="393"/>
                    <a:pt x="160" y="403"/>
                  </a:cubicBezTo>
                  <a:cubicBezTo>
                    <a:pt x="162" y="403"/>
                    <a:pt x="162" y="400"/>
                    <a:pt x="165" y="400"/>
                  </a:cubicBezTo>
                  <a:cubicBezTo>
                    <a:pt x="162" y="396"/>
                    <a:pt x="164" y="386"/>
                    <a:pt x="157" y="389"/>
                  </a:cubicBezTo>
                  <a:cubicBezTo>
                    <a:pt x="159" y="385"/>
                    <a:pt x="163" y="385"/>
                    <a:pt x="163" y="378"/>
                  </a:cubicBezTo>
                  <a:cubicBezTo>
                    <a:pt x="167" y="378"/>
                    <a:pt x="171" y="378"/>
                    <a:pt x="176" y="378"/>
                  </a:cubicBezTo>
                  <a:cubicBezTo>
                    <a:pt x="176" y="386"/>
                    <a:pt x="174" y="389"/>
                    <a:pt x="168" y="389"/>
                  </a:cubicBezTo>
                  <a:cubicBezTo>
                    <a:pt x="167" y="398"/>
                    <a:pt x="173" y="397"/>
                    <a:pt x="170" y="407"/>
                  </a:cubicBezTo>
                  <a:cubicBezTo>
                    <a:pt x="174" y="408"/>
                    <a:pt x="175" y="406"/>
                    <a:pt x="176" y="403"/>
                  </a:cubicBezTo>
                  <a:cubicBezTo>
                    <a:pt x="183" y="412"/>
                    <a:pt x="183" y="408"/>
                    <a:pt x="192" y="411"/>
                  </a:cubicBezTo>
                  <a:cubicBezTo>
                    <a:pt x="192" y="414"/>
                    <a:pt x="189" y="414"/>
                    <a:pt x="187" y="415"/>
                  </a:cubicBezTo>
                  <a:cubicBezTo>
                    <a:pt x="186" y="419"/>
                    <a:pt x="187" y="421"/>
                    <a:pt x="189" y="422"/>
                  </a:cubicBezTo>
                  <a:close/>
                  <a:moveTo>
                    <a:pt x="168" y="440"/>
                  </a:moveTo>
                  <a:cubicBezTo>
                    <a:pt x="169" y="447"/>
                    <a:pt x="153" y="447"/>
                    <a:pt x="157" y="437"/>
                  </a:cubicBezTo>
                  <a:cubicBezTo>
                    <a:pt x="162" y="436"/>
                    <a:pt x="163" y="441"/>
                    <a:pt x="168" y="440"/>
                  </a:cubicBezTo>
                  <a:close/>
                  <a:moveTo>
                    <a:pt x="152" y="444"/>
                  </a:moveTo>
                  <a:cubicBezTo>
                    <a:pt x="149" y="438"/>
                    <a:pt x="142" y="443"/>
                    <a:pt x="138" y="440"/>
                  </a:cubicBezTo>
                  <a:cubicBezTo>
                    <a:pt x="136" y="439"/>
                    <a:pt x="137" y="433"/>
                    <a:pt x="133" y="433"/>
                  </a:cubicBezTo>
                  <a:cubicBezTo>
                    <a:pt x="130" y="433"/>
                    <a:pt x="131" y="428"/>
                    <a:pt x="130" y="426"/>
                  </a:cubicBezTo>
                  <a:cubicBezTo>
                    <a:pt x="127" y="426"/>
                    <a:pt x="128" y="432"/>
                    <a:pt x="128" y="437"/>
                  </a:cubicBezTo>
                  <a:cubicBezTo>
                    <a:pt x="122" y="435"/>
                    <a:pt x="116" y="435"/>
                    <a:pt x="117" y="426"/>
                  </a:cubicBezTo>
                  <a:cubicBezTo>
                    <a:pt x="109" y="425"/>
                    <a:pt x="111" y="432"/>
                    <a:pt x="106" y="426"/>
                  </a:cubicBezTo>
                  <a:cubicBezTo>
                    <a:pt x="109" y="409"/>
                    <a:pt x="114" y="425"/>
                    <a:pt x="119" y="426"/>
                  </a:cubicBezTo>
                  <a:cubicBezTo>
                    <a:pt x="124" y="426"/>
                    <a:pt x="125" y="421"/>
                    <a:pt x="130" y="422"/>
                  </a:cubicBezTo>
                  <a:cubicBezTo>
                    <a:pt x="133" y="430"/>
                    <a:pt x="138" y="435"/>
                    <a:pt x="146" y="437"/>
                  </a:cubicBezTo>
                  <a:cubicBezTo>
                    <a:pt x="153" y="438"/>
                    <a:pt x="145" y="420"/>
                    <a:pt x="154" y="426"/>
                  </a:cubicBezTo>
                  <a:cubicBezTo>
                    <a:pt x="157" y="430"/>
                    <a:pt x="157" y="433"/>
                    <a:pt x="152" y="433"/>
                  </a:cubicBezTo>
                  <a:cubicBezTo>
                    <a:pt x="155" y="438"/>
                    <a:pt x="153" y="439"/>
                    <a:pt x="152" y="444"/>
                  </a:cubicBezTo>
                  <a:close/>
                  <a:moveTo>
                    <a:pt x="141" y="518"/>
                  </a:moveTo>
                  <a:cubicBezTo>
                    <a:pt x="138" y="525"/>
                    <a:pt x="131" y="526"/>
                    <a:pt x="128" y="533"/>
                  </a:cubicBezTo>
                  <a:cubicBezTo>
                    <a:pt x="122" y="531"/>
                    <a:pt x="125" y="519"/>
                    <a:pt x="117" y="522"/>
                  </a:cubicBezTo>
                  <a:cubicBezTo>
                    <a:pt x="116" y="515"/>
                    <a:pt x="129" y="516"/>
                    <a:pt x="125" y="525"/>
                  </a:cubicBezTo>
                  <a:cubicBezTo>
                    <a:pt x="131" y="526"/>
                    <a:pt x="133" y="522"/>
                    <a:pt x="133" y="514"/>
                  </a:cubicBezTo>
                  <a:cubicBezTo>
                    <a:pt x="132" y="510"/>
                    <a:pt x="118" y="506"/>
                    <a:pt x="119" y="511"/>
                  </a:cubicBezTo>
                  <a:cubicBezTo>
                    <a:pt x="111" y="508"/>
                    <a:pt x="122" y="503"/>
                    <a:pt x="119" y="496"/>
                  </a:cubicBezTo>
                  <a:cubicBezTo>
                    <a:pt x="123" y="501"/>
                    <a:pt x="131" y="500"/>
                    <a:pt x="138" y="500"/>
                  </a:cubicBezTo>
                  <a:cubicBezTo>
                    <a:pt x="143" y="509"/>
                    <a:pt x="135" y="513"/>
                    <a:pt x="141" y="518"/>
                  </a:cubicBezTo>
                  <a:close/>
                  <a:moveTo>
                    <a:pt x="133" y="559"/>
                  </a:moveTo>
                  <a:cubicBezTo>
                    <a:pt x="135" y="545"/>
                    <a:pt x="145" y="579"/>
                    <a:pt x="133" y="574"/>
                  </a:cubicBezTo>
                  <a:cubicBezTo>
                    <a:pt x="129" y="565"/>
                    <a:pt x="140" y="560"/>
                    <a:pt x="133" y="559"/>
                  </a:cubicBezTo>
                  <a:close/>
                  <a:moveTo>
                    <a:pt x="130" y="533"/>
                  </a:moveTo>
                  <a:cubicBezTo>
                    <a:pt x="138" y="534"/>
                    <a:pt x="136" y="547"/>
                    <a:pt x="141" y="551"/>
                  </a:cubicBezTo>
                  <a:cubicBezTo>
                    <a:pt x="138" y="559"/>
                    <a:pt x="130" y="542"/>
                    <a:pt x="130" y="533"/>
                  </a:cubicBezTo>
                  <a:close/>
                  <a:moveTo>
                    <a:pt x="125" y="540"/>
                  </a:moveTo>
                  <a:cubicBezTo>
                    <a:pt x="123" y="539"/>
                    <a:pt x="118" y="542"/>
                    <a:pt x="117" y="540"/>
                  </a:cubicBezTo>
                  <a:cubicBezTo>
                    <a:pt x="112" y="531"/>
                    <a:pt x="134" y="538"/>
                    <a:pt x="128" y="548"/>
                  </a:cubicBezTo>
                  <a:cubicBezTo>
                    <a:pt x="126" y="550"/>
                    <a:pt x="125" y="540"/>
                    <a:pt x="125" y="540"/>
                  </a:cubicBezTo>
                  <a:close/>
                  <a:moveTo>
                    <a:pt x="125" y="574"/>
                  </a:moveTo>
                  <a:cubicBezTo>
                    <a:pt x="123" y="574"/>
                    <a:pt x="121" y="568"/>
                    <a:pt x="122" y="566"/>
                  </a:cubicBezTo>
                  <a:cubicBezTo>
                    <a:pt x="126" y="553"/>
                    <a:pt x="127" y="573"/>
                    <a:pt x="125" y="574"/>
                  </a:cubicBezTo>
                  <a:close/>
                  <a:moveTo>
                    <a:pt x="125" y="611"/>
                  </a:moveTo>
                  <a:cubicBezTo>
                    <a:pt x="124" y="615"/>
                    <a:pt x="122" y="613"/>
                    <a:pt x="122" y="611"/>
                  </a:cubicBezTo>
                  <a:cubicBezTo>
                    <a:pt x="120" y="612"/>
                    <a:pt x="117" y="614"/>
                    <a:pt x="117" y="618"/>
                  </a:cubicBezTo>
                  <a:cubicBezTo>
                    <a:pt x="110" y="616"/>
                    <a:pt x="116" y="604"/>
                    <a:pt x="122" y="607"/>
                  </a:cubicBezTo>
                  <a:cubicBezTo>
                    <a:pt x="122" y="610"/>
                    <a:pt x="123" y="610"/>
                    <a:pt x="125" y="611"/>
                  </a:cubicBezTo>
                  <a:close/>
                  <a:moveTo>
                    <a:pt x="111" y="599"/>
                  </a:moveTo>
                  <a:cubicBezTo>
                    <a:pt x="112" y="592"/>
                    <a:pt x="123" y="600"/>
                    <a:pt x="125" y="603"/>
                  </a:cubicBezTo>
                  <a:cubicBezTo>
                    <a:pt x="133" y="608"/>
                    <a:pt x="114" y="602"/>
                    <a:pt x="111" y="599"/>
                  </a:cubicBezTo>
                  <a:close/>
                  <a:moveTo>
                    <a:pt x="93" y="592"/>
                  </a:moveTo>
                  <a:cubicBezTo>
                    <a:pt x="95" y="592"/>
                    <a:pt x="95" y="597"/>
                    <a:pt x="95" y="599"/>
                  </a:cubicBezTo>
                  <a:cubicBezTo>
                    <a:pt x="97" y="594"/>
                    <a:pt x="106" y="599"/>
                    <a:pt x="106" y="592"/>
                  </a:cubicBezTo>
                  <a:cubicBezTo>
                    <a:pt x="109" y="593"/>
                    <a:pt x="109" y="599"/>
                    <a:pt x="106" y="599"/>
                  </a:cubicBezTo>
                  <a:cubicBezTo>
                    <a:pt x="99" y="598"/>
                    <a:pt x="104" y="614"/>
                    <a:pt x="95" y="611"/>
                  </a:cubicBezTo>
                  <a:cubicBezTo>
                    <a:pt x="96" y="602"/>
                    <a:pt x="90" y="603"/>
                    <a:pt x="93" y="592"/>
                  </a:cubicBezTo>
                  <a:close/>
                  <a:moveTo>
                    <a:pt x="93" y="389"/>
                  </a:moveTo>
                  <a:cubicBezTo>
                    <a:pt x="100" y="389"/>
                    <a:pt x="98" y="404"/>
                    <a:pt x="90" y="403"/>
                  </a:cubicBezTo>
                  <a:cubicBezTo>
                    <a:pt x="92" y="400"/>
                    <a:pt x="93" y="395"/>
                    <a:pt x="93" y="389"/>
                  </a:cubicBezTo>
                  <a:close/>
                  <a:moveTo>
                    <a:pt x="87" y="315"/>
                  </a:moveTo>
                  <a:cubicBezTo>
                    <a:pt x="87" y="312"/>
                    <a:pt x="87" y="310"/>
                    <a:pt x="87" y="307"/>
                  </a:cubicBezTo>
                  <a:cubicBezTo>
                    <a:pt x="89" y="308"/>
                    <a:pt x="90" y="306"/>
                    <a:pt x="90" y="304"/>
                  </a:cubicBezTo>
                  <a:cubicBezTo>
                    <a:pt x="95" y="302"/>
                    <a:pt x="94" y="320"/>
                    <a:pt x="87" y="315"/>
                  </a:cubicBezTo>
                  <a:close/>
                  <a:moveTo>
                    <a:pt x="122" y="352"/>
                  </a:moveTo>
                  <a:cubicBezTo>
                    <a:pt x="119" y="355"/>
                    <a:pt x="115" y="357"/>
                    <a:pt x="109" y="355"/>
                  </a:cubicBezTo>
                  <a:cubicBezTo>
                    <a:pt x="109" y="353"/>
                    <a:pt x="109" y="350"/>
                    <a:pt x="109" y="348"/>
                  </a:cubicBezTo>
                  <a:cubicBezTo>
                    <a:pt x="111" y="349"/>
                    <a:pt x="111" y="346"/>
                    <a:pt x="111" y="344"/>
                  </a:cubicBezTo>
                  <a:cubicBezTo>
                    <a:pt x="114" y="345"/>
                    <a:pt x="113" y="352"/>
                    <a:pt x="117" y="352"/>
                  </a:cubicBezTo>
                  <a:cubicBezTo>
                    <a:pt x="119" y="352"/>
                    <a:pt x="119" y="350"/>
                    <a:pt x="119" y="348"/>
                  </a:cubicBezTo>
                  <a:cubicBezTo>
                    <a:pt x="121" y="342"/>
                    <a:pt x="122" y="348"/>
                    <a:pt x="122" y="352"/>
                  </a:cubicBezTo>
                  <a:close/>
                  <a:moveTo>
                    <a:pt x="125" y="381"/>
                  </a:moveTo>
                  <a:cubicBezTo>
                    <a:pt x="115" y="380"/>
                    <a:pt x="118" y="372"/>
                    <a:pt x="119" y="363"/>
                  </a:cubicBezTo>
                  <a:cubicBezTo>
                    <a:pt x="123" y="366"/>
                    <a:pt x="123" y="375"/>
                    <a:pt x="125" y="381"/>
                  </a:cubicBezTo>
                  <a:close/>
                  <a:moveTo>
                    <a:pt x="106" y="318"/>
                  </a:moveTo>
                  <a:cubicBezTo>
                    <a:pt x="109" y="315"/>
                    <a:pt x="107" y="305"/>
                    <a:pt x="114" y="307"/>
                  </a:cubicBezTo>
                  <a:cubicBezTo>
                    <a:pt x="115" y="315"/>
                    <a:pt x="112" y="319"/>
                    <a:pt x="106" y="318"/>
                  </a:cubicBezTo>
                  <a:close/>
                  <a:moveTo>
                    <a:pt x="109" y="363"/>
                  </a:moveTo>
                  <a:cubicBezTo>
                    <a:pt x="110" y="369"/>
                    <a:pt x="117" y="366"/>
                    <a:pt x="114" y="378"/>
                  </a:cubicBezTo>
                  <a:cubicBezTo>
                    <a:pt x="102" y="376"/>
                    <a:pt x="110" y="370"/>
                    <a:pt x="106" y="359"/>
                  </a:cubicBezTo>
                  <a:cubicBezTo>
                    <a:pt x="108" y="358"/>
                    <a:pt x="109" y="360"/>
                    <a:pt x="109" y="363"/>
                  </a:cubicBezTo>
                  <a:close/>
                  <a:moveTo>
                    <a:pt x="114" y="407"/>
                  </a:moveTo>
                  <a:cubicBezTo>
                    <a:pt x="110" y="407"/>
                    <a:pt x="105" y="407"/>
                    <a:pt x="101" y="407"/>
                  </a:cubicBezTo>
                  <a:cubicBezTo>
                    <a:pt x="103" y="394"/>
                    <a:pt x="101" y="398"/>
                    <a:pt x="103" y="385"/>
                  </a:cubicBezTo>
                  <a:cubicBezTo>
                    <a:pt x="106" y="386"/>
                    <a:pt x="106" y="392"/>
                    <a:pt x="106" y="396"/>
                  </a:cubicBezTo>
                  <a:cubicBezTo>
                    <a:pt x="112" y="397"/>
                    <a:pt x="104" y="379"/>
                    <a:pt x="114" y="385"/>
                  </a:cubicBezTo>
                  <a:cubicBezTo>
                    <a:pt x="109" y="392"/>
                    <a:pt x="113" y="398"/>
                    <a:pt x="114" y="407"/>
                  </a:cubicBezTo>
                  <a:close/>
                  <a:moveTo>
                    <a:pt x="106" y="352"/>
                  </a:moveTo>
                  <a:cubicBezTo>
                    <a:pt x="102" y="368"/>
                    <a:pt x="95" y="334"/>
                    <a:pt x="106" y="341"/>
                  </a:cubicBezTo>
                  <a:cubicBezTo>
                    <a:pt x="104" y="344"/>
                    <a:pt x="102" y="351"/>
                    <a:pt x="106" y="352"/>
                  </a:cubicBezTo>
                  <a:close/>
                  <a:moveTo>
                    <a:pt x="103" y="433"/>
                  </a:moveTo>
                  <a:cubicBezTo>
                    <a:pt x="104" y="439"/>
                    <a:pt x="107" y="443"/>
                    <a:pt x="103" y="448"/>
                  </a:cubicBezTo>
                  <a:cubicBezTo>
                    <a:pt x="98" y="444"/>
                    <a:pt x="100" y="435"/>
                    <a:pt x="98" y="429"/>
                  </a:cubicBezTo>
                  <a:cubicBezTo>
                    <a:pt x="96" y="425"/>
                    <a:pt x="92" y="426"/>
                    <a:pt x="93" y="418"/>
                  </a:cubicBezTo>
                  <a:cubicBezTo>
                    <a:pt x="96" y="419"/>
                    <a:pt x="97" y="417"/>
                    <a:pt x="98" y="415"/>
                  </a:cubicBezTo>
                  <a:cubicBezTo>
                    <a:pt x="102" y="417"/>
                    <a:pt x="102" y="426"/>
                    <a:pt x="103" y="433"/>
                  </a:cubicBezTo>
                  <a:close/>
                  <a:moveTo>
                    <a:pt x="109" y="440"/>
                  </a:moveTo>
                  <a:cubicBezTo>
                    <a:pt x="111" y="440"/>
                    <a:pt x="114" y="440"/>
                    <a:pt x="117" y="440"/>
                  </a:cubicBezTo>
                  <a:cubicBezTo>
                    <a:pt x="117" y="447"/>
                    <a:pt x="112" y="455"/>
                    <a:pt x="114" y="459"/>
                  </a:cubicBezTo>
                  <a:cubicBezTo>
                    <a:pt x="115" y="461"/>
                    <a:pt x="117" y="456"/>
                    <a:pt x="117" y="455"/>
                  </a:cubicBezTo>
                  <a:cubicBezTo>
                    <a:pt x="117" y="454"/>
                    <a:pt x="121" y="457"/>
                    <a:pt x="119" y="459"/>
                  </a:cubicBezTo>
                  <a:cubicBezTo>
                    <a:pt x="115" y="464"/>
                    <a:pt x="120" y="463"/>
                    <a:pt x="117" y="474"/>
                  </a:cubicBezTo>
                  <a:cubicBezTo>
                    <a:pt x="111" y="475"/>
                    <a:pt x="108" y="473"/>
                    <a:pt x="109" y="466"/>
                  </a:cubicBezTo>
                  <a:cubicBezTo>
                    <a:pt x="104" y="468"/>
                    <a:pt x="106" y="478"/>
                    <a:pt x="98" y="474"/>
                  </a:cubicBezTo>
                  <a:cubicBezTo>
                    <a:pt x="103" y="465"/>
                    <a:pt x="104" y="463"/>
                    <a:pt x="95" y="459"/>
                  </a:cubicBezTo>
                  <a:cubicBezTo>
                    <a:pt x="96" y="456"/>
                    <a:pt x="104" y="448"/>
                    <a:pt x="103" y="455"/>
                  </a:cubicBezTo>
                  <a:cubicBezTo>
                    <a:pt x="112" y="452"/>
                    <a:pt x="104" y="447"/>
                    <a:pt x="109" y="440"/>
                  </a:cubicBezTo>
                  <a:close/>
                  <a:moveTo>
                    <a:pt x="135" y="485"/>
                  </a:moveTo>
                  <a:cubicBezTo>
                    <a:pt x="138" y="498"/>
                    <a:pt x="121" y="492"/>
                    <a:pt x="119" y="489"/>
                  </a:cubicBezTo>
                  <a:cubicBezTo>
                    <a:pt x="121" y="484"/>
                    <a:pt x="130" y="491"/>
                    <a:pt x="135" y="485"/>
                  </a:cubicBezTo>
                  <a:close/>
                  <a:moveTo>
                    <a:pt x="128" y="463"/>
                  </a:moveTo>
                  <a:cubicBezTo>
                    <a:pt x="128" y="456"/>
                    <a:pt x="134" y="461"/>
                    <a:pt x="135" y="452"/>
                  </a:cubicBezTo>
                  <a:cubicBezTo>
                    <a:pt x="139" y="452"/>
                    <a:pt x="137" y="455"/>
                    <a:pt x="135" y="455"/>
                  </a:cubicBezTo>
                  <a:cubicBezTo>
                    <a:pt x="133" y="469"/>
                    <a:pt x="135" y="473"/>
                    <a:pt x="133" y="481"/>
                  </a:cubicBezTo>
                  <a:cubicBezTo>
                    <a:pt x="127" y="482"/>
                    <a:pt x="123" y="480"/>
                    <a:pt x="122" y="474"/>
                  </a:cubicBezTo>
                  <a:cubicBezTo>
                    <a:pt x="121" y="466"/>
                    <a:pt x="127" y="468"/>
                    <a:pt x="128" y="463"/>
                  </a:cubicBezTo>
                  <a:close/>
                  <a:moveTo>
                    <a:pt x="111" y="507"/>
                  </a:moveTo>
                  <a:cubicBezTo>
                    <a:pt x="106" y="509"/>
                    <a:pt x="104" y="504"/>
                    <a:pt x="101" y="503"/>
                  </a:cubicBezTo>
                  <a:cubicBezTo>
                    <a:pt x="101" y="499"/>
                    <a:pt x="106" y="500"/>
                    <a:pt x="109" y="500"/>
                  </a:cubicBezTo>
                  <a:cubicBezTo>
                    <a:pt x="109" y="495"/>
                    <a:pt x="109" y="490"/>
                    <a:pt x="109" y="485"/>
                  </a:cubicBezTo>
                  <a:cubicBezTo>
                    <a:pt x="113" y="473"/>
                    <a:pt x="111" y="501"/>
                    <a:pt x="111" y="507"/>
                  </a:cubicBezTo>
                  <a:close/>
                  <a:moveTo>
                    <a:pt x="109" y="544"/>
                  </a:moveTo>
                  <a:cubicBezTo>
                    <a:pt x="103" y="544"/>
                    <a:pt x="105" y="534"/>
                    <a:pt x="98" y="537"/>
                  </a:cubicBezTo>
                  <a:cubicBezTo>
                    <a:pt x="90" y="526"/>
                    <a:pt x="110" y="542"/>
                    <a:pt x="109" y="533"/>
                  </a:cubicBezTo>
                  <a:cubicBezTo>
                    <a:pt x="113" y="534"/>
                    <a:pt x="108" y="538"/>
                    <a:pt x="109" y="544"/>
                  </a:cubicBezTo>
                  <a:close/>
                  <a:moveTo>
                    <a:pt x="101" y="585"/>
                  </a:moveTo>
                  <a:cubicBezTo>
                    <a:pt x="98" y="596"/>
                    <a:pt x="98" y="574"/>
                    <a:pt x="93" y="577"/>
                  </a:cubicBezTo>
                  <a:cubicBezTo>
                    <a:pt x="95" y="566"/>
                    <a:pt x="100" y="581"/>
                    <a:pt x="101" y="585"/>
                  </a:cubicBezTo>
                  <a:close/>
                  <a:moveTo>
                    <a:pt x="93" y="492"/>
                  </a:moveTo>
                  <a:cubicBezTo>
                    <a:pt x="101" y="479"/>
                    <a:pt x="102" y="503"/>
                    <a:pt x="93" y="492"/>
                  </a:cubicBezTo>
                  <a:close/>
                  <a:moveTo>
                    <a:pt x="111" y="607"/>
                  </a:moveTo>
                  <a:cubicBezTo>
                    <a:pt x="110" y="611"/>
                    <a:pt x="108" y="614"/>
                    <a:pt x="103" y="614"/>
                  </a:cubicBezTo>
                  <a:cubicBezTo>
                    <a:pt x="104" y="610"/>
                    <a:pt x="107" y="607"/>
                    <a:pt x="111" y="607"/>
                  </a:cubicBezTo>
                  <a:close/>
                  <a:moveTo>
                    <a:pt x="106" y="581"/>
                  </a:moveTo>
                  <a:cubicBezTo>
                    <a:pt x="106" y="577"/>
                    <a:pt x="111" y="578"/>
                    <a:pt x="114" y="577"/>
                  </a:cubicBezTo>
                  <a:cubicBezTo>
                    <a:pt x="114" y="567"/>
                    <a:pt x="110" y="570"/>
                    <a:pt x="114" y="562"/>
                  </a:cubicBezTo>
                  <a:cubicBezTo>
                    <a:pt x="123" y="565"/>
                    <a:pt x="111" y="586"/>
                    <a:pt x="117" y="585"/>
                  </a:cubicBezTo>
                  <a:cubicBezTo>
                    <a:pt x="114" y="596"/>
                    <a:pt x="108" y="583"/>
                    <a:pt x="106" y="581"/>
                  </a:cubicBezTo>
                  <a:close/>
                  <a:moveTo>
                    <a:pt x="128" y="352"/>
                  </a:moveTo>
                  <a:cubicBezTo>
                    <a:pt x="130" y="348"/>
                    <a:pt x="128" y="338"/>
                    <a:pt x="135" y="341"/>
                  </a:cubicBezTo>
                  <a:cubicBezTo>
                    <a:pt x="133" y="344"/>
                    <a:pt x="135" y="354"/>
                    <a:pt x="128" y="352"/>
                  </a:cubicBezTo>
                  <a:close/>
                  <a:moveTo>
                    <a:pt x="135" y="355"/>
                  </a:moveTo>
                  <a:cubicBezTo>
                    <a:pt x="135" y="358"/>
                    <a:pt x="135" y="360"/>
                    <a:pt x="135" y="363"/>
                  </a:cubicBezTo>
                  <a:cubicBezTo>
                    <a:pt x="134" y="363"/>
                    <a:pt x="132" y="363"/>
                    <a:pt x="130" y="363"/>
                  </a:cubicBezTo>
                  <a:cubicBezTo>
                    <a:pt x="130" y="360"/>
                    <a:pt x="130" y="358"/>
                    <a:pt x="130" y="355"/>
                  </a:cubicBezTo>
                  <a:cubicBezTo>
                    <a:pt x="132" y="355"/>
                    <a:pt x="134" y="355"/>
                    <a:pt x="135" y="355"/>
                  </a:cubicBezTo>
                  <a:close/>
                  <a:moveTo>
                    <a:pt x="141" y="333"/>
                  </a:moveTo>
                  <a:cubicBezTo>
                    <a:pt x="147" y="335"/>
                    <a:pt x="143" y="353"/>
                    <a:pt x="141" y="355"/>
                  </a:cubicBezTo>
                  <a:cubicBezTo>
                    <a:pt x="133" y="351"/>
                    <a:pt x="144" y="343"/>
                    <a:pt x="141" y="333"/>
                  </a:cubicBezTo>
                  <a:close/>
                  <a:moveTo>
                    <a:pt x="138" y="363"/>
                  </a:moveTo>
                  <a:cubicBezTo>
                    <a:pt x="139" y="358"/>
                    <a:pt x="143" y="360"/>
                    <a:pt x="146" y="359"/>
                  </a:cubicBezTo>
                  <a:cubicBezTo>
                    <a:pt x="149" y="359"/>
                    <a:pt x="148" y="355"/>
                    <a:pt x="149" y="352"/>
                  </a:cubicBezTo>
                  <a:cubicBezTo>
                    <a:pt x="155" y="350"/>
                    <a:pt x="154" y="357"/>
                    <a:pt x="154" y="363"/>
                  </a:cubicBezTo>
                  <a:cubicBezTo>
                    <a:pt x="150" y="370"/>
                    <a:pt x="148" y="360"/>
                    <a:pt x="138" y="363"/>
                  </a:cubicBezTo>
                  <a:close/>
                  <a:moveTo>
                    <a:pt x="149" y="378"/>
                  </a:moveTo>
                  <a:cubicBezTo>
                    <a:pt x="161" y="379"/>
                    <a:pt x="146" y="399"/>
                    <a:pt x="149" y="378"/>
                  </a:cubicBezTo>
                  <a:close/>
                  <a:moveTo>
                    <a:pt x="184" y="389"/>
                  </a:moveTo>
                  <a:cubicBezTo>
                    <a:pt x="185" y="396"/>
                    <a:pt x="172" y="394"/>
                    <a:pt x="176" y="385"/>
                  </a:cubicBezTo>
                  <a:cubicBezTo>
                    <a:pt x="180" y="384"/>
                    <a:pt x="181" y="388"/>
                    <a:pt x="184" y="389"/>
                  </a:cubicBezTo>
                  <a:close/>
                  <a:moveTo>
                    <a:pt x="160" y="263"/>
                  </a:moveTo>
                  <a:cubicBezTo>
                    <a:pt x="157" y="263"/>
                    <a:pt x="147" y="266"/>
                    <a:pt x="146" y="259"/>
                  </a:cubicBezTo>
                  <a:cubicBezTo>
                    <a:pt x="146" y="256"/>
                    <a:pt x="147" y="252"/>
                    <a:pt x="149" y="252"/>
                  </a:cubicBezTo>
                  <a:cubicBezTo>
                    <a:pt x="150" y="252"/>
                    <a:pt x="151" y="259"/>
                    <a:pt x="152" y="259"/>
                  </a:cubicBezTo>
                  <a:cubicBezTo>
                    <a:pt x="158" y="261"/>
                    <a:pt x="162" y="258"/>
                    <a:pt x="168" y="259"/>
                  </a:cubicBezTo>
                  <a:cubicBezTo>
                    <a:pt x="167" y="260"/>
                    <a:pt x="166" y="266"/>
                    <a:pt x="165" y="267"/>
                  </a:cubicBezTo>
                  <a:cubicBezTo>
                    <a:pt x="161" y="269"/>
                    <a:pt x="161" y="263"/>
                    <a:pt x="160" y="263"/>
                  </a:cubicBezTo>
                  <a:close/>
                  <a:moveTo>
                    <a:pt x="149" y="278"/>
                  </a:moveTo>
                  <a:cubicBezTo>
                    <a:pt x="148" y="276"/>
                    <a:pt x="156" y="267"/>
                    <a:pt x="160" y="274"/>
                  </a:cubicBezTo>
                  <a:cubicBezTo>
                    <a:pt x="161" y="277"/>
                    <a:pt x="151" y="280"/>
                    <a:pt x="149" y="278"/>
                  </a:cubicBezTo>
                  <a:close/>
                  <a:moveTo>
                    <a:pt x="189" y="263"/>
                  </a:moveTo>
                  <a:cubicBezTo>
                    <a:pt x="187" y="266"/>
                    <a:pt x="188" y="273"/>
                    <a:pt x="184" y="274"/>
                  </a:cubicBezTo>
                  <a:cubicBezTo>
                    <a:pt x="185" y="280"/>
                    <a:pt x="192" y="277"/>
                    <a:pt x="189" y="289"/>
                  </a:cubicBezTo>
                  <a:cubicBezTo>
                    <a:pt x="181" y="292"/>
                    <a:pt x="186" y="276"/>
                    <a:pt x="176" y="281"/>
                  </a:cubicBezTo>
                  <a:cubicBezTo>
                    <a:pt x="177" y="277"/>
                    <a:pt x="179" y="274"/>
                    <a:pt x="184" y="274"/>
                  </a:cubicBezTo>
                  <a:cubicBezTo>
                    <a:pt x="183" y="267"/>
                    <a:pt x="185" y="262"/>
                    <a:pt x="189" y="263"/>
                  </a:cubicBezTo>
                  <a:close/>
                  <a:moveTo>
                    <a:pt x="176" y="267"/>
                  </a:moveTo>
                  <a:cubicBezTo>
                    <a:pt x="176" y="264"/>
                    <a:pt x="179" y="263"/>
                    <a:pt x="179" y="259"/>
                  </a:cubicBezTo>
                  <a:cubicBezTo>
                    <a:pt x="178" y="256"/>
                    <a:pt x="175" y="256"/>
                    <a:pt x="173" y="255"/>
                  </a:cubicBezTo>
                  <a:cubicBezTo>
                    <a:pt x="174" y="251"/>
                    <a:pt x="178" y="250"/>
                    <a:pt x="179" y="244"/>
                  </a:cubicBezTo>
                  <a:cubicBezTo>
                    <a:pt x="187" y="245"/>
                    <a:pt x="184" y="267"/>
                    <a:pt x="176" y="267"/>
                  </a:cubicBezTo>
                  <a:close/>
                  <a:moveTo>
                    <a:pt x="176" y="170"/>
                  </a:moveTo>
                  <a:cubicBezTo>
                    <a:pt x="173" y="183"/>
                    <a:pt x="171" y="172"/>
                    <a:pt x="163" y="174"/>
                  </a:cubicBezTo>
                  <a:cubicBezTo>
                    <a:pt x="165" y="168"/>
                    <a:pt x="172" y="165"/>
                    <a:pt x="176" y="170"/>
                  </a:cubicBezTo>
                  <a:close/>
                  <a:moveTo>
                    <a:pt x="90" y="226"/>
                  </a:moveTo>
                  <a:cubicBezTo>
                    <a:pt x="90" y="223"/>
                    <a:pt x="90" y="221"/>
                    <a:pt x="90" y="218"/>
                  </a:cubicBezTo>
                  <a:cubicBezTo>
                    <a:pt x="98" y="225"/>
                    <a:pt x="99" y="216"/>
                    <a:pt x="111" y="218"/>
                  </a:cubicBezTo>
                  <a:cubicBezTo>
                    <a:pt x="117" y="219"/>
                    <a:pt x="117" y="225"/>
                    <a:pt x="125" y="222"/>
                  </a:cubicBezTo>
                  <a:cubicBezTo>
                    <a:pt x="128" y="221"/>
                    <a:pt x="135" y="218"/>
                    <a:pt x="141" y="226"/>
                  </a:cubicBezTo>
                  <a:cubicBezTo>
                    <a:pt x="142" y="228"/>
                    <a:pt x="158" y="224"/>
                    <a:pt x="165" y="226"/>
                  </a:cubicBezTo>
                  <a:cubicBezTo>
                    <a:pt x="171" y="227"/>
                    <a:pt x="184" y="227"/>
                    <a:pt x="181" y="241"/>
                  </a:cubicBezTo>
                  <a:cubicBezTo>
                    <a:pt x="178" y="240"/>
                    <a:pt x="180" y="233"/>
                    <a:pt x="176" y="233"/>
                  </a:cubicBezTo>
                  <a:cubicBezTo>
                    <a:pt x="172" y="234"/>
                    <a:pt x="174" y="243"/>
                    <a:pt x="173" y="248"/>
                  </a:cubicBezTo>
                  <a:cubicBezTo>
                    <a:pt x="163" y="239"/>
                    <a:pt x="175" y="252"/>
                    <a:pt x="168" y="255"/>
                  </a:cubicBezTo>
                  <a:cubicBezTo>
                    <a:pt x="160" y="259"/>
                    <a:pt x="166" y="248"/>
                    <a:pt x="165" y="248"/>
                  </a:cubicBezTo>
                  <a:cubicBezTo>
                    <a:pt x="164" y="247"/>
                    <a:pt x="158" y="255"/>
                    <a:pt x="154" y="252"/>
                  </a:cubicBezTo>
                  <a:cubicBezTo>
                    <a:pt x="154" y="246"/>
                    <a:pt x="146" y="250"/>
                    <a:pt x="146" y="244"/>
                  </a:cubicBezTo>
                  <a:cubicBezTo>
                    <a:pt x="144" y="247"/>
                    <a:pt x="142" y="251"/>
                    <a:pt x="141" y="255"/>
                  </a:cubicBezTo>
                  <a:cubicBezTo>
                    <a:pt x="132" y="249"/>
                    <a:pt x="129" y="242"/>
                    <a:pt x="133" y="226"/>
                  </a:cubicBezTo>
                  <a:cubicBezTo>
                    <a:pt x="131" y="226"/>
                    <a:pt x="129" y="226"/>
                    <a:pt x="128" y="226"/>
                  </a:cubicBezTo>
                  <a:cubicBezTo>
                    <a:pt x="124" y="227"/>
                    <a:pt x="125" y="233"/>
                    <a:pt x="128" y="233"/>
                  </a:cubicBezTo>
                  <a:cubicBezTo>
                    <a:pt x="127" y="237"/>
                    <a:pt x="124" y="236"/>
                    <a:pt x="122" y="237"/>
                  </a:cubicBezTo>
                  <a:cubicBezTo>
                    <a:pt x="125" y="249"/>
                    <a:pt x="122" y="245"/>
                    <a:pt x="122" y="259"/>
                  </a:cubicBezTo>
                  <a:cubicBezTo>
                    <a:pt x="118" y="256"/>
                    <a:pt x="118" y="247"/>
                    <a:pt x="117" y="241"/>
                  </a:cubicBezTo>
                  <a:cubicBezTo>
                    <a:pt x="112" y="242"/>
                    <a:pt x="110" y="249"/>
                    <a:pt x="103" y="248"/>
                  </a:cubicBezTo>
                  <a:cubicBezTo>
                    <a:pt x="101" y="231"/>
                    <a:pt x="108" y="240"/>
                    <a:pt x="114" y="241"/>
                  </a:cubicBezTo>
                  <a:cubicBezTo>
                    <a:pt x="116" y="231"/>
                    <a:pt x="109" y="234"/>
                    <a:pt x="106" y="230"/>
                  </a:cubicBezTo>
                  <a:cubicBezTo>
                    <a:pt x="99" y="228"/>
                    <a:pt x="103" y="243"/>
                    <a:pt x="98" y="244"/>
                  </a:cubicBezTo>
                  <a:cubicBezTo>
                    <a:pt x="84" y="246"/>
                    <a:pt x="104" y="223"/>
                    <a:pt x="87" y="230"/>
                  </a:cubicBezTo>
                  <a:cubicBezTo>
                    <a:pt x="87" y="226"/>
                    <a:pt x="88" y="226"/>
                    <a:pt x="90" y="226"/>
                  </a:cubicBezTo>
                  <a:close/>
                  <a:moveTo>
                    <a:pt x="58" y="407"/>
                  </a:moveTo>
                  <a:cubicBezTo>
                    <a:pt x="67" y="405"/>
                    <a:pt x="58" y="424"/>
                    <a:pt x="55" y="418"/>
                  </a:cubicBezTo>
                  <a:cubicBezTo>
                    <a:pt x="55" y="418"/>
                    <a:pt x="57" y="411"/>
                    <a:pt x="58" y="411"/>
                  </a:cubicBezTo>
                  <a:cubicBezTo>
                    <a:pt x="58" y="411"/>
                    <a:pt x="57" y="407"/>
                    <a:pt x="58" y="407"/>
                  </a:cubicBezTo>
                  <a:close/>
                  <a:moveTo>
                    <a:pt x="55" y="433"/>
                  </a:moveTo>
                  <a:cubicBezTo>
                    <a:pt x="54" y="425"/>
                    <a:pt x="59" y="426"/>
                    <a:pt x="63" y="426"/>
                  </a:cubicBezTo>
                  <a:cubicBezTo>
                    <a:pt x="62" y="430"/>
                    <a:pt x="60" y="433"/>
                    <a:pt x="55" y="433"/>
                  </a:cubicBezTo>
                  <a:close/>
                  <a:moveTo>
                    <a:pt x="60" y="655"/>
                  </a:moveTo>
                  <a:cubicBezTo>
                    <a:pt x="60" y="649"/>
                    <a:pt x="60" y="643"/>
                    <a:pt x="60" y="636"/>
                  </a:cubicBezTo>
                  <a:cubicBezTo>
                    <a:pt x="69" y="631"/>
                    <a:pt x="69" y="661"/>
                    <a:pt x="60" y="655"/>
                  </a:cubicBezTo>
                  <a:close/>
                  <a:moveTo>
                    <a:pt x="71" y="244"/>
                  </a:moveTo>
                  <a:cubicBezTo>
                    <a:pt x="75" y="239"/>
                    <a:pt x="75" y="230"/>
                    <a:pt x="66" y="233"/>
                  </a:cubicBezTo>
                  <a:cubicBezTo>
                    <a:pt x="68" y="228"/>
                    <a:pt x="73" y="226"/>
                    <a:pt x="74" y="218"/>
                  </a:cubicBezTo>
                  <a:cubicBezTo>
                    <a:pt x="77" y="218"/>
                    <a:pt x="75" y="224"/>
                    <a:pt x="76" y="226"/>
                  </a:cubicBezTo>
                  <a:cubicBezTo>
                    <a:pt x="80" y="233"/>
                    <a:pt x="89" y="230"/>
                    <a:pt x="90" y="241"/>
                  </a:cubicBezTo>
                  <a:cubicBezTo>
                    <a:pt x="88" y="233"/>
                    <a:pt x="80" y="243"/>
                    <a:pt x="79" y="237"/>
                  </a:cubicBezTo>
                  <a:cubicBezTo>
                    <a:pt x="76" y="239"/>
                    <a:pt x="76" y="246"/>
                    <a:pt x="71" y="244"/>
                  </a:cubicBezTo>
                  <a:close/>
                  <a:moveTo>
                    <a:pt x="93" y="721"/>
                  </a:moveTo>
                  <a:cubicBezTo>
                    <a:pt x="93" y="712"/>
                    <a:pt x="87" y="712"/>
                    <a:pt x="82" y="710"/>
                  </a:cubicBezTo>
                  <a:cubicBezTo>
                    <a:pt x="83" y="703"/>
                    <a:pt x="92" y="707"/>
                    <a:pt x="90" y="696"/>
                  </a:cubicBezTo>
                  <a:cubicBezTo>
                    <a:pt x="93" y="700"/>
                    <a:pt x="99" y="700"/>
                    <a:pt x="106" y="699"/>
                  </a:cubicBezTo>
                  <a:cubicBezTo>
                    <a:pt x="106" y="714"/>
                    <a:pt x="102" y="721"/>
                    <a:pt x="93" y="721"/>
                  </a:cubicBezTo>
                  <a:close/>
                  <a:moveTo>
                    <a:pt x="106" y="692"/>
                  </a:moveTo>
                  <a:cubicBezTo>
                    <a:pt x="104" y="692"/>
                    <a:pt x="102" y="692"/>
                    <a:pt x="101" y="692"/>
                  </a:cubicBezTo>
                  <a:cubicBezTo>
                    <a:pt x="101" y="689"/>
                    <a:pt x="101" y="687"/>
                    <a:pt x="101" y="684"/>
                  </a:cubicBezTo>
                  <a:cubicBezTo>
                    <a:pt x="102" y="684"/>
                    <a:pt x="104" y="684"/>
                    <a:pt x="106" y="684"/>
                  </a:cubicBezTo>
                  <a:cubicBezTo>
                    <a:pt x="106" y="687"/>
                    <a:pt x="106" y="689"/>
                    <a:pt x="106" y="692"/>
                  </a:cubicBezTo>
                  <a:close/>
                  <a:moveTo>
                    <a:pt x="109" y="677"/>
                  </a:moveTo>
                  <a:cubicBezTo>
                    <a:pt x="101" y="677"/>
                    <a:pt x="98" y="669"/>
                    <a:pt x="93" y="666"/>
                  </a:cubicBezTo>
                  <a:cubicBezTo>
                    <a:pt x="92" y="672"/>
                    <a:pt x="95" y="673"/>
                    <a:pt x="98" y="673"/>
                  </a:cubicBezTo>
                  <a:cubicBezTo>
                    <a:pt x="95" y="685"/>
                    <a:pt x="86" y="673"/>
                    <a:pt x="90" y="662"/>
                  </a:cubicBezTo>
                  <a:cubicBezTo>
                    <a:pt x="82" y="663"/>
                    <a:pt x="83" y="678"/>
                    <a:pt x="79" y="655"/>
                  </a:cubicBezTo>
                  <a:cubicBezTo>
                    <a:pt x="87" y="665"/>
                    <a:pt x="97" y="649"/>
                    <a:pt x="101" y="662"/>
                  </a:cubicBezTo>
                  <a:cubicBezTo>
                    <a:pt x="103" y="662"/>
                    <a:pt x="103" y="659"/>
                    <a:pt x="106" y="659"/>
                  </a:cubicBezTo>
                  <a:cubicBezTo>
                    <a:pt x="106" y="652"/>
                    <a:pt x="97" y="656"/>
                    <a:pt x="95" y="651"/>
                  </a:cubicBezTo>
                  <a:cubicBezTo>
                    <a:pt x="97" y="649"/>
                    <a:pt x="106" y="640"/>
                    <a:pt x="98" y="636"/>
                  </a:cubicBezTo>
                  <a:cubicBezTo>
                    <a:pt x="96" y="634"/>
                    <a:pt x="105" y="634"/>
                    <a:pt x="106" y="636"/>
                  </a:cubicBezTo>
                  <a:cubicBezTo>
                    <a:pt x="107" y="637"/>
                    <a:pt x="105" y="643"/>
                    <a:pt x="106" y="644"/>
                  </a:cubicBezTo>
                  <a:cubicBezTo>
                    <a:pt x="108" y="645"/>
                    <a:pt x="112" y="643"/>
                    <a:pt x="114" y="644"/>
                  </a:cubicBezTo>
                  <a:cubicBezTo>
                    <a:pt x="115" y="648"/>
                    <a:pt x="109" y="646"/>
                    <a:pt x="109" y="648"/>
                  </a:cubicBezTo>
                  <a:cubicBezTo>
                    <a:pt x="106" y="657"/>
                    <a:pt x="115" y="669"/>
                    <a:pt x="109" y="677"/>
                  </a:cubicBezTo>
                  <a:close/>
                  <a:moveTo>
                    <a:pt x="163" y="736"/>
                  </a:moveTo>
                  <a:cubicBezTo>
                    <a:pt x="160" y="749"/>
                    <a:pt x="157" y="732"/>
                    <a:pt x="154" y="733"/>
                  </a:cubicBezTo>
                  <a:cubicBezTo>
                    <a:pt x="150" y="739"/>
                    <a:pt x="155" y="742"/>
                    <a:pt x="152" y="755"/>
                  </a:cubicBezTo>
                  <a:cubicBezTo>
                    <a:pt x="149" y="755"/>
                    <a:pt x="150" y="750"/>
                    <a:pt x="149" y="747"/>
                  </a:cubicBezTo>
                  <a:cubicBezTo>
                    <a:pt x="149" y="739"/>
                    <a:pt x="144" y="737"/>
                    <a:pt x="146" y="725"/>
                  </a:cubicBezTo>
                  <a:cubicBezTo>
                    <a:pt x="149" y="726"/>
                    <a:pt x="151" y="724"/>
                    <a:pt x="152" y="721"/>
                  </a:cubicBezTo>
                  <a:cubicBezTo>
                    <a:pt x="156" y="726"/>
                    <a:pt x="158" y="732"/>
                    <a:pt x="163" y="736"/>
                  </a:cubicBezTo>
                  <a:close/>
                  <a:moveTo>
                    <a:pt x="173" y="688"/>
                  </a:moveTo>
                  <a:cubicBezTo>
                    <a:pt x="172" y="693"/>
                    <a:pt x="170" y="696"/>
                    <a:pt x="165" y="696"/>
                  </a:cubicBezTo>
                  <a:cubicBezTo>
                    <a:pt x="159" y="695"/>
                    <a:pt x="161" y="690"/>
                    <a:pt x="157" y="688"/>
                  </a:cubicBezTo>
                  <a:cubicBezTo>
                    <a:pt x="153" y="690"/>
                    <a:pt x="158" y="693"/>
                    <a:pt x="157" y="699"/>
                  </a:cubicBezTo>
                  <a:cubicBezTo>
                    <a:pt x="148" y="700"/>
                    <a:pt x="151" y="685"/>
                    <a:pt x="144" y="684"/>
                  </a:cubicBezTo>
                  <a:cubicBezTo>
                    <a:pt x="135" y="692"/>
                    <a:pt x="148" y="702"/>
                    <a:pt x="154" y="703"/>
                  </a:cubicBezTo>
                  <a:cubicBezTo>
                    <a:pt x="153" y="706"/>
                    <a:pt x="151" y="710"/>
                    <a:pt x="154" y="710"/>
                  </a:cubicBezTo>
                  <a:cubicBezTo>
                    <a:pt x="153" y="721"/>
                    <a:pt x="149" y="707"/>
                    <a:pt x="144" y="710"/>
                  </a:cubicBezTo>
                  <a:cubicBezTo>
                    <a:pt x="140" y="711"/>
                    <a:pt x="146" y="729"/>
                    <a:pt x="144" y="740"/>
                  </a:cubicBezTo>
                  <a:cubicBezTo>
                    <a:pt x="135" y="736"/>
                    <a:pt x="139" y="748"/>
                    <a:pt x="138" y="755"/>
                  </a:cubicBezTo>
                  <a:cubicBezTo>
                    <a:pt x="136" y="766"/>
                    <a:pt x="135" y="748"/>
                    <a:pt x="135" y="744"/>
                  </a:cubicBezTo>
                  <a:cubicBezTo>
                    <a:pt x="134" y="735"/>
                    <a:pt x="140" y="736"/>
                    <a:pt x="138" y="725"/>
                  </a:cubicBezTo>
                  <a:cubicBezTo>
                    <a:pt x="126" y="722"/>
                    <a:pt x="142" y="735"/>
                    <a:pt x="130" y="733"/>
                  </a:cubicBezTo>
                  <a:cubicBezTo>
                    <a:pt x="129" y="723"/>
                    <a:pt x="131" y="719"/>
                    <a:pt x="138" y="721"/>
                  </a:cubicBezTo>
                  <a:cubicBezTo>
                    <a:pt x="138" y="712"/>
                    <a:pt x="138" y="704"/>
                    <a:pt x="144" y="703"/>
                  </a:cubicBezTo>
                  <a:cubicBezTo>
                    <a:pt x="140" y="696"/>
                    <a:pt x="130" y="700"/>
                    <a:pt x="125" y="696"/>
                  </a:cubicBezTo>
                  <a:cubicBezTo>
                    <a:pt x="119" y="698"/>
                    <a:pt x="122" y="718"/>
                    <a:pt x="130" y="714"/>
                  </a:cubicBezTo>
                  <a:cubicBezTo>
                    <a:pt x="129" y="719"/>
                    <a:pt x="127" y="722"/>
                    <a:pt x="122" y="721"/>
                  </a:cubicBezTo>
                  <a:cubicBezTo>
                    <a:pt x="123" y="729"/>
                    <a:pt x="118" y="729"/>
                    <a:pt x="114" y="729"/>
                  </a:cubicBezTo>
                  <a:cubicBezTo>
                    <a:pt x="115" y="694"/>
                    <a:pt x="115" y="674"/>
                    <a:pt x="117" y="644"/>
                  </a:cubicBezTo>
                  <a:cubicBezTo>
                    <a:pt x="128" y="642"/>
                    <a:pt x="124" y="657"/>
                    <a:pt x="119" y="662"/>
                  </a:cubicBezTo>
                  <a:cubicBezTo>
                    <a:pt x="122" y="673"/>
                    <a:pt x="123" y="654"/>
                    <a:pt x="130" y="659"/>
                  </a:cubicBezTo>
                  <a:cubicBezTo>
                    <a:pt x="132" y="670"/>
                    <a:pt x="127" y="672"/>
                    <a:pt x="128" y="681"/>
                  </a:cubicBezTo>
                  <a:cubicBezTo>
                    <a:pt x="123" y="679"/>
                    <a:pt x="122" y="684"/>
                    <a:pt x="122" y="688"/>
                  </a:cubicBezTo>
                  <a:cubicBezTo>
                    <a:pt x="132" y="706"/>
                    <a:pt x="130" y="664"/>
                    <a:pt x="138" y="677"/>
                  </a:cubicBezTo>
                  <a:cubicBezTo>
                    <a:pt x="139" y="670"/>
                    <a:pt x="135" y="669"/>
                    <a:pt x="135" y="662"/>
                  </a:cubicBezTo>
                  <a:cubicBezTo>
                    <a:pt x="135" y="652"/>
                    <a:pt x="127" y="654"/>
                    <a:pt x="128" y="644"/>
                  </a:cubicBezTo>
                  <a:cubicBezTo>
                    <a:pt x="133" y="637"/>
                    <a:pt x="132" y="646"/>
                    <a:pt x="141" y="644"/>
                  </a:cubicBezTo>
                  <a:cubicBezTo>
                    <a:pt x="141" y="651"/>
                    <a:pt x="141" y="659"/>
                    <a:pt x="141" y="666"/>
                  </a:cubicBezTo>
                  <a:cubicBezTo>
                    <a:pt x="149" y="669"/>
                    <a:pt x="144" y="653"/>
                    <a:pt x="154" y="659"/>
                  </a:cubicBezTo>
                  <a:cubicBezTo>
                    <a:pt x="153" y="654"/>
                    <a:pt x="151" y="651"/>
                    <a:pt x="146" y="651"/>
                  </a:cubicBezTo>
                  <a:cubicBezTo>
                    <a:pt x="146" y="645"/>
                    <a:pt x="151" y="642"/>
                    <a:pt x="146" y="640"/>
                  </a:cubicBezTo>
                  <a:cubicBezTo>
                    <a:pt x="152" y="634"/>
                    <a:pt x="150" y="637"/>
                    <a:pt x="149" y="618"/>
                  </a:cubicBezTo>
                  <a:cubicBezTo>
                    <a:pt x="153" y="618"/>
                    <a:pt x="156" y="618"/>
                    <a:pt x="160" y="618"/>
                  </a:cubicBezTo>
                  <a:cubicBezTo>
                    <a:pt x="158" y="623"/>
                    <a:pt x="156" y="627"/>
                    <a:pt x="154" y="633"/>
                  </a:cubicBezTo>
                  <a:cubicBezTo>
                    <a:pt x="158" y="638"/>
                    <a:pt x="165" y="640"/>
                    <a:pt x="163" y="655"/>
                  </a:cubicBezTo>
                  <a:cubicBezTo>
                    <a:pt x="159" y="654"/>
                    <a:pt x="161" y="648"/>
                    <a:pt x="157" y="648"/>
                  </a:cubicBezTo>
                  <a:cubicBezTo>
                    <a:pt x="151" y="652"/>
                    <a:pt x="160" y="668"/>
                    <a:pt x="160" y="677"/>
                  </a:cubicBezTo>
                  <a:cubicBezTo>
                    <a:pt x="157" y="677"/>
                    <a:pt x="155" y="678"/>
                    <a:pt x="154" y="681"/>
                  </a:cubicBezTo>
                  <a:cubicBezTo>
                    <a:pt x="159" y="694"/>
                    <a:pt x="166" y="679"/>
                    <a:pt x="173" y="688"/>
                  </a:cubicBezTo>
                  <a:close/>
                  <a:moveTo>
                    <a:pt x="173" y="648"/>
                  </a:moveTo>
                  <a:cubicBezTo>
                    <a:pt x="170" y="648"/>
                    <a:pt x="172" y="643"/>
                    <a:pt x="170" y="640"/>
                  </a:cubicBezTo>
                  <a:cubicBezTo>
                    <a:pt x="168" y="633"/>
                    <a:pt x="164" y="631"/>
                    <a:pt x="168" y="625"/>
                  </a:cubicBezTo>
                  <a:cubicBezTo>
                    <a:pt x="175" y="630"/>
                    <a:pt x="176" y="637"/>
                    <a:pt x="173" y="648"/>
                  </a:cubicBezTo>
                  <a:close/>
                  <a:moveTo>
                    <a:pt x="189" y="577"/>
                  </a:moveTo>
                  <a:cubicBezTo>
                    <a:pt x="185" y="575"/>
                    <a:pt x="183" y="572"/>
                    <a:pt x="179" y="570"/>
                  </a:cubicBezTo>
                  <a:cubicBezTo>
                    <a:pt x="173" y="587"/>
                    <a:pt x="189" y="575"/>
                    <a:pt x="187" y="588"/>
                  </a:cubicBezTo>
                  <a:cubicBezTo>
                    <a:pt x="182" y="592"/>
                    <a:pt x="178" y="577"/>
                    <a:pt x="176" y="588"/>
                  </a:cubicBezTo>
                  <a:cubicBezTo>
                    <a:pt x="169" y="584"/>
                    <a:pt x="176" y="569"/>
                    <a:pt x="176" y="562"/>
                  </a:cubicBezTo>
                  <a:cubicBezTo>
                    <a:pt x="176" y="556"/>
                    <a:pt x="174" y="550"/>
                    <a:pt x="170" y="548"/>
                  </a:cubicBezTo>
                  <a:cubicBezTo>
                    <a:pt x="163" y="553"/>
                    <a:pt x="173" y="552"/>
                    <a:pt x="173" y="562"/>
                  </a:cubicBezTo>
                  <a:cubicBezTo>
                    <a:pt x="173" y="563"/>
                    <a:pt x="168" y="562"/>
                    <a:pt x="168" y="562"/>
                  </a:cubicBezTo>
                  <a:cubicBezTo>
                    <a:pt x="166" y="567"/>
                    <a:pt x="171" y="583"/>
                    <a:pt x="168" y="588"/>
                  </a:cubicBezTo>
                  <a:cubicBezTo>
                    <a:pt x="166" y="588"/>
                    <a:pt x="165" y="585"/>
                    <a:pt x="163" y="585"/>
                  </a:cubicBezTo>
                  <a:cubicBezTo>
                    <a:pt x="164" y="596"/>
                    <a:pt x="159" y="599"/>
                    <a:pt x="157" y="607"/>
                  </a:cubicBezTo>
                  <a:cubicBezTo>
                    <a:pt x="160" y="617"/>
                    <a:pt x="182" y="602"/>
                    <a:pt x="179" y="622"/>
                  </a:cubicBezTo>
                  <a:cubicBezTo>
                    <a:pt x="164" y="624"/>
                    <a:pt x="163" y="609"/>
                    <a:pt x="149" y="611"/>
                  </a:cubicBezTo>
                  <a:cubicBezTo>
                    <a:pt x="143" y="611"/>
                    <a:pt x="143" y="620"/>
                    <a:pt x="144" y="629"/>
                  </a:cubicBezTo>
                  <a:cubicBezTo>
                    <a:pt x="138" y="629"/>
                    <a:pt x="140" y="619"/>
                    <a:pt x="133" y="622"/>
                  </a:cubicBezTo>
                  <a:cubicBezTo>
                    <a:pt x="133" y="616"/>
                    <a:pt x="134" y="608"/>
                    <a:pt x="130" y="607"/>
                  </a:cubicBezTo>
                  <a:cubicBezTo>
                    <a:pt x="131" y="601"/>
                    <a:pt x="138" y="606"/>
                    <a:pt x="138" y="599"/>
                  </a:cubicBezTo>
                  <a:cubicBezTo>
                    <a:pt x="137" y="584"/>
                    <a:pt x="128" y="591"/>
                    <a:pt x="119" y="592"/>
                  </a:cubicBezTo>
                  <a:cubicBezTo>
                    <a:pt x="120" y="569"/>
                    <a:pt x="146" y="603"/>
                    <a:pt x="141" y="577"/>
                  </a:cubicBezTo>
                  <a:cubicBezTo>
                    <a:pt x="146" y="578"/>
                    <a:pt x="147" y="584"/>
                    <a:pt x="146" y="592"/>
                  </a:cubicBezTo>
                  <a:cubicBezTo>
                    <a:pt x="150" y="592"/>
                    <a:pt x="153" y="592"/>
                    <a:pt x="157" y="592"/>
                  </a:cubicBezTo>
                  <a:cubicBezTo>
                    <a:pt x="159" y="579"/>
                    <a:pt x="147" y="586"/>
                    <a:pt x="146" y="577"/>
                  </a:cubicBezTo>
                  <a:cubicBezTo>
                    <a:pt x="145" y="566"/>
                    <a:pt x="155" y="570"/>
                    <a:pt x="160" y="566"/>
                  </a:cubicBezTo>
                  <a:cubicBezTo>
                    <a:pt x="160" y="570"/>
                    <a:pt x="160" y="574"/>
                    <a:pt x="160" y="577"/>
                  </a:cubicBezTo>
                  <a:cubicBezTo>
                    <a:pt x="163" y="577"/>
                    <a:pt x="162" y="573"/>
                    <a:pt x="163" y="570"/>
                  </a:cubicBezTo>
                  <a:cubicBezTo>
                    <a:pt x="164" y="566"/>
                    <a:pt x="164" y="563"/>
                    <a:pt x="165" y="551"/>
                  </a:cubicBezTo>
                  <a:cubicBezTo>
                    <a:pt x="165" y="550"/>
                    <a:pt x="165" y="545"/>
                    <a:pt x="165" y="544"/>
                  </a:cubicBezTo>
                  <a:cubicBezTo>
                    <a:pt x="170" y="539"/>
                    <a:pt x="162" y="533"/>
                    <a:pt x="168" y="525"/>
                  </a:cubicBezTo>
                  <a:cubicBezTo>
                    <a:pt x="169" y="516"/>
                    <a:pt x="153" y="529"/>
                    <a:pt x="157" y="514"/>
                  </a:cubicBezTo>
                  <a:cubicBezTo>
                    <a:pt x="152" y="514"/>
                    <a:pt x="151" y="519"/>
                    <a:pt x="146" y="518"/>
                  </a:cubicBezTo>
                  <a:cubicBezTo>
                    <a:pt x="144" y="510"/>
                    <a:pt x="141" y="504"/>
                    <a:pt x="141" y="492"/>
                  </a:cubicBezTo>
                  <a:cubicBezTo>
                    <a:pt x="143" y="495"/>
                    <a:pt x="145" y="499"/>
                    <a:pt x="146" y="503"/>
                  </a:cubicBezTo>
                  <a:cubicBezTo>
                    <a:pt x="157" y="503"/>
                    <a:pt x="143" y="482"/>
                    <a:pt x="154" y="492"/>
                  </a:cubicBezTo>
                  <a:cubicBezTo>
                    <a:pt x="155" y="482"/>
                    <a:pt x="148" y="482"/>
                    <a:pt x="141" y="481"/>
                  </a:cubicBezTo>
                  <a:cubicBezTo>
                    <a:pt x="136" y="456"/>
                    <a:pt x="158" y="468"/>
                    <a:pt x="157" y="448"/>
                  </a:cubicBezTo>
                  <a:cubicBezTo>
                    <a:pt x="162" y="447"/>
                    <a:pt x="163" y="452"/>
                    <a:pt x="168" y="452"/>
                  </a:cubicBezTo>
                  <a:cubicBezTo>
                    <a:pt x="175" y="453"/>
                    <a:pt x="166" y="431"/>
                    <a:pt x="173" y="433"/>
                  </a:cubicBezTo>
                  <a:cubicBezTo>
                    <a:pt x="186" y="433"/>
                    <a:pt x="171" y="442"/>
                    <a:pt x="179" y="444"/>
                  </a:cubicBezTo>
                  <a:cubicBezTo>
                    <a:pt x="180" y="445"/>
                    <a:pt x="183" y="443"/>
                    <a:pt x="184" y="444"/>
                  </a:cubicBezTo>
                  <a:cubicBezTo>
                    <a:pt x="189" y="449"/>
                    <a:pt x="186" y="458"/>
                    <a:pt x="192" y="463"/>
                  </a:cubicBezTo>
                  <a:cubicBezTo>
                    <a:pt x="185" y="475"/>
                    <a:pt x="186" y="447"/>
                    <a:pt x="179" y="448"/>
                  </a:cubicBezTo>
                  <a:cubicBezTo>
                    <a:pt x="176" y="448"/>
                    <a:pt x="177" y="452"/>
                    <a:pt x="176" y="455"/>
                  </a:cubicBezTo>
                  <a:cubicBezTo>
                    <a:pt x="170" y="455"/>
                    <a:pt x="165" y="455"/>
                    <a:pt x="160" y="455"/>
                  </a:cubicBezTo>
                  <a:cubicBezTo>
                    <a:pt x="157" y="458"/>
                    <a:pt x="157" y="464"/>
                    <a:pt x="152" y="463"/>
                  </a:cubicBezTo>
                  <a:cubicBezTo>
                    <a:pt x="157" y="470"/>
                    <a:pt x="157" y="466"/>
                    <a:pt x="154" y="477"/>
                  </a:cubicBezTo>
                  <a:cubicBezTo>
                    <a:pt x="161" y="477"/>
                    <a:pt x="159" y="464"/>
                    <a:pt x="163" y="459"/>
                  </a:cubicBezTo>
                  <a:cubicBezTo>
                    <a:pt x="168" y="452"/>
                    <a:pt x="171" y="466"/>
                    <a:pt x="173" y="466"/>
                  </a:cubicBezTo>
                  <a:cubicBezTo>
                    <a:pt x="177" y="467"/>
                    <a:pt x="179" y="455"/>
                    <a:pt x="184" y="463"/>
                  </a:cubicBezTo>
                  <a:cubicBezTo>
                    <a:pt x="186" y="474"/>
                    <a:pt x="181" y="476"/>
                    <a:pt x="181" y="485"/>
                  </a:cubicBezTo>
                  <a:cubicBezTo>
                    <a:pt x="188" y="482"/>
                    <a:pt x="201" y="475"/>
                    <a:pt x="200" y="492"/>
                  </a:cubicBezTo>
                  <a:cubicBezTo>
                    <a:pt x="188" y="487"/>
                    <a:pt x="193" y="505"/>
                    <a:pt x="184" y="503"/>
                  </a:cubicBezTo>
                  <a:cubicBezTo>
                    <a:pt x="184" y="500"/>
                    <a:pt x="184" y="496"/>
                    <a:pt x="184" y="492"/>
                  </a:cubicBezTo>
                  <a:cubicBezTo>
                    <a:pt x="180" y="493"/>
                    <a:pt x="183" y="503"/>
                    <a:pt x="179" y="503"/>
                  </a:cubicBezTo>
                  <a:cubicBezTo>
                    <a:pt x="179" y="514"/>
                    <a:pt x="191" y="508"/>
                    <a:pt x="195" y="514"/>
                  </a:cubicBezTo>
                  <a:cubicBezTo>
                    <a:pt x="194" y="519"/>
                    <a:pt x="190" y="518"/>
                    <a:pt x="187" y="518"/>
                  </a:cubicBezTo>
                  <a:cubicBezTo>
                    <a:pt x="187" y="525"/>
                    <a:pt x="187" y="533"/>
                    <a:pt x="187" y="540"/>
                  </a:cubicBezTo>
                  <a:cubicBezTo>
                    <a:pt x="174" y="544"/>
                    <a:pt x="191" y="528"/>
                    <a:pt x="181" y="525"/>
                  </a:cubicBezTo>
                  <a:cubicBezTo>
                    <a:pt x="177" y="529"/>
                    <a:pt x="178" y="541"/>
                    <a:pt x="176" y="548"/>
                  </a:cubicBezTo>
                  <a:cubicBezTo>
                    <a:pt x="174" y="558"/>
                    <a:pt x="181" y="555"/>
                    <a:pt x="181" y="562"/>
                  </a:cubicBezTo>
                  <a:cubicBezTo>
                    <a:pt x="180" y="572"/>
                    <a:pt x="192" y="565"/>
                    <a:pt x="189" y="577"/>
                  </a:cubicBezTo>
                  <a:close/>
                  <a:moveTo>
                    <a:pt x="168" y="607"/>
                  </a:moveTo>
                  <a:cubicBezTo>
                    <a:pt x="160" y="604"/>
                    <a:pt x="165" y="601"/>
                    <a:pt x="165" y="592"/>
                  </a:cubicBezTo>
                  <a:cubicBezTo>
                    <a:pt x="168" y="593"/>
                    <a:pt x="167" y="599"/>
                    <a:pt x="170" y="599"/>
                  </a:cubicBezTo>
                  <a:cubicBezTo>
                    <a:pt x="176" y="599"/>
                    <a:pt x="168" y="604"/>
                    <a:pt x="168" y="607"/>
                  </a:cubicBezTo>
                  <a:close/>
                  <a:moveTo>
                    <a:pt x="149" y="525"/>
                  </a:moveTo>
                  <a:cubicBezTo>
                    <a:pt x="152" y="525"/>
                    <a:pt x="154" y="525"/>
                    <a:pt x="157" y="525"/>
                  </a:cubicBezTo>
                  <a:cubicBezTo>
                    <a:pt x="162" y="532"/>
                    <a:pt x="159" y="547"/>
                    <a:pt x="160" y="559"/>
                  </a:cubicBezTo>
                  <a:cubicBezTo>
                    <a:pt x="151" y="556"/>
                    <a:pt x="148" y="551"/>
                    <a:pt x="152" y="566"/>
                  </a:cubicBezTo>
                  <a:cubicBezTo>
                    <a:pt x="137" y="563"/>
                    <a:pt x="147" y="547"/>
                    <a:pt x="149" y="537"/>
                  </a:cubicBezTo>
                  <a:cubicBezTo>
                    <a:pt x="150" y="533"/>
                    <a:pt x="145" y="530"/>
                    <a:pt x="149" y="525"/>
                  </a:cubicBezTo>
                  <a:close/>
                  <a:moveTo>
                    <a:pt x="189" y="566"/>
                  </a:moveTo>
                  <a:cubicBezTo>
                    <a:pt x="185" y="563"/>
                    <a:pt x="181" y="561"/>
                    <a:pt x="181" y="551"/>
                  </a:cubicBezTo>
                  <a:cubicBezTo>
                    <a:pt x="183" y="554"/>
                    <a:pt x="189" y="557"/>
                    <a:pt x="189" y="551"/>
                  </a:cubicBezTo>
                  <a:cubicBezTo>
                    <a:pt x="196" y="552"/>
                    <a:pt x="190" y="564"/>
                    <a:pt x="189" y="566"/>
                  </a:cubicBezTo>
                  <a:close/>
                  <a:moveTo>
                    <a:pt x="195" y="548"/>
                  </a:moveTo>
                  <a:cubicBezTo>
                    <a:pt x="187" y="544"/>
                    <a:pt x="198" y="536"/>
                    <a:pt x="195" y="525"/>
                  </a:cubicBezTo>
                  <a:cubicBezTo>
                    <a:pt x="201" y="533"/>
                    <a:pt x="200" y="541"/>
                    <a:pt x="195" y="548"/>
                  </a:cubicBezTo>
                  <a:close/>
                  <a:moveTo>
                    <a:pt x="205" y="525"/>
                  </a:moveTo>
                  <a:cubicBezTo>
                    <a:pt x="202" y="525"/>
                    <a:pt x="205" y="514"/>
                    <a:pt x="200" y="514"/>
                  </a:cubicBezTo>
                  <a:cubicBezTo>
                    <a:pt x="200" y="511"/>
                    <a:pt x="201" y="511"/>
                    <a:pt x="203" y="511"/>
                  </a:cubicBezTo>
                  <a:cubicBezTo>
                    <a:pt x="205" y="511"/>
                    <a:pt x="206" y="511"/>
                    <a:pt x="208" y="511"/>
                  </a:cubicBezTo>
                  <a:cubicBezTo>
                    <a:pt x="208" y="517"/>
                    <a:pt x="205" y="519"/>
                    <a:pt x="205" y="525"/>
                  </a:cubicBezTo>
                  <a:close/>
                  <a:moveTo>
                    <a:pt x="208" y="285"/>
                  </a:moveTo>
                  <a:cubicBezTo>
                    <a:pt x="201" y="280"/>
                    <a:pt x="216" y="258"/>
                    <a:pt x="208" y="285"/>
                  </a:cubicBezTo>
                  <a:close/>
                  <a:moveTo>
                    <a:pt x="458" y="803"/>
                  </a:moveTo>
                  <a:cubicBezTo>
                    <a:pt x="458" y="809"/>
                    <a:pt x="442" y="796"/>
                    <a:pt x="445" y="814"/>
                  </a:cubicBezTo>
                  <a:cubicBezTo>
                    <a:pt x="440" y="822"/>
                    <a:pt x="445" y="790"/>
                    <a:pt x="447" y="784"/>
                  </a:cubicBezTo>
                  <a:cubicBezTo>
                    <a:pt x="456" y="788"/>
                    <a:pt x="447" y="799"/>
                    <a:pt x="458" y="803"/>
                  </a:cubicBezTo>
                  <a:close/>
                  <a:moveTo>
                    <a:pt x="453" y="655"/>
                  </a:moveTo>
                  <a:cubicBezTo>
                    <a:pt x="457" y="642"/>
                    <a:pt x="458" y="662"/>
                    <a:pt x="456" y="662"/>
                  </a:cubicBezTo>
                  <a:cubicBezTo>
                    <a:pt x="454" y="663"/>
                    <a:pt x="452" y="657"/>
                    <a:pt x="453" y="655"/>
                  </a:cubicBezTo>
                  <a:close/>
                  <a:moveTo>
                    <a:pt x="447" y="648"/>
                  </a:moveTo>
                  <a:cubicBezTo>
                    <a:pt x="455" y="651"/>
                    <a:pt x="446" y="659"/>
                    <a:pt x="447" y="666"/>
                  </a:cubicBezTo>
                  <a:cubicBezTo>
                    <a:pt x="448" y="670"/>
                    <a:pt x="451" y="669"/>
                    <a:pt x="453" y="670"/>
                  </a:cubicBezTo>
                  <a:cubicBezTo>
                    <a:pt x="452" y="679"/>
                    <a:pt x="444" y="671"/>
                    <a:pt x="442" y="670"/>
                  </a:cubicBezTo>
                  <a:cubicBezTo>
                    <a:pt x="439" y="670"/>
                    <a:pt x="440" y="674"/>
                    <a:pt x="439" y="677"/>
                  </a:cubicBezTo>
                  <a:cubicBezTo>
                    <a:pt x="435" y="677"/>
                    <a:pt x="430" y="677"/>
                    <a:pt x="426" y="677"/>
                  </a:cubicBezTo>
                  <a:cubicBezTo>
                    <a:pt x="427" y="671"/>
                    <a:pt x="434" y="674"/>
                    <a:pt x="431" y="662"/>
                  </a:cubicBezTo>
                  <a:cubicBezTo>
                    <a:pt x="434" y="665"/>
                    <a:pt x="437" y="666"/>
                    <a:pt x="442" y="666"/>
                  </a:cubicBezTo>
                  <a:cubicBezTo>
                    <a:pt x="448" y="665"/>
                    <a:pt x="443" y="650"/>
                    <a:pt x="447" y="648"/>
                  </a:cubicBezTo>
                  <a:close/>
                  <a:moveTo>
                    <a:pt x="423" y="799"/>
                  </a:moveTo>
                  <a:cubicBezTo>
                    <a:pt x="418" y="798"/>
                    <a:pt x="410" y="807"/>
                    <a:pt x="410" y="792"/>
                  </a:cubicBezTo>
                  <a:cubicBezTo>
                    <a:pt x="404" y="793"/>
                    <a:pt x="401" y="791"/>
                    <a:pt x="402" y="784"/>
                  </a:cubicBezTo>
                  <a:cubicBezTo>
                    <a:pt x="399" y="784"/>
                    <a:pt x="400" y="789"/>
                    <a:pt x="399" y="792"/>
                  </a:cubicBezTo>
                  <a:cubicBezTo>
                    <a:pt x="392" y="787"/>
                    <a:pt x="399" y="772"/>
                    <a:pt x="407" y="777"/>
                  </a:cubicBezTo>
                  <a:cubicBezTo>
                    <a:pt x="407" y="782"/>
                    <a:pt x="407" y="787"/>
                    <a:pt x="410" y="788"/>
                  </a:cubicBezTo>
                  <a:cubicBezTo>
                    <a:pt x="416" y="783"/>
                    <a:pt x="408" y="780"/>
                    <a:pt x="412" y="773"/>
                  </a:cubicBezTo>
                  <a:cubicBezTo>
                    <a:pt x="415" y="770"/>
                    <a:pt x="407" y="761"/>
                    <a:pt x="410" y="751"/>
                  </a:cubicBezTo>
                  <a:cubicBezTo>
                    <a:pt x="412" y="750"/>
                    <a:pt x="412" y="753"/>
                    <a:pt x="412" y="755"/>
                  </a:cubicBezTo>
                  <a:cubicBezTo>
                    <a:pt x="413" y="759"/>
                    <a:pt x="415" y="757"/>
                    <a:pt x="415" y="755"/>
                  </a:cubicBezTo>
                  <a:cubicBezTo>
                    <a:pt x="419" y="756"/>
                    <a:pt x="417" y="764"/>
                    <a:pt x="418" y="770"/>
                  </a:cubicBezTo>
                  <a:cubicBezTo>
                    <a:pt x="419" y="774"/>
                    <a:pt x="427" y="776"/>
                    <a:pt x="423" y="784"/>
                  </a:cubicBezTo>
                  <a:cubicBezTo>
                    <a:pt x="432" y="783"/>
                    <a:pt x="435" y="781"/>
                    <a:pt x="442" y="784"/>
                  </a:cubicBezTo>
                  <a:cubicBezTo>
                    <a:pt x="439" y="789"/>
                    <a:pt x="439" y="798"/>
                    <a:pt x="437" y="803"/>
                  </a:cubicBezTo>
                  <a:cubicBezTo>
                    <a:pt x="434" y="801"/>
                    <a:pt x="425" y="806"/>
                    <a:pt x="423" y="803"/>
                  </a:cubicBezTo>
                  <a:cubicBezTo>
                    <a:pt x="423" y="803"/>
                    <a:pt x="423" y="799"/>
                    <a:pt x="423" y="799"/>
                  </a:cubicBezTo>
                  <a:close/>
                  <a:moveTo>
                    <a:pt x="388" y="792"/>
                  </a:moveTo>
                  <a:cubicBezTo>
                    <a:pt x="385" y="790"/>
                    <a:pt x="384" y="785"/>
                    <a:pt x="380" y="784"/>
                  </a:cubicBezTo>
                  <a:cubicBezTo>
                    <a:pt x="378" y="787"/>
                    <a:pt x="378" y="793"/>
                    <a:pt x="372" y="792"/>
                  </a:cubicBezTo>
                  <a:cubicBezTo>
                    <a:pt x="376" y="787"/>
                    <a:pt x="377" y="770"/>
                    <a:pt x="370" y="770"/>
                  </a:cubicBezTo>
                  <a:cubicBezTo>
                    <a:pt x="367" y="773"/>
                    <a:pt x="364" y="777"/>
                    <a:pt x="361" y="781"/>
                  </a:cubicBezTo>
                  <a:cubicBezTo>
                    <a:pt x="356" y="779"/>
                    <a:pt x="356" y="775"/>
                    <a:pt x="359" y="770"/>
                  </a:cubicBezTo>
                  <a:cubicBezTo>
                    <a:pt x="351" y="769"/>
                    <a:pt x="353" y="776"/>
                    <a:pt x="348" y="770"/>
                  </a:cubicBezTo>
                  <a:cubicBezTo>
                    <a:pt x="349" y="765"/>
                    <a:pt x="353" y="764"/>
                    <a:pt x="353" y="759"/>
                  </a:cubicBezTo>
                  <a:cubicBezTo>
                    <a:pt x="357" y="764"/>
                    <a:pt x="359" y="770"/>
                    <a:pt x="359" y="755"/>
                  </a:cubicBezTo>
                  <a:cubicBezTo>
                    <a:pt x="367" y="752"/>
                    <a:pt x="362" y="767"/>
                    <a:pt x="370" y="766"/>
                  </a:cubicBezTo>
                  <a:cubicBezTo>
                    <a:pt x="373" y="765"/>
                    <a:pt x="373" y="755"/>
                    <a:pt x="370" y="755"/>
                  </a:cubicBezTo>
                  <a:cubicBezTo>
                    <a:pt x="373" y="750"/>
                    <a:pt x="373" y="742"/>
                    <a:pt x="372" y="733"/>
                  </a:cubicBezTo>
                  <a:cubicBezTo>
                    <a:pt x="383" y="730"/>
                    <a:pt x="373" y="757"/>
                    <a:pt x="386" y="751"/>
                  </a:cubicBezTo>
                  <a:cubicBezTo>
                    <a:pt x="383" y="755"/>
                    <a:pt x="385" y="765"/>
                    <a:pt x="378" y="762"/>
                  </a:cubicBezTo>
                  <a:cubicBezTo>
                    <a:pt x="384" y="771"/>
                    <a:pt x="380" y="772"/>
                    <a:pt x="383" y="781"/>
                  </a:cubicBezTo>
                  <a:cubicBezTo>
                    <a:pt x="386" y="778"/>
                    <a:pt x="386" y="772"/>
                    <a:pt x="391" y="773"/>
                  </a:cubicBezTo>
                  <a:cubicBezTo>
                    <a:pt x="398" y="782"/>
                    <a:pt x="387" y="780"/>
                    <a:pt x="388" y="792"/>
                  </a:cubicBezTo>
                  <a:close/>
                  <a:moveTo>
                    <a:pt x="345" y="740"/>
                  </a:moveTo>
                  <a:cubicBezTo>
                    <a:pt x="346" y="740"/>
                    <a:pt x="344" y="746"/>
                    <a:pt x="343" y="744"/>
                  </a:cubicBezTo>
                  <a:cubicBezTo>
                    <a:pt x="340" y="739"/>
                    <a:pt x="339" y="743"/>
                    <a:pt x="335" y="740"/>
                  </a:cubicBezTo>
                  <a:cubicBezTo>
                    <a:pt x="334" y="740"/>
                    <a:pt x="335" y="734"/>
                    <a:pt x="335" y="733"/>
                  </a:cubicBezTo>
                  <a:cubicBezTo>
                    <a:pt x="332" y="727"/>
                    <a:pt x="326" y="732"/>
                    <a:pt x="321" y="733"/>
                  </a:cubicBezTo>
                  <a:cubicBezTo>
                    <a:pt x="321" y="723"/>
                    <a:pt x="316" y="721"/>
                    <a:pt x="321" y="714"/>
                  </a:cubicBezTo>
                  <a:cubicBezTo>
                    <a:pt x="325" y="713"/>
                    <a:pt x="322" y="723"/>
                    <a:pt x="324" y="725"/>
                  </a:cubicBezTo>
                  <a:cubicBezTo>
                    <a:pt x="327" y="729"/>
                    <a:pt x="331" y="718"/>
                    <a:pt x="335" y="721"/>
                  </a:cubicBezTo>
                  <a:cubicBezTo>
                    <a:pt x="335" y="725"/>
                    <a:pt x="335" y="729"/>
                    <a:pt x="335" y="733"/>
                  </a:cubicBezTo>
                  <a:cubicBezTo>
                    <a:pt x="341" y="731"/>
                    <a:pt x="345" y="727"/>
                    <a:pt x="353" y="729"/>
                  </a:cubicBezTo>
                  <a:cubicBezTo>
                    <a:pt x="353" y="725"/>
                    <a:pt x="348" y="726"/>
                    <a:pt x="345" y="725"/>
                  </a:cubicBezTo>
                  <a:cubicBezTo>
                    <a:pt x="349" y="720"/>
                    <a:pt x="356" y="720"/>
                    <a:pt x="356" y="710"/>
                  </a:cubicBezTo>
                  <a:cubicBezTo>
                    <a:pt x="360" y="711"/>
                    <a:pt x="357" y="721"/>
                    <a:pt x="361" y="721"/>
                  </a:cubicBezTo>
                  <a:cubicBezTo>
                    <a:pt x="356" y="729"/>
                    <a:pt x="357" y="723"/>
                    <a:pt x="359" y="736"/>
                  </a:cubicBezTo>
                  <a:cubicBezTo>
                    <a:pt x="359" y="741"/>
                    <a:pt x="358" y="746"/>
                    <a:pt x="359" y="751"/>
                  </a:cubicBezTo>
                  <a:cubicBezTo>
                    <a:pt x="356" y="751"/>
                    <a:pt x="354" y="752"/>
                    <a:pt x="353" y="755"/>
                  </a:cubicBezTo>
                  <a:cubicBezTo>
                    <a:pt x="346" y="754"/>
                    <a:pt x="357" y="748"/>
                    <a:pt x="353" y="740"/>
                  </a:cubicBezTo>
                  <a:cubicBezTo>
                    <a:pt x="358" y="727"/>
                    <a:pt x="336" y="740"/>
                    <a:pt x="345" y="740"/>
                  </a:cubicBezTo>
                  <a:close/>
                  <a:moveTo>
                    <a:pt x="332" y="747"/>
                  </a:moveTo>
                  <a:cubicBezTo>
                    <a:pt x="337" y="748"/>
                    <a:pt x="345" y="744"/>
                    <a:pt x="343" y="755"/>
                  </a:cubicBezTo>
                  <a:cubicBezTo>
                    <a:pt x="340" y="755"/>
                    <a:pt x="340" y="753"/>
                    <a:pt x="340" y="751"/>
                  </a:cubicBezTo>
                  <a:cubicBezTo>
                    <a:pt x="337" y="751"/>
                    <a:pt x="338" y="756"/>
                    <a:pt x="337" y="759"/>
                  </a:cubicBezTo>
                  <a:cubicBezTo>
                    <a:pt x="335" y="758"/>
                    <a:pt x="335" y="755"/>
                    <a:pt x="332" y="755"/>
                  </a:cubicBezTo>
                  <a:cubicBezTo>
                    <a:pt x="332" y="752"/>
                    <a:pt x="332" y="750"/>
                    <a:pt x="332" y="747"/>
                  </a:cubicBezTo>
                  <a:close/>
                  <a:moveTo>
                    <a:pt x="326" y="744"/>
                  </a:moveTo>
                  <a:cubicBezTo>
                    <a:pt x="326" y="741"/>
                    <a:pt x="326" y="739"/>
                    <a:pt x="326" y="736"/>
                  </a:cubicBezTo>
                  <a:cubicBezTo>
                    <a:pt x="328" y="736"/>
                    <a:pt x="330" y="736"/>
                    <a:pt x="332" y="736"/>
                  </a:cubicBezTo>
                  <a:cubicBezTo>
                    <a:pt x="332" y="739"/>
                    <a:pt x="332" y="741"/>
                    <a:pt x="332" y="744"/>
                  </a:cubicBezTo>
                  <a:cubicBezTo>
                    <a:pt x="330" y="744"/>
                    <a:pt x="328" y="744"/>
                    <a:pt x="326" y="744"/>
                  </a:cubicBezTo>
                  <a:close/>
                  <a:moveTo>
                    <a:pt x="297" y="607"/>
                  </a:moveTo>
                  <a:cubicBezTo>
                    <a:pt x="296" y="598"/>
                    <a:pt x="309" y="609"/>
                    <a:pt x="305" y="596"/>
                  </a:cubicBezTo>
                  <a:cubicBezTo>
                    <a:pt x="309" y="598"/>
                    <a:pt x="312" y="601"/>
                    <a:pt x="316" y="603"/>
                  </a:cubicBezTo>
                  <a:cubicBezTo>
                    <a:pt x="317" y="607"/>
                    <a:pt x="311" y="605"/>
                    <a:pt x="310" y="607"/>
                  </a:cubicBezTo>
                  <a:cubicBezTo>
                    <a:pt x="310" y="609"/>
                    <a:pt x="314" y="613"/>
                    <a:pt x="313" y="618"/>
                  </a:cubicBezTo>
                  <a:cubicBezTo>
                    <a:pt x="313" y="619"/>
                    <a:pt x="310" y="618"/>
                    <a:pt x="310" y="622"/>
                  </a:cubicBezTo>
                  <a:cubicBezTo>
                    <a:pt x="310" y="635"/>
                    <a:pt x="315" y="658"/>
                    <a:pt x="302" y="655"/>
                  </a:cubicBezTo>
                  <a:cubicBezTo>
                    <a:pt x="303" y="651"/>
                    <a:pt x="308" y="652"/>
                    <a:pt x="308" y="648"/>
                  </a:cubicBezTo>
                  <a:cubicBezTo>
                    <a:pt x="306" y="644"/>
                    <a:pt x="301" y="644"/>
                    <a:pt x="302" y="636"/>
                  </a:cubicBezTo>
                  <a:cubicBezTo>
                    <a:pt x="302" y="635"/>
                    <a:pt x="305" y="631"/>
                    <a:pt x="305" y="633"/>
                  </a:cubicBezTo>
                  <a:cubicBezTo>
                    <a:pt x="305" y="625"/>
                    <a:pt x="296" y="624"/>
                    <a:pt x="300" y="614"/>
                  </a:cubicBezTo>
                  <a:cubicBezTo>
                    <a:pt x="302" y="617"/>
                    <a:pt x="304" y="621"/>
                    <a:pt x="305" y="625"/>
                  </a:cubicBezTo>
                  <a:cubicBezTo>
                    <a:pt x="313" y="619"/>
                    <a:pt x="305" y="604"/>
                    <a:pt x="297" y="607"/>
                  </a:cubicBezTo>
                  <a:close/>
                  <a:moveTo>
                    <a:pt x="289" y="562"/>
                  </a:moveTo>
                  <a:cubicBezTo>
                    <a:pt x="284" y="562"/>
                    <a:pt x="283" y="567"/>
                    <a:pt x="278" y="566"/>
                  </a:cubicBezTo>
                  <a:cubicBezTo>
                    <a:pt x="276" y="558"/>
                    <a:pt x="286" y="554"/>
                    <a:pt x="275" y="555"/>
                  </a:cubicBezTo>
                  <a:cubicBezTo>
                    <a:pt x="279" y="541"/>
                    <a:pt x="293" y="558"/>
                    <a:pt x="286" y="537"/>
                  </a:cubicBezTo>
                  <a:cubicBezTo>
                    <a:pt x="281" y="542"/>
                    <a:pt x="280" y="540"/>
                    <a:pt x="281" y="529"/>
                  </a:cubicBezTo>
                  <a:cubicBezTo>
                    <a:pt x="276" y="529"/>
                    <a:pt x="272" y="529"/>
                    <a:pt x="267" y="529"/>
                  </a:cubicBezTo>
                  <a:cubicBezTo>
                    <a:pt x="268" y="518"/>
                    <a:pt x="277" y="524"/>
                    <a:pt x="281" y="529"/>
                  </a:cubicBezTo>
                  <a:cubicBezTo>
                    <a:pt x="287" y="528"/>
                    <a:pt x="291" y="523"/>
                    <a:pt x="300" y="525"/>
                  </a:cubicBezTo>
                  <a:cubicBezTo>
                    <a:pt x="300" y="531"/>
                    <a:pt x="284" y="531"/>
                    <a:pt x="297" y="533"/>
                  </a:cubicBezTo>
                  <a:cubicBezTo>
                    <a:pt x="291" y="548"/>
                    <a:pt x="294" y="552"/>
                    <a:pt x="292" y="570"/>
                  </a:cubicBezTo>
                  <a:cubicBezTo>
                    <a:pt x="296" y="571"/>
                    <a:pt x="297" y="567"/>
                    <a:pt x="297" y="562"/>
                  </a:cubicBezTo>
                  <a:cubicBezTo>
                    <a:pt x="300" y="562"/>
                    <a:pt x="302" y="563"/>
                    <a:pt x="302" y="566"/>
                  </a:cubicBezTo>
                  <a:cubicBezTo>
                    <a:pt x="308" y="565"/>
                    <a:pt x="303" y="550"/>
                    <a:pt x="308" y="548"/>
                  </a:cubicBezTo>
                  <a:cubicBezTo>
                    <a:pt x="313" y="548"/>
                    <a:pt x="308" y="559"/>
                    <a:pt x="310" y="562"/>
                  </a:cubicBezTo>
                  <a:cubicBezTo>
                    <a:pt x="311" y="565"/>
                    <a:pt x="313" y="560"/>
                    <a:pt x="313" y="559"/>
                  </a:cubicBezTo>
                  <a:cubicBezTo>
                    <a:pt x="313" y="558"/>
                    <a:pt x="318" y="560"/>
                    <a:pt x="316" y="562"/>
                  </a:cubicBezTo>
                  <a:cubicBezTo>
                    <a:pt x="311" y="567"/>
                    <a:pt x="319" y="566"/>
                    <a:pt x="313" y="585"/>
                  </a:cubicBezTo>
                  <a:cubicBezTo>
                    <a:pt x="316" y="582"/>
                    <a:pt x="316" y="576"/>
                    <a:pt x="321" y="577"/>
                  </a:cubicBezTo>
                  <a:cubicBezTo>
                    <a:pt x="321" y="583"/>
                    <a:pt x="321" y="590"/>
                    <a:pt x="321" y="596"/>
                  </a:cubicBezTo>
                  <a:cubicBezTo>
                    <a:pt x="318" y="596"/>
                    <a:pt x="319" y="591"/>
                    <a:pt x="318" y="588"/>
                  </a:cubicBezTo>
                  <a:cubicBezTo>
                    <a:pt x="315" y="588"/>
                    <a:pt x="314" y="589"/>
                    <a:pt x="313" y="592"/>
                  </a:cubicBezTo>
                  <a:cubicBezTo>
                    <a:pt x="311" y="588"/>
                    <a:pt x="301" y="577"/>
                    <a:pt x="300" y="585"/>
                  </a:cubicBezTo>
                  <a:cubicBezTo>
                    <a:pt x="291" y="581"/>
                    <a:pt x="303" y="577"/>
                    <a:pt x="302" y="574"/>
                  </a:cubicBezTo>
                  <a:cubicBezTo>
                    <a:pt x="300" y="568"/>
                    <a:pt x="281" y="577"/>
                    <a:pt x="289" y="562"/>
                  </a:cubicBezTo>
                  <a:close/>
                  <a:moveTo>
                    <a:pt x="292" y="625"/>
                  </a:moveTo>
                  <a:cubicBezTo>
                    <a:pt x="284" y="626"/>
                    <a:pt x="285" y="615"/>
                    <a:pt x="281" y="611"/>
                  </a:cubicBezTo>
                  <a:cubicBezTo>
                    <a:pt x="277" y="615"/>
                    <a:pt x="274" y="615"/>
                    <a:pt x="270" y="611"/>
                  </a:cubicBezTo>
                  <a:cubicBezTo>
                    <a:pt x="270" y="606"/>
                    <a:pt x="270" y="601"/>
                    <a:pt x="270" y="596"/>
                  </a:cubicBezTo>
                  <a:cubicBezTo>
                    <a:pt x="270" y="591"/>
                    <a:pt x="273" y="588"/>
                    <a:pt x="273" y="585"/>
                  </a:cubicBezTo>
                  <a:cubicBezTo>
                    <a:pt x="272" y="579"/>
                    <a:pt x="268" y="575"/>
                    <a:pt x="267" y="570"/>
                  </a:cubicBezTo>
                  <a:cubicBezTo>
                    <a:pt x="267" y="560"/>
                    <a:pt x="271" y="550"/>
                    <a:pt x="267" y="537"/>
                  </a:cubicBezTo>
                  <a:cubicBezTo>
                    <a:pt x="270" y="538"/>
                    <a:pt x="272" y="540"/>
                    <a:pt x="273" y="544"/>
                  </a:cubicBezTo>
                  <a:cubicBezTo>
                    <a:pt x="272" y="543"/>
                    <a:pt x="269" y="546"/>
                    <a:pt x="270" y="548"/>
                  </a:cubicBezTo>
                  <a:cubicBezTo>
                    <a:pt x="272" y="550"/>
                    <a:pt x="274" y="557"/>
                    <a:pt x="273" y="574"/>
                  </a:cubicBezTo>
                  <a:cubicBezTo>
                    <a:pt x="273" y="578"/>
                    <a:pt x="275" y="576"/>
                    <a:pt x="275" y="574"/>
                  </a:cubicBezTo>
                  <a:cubicBezTo>
                    <a:pt x="283" y="571"/>
                    <a:pt x="273" y="591"/>
                    <a:pt x="281" y="588"/>
                  </a:cubicBezTo>
                  <a:cubicBezTo>
                    <a:pt x="280" y="597"/>
                    <a:pt x="280" y="606"/>
                    <a:pt x="283" y="611"/>
                  </a:cubicBezTo>
                  <a:cubicBezTo>
                    <a:pt x="287" y="609"/>
                    <a:pt x="286" y="601"/>
                    <a:pt x="286" y="596"/>
                  </a:cubicBezTo>
                  <a:cubicBezTo>
                    <a:pt x="289" y="598"/>
                    <a:pt x="289" y="604"/>
                    <a:pt x="294" y="603"/>
                  </a:cubicBezTo>
                  <a:cubicBezTo>
                    <a:pt x="294" y="612"/>
                    <a:pt x="290" y="614"/>
                    <a:pt x="292" y="625"/>
                  </a:cubicBezTo>
                  <a:close/>
                  <a:moveTo>
                    <a:pt x="283" y="644"/>
                  </a:moveTo>
                  <a:cubicBezTo>
                    <a:pt x="283" y="648"/>
                    <a:pt x="278" y="646"/>
                    <a:pt x="278" y="651"/>
                  </a:cubicBezTo>
                  <a:cubicBezTo>
                    <a:pt x="275" y="651"/>
                    <a:pt x="277" y="648"/>
                    <a:pt x="278" y="648"/>
                  </a:cubicBezTo>
                  <a:cubicBezTo>
                    <a:pt x="274" y="637"/>
                    <a:pt x="276" y="643"/>
                    <a:pt x="283" y="644"/>
                  </a:cubicBezTo>
                  <a:close/>
                  <a:moveTo>
                    <a:pt x="270" y="618"/>
                  </a:moveTo>
                  <a:cubicBezTo>
                    <a:pt x="274" y="617"/>
                    <a:pt x="275" y="621"/>
                    <a:pt x="278" y="622"/>
                  </a:cubicBezTo>
                  <a:cubicBezTo>
                    <a:pt x="279" y="629"/>
                    <a:pt x="266" y="627"/>
                    <a:pt x="270" y="618"/>
                  </a:cubicBezTo>
                  <a:close/>
                  <a:moveTo>
                    <a:pt x="273" y="636"/>
                  </a:moveTo>
                  <a:cubicBezTo>
                    <a:pt x="273" y="635"/>
                    <a:pt x="270" y="648"/>
                    <a:pt x="270" y="648"/>
                  </a:cubicBezTo>
                  <a:cubicBezTo>
                    <a:pt x="268" y="650"/>
                    <a:pt x="269" y="635"/>
                    <a:pt x="267" y="629"/>
                  </a:cubicBezTo>
                  <a:cubicBezTo>
                    <a:pt x="272" y="628"/>
                    <a:pt x="273" y="632"/>
                    <a:pt x="273" y="636"/>
                  </a:cubicBezTo>
                  <a:close/>
                  <a:moveTo>
                    <a:pt x="232" y="470"/>
                  </a:moveTo>
                  <a:cubicBezTo>
                    <a:pt x="227" y="469"/>
                    <a:pt x="230" y="456"/>
                    <a:pt x="224" y="455"/>
                  </a:cubicBezTo>
                  <a:cubicBezTo>
                    <a:pt x="216" y="446"/>
                    <a:pt x="232" y="459"/>
                    <a:pt x="230" y="452"/>
                  </a:cubicBezTo>
                  <a:cubicBezTo>
                    <a:pt x="235" y="451"/>
                    <a:pt x="231" y="465"/>
                    <a:pt x="232" y="470"/>
                  </a:cubicBezTo>
                  <a:close/>
                  <a:moveTo>
                    <a:pt x="232" y="581"/>
                  </a:moveTo>
                  <a:cubicBezTo>
                    <a:pt x="228" y="578"/>
                    <a:pt x="229" y="569"/>
                    <a:pt x="227" y="562"/>
                  </a:cubicBezTo>
                  <a:cubicBezTo>
                    <a:pt x="233" y="563"/>
                    <a:pt x="233" y="572"/>
                    <a:pt x="232" y="581"/>
                  </a:cubicBezTo>
                  <a:close/>
                  <a:moveTo>
                    <a:pt x="214" y="751"/>
                  </a:moveTo>
                  <a:cubicBezTo>
                    <a:pt x="213" y="741"/>
                    <a:pt x="215" y="735"/>
                    <a:pt x="222" y="736"/>
                  </a:cubicBezTo>
                  <a:cubicBezTo>
                    <a:pt x="222" y="746"/>
                    <a:pt x="221" y="752"/>
                    <a:pt x="214" y="751"/>
                  </a:cubicBezTo>
                  <a:close/>
                  <a:moveTo>
                    <a:pt x="219" y="766"/>
                  </a:moveTo>
                  <a:cubicBezTo>
                    <a:pt x="218" y="767"/>
                    <a:pt x="216" y="757"/>
                    <a:pt x="214" y="759"/>
                  </a:cubicBezTo>
                  <a:cubicBezTo>
                    <a:pt x="218" y="746"/>
                    <a:pt x="221" y="763"/>
                    <a:pt x="219" y="766"/>
                  </a:cubicBezTo>
                  <a:close/>
                  <a:moveTo>
                    <a:pt x="224" y="537"/>
                  </a:moveTo>
                  <a:cubicBezTo>
                    <a:pt x="223" y="538"/>
                    <a:pt x="221" y="527"/>
                    <a:pt x="219" y="529"/>
                  </a:cubicBezTo>
                  <a:cubicBezTo>
                    <a:pt x="224" y="517"/>
                    <a:pt x="226" y="534"/>
                    <a:pt x="224" y="537"/>
                  </a:cubicBezTo>
                  <a:close/>
                  <a:moveTo>
                    <a:pt x="224" y="381"/>
                  </a:moveTo>
                  <a:cubicBezTo>
                    <a:pt x="224" y="378"/>
                    <a:pt x="224" y="374"/>
                    <a:pt x="224" y="370"/>
                  </a:cubicBezTo>
                  <a:cubicBezTo>
                    <a:pt x="232" y="365"/>
                    <a:pt x="232" y="387"/>
                    <a:pt x="224" y="381"/>
                  </a:cubicBezTo>
                  <a:close/>
                  <a:moveTo>
                    <a:pt x="230" y="392"/>
                  </a:moveTo>
                  <a:cubicBezTo>
                    <a:pt x="220" y="384"/>
                    <a:pt x="242" y="388"/>
                    <a:pt x="235" y="370"/>
                  </a:cubicBezTo>
                  <a:cubicBezTo>
                    <a:pt x="237" y="372"/>
                    <a:pt x="239" y="374"/>
                    <a:pt x="243" y="374"/>
                  </a:cubicBezTo>
                  <a:cubicBezTo>
                    <a:pt x="240" y="378"/>
                    <a:pt x="235" y="381"/>
                    <a:pt x="238" y="392"/>
                  </a:cubicBezTo>
                  <a:cubicBezTo>
                    <a:pt x="233" y="393"/>
                    <a:pt x="231" y="386"/>
                    <a:pt x="230" y="392"/>
                  </a:cubicBezTo>
                  <a:close/>
                  <a:moveTo>
                    <a:pt x="249" y="433"/>
                  </a:moveTo>
                  <a:cubicBezTo>
                    <a:pt x="248" y="437"/>
                    <a:pt x="245" y="436"/>
                    <a:pt x="243" y="437"/>
                  </a:cubicBezTo>
                  <a:cubicBezTo>
                    <a:pt x="240" y="432"/>
                    <a:pt x="242" y="431"/>
                    <a:pt x="243" y="426"/>
                  </a:cubicBezTo>
                  <a:cubicBezTo>
                    <a:pt x="246" y="427"/>
                    <a:pt x="245" y="433"/>
                    <a:pt x="249" y="433"/>
                  </a:cubicBezTo>
                  <a:close/>
                  <a:moveTo>
                    <a:pt x="235" y="477"/>
                  </a:moveTo>
                  <a:cubicBezTo>
                    <a:pt x="239" y="478"/>
                    <a:pt x="236" y="488"/>
                    <a:pt x="240" y="489"/>
                  </a:cubicBezTo>
                  <a:cubicBezTo>
                    <a:pt x="237" y="500"/>
                    <a:pt x="233" y="485"/>
                    <a:pt x="235" y="477"/>
                  </a:cubicBezTo>
                  <a:close/>
                  <a:moveTo>
                    <a:pt x="238" y="466"/>
                  </a:moveTo>
                  <a:cubicBezTo>
                    <a:pt x="238" y="456"/>
                    <a:pt x="252" y="459"/>
                    <a:pt x="251" y="470"/>
                  </a:cubicBezTo>
                  <a:cubicBezTo>
                    <a:pt x="246" y="462"/>
                    <a:pt x="243" y="473"/>
                    <a:pt x="238" y="466"/>
                  </a:cubicBezTo>
                  <a:close/>
                  <a:moveTo>
                    <a:pt x="254" y="533"/>
                  </a:moveTo>
                  <a:cubicBezTo>
                    <a:pt x="248" y="545"/>
                    <a:pt x="243" y="520"/>
                    <a:pt x="254" y="533"/>
                  </a:cubicBezTo>
                  <a:close/>
                  <a:moveTo>
                    <a:pt x="246" y="448"/>
                  </a:moveTo>
                  <a:cubicBezTo>
                    <a:pt x="246" y="444"/>
                    <a:pt x="251" y="445"/>
                    <a:pt x="254" y="444"/>
                  </a:cubicBezTo>
                  <a:cubicBezTo>
                    <a:pt x="256" y="448"/>
                    <a:pt x="257" y="454"/>
                    <a:pt x="257" y="463"/>
                  </a:cubicBezTo>
                  <a:cubicBezTo>
                    <a:pt x="252" y="459"/>
                    <a:pt x="252" y="449"/>
                    <a:pt x="246" y="448"/>
                  </a:cubicBezTo>
                  <a:close/>
                  <a:moveTo>
                    <a:pt x="254" y="437"/>
                  </a:moveTo>
                  <a:cubicBezTo>
                    <a:pt x="254" y="434"/>
                    <a:pt x="253" y="433"/>
                    <a:pt x="251" y="433"/>
                  </a:cubicBezTo>
                  <a:cubicBezTo>
                    <a:pt x="251" y="429"/>
                    <a:pt x="254" y="430"/>
                    <a:pt x="257" y="429"/>
                  </a:cubicBezTo>
                  <a:cubicBezTo>
                    <a:pt x="255" y="426"/>
                    <a:pt x="254" y="423"/>
                    <a:pt x="251" y="422"/>
                  </a:cubicBezTo>
                  <a:cubicBezTo>
                    <a:pt x="252" y="418"/>
                    <a:pt x="256" y="419"/>
                    <a:pt x="259" y="418"/>
                  </a:cubicBezTo>
                  <a:cubicBezTo>
                    <a:pt x="259" y="424"/>
                    <a:pt x="259" y="431"/>
                    <a:pt x="259" y="437"/>
                  </a:cubicBezTo>
                  <a:cubicBezTo>
                    <a:pt x="257" y="437"/>
                    <a:pt x="256" y="437"/>
                    <a:pt x="254" y="437"/>
                  </a:cubicBezTo>
                  <a:close/>
                  <a:moveTo>
                    <a:pt x="259" y="359"/>
                  </a:moveTo>
                  <a:cubicBezTo>
                    <a:pt x="251" y="360"/>
                    <a:pt x="254" y="347"/>
                    <a:pt x="251" y="341"/>
                  </a:cubicBezTo>
                  <a:cubicBezTo>
                    <a:pt x="254" y="346"/>
                    <a:pt x="259" y="350"/>
                    <a:pt x="259" y="359"/>
                  </a:cubicBezTo>
                  <a:close/>
                  <a:moveTo>
                    <a:pt x="254" y="329"/>
                  </a:moveTo>
                  <a:cubicBezTo>
                    <a:pt x="253" y="320"/>
                    <a:pt x="258" y="318"/>
                    <a:pt x="259" y="311"/>
                  </a:cubicBezTo>
                  <a:cubicBezTo>
                    <a:pt x="264" y="312"/>
                    <a:pt x="260" y="332"/>
                    <a:pt x="254" y="329"/>
                  </a:cubicBezTo>
                  <a:close/>
                  <a:moveTo>
                    <a:pt x="259" y="448"/>
                  </a:moveTo>
                  <a:cubicBezTo>
                    <a:pt x="267" y="434"/>
                    <a:pt x="268" y="459"/>
                    <a:pt x="259" y="448"/>
                  </a:cubicBezTo>
                  <a:close/>
                  <a:moveTo>
                    <a:pt x="265" y="437"/>
                  </a:moveTo>
                  <a:cubicBezTo>
                    <a:pt x="264" y="432"/>
                    <a:pt x="265" y="430"/>
                    <a:pt x="267" y="429"/>
                  </a:cubicBezTo>
                  <a:cubicBezTo>
                    <a:pt x="259" y="417"/>
                    <a:pt x="276" y="429"/>
                    <a:pt x="267" y="418"/>
                  </a:cubicBezTo>
                  <a:cubicBezTo>
                    <a:pt x="270" y="407"/>
                    <a:pt x="275" y="422"/>
                    <a:pt x="278" y="422"/>
                  </a:cubicBezTo>
                  <a:cubicBezTo>
                    <a:pt x="279" y="429"/>
                    <a:pt x="263" y="430"/>
                    <a:pt x="273" y="437"/>
                  </a:cubicBezTo>
                  <a:cubicBezTo>
                    <a:pt x="272" y="442"/>
                    <a:pt x="269" y="435"/>
                    <a:pt x="265" y="437"/>
                  </a:cubicBezTo>
                  <a:close/>
                  <a:moveTo>
                    <a:pt x="294" y="270"/>
                  </a:moveTo>
                  <a:cubicBezTo>
                    <a:pt x="289" y="267"/>
                    <a:pt x="293" y="246"/>
                    <a:pt x="300" y="248"/>
                  </a:cubicBezTo>
                  <a:cubicBezTo>
                    <a:pt x="298" y="256"/>
                    <a:pt x="293" y="259"/>
                    <a:pt x="294" y="270"/>
                  </a:cubicBezTo>
                  <a:close/>
                  <a:moveTo>
                    <a:pt x="294" y="296"/>
                  </a:moveTo>
                  <a:cubicBezTo>
                    <a:pt x="292" y="296"/>
                    <a:pt x="289" y="296"/>
                    <a:pt x="286" y="296"/>
                  </a:cubicBezTo>
                  <a:cubicBezTo>
                    <a:pt x="286" y="294"/>
                    <a:pt x="286" y="291"/>
                    <a:pt x="286" y="289"/>
                  </a:cubicBezTo>
                  <a:cubicBezTo>
                    <a:pt x="292" y="288"/>
                    <a:pt x="295" y="290"/>
                    <a:pt x="294" y="296"/>
                  </a:cubicBezTo>
                  <a:close/>
                  <a:moveTo>
                    <a:pt x="294" y="333"/>
                  </a:moveTo>
                  <a:cubicBezTo>
                    <a:pt x="291" y="332"/>
                    <a:pt x="292" y="324"/>
                    <a:pt x="292" y="318"/>
                  </a:cubicBezTo>
                  <a:cubicBezTo>
                    <a:pt x="302" y="317"/>
                    <a:pt x="293" y="326"/>
                    <a:pt x="294" y="333"/>
                  </a:cubicBezTo>
                  <a:close/>
                  <a:moveTo>
                    <a:pt x="294" y="389"/>
                  </a:moveTo>
                  <a:cubicBezTo>
                    <a:pt x="297" y="390"/>
                    <a:pt x="296" y="396"/>
                    <a:pt x="300" y="396"/>
                  </a:cubicBezTo>
                  <a:cubicBezTo>
                    <a:pt x="297" y="401"/>
                    <a:pt x="292" y="403"/>
                    <a:pt x="292" y="411"/>
                  </a:cubicBezTo>
                  <a:cubicBezTo>
                    <a:pt x="284" y="406"/>
                    <a:pt x="296" y="398"/>
                    <a:pt x="294" y="389"/>
                  </a:cubicBezTo>
                  <a:close/>
                  <a:moveTo>
                    <a:pt x="343" y="248"/>
                  </a:moveTo>
                  <a:cubicBezTo>
                    <a:pt x="347" y="242"/>
                    <a:pt x="351" y="250"/>
                    <a:pt x="361" y="244"/>
                  </a:cubicBezTo>
                  <a:cubicBezTo>
                    <a:pt x="365" y="249"/>
                    <a:pt x="364" y="257"/>
                    <a:pt x="364" y="267"/>
                  </a:cubicBezTo>
                  <a:cubicBezTo>
                    <a:pt x="355" y="262"/>
                    <a:pt x="362" y="279"/>
                    <a:pt x="353" y="274"/>
                  </a:cubicBezTo>
                  <a:cubicBezTo>
                    <a:pt x="351" y="261"/>
                    <a:pt x="356" y="258"/>
                    <a:pt x="361" y="255"/>
                  </a:cubicBezTo>
                  <a:cubicBezTo>
                    <a:pt x="359" y="240"/>
                    <a:pt x="348" y="259"/>
                    <a:pt x="343" y="248"/>
                  </a:cubicBezTo>
                  <a:close/>
                  <a:moveTo>
                    <a:pt x="348" y="300"/>
                  </a:moveTo>
                  <a:cubicBezTo>
                    <a:pt x="344" y="297"/>
                    <a:pt x="338" y="297"/>
                    <a:pt x="340" y="285"/>
                  </a:cubicBezTo>
                  <a:cubicBezTo>
                    <a:pt x="342" y="284"/>
                    <a:pt x="342" y="286"/>
                    <a:pt x="343" y="289"/>
                  </a:cubicBezTo>
                  <a:cubicBezTo>
                    <a:pt x="344" y="293"/>
                    <a:pt x="349" y="293"/>
                    <a:pt x="348" y="300"/>
                  </a:cubicBezTo>
                  <a:close/>
                  <a:moveTo>
                    <a:pt x="383" y="263"/>
                  </a:moveTo>
                  <a:cubicBezTo>
                    <a:pt x="388" y="264"/>
                    <a:pt x="388" y="273"/>
                    <a:pt x="394" y="274"/>
                  </a:cubicBezTo>
                  <a:cubicBezTo>
                    <a:pt x="393" y="279"/>
                    <a:pt x="388" y="278"/>
                    <a:pt x="388" y="274"/>
                  </a:cubicBezTo>
                  <a:cubicBezTo>
                    <a:pt x="386" y="274"/>
                    <a:pt x="386" y="279"/>
                    <a:pt x="386" y="281"/>
                  </a:cubicBezTo>
                  <a:cubicBezTo>
                    <a:pt x="377" y="278"/>
                    <a:pt x="384" y="274"/>
                    <a:pt x="383" y="263"/>
                  </a:cubicBezTo>
                  <a:close/>
                  <a:moveTo>
                    <a:pt x="386" y="333"/>
                  </a:moveTo>
                  <a:cubicBezTo>
                    <a:pt x="381" y="330"/>
                    <a:pt x="379" y="320"/>
                    <a:pt x="383" y="315"/>
                  </a:cubicBezTo>
                  <a:cubicBezTo>
                    <a:pt x="389" y="314"/>
                    <a:pt x="384" y="328"/>
                    <a:pt x="386" y="333"/>
                  </a:cubicBezTo>
                  <a:close/>
                  <a:moveTo>
                    <a:pt x="386" y="307"/>
                  </a:moveTo>
                  <a:cubicBezTo>
                    <a:pt x="378" y="299"/>
                    <a:pt x="384" y="297"/>
                    <a:pt x="380" y="285"/>
                  </a:cubicBezTo>
                  <a:cubicBezTo>
                    <a:pt x="387" y="285"/>
                    <a:pt x="386" y="297"/>
                    <a:pt x="386" y="307"/>
                  </a:cubicBezTo>
                  <a:close/>
                  <a:moveTo>
                    <a:pt x="388" y="489"/>
                  </a:moveTo>
                  <a:cubicBezTo>
                    <a:pt x="389" y="489"/>
                    <a:pt x="388" y="496"/>
                    <a:pt x="388" y="496"/>
                  </a:cubicBezTo>
                  <a:cubicBezTo>
                    <a:pt x="390" y="496"/>
                    <a:pt x="393" y="491"/>
                    <a:pt x="394" y="489"/>
                  </a:cubicBezTo>
                  <a:cubicBezTo>
                    <a:pt x="395" y="487"/>
                    <a:pt x="397" y="495"/>
                    <a:pt x="396" y="496"/>
                  </a:cubicBezTo>
                  <a:cubicBezTo>
                    <a:pt x="396" y="497"/>
                    <a:pt x="391" y="495"/>
                    <a:pt x="391" y="496"/>
                  </a:cubicBezTo>
                  <a:cubicBezTo>
                    <a:pt x="389" y="502"/>
                    <a:pt x="392" y="510"/>
                    <a:pt x="383" y="511"/>
                  </a:cubicBezTo>
                  <a:cubicBezTo>
                    <a:pt x="379" y="520"/>
                    <a:pt x="389" y="519"/>
                    <a:pt x="391" y="522"/>
                  </a:cubicBezTo>
                  <a:cubicBezTo>
                    <a:pt x="393" y="526"/>
                    <a:pt x="389" y="536"/>
                    <a:pt x="396" y="533"/>
                  </a:cubicBezTo>
                  <a:cubicBezTo>
                    <a:pt x="398" y="544"/>
                    <a:pt x="391" y="545"/>
                    <a:pt x="383" y="544"/>
                  </a:cubicBezTo>
                  <a:cubicBezTo>
                    <a:pt x="381" y="537"/>
                    <a:pt x="386" y="534"/>
                    <a:pt x="386" y="529"/>
                  </a:cubicBezTo>
                  <a:cubicBezTo>
                    <a:pt x="384" y="522"/>
                    <a:pt x="380" y="526"/>
                    <a:pt x="378" y="522"/>
                  </a:cubicBezTo>
                  <a:cubicBezTo>
                    <a:pt x="376" y="519"/>
                    <a:pt x="380" y="513"/>
                    <a:pt x="380" y="514"/>
                  </a:cubicBezTo>
                  <a:cubicBezTo>
                    <a:pt x="375" y="506"/>
                    <a:pt x="375" y="505"/>
                    <a:pt x="367" y="507"/>
                  </a:cubicBezTo>
                  <a:cubicBezTo>
                    <a:pt x="366" y="499"/>
                    <a:pt x="369" y="497"/>
                    <a:pt x="370" y="492"/>
                  </a:cubicBezTo>
                  <a:cubicBezTo>
                    <a:pt x="375" y="493"/>
                    <a:pt x="371" y="504"/>
                    <a:pt x="378" y="503"/>
                  </a:cubicBezTo>
                  <a:cubicBezTo>
                    <a:pt x="380" y="504"/>
                    <a:pt x="380" y="502"/>
                    <a:pt x="380" y="500"/>
                  </a:cubicBezTo>
                  <a:cubicBezTo>
                    <a:pt x="380" y="496"/>
                    <a:pt x="377" y="497"/>
                    <a:pt x="375" y="496"/>
                  </a:cubicBezTo>
                  <a:cubicBezTo>
                    <a:pt x="374" y="492"/>
                    <a:pt x="376" y="488"/>
                    <a:pt x="378" y="489"/>
                  </a:cubicBezTo>
                  <a:cubicBezTo>
                    <a:pt x="378" y="489"/>
                    <a:pt x="380" y="496"/>
                    <a:pt x="380" y="496"/>
                  </a:cubicBezTo>
                  <a:cubicBezTo>
                    <a:pt x="381" y="496"/>
                    <a:pt x="385" y="484"/>
                    <a:pt x="388" y="489"/>
                  </a:cubicBezTo>
                  <a:close/>
                  <a:moveTo>
                    <a:pt x="404" y="296"/>
                  </a:moveTo>
                  <a:cubicBezTo>
                    <a:pt x="406" y="299"/>
                    <a:pt x="394" y="307"/>
                    <a:pt x="396" y="300"/>
                  </a:cubicBezTo>
                  <a:cubicBezTo>
                    <a:pt x="397" y="299"/>
                    <a:pt x="402" y="293"/>
                    <a:pt x="404" y="296"/>
                  </a:cubicBezTo>
                  <a:close/>
                  <a:moveTo>
                    <a:pt x="396" y="278"/>
                  </a:moveTo>
                  <a:cubicBezTo>
                    <a:pt x="397" y="275"/>
                    <a:pt x="399" y="274"/>
                    <a:pt x="399" y="270"/>
                  </a:cubicBezTo>
                  <a:cubicBezTo>
                    <a:pt x="401" y="271"/>
                    <a:pt x="402" y="274"/>
                    <a:pt x="404" y="274"/>
                  </a:cubicBezTo>
                  <a:cubicBezTo>
                    <a:pt x="404" y="277"/>
                    <a:pt x="402" y="278"/>
                    <a:pt x="402" y="281"/>
                  </a:cubicBezTo>
                  <a:cubicBezTo>
                    <a:pt x="400" y="281"/>
                    <a:pt x="399" y="278"/>
                    <a:pt x="396" y="278"/>
                  </a:cubicBezTo>
                  <a:close/>
                  <a:moveTo>
                    <a:pt x="421" y="525"/>
                  </a:moveTo>
                  <a:cubicBezTo>
                    <a:pt x="422" y="534"/>
                    <a:pt x="416" y="534"/>
                    <a:pt x="418" y="544"/>
                  </a:cubicBezTo>
                  <a:cubicBezTo>
                    <a:pt x="412" y="539"/>
                    <a:pt x="410" y="546"/>
                    <a:pt x="402" y="540"/>
                  </a:cubicBezTo>
                  <a:cubicBezTo>
                    <a:pt x="404" y="537"/>
                    <a:pt x="405" y="532"/>
                    <a:pt x="404" y="525"/>
                  </a:cubicBezTo>
                  <a:cubicBezTo>
                    <a:pt x="410" y="528"/>
                    <a:pt x="410" y="531"/>
                    <a:pt x="407" y="537"/>
                  </a:cubicBezTo>
                  <a:cubicBezTo>
                    <a:pt x="419" y="543"/>
                    <a:pt x="411" y="522"/>
                    <a:pt x="421" y="525"/>
                  </a:cubicBezTo>
                  <a:close/>
                  <a:moveTo>
                    <a:pt x="410" y="285"/>
                  </a:moveTo>
                  <a:cubicBezTo>
                    <a:pt x="422" y="287"/>
                    <a:pt x="407" y="307"/>
                    <a:pt x="410" y="285"/>
                  </a:cubicBezTo>
                  <a:close/>
                  <a:moveTo>
                    <a:pt x="412" y="281"/>
                  </a:moveTo>
                  <a:cubicBezTo>
                    <a:pt x="412" y="279"/>
                    <a:pt x="412" y="276"/>
                    <a:pt x="412" y="274"/>
                  </a:cubicBezTo>
                  <a:cubicBezTo>
                    <a:pt x="414" y="274"/>
                    <a:pt x="416" y="274"/>
                    <a:pt x="418" y="274"/>
                  </a:cubicBezTo>
                  <a:cubicBezTo>
                    <a:pt x="418" y="276"/>
                    <a:pt x="418" y="279"/>
                    <a:pt x="418" y="281"/>
                  </a:cubicBezTo>
                  <a:cubicBezTo>
                    <a:pt x="416" y="281"/>
                    <a:pt x="414" y="281"/>
                    <a:pt x="412" y="281"/>
                  </a:cubicBezTo>
                  <a:close/>
                  <a:moveTo>
                    <a:pt x="396" y="500"/>
                  </a:moveTo>
                  <a:cubicBezTo>
                    <a:pt x="403" y="501"/>
                    <a:pt x="403" y="509"/>
                    <a:pt x="399" y="514"/>
                  </a:cubicBezTo>
                  <a:cubicBezTo>
                    <a:pt x="395" y="513"/>
                    <a:pt x="397" y="505"/>
                    <a:pt x="396" y="500"/>
                  </a:cubicBezTo>
                  <a:close/>
                  <a:moveTo>
                    <a:pt x="351" y="489"/>
                  </a:moveTo>
                  <a:cubicBezTo>
                    <a:pt x="352" y="483"/>
                    <a:pt x="356" y="482"/>
                    <a:pt x="361" y="481"/>
                  </a:cubicBezTo>
                  <a:cubicBezTo>
                    <a:pt x="363" y="490"/>
                    <a:pt x="368" y="509"/>
                    <a:pt x="356" y="507"/>
                  </a:cubicBezTo>
                  <a:cubicBezTo>
                    <a:pt x="356" y="503"/>
                    <a:pt x="356" y="500"/>
                    <a:pt x="356" y="496"/>
                  </a:cubicBezTo>
                  <a:cubicBezTo>
                    <a:pt x="359" y="496"/>
                    <a:pt x="358" y="500"/>
                    <a:pt x="359" y="503"/>
                  </a:cubicBezTo>
                  <a:cubicBezTo>
                    <a:pt x="367" y="498"/>
                    <a:pt x="357" y="487"/>
                    <a:pt x="351" y="489"/>
                  </a:cubicBezTo>
                  <a:close/>
                  <a:moveTo>
                    <a:pt x="364" y="285"/>
                  </a:moveTo>
                  <a:cubicBezTo>
                    <a:pt x="363" y="279"/>
                    <a:pt x="379" y="280"/>
                    <a:pt x="372" y="289"/>
                  </a:cubicBezTo>
                  <a:cubicBezTo>
                    <a:pt x="373" y="287"/>
                    <a:pt x="364" y="285"/>
                    <a:pt x="364" y="285"/>
                  </a:cubicBezTo>
                  <a:close/>
                  <a:moveTo>
                    <a:pt x="372" y="296"/>
                  </a:moveTo>
                  <a:cubicBezTo>
                    <a:pt x="372" y="303"/>
                    <a:pt x="375" y="304"/>
                    <a:pt x="375" y="311"/>
                  </a:cubicBezTo>
                  <a:cubicBezTo>
                    <a:pt x="372" y="311"/>
                    <a:pt x="373" y="306"/>
                    <a:pt x="372" y="304"/>
                  </a:cubicBezTo>
                  <a:cubicBezTo>
                    <a:pt x="370" y="303"/>
                    <a:pt x="370" y="305"/>
                    <a:pt x="370" y="307"/>
                  </a:cubicBezTo>
                  <a:cubicBezTo>
                    <a:pt x="368" y="314"/>
                    <a:pt x="365" y="303"/>
                    <a:pt x="370" y="304"/>
                  </a:cubicBezTo>
                  <a:cubicBezTo>
                    <a:pt x="371" y="295"/>
                    <a:pt x="357" y="306"/>
                    <a:pt x="361" y="292"/>
                  </a:cubicBezTo>
                  <a:cubicBezTo>
                    <a:pt x="364" y="295"/>
                    <a:pt x="367" y="296"/>
                    <a:pt x="372" y="296"/>
                  </a:cubicBezTo>
                  <a:close/>
                  <a:moveTo>
                    <a:pt x="375" y="533"/>
                  </a:moveTo>
                  <a:cubicBezTo>
                    <a:pt x="367" y="548"/>
                    <a:pt x="368" y="521"/>
                    <a:pt x="361" y="522"/>
                  </a:cubicBezTo>
                  <a:cubicBezTo>
                    <a:pt x="363" y="511"/>
                    <a:pt x="367" y="525"/>
                    <a:pt x="372" y="522"/>
                  </a:cubicBezTo>
                  <a:cubicBezTo>
                    <a:pt x="372" y="527"/>
                    <a:pt x="372" y="532"/>
                    <a:pt x="375" y="533"/>
                  </a:cubicBezTo>
                  <a:close/>
                  <a:moveTo>
                    <a:pt x="364" y="474"/>
                  </a:moveTo>
                  <a:cubicBezTo>
                    <a:pt x="361" y="473"/>
                    <a:pt x="362" y="467"/>
                    <a:pt x="361" y="463"/>
                  </a:cubicBezTo>
                  <a:cubicBezTo>
                    <a:pt x="366" y="461"/>
                    <a:pt x="367" y="465"/>
                    <a:pt x="367" y="470"/>
                  </a:cubicBezTo>
                  <a:cubicBezTo>
                    <a:pt x="365" y="469"/>
                    <a:pt x="364" y="471"/>
                    <a:pt x="364" y="474"/>
                  </a:cubicBezTo>
                  <a:close/>
                  <a:moveTo>
                    <a:pt x="364" y="344"/>
                  </a:moveTo>
                  <a:cubicBezTo>
                    <a:pt x="363" y="336"/>
                    <a:pt x="369" y="339"/>
                    <a:pt x="370" y="333"/>
                  </a:cubicBezTo>
                  <a:cubicBezTo>
                    <a:pt x="373" y="334"/>
                    <a:pt x="372" y="340"/>
                    <a:pt x="372" y="344"/>
                  </a:cubicBezTo>
                  <a:cubicBezTo>
                    <a:pt x="370" y="344"/>
                    <a:pt x="367" y="344"/>
                    <a:pt x="364" y="344"/>
                  </a:cubicBezTo>
                  <a:close/>
                  <a:moveTo>
                    <a:pt x="361" y="555"/>
                  </a:moveTo>
                  <a:cubicBezTo>
                    <a:pt x="368" y="551"/>
                    <a:pt x="379" y="549"/>
                    <a:pt x="378" y="566"/>
                  </a:cubicBezTo>
                  <a:cubicBezTo>
                    <a:pt x="373" y="561"/>
                    <a:pt x="360" y="567"/>
                    <a:pt x="361" y="555"/>
                  </a:cubicBezTo>
                  <a:close/>
                  <a:moveTo>
                    <a:pt x="364" y="274"/>
                  </a:moveTo>
                  <a:cubicBezTo>
                    <a:pt x="366" y="269"/>
                    <a:pt x="370" y="267"/>
                    <a:pt x="375" y="267"/>
                  </a:cubicBezTo>
                  <a:cubicBezTo>
                    <a:pt x="378" y="278"/>
                    <a:pt x="369" y="273"/>
                    <a:pt x="364" y="274"/>
                  </a:cubicBezTo>
                  <a:close/>
                  <a:moveTo>
                    <a:pt x="353" y="363"/>
                  </a:moveTo>
                  <a:cubicBezTo>
                    <a:pt x="352" y="364"/>
                    <a:pt x="350" y="353"/>
                    <a:pt x="348" y="355"/>
                  </a:cubicBezTo>
                  <a:cubicBezTo>
                    <a:pt x="353" y="343"/>
                    <a:pt x="355" y="360"/>
                    <a:pt x="353" y="363"/>
                  </a:cubicBezTo>
                  <a:close/>
                  <a:moveTo>
                    <a:pt x="351" y="459"/>
                  </a:moveTo>
                  <a:cubicBezTo>
                    <a:pt x="351" y="463"/>
                    <a:pt x="351" y="466"/>
                    <a:pt x="351" y="470"/>
                  </a:cubicBezTo>
                  <a:cubicBezTo>
                    <a:pt x="348" y="470"/>
                    <a:pt x="349" y="465"/>
                    <a:pt x="348" y="463"/>
                  </a:cubicBezTo>
                  <a:cubicBezTo>
                    <a:pt x="346" y="466"/>
                    <a:pt x="341" y="465"/>
                    <a:pt x="337" y="459"/>
                  </a:cubicBezTo>
                  <a:cubicBezTo>
                    <a:pt x="336" y="456"/>
                    <a:pt x="334" y="454"/>
                    <a:pt x="335" y="448"/>
                  </a:cubicBezTo>
                  <a:cubicBezTo>
                    <a:pt x="337" y="451"/>
                    <a:pt x="339" y="454"/>
                    <a:pt x="340" y="459"/>
                  </a:cubicBezTo>
                  <a:cubicBezTo>
                    <a:pt x="344" y="459"/>
                    <a:pt x="347" y="459"/>
                    <a:pt x="351" y="459"/>
                  </a:cubicBezTo>
                  <a:close/>
                  <a:moveTo>
                    <a:pt x="340" y="559"/>
                  </a:moveTo>
                  <a:cubicBezTo>
                    <a:pt x="347" y="549"/>
                    <a:pt x="345" y="570"/>
                    <a:pt x="343" y="574"/>
                  </a:cubicBezTo>
                  <a:cubicBezTo>
                    <a:pt x="336" y="572"/>
                    <a:pt x="336" y="564"/>
                    <a:pt x="343" y="562"/>
                  </a:cubicBezTo>
                  <a:cubicBezTo>
                    <a:pt x="343" y="559"/>
                    <a:pt x="342" y="559"/>
                    <a:pt x="340" y="559"/>
                  </a:cubicBezTo>
                  <a:close/>
                  <a:moveTo>
                    <a:pt x="335" y="522"/>
                  </a:moveTo>
                  <a:cubicBezTo>
                    <a:pt x="334" y="521"/>
                    <a:pt x="335" y="518"/>
                    <a:pt x="335" y="518"/>
                  </a:cubicBezTo>
                  <a:cubicBezTo>
                    <a:pt x="332" y="517"/>
                    <a:pt x="320" y="521"/>
                    <a:pt x="324" y="511"/>
                  </a:cubicBezTo>
                  <a:cubicBezTo>
                    <a:pt x="334" y="513"/>
                    <a:pt x="331" y="517"/>
                    <a:pt x="329" y="503"/>
                  </a:cubicBezTo>
                  <a:cubicBezTo>
                    <a:pt x="332" y="503"/>
                    <a:pt x="335" y="503"/>
                    <a:pt x="337" y="503"/>
                  </a:cubicBezTo>
                  <a:cubicBezTo>
                    <a:pt x="334" y="516"/>
                    <a:pt x="336" y="519"/>
                    <a:pt x="345" y="514"/>
                  </a:cubicBezTo>
                  <a:cubicBezTo>
                    <a:pt x="347" y="517"/>
                    <a:pt x="338" y="528"/>
                    <a:pt x="335" y="522"/>
                  </a:cubicBezTo>
                  <a:close/>
                  <a:moveTo>
                    <a:pt x="324" y="707"/>
                  </a:moveTo>
                  <a:cubicBezTo>
                    <a:pt x="320" y="705"/>
                    <a:pt x="325" y="702"/>
                    <a:pt x="324" y="696"/>
                  </a:cubicBezTo>
                  <a:cubicBezTo>
                    <a:pt x="332" y="698"/>
                    <a:pt x="329" y="698"/>
                    <a:pt x="337" y="696"/>
                  </a:cubicBezTo>
                  <a:cubicBezTo>
                    <a:pt x="338" y="706"/>
                    <a:pt x="338" y="716"/>
                    <a:pt x="329" y="714"/>
                  </a:cubicBezTo>
                  <a:cubicBezTo>
                    <a:pt x="329" y="710"/>
                    <a:pt x="329" y="707"/>
                    <a:pt x="329" y="703"/>
                  </a:cubicBezTo>
                  <a:cubicBezTo>
                    <a:pt x="326" y="702"/>
                    <a:pt x="324" y="704"/>
                    <a:pt x="324" y="707"/>
                  </a:cubicBezTo>
                  <a:close/>
                  <a:moveTo>
                    <a:pt x="316" y="644"/>
                  </a:moveTo>
                  <a:cubicBezTo>
                    <a:pt x="322" y="632"/>
                    <a:pt x="323" y="658"/>
                    <a:pt x="324" y="666"/>
                  </a:cubicBezTo>
                  <a:cubicBezTo>
                    <a:pt x="308" y="668"/>
                    <a:pt x="324" y="649"/>
                    <a:pt x="316" y="644"/>
                  </a:cubicBezTo>
                  <a:close/>
                  <a:moveTo>
                    <a:pt x="335" y="562"/>
                  </a:moveTo>
                  <a:cubicBezTo>
                    <a:pt x="335" y="571"/>
                    <a:pt x="335" y="580"/>
                    <a:pt x="335" y="588"/>
                  </a:cubicBezTo>
                  <a:cubicBezTo>
                    <a:pt x="331" y="589"/>
                    <a:pt x="325" y="578"/>
                    <a:pt x="332" y="577"/>
                  </a:cubicBezTo>
                  <a:cubicBezTo>
                    <a:pt x="329" y="573"/>
                    <a:pt x="326" y="577"/>
                    <a:pt x="321" y="570"/>
                  </a:cubicBezTo>
                  <a:cubicBezTo>
                    <a:pt x="322" y="560"/>
                    <a:pt x="326" y="575"/>
                    <a:pt x="332" y="570"/>
                  </a:cubicBezTo>
                  <a:cubicBezTo>
                    <a:pt x="329" y="565"/>
                    <a:pt x="330" y="562"/>
                    <a:pt x="335" y="562"/>
                  </a:cubicBezTo>
                  <a:close/>
                  <a:moveTo>
                    <a:pt x="324" y="618"/>
                  </a:moveTo>
                  <a:cubicBezTo>
                    <a:pt x="327" y="616"/>
                    <a:pt x="327" y="609"/>
                    <a:pt x="332" y="611"/>
                  </a:cubicBezTo>
                  <a:cubicBezTo>
                    <a:pt x="333" y="620"/>
                    <a:pt x="326" y="620"/>
                    <a:pt x="321" y="622"/>
                  </a:cubicBezTo>
                  <a:cubicBezTo>
                    <a:pt x="321" y="618"/>
                    <a:pt x="322" y="618"/>
                    <a:pt x="324" y="618"/>
                  </a:cubicBezTo>
                  <a:close/>
                  <a:moveTo>
                    <a:pt x="337" y="677"/>
                  </a:moveTo>
                  <a:cubicBezTo>
                    <a:pt x="329" y="691"/>
                    <a:pt x="328" y="666"/>
                    <a:pt x="337" y="677"/>
                  </a:cubicBezTo>
                  <a:close/>
                  <a:moveTo>
                    <a:pt x="326" y="670"/>
                  </a:moveTo>
                  <a:cubicBezTo>
                    <a:pt x="326" y="662"/>
                    <a:pt x="327" y="658"/>
                    <a:pt x="332" y="659"/>
                  </a:cubicBezTo>
                  <a:cubicBezTo>
                    <a:pt x="332" y="652"/>
                    <a:pt x="332" y="646"/>
                    <a:pt x="332" y="640"/>
                  </a:cubicBezTo>
                  <a:cubicBezTo>
                    <a:pt x="341" y="642"/>
                    <a:pt x="339" y="675"/>
                    <a:pt x="326" y="670"/>
                  </a:cubicBezTo>
                  <a:close/>
                  <a:moveTo>
                    <a:pt x="326" y="555"/>
                  </a:moveTo>
                  <a:cubicBezTo>
                    <a:pt x="326" y="555"/>
                    <a:pt x="330" y="548"/>
                    <a:pt x="329" y="548"/>
                  </a:cubicBezTo>
                  <a:cubicBezTo>
                    <a:pt x="325" y="546"/>
                    <a:pt x="325" y="551"/>
                    <a:pt x="324" y="551"/>
                  </a:cubicBezTo>
                  <a:cubicBezTo>
                    <a:pt x="322" y="552"/>
                    <a:pt x="319" y="545"/>
                    <a:pt x="318" y="551"/>
                  </a:cubicBezTo>
                  <a:cubicBezTo>
                    <a:pt x="314" y="550"/>
                    <a:pt x="319" y="548"/>
                    <a:pt x="318" y="544"/>
                  </a:cubicBezTo>
                  <a:cubicBezTo>
                    <a:pt x="319" y="541"/>
                    <a:pt x="317" y="540"/>
                    <a:pt x="316" y="540"/>
                  </a:cubicBezTo>
                  <a:cubicBezTo>
                    <a:pt x="309" y="535"/>
                    <a:pt x="333" y="541"/>
                    <a:pt x="337" y="544"/>
                  </a:cubicBezTo>
                  <a:cubicBezTo>
                    <a:pt x="335" y="547"/>
                    <a:pt x="333" y="554"/>
                    <a:pt x="337" y="555"/>
                  </a:cubicBezTo>
                  <a:cubicBezTo>
                    <a:pt x="341" y="561"/>
                    <a:pt x="326" y="554"/>
                    <a:pt x="326" y="555"/>
                  </a:cubicBezTo>
                  <a:close/>
                  <a:moveTo>
                    <a:pt x="313" y="463"/>
                  </a:moveTo>
                  <a:cubicBezTo>
                    <a:pt x="313" y="463"/>
                    <a:pt x="318" y="467"/>
                    <a:pt x="318" y="466"/>
                  </a:cubicBezTo>
                  <a:cubicBezTo>
                    <a:pt x="318" y="467"/>
                    <a:pt x="312" y="474"/>
                    <a:pt x="313" y="474"/>
                  </a:cubicBezTo>
                  <a:cubicBezTo>
                    <a:pt x="309" y="473"/>
                    <a:pt x="313" y="471"/>
                    <a:pt x="313" y="470"/>
                  </a:cubicBezTo>
                  <a:cubicBezTo>
                    <a:pt x="314" y="469"/>
                    <a:pt x="312" y="463"/>
                    <a:pt x="313" y="463"/>
                  </a:cubicBezTo>
                  <a:close/>
                  <a:moveTo>
                    <a:pt x="345" y="492"/>
                  </a:moveTo>
                  <a:cubicBezTo>
                    <a:pt x="350" y="491"/>
                    <a:pt x="350" y="495"/>
                    <a:pt x="351" y="500"/>
                  </a:cubicBezTo>
                  <a:cubicBezTo>
                    <a:pt x="348" y="499"/>
                    <a:pt x="348" y="501"/>
                    <a:pt x="348" y="503"/>
                  </a:cubicBezTo>
                  <a:cubicBezTo>
                    <a:pt x="345" y="503"/>
                    <a:pt x="346" y="497"/>
                    <a:pt x="345" y="492"/>
                  </a:cubicBezTo>
                  <a:close/>
                  <a:moveTo>
                    <a:pt x="343" y="422"/>
                  </a:moveTo>
                  <a:cubicBezTo>
                    <a:pt x="337" y="422"/>
                    <a:pt x="339" y="412"/>
                    <a:pt x="332" y="415"/>
                  </a:cubicBezTo>
                  <a:cubicBezTo>
                    <a:pt x="334" y="406"/>
                    <a:pt x="345" y="413"/>
                    <a:pt x="343" y="422"/>
                  </a:cubicBezTo>
                  <a:close/>
                  <a:moveTo>
                    <a:pt x="340" y="477"/>
                  </a:moveTo>
                  <a:cubicBezTo>
                    <a:pt x="340" y="478"/>
                    <a:pt x="340" y="481"/>
                    <a:pt x="340" y="481"/>
                  </a:cubicBezTo>
                  <a:cubicBezTo>
                    <a:pt x="343" y="483"/>
                    <a:pt x="346" y="481"/>
                    <a:pt x="345" y="489"/>
                  </a:cubicBezTo>
                  <a:cubicBezTo>
                    <a:pt x="341" y="490"/>
                    <a:pt x="340" y="486"/>
                    <a:pt x="340" y="481"/>
                  </a:cubicBezTo>
                  <a:cubicBezTo>
                    <a:pt x="337" y="481"/>
                    <a:pt x="338" y="486"/>
                    <a:pt x="337" y="489"/>
                  </a:cubicBezTo>
                  <a:cubicBezTo>
                    <a:pt x="333" y="487"/>
                    <a:pt x="332" y="491"/>
                    <a:pt x="332" y="496"/>
                  </a:cubicBezTo>
                  <a:cubicBezTo>
                    <a:pt x="329" y="495"/>
                    <a:pt x="330" y="489"/>
                    <a:pt x="329" y="485"/>
                  </a:cubicBezTo>
                  <a:cubicBezTo>
                    <a:pt x="326" y="485"/>
                    <a:pt x="324" y="485"/>
                    <a:pt x="321" y="485"/>
                  </a:cubicBezTo>
                  <a:cubicBezTo>
                    <a:pt x="320" y="482"/>
                    <a:pt x="337" y="476"/>
                    <a:pt x="340" y="477"/>
                  </a:cubicBezTo>
                  <a:close/>
                  <a:moveTo>
                    <a:pt x="332" y="466"/>
                  </a:moveTo>
                  <a:cubicBezTo>
                    <a:pt x="326" y="477"/>
                    <a:pt x="323" y="454"/>
                    <a:pt x="324" y="444"/>
                  </a:cubicBezTo>
                  <a:cubicBezTo>
                    <a:pt x="327" y="447"/>
                    <a:pt x="327" y="453"/>
                    <a:pt x="332" y="452"/>
                  </a:cubicBezTo>
                  <a:cubicBezTo>
                    <a:pt x="331" y="454"/>
                    <a:pt x="325" y="466"/>
                    <a:pt x="332" y="466"/>
                  </a:cubicBezTo>
                  <a:close/>
                  <a:moveTo>
                    <a:pt x="329" y="411"/>
                  </a:moveTo>
                  <a:cubicBezTo>
                    <a:pt x="326" y="411"/>
                    <a:pt x="327" y="418"/>
                    <a:pt x="326" y="422"/>
                  </a:cubicBezTo>
                  <a:cubicBezTo>
                    <a:pt x="323" y="421"/>
                    <a:pt x="322" y="423"/>
                    <a:pt x="321" y="426"/>
                  </a:cubicBezTo>
                  <a:cubicBezTo>
                    <a:pt x="315" y="425"/>
                    <a:pt x="321" y="413"/>
                    <a:pt x="324" y="415"/>
                  </a:cubicBezTo>
                  <a:cubicBezTo>
                    <a:pt x="324" y="407"/>
                    <a:pt x="324" y="400"/>
                    <a:pt x="324" y="392"/>
                  </a:cubicBezTo>
                  <a:cubicBezTo>
                    <a:pt x="328" y="395"/>
                    <a:pt x="328" y="404"/>
                    <a:pt x="329" y="411"/>
                  </a:cubicBezTo>
                  <a:close/>
                  <a:moveTo>
                    <a:pt x="324" y="344"/>
                  </a:moveTo>
                  <a:cubicBezTo>
                    <a:pt x="328" y="343"/>
                    <a:pt x="329" y="347"/>
                    <a:pt x="329" y="352"/>
                  </a:cubicBezTo>
                  <a:cubicBezTo>
                    <a:pt x="327" y="351"/>
                    <a:pt x="327" y="353"/>
                    <a:pt x="326" y="355"/>
                  </a:cubicBezTo>
                  <a:cubicBezTo>
                    <a:pt x="323" y="355"/>
                    <a:pt x="324" y="349"/>
                    <a:pt x="324" y="344"/>
                  </a:cubicBezTo>
                  <a:close/>
                  <a:moveTo>
                    <a:pt x="316" y="385"/>
                  </a:moveTo>
                  <a:cubicBezTo>
                    <a:pt x="316" y="381"/>
                    <a:pt x="321" y="382"/>
                    <a:pt x="321" y="378"/>
                  </a:cubicBezTo>
                  <a:cubicBezTo>
                    <a:pt x="324" y="378"/>
                    <a:pt x="323" y="382"/>
                    <a:pt x="324" y="385"/>
                  </a:cubicBezTo>
                  <a:cubicBezTo>
                    <a:pt x="320" y="389"/>
                    <a:pt x="320" y="386"/>
                    <a:pt x="316" y="385"/>
                  </a:cubicBezTo>
                  <a:close/>
                  <a:moveTo>
                    <a:pt x="321" y="352"/>
                  </a:moveTo>
                  <a:cubicBezTo>
                    <a:pt x="318" y="354"/>
                    <a:pt x="319" y="348"/>
                    <a:pt x="318" y="348"/>
                  </a:cubicBezTo>
                  <a:cubicBezTo>
                    <a:pt x="317" y="347"/>
                    <a:pt x="311" y="349"/>
                    <a:pt x="310" y="348"/>
                  </a:cubicBezTo>
                  <a:cubicBezTo>
                    <a:pt x="307" y="343"/>
                    <a:pt x="323" y="336"/>
                    <a:pt x="321" y="352"/>
                  </a:cubicBezTo>
                  <a:close/>
                  <a:moveTo>
                    <a:pt x="310" y="537"/>
                  </a:moveTo>
                  <a:cubicBezTo>
                    <a:pt x="312" y="551"/>
                    <a:pt x="297" y="551"/>
                    <a:pt x="300" y="537"/>
                  </a:cubicBezTo>
                  <a:cubicBezTo>
                    <a:pt x="305" y="530"/>
                    <a:pt x="303" y="537"/>
                    <a:pt x="310" y="537"/>
                  </a:cubicBezTo>
                  <a:close/>
                  <a:moveTo>
                    <a:pt x="286" y="496"/>
                  </a:moveTo>
                  <a:cubicBezTo>
                    <a:pt x="285" y="489"/>
                    <a:pt x="284" y="493"/>
                    <a:pt x="286" y="481"/>
                  </a:cubicBezTo>
                  <a:cubicBezTo>
                    <a:pt x="293" y="485"/>
                    <a:pt x="293" y="499"/>
                    <a:pt x="286" y="503"/>
                  </a:cubicBezTo>
                  <a:cubicBezTo>
                    <a:pt x="281" y="512"/>
                    <a:pt x="287" y="503"/>
                    <a:pt x="286" y="496"/>
                  </a:cubicBezTo>
                  <a:close/>
                  <a:moveTo>
                    <a:pt x="286" y="466"/>
                  </a:moveTo>
                  <a:cubicBezTo>
                    <a:pt x="286" y="461"/>
                    <a:pt x="286" y="456"/>
                    <a:pt x="286" y="452"/>
                  </a:cubicBezTo>
                  <a:cubicBezTo>
                    <a:pt x="284" y="452"/>
                    <a:pt x="283" y="452"/>
                    <a:pt x="281" y="452"/>
                  </a:cubicBezTo>
                  <a:cubicBezTo>
                    <a:pt x="281" y="447"/>
                    <a:pt x="286" y="448"/>
                    <a:pt x="289" y="448"/>
                  </a:cubicBezTo>
                  <a:cubicBezTo>
                    <a:pt x="289" y="453"/>
                    <a:pt x="289" y="458"/>
                    <a:pt x="289" y="463"/>
                  </a:cubicBezTo>
                  <a:cubicBezTo>
                    <a:pt x="292" y="462"/>
                    <a:pt x="291" y="456"/>
                    <a:pt x="292" y="452"/>
                  </a:cubicBezTo>
                  <a:cubicBezTo>
                    <a:pt x="299" y="456"/>
                    <a:pt x="300" y="464"/>
                    <a:pt x="297" y="474"/>
                  </a:cubicBezTo>
                  <a:cubicBezTo>
                    <a:pt x="293" y="472"/>
                    <a:pt x="295" y="462"/>
                    <a:pt x="286" y="466"/>
                  </a:cubicBezTo>
                  <a:close/>
                  <a:moveTo>
                    <a:pt x="289" y="344"/>
                  </a:moveTo>
                  <a:cubicBezTo>
                    <a:pt x="283" y="356"/>
                    <a:pt x="278" y="331"/>
                    <a:pt x="289" y="344"/>
                  </a:cubicBezTo>
                  <a:close/>
                  <a:moveTo>
                    <a:pt x="286" y="326"/>
                  </a:moveTo>
                  <a:cubicBezTo>
                    <a:pt x="281" y="325"/>
                    <a:pt x="280" y="319"/>
                    <a:pt x="281" y="311"/>
                  </a:cubicBezTo>
                  <a:cubicBezTo>
                    <a:pt x="286" y="312"/>
                    <a:pt x="287" y="317"/>
                    <a:pt x="286" y="326"/>
                  </a:cubicBezTo>
                  <a:close/>
                  <a:moveTo>
                    <a:pt x="281" y="500"/>
                  </a:moveTo>
                  <a:cubicBezTo>
                    <a:pt x="271" y="494"/>
                    <a:pt x="277" y="485"/>
                    <a:pt x="278" y="481"/>
                  </a:cubicBezTo>
                  <a:cubicBezTo>
                    <a:pt x="279" y="478"/>
                    <a:pt x="281" y="479"/>
                    <a:pt x="281" y="481"/>
                  </a:cubicBezTo>
                  <a:cubicBezTo>
                    <a:pt x="280" y="488"/>
                    <a:pt x="279" y="486"/>
                    <a:pt x="281" y="500"/>
                  </a:cubicBezTo>
                  <a:close/>
                  <a:moveTo>
                    <a:pt x="270" y="366"/>
                  </a:moveTo>
                  <a:cubicBezTo>
                    <a:pt x="264" y="367"/>
                    <a:pt x="269" y="353"/>
                    <a:pt x="267" y="348"/>
                  </a:cubicBezTo>
                  <a:cubicBezTo>
                    <a:pt x="271" y="352"/>
                    <a:pt x="274" y="352"/>
                    <a:pt x="275" y="344"/>
                  </a:cubicBezTo>
                  <a:cubicBezTo>
                    <a:pt x="286" y="354"/>
                    <a:pt x="267" y="355"/>
                    <a:pt x="270" y="366"/>
                  </a:cubicBezTo>
                  <a:close/>
                  <a:moveTo>
                    <a:pt x="270" y="389"/>
                  </a:moveTo>
                  <a:cubicBezTo>
                    <a:pt x="280" y="400"/>
                    <a:pt x="262" y="401"/>
                    <a:pt x="270" y="389"/>
                  </a:cubicBezTo>
                  <a:close/>
                  <a:moveTo>
                    <a:pt x="270" y="452"/>
                  </a:moveTo>
                  <a:cubicBezTo>
                    <a:pt x="277" y="452"/>
                    <a:pt x="283" y="460"/>
                    <a:pt x="278" y="466"/>
                  </a:cubicBezTo>
                  <a:cubicBezTo>
                    <a:pt x="271" y="467"/>
                    <a:pt x="269" y="461"/>
                    <a:pt x="270" y="452"/>
                  </a:cubicBezTo>
                  <a:close/>
                  <a:moveTo>
                    <a:pt x="278" y="315"/>
                  </a:moveTo>
                  <a:cubicBezTo>
                    <a:pt x="274" y="323"/>
                    <a:pt x="270" y="307"/>
                    <a:pt x="270" y="322"/>
                  </a:cubicBezTo>
                  <a:cubicBezTo>
                    <a:pt x="258" y="316"/>
                    <a:pt x="280" y="308"/>
                    <a:pt x="270" y="304"/>
                  </a:cubicBezTo>
                  <a:cubicBezTo>
                    <a:pt x="272" y="297"/>
                    <a:pt x="275" y="303"/>
                    <a:pt x="278" y="304"/>
                  </a:cubicBezTo>
                  <a:cubicBezTo>
                    <a:pt x="280" y="290"/>
                    <a:pt x="269" y="294"/>
                    <a:pt x="265" y="289"/>
                  </a:cubicBezTo>
                  <a:cubicBezTo>
                    <a:pt x="265" y="280"/>
                    <a:pt x="271" y="291"/>
                    <a:pt x="273" y="289"/>
                  </a:cubicBezTo>
                  <a:cubicBezTo>
                    <a:pt x="276" y="285"/>
                    <a:pt x="274" y="289"/>
                    <a:pt x="283" y="289"/>
                  </a:cubicBezTo>
                  <a:cubicBezTo>
                    <a:pt x="284" y="300"/>
                    <a:pt x="276" y="301"/>
                    <a:pt x="278" y="315"/>
                  </a:cubicBezTo>
                  <a:close/>
                  <a:moveTo>
                    <a:pt x="305" y="696"/>
                  </a:moveTo>
                  <a:cubicBezTo>
                    <a:pt x="314" y="700"/>
                    <a:pt x="305" y="707"/>
                    <a:pt x="310" y="718"/>
                  </a:cubicBezTo>
                  <a:cubicBezTo>
                    <a:pt x="308" y="715"/>
                    <a:pt x="304" y="714"/>
                    <a:pt x="300" y="714"/>
                  </a:cubicBezTo>
                  <a:cubicBezTo>
                    <a:pt x="297" y="702"/>
                    <a:pt x="304" y="703"/>
                    <a:pt x="305" y="696"/>
                  </a:cubicBezTo>
                  <a:close/>
                  <a:moveTo>
                    <a:pt x="294" y="699"/>
                  </a:moveTo>
                  <a:cubicBezTo>
                    <a:pt x="294" y="697"/>
                    <a:pt x="294" y="694"/>
                    <a:pt x="294" y="692"/>
                  </a:cubicBezTo>
                  <a:cubicBezTo>
                    <a:pt x="296" y="692"/>
                    <a:pt x="298" y="692"/>
                    <a:pt x="300" y="692"/>
                  </a:cubicBezTo>
                  <a:cubicBezTo>
                    <a:pt x="300" y="694"/>
                    <a:pt x="300" y="697"/>
                    <a:pt x="300" y="699"/>
                  </a:cubicBezTo>
                  <a:cubicBezTo>
                    <a:pt x="298" y="699"/>
                    <a:pt x="296" y="699"/>
                    <a:pt x="294" y="699"/>
                  </a:cubicBezTo>
                  <a:close/>
                  <a:moveTo>
                    <a:pt x="316" y="721"/>
                  </a:moveTo>
                  <a:cubicBezTo>
                    <a:pt x="311" y="724"/>
                    <a:pt x="316" y="740"/>
                    <a:pt x="308" y="736"/>
                  </a:cubicBezTo>
                  <a:cubicBezTo>
                    <a:pt x="307" y="727"/>
                    <a:pt x="309" y="720"/>
                    <a:pt x="316" y="721"/>
                  </a:cubicBezTo>
                  <a:close/>
                  <a:moveTo>
                    <a:pt x="316" y="751"/>
                  </a:moveTo>
                  <a:cubicBezTo>
                    <a:pt x="324" y="737"/>
                    <a:pt x="325" y="762"/>
                    <a:pt x="316" y="751"/>
                  </a:cubicBezTo>
                  <a:close/>
                  <a:moveTo>
                    <a:pt x="351" y="681"/>
                  </a:moveTo>
                  <a:cubicBezTo>
                    <a:pt x="353" y="689"/>
                    <a:pt x="341" y="689"/>
                    <a:pt x="343" y="681"/>
                  </a:cubicBezTo>
                  <a:cubicBezTo>
                    <a:pt x="344" y="676"/>
                    <a:pt x="350" y="678"/>
                    <a:pt x="351" y="681"/>
                  </a:cubicBezTo>
                  <a:close/>
                  <a:moveTo>
                    <a:pt x="351" y="662"/>
                  </a:moveTo>
                  <a:cubicBezTo>
                    <a:pt x="356" y="670"/>
                    <a:pt x="359" y="680"/>
                    <a:pt x="367" y="684"/>
                  </a:cubicBezTo>
                  <a:cubicBezTo>
                    <a:pt x="365" y="687"/>
                    <a:pt x="364" y="691"/>
                    <a:pt x="364" y="696"/>
                  </a:cubicBezTo>
                  <a:cubicBezTo>
                    <a:pt x="361" y="696"/>
                    <a:pt x="363" y="690"/>
                    <a:pt x="361" y="688"/>
                  </a:cubicBezTo>
                  <a:cubicBezTo>
                    <a:pt x="357" y="680"/>
                    <a:pt x="349" y="678"/>
                    <a:pt x="351" y="662"/>
                  </a:cubicBezTo>
                  <a:close/>
                  <a:moveTo>
                    <a:pt x="348" y="718"/>
                  </a:moveTo>
                  <a:cubicBezTo>
                    <a:pt x="342" y="717"/>
                    <a:pt x="342" y="708"/>
                    <a:pt x="345" y="703"/>
                  </a:cubicBezTo>
                  <a:cubicBezTo>
                    <a:pt x="349" y="704"/>
                    <a:pt x="347" y="712"/>
                    <a:pt x="348" y="718"/>
                  </a:cubicBezTo>
                  <a:close/>
                  <a:moveTo>
                    <a:pt x="388" y="755"/>
                  </a:moveTo>
                  <a:cubicBezTo>
                    <a:pt x="389" y="750"/>
                    <a:pt x="396" y="752"/>
                    <a:pt x="396" y="755"/>
                  </a:cubicBezTo>
                  <a:cubicBezTo>
                    <a:pt x="399" y="763"/>
                    <a:pt x="387" y="763"/>
                    <a:pt x="388" y="755"/>
                  </a:cubicBezTo>
                  <a:close/>
                  <a:moveTo>
                    <a:pt x="399" y="684"/>
                  </a:moveTo>
                  <a:cubicBezTo>
                    <a:pt x="405" y="687"/>
                    <a:pt x="407" y="696"/>
                    <a:pt x="410" y="703"/>
                  </a:cubicBezTo>
                  <a:cubicBezTo>
                    <a:pt x="408" y="709"/>
                    <a:pt x="407" y="703"/>
                    <a:pt x="407" y="699"/>
                  </a:cubicBezTo>
                  <a:cubicBezTo>
                    <a:pt x="403" y="698"/>
                    <a:pt x="403" y="703"/>
                    <a:pt x="399" y="703"/>
                  </a:cubicBezTo>
                  <a:cubicBezTo>
                    <a:pt x="395" y="701"/>
                    <a:pt x="399" y="699"/>
                    <a:pt x="402" y="699"/>
                  </a:cubicBezTo>
                  <a:cubicBezTo>
                    <a:pt x="402" y="693"/>
                    <a:pt x="398" y="692"/>
                    <a:pt x="399" y="684"/>
                  </a:cubicBezTo>
                  <a:close/>
                  <a:moveTo>
                    <a:pt x="412" y="696"/>
                  </a:moveTo>
                  <a:cubicBezTo>
                    <a:pt x="412" y="692"/>
                    <a:pt x="412" y="688"/>
                    <a:pt x="412" y="684"/>
                  </a:cubicBezTo>
                  <a:cubicBezTo>
                    <a:pt x="416" y="686"/>
                    <a:pt x="417" y="691"/>
                    <a:pt x="421" y="692"/>
                  </a:cubicBezTo>
                  <a:cubicBezTo>
                    <a:pt x="421" y="695"/>
                    <a:pt x="420" y="695"/>
                    <a:pt x="418" y="696"/>
                  </a:cubicBezTo>
                  <a:cubicBezTo>
                    <a:pt x="416" y="696"/>
                    <a:pt x="414" y="696"/>
                    <a:pt x="412" y="696"/>
                  </a:cubicBezTo>
                  <a:close/>
                  <a:moveTo>
                    <a:pt x="439" y="692"/>
                  </a:moveTo>
                  <a:cubicBezTo>
                    <a:pt x="436" y="691"/>
                    <a:pt x="438" y="685"/>
                    <a:pt x="434" y="684"/>
                  </a:cubicBezTo>
                  <a:cubicBezTo>
                    <a:pt x="435" y="680"/>
                    <a:pt x="439" y="681"/>
                    <a:pt x="442" y="681"/>
                  </a:cubicBezTo>
                  <a:cubicBezTo>
                    <a:pt x="443" y="687"/>
                    <a:pt x="440" y="687"/>
                    <a:pt x="439" y="692"/>
                  </a:cubicBezTo>
                  <a:close/>
                  <a:moveTo>
                    <a:pt x="439" y="581"/>
                  </a:moveTo>
                  <a:cubicBezTo>
                    <a:pt x="442" y="582"/>
                    <a:pt x="441" y="588"/>
                    <a:pt x="445" y="588"/>
                  </a:cubicBezTo>
                  <a:cubicBezTo>
                    <a:pt x="444" y="599"/>
                    <a:pt x="436" y="589"/>
                    <a:pt x="439" y="581"/>
                  </a:cubicBezTo>
                  <a:close/>
                  <a:moveTo>
                    <a:pt x="439" y="655"/>
                  </a:moveTo>
                  <a:cubicBezTo>
                    <a:pt x="438" y="666"/>
                    <a:pt x="434" y="651"/>
                    <a:pt x="429" y="655"/>
                  </a:cubicBezTo>
                  <a:cubicBezTo>
                    <a:pt x="424" y="657"/>
                    <a:pt x="427" y="668"/>
                    <a:pt x="423" y="673"/>
                  </a:cubicBezTo>
                  <a:cubicBezTo>
                    <a:pt x="422" y="676"/>
                    <a:pt x="416" y="682"/>
                    <a:pt x="412" y="681"/>
                  </a:cubicBezTo>
                  <a:cubicBezTo>
                    <a:pt x="410" y="666"/>
                    <a:pt x="397" y="665"/>
                    <a:pt x="399" y="644"/>
                  </a:cubicBezTo>
                  <a:cubicBezTo>
                    <a:pt x="393" y="644"/>
                    <a:pt x="393" y="653"/>
                    <a:pt x="394" y="662"/>
                  </a:cubicBezTo>
                  <a:cubicBezTo>
                    <a:pt x="395" y="671"/>
                    <a:pt x="398" y="658"/>
                    <a:pt x="402" y="666"/>
                  </a:cubicBezTo>
                  <a:cubicBezTo>
                    <a:pt x="396" y="674"/>
                    <a:pt x="392" y="680"/>
                    <a:pt x="383" y="673"/>
                  </a:cubicBezTo>
                  <a:cubicBezTo>
                    <a:pt x="386" y="686"/>
                    <a:pt x="389" y="687"/>
                    <a:pt x="383" y="699"/>
                  </a:cubicBezTo>
                  <a:cubicBezTo>
                    <a:pt x="380" y="695"/>
                    <a:pt x="373" y="695"/>
                    <a:pt x="367" y="696"/>
                  </a:cubicBezTo>
                  <a:cubicBezTo>
                    <a:pt x="367" y="689"/>
                    <a:pt x="371" y="687"/>
                    <a:pt x="378" y="688"/>
                  </a:cubicBezTo>
                  <a:cubicBezTo>
                    <a:pt x="379" y="682"/>
                    <a:pt x="371" y="683"/>
                    <a:pt x="370" y="681"/>
                  </a:cubicBezTo>
                  <a:cubicBezTo>
                    <a:pt x="369" y="680"/>
                    <a:pt x="372" y="675"/>
                    <a:pt x="372" y="673"/>
                  </a:cubicBezTo>
                  <a:cubicBezTo>
                    <a:pt x="372" y="672"/>
                    <a:pt x="370" y="661"/>
                    <a:pt x="367" y="659"/>
                  </a:cubicBezTo>
                  <a:cubicBezTo>
                    <a:pt x="361" y="658"/>
                    <a:pt x="366" y="672"/>
                    <a:pt x="364" y="677"/>
                  </a:cubicBezTo>
                  <a:cubicBezTo>
                    <a:pt x="362" y="677"/>
                    <a:pt x="356" y="665"/>
                    <a:pt x="361" y="666"/>
                  </a:cubicBezTo>
                  <a:cubicBezTo>
                    <a:pt x="361" y="658"/>
                    <a:pt x="354" y="659"/>
                    <a:pt x="351" y="655"/>
                  </a:cubicBezTo>
                  <a:cubicBezTo>
                    <a:pt x="345" y="655"/>
                    <a:pt x="345" y="664"/>
                    <a:pt x="345" y="673"/>
                  </a:cubicBezTo>
                  <a:cubicBezTo>
                    <a:pt x="335" y="670"/>
                    <a:pt x="346" y="658"/>
                    <a:pt x="343" y="644"/>
                  </a:cubicBezTo>
                  <a:cubicBezTo>
                    <a:pt x="345" y="646"/>
                    <a:pt x="345" y="652"/>
                    <a:pt x="351" y="651"/>
                  </a:cubicBezTo>
                  <a:cubicBezTo>
                    <a:pt x="360" y="653"/>
                    <a:pt x="351" y="633"/>
                    <a:pt x="351" y="633"/>
                  </a:cubicBezTo>
                  <a:cubicBezTo>
                    <a:pt x="348" y="632"/>
                    <a:pt x="347" y="645"/>
                    <a:pt x="345" y="636"/>
                  </a:cubicBezTo>
                  <a:cubicBezTo>
                    <a:pt x="345" y="634"/>
                    <a:pt x="346" y="631"/>
                    <a:pt x="345" y="629"/>
                  </a:cubicBezTo>
                  <a:cubicBezTo>
                    <a:pt x="343" y="623"/>
                    <a:pt x="335" y="621"/>
                    <a:pt x="340" y="611"/>
                  </a:cubicBezTo>
                  <a:cubicBezTo>
                    <a:pt x="342" y="603"/>
                    <a:pt x="344" y="615"/>
                    <a:pt x="340" y="614"/>
                  </a:cubicBezTo>
                  <a:cubicBezTo>
                    <a:pt x="336" y="622"/>
                    <a:pt x="347" y="618"/>
                    <a:pt x="351" y="622"/>
                  </a:cubicBezTo>
                  <a:cubicBezTo>
                    <a:pt x="352" y="623"/>
                    <a:pt x="360" y="639"/>
                    <a:pt x="359" y="618"/>
                  </a:cubicBezTo>
                  <a:cubicBezTo>
                    <a:pt x="365" y="625"/>
                    <a:pt x="364" y="640"/>
                    <a:pt x="364" y="655"/>
                  </a:cubicBezTo>
                  <a:cubicBezTo>
                    <a:pt x="368" y="656"/>
                    <a:pt x="369" y="651"/>
                    <a:pt x="372" y="651"/>
                  </a:cubicBezTo>
                  <a:cubicBezTo>
                    <a:pt x="371" y="645"/>
                    <a:pt x="364" y="648"/>
                    <a:pt x="367" y="636"/>
                  </a:cubicBezTo>
                  <a:cubicBezTo>
                    <a:pt x="370" y="636"/>
                    <a:pt x="372" y="636"/>
                    <a:pt x="375" y="636"/>
                  </a:cubicBezTo>
                  <a:cubicBezTo>
                    <a:pt x="374" y="632"/>
                    <a:pt x="371" y="629"/>
                    <a:pt x="367" y="629"/>
                  </a:cubicBezTo>
                  <a:cubicBezTo>
                    <a:pt x="365" y="624"/>
                    <a:pt x="377" y="620"/>
                    <a:pt x="370" y="618"/>
                  </a:cubicBezTo>
                  <a:cubicBezTo>
                    <a:pt x="372" y="606"/>
                    <a:pt x="375" y="622"/>
                    <a:pt x="378" y="622"/>
                  </a:cubicBezTo>
                  <a:cubicBezTo>
                    <a:pt x="378" y="652"/>
                    <a:pt x="373" y="658"/>
                    <a:pt x="378" y="681"/>
                  </a:cubicBezTo>
                  <a:cubicBezTo>
                    <a:pt x="386" y="678"/>
                    <a:pt x="375" y="653"/>
                    <a:pt x="380" y="648"/>
                  </a:cubicBezTo>
                  <a:cubicBezTo>
                    <a:pt x="384" y="643"/>
                    <a:pt x="377" y="638"/>
                    <a:pt x="383" y="629"/>
                  </a:cubicBezTo>
                  <a:cubicBezTo>
                    <a:pt x="390" y="634"/>
                    <a:pt x="391" y="637"/>
                    <a:pt x="388" y="648"/>
                  </a:cubicBezTo>
                  <a:cubicBezTo>
                    <a:pt x="399" y="651"/>
                    <a:pt x="392" y="630"/>
                    <a:pt x="402" y="633"/>
                  </a:cubicBezTo>
                  <a:cubicBezTo>
                    <a:pt x="402" y="622"/>
                    <a:pt x="395" y="620"/>
                    <a:pt x="394" y="611"/>
                  </a:cubicBezTo>
                  <a:cubicBezTo>
                    <a:pt x="391" y="612"/>
                    <a:pt x="387" y="617"/>
                    <a:pt x="391" y="618"/>
                  </a:cubicBezTo>
                  <a:cubicBezTo>
                    <a:pt x="389" y="624"/>
                    <a:pt x="385" y="620"/>
                    <a:pt x="386" y="614"/>
                  </a:cubicBezTo>
                  <a:cubicBezTo>
                    <a:pt x="383" y="610"/>
                    <a:pt x="376" y="613"/>
                    <a:pt x="378" y="603"/>
                  </a:cubicBezTo>
                  <a:cubicBezTo>
                    <a:pt x="370" y="603"/>
                    <a:pt x="363" y="603"/>
                    <a:pt x="356" y="603"/>
                  </a:cubicBezTo>
                  <a:cubicBezTo>
                    <a:pt x="358" y="607"/>
                    <a:pt x="361" y="609"/>
                    <a:pt x="364" y="611"/>
                  </a:cubicBezTo>
                  <a:cubicBezTo>
                    <a:pt x="364" y="624"/>
                    <a:pt x="355" y="603"/>
                    <a:pt x="356" y="614"/>
                  </a:cubicBezTo>
                  <a:cubicBezTo>
                    <a:pt x="349" y="614"/>
                    <a:pt x="353" y="598"/>
                    <a:pt x="343" y="603"/>
                  </a:cubicBezTo>
                  <a:cubicBezTo>
                    <a:pt x="340" y="598"/>
                    <a:pt x="345" y="593"/>
                    <a:pt x="345" y="592"/>
                  </a:cubicBezTo>
                  <a:cubicBezTo>
                    <a:pt x="345" y="585"/>
                    <a:pt x="336" y="584"/>
                    <a:pt x="343" y="581"/>
                  </a:cubicBezTo>
                  <a:cubicBezTo>
                    <a:pt x="352" y="577"/>
                    <a:pt x="347" y="592"/>
                    <a:pt x="348" y="599"/>
                  </a:cubicBezTo>
                  <a:cubicBezTo>
                    <a:pt x="355" y="599"/>
                    <a:pt x="352" y="586"/>
                    <a:pt x="356" y="581"/>
                  </a:cubicBezTo>
                  <a:cubicBezTo>
                    <a:pt x="357" y="577"/>
                    <a:pt x="352" y="579"/>
                    <a:pt x="351" y="577"/>
                  </a:cubicBezTo>
                  <a:cubicBezTo>
                    <a:pt x="349" y="574"/>
                    <a:pt x="353" y="565"/>
                    <a:pt x="348" y="566"/>
                  </a:cubicBezTo>
                  <a:cubicBezTo>
                    <a:pt x="350" y="562"/>
                    <a:pt x="354" y="562"/>
                    <a:pt x="353" y="555"/>
                  </a:cubicBezTo>
                  <a:cubicBezTo>
                    <a:pt x="360" y="556"/>
                    <a:pt x="354" y="568"/>
                    <a:pt x="353" y="570"/>
                  </a:cubicBezTo>
                  <a:cubicBezTo>
                    <a:pt x="353" y="578"/>
                    <a:pt x="363" y="572"/>
                    <a:pt x="367" y="574"/>
                  </a:cubicBezTo>
                  <a:cubicBezTo>
                    <a:pt x="365" y="585"/>
                    <a:pt x="372" y="587"/>
                    <a:pt x="370" y="599"/>
                  </a:cubicBezTo>
                  <a:cubicBezTo>
                    <a:pt x="384" y="595"/>
                    <a:pt x="371" y="585"/>
                    <a:pt x="372" y="570"/>
                  </a:cubicBezTo>
                  <a:cubicBezTo>
                    <a:pt x="376" y="571"/>
                    <a:pt x="376" y="576"/>
                    <a:pt x="380" y="577"/>
                  </a:cubicBezTo>
                  <a:cubicBezTo>
                    <a:pt x="386" y="578"/>
                    <a:pt x="382" y="564"/>
                    <a:pt x="383" y="559"/>
                  </a:cubicBezTo>
                  <a:cubicBezTo>
                    <a:pt x="390" y="562"/>
                    <a:pt x="390" y="554"/>
                    <a:pt x="396" y="555"/>
                  </a:cubicBezTo>
                  <a:cubicBezTo>
                    <a:pt x="397" y="570"/>
                    <a:pt x="403" y="555"/>
                    <a:pt x="410" y="562"/>
                  </a:cubicBezTo>
                  <a:cubicBezTo>
                    <a:pt x="409" y="567"/>
                    <a:pt x="405" y="568"/>
                    <a:pt x="404" y="574"/>
                  </a:cubicBezTo>
                  <a:cubicBezTo>
                    <a:pt x="413" y="576"/>
                    <a:pt x="410" y="563"/>
                    <a:pt x="418" y="566"/>
                  </a:cubicBezTo>
                  <a:cubicBezTo>
                    <a:pt x="419" y="574"/>
                    <a:pt x="426" y="573"/>
                    <a:pt x="421" y="581"/>
                  </a:cubicBezTo>
                  <a:cubicBezTo>
                    <a:pt x="417" y="580"/>
                    <a:pt x="420" y="570"/>
                    <a:pt x="415" y="570"/>
                  </a:cubicBezTo>
                  <a:cubicBezTo>
                    <a:pt x="412" y="571"/>
                    <a:pt x="412" y="577"/>
                    <a:pt x="415" y="577"/>
                  </a:cubicBezTo>
                  <a:cubicBezTo>
                    <a:pt x="415" y="582"/>
                    <a:pt x="415" y="588"/>
                    <a:pt x="418" y="588"/>
                  </a:cubicBezTo>
                  <a:cubicBezTo>
                    <a:pt x="416" y="600"/>
                    <a:pt x="416" y="595"/>
                    <a:pt x="418" y="607"/>
                  </a:cubicBezTo>
                  <a:cubicBezTo>
                    <a:pt x="424" y="609"/>
                    <a:pt x="423" y="602"/>
                    <a:pt x="423" y="596"/>
                  </a:cubicBezTo>
                  <a:cubicBezTo>
                    <a:pt x="426" y="596"/>
                    <a:pt x="426" y="602"/>
                    <a:pt x="426" y="607"/>
                  </a:cubicBezTo>
                  <a:cubicBezTo>
                    <a:pt x="426" y="614"/>
                    <a:pt x="433" y="612"/>
                    <a:pt x="431" y="622"/>
                  </a:cubicBezTo>
                  <a:cubicBezTo>
                    <a:pt x="429" y="620"/>
                    <a:pt x="427" y="618"/>
                    <a:pt x="423" y="618"/>
                  </a:cubicBezTo>
                  <a:cubicBezTo>
                    <a:pt x="416" y="617"/>
                    <a:pt x="427" y="642"/>
                    <a:pt x="415" y="636"/>
                  </a:cubicBezTo>
                  <a:cubicBezTo>
                    <a:pt x="418" y="630"/>
                    <a:pt x="416" y="618"/>
                    <a:pt x="421" y="614"/>
                  </a:cubicBezTo>
                  <a:cubicBezTo>
                    <a:pt x="419" y="611"/>
                    <a:pt x="416" y="609"/>
                    <a:pt x="412" y="607"/>
                  </a:cubicBezTo>
                  <a:cubicBezTo>
                    <a:pt x="407" y="607"/>
                    <a:pt x="412" y="615"/>
                    <a:pt x="412" y="614"/>
                  </a:cubicBezTo>
                  <a:cubicBezTo>
                    <a:pt x="411" y="620"/>
                    <a:pt x="400" y="622"/>
                    <a:pt x="410" y="625"/>
                  </a:cubicBezTo>
                  <a:cubicBezTo>
                    <a:pt x="409" y="629"/>
                    <a:pt x="404" y="628"/>
                    <a:pt x="404" y="633"/>
                  </a:cubicBezTo>
                  <a:cubicBezTo>
                    <a:pt x="405" y="637"/>
                    <a:pt x="409" y="636"/>
                    <a:pt x="412" y="636"/>
                  </a:cubicBezTo>
                  <a:cubicBezTo>
                    <a:pt x="414" y="644"/>
                    <a:pt x="409" y="643"/>
                    <a:pt x="404" y="644"/>
                  </a:cubicBezTo>
                  <a:cubicBezTo>
                    <a:pt x="400" y="653"/>
                    <a:pt x="411" y="651"/>
                    <a:pt x="412" y="655"/>
                  </a:cubicBezTo>
                  <a:cubicBezTo>
                    <a:pt x="415" y="662"/>
                    <a:pt x="408" y="669"/>
                    <a:pt x="415" y="673"/>
                  </a:cubicBezTo>
                  <a:cubicBezTo>
                    <a:pt x="420" y="668"/>
                    <a:pt x="415" y="648"/>
                    <a:pt x="421" y="636"/>
                  </a:cubicBezTo>
                  <a:cubicBezTo>
                    <a:pt x="422" y="638"/>
                    <a:pt x="429" y="651"/>
                    <a:pt x="431" y="640"/>
                  </a:cubicBezTo>
                  <a:cubicBezTo>
                    <a:pt x="437" y="641"/>
                    <a:pt x="432" y="657"/>
                    <a:pt x="439" y="655"/>
                  </a:cubicBezTo>
                  <a:close/>
                  <a:moveTo>
                    <a:pt x="426" y="570"/>
                  </a:moveTo>
                  <a:cubicBezTo>
                    <a:pt x="434" y="566"/>
                    <a:pt x="439" y="597"/>
                    <a:pt x="429" y="596"/>
                  </a:cubicBezTo>
                  <a:cubicBezTo>
                    <a:pt x="427" y="592"/>
                    <a:pt x="431" y="593"/>
                    <a:pt x="431" y="592"/>
                  </a:cubicBezTo>
                  <a:cubicBezTo>
                    <a:pt x="432" y="587"/>
                    <a:pt x="426" y="591"/>
                    <a:pt x="426" y="588"/>
                  </a:cubicBezTo>
                  <a:cubicBezTo>
                    <a:pt x="425" y="583"/>
                    <a:pt x="427" y="576"/>
                    <a:pt x="426" y="570"/>
                  </a:cubicBezTo>
                  <a:close/>
                  <a:moveTo>
                    <a:pt x="437" y="285"/>
                  </a:moveTo>
                  <a:cubicBezTo>
                    <a:pt x="435" y="284"/>
                    <a:pt x="434" y="281"/>
                    <a:pt x="431" y="281"/>
                  </a:cubicBezTo>
                  <a:cubicBezTo>
                    <a:pt x="427" y="283"/>
                    <a:pt x="435" y="294"/>
                    <a:pt x="423" y="292"/>
                  </a:cubicBezTo>
                  <a:cubicBezTo>
                    <a:pt x="425" y="290"/>
                    <a:pt x="427" y="282"/>
                    <a:pt x="423" y="281"/>
                  </a:cubicBezTo>
                  <a:cubicBezTo>
                    <a:pt x="423" y="275"/>
                    <a:pt x="441" y="274"/>
                    <a:pt x="437" y="285"/>
                  </a:cubicBezTo>
                  <a:close/>
                  <a:moveTo>
                    <a:pt x="426" y="30"/>
                  </a:moveTo>
                  <a:cubicBezTo>
                    <a:pt x="426" y="26"/>
                    <a:pt x="426" y="26"/>
                    <a:pt x="426" y="26"/>
                  </a:cubicBezTo>
                  <a:cubicBezTo>
                    <a:pt x="436" y="28"/>
                    <a:pt x="421" y="38"/>
                    <a:pt x="418" y="34"/>
                  </a:cubicBezTo>
                  <a:cubicBezTo>
                    <a:pt x="416" y="31"/>
                    <a:pt x="425" y="30"/>
                    <a:pt x="426" y="30"/>
                  </a:cubicBezTo>
                  <a:close/>
                  <a:moveTo>
                    <a:pt x="407" y="174"/>
                  </a:moveTo>
                  <a:cubicBezTo>
                    <a:pt x="413" y="173"/>
                    <a:pt x="422" y="196"/>
                    <a:pt x="410" y="196"/>
                  </a:cubicBezTo>
                  <a:cubicBezTo>
                    <a:pt x="410" y="193"/>
                    <a:pt x="412" y="193"/>
                    <a:pt x="412" y="189"/>
                  </a:cubicBezTo>
                  <a:cubicBezTo>
                    <a:pt x="410" y="183"/>
                    <a:pt x="404" y="184"/>
                    <a:pt x="399" y="182"/>
                  </a:cubicBezTo>
                  <a:cubicBezTo>
                    <a:pt x="400" y="176"/>
                    <a:pt x="407" y="180"/>
                    <a:pt x="407" y="174"/>
                  </a:cubicBezTo>
                  <a:close/>
                  <a:moveTo>
                    <a:pt x="415" y="252"/>
                  </a:moveTo>
                  <a:cubicBezTo>
                    <a:pt x="415" y="258"/>
                    <a:pt x="413" y="262"/>
                    <a:pt x="410" y="263"/>
                  </a:cubicBezTo>
                  <a:cubicBezTo>
                    <a:pt x="411" y="263"/>
                    <a:pt x="400" y="260"/>
                    <a:pt x="399" y="259"/>
                  </a:cubicBezTo>
                  <a:cubicBezTo>
                    <a:pt x="399" y="259"/>
                    <a:pt x="399" y="256"/>
                    <a:pt x="399" y="255"/>
                  </a:cubicBezTo>
                  <a:cubicBezTo>
                    <a:pt x="396" y="253"/>
                    <a:pt x="393" y="255"/>
                    <a:pt x="394" y="248"/>
                  </a:cubicBezTo>
                  <a:cubicBezTo>
                    <a:pt x="402" y="251"/>
                    <a:pt x="405" y="259"/>
                    <a:pt x="415" y="252"/>
                  </a:cubicBezTo>
                  <a:close/>
                  <a:moveTo>
                    <a:pt x="394" y="185"/>
                  </a:moveTo>
                  <a:cubicBezTo>
                    <a:pt x="391" y="182"/>
                    <a:pt x="388" y="181"/>
                    <a:pt x="383" y="182"/>
                  </a:cubicBezTo>
                  <a:cubicBezTo>
                    <a:pt x="382" y="175"/>
                    <a:pt x="398" y="175"/>
                    <a:pt x="394" y="185"/>
                  </a:cubicBezTo>
                  <a:close/>
                  <a:moveTo>
                    <a:pt x="391" y="248"/>
                  </a:moveTo>
                  <a:cubicBezTo>
                    <a:pt x="389" y="256"/>
                    <a:pt x="374" y="252"/>
                    <a:pt x="372" y="248"/>
                  </a:cubicBezTo>
                  <a:cubicBezTo>
                    <a:pt x="373" y="244"/>
                    <a:pt x="375" y="246"/>
                    <a:pt x="375" y="248"/>
                  </a:cubicBezTo>
                  <a:cubicBezTo>
                    <a:pt x="384" y="251"/>
                    <a:pt x="386" y="241"/>
                    <a:pt x="391" y="248"/>
                  </a:cubicBezTo>
                  <a:close/>
                  <a:moveTo>
                    <a:pt x="340" y="174"/>
                  </a:moveTo>
                  <a:cubicBezTo>
                    <a:pt x="350" y="177"/>
                    <a:pt x="339" y="185"/>
                    <a:pt x="345" y="193"/>
                  </a:cubicBezTo>
                  <a:cubicBezTo>
                    <a:pt x="355" y="195"/>
                    <a:pt x="361" y="181"/>
                    <a:pt x="367" y="189"/>
                  </a:cubicBezTo>
                  <a:cubicBezTo>
                    <a:pt x="367" y="185"/>
                    <a:pt x="366" y="182"/>
                    <a:pt x="364" y="182"/>
                  </a:cubicBezTo>
                  <a:cubicBezTo>
                    <a:pt x="362" y="171"/>
                    <a:pt x="377" y="184"/>
                    <a:pt x="375" y="174"/>
                  </a:cubicBezTo>
                  <a:cubicBezTo>
                    <a:pt x="380" y="177"/>
                    <a:pt x="373" y="200"/>
                    <a:pt x="370" y="204"/>
                  </a:cubicBezTo>
                  <a:cubicBezTo>
                    <a:pt x="368" y="205"/>
                    <a:pt x="367" y="208"/>
                    <a:pt x="364" y="207"/>
                  </a:cubicBezTo>
                  <a:cubicBezTo>
                    <a:pt x="370" y="200"/>
                    <a:pt x="364" y="195"/>
                    <a:pt x="359" y="193"/>
                  </a:cubicBezTo>
                  <a:cubicBezTo>
                    <a:pt x="355" y="191"/>
                    <a:pt x="357" y="199"/>
                    <a:pt x="356" y="200"/>
                  </a:cubicBezTo>
                  <a:cubicBezTo>
                    <a:pt x="352" y="203"/>
                    <a:pt x="345" y="198"/>
                    <a:pt x="340" y="200"/>
                  </a:cubicBezTo>
                  <a:cubicBezTo>
                    <a:pt x="335" y="191"/>
                    <a:pt x="333" y="182"/>
                    <a:pt x="340" y="174"/>
                  </a:cubicBezTo>
                  <a:close/>
                  <a:moveTo>
                    <a:pt x="340" y="300"/>
                  </a:moveTo>
                  <a:cubicBezTo>
                    <a:pt x="339" y="307"/>
                    <a:pt x="334" y="309"/>
                    <a:pt x="335" y="318"/>
                  </a:cubicBezTo>
                  <a:cubicBezTo>
                    <a:pt x="335" y="328"/>
                    <a:pt x="339" y="313"/>
                    <a:pt x="345" y="318"/>
                  </a:cubicBezTo>
                  <a:cubicBezTo>
                    <a:pt x="346" y="312"/>
                    <a:pt x="343" y="311"/>
                    <a:pt x="340" y="311"/>
                  </a:cubicBezTo>
                  <a:cubicBezTo>
                    <a:pt x="340" y="303"/>
                    <a:pt x="349" y="309"/>
                    <a:pt x="353" y="307"/>
                  </a:cubicBezTo>
                  <a:cubicBezTo>
                    <a:pt x="357" y="317"/>
                    <a:pt x="343" y="319"/>
                    <a:pt x="351" y="322"/>
                  </a:cubicBezTo>
                  <a:cubicBezTo>
                    <a:pt x="350" y="326"/>
                    <a:pt x="348" y="324"/>
                    <a:pt x="348" y="322"/>
                  </a:cubicBezTo>
                  <a:cubicBezTo>
                    <a:pt x="340" y="319"/>
                    <a:pt x="340" y="328"/>
                    <a:pt x="332" y="326"/>
                  </a:cubicBezTo>
                  <a:cubicBezTo>
                    <a:pt x="328" y="316"/>
                    <a:pt x="333" y="314"/>
                    <a:pt x="329" y="311"/>
                  </a:cubicBezTo>
                  <a:cubicBezTo>
                    <a:pt x="330" y="307"/>
                    <a:pt x="335" y="308"/>
                    <a:pt x="335" y="304"/>
                  </a:cubicBezTo>
                  <a:cubicBezTo>
                    <a:pt x="335" y="300"/>
                    <a:pt x="338" y="301"/>
                    <a:pt x="340" y="300"/>
                  </a:cubicBezTo>
                  <a:close/>
                  <a:moveTo>
                    <a:pt x="335" y="296"/>
                  </a:moveTo>
                  <a:cubicBezTo>
                    <a:pt x="331" y="294"/>
                    <a:pt x="330" y="288"/>
                    <a:pt x="329" y="281"/>
                  </a:cubicBezTo>
                  <a:cubicBezTo>
                    <a:pt x="334" y="282"/>
                    <a:pt x="335" y="288"/>
                    <a:pt x="335" y="296"/>
                  </a:cubicBezTo>
                  <a:close/>
                  <a:moveTo>
                    <a:pt x="324" y="163"/>
                  </a:moveTo>
                  <a:cubicBezTo>
                    <a:pt x="324" y="170"/>
                    <a:pt x="324" y="178"/>
                    <a:pt x="324" y="185"/>
                  </a:cubicBezTo>
                  <a:cubicBezTo>
                    <a:pt x="327" y="183"/>
                    <a:pt x="327" y="177"/>
                    <a:pt x="332" y="178"/>
                  </a:cubicBezTo>
                  <a:cubicBezTo>
                    <a:pt x="334" y="193"/>
                    <a:pt x="313" y="206"/>
                    <a:pt x="313" y="185"/>
                  </a:cubicBezTo>
                  <a:cubicBezTo>
                    <a:pt x="316" y="185"/>
                    <a:pt x="315" y="190"/>
                    <a:pt x="316" y="193"/>
                  </a:cubicBezTo>
                  <a:cubicBezTo>
                    <a:pt x="321" y="194"/>
                    <a:pt x="320" y="176"/>
                    <a:pt x="313" y="182"/>
                  </a:cubicBezTo>
                  <a:cubicBezTo>
                    <a:pt x="320" y="172"/>
                    <a:pt x="310" y="170"/>
                    <a:pt x="310" y="159"/>
                  </a:cubicBezTo>
                  <a:cubicBezTo>
                    <a:pt x="315" y="152"/>
                    <a:pt x="318" y="161"/>
                    <a:pt x="324" y="163"/>
                  </a:cubicBezTo>
                  <a:close/>
                  <a:moveTo>
                    <a:pt x="308" y="241"/>
                  </a:moveTo>
                  <a:cubicBezTo>
                    <a:pt x="316" y="246"/>
                    <a:pt x="318" y="237"/>
                    <a:pt x="321" y="248"/>
                  </a:cubicBezTo>
                  <a:cubicBezTo>
                    <a:pt x="323" y="246"/>
                    <a:pt x="326" y="244"/>
                    <a:pt x="329" y="244"/>
                  </a:cubicBezTo>
                  <a:cubicBezTo>
                    <a:pt x="330" y="248"/>
                    <a:pt x="328" y="248"/>
                    <a:pt x="326" y="248"/>
                  </a:cubicBezTo>
                  <a:cubicBezTo>
                    <a:pt x="319" y="255"/>
                    <a:pt x="326" y="266"/>
                    <a:pt x="326" y="274"/>
                  </a:cubicBezTo>
                  <a:cubicBezTo>
                    <a:pt x="327" y="282"/>
                    <a:pt x="324" y="291"/>
                    <a:pt x="326" y="296"/>
                  </a:cubicBezTo>
                  <a:cubicBezTo>
                    <a:pt x="323" y="296"/>
                    <a:pt x="319" y="296"/>
                    <a:pt x="318" y="300"/>
                  </a:cubicBezTo>
                  <a:cubicBezTo>
                    <a:pt x="312" y="292"/>
                    <a:pt x="326" y="281"/>
                    <a:pt x="321" y="263"/>
                  </a:cubicBezTo>
                  <a:cubicBezTo>
                    <a:pt x="321" y="266"/>
                    <a:pt x="307" y="266"/>
                    <a:pt x="313" y="259"/>
                  </a:cubicBezTo>
                  <a:cubicBezTo>
                    <a:pt x="313" y="259"/>
                    <a:pt x="318" y="260"/>
                    <a:pt x="318" y="259"/>
                  </a:cubicBezTo>
                  <a:cubicBezTo>
                    <a:pt x="318" y="258"/>
                    <a:pt x="314" y="249"/>
                    <a:pt x="313" y="248"/>
                  </a:cubicBezTo>
                  <a:cubicBezTo>
                    <a:pt x="311" y="247"/>
                    <a:pt x="309" y="251"/>
                    <a:pt x="310" y="252"/>
                  </a:cubicBezTo>
                  <a:cubicBezTo>
                    <a:pt x="314" y="256"/>
                    <a:pt x="310" y="255"/>
                    <a:pt x="308" y="252"/>
                  </a:cubicBezTo>
                  <a:cubicBezTo>
                    <a:pt x="305" y="248"/>
                    <a:pt x="308" y="249"/>
                    <a:pt x="308" y="241"/>
                  </a:cubicBezTo>
                  <a:close/>
                  <a:moveTo>
                    <a:pt x="308" y="270"/>
                  </a:moveTo>
                  <a:cubicBezTo>
                    <a:pt x="308" y="261"/>
                    <a:pt x="312" y="275"/>
                    <a:pt x="318" y="270"/>
                  </a:cubicBezTo>
                  <a:cubicBezTo>
                    <a:pt x="317" y="278"/>
                    <a:pt x="313" y="282"/>
                    <a:pt x="310" y="289"/>
                  </a:cubicBezTo>
                  <a:cubicBezTo>
                    <a:pt x="305" y="287"/>
                    <a:pt x="312" y="273"/>
                    <a:pt x="308" y="270"/>
                  </a:cubicBezTo>
                  <a:close/>
                  <a:moveTo>
                    <a:pt x="313" y="311"/>
                  </a:moveTo>
                  <a:cubicBezTo>
                    <a:pt x="318" y="310"/>
                    <a:pt x="321" y="312"/>
                    <a:pt x="321" y="318"/>
                  </a:cubicBezTo>
                  <a:cubicBezTo>
                    <a:pt x="316" y="317"/>
                    <a:pt x="309" y="317"/>
                    <a:pt x="310" y="307"/>
                  </a:cubicBezTo>
                  <a:cubicBezTo>
                    <a:pt x="303" y="306"/>
                    <a:pt x="313" y="328"/>
                    <a:pt x="302" y="322"/>
                  </a:cubicBezTo>
                  <a:cubicBezTo>
                    <a:pt x="303" y="313"/>
                    <a:pt x="303" y="304"/>
                    <a:pt x="297" y="304"/>
                  </a:cubicBezTo>
                  <a:cubicBezTo>
                    <a:pt x="293" y="305"/>
                    <a:pt x="298" y="308"/>
                    <a:pt x="297" y="315"/>
                  </a:cubicBezTo>
                  <a:cubicBezTo>
                    <a:pt x="289" y="318"/>
                    <a:pt x="292" y="306"/>
                    <a:pt x="292" y="300"/>
                  </a:cubicBezTo>
                  <a:cubicBezTo>
                    <a:pt x="299" y="295"/>
                    <a:pt x="306" y="311"/>
                    <a:pt x="305" y="296"/>
                  </a:cubicBezTo>
                  <a:cubicBezTo>
                    <a:pt x="312" y="295"/>
                    <a:pt x="312" y="304"/>
                    <a:pt x="313" y="311"/>
                  </a:cubicBezTo>
                  <a:close/>
                  <a:moveTo>
                    <a:pt x="292" y="159"/>
                  </a:moveTo>
                  <a:cubicBezTo>
                    <a:pt x="297" y="166"/>
                    <a:pt x="296" y="157"/>
                    <a:pt x="305" y="159"/>
                  </a:cubicBezTo>
                  <a:cubicBezTo>
                    <a:pt x="307" y="167"/>
                    <a:pt x="289" y="173"/>
                    <a:pt x="292" y="159"/>
                  </a:cubicBezTo>
                  <a:close/>
                  <a:moveTo>
                    <a:pt x="286" y="174"/>
                  </a:moveTo>
                  <a:cubicBezTo>
                    <a:pt x="293" y="173"/>
                    <a:pt x="292" y="181"/>
                    <a:pt x="300" y="178"/>
                  </a:cubicBezTo>
                  <a:cubicBezTo>
                    <a:pt x="298" y="181"/>
                    <a:pt x="297" y="184"/>
                    <a:pt x="297" y="189"/>
                  </a:cubicBezTo>
                  <a:cubicBezTo>
                    <a:pt x="293" y="185"/>
                    <a:pt x="285" y="186"/>
                    <a:pt x="286" y="174"/>
                  </a:cubicBezTo>
                  <a:close/>
                  <a:moveTo>
                    <a:pt x="289" y="255"/>
                  </a:moveTo>
                  <a:cubicBezTo>
                    <a:pt x="287" y="255"/>
                    <a:pt x="286" y="252"/>
                    <a:pt x="283" y="252"/>
                  </a:cubicBezTo>
                  <a:cubicBezTo>
                    <a:pt x="283" y="249"/>
                    <a:pt x="283" y="247"/>
                    <a:pt x="283" y="244"/>
                  </a:cubicBezTo>
                  <a:cubicBezTo>
                    <a:pt x="289" y="243"/>
                    <a:pt x="289" y="250"/>
                    <a:pt x="289" y="255"/>
                  </a:cubicBezTo>
                  <a:close/>
                  <a:moveTo>
                    <a:pt x="283" y="189"/>
                  </a:moveTo>
                  <a:cubicBezTo>
                    <a:pt x="278" y="188"/>
                    <a:pt x="282" y="177"/>
                    <a:pt x="275" y="178"/>
                  </a:cubicBezTo>
                  <a:cubicBezTo>
                    <a:pt x="279" y="167"/>
                    <a:pt x="287" y="178"/>
                    <a:pt x="283" y="189"/>
                  </a:cubicBezTo>
                  <a:close/>
                  <a:moveTo>
                    <a:pt x="278" y="248"/>
                  </a:moveTo>
                  <a:cubicBezTo>
                    <a:pt x="274" y="246"/>
                    <a:pt x="273" y="240"/>
                    <a:pt x="273" y="233"/>
                  </a:cubicBezTo>
                  <a:cubicBezTo>
                    <a:pt x="277" y="234"/>
                    <a:pt x="279" y="240"/>
                    <a:pt x="278" y="248"/>
                  </a:cubicBezTo>
                  <a:close/>
                  <a:moveTo>
                    <a:pt x="267" y="174"/>
                  </a:moveTo>
                  <a:cubicBezTo>
                    <a:pt x="269" y="174"/>
                    <a:pt x="271" y="174"/>
                    <a:pt x="273" y="174"/>
                  </a:cubicBezTo>
                  <a:cubicBezTo>
                    <a:pt x="273" y="177"/>
                    <a:pt x="273" y="179"/>
                    <a:pt x="273" y="182"/>
                  </a:cubicBezTo>
                  <a:cubicBezTo>
                    <a:pt x="271" y="182"/>
                    <a:pt x="269" y="182"/>
                    <a:pt x="267" y="182"/>
                  </a:cubicBezTo>
                  <a:cubicBezTo>
                    <a:pt x="267" y="179"/>
                    <a:pt x="267" y="177"/>
                    <a:pt x="267" y="174"/>
                  </a:cubicBezTo>
                  <a:close/>
                  <a:moveTo>
                    <a:pt x="276" y="259"/>
                  </a:moveTo>
                  <a:cubicBezTo>
                    <a:pt x="277" y="257"/>
                    <a:pt x="279" y="253"/>
                    <a:pt x="278" y="252"/>
                  </a:cubicBezTo>
                  <a:cubicBezTo>
                    <a:pt x="281" y="254"/>
                    <a:pt x="279" y="256"/>
                    <a:pt x="281" y="259"/>
                  </a:cubicBezTo>
                  <a:cubicBezTo>
                    <a:pt x="283" y="262"/>
                    <a:pt x="289" y="264"/>
                    <a:pt x="286" y="278"/>
                  </a:cubicBezTo>
                  <a:cubicBezTo>
                    <a:pt x="284" y="284"/>
                    <a:pt x="283" y="275"/>
                    <a:pt x="283" y="270"/>
                  </a:cubicBezTo>
                  <a:cubicBezTo>
                    <a:pt x="284" y="266"/>
                    <a:pt x="275" y="260"/>
                    <a:pt x="270" y="259"/>
                  </a:cubicBezTo>
                  <a:cubicBezTo>
                    <a:pt x="268" y="259"/>
                    <a:pt x="265" y="266"/>
                    <a:pt x="265" y="259"/>
                  </a:cubicBezTo>
                  <a:cubicBezTo>
                    <a:pt x="257" y="254"/>
                    <a:pt x="274" y="257"/>
                    <a:pt x="276" y="259"/>
                  </a:cubicBezTo>
                  <a:close/>
                  <a:moveTo>
                    <a:pt x="259" y="237"/>
                  </a:moveTo>
                  <a:cubicBezTo>
                    <a:pt x="263" y="238"/>
                    <a:pt x="260" y="248"/>
                    <a:pt x="265" y="248"/>
                  </a:cubicBezTo>
                  <a:cubicBezTo>
                    <a:pt x="264" y="257"/>
                    <a:pt x="257" y="245"/>
                    <a:pt x="259" y="237"/>
                  </a:cubicBezTo>
                  <a:close/>
                  <a:moveTo>
                    <a:pt x="257" y="270"/>
                  </a:moveTo>
                  <a:cubicBezTo>
                    <a:pt x="250" y="282"/>
                    <a:pt x="261" y="262"/>
                    <a:pt x="254" y="263"/>
                  </a:cubicBezTo>
                  <a:cubicBezTo>
                    <a:pt x="255" y="249"/>
                    <a:pt x="265" y="271"/>
                    <a:pt x="257" y="270"/>
                  </a:cubicBezTo>
                  <a:close/>
                  <a:moveTo>
                    <a:pt x="251" y="174"/>
                  </a:moveTo>
                  <a:cubicBezTo>
                    <a:pt x="253" y="174"/>
                    <a:pt x="255" y="174"/>
                    <a:pt x="257" y="174"/>
                  </a:cubicBezTo>
                  <a:cubicBezTo>
                    <a:pt x="257" y="177"/>
                    <a:pt x="257" y="179"/>
                    <a:pt x="257" y="182"/>
                  </a:cubicBezTo>
                  <a:cubicBezTo>
                    <a:pt x="255" y="182"/>
                    <a:pt x="253" y="182"/>
                    <a:pt x="251" y="182"/>
                  </a:cubicBezTo>
                  <a:cubicBezTo>
                    <a:pt x="251" y="179"/>
                    <a:pt x="251" y="177"/>
                    <a:pt x="251" y="174"/>
                  </a:cubicBezTo>
                  <a:close/>
                  <a:moveTo>
                    <a:pt x="249" y="289"/>
                  </a:moveTo>
                  <a:cubicBezTo>
                    <a:pt x="251" y="289"/>
                    <a:pt x="251" y="284"/>
                    <a:pt x="251" y="281"/>
                  </a:cubicBezTo>
                  <a:cubicBezTo>
                    <a:pt x="253" y="283"/>
                    <a:pt x="257" y="285"/>
                    <a:pt x="257" y="289"/>
                  </a:cubicBezTo>
                  <a:cubicBezTo>
                    <a:pt x="256" y="289"/>
                    <a:pt x="251" y="293"/>
                    <a:pt x="251" y="292"/>
                  </a:cubicBezTo>
                  <a:cubicBezTo>
                    <a:pt x="251" y="299"/>
                    <a:pt x="257" y="302"/>
                    <a:pt x="254" y="311"/>
                  </a:cubicBezTo>
                  <a:cubicBezTo>
                    <a:pt x="241" y="308"/>
                    <a:pt x="251" y="297"/>
                    <a:pt x="246" y="285"/>
                  </a:cubicBezTo>
                  <a:cubicBezTo>
                    <a:pt x="248" y="284"/>
                    <a:pt x="248" y="286"/>
                    <a:pt x="249" y="289"/>
                  </a:cubicBezTo>
                  <a:close/>
                  <a:moveTo>
                    <a:pt x="243" y="274"/>
                  </a:moveTo>
                  <a:cubicBezTo>
                    <a:pt x="240" y="279"/>
                    <a:pt x="242" y="275"/>
                    <a:pt x="240" y="270"/>
                  </a:cubicBezTo>
                  <a:cubicBezTo>
                    <a:pt x="240" y="270"/>
                    <a:pt x="238" y="270"/>
                    <a:pt x="238" y="270"/>
                  </a:cubicBezTo>
                  <a:cubicBezTo>
                    <a:pt x="238" y="265"/>
                    <a:pt x="240" y="270"/>
                    <a:pt x="240" y="270"/>
                  </a:cubicBezTo>
                  <a:cubicBezTo>
                    <a:pt x="245" y="273"/>
                    <a:pt x="246" y="271"/>
                    <a:pt x="243" y="274"/>
                  </a:cubicBezTo>
                  <a:close/>
                  <a:moveTo>
                    <a:pt x="227" y="304"/>
                  </a:moveTo>
                  <a:cubicBezTo>
                    <a:pt x="226" y="296"/>
                    <a:pt x="239" y="298"/>
                    <a:pt x="235" y="307"/>
                  </a:cubicBezTo>
                  <a:cubicBezTo>
                    <a:pt x="233" y="307"/>
                    <a:pt x="231" y="307"/>
                    <a:pt x="230" y="307"/>
                  </a:cubicBezTo>
                  <a:cubicBezTo>
                    <a:pt x="230" y="304"/>
                    <a:pt x="229" y="304"/>
                    <a:pt x="227" y="304"/>
                  </a:cubicBezTo>
                  <a:close/>
                  <a:moveTo>
                    <a:pt x="235" y="278"/>
                  </a:moveTo>
                  <a:cubicBezTo>
                    <a:pt x="238" y="279"/>
                    <a:pt x="237" y="285"/>
                    <a:pt x="240" y="285"/>
                  </a:cubicBezTo>
                  <a:cubicBezTo>
                    <a:pt x="239" y="295"/>
                    <a:pt x="232" y="285"/>
                    <a:pt x="235" y="278"/>
                  </a:cubicBezTo>
                  <a:close/>
                  <a:moveTo>
                    <a:pt x="235" y="244"/>
                  </a:moveTo>
                  <a:cubicBezTo>
                    <a:pt x="238" y="245"/>
                    <a:pt x="237" y="252"/>
                    <a:pt x="240" y="252"/>
                  </a:cubicBezTo>
                  <a:cubicBezTo>
                    <a:pt x="240" y="255"/>
                    <a:pt x="237" y="255"/>
                    <a:pt x="235" y="255"/>
                  </a:cubicBezTo>
                  <a:cubicBezTo>
                    <a:pt x="235" y="259"/>
                    <a:pt x="236" y="259"/>
                    <a:pt x="238" y="259"/>
                  </a:cubicBezTo>
                  <a:cubicBezTo>
                    <a:pt x="237" y="268"/>
                    <a:pt x="231" y="255"/>
                    <a:pt x="227" y="255"/>
                  </a:cubicBezTo>
                  <a:cubicBezTo>
                    <a:pt x="227" y="251"/>
                    <a:pt x="230" y="253"/>
                    <a:pt x="230" y="255"/>
                  </a:cubicBezTo>
                  <a:cubicBezTo>
                    <a:pt x="232" y="253"/>
                    <a:pt x="234" y="249"/>
                    <a:pt x="235" y="244"/>
                  </a:cubicBezTo>
                  <a:close/>
                  <a:moveTo>
                    <a:pt x="230" y="163"/>
                  </a:moveTo>
                  <a:cubicBezTo>
                    <a:pt x="231" y="162"/>
                    <a:pt x="222" y="159"/>
                    <a:pt x="222" y="159"/>
                  </a:cubicBezTo>
                  <a:cubicBezTo>
                    <a:pt x="221" y="153"/>
                    <a:pt x="236" y="154"/>
                    <a:pt x="230" y="163"/>
                  </a:cubicBezTo>
                  <a:close/>
                  <a:moveTo>
                    <a:pt x="222" y="244"/>
                  </a:moveTo>
                  <a:cubicBezTo>
                    <a:pt x="218" y="243"/>
                    <a:pt x="216" y="240"/>
                    <a:pt x="216" y="233"/>
                  </a:cubicBezTo>
                  <a:cubicBezTo>
                    <a:pt x="219" y="235"/>
                    <a:pt x="222" y="238"/>
                    <a:pt x="222" y="244"/>
                  </a:cubicBezTo>
                  <a:close/>
                  <a:moveTo>
                    <a:pt x="214" y="270"/>
                  </a:moveTo>
                  <a:cubicBezTo>
                    <a:pt x="212" y="260"/>
                    <a:pt x="226" y="273"/>
                    <a:pt x="224" y="263"/>
                  </a:cubicBezTo>
                  <a:cubicBezTo>
                    <a:pt x="230" y="265"/>
                    <a:pt x="220" y="277"/>
                    <a:pt x="222" y="285"/>
                  </a:cubicBezTo>
                  <a:cubicBezTo>
                    <a:pt x="221" y="299"/>
                    <a:pt x="215" y="274"/>
                    <a:pt x="222" y="278"/>
                  </a:cubicBezTo>
                  <a:cubicBezTo>
                    <a:pt x="220" y="274"/>
                    <a:pt x="217" y="272"/>
                    <a:pt x="214" y="270"/>
                  </a:cubicBezTo>
                  <a:close/>
                  <a:moveTo>
                    <a:pt x="216" y="337"/>
                  </a:moveTo>
                  <a:cubicBezTo>
                    <a:pt x="216" y="326"/>
                    <a:pt x="218" y="334"/>
                    <a:pt x="222" y="333"/>
                  </a:cubicBezTo>
                  <a:cubicBezTo>
                    <a:pt x="223" y="333"/>
                    <a:pt x="234" y="322"/>
                    <a:pt x="232" y="337"/>
                  </a:cubicBezTo>
                  <a:cubicBezTo>
                    <a:pt x="238" y="339"/>
                    <a:pt x="242" y="319"/>
                    <a:pt x="232" y="322"/>
                  </a:cubicBezTo>
                  <a:cubicBezTo>
                    <a:pt x="232" y="318"/>
                    <a:pt x="232" y="315"/>
                    <a:pt x="232" y="311"/>
                  </a:cubicBezTo>
                  <a:cubicBezTo>
                    <a:pt x="236" y="315"/>
                    <a:pt x="238" y="321"/>
                    <a:pt x="240" y="326"/>
                  </a:cubicBezTo>
                  <a:cubicBezTo>
                    <a:pt x="241" y="332"/>
                    <a:pt x="238" y="332"/>
                    <a:pt x="238" y="337"/>
                  </a:cubicBezTo>
                  <a:cubicBezTo>
                    <a:pt x="237" y="349"/>
                    <a:pt x="242" y="368"/>
                    <a:pt x="232" y="366"/>
                  </a:cubicBezTo>
                  <a:cubicBezTo>
                    <a:pt x="235" y="356"/>
                    <a:pt x="235" y="351"/>
                    <a:pt x="232" y="341"/>
                  </a:cubicBezTo>
                  <a:cubicBezTo>
                    <a:pt x="226" y="339"/>
                    <a:pt x="234" y="357"/>
                    <a:pt x="224" y="352"/>
                  </a:cubicBezTo>
                  <a:cubicBezTo>
                    <a:pt x="224" y="346"/>
                    <a:pt x="227" y="345"/>
                    <a:pt x="227" y="341"/>
                  </a:cubicBezTo>
                  <a:cubicBezTo>
                    <a:pt x="226" y="328"/>
                    <a:pt x="215" y="347"/>
                    <a:pt x="216" y="337"/>
                  </a:cubicBezTo>
                  <a:close/>
                  <a:moveTo>
                    <a:pt x="211" y="703"/>
                  </a:moveTo>
                  <a:cubicBezTo>
                    <a:pt x="210" y="696"/>
                    <a:pt x="203" y="696"/>
                    <a:pt x="205" y="684"/>
                  </a:cubicBezTo>
                  <a:cubicBezTo>
                    <a:pt x="208" y="684"/>
                    <a:pt x="211" y="684"/>
                    <a:pt x="214" y="684"/>
                  </a:cubicBezTo>
                  <a:cubicBezTo>
                    <a:pt x="216" y="693"/>
                    <a:pt x="215" y="705"/>
                    <a:pt x="222" y="707"/>
                  </a:cubicBezTo>
                  <a:cubicBezTo>
                    <a:pt x="221" y="712"/>
                    <a:pt x="215" y="710"/>
                    <a:pt x="211" y="710"/>
                  </a:cubicBezTo>
                  <a:cubicBezTo>
                    <a:pt x="209" y="707"/>
                    <a:pt x="208" y="704"/>
                    <a:pt x="211" y="703"/>
                  </a:cubicBezTo>
                  <a:close/>
                  <a:moveTo>
                    <a:pt x="214" y="795"/>
                  </a:moveTo>
                  <a:cubicBezTo>
                    <a:pt x="224" y="806"/>
                    <a:pt x="204" y="810"/>
                    <a:pt x="214" y="795"/>
                  </a:cubicBezTo>
                  <a:close/>
                  <a:moveTo>
                    <a:pt x="214" y="788"/>
                  </a:moveTo>
                  <a:cubicBezTo>
                    <a:pt x="212" y="779"/>
                    <a:pt x="218" y="780"/>
                    <a:pt x="216" y="770"/>
                  </a:cubicBezTo>
                  <a:cubicBezTo>
                    <a:pt x="219" y="772"/>
                    <a:pt x="222" y="774"/>
                    <a:pt x="227" y="773"/>
                  </a:cubicBezTo>
                  <a:cubicBezTo>
                    <a:pt x="227" y="777"/>
                    <a:pt x="224" y="776"/>
                    <a:pt x="222" y="777"/>
                  </a:cubicBezTo>
                  <a:cubicBezTo>
                    <a:pt x="221" y="783"/>
                    <a:pt x="224" y="784"/>
                    <a:pt x="227" y="784"/>
                  </a:cubicBezTo>
                  <a:cubicBezTo>
                    <a:pt x="228" y="790"/>
                    <a:pt x="216" y="793"/>
                    <a:pt x="224" y="795"/>
                  </a:cubicBezTo>
                  <a:cubicBezTo>
                    <a:pt x="222" y="806"/>
                    <a:pt x="218" y="787"/>
                    <a:pt x="214" y="788"/>
                  </a:cubicBezTo>
                  <a:close/>
                  <a:moveTo>
                    <a:pt x="227" y="832"/>
                  </a:moveTo>
                  <a:cubicBezTo>
                    <a:pt x="217" y="831"/>
                    <a:pt x="220" y="823"/>
                    <a:pt x="222" y="814"/>
                  </a:cubicBezTo>
                  <a:cubicBezTo>
                    <a:pt x="227" y="814"/>
                    <a:pt x="227" y="823"/>
                    <a:pt x="227" y="832"/>
                  </a:cubicBezTo>
                  <a:close/>
                  <a:moveTo>
                    <a:pt x="227" y="640"/>
                  </a:moveTo>
                  <a:cubicBezTo>
                    <a:pt x="230" y="629"/>
                    <a:pt x="236" y="642"/>
                    <a:pt x="238" y="644"/>
                  </a:cubicBezTo>
                  <a:cubicBezTo>
                    <a:pt x="237" y="653"/>
                    <a:pt x="231" y="640"/>
                    <a:pt x="227" y="640"/>
                  </a:cubicBezTo>
                  <a:close/>
                  <a:moveTo>
                    <a:pt x="232" y="559"/>
                  </a:moveTo>
                  <a:cubicBezTo>
                    <a:pt x="235" y="549"/>
                    <a:pt x="238" y="567"/>
                    <a:pt x="243" y="566"/>
                  </a:cubicBezTo>
                  <a:cubicBezTo>
                    <a:pt x="238" y="579"/>
                    <a:pt x="238" y="557"/>
                    <a:pt x="232" y="559"/>
                  </a:cubicBezTo>
                  <a:close/>
                  <a:moveTo>
                    <a:pt x="240" y="692"/>
                  </a:moveTo>
                  <a:cubicBezTo>
                    <a:pt x="243" y="689"/>
                    <a:pt x="243" y="684"/>
                    <a:pt x="243" y="677"/>
                  </a:cubicBezTo>
                  <a:cubicBezTo>
                    <a:pt x="248" y="676"/>
                    <a:pt x="248" y="698"/>
                    <a:pt x="240" y="692"/>
                  </a:cubicBezTo>
                  <a:close/>
                  <a:moveTo>
                    <a:pt x="246" y="592"/>
                  </a:moveTo>
                  <a:cubicBezTo>
                    <a:pt x="245" y="594"/>
                    <a:pt x="238" y="582"/>
                    <a:pt x="243" y="577"/>
                  </a:cubicBezTo>
                  <a:cubicBezTo>
                    <a:pt x="245" y="576"/>
                    <a:pt x="248" y="590"/>
                    <a:pt x="246" y="592"/>
                  </a:cubicBezTo>
                  <a:close/>
                  <a:moveTo>
                    <a:pt x="238" y="555"/>
                  </a:moveTo>
                  <a:cubicBezTo>
                    <a:pt x="238" y="547"/>
                    <a:pt x="250" y="554"/>
                    <a:pt x="249" y="544"/>
                  </a:cubicBezTo>
                  <a:cubicBezTo>
                    <a:pt x="252" y="550"/>
                    <a:pt x="264" y="545"/>
                    <a:pt x="267" y="551"/>
                  </a:cubicBezTo>
                  <a:cubicBezTo>
                    <a:pt x="262" y="560"/>
                    <a:pt x="249" y="542"/>
                    <a:pt x="249" y="562"/>
                  </a:cubicBezTo>
                  <a:cubicBezTo>
                    <a:pt x="244" y="561"/>
                    <a:pt x="246" y="551"/>
                    <a:pt x="238" y="555"/>
                  </a:cubicBezTo>
                  <a:close/>
                  <a:moveTo>
                    <a:pt x="249" y="651"/>
                  </a:moveTo>
                  <a:cubicBezTo>
                    <a:pt x="258" y="647"/>
                    <a:pt x="253" y="663"/>
                    <a:pt x="254" y="670"/>
                  </a:cubicBezTo>
                  <a:cubicBezTo>
                    <a:pt x="245" y="665"/>
                    <a:pt x="253" y="662"/>
                    <a:pt x="249" y="651"/>
                  </a:cubicBezTo>
                  <a:close/>
                  <a:moveTo>
                    <a:pt x="254" y="847"/>
                  </a:moveTo>
                  <a:cubicBezTo>
                    <a:pt x="250" y="846"/>
                    <a:pt x="252" y="838"/>
                    <a:pt x="251" y="832"/>
                  </a:cubicBezTo>
                  <a:cubicBezTo>
                    <a:pt x="262" y="831"/>
                    <a:pt x="253" y="840"/>
                    <a:pt x="254" y="847"/>
                  </a:cubicBezTo>
                  <a:close/>
                  <a:moveTo>
                    <a:pt x="262" y="633"/>
                  </a:moveTo>
                  <a:cubicBezTo>
                    <a:pt x="250" y="627"/>
                    <a:pt x="264" y="620"/>
                    <a:pt x="262" y="607"/>
                  </a:cubicBezTo>
                  <a:cubicBezTo>
                    <a:pt x="255" y="606"/>
                    <a:pt x="254" y="613"/>
                    <a:pt x="251" y="618"/>
                  </a:cubicBezTo>
                  <a:cubicBezTo>
                    <a:pt x="247" y="616"/>
                    <a:pt x="251" y="615"/>
                    <a:pt x="251" y="611"/>
                  </a:cubicBezTo>
                  <a:cubicBezTo>
                    <a:pt x="250" y="605"/>
                    <a:pt x="254" y="604"/>
                    <a:pt x="254" y="599"/>
                  </a:cubicBezTo>
                  <a:cubicBezTo>
                    <a:pt x="251" y="594"/>
                    <a:pt x="249" y="579"/>
                    <a:pt x="251" y="570"/>
                  </a:cubicBezTo>
                  <a:cubicBezTo>
                    <a:pt x="251" y="569"/>
                    <a:pt x="254" y="570"/>
                    <a:pt x="254" y="566"/>
                  </a:cubicBezTo>
                  <a:cubicBezTo>
                    <a:pt x="254" y="560"/>
                    <a:pt x="255" y="559"/>
                    <a:pt x="259" y="559"/>
                  </a:cubicBezTo>
                  <a:cubicBezTo>
                    <a:pt x="260" y="566"/>
                    <a:pt x="257" y="569"/>
                    <a:pt x="257" y="574"/>
                  </a:cubicBezTo>
                  <a:cubicBezTo>
                    <a:pt x="258" y="582"/>
                    <a:pt x="261" y="569"/>
                    <a:pt x="265" y="577"/>
                  </a:cubicBezTo>
                  <a:cubicBezTo>
                    <a:pt x="261" y="589"/>
                    <a:pt x="265" y="592"/>
                    <a:pt x="262" y="599"/>
                  </a:cubicBezTo>
                  <a:cubicBezTo>
                    <a:pt x="260" y="611"/>
                    <a:pt x="269" y="607"/>
                    <a:pt x="267" y="618"/>
                  </a:cubicBezTo>
                  <a:cubicBezTo>
                    <a:pt x="258" y="618"/>
                    <a:pt x="267" y="623"/>
                    <a:pt x="262" y="633"/>
                  </a:cubicBezTo>
                  <a:close/>
                  <a:moveTo>
                    <a:pt x="265" y="666"/>
                  </a:moveTo>
                  <a:cubicBezTo>
                    <a:pt x="269" y="667"/>
                    <a:pt x="270" y="662"/>
                    <a:pt x="275" y="662"/>
                  </a:cubicBezTo>
                  <a:cubicBezTo>
                    <a:pt x="273" y="664"/>
                    <a:pt x="264" y="682"/>
                    <a:pt x="265" y="666"/>
                  </a:cubicBezTo>
                  <a:close/>
                  <a:moveTo>
                    <a:pt x="278" y="766"/>
                  </a:moveTo>
                  <a:cubicBezTo>
                    <a:pt x="273" y="766"/>
                    <a:pt x="272" y="761"/>
                    <a:pt x="267" y="762"/>
                  </a:cubicBezTo>
                  <a:cubicBezTo>
                    <a:pt x="268" y="758"/>
                    <a:pt x="273" y="758"/>
                    <a:pt x="273" y="762"/>
                  </a:cubicBezTo>
                  <a:cubicBezTo>
                    <a:pt x="275" y="761"/>
                    <a:pt x="278" y="759"/>
                    <a:pt x="278" y="755"/>
                  </a:cubicBezTo>
                  <a:cubicBezTo>
                    <a:pt x="283" y="745"/>
                    <a:pt x="278" y="761"/>
                    <a:pt x="278" y="766"/>
                  </a:cubicBezTo>
                  <a:close/>
                  <a:moveTo>
                    <a:pt x="275" y="721"/>
                  </a:moveTo>
                  <a:cubicBezTo>
                    <a:pt x="275" y="717"/>
                    <a:pt x="280" y="716"/>
                    <a:pt x="281" y="714"/>
                  </a:cubicBezTo>
                  <a:cubicBezTo>
                    <a:pt x="282" y="710"/>
                    <a:pt x="272" y="697"/>
                    <a:pt x="283" y="699"/>
                  </a:cubicBezTo>
                  <a:cubicBezTo>
                    <a:pt x="283" y="702"/>
                    <a:pt x="281" y="703"/>
                    <a:pt x="281" y="707"/>
                  </a:cubicBezTo>
                  <a:cubicBezTo>
                    <a:pt x="279" y="713"/>
                    <a:pt x="288" y="712"/>
                    <a:pt x="289" y="714"/>
                  </a:cubicBezTo>
                  <a:cubicBezTo>
                    <a:pt x="290" y="718"/>
                    <a:pt x="284" y="717"/>
                    <a:pt x="283" y="718"/>
                  </a:cubicBezTo>
                  <a:cubicBezTo>
                    <a:pt x="282" y="723"/>
                    <a:pt x="292" y="724"/>
                    <a:pt x="289" y="733"/>
                  </a:cubicBezTo>
                  <a:cubicBezTo>
                    <a:pt x="279" y="737"/>
                    <a:pt x="285" y="719"/>
                    <a:pt x="275" y="721"/>
                  </a:cubicBezTo>
                  <a:close/>
                  <a:moveTo>
                    <a:pt x="281" y="766"/>
                  </a:moveTo>
                  <a:cubicBezTo>
                    <a:pt x="281" y="759"/>
                    <a:pt x="288" y="761"/>
                    <a:pt x="286" y="751"/>
                  </a:cubicBezTo>
                  <a:cubicBezTo>
                    <a:pt x="292" y="753"/>
                    <a:pt x="290" y="773"/>
                    <a:pt x="281" y="766"/>
                  </a:cubicBezTo>
                  <a:close/>
                  <a:moveTo>
                    <a:pt x="286" y="648"/>
                  </a:moveTo>
                  <a:cubicBezTo>
                    <a:pt x="286" y="643"/>
                    <a:pt x="286" y="638"/>
                    <a:pt x="286" y="633"/>
                  </a:cubicBezTo>
                  <a:cubicBezTo>
                    <a:pt x="289" y="634"/>
                    <a:pt x="291" y="636"/>
                    <a:pt x="292" y="640"/>
                  </a:cubicBezTo>
                  <a:cubicBezTo>
                    <a:pt x="294" y="640"/>
                    <a:pt x="294" y="636"/>
                    <a:pt x="294" y="633"/>
                  </a:cubicBezTo>
                  <a:cubicBezTo>
                    <a:pt x="304" y="636"/>
                    <a:pt x="296" y="650"/>
                    <a:pt x="286" y="648"/>
                  </a:cubicBezTo>
                  <a:close/>
                  <a:moveTo>
                    <a:pt x="297" y="777"/>
                  </a:moveTo>
                  <a:cubicBezTo>
                    <a:pt x="298" y="784"/>
                    <a:pt x="296" y="789"/>
                    <a:pt x="292" y="788"/>
                  </a:cubicBezTo>
                  <a:cubicBezTo>
                    <a:pt x="292" y="782"/>
                    <a:pt x="292" y="776"/>
                    <a:pt x="292" y="770"/>
                  </a:cubicBezTo>
                  <a:cubicBezTo>
                    <a:pt x="294" y="772"/>
                    <a:pt x="299" y="775"/>
                    <a:pt x="300" y="770"/>
                  </a:cubicBezTo>
                  <a:cubicBezTo>
                    <a:pt x="304" y="772"/>
                    <a:pt x="301" y="778"/>
                    <a:pt x="297" y="777"/>
                  </a:cubicBezTo>
                  <a:close/>
                  <a:moveTo>
                    <a:pt x="300" y="755"/>
                  </a:moveTo>
                  <a:cubicBezTo>
                    <a:pt x="300" y="755"/>
                    <a:pt x="300" y="750"/>
                    <a:pt x="302" y="751"/>
                  </a:cubicBezTo>
                  <a:cubicBezTo>
                    <a:pt x="300" y="751"/>
                    <a:pt x="306" y="756"/>
                    <a:pt x="305" y="755"/>
                  </a:cubicBezTo>
                  <a:cubicBezTo>
                    <a:pt x="307" y="759"/>
                    <a:pt x="286" y="756"/>
                    <a:pt x="300" y="755"/>
                  </a:cubicBezTo>
                  <a:close/>
                  <a:moveTo>
                    <a:pt x="361" y="825"/>
                  </a:moveTo>
                  <a:cubicBezTo>
                    <a:pt x="360" y="824"/>
                    <a:pt x="355" y="827"/>
                    <a:pt x="353" y="825"/>
                  </a:cubicBezTo>
                  <a:cubicBezTo>
                    <a:pt x="353" y="824"/>
                    <a:pt x="354" y="818"/>
                    <a:pt x="353" y="818"/>
                  </a:cubicBezTo>
                  <a:cubicBezTo>
                    <a:pt x="348" y="814"/>
                    <a:pt x="338" y="818"/>
                    <a:pt x="337" y="807"/>
                  </a:cubicBezTo>
                  <a:cubicBezTo>
                    <a:pt x="325" y="808"/>
                    <a:pt x="318" y="804"/>
                    <a:pt x="316" y="792"/>
                  </a:cubicBezTo>
                  <a:cubicBezTo>
                    <a:pt x="312" y="796"/>
                    <a:pt x="309" y="796"/>
                    <a:pt x="305" y="792"/>
                  </a:cubicBezTo>
                  <a:cubicBezTo>
                    <a:pt x="304" y="780"/>
                    <a:pt x="310" y="776"/>
                    <a:pt x="308" y="762"/>
                  </a:cubicBezTo>
                  <a:cubicBezTo>
                    <a:pt x="311" y="748"/>
                    <a:pt x="310" y="801"/>
                    <a:pt x="316" y="773"/>
                  </a:cubicBezTo>
                  <a:cubicBezTo>
                    <a:pt x="325" y="774"/>
                    <a:pt x="309" y="789"/>
                    <a:pt x="318" y="792"/>
                  </a:cubicBezTo>
                  <a:cubicBezTo>
                    <a:pt x="322" y="787"/>
                    <a:pt x="322" y="778"/>
                    <a:pt x="326" y="773"/>
                  </a:cubicBezTo>
                  <a:cubicBezTo>
                    <a:pt x="326" y="771"/>
                    <a:pt x="326" y="768"/>
                    <a:pt x="326" y="766"/>
                  </a:cubicBezTo>
                  <a:cubicBezTo>
                    <a:pt x="330" y="766"/>
                    <a:pt x="329" y="773"/>
                    <a:pt x="329" y="777"/>
                  </a:cubicBezTo>
                  <a:cubicBezTo>
                    <a:pt x="329" y="781"/>
                    <a:pt x="333" y="779"/>
                    <a:pt x="335" y="781"/>
                  </a:cubicBezTo>
                  <a:cubicBezTo>
                    <a:pt x="337" y="785"/>
                    <a:pt x="334" y="793"/>
                    <a:pt x="337" y="795"/>
                  </a:cubicBezTo>
                  <a:cubicBezTo>
                    <a:pt x="342" y="794"/>
                    <a:pt x="339" y="781"/>
                    <a:pt x="348" y="784"/>
                  </a:cubicBezTo>
                  <a:cubicBezTo>
                    <a:pt x="347" y="789"/>
                    <a:pt x="343" y="790"/>
                    <a:pt x="343" y="795"/>
                  </a:cubicBezTo>
                  <a:cubicBezTo>
                    <a:pt x="343" y="803"/>
                    <a:pt x="352" y="791"/>
                    <a:pt x="359" y="795"/>
                  </a:cubicBezTo>
                  <a:cubicBezTo>
                    <a:pt x="359" y="813"/>
                    <a:pt x="366" y="808"/>
                    <a:pt x="361" y="825"/>
                  </a:cubicBezTo>
                  <a:close/>
                  <a:moveTo>
                    <a:pt x="415" y="851"/>
                  </a:moveTo>
                  <a:cubicBezTo>
                    <a:pt x="407" y="853"/>
                    <a:pt x="414" y="833"/>
                    <a:pt x="404" y="836"/>
                  </a:cubicBezTo>
                  <a:cubicBezTo>
                    <a:pt x="400" y="838"/>
                    <a:pt x="405" y="841"/>
                    <a:pt x="404" y="847"/>
                  </a:cubicBezTo>
                  <a:cubicBezTo>
                    <a:pt x="399" y="847"/>
                    <a:pt x="401" y="840"/>
                    <a:pt x="399" y="836"/>
                  </a:cubicBezTo>
                  <a:cubicBezTo>
                    <a:pt x="396" y="830"/>
                    <a:pt x="395" y="830"/>
                    <a:pt x="391" y="825"/>
                  </a:cubicBezTo>
                  <a:cubicBezTo>
                    <a:pt x="387" y="828"/>
                    <a:pt x="392" y="831"/>
                    <a:pt x="388" y="840"/>
                  </a:cubicBezTo>
                  <a:cubicBezTo>
                    <a:pt x="386" y="840"/>
                    <a:pt x="386" y="835"/>
                    <a:pt x="386" y="832"/>
                  </a:cubicBezTo>
                  <a:cubicBezTo>
                    <a:pt x="378" y="829"/>
                    <a:pt x="379" y="838"/>
                    <a:pt x="372" y="836"/>
                  </a:cubicBezTo>
                  <a:cubicBezTo>
                    <a:pt x="371" y="835"/>
                    <a:pt x="368" y="818"/>
                    <a:pt x="367" y="829"/>
                  </a:cubicBezTo>
                  <a:cubicBezTo>
                    <a:pt x="361" y="830"/>
                    <a:pt x="367" y="818"/>
                    <a:pt x="370" y="818"/>
                  </a:cubicBezTo>
                  <a:cubicBezTo>
                    <a:pt x="367" y="809"/>
                    <a:pt x="365" y="798"/>
                    <a:pt x="378" y="795"/>
                  </a:cubicBezTo>
                  <a:cubicBezTo>
                    <a:pt x="376" y="803"/>
                    <a:pt x="383" y="804"/>
                    <a:pt x="383" y="799"/>
                  </a:cubicBezTo>
                  <a:cubicBezTo>
                    <a:pt x="388" y="802"/>
                    <a:pt x="383" y="806"/>
                    <a:pt x="383" y="810"/>
                  </a:cubicBezTo>
                  <a:cubicBezTo>
                    <a:pt x="386" y="817"/>
                    <a:pt x="386" y="807"/>
                    <a:pt x="391" y="814"/>
                  </a:cubicBezTo>
                  <a:cubicBezTo>
                    <a:pt x="397" y="822"/>
                    <a:pt x="394" y="802"/>
                    <a:pt x="402" y="807"/>
                  </a:cubicBezTo>
                  <a:cubicBezTo>
                    <a:pt x="403" y="816"/>
                    <a:pt x="403" y="827"/>
                    <a:pt x="407" y="832"/>
                  </a:cubicBezTo>
                  <a:cubicBezTo>
                    <a:pt x="415" y="832"/>
                    <a:pt x="401" y="822"/>
                    <a:pt x="412" y="825"/>
                  </a:cubicBezTo>
                  <a:cubicBezTo>
                    <a:pt x="410" y="838"/>
                    <a:pt x="417" y="839"/>
                    <a:pt x="415" y="851"/>
                  </a:cubicBezTo>
                  <a:close/>
                  <a:moveTo>
                    <a:pt x="466" y="866"/>
                  </a:moveTo>
                  <a:cubicBezTo>
                    <a:pt x="465" y="863"/>
                    <a:pt x="475" y="860"/>
                    <a:pt x="477" y="862"/>
                  </a:cubicBezTo>
                  <a:cubicBezTo>
                    <a:pt x="478" y="864"/>
                    <a:pt x="470" y="873"/>
                    <a:pt x="466" y="866"/>
                  </a:cubicBezTo>
                  <a:close/>
                  <a:moveTo>
                    <a:pt x="485" y="807"/>
                  </a:moveTo>
                  <a:cubicBezTo>
                    <a:pt x="482" y="797"/>
                    <a:pt x="477" y="818"/>
                    <a:pt x="472" y="818"/>
                  </a:cubicBezTo>
                  <a:cubicBezTo>
                    <a:pt x="468" y="837"/>
                    <a:pt x="482" y="845"/>
                    <a:pt x="474" y="858"/>
                  </a:cubicBezTo>
                  <a:cubicBezTo>
                    <a:pt x="469" y="858"/>
                    <a:pt x="473" y="846"/>
                    <a:pt x="469" y="844"/>
                  </a:cubicBezTo>
                  <a:cubicBezTo>
                    <a:pt x="464" y="843"/>
                    <a:pt x="468" y="855"/>
                    <a:pt x="466" y="858"/>
                  </a:cubicBezTo>
                  <a:cubicBezTo>
                    <a:pt x="466" y="859"/>
                    <a:pt x="454" y="847"/>
                    <a:pt x="458" y="862"/>
                  </a:cubicBezTo>
                  <a:cubicBezTo>
                    <a:pt x="451" y="866"/>
                    <a:pt x="445" y="851"/>
                    <a:pt x="442" y="862"/>
                  </a:cubicBezTo>
                  <a:cubicBezTo>
                    <a:pt x="438" y="857"/>
                    <a:pt x="439" y="844"/>
                    <a:pt x="431" y="844"/>
                  </a:cubicBezTo>
                  <a:cubicBezTo>
                    <a:pt x="428" y="844"/>
                    <a:pt x="429" y="851"/>
                    <a:pt x="431" y="851"/>
                  </a:cubicBezTo>
                  <a:cubicBezTo>
                    <a:pt x="430" y="862"/>
                    <a:pt x="418" y="849"/>
                    <a:pt x="418" y="847"/>
                  </a:cubicBezTo>
                  <a:cubicBezTo>
                    <a:pt x="418" y="845"/>
                    <a:pt x="426" y="835"/>
                    <a:pt x="415" y="836"/>
                  </a:cubicBezTo>
                  <a:cubicBezTo>
                    <a:pt x="415" y="829"/>
                    <a:pt x="419" y="828"/>
                    <a:pt x="418" y="821"/>
                  </a:cubicBezTo>
                  <a:cubicBezTo>
                    <a:pt x="428" y="819"/>
                    <a:pt x="430" y="827"/>
                    <a:pt x="429" y="840"/>
                  </a:cubicBezTo>
                  <a:cubicBezTo>
                    <a:pt x="431" y="838"/>
                    <a:pt x="433" y="836"/>
                    <a:pt x="437" y="836"/>
                  </a:cubicBezTo>
                  <a:cubicBezTo>
                    <a:pt x="437" y="830"/>
                    <a:pt x="435" y="827"/>
                    <a:pt x="431" y="825"/>
                  </a:cubicBezTo>
                  <a:cubicBezTo>
                    <a:pt x="431" y="814"/>
                    <a:pt x="439" y="834"/>
                    <a:pt x="439" y="821"/>
                  </a:cubicBezTo>
                  <a:cubicBezTo>
                    <a:pt x="444" y="822"/>
                    <a:pt x="441" y="834"/>
                    <a:pt x="445" y="836"/>
                  </a:cubicBezTo>
                  <a:cubicBezTo>
                    <a:pt x="447" y="834"/>
                    <a:pt x="448" y="828"/>
                    <a:pt x="453" y="829"/>
                  </a:cubicBezTo>
                  <a:cubicBezTo>
                    <a:pt x="455" y="839"/>
                    <a:pt x="447" y="836"/>
                    <a:pt x="447" y="844"/>
                  </a:cubicBezTo>
                  <a:cubicBezTo>
                    <a:pt x="450" y="855"/>
                    <a:pt x="455" y="832"/>
                    <a:pt x="458" y="836"/>
                  </a:cubicBezTo>
                  <a:cubicBezTo>
                    <a:pt x="462" y="842"/>
                    <a:pt x="461" y="833"/>
                    <a:pt x="469" y="832"/>
                  </a:cubicBezTo>
                  <a:cubicBezTo>
                    <a:pt x="470" y="824"/>
                    <a:pt x="464" y="824"/>
                    <a:pt x="466" y="814"/>
                  </a:cubicBezTo>
                  <a:cubicBezTo>
                    <a:pt x="475" y="817"/>
                    <a:pt x="471" y="804"/>
                    <a:pt x="480" y="807"/>
                  </a:cubicBezTo>
                  <a:cubicBezTo>
                    <a:pt x="479" y="802"/>
                    <a:pt x="475" y="803"/>
                    <a:pt x="472" y="803"/>
                  </a:cubicBezTo>
                  <a:cubicBezTo>
                    <a:pt x="478" y="789"/>
                    <a:pt x="490" y="800"/>
                    <a:pt x="496" y="807"/>
                  </a:cubicBezTo>
                  <a:cubicBezTo>
                    <a:pt x="497" y="820"/>
                    <a:pt x="478" y="810"/>
                    <a:pt x="485" y="807"/>
                  </a:cubicBezTo>
                  <a:close/>
                  <a:moveTo>
                    <a:pt x="493" y="858"/>
                  </a:moveTo>
                  <a:cubicBezTo>
                    <a:pt x="490" y="857"/>
                    <a:pt x="488" y="854"/>
                    <a:pt x="488" y="847"/>
                  </a:cubicBezTo>
                  <a:cubicBezTo>
                    <a:pt x="491" y="849"/>
                    <a:pt x="493" y="852"/>
                    <a:pt x="493" y="858"/>
                  </a:cubicBezTo>
                  <a:close/>
                  <a:moveTo>
                    <a:pt x="501" y="877"/>
                  </a:moveTo>
                  <a:cubicBezTo>
                    <a:pt x="499" y="877"/>
                    <a:pt x="499" y="872"/>
                    <a:pt x="499" y="869"/>
                  </a:cubicBezTo>
                  <a:cubicBezTo>
                    <a:pt x="494" y="869"/>
                    <a:pt x="493" y="874"/>
                    <a:pt x="488" y="873"/>
                  </a:cubicBezTo>
                  <a:cubicBezTo>
                    <a:pt x="488" y="869"/>
                    <a:pt x="488" y="866"/>
                    <a:pt x="488" y="862"/>
                  </a:cubicBezTo>
                  <a:cubicBezTo>
                    <a:pt x="492" y="867"/>
                    <a:pt x="510" y="865"/>
                    <a:pt x="501" y="877"/>
                  </a:cubicBezTo>
                  <a:close/>
                  <a:moveTo>
                    <a:pt x="590" y="45"/>
                  </a:moveTo>
                  <a:cubicBezTo>
                    <a:pt x="589" y="30"/>
                    <a:pt x="606" y="42"/>
                    <a:pt x="606" y="30"/>
                  </a:cubicBezTo>
                  <a:cubicBezTo>
                    <a:pt x="613" y="35"/>
                    <a:pt x="593" y="53"/>
                    <a:pt x="590" y="45"/>
                  </a:cubicBezTo>
                  <a:close/>
                  <a:moveTo>
                    <a:pt x="612" y="137"/>
                  </a:moveTo>
                  <a:cubicBezTo>
                    <a:pt x="609" y="136"/>
                    <a:pt x="609" y="133"/>
                    <a:pt x="606" y="133"/>
                  </a:cubicBezTo>
                  <a:cubicBezTo>
                    <a:pt x="606" y="125"/>
                    <a:pt x="619" y="130"/>
                    <a:pt x="612" y="137"/>
                  </a:cubicBezTo>
                  <a:close/>
                  <a:moveTo>
                    <a:pt x="636" y="126"/>
                  </a:moveTo>
                  <a:cubicBezTo>
                    <a:pt x="647" y="128"/>
                    <a:pt x="633" y="147"/>
                    <a:pt x="636" y="126"/>
                  </a:cubicBezTo>
                  <a:close/>
                  <a:moveTo>
                    <a:pt x="644" y="137"/>
                  </a:moveTo>
                  <a:cubicBezTo>
                    <a:pt x="645" y="127"/>
                    <a:pt x="658" y="120"/>
                    <a:pt x="657" y="137"/>
                  </a:cubicBezTo>
                  <a:cubicBezTo>
                    <a:pt x="652" y="144"/>
                    <a:pt x="652" y="135"/>
                    <a:pt x="644" y="137"/>
                  </a:cubicBezTo>
                  <a:close/>
                  <a:moveTo>
                    <a:pt x="708" y="137"/>
                  </a:moveTo>
                  <a:cubicBezTo>
                    <a:pt x="703" y="138"/>
                    <a:pt x="700" y="136"/>
                    <a:pt x="700" y="130"/>
                  </a:cubicBezTo>
                  <a:cubicBezTo>
                    <a:pt x="704" y="126"/>
                    <a:pt x="707" y="133"/>
                    <a:pt x="708" y="133"/>
                  </a:cubicBezTo>
                  <a:cubicBezTo>
                    <a:pt x="713" y="134"/>
                    <a:pt x="715" y="127"/>
                    <a:pt x="716" y="133"/>
                  </a:cubicBezTo>
                  <a:cubicBezTo>
                    <a:pt x="718" y="146"/>
                    <a:pt x="711" y="139"/>
                    <a:pt x="708" y="137"/>
                  </a:cubicBezTo>
                  <a:close/>
                  <a:moveTo>
                    <a:pt x="716" y="100"/>
                  </a:moveTo>
                  <a:cubicBezTo>
                    <a:pt x="719" y="100"/>
                    <a:pt x="722" y="100"/>
                    <a:pt x="724" y="100"/>
                  </a:cubicBezTo>
                  <a:cubicBezTo>
                    <a:pt x="723" y="111"/>
                    <a:pt x="696" y="99"/>
                    <a:pt x="716" y="100"/>
                  </a:cubicBezTo>
                  <a:close/>
                  <a:moveTo>
                    <a:pt x="792" y="115"/>
                  </a:moveTo>
                  <a:cubicBezTo>
                    <a:pt x="786" y="114"/>
                    <a:pt x="786" y="106"/>
                    <a:pt x="786" y="96"/>
                  </a:cubicBezTo>
                  <a:cubicBezTo>
                    <a:pt x="791" y="96"/>
                    <a:pt x="795" y="96"/>
                    <a:pt x="800" y="96"/>
                  </a:cubicBezTo>
                  <a:cubicBezTo>
                    <a:pt x="797" y="103"/>
                    <a:pt x="793" y="107"/>
                    <a:pt x="792" y="115"/>
                  </a:cubicBezTo>
                  <a:close/>
                  <a:moveTo>
                    <a:pt x="816" y="111"/>
                  </a:moveTo>
                  <a:cubicBezTo>
                    <a:pt x="812" y="108"/>
                    <a:pt x="810" y="102"/>
                    <a:pt x="810" y="93"/>
                  </a:cubicBezTo>
                  <a:cubicBezTo>
                    <a:pt x="815" y="90"/>
                    <a:pt x="820" y="87"/>
                    <a:pt x="827" y="85"/>
                  </a:cubicBezTo>
                  <a:cubicBezTo>
                    <a:pt x="830" y="104"/>
                    <a:pt x="818" y="101"/>
                    <a:pt x="816" y="111"/>
                  </a:cubicBezTo>
                  <a:close/>
                  <a:moveTo>
                    <a:pt x="827" y="126"/>
                  </a:moveTo>
                  <a:cubicBezTo>
                    <a:pt x="827" y="121"/>
                    <a:pt x="835" y="125"/>
                    <a:pt x="835" y="119"/>
                  </a:cubicBezTo>
                  <a:cubicBezTo>
                    <a:pt x="843" y="123"/>
                    <a:pt x="829" y="134"/>
                    <a:pt x="827" y="126"/>
                  </a:cubicBezTo>
                  <a:close/>
                  <a:moveTo>
                    <a:pt x="870" y="152"/>
                  </a:moveTo>
                  <a:cubicBezTo>
                    <a:pt x="867" y="153"/>
                    <a:pt x="865" y="157"/>
                    <a:pt x="862" y="156"/>
                  </a:cubicBezTo>
                  <a:cubicBezTo>
                    <a:pt x="861" y="156"/>
                    <a:pt x="861" y="152"/>
                    <a:pt x="859" y="152"/>
                  </a:cubicBezTo>
                  <a:cubicBezTo>
                    <a:pt x="857" y="152"/>
                    <a:pt x="855" y="147"/>
                    <a:pt x="851" y="148"/>
                  </a:cubicBezTo>
                  <a:cubicBezTo>
                    <a:pt x="853" y="142"/>
                    <a:pt x="873" y="142"/>
                    <a:pt x="875" y="148"/>
                  </a:cubicBezTo>
                  <a:cubicBezTo>
                    <a:pt x="875" y="159"/>
                    <a:pt x="873" y="151"/>
                    <a:pt x="870" y="152"/>
                  </a:cubicBezTo>
                  <a:close/>
                  <a:moveTo>
                    <a:pt x="859" y="133"/>
                  </a:moveTo>
                  <a:cubicBezTo>
                    <a:pt x="859" y="128"/>
                    <a:pt x="859" y="123"/>
                    <a:pt x="856" y="122"/>
                  </a:cubicBezTo>
                  <a:cubicBezTo>
                    <a:pt x="860" y="114"/>
                    <a:pt x="871" y="127"/>
                    <a:pt x="878" y="126"/>
                  </a:cubicBezTo>
                  <a:cubicBezTo>
                    <a:pt x="872" y="133"/>
                    <a:pt x="867" y="138"/>
                    <a:pt x="859" y="133"/>
                  </a:cubicBezTo>
                  <a:close/>
                  <a:moveTo>
                    <a:pt x="886" y="104"/>
                  </a:moveTo>
                  <a:cubicBezTo>
                    <a:pt x="884" y="104"/>
                    <a:pt x="882" y="104"/>
                    <a:pt x="880" y="104"/>
                  </a:cubicBezTo>
                  <a:cubicBezTo>
                    <a:pt x="880" y="101"/>
                    <a:pt x="880" y="99"/>
                    <a:pt x="880" y="96"/>
                  </a:cubicBezTo>
                  <a:cubicBezTo>
                    <a:pt x="882" y="96"/>
                    <a:pt x="884" y="96"/>
                    <a:pt x="886" y="96"/>
                  </a:cubicBezTo>
                  <a:cubicBezTo>
                    <a:pt x="886" y="99"/>
                    <a:pt x="886" y="101"/>
                    <a:pt x="886" y="104"/>
                  </a:cubicBezTo>
                  <a:close/>
                  <a:moveTo>
                    <a:pt x="913" y="1239"/>
                  </a:moveTo>
                  <a:cubicBezTo>
                    <a:pt x="909" y="1234"/>
                    <a:pt x="912" y="1233"/>
                    <a:pt x="913" y="1228"/>
                  </a:cubicBezTo>
                  <a:cubicBezTo>
                    <a:pt x="916" y="1229"/>
                    <a:pt x="914" y="1235"/>
                    <a:pt x="918" y="1235"/>
                  </a:cubicBezTo>
                  <a:cubicBezTo>
                    <a:pt x="918" y="1239"/>
                    <a:pt x="915" y="1238"/>
                    <a:pt x="913" y="1239"/>
                  </a:cubicBezTo>
                  <a:close/>
                  <a:moveTo>
                    <a:pt x="926" y="119"/>
                  </a:moveTo>
                  <a:cubicBezTo>
                    <a:pt x="923" y="118"/>
                    <a:pt x="924" y="112"/>
                    <a:pt x="923" y="108"/>
                  </a:cubicBezTo>
                  <a:cubicBezTo>
                    <a:pt x="926" y="108"/>
                    <a:pt x="929" y="108"/>
                    <a:pt x="931" y="108"/>
                  </a:cubicBezTo>
                  <a:cubicBezTo>
                    <a:pt x="931" y="112"/>
                    <a:pt x="927" y="113"/>
                    <a:pt x="926" y="119"/>
                  </a:cubicBezTo>
                  <a:close/>
                  <a:moveTo>
                    <a:pt x="931" y="673"/>
                  </a:moveTo>
                  <a:cubicBezTo>
                    <a:pt x="928" y="672"/>
                    <a:pt x="929" y="664"/>
                    <a:pt x="929" y="659"/>
                  </a:cubicBezTo>
                  <a:cubicBezTo>
                    <a:pt x="935" y="660"/>
                    <a:pt x="935" y="668"/>
                    <a:pt x="931" y="673"/>
                  </a:cubicBezTo>
                  <a:close/>
                  <a:moveTo>
                    <a:pt x="956" y="385"/>
                  </a:moveTo>
                  <a:cubicBezTo>
                    <a:pt x="954" y="385"/>
                    <a:pt x="952" y="385"/>
                    <a:pt x="950" y="385"/>
                  </a:cubicBezTo>
                  <a:cubicBezTo>
                    <a:pt x="951" y="382"/>
                    <a:pt x="949" y="381"/>
                    <a:pt x="948" y="381"/>
                  </a:cubicBezTo>
                  <a:cubicBezTo>
                    <a:pt x="947" y="374"/>
                    <a:pt x="960" y="376"/>
                    <a:pt x="956" y="385"/>
                  </a:cubicBezTo>
                  <a:close/>
                  <a:moveTo>
                    <a:pt x="977" y="111"/>
                  </a:moveTo>
                  <a:cubicBezTo>
                    <a:pt x="977" y="108"/>
                    <a:pt x="977" y="104"/>
                    <a:pt x="977" y="100"/>
                  </a:cubicBezTo>
                  <a:cubicBezTo>
                    <a:pt x="980" y="100"/>
                    <a:pt x="983" y="100"/>
                    <a:pt x="985" y="100"/>
                  </a:cubicBezTo>
                  <a:cubicBezTo>
                    <a:pt x="982" y="104"/>
                    <a:pt x="984" y="114"/>
                    <a:pt x="977" y="111"/>
                  </a:cubicBezTo>
                  <a:close/>
                  <a:moveTo>
                    <a:pt x="993" y="688"/>
                  </a:moveTo>
                  <a:cubicBezTo>
                    <a:pt x="993" y="684"/>
                    <a:pt x="993" y="681"/>
                    <a:pt x="993" y="677"/>
                  </a:cubicBezTo>
                  <a:cubicBezTo>
                    <a:pt x="1001" y="672"/>
                    <a:pt x="1001" y="694"/>
                    <a:pt x="993" y="688"/>
                  </a:cubicBezTo>
                  <a:close/>
                  <a:moveTo>
                    <a:pt x="1009" y="1254"/>
                  </a:moveTo>
                  <a:cubicBezTo>
                    <a:pt x="1008" y="1254"/>
                    <a:pt x="1006" y="1254"/>
                    <a:pt x="1004" y="1254"/>
                  </a:cubicBezTo>
                  <a:cubicBezTo>
                    <a:pt x="1003" y="1244"/>
                    <a:pt x="1005" y="1238"/>
                    <a:pt x="1012" y="1239"/>
                  </a:cubicBezTo>
                  <a:cubicBezTo>
                    <a:pt x="1010" y="1242"/>
                    <a:pt x="1008" y="1249"/>
                    <a:pt x="1012" y="1250"/>
                  </a:cubicBezTo>
                  <a:cubicBezTo>
                    <a:pt x="1013" y="1254"/>
                    <a:pt x="1011" y="1254"/>
                    <a:pt x="1009" y="1254"/>
                  </a:cubicBezTo>
                  <a:close/>
                  <a:moveTo>
                    <a:pt x="1039" y="145"/>
                  </a:moveTo>
                  <a:cubicBezTo>
                    <a:pt x="1031" y="158"/>
                    <a:pt x="1030" y="133"/>
                    <a:pt x="1039" y="145"/>
                  </a:cubicBezTo>
                  <a:close/>
                  <a:moveTo>
                    <a:pt x="1074" y="133"/>
                  </a:moveTo>
                  <a:cubicBezTo>
                    <a:pt x="1071" y="132"/>
                    <a:pt x="1068" y="129"/>
                    <a:pt x="1069" y="122"/>
                  </a:cubicBezTo>
                  <a:cubicBezTo>
                    <a:pt x="1071" y="123"/>
                    <a:pt x="1071" y="121"/>
                    <a:pt x="1071" y="119"/>
                  </a:cubicBezTo>
                  <a:cubicBezTo>
                    <a:pt x="1074" y="121"/>
                    <a:pt x="1076" y="123"/>
                    <a:pt x="1079" y="122"/>
                  </a:cubicBezTo>
                  <a:cubicBezTo>
                    <a:pt x="1078" y="126"/>
                    <a:pt x="1073" y="126"/>
                    <a:pt x="1074" y="133"/>
                  </a:cubicBezTo>
                  <a:close/>
                  <a:moveTo>
                    <a:pt x="1085" y="640"/>
                  </a:moveTo>
                  <a:cubicBezTo>
                    <a:pt x="1083" y="640"/>
                    <a:pt x="1081" y="640"/>
                    <a:pt x="1079" y="640"/>
                  </a:cubicBezTo>
                  <a:cubicBezTo>
                    <a:pt x="1079" y="638"/>
                    <a:pt x="1079" y="635"/>
                    <a:pt x="1079" y="633"/>
                  </a:cubicBezTo>
                  <a:cubicBezTo>
                    <a:pt x="1081" y="633"/>
                    <a:pt x="1083" y="633"/>
                    <a:pt x="1085" y="633"/>
                  </a:cubicBezTo>
                  <a:cubicBezTo>
                    <a:pt x="1085" y="635"/>
                    <a:pt x="1085" y="638"/>
                    <a:pt x="1085" y="640"/>
                  </a:cubicBezTo>
                  <a:close/>
                  <a:moveTo>
                    <a:pt x="1096" y="1254"/>
                  </a:moveTo>
                  <a:cubicBezTo>
                    <a:pt x="1094" y="1254"/>
                    <a:pt x="1092" y="1254"/>
                    <a:pt x="1090" y="1254"/>
                  </a:cubicBezTo>
                  <a:cubicBezTo>
                    <a:pt x="1090" y="1252"/>
                    <a:pt x="1090" y="1249"/>
                    <a:pt x="1090" y="1247"/>
                  </a:cubicBezTo>
                  <a:cubicBezTo>
                    <a:pt x="1092" y="1247"/>
                    <a:pt x="1094" y="1247"/>
                    <a:pt x="1096" y="1247"/>
                  </a:cubicBezTo>
                  <a:cubicBezTo>
                    <a:pt x="1096" y="1249"/>
                    <a:pt x="1096" y="1252"/>
                    <a:pt x="1096" y="1254"/>
                  </a:cubicBezTo>
                  <a:close/>
                  <a:moveTo>
                    <a:pt x="1101" y="170"/>
                  </a:moveTo>
                  <a:cubicBezTo>
                    <a:pt x="1109" y="167"/>
                    <a:pt x="1111" y="174"/>
                    <a:pt x="1114" y="178"/>
                  </a:cubicBezTo>
                  <a:cubicBezTo>
                    <a:pt x="1116" y="181"/>
                    <a:pt x="1098" y="181"/>
                    <a:pt x="1101" y="170"/>
                  </a:cubicBezTo>
                  <a:close/>
                  <a:moveTo>
                    <a:pt x="1117" y="119"/>
                  </a:moveTo>
                  <a:cubicBezTo>
                    <a:pt x="1117" y="115"/>
                    <a:pt x="1120" y="116"/>
                    <a:pt x="1122" y="115"/>
                  </a:cubicBezTo>
                  <a:cubicBezTo>
                    <a:pt x="1125" y="115"/>
                    <a:pt x="1128" y="115"/>
                    <a:pt x="1131" y="115"/>
                  </a:cubicBezTo>
                  <a:cubicBezTo>
                    <a:pt x="1131" y="123"/>
                    <a:pt x="1121" y="117"/>
                    <a:pt x="1117" y="119"/>
                  </a:cubicBezTo>
                  <a:close/>
                  <a:moveTo>
                    <a:pt x="1125" y="1265"/>
                  </a:moveTo>
                  <a:cubicBezTo>
                    <a:pt x="1118" y="1258"/>
                    <a:pt x="1128" y="1249"/>
                    <a:pt x="1122" y="1239"/>
                  </a:cubicBezTo>
                  <a:cubicBezTo>
                    <a:pt x="1135" y="1240"/>
                    <a:pt x="1123" y="1256"/>
                    <a:pt x="1125" y="1265"/>
                  </a:cubicBezTo>
                  <a:close/>
                  <a:moveTo>
                    <a:pt x="1147" y="178"/>
                  </a:moveTo>
                  <a:cubicBezTo>
                    <a:pt x="1140" y="190"/>
                    <a:pt x="1134" y="168"/>
                    <a:pt x="1147" y="178"/>
                  </a:cubicBezTo>
                  <a:close/>
                  <a:moveTo>
                    <a:pt x="1171" y="189"/>
                  </a:moveTo>
                  <a:cubicBezTo>
                    <a:pt x="1167" y="185"/>
                    <a:pt x="1161" y="185"/>
                    <a:pt x="1157" y="182"/>
                  </a:cubicBezTo>
                  <a:cubicBezTo>
                    <a:pt x="1159" y="174"/>
                    <a:pt x="1176" y="175"/>
                    <a:pt x="1171" y="189"/>
                  </a:cubicBezTo>
                  <a:close/>
                  <a:moveTo>
                    <a:pt x="1176" y="1217"/>
                  </a:moveTo>
                  <a:cubicBezTo>
                    <a:pt x="1176" y="1214"/>
                    <a:pt x="1181" y="1213"/>
                    <a:pt x="1184" y="1213"/>
                  </a:cubicBezTo>
                  <a:cubicBezTo>
                    <a:pt x="1183" y="1213"/>
                    <a:pt x="1190" y="1219"/>
                    <a:pt x="1190" y="1217"/>
                  </a:cubicBezTo>
                  <a:cubicBezTo>
                    <a:pt x="1192" y="1224"/>
                    <a:pt x="1181" y="1219"/>
                    <a:pt x="1176" y="1217"/>
                  </a:cubicBezTo>
                  <a:close/>
                  <a:moveTo>
                    <a:pt x="1187" y="592"/>
                  </a:moveTo>
                  <a:cubicBezTo>
                    <a:pt x="1190" y="580"/>
                    <a:pt x="1190" y="602"/>
                    <a:pt x="1190" y="607"/>
                  </a:cubicBezTo>
                  <a:cubicBezTo>
                    <a:pt x="1187" y="619"/>
                    <a:pt x="1187" y="597"/>
                    <a:pt x="1187" y="592"/>
                  </a:cubicBezTo>
                  <a:close/>
                  <a:moveTo>
                    <a:pt x="1192" y="577"/>
                  </a:moveTo>
                  <a:cubicBezTo>
                    <a:pt x="1191" y="577"/>
                    <a:pt x="1190" y="574"/>
                    <a:pt x="1190" y="574"/>
                  </a:cubicBezTo>
                  <a:cubicBezTo>
                    <a:pt x="1188" y="573"/>
                    <a:pt x="1186" y="576"/>
                    <a:pt x="1187" y="577"/>
                  </a:cubicBezTo>
                  <a:cubicBezTo>
                    <a:pt x="1185" y="575"/>
                    <a:pt x="1185" y="574"/>
                    <a:pt x="1187" y="574"/>
                  </a:cubicBezTo>
                  <a:cubicBezTo>
                    <a:pt x="1188" y="573"/>
                    <a:pt x="1189" y="569"/>
                    <a:pt x="1192" y="570"/>
                  </a:cubicBezTo>
                  <a:cubicBezTo>
                    <a:pt x="1192" y="570"/>
                    <a:pt x="1204" y="581"/>
                    <a:pt x="1192" y="577"/>
                  </a:cubicBezTo>
                  <a:close/>
                  <a:moveTo>
                    <a:pt x="1200" y="133"/>
                  </a:moveTo>
                  <a:cubicBezTo>
                    <a:pt x="1203" y="133"/>
                    <a:pt x="1203" y="137"/>
                    <a:pt x="1203" y="137"/>
                  </a:cubicBezTo>
                  <a:cubicBezTo>
                    <a:pt x="1207" y="137"/>
                    <a:pt x="1219" y="134"/>
                    <a:pt x="1217" y="145"/>
                  </a:cubicBezTo>
                  <a:cubicBezTo>
                    <a:pt x="1213" y="139"/>
                    <a:pt x="1205" y="141"/>
                    <a:pt x="1198" y="141"/>
                  </a:cubicBezTo>
                  <a:cubicBezTo>
                    <a:pt x="1199" y="141"/>
                    <a:pt x="1200" y="134"/>
                    <a:pt x="1200" y="133"/>
                  </a:cubicBezTo>
                  <a:close/>
                  <a:moveTo>
                    <a:pt x="1200" y="189"/>
                  </a:moveTo>
                  <a:cubicBezTo>
                    <a:pt x="1201" y="184"/>
                    <a:pt x="1207" y="186"/>
                    <a:pt x="1211" y="185"/>
                  </a:cubicBezTo>
                  <a:cubicBezTo>
                    <a:pt x="1210" y="194"/>
                    <a:pt x="1204" y="194"/>
                    <a:pt x="1200" y="189"/>
                  </a:cubicBezTo>
                  <a:close/>
                  <a:moveTo>
                    <a:pt x="1208" y="1269"/>
                  </a:moveTo>
                  <a:cubicBezTo>
                    <a:pt x="1205" y="1257"/>
                    <a:pt x="1213" y="1260"/>
                    <a:pt x="1214" y="1254"/>
                  </a:cubicBezTo>
                  <a:cubicBezTo>
                    <a:pt x="1217" y="1255"/>
                    <a:pt x="1216" y="1263"/>
                    <a:pt x="1217" y="1269"/>
                  </a:cubicBezTo>
                  <a:cubicBezTo>
                    <a:pt x="1214" y="1269"/>
                    <a:pt x="1211" y="1269"/>
                    <a:pt x="1208" y="1269"/>
                  </a:cubicBezTo>
                  <a:close/>
                  <a:moveTo>
                    <a:pt x="1214" y="237"/>
                  </a:moveTo>
                  <a:cubicBezTo>
                    <a:pt x="1213" y="243"/>
                    <a:pt x="1210" y="236"/>
                    <a:pt x="1206" y="237"/>
                  </a:cubicBezTo>
                  <a:cubicBezTo>
                    <a:pt x="1208" y="227"/>
                    <a:pt x="1202" y="227"/>
                    <a:pt x="1203" y="218"/>
                  </a:cubicBezTo>
                  <a:cubicBezTo>
                    <a:pt x="1206" y="217"/>
                    <a:pt x="1207" y="226"/>
                    <a:pt x="1208" y="226"/>
                  </a:cubicBezTo>
                  <a:cubicBezTo>
                    <a:pt x="1213" y="227"/>
                    <a:pt x="1215" y="211"/>
                    <a:pt x="1222" y="222"/>
                  </a:cubicBezTo>
                  <a:cubicBezTo>
                    <a:pt x="1220" y="227"/>
                    <a:pt x="1204" y="229"/>
                    <a:pt x="1214" y="237"/>
                  </a:cubicBezTo>
                  <a:close/>
                  <a:moveTo>
                    <a:pt x="1340" y="152"/>
                  </a:moveTo>
                  <a:cubicBezTo>
                    <a:pt x="1341" y="154"/>
                    <a:pt x="1333" y="158"/>
                    <a:pt x="1332" y="156"/>
                  </a:cubicBezTo>
                  <a:cubicBezTo>
                    <a:pt x="1332" y="155"/>
                    <a:pt x="1332" y="152"/>
                    <a:pt x="1332" y="152"/>
                  </a:cubicBezTo>
                  <a:cubicBezTo>
                    <a:pt x="1329" y="152"/>
                    <a:pt x="1324" y="159"/>
                    <a:pt x="1321" y="152"/>
                  </a:cubicBezTo>
                  <a:cubicBezTo>
                    <a:pt x="1323" y="144"/>
                    <a:pt x="1338" y="148"/>
                    <a:pt x="1340" y="152"/>
                  </a:cubicBezTo>
                  <a:close/>
                  <a:moveTo>
                    <a:pt x="1316" y="574"/>
                  </a:moveTo>
                  <a:cubicBezTo>
                    <a:pt x="1314" y="561"/>
                    <a:pt x="1320" y="559"/>
                    <a:pt x="1319" y="548"/>
                  </a:cubicBezTo>
                  <a:cubicBezTo>
                    <a:pt x="1328" y="549"/>
                    <a:pt x="1324" y="574"/>
                    <a:pt x="1316" y="574"/>
                  </a:cubicBezTo>
                  <a:close/>
                  <a:moveTo>
                    <a:pt x="1281" y="130"/>
                  </a:moveTo>
                  <a:cubicBezTo>
                    <a:pt x="1285" y="118"/>
                    <a:pt x="1285" y="140"/>
                    <a:pt x="1278" y="137"/>
                  </a:cubicBezTo>
                  <a:cubicBezTo>
                    <a:pt x="1273" y="134"/>
                    <a:pt x="1281" y="135"/>
                    <a:pt x="1281" y="130"/>
                  </a:cubicBezTo>
                  <a:close/>
                  <a:moveTo>
                    <a:pt x="1260" y="137"/>
                  </a:moveTo>
                  <a:cubicBezTo>
                    <a:pt x="1267" y="141"/>
                    <a:pt x="1273" y="146"/>
                    <a:pt x="1284" y="145"/>
                  </a:cubicBezTo>
                  <a:cubicBezTo>
                    <a:pt x="1286" y="157"/>
                    <a:pt x="1278" y="151"/>
                    <a:pt x="1276" y="148"/>
                  </a:cubicBezTo>
                  <a:cubicBezTo>
                    <a:pt x="1274" y="158"/>
                    <a:pt x="1277" y="162"/>
                    <a:pt x="1284" y="159"/>
                  </a:cubicBezTo>
                  <a:cubicBezTo>
                    <a:pt x="1294" y="168"/>
                    <a:pt x="1255" y="158"/>
                    <a:pt x="1265" y="167"/>
                  </a:cubicBezTo>
                  <a:cubicBezTo>
                    <a:pt x="1264" y="177"/>
                    <a:pt x="1256" y="167"/>
                    <a:pt x="1260" y="159"/>
                  </a:cubicBezTo>
                  <a:cubicBezTo>
                    <a:pt x="1257" y="159"/>
                    <a:pt x="1254" y="159"/>
                    <a:pt x="1251" y="159"/>
                  </a:cubicBezTo>
                  <a:cubicBezTo>
                    <a:pt x="1251" y="153"/>
                    <a:pt x="1268" y="153"/>
                    <a:pt x="1268" y="159"/>
                  </a:cubicBezTo>
                  <a:cubicBezTo>
                    <a:pt x="1270" y="157"/>
                    <a:pt x="1272" y="153"/>
                    <a:pt x="1273" y="148"/>
                  </a:cubicBezTo>
                  <a:cubicBezTo>
                    <a:pt x="1264" y="154"/>
                    <a:pt x="1261" y="150"/>
                    <a:pt x="1251" y="148"/>
                  </a:cubicBezTo>
                  <a:cubicBezTo>
                    <a:pt x="1247" y="135"/>
                    <a:pt x="1261" y="146"/>
                    <a:pt x="1260" y="137"/>
                  </a:cubicBezTo>
                  <a:close/>
                  <a:moveTo>
                    <a:pt x="1276" y="237"/>
                  </a:moveTo>
                  <a:cubicBezTo>
                    <a:pt x="1274" y="237"/>
                    <a:pt x="1272" y="237"/>
                    <a:pt x="1270" y="237"/>
                  </a:cubicBezTo>
                  <a:cubicBezTo>
                    <a:pt x="1270" y="231"/>
                    <a:pt x="1273" y="231"/>
                    <a:pt x="1273" y="226"/>
                  </a:cubicBezTo>
                  <a:cubicBezTo>
                    <a:pt x="1279" y="228"/>
                    <a:pt x="1279" y="232"/>
                    <a:pt x="1276" y="237"/>
                  </a:cubicBezTo>
                  <a:close/>
                  <a:moveTo>
                    <a:pt x="1260" y="237"/>
                  </a:moveTo>
                  <a:cubicBezTo>
                    <a:pt x="1255" y="238"/>
                    <a:pt x="1254" y="234"/>
                    <a:pt x="1254" y="230"/>
                  </a:cubicBezTo>
                  <a:cubicBezTo>
                    <a:pt x="1240" y="238"/>
                    <a:pt x="1262" y="214"/>
                    <a:pt x="1260" y="237"/>
                  </a:cubicBezTo>
                  <a:close/>
                  <a:moveTo>
                    <a:pt x="1254" y="614"/>
                  </a:moveTo>
                  <a:cubicBezTo>
                    <a:pt x="1248" y="625"/>
                    <a:pt x="1253" y="587"/>
                    <a:pt x="1254" y="581"/>
                  </a:cubicBezTo>
                  <a:cubicBezTo>
                    <a:pt x="1258" y="583"/>
                    <a:pt x="1259" y="586"/>
                    <a:pt x="1260" y="592"/>
                  </a:cubicBezTo>
                  <a:cubicBezTo>
                    <a:pt x="1260" y="600"/>
                    <a:pt x="1250" y="603"/>
                    <a:pt x="1254" y="614"/>
                  </a:cubicBezTo>
                  <a:close/>
                  <a:moveTo>
                    <a:pt x="1227" y="148"/>
                  </a:moveTo>
                  <a:cubicBezTo>
                    <a:pt x="1225" y="149"/>
                    <a:pt x="1225" y="147"/>
                    <a:pt x="1225" y="145"/>
                  </a:cubicBezTo>
                  <a:cubicBezTo>
                    <a:pt x="1225" y="142"/>
                    <a:pt x="1225" y="140"/>
                    <a:pt x="1225" y="137"/>
                  </a:cubicBezTo>
                  <a:cubicBezTo>
                    <a:pt x="1233" y="134"/>
                    <a:pt x="1234" y="141"/>
                    <a:pt x="1241" y="141"/>
                  </a:cubicBezTo>
                  <a:cubicBezTo>
                    <a:pt x="1239" y="145"/>
                    <a:pt x="1235" y="145"/>
                    <a:pt x="1235" y="152"/>
                  </a:cubicBezTo>
                  <a:cubicBezTo>
                    <a:pt x="1233" y="152"/>
                    <a:pt x="1230" y="136"/>
                    <a:pt x="1227" y="148"/>
                  </a:cubicBezTo>
                  <a:close/>
                  <a:moveTo>
                    <a:pt x="1230" y="588"/>
                  </a:moveTo>
                  <a:cubicBezTo>
                    <a:pt x="1229" y="580"/>
                    <a:pt x="1230" y="574"/>
                    <a:pt x="1233" y="570"/>
                  </a:cubicBezTo>
                  <a:cubicBezTo>
                    <a:pt x="1235" y="572"/>
                    <a:pt x="1237" y="574"/>
                    <a:pt x="1238" y="570"/>
                  </a:cubicBezTo>
                  <a:cubicBezTo>
                    <a:pt x="1244" y="574"/>
                    <a:pt x="1234" y="587"/>
                    <a:pt x="1238" y="599"/>
                  </a:cubicBezTo>
                  <a:cubicBezTo>
                    <a:pt x="1232" y="601"/>
                    <a:pt x="1240" y="583"/>
                    <a:pt x="1230" y="588"/>
                  </a:cubicBezTo>
                  <a:close/>
                  <a:moveTo>
                    <a:pt x="1238" y="1273"/>
                  </a:moveTo>
                  <a:cubicBezTo>
                    <a:pt x="1246" y="1259"/>
                    <a:pt x="1247" y="1284"/>
                    <a:pt x="1238" y="1273"/>
                  </a:cubicBezTo>
                  <a:close/>
                  <a:moveTo>
                    <a:pt x="1254" y="1239"/>
                  </a:moveTo>
                  <a:cubicBezTo>
                    <a:pt x="1257" y="1241"/>
                    <a:pt x="1260" y="1244"/>
                    <a:pt x="1260" y="1250"/>
                  </a:cubicBezTo>
                  <a:cubicBezTo>
                    <a:pt x="1256" y="1249"/>
                    <a:pt x="1254" y="1246"/>
                    <a:pt x="1254" y="1239"/>
                  </a:cubicBezTo>
                  <a:close/>
                  <a:moveTo>
                    <a:pt x="1260" y="1235"/>
                  </a:moveTo>
                  <a:cubicBezTo>
                    <a:pt x="1251" y="1233"/>
                    <a:pt x="1246" y="1228"/>
                    <a:pt x="1238" y="1225"/>
                  </a:cubicBezTo>
                  <a:cubicBezTo>
                    <a:pt x="1238" y="1215"/>
                    <a:pt x="1247" y="1223"/>
                    <a:pt x="1249" y="1225"/>
                  </a:cubicBezTo>
                  <a:cubicBezTo>
                    <a:pt x="1251" y="1224"/>
                    <a:pt x="1251" y="1220"/>
                    <a:pt x="1251" y="1217"/>
                  </a:cubicBezTo>
                  <a:cubicBezTo>
                    <a:pt x="1260" y="1215"/>
                    <a:pt x="1260" y="1225"/>
                    <a:pt x="1260" y="1235"/>
                  </a:cubicBezTo>
                  <a:close/>
                  <a:moveTo>
                    <a:pt x="1260" y="193"/>
                  </a:moveTo>
                  <a:cubicBezTo>
                    <a:pt x="1265" y="183"/>
                    <a:pt x="1269" y="196"/>
                    <a:pt x="1276" y="189"/>
                  </a:cubicBezTo>
                  <a:cubicBezTo>
                    <a:pt x="1278" y="203"/>
                    <a:pt x="1261" y="196"/>
                    <a:pt x="1260" y="193"/>
                  </a:cubicBezTo>
                  <a:close/>
                  <a:moveTo>
                    <a:pt x="1270" y="1261"/>
                  </a:moveTo>
                  <a:cubicBezTo>
                    <a:pt x="1274" y="1262"/>
                    <a:pt x="1271" y="1273"/>
                    <a:pt x="1276" y="1273"/>
                  </a:cubicBezTo>
                  <a:cubicBezTo>
                    <a:pt x="1274" y="1282"/>
                    <a:pt x="1268" y="1269"/>
                    <a:pt x="1270" y="1261"/>
                  </a:cubicBezTo>
                  <a:close/>
                  <a:moveTo>
                    <a:pt x="1284" y="1232"/>
                  </a:moveTo>
                  <a:cubicBezTo>
                    <a:pt x="1281" y="1228"/>
                    <a:pt x="1274" y="1231"/>
                    <a:pt x="1276" y="1221"/>
                  </a:cubicBezTo>
                  <a:cubicBezTo>
                    <a:pt x="1282" y="1220"/>
                    <a:pt x="1284" y="1224"/>
                    <a:pt x="1284" y="1232"/>
                  </a:cubicBezTo>
                  <a:close/>
                  <a:moveTo>
                    <a:pt x="1286" y="603"/>
                  </a:moveTo>
                  <a:cubicBezTo>
                    <a:pt x="1277" y="603"/>
                    <a:pt x="1292" y="591"/>
                    <a:pt x="1284" y="592"/>
                  </a:cubicBezTo>
                  <a:cubicBezTo>
                    <a:pt x="1290" y="581"/>
                    <a:pt x="1289" y="597"/>
                    <a:pt x="1286" y="603"/>
                  </a:cubicBezTo>
                  <a:close/>
                  <a:moveTo>
                    <a:pt x="1292" y="585"/>
                  </a:moveTo>
                  <a:cubicBezTo>
                    <a:pt x="1285" y="584"/>
                    <a:pt x="1286" y="572"/>
                    <a:pt x="1286" y="562"/>
                  </a:cubicBezTo>
                  <a:cubicBezTo>
                    <a:pt x="1296" y="559"/>
                    <a:pt x="1290" y="577"/>
                    <a:pt x="1292" y="585"/>
                  </a:cubicBezTo>
                  <a:close/>
                  <a:moveTo>
                    <a:pt x="1292" y="152"/>
                  </a:moveTo>
                  <a:cubicBezTo>
                    <a:pt x="1283" y="149"/>
                    <a:pt x="1317" y="141"/>
                    <a:pt x="1313" y="156"/>
                  </a:cubicBezTo>
                  <a:cubicBezTo>
                    <a:pt x="1309" y="150"/>
                    <a:pt x="1300" y="152"/>
                    <a:pt x="1292" y="152"/>
                  </a:cubicBezTo>
                  <a:close/>
                  <a:moveTo>
                    <a:pt x="1316" y="170"/>
                  </a:moveTo>
                  <a:cubicBezTo>
                    <a:pt x="1315" y="175"/>
                    <a:pt x="1313" y="178"/>
                    <a:pt x="1308" y="178"/>
                  </a:cubicBezTo>
                  <a:cubicBezTo>
                    <a:pt x="1309" y="173"/>
                    <a:pt x="1311" y="170"/>
                    <a:pt x="1316" y="170"/>
                  </a:cubicBezTo>
                  <a:close/>
                  <a:moveTo>
                    <a:pt x="1294" y="603"/>
                  </a:moveTo>
                  <a:cubicBezTo>
                    <a:pt x="1297" y="600"/>
                    <a:pt x="1297" y="595"/>
                    <a:pt x="1297" y="588"/>
                  </a:cubicBezTo>
                  <a:cubicBezTo>
                    <a:pt x="1305" y="589"/>
                    <a:pt x="1302" y="604"/>
                    <a:pt x="1294" y="603"/>
                  </a:cubicBezTo>
                  <a:close/>
                  <a:moveTo>
                    <a:pt x="1305" y="577"/>
                  </a:moveTo>
                  <a:cubicBezTo>
                    <a:pt x="1303" y="585"/>
                    <a:pt x="1304" y="585"/>
                    <a:pt x="1303" y="577"/>
                  </a:cubicBezTo>
                  <a:cubicBezTo>
                    <a:pt x="1303" y="569"/>
                    <a:pt x="1306" y="562"/>
                    <a:pt x="1308" y="555"/>
                  </a:cubicBezTo>
                  <a:cubicBezTo>
                    <a:pt x="1312" y="552"/>
                    <a:pt x="1308" y="570"/>
                    <a:pt x="1305" y="577"/>
                  </a:cubicBezTo>
                  <a:close/>
                  <a:moveTo>
                    <a:pt x="1300" y="200"/>
                  </a:moveTo>
                  <a:cubicBezTo>
                    <a:pt x="1301" y="192"/>
                    <a:pt x="1313" y="198"/>
                    <a:pt x="1319" y="196"/>
                  </a:cubicBezTo>
                  <a:cubicBezTo>
                    <a:pt x="1317" y="202"/>
                    <a:pt x="1315" y="206"/>
                    <a:pt x="1313" y="211"/>
                  </a:cubicBezTo>
                  <a:cubicBezTo>
                    <a:pt x="1306" y="211"/>
                    <a:pt x="1310" y="195"/>
                    <a:pt x="1300" y="200"/>
                  </a:cubicBezTo>
                  <a:close/>
                  <a:moveTo>
                    <a:pt x="1324" y="603"/>
                  </a:moveTo>
                  <a:cubicBezTo>
                    <a:pt x="1322" y="601"/>
                    <a:pt x="1317" y="597"/>
                    <a:pt x="1316" y="603"/>
                  </a:cubicBezTo>
                  <a:cubicBezTo>
                    <a:pt x="1313" y="602"/>
                    <a:pt x="1314" y="599"/>
                    <a:pt x="1316" y="599"/>
                  </a:cubicBezTo>
                  <a:cubicBezTo>
                    <a:pt x="1316" y="595"/>
                    <a:pt x="1315" y="593"/>
                    <a:pt x="1313" y="592"/>
                  </a:cubicBezTo>
                  <a:cubicBezTo>
                    <a:pt x="1316" y="582"/>
                    <a:pt x="1328" y="592"/>
                    <a:pt x="1324" y="603"/>
                  </a:cubicBezTo>
                  <a:close/>
                  <a:moveTo>
                    <a:pt x="1327" y="607"/>
                  </a:moveTo>
                  <a:cubicBezTo>
                    <a:pt x="1330" y="608"/>
                    <a:pt x="1329" y="614"/>
                    <a:pt x="1332" y="614"/>
                  </a:cubicBezTo>
                  <a:cubicBezTo>
                    <a:pt x="1331" y="624"/>
                    <a:pt x="1324" y="614"/>
                    <a:pt x="1327" y="607"/>
                  </a:cubicBezTo>
                  <a:close/>
                  <a:moveTo>
                    <a:pt x="1329" y="1235"/>
                  </a:moveTo>
                  <a:cubicBezTo>
                    <a:pt x="1329" y="1232"/>
                    <a:pt x="1329" y="1228"/>
                    <a:pt x="1329" y="1225"/>
                  </a:cubicBezTo>
                  <a:cubicBezTo>
                    <a:pt x="1337" y="1219"/>
                    <a:pt x="1337" y="1241"/>
                    <a:pt x="1329" y="1235"/>
                  </a:cubicBezTo>
                  <a:close/>
                  <a:moveTo>
                    <a:pt x="1329" y="555"/>
                  </a:moveTo>
                  <a:cubicBezTo>
                    <a:pt x="1329" y="551"/>
                    <a:pt x="1337" y="542"/>
                    <a:pt x="1338" y="551"/>
                  </a:cubicBezTo>
                  <a:cubicBezTo>
                    <a:pt x="1337" y="555"/>
                    <a:pt x="1339" y="555"/>
                    <a:pt x="1340" y="555"/>
                  </a:cubicBezTo>
                  <a:cubicBezTo>
                    <a:pt x="1338" y="566"/>
                    <a:pt x="1334" y="552"/>
                    <a:pt x="1329" y="555"/>
                  </a:cubicBezTo>
                  <a:close/>
                  <a:moveTo>
                    <a:pt x="1348" y="1232"/>
                  </a:moveTo>
                  <a:cubicBezTo>
                    <a:pt x="1348" y="1236"/>
                    <a:pt x="1349" y="1238"/>
                    <a:pt x="1351" y="1239"/>
                  </a:cubicBezTo>
                  <a:cubicBezTo>
                    <a:pt x="1346" y="1252"/>
                    <a:pt x="1347" y="1229"/>
                    <a:pt x="1338" y="1235"/>
                  </a:cubicBezTo>
                  <a:cubicBezTo>
                    <a:pt x="1338" y="1226"/>
                    <a:pt x="1347" y="1228"/>
                    <a:pt x="1354" y="1228"/>
                  </a:cubicBezTo>
                  <a:cubicBezTo>
                    <a:pt x="1354" y="1232"/>
                    <a:pt x="1350" y="1231"/>
                    <a:pt x="1348" y="1232"/>
                  </a:cubicBezTo>
                  <a:close/>
                  <a:moveTo>
                    <a:pt x="1628" y="326"/>
                  </a:moveTo>
                  <a:cubicBezTo>
                    <a:pt x="1627" y="327"/>
                    <a:pt x="1624" y="337"/>
                    <a:pt x="1623" y="337"/>
                  </a:cubicBezTo>
                  <a:cubicBezTo>
                    <a:pt x="1619" y="338"/>
                    <a:pt x="1619" y="324"/>
                    <a:pt x="1628" y="326"/>
                  </a:cubicBezTo>
                  <a:close/>
                  <a:moveTo>
                    <a:pt x="1628" y="1202"/>
                  </a:moveTo>
                  <a:cubicBezTo>
                    <a:pt x="1625" y="1201"/>
                    <a:pt x="1622" y="1198"/>
                    <a:pt x="1623" y="1191"/>
                  </a:cubicBezTo>
                  <a:cubicBezTo>
                    <a:pt x="1626" y="1193"/>
                    <a:pt x="1628" y="1196"/>
                    <a:pt x="1628" y="1202"/>
                  </a:cubicBezTo>
                  <a:close/>
                  <a:moveTo>
                    <a:pt x="1617" y="1235"/>
                  </a:moveTo>
                  <a:cubicBezTo>
                    <a:pt x="1611" y="1248"/>
                    <a:pt x="1604" y="1225"/>
                    <a:pt x="1617" y="1235"/>
                  </a:cubicBezTo>
                  <a:close/>
                  <a:moveTo>
                    <a:pt x="1609" y="1180"/>
                  </a:moveTo>
                  <a:cubicBezTo>
                    <a:pt x="1607" y="1179"/>
                    <a:pt x="1607" y="1182"/>
                    <a:pt x="1606" y="1184"/>
                  </a:cubicBezTo>
                  <a:cubicBezTo>
                    <a:pt x="1603" y="1183"/>
                    <a:pt x="1604" y="1177"/>
                    <a:pt x="1604" y="1173"/>
                  </a:cubicBezTo>
                  <a:cubicBezTo>
                    <a:pt x="1608" y="1171"/>
                    <a:pt x="1609" y="1176"/>
                    <a:pt x="1609" y="1180"/>
                  </a:cubicBezTo>
                  <a:close/>
                  <a:moveTo>
                    <a:pt x="1604" y="226"/>
                  </a:moveTo>
                  <a:cubicBezTo>
                    <a:pt x="1608" y="225"/>
                    <a:pt x="1608" y="247"/>
                    <a:pt x="1601" y="241"/>
                  </a:cubicBezTo>
                  <a:cubicBezTo>
                    <a:pt x="1600" y="233"/>
                    <a:pt x="1603" y="231"/>
                    <a:pt x="1604" y="226"/>
                  </a:cubicBezTo>
                  <a:close/>
                  <a:moveTo>
                    <a:pt x="1604" y="740"/>
                  </a:moveTo>
                  <a:cubicBezTo>
                    <a:pt x="1603" y="743"/>
                    <a:pt x="1605" y="743"/>
                    <a:pt x="1606" y="744"/>
                  </a:cubicBezTo>
                  <a:cubicBezTo>
                    <a:pt x="1605" y="755"/>
                    <a:pt x="1601" y="740"/>
                    <a:pt x="1596" y="744"/>
                  </a:cubicBezTo>
                  <a:cubicBezTo>
                    <a:pt x="1595" y="739"/>
                    <a:pt x="1603" y="731"/>
                    <a:pt x="1604" y="740"/>
                  </a:cubicBezTo>
                  <a:close/>
                  <a:moveTo>
                    <a:pt x="1593" y="551"/>
                  </a:moveTo>
                  <a:cubicBezTo>
                    <a:pt x="1599" y="553"/>
                    <a:pt x="1595" y="571"/>
                    <a:pt x="1593" y="574"/>
                  </a:cubicBezTo>
                  <a:cubicBezTo>
                    <a:pt x="1585" y="570"/>
                    <a:pt x="1594" y="558"/>
                    <a:pt x="1593" y="551"/>
                  </a:cubicBezTo>
                  <a:close/>
                  <a:moveTo>
                    <a:pt x="1588" y="611"/>
                  </a:moveTo>
                  <a:cubicBezTo>
                    <a:pt x="1589" y="600"/>
                    <a:pt x="1592" y="616"/>
                    <a:pt x="1596" y="614"/>
                  </a:cubicBezTo>
                  <a:cubicBezTo>
                    <a:pt x="1595" y="619"/>
                    <a:pt x="1591" y="617"/>
                    <a:pt x="1588" y="618"/>
                  </a:cubicBezTo>
                  <a:cubicBezTo>
                    <a:pt x="1587" y="615"/>
                    <a:pt x="1589" y="614"/>
                    <a:pt x="1590" y="614"/>
                  </a:cubicBezTo>
                  <a:cubicBezTo>
                    <a:pt x="1591" y="611"/>
                    <a:pt x="1589" y="611"/>
                    <a:pt x="1588" y="611"/>
                  </a:cubicBezTo>
                  <a:close/>
                  <a:moveTo>
                    <a:pt x="1593" y="636"/>
                  </a:moveTo>
                  <a:cubicBezTo>
                    <a:pt x="1593" y="639"/>
                    <a:pt x="1593" y="641"/>
                    <a:pt x="1593" y="644"/>
                  </a:cubicBezTo>
                  <a:cubicBezTo>
                    <a:pt x="1580" y="648"/>
                    <a:pt x="1588" y="624"/>
                    <a:pt x="1593" y="636"/>
                  </a:cubicBezTo>
                  <a:close/>
                  <a:moveTo>
                    <a:pt x="1580" y="577"/>
                  </a:moveTo>
                  <a:cubicBezTo>
                    <a:pt x="1581" y="567"/>
                    <a:pt x="1583" y="586"/>
                    <a:pt x="1582" y="588"/>
                  </a:cubicBezTo>
                  <a:cubicBezTo>
                    <a:pt x="1581" y="596"/>
                    <a:pt x="1577" y="591"/>
                    <a:pt x="1580" y="577"/>
                  </a:cubicBezTo>
                  <a:close/>
                  <a:moveTo>
                    <a:pt x="1577" y="263"/>
                  </a:moveTo>
                  <a:cubicBezTo>
                    <a:pt x="1575" y="274"/>
                    <a:pt x="1571" y="259"/>
                    <a:pt x="1566" y="263"/>
                  </a:cubicBezTo>
                  <a:cubicBezTo>
                    <a:pt x="1566" y="258"/>
                    <a:pt x="1566" y="252"/>
                    <a:pt x="1563" y="252"/>
                  </a:cubicBezTo>
                  <a:cubicBezTo>
                    <a:pt x="1565" y="245"/>
                    <a:pt x="1568" y="251"/>
                    <a:pt x="1569" y="252"/>
                  </a:cubicBezTo>
                  <a:cubicBezTo>
                    <a:pt x="1570" y="252"/>
                    <a:pt x="1573" y="251"/>
                    <a:pt x="1574" y="252"/>
                  </a:cubicBezTo>
                  <a:cubicBezTo>
                    <a:pt x="1574" y="252"/>
                    <a:pt x="1570" y="268"/>
                    <a:pt x="1577" y="263"/>
                  </a:cubicBezTo>
                  <a:close/>
                  <a:moveTo>
                    <a:pt x="1563" y="707"/>
                  </a:moveTo>
                  <a:cubicBezTo>
                    <a:pt x="1561" y="705"/>
                    <a:pt x="1561" y="704"/>
                    <a:pt x="1563" y="703"/>
                  </a:cubicBezTo>
                  <a:cubicBezTo>
                    <a:pt x="1564" y="703"/>
                    <a:pt x="1563" y="700"/>
                    <a:pt x="1563" y="699"/>
                  </a:cubicBezTo>
                  <a:cubicBezTo>
                    <a:pt x="1566" y="696"/>
                    <a:pt x="1570" y="704"/>
                    <a:pt x="1569" y="707"/>
                  </a:cubicBezTo>
                  <a:cubicBezTo>
                    <a:pt x="1567" y="710"/>
                    <a:pt x="1566" y="703"/>
                    <a:pt x="1566" y="703"/>
                  </a:cubicBezTo>
                  <a:cubicBezTo>
                    <a:pt x="1565" y="703"/>
                    <a:pt x="1562" y="706"/>
                    <a:pt x="1563" y="707"/>
                  </a:cubicBezTo>
                  <a:close/>
                  <a:moveTo>
                    <a:pt x="1566" y="640"/>
                  </a:moveTo>
                  <a:cubicBezTo>
                    <a:pt x="1564" y="640"/>
                    <a:pt x="1562" y="635"/>
                    <a:pt x="1558" y="636"/>
                  </a:cubicBezTo>
                  <a:cubicBezTo>
                    <a:pt x="1561" y="630"/>
                    <a:pt x="1569" y="630"/>
                    <a:pt x="1571" y="633"/>
                  </a:cubicBezTo>
                  <a:cubicBezTo>
                    <a:pt x="1573" y="634"/>
                    <a:pt x="1567" y="640"/>
                    <a:pt x="1566" y="640"/>
                  </a:cubicBezTo>
                  <a:close/>
                  <a:moveTo>
                    <a:pt x="1561" y="618"/>
                  </a:moveTo>
                  <a:cubicBezTo>
                    <a:pt x="1569" y="604"/>
                    <a:pt x="1570" y="629"/>
                    <a:pt x="1561" y="618"/>
                  </a:cubicBezTo>
                  <a:close/>
                  <a:moveTo>
                    <a:pt x="1569" y="599"/>
                  </a:moveTo>
                  <a:cubicBezTo>
                    <a:pt x="1569" y="594"/>
                    <a:pt x="1569" y="589"/>
                    <a:pt x="1566" y="588"/>
                  </a:cubicBezTo>
                  <a:cubicBezTo>
                    <a:pt x="1566" y="585"/>
                    <a:pt x="1567" y="585"/>
                    <a:pt x="1569" y="585"/>
                  </a:cubicBezTo>
                  <a:cubicBezTo>
                    <a:pt x="1571" y="585"/>
                    <a:pt x="1572" y="585"/>
                    <a:pt x="1574" y="585"/>
                  </a:cubicBezTo>
                  <a:cubicBezTo>
                    <a:pt x="1571" y="596"/>
                    <a:pt x="1573" y="594"/>
                    <a:pt x="1577" y="603"/>
                  </a:cubicBezTo>
                  <a:cubicBezTo>
                    <a:pt x="1574" y="616"/>
                    <a:pt x="1576" y="593"/>
                    <a:pt x="1569" y="599"/>
                  </a:cubicBezTo>
                  <a:close/>
                  <a:moveTo>
                    <a:pt x="1539" y="196"/>
                  </a:moveTo>
                  <a:cubicBezTo>
                    <a:pt x="1546" y="192"/>
                    <a:pt x="1550" y="207"/>
                    <a:pt x="1553" y="196"/>
                  </a:cubicBezTo>
                  <a:cubicBezTo>
                    <a:pt x="1556" y="198"/>
                    <a:pt x="1553" y="203"/>
                    <a:pt x="1550" y="204"/>
                  </a:cubicBezTo>
                  <a:cubicBezTo>
                    <a:pt x="1555" y="217"/>
                    <a:pt x="1557" y="197"/>
                    <a:pt x="1563" y="200"/>
                  </a:cubicBezTo>
                  <a:cubicBezTo>
                    <a:pt x="1561" y="203"/>
                    <a:pt x="1560" y="208"/>
                    <a:pt x="1561" y="215"/>
                  </a:cubicBezTo>
                  <a:cubicBezTo>
                    <a:pt x="1551" y="218"/>
                    <a:pt x="1548" y="211"/>
                    <a:pt x="1547" y="200"/>
                  </a:cubicBezTo>
                  <a:cubicBezTo>
                    <a:pt x="1537" y="195"/>
                    <a:pt x="1547" y="217"/>
                    <a:pt x="1536" y="211"/>
                  </a:cubicBezTo>
                  <a:cubicBezTo>
                    <a:pt x="1539" y="208"/>
                    <a:pt x="1539" y="203"/>
                    <a:pt x="1539" y="196"/>
                  </a:cubicBezTo>
                  <a:close/>
                  <a:moveTo>
                    <a:pt x="1571" y="222"/>
                  </a:moveTo>
                  <a:cubicBezTo>
                    <a:pt x="1571" y="227"/>
                    <a:pt x="1571" y="233"/>
                    <a:pt x="1574" y="233"/>
                  </a:cubicBezTo>
                  <a:cubicBezTo>
                    <a:pt x="1574" y="237"/>
                    <a:pt x="1571" y="236"/>
                    <a:pt x="1569" y="237"/>
                  </a:cubicBezTo>
                  <a:cubicBezTo>
                    <a:pt x="1566" y="239"/>
                    <a:pt x="1567" y="230"/>
                    <a:pt x="1566" y="230"/>
                  </a:cubicBezTo>
                  <a:cubicBezTo>
                    <a:pt x="1562" y="229"/>
                    <a:pt x="1558" y="234"/>
                    <a:pt x="1553" y="233"/>
                  </a:cubicBezTo>
                  <a:cubicBezTo>
                    <a:pt x="1553" y="233"/>
                    <a:pt x="1552" y="230"/>
                    <a:pt x="1550" y="230"/>
                  </a:cubicBezTo>
                  <a:cubicBezTo>
                    <a:pt x="1546" y="229"/>
                    <a:pt x="1537" y="229"/>
                    <a:pt x="1536" y="218"/>
                  </a:cubicBezTo>
                  <a:cubicBezTo>
                    <a:pt x="1548" y="219"/>
                    <a:pt x="1557" y="224"/>
                    <a:pt x="1571" y="222"/>
                  </a:cubicBezTo>
                  <a:close/>
                  <a:moveTo>
                    <a:pt x="1550" y="1221"/>
                  </a:moveTo>
                  <a:cubicBezTo>
                    <a:pt x="1554" y="1221"/>
                    <a:pt x="1551" y="1232"/>
                    <a:pt x="1555" y="1232"/>
                  </a:cubicBezTo>
                  <a:cubicBezTo>
                    <a:pt x="1554" y="1243"/>
                    <a:pt x="1550" y="1228"/>
                    <a:pt x="1545" y="1232"/>
                  </a:cubicBezTo>
                  <a:cubicBezTo>
                    <a:pt x="1545" y="1226"/>
                    <a:pt x="1545" y="1220"/>
                    <a:pt x="1545" y="1213"/>
                  </a:cubicBezTo>
                  <a:cubicBezTo>
                    <a:pt x="1548" y="1214"/>
                    <a:pt x="1546" y="1220"/>
                    <a:pt x="1550" y="1221"/>
                  </a:cubicBezTo>
                  <a:close/>
                  <a:moveTo>
                    <a:pt x="1528" y="200"/>
                  </a:moveTo>
                  <a:cubicBezTo>
                    <a:pt x="1523" y="202"/>
                    <a:pt x="1523" y="195"/>
                    <a:pt x="1523" y="189"/>
                  </a:cubicBezTo>
                  <a:cubicBezTo>
                    <a:pt x="1520" y="188"/>
                    <a:pt x="1518" y="190"/>
                    <a:pt x="1518" y="193"/>
                  </a:cubicBezTo>
                  <a:cubicBezTo>
                    <a:pt x="1508" y="182"/>
                    <a:pt x="1535" y="183"/>
                    <a:pt x="1528" y="200"/>
                  </a:cubicBezTo>
                  <a:close/>
                  <a:moveTo>
                    <a:pt x="1523" y="259"/>
                  </a:moveTo>
                  <a:cubicBezTo>
                    <a:pt x="1521" y="265"/>
                    <a:pt x="1519" y="271"/>
                    <a:pt x="1512" y="270"/>
                  </a:cubicBezTo>
                  <a:cubicBezTo>
                    <a:pt x="1514" y="263"/>
                    <a:pt x="1513" y="250"/>
                    <a:pt x="1523" y="259"/>
                  </a:cubicBezTo>
                  <a:close/>
                  <a:moveTo>
                    <a:pt x="1483" y="174"/>
                  </a:moveTo>
                  <a:cubicBezTo>
                    <a:pt x="1485" y="174"/>
                    <a:pt x="1486" y="174"/>
                    <a:pt x="1488" y="174"/>
                  </a:cubicBezTo>
                  <a:cubicBezTo>
                    <a:pt x="1489" y="185"/>
                    <a:pt x="1468" y="173"/>
                    <a:pt x="1483" y="174"/>
                  </a:cubicBezTo>
                  <a:close/>
                  <a:moveTo>
                    <a:pt x="1464" y="163"/>
                  </a:moveTo>
                  <a:cubicBezTo>
                    <a:pt x="1464" y="170"/>
                    <a:pt x="1467" y="171"/>
                    <a:pt x="1467" y="178"/>
                  </a:cubicBezTo>
                  <a:cubicBezTo>
                    <a:pt x="1463" y="178"/>
                    <a:pt x="1459" y="178"/>
                    <a:pt x="1456" y="178"/>
                  </a:cubicBezTo>
                  <a:cubicBezTo>
                    <a:pt x="1451" y="171"/>
                    <a:pt x="1460" y="165"/>
                    <a:pt x="1448" y="167"/>
                  </a:cubicBezTo>
                  <a:cubicBezTo>
                    <a:pt x="1440" y="161"/>
                    <a:pt x="1459" y="163"/>
                    <a:pt x="1464" y="163"/>
                  </a:cubicBezTo>
                  <a:close/>
                  <a:moveTo>
                    <a:pt x="1464" y="662"/>
                  </a:moveTo>
                  <a:cubicBezTo>
                    <a:pt x="1467" y="663"/>
                    <a:pt x="1466" y="670"/>
                    <a:pt x="1469" y="670"/>
                  </a:cubicBezTo>
                  <a:cubicBezTo>
                    <a:pt x="1470" y="673"/>
                    <a:pt x="1468" y="673"/>
                    <a:pt x="1467" y="673"/>
                  </a:cubicBezTo>
                  <a:cubicBezTo>
                    <a:pt x="1463" y="681"/>
                    <a:pt x="1467" y="670"/>
                    <a:pt x="1464" y="662"/>
                  </a:cubicBezTo>
                  <a:close/>
                  <a:moveTo>
                    <a:pt x="1445" y="562"/>
                  </a:moveTo>
                  <a:cubicBezTo>
                    <a:pt x="1444" y="561"/>
                    <a:pt x="1442" y="558"/>
                    <a:pt x="1445" y="562"/>
                  </a:cubicBezTo>
                  <a:cubicBezTo>
                    <a:pt x="1452" y="568"/>
                    <a:pt x="1449" y="572"/>
                    <a:pt x="1445" y="585"/>
                  </a:cubicBezTo>
                  <a:cubicBezTo>
                    <a:pt x="1442" y="584"/>
                    <a:pt x="1444" y="581"/>
                    <a:pt x="1445" y="581"/>
                  </a:cubicBezTo>
                  <a:cubicBezTo>
                    <a:pt x="1443" y="574"/>
                    <a:pt x="1440" y="580"/>
                    <a:pt x="1437" y="581"/>
                  </a:cubicBezTo>
                  <a:cubicBezTo>
                    <a:pt x="1431" y="589"/>
                    <a:pt x="1442" y="569"/>
                    <a:pt x="1448" y="570"/>
                  </a:cubicBezTo>
                  <a:cubicBezTo>
                    <a:pt x="1447" y="567"/>
                    <a:pt x="1445" y="566"/>
                    <a:pt x="1445" y="562"/>
                  </a:cubicBezTo>
                  <a:close/>
                  <a:moveTo>
                    <a:pt x="1442" y="1180"/>
                  </a:moveTo>
                  <a:cubicBezTo>
                    <a:pt x="1447" y="1185"/>
                    <a:pt x="1447" y="1195"/>
                    <a:pt x="1445" y="1199"/>
                  </a:cubicBezTo>
                  <a:cubicBezTo>
                    <a:pt x="1445" y="1199"/>
                    <a:pt x="1437" y="1189"/>
                    <a:pt x="1442" y="1180"/>
                  </a:cubicBezTo>
                  <a:close/>
                  <a:moveTo>
                    <a:pt x="1445" y="1228"/>
                  </a:moveTo>
                  <a:cubicBezTo>
                    <a:pt x="1443" y="1227"/>
                    <a:pt x="1443" y="1230"/>
                    <a:pt x="1442" y="1232"/>
                  </a:cubicBezTo>
                  <a:cubicBezTo>
                    <a:pt x="1439" y="1231"/>
                    <a:pt x="1440" y="1225"/>
                    <a:pt x="1440" y="1221"/>
                  </a:cubicBezTo>
                  <a:cubicBezTo>
                    <a:pt x="1444" y="1219"/>
                    <a:pt x="1445" y="1224"/>
                    <a:pt x="1445" y="1228"/>
                  </a:cubicBezTo>
                  <a:close/>
                  <a:moveTo>
                    <a:pt x="1440" y="644"/>
                  </a:moveTo>
                  <a:cubicBezTo>
                    <a:pt x="1444" y="637"/>
                    <a:pt x="1450" y="638"/>
                    <a:pt x="1453" y="640"/>
                  </a:cubicBezTo>
                  <a:cubicBezTo>
                    <a:pt x="1454" y="641"/>
                    <a:pt x="1447" y="651"/>
                    <a:pt x="1440" y="644"/>
                  </a:cubicBezTo>
                  <a:close/>
                  <a:moveTo>
                    <a:pt x="1450" y="270"/>
                  </a:moveTo>
                  <a:cubicBezTo>
                    <a:pt x="1449" y="259"/>
                    <a:pt x="1453" y="257"/>
                    <a:pt x="1453" y="248"/>
                  </a:cubicBezTo>
                  <a:cubicBezTo>
                    <a:pt x="1463" y="245"/>
                    <a:pt x="1456" y="258"/>
                    <a:pt x="1453" y="259"/>
                  </a:cubicBezTo>
                  <a:cubicBezTo>
                    <a:pt x="1455" y="267"/>
                    <a:pt x="1451" y="288"/>
                    <a:pt x="1450" y="270"/>
                  </a:cubicBezTo>
                  <a:close/>
                  <a:moveTo>
                    <a:pt x="1448" y="1210"/>
                  </a:moveTo>
                  <a:cubicBezTo>
                    <a:pt x="1452" y="1209"/>
                    <a:pt x="1452" y="1213"/>
                    <a:pt x="1456" y="1213"/>
                  </a:cubicBezTo>
                  <a:cubicBezTo>
                    <a:pt x="1457" y="1221"/>
                    <a:pt x="1444" y="1219"/>
                    <a:pt x="1448" y="1210"/>
                  </a:cubicBezTo>
                  <a:close/>
                  <a:moveTo>
                    <a:pt x="1450" y="1195"/>
                  </a:moveTo>
                  <a:cubicBezTo>
                    <a:pt x="1450" y="1190"/>
                    <a:pt x="1450" y="1185"/>
                    <a:pt x="1450" y="1180"/>
                  </a:cubicBezTo>
                  <a:cubicBezTo>
                    <a:pt x="1458" y="1173"/>
                    <a:pt x="1456" y="1196"/>
                    <a:pt x="1458" y="1184"/>
                  </a:cubicBezTo>
                  <a:cubicBezTo>
                    <a:pt x="1466" y="1188"/>
                    <a:pt x="1455" y="1196"/>
                    <a:pt x="1450" y="1195"/>
                  </a:cubicBezTo>
                  <a:close/>
                  <a:moveTo>
                    <a:pt x="1418" y="170"/>
                  </a:moveTo>
                  <a:cubicBezTo>
                    <a:pt x="1422" y="178"/>
                    <a:pt x="1402" y="180"/>
                    <a:pt x="1402" y="167"/>
                  </a:cubicBezTo>
                  <a:cubicBezTo>
                    <a:pt x="1405" y="171"/>
                    <a:pt x="1412" y="171"/>
                    <a:pt x="1418" y="170"/>
                  </a:cubicBezTo>
                  <a:close/>
                  <a:moveTo>
                    <a:pt x="1402" y="204"/>
                  </a:moveTo>
                  <a:cubicBezTo>
                    <a:pt x="1406" y="204"/>
                    <a:pt x="1409" y="204"/>
                    <a:pt x="1413" y="204"/>
                  </a:cubicBezTo>
                  <a:cubicBezTo>
                    <a:pt x="1413" y="213"/>
                    <a:pt x="1409" y="215"/>
                    <a:pt x="1407" y="222"/>
                  </a:cubicBezTo>
                  <a:cubicBezTo>
                    <a:pt x="1403" y="219"/>
                    <a:pt x="1402" y="213"/>
                    <a:pt x="1402" y="204"/>
                  </a:cubicBezTo>
                  <a:close/>
                  <a:moveTo>
                    <a:pt x="1413" y="566"/>
                  </a:moveTo>
                  <a:cubicBezTo>
                    <a:pt x="1404" y="581"/>
                    <a:pt x="1403" y="555"/>
                    <a:pt x="1405" y="544"/>
                  </a:cubicBezTo>
                  <a:cubicBezTo>
                    <a:pt x="1408" y="545"/>
                    <a:pt x="1410" y="543"/>
                    <a:pt x="1410" y="540"/>
                  </a:cubicBezTo>
                  <a:cubicBezTo>
                    <a:pt x="1420" y="544"/>
                    <a:pt x="1397" y="565"/>
                    <a:pt x="1413" y="566"/>
                  </a:cubicBezTo>
                  <a:close/>
                  <a:moveTo>
                    <a:pt x="1378" y="207"/>
                  </a:moveTo>
                  <a:cubicBezTo>
                    <a:pt x="1381" y="202"/>
                    <a:pt x="1389" y="204"/>
                    <a:pt x="1397" y="204"/>
                  </a:cubicBezTo>
                  <a:cubicBezTo>
                    <a:pt x="1389" y="213"/>
                    <a:pt x="1403" y="208"/>
                    <a:pt x="1399" y="222"/>
                  </a:cubicBezTo>
                  <a:cubicBezTo>
                    <a:pt x="1397" y="222"/>
                    <a:pt x="1397" y="218"/>
                    <a:pt x="1397" y="215"/>
                  </a:cubicBezTo>
                  <a:cubicBezTo>
                    <a:pt x="1393" y="220"/>
                    <a:pt x="1385" y="218"/>
                    <a:pt x="1378" y="218"/>
                  </a:cubicBezTo>
                  <a:cubicBezTo>
                    <a:pt x="1378" y="215"/>
                    <a:pt x="1378" y="211"/>
                    <a:pt x="1378" y="207"/>
                  </a:cubicBezTo>
                  <a:close/>
                  <a:moveTo>
                    <a:pt x="1359" y="562"/>
                  </a:moveTo>
                  <a:cubicBezTo>
                    <a:pt x="1365" y="561"/>
                    <a:pt x="1364" y="568"/>
                    <a:pt x="1364" y="574"/>
                  </a:cubicBezTo>
                  <a:cubicBezTo>
                    <a:pt x="1362" y="573"/>
                    <a:pt x="1362" y="570"/>
                    <a:pt x="1359" y="570"/>
                  </a:cubicBezTo>
                  <a:cubicBezTo>
                    <a:pt x="1359" y="567"/>
                    <a:pt x="1359" y="565"/>
                    <a:pt x="1359" y="562"/>
                  </a:cubicBezTo>
                  <a:close/>
                  <a:moveTo>
                    <a:pt x="1373" y="618"/>
                  </a:moveTo>
                  <a:cubicBezTo>
                    <a:pt x="1367" y="622"/>
                    <a:pt x="1377" y="595"/>
                    <a:pt x="1370" y="607"/>
                  </a:cubicBezTo>
                  <a:cubicBezTo>
                    <a:pt x="1367" y="607"/>
                    <a:pt x="1368" y="602"/>
                    <a:pt x="1367" y="599"/>
                  </a:cubicBezTo>
                  <a:cubicBezTo>
                    <a:pt x="1369" y="600"/>
                    <a:pt x="1370" y="598"/>
                    <a:pt x="1370" y="596"/>
                  </a:cubicBezTo>
                  <a:cubicBezTo>
                    <a:pt x="1375" y="599"/>
                    <a:pt x="1377" y="612"/>
                    <a:pt x="1373" y="618"/>
                  </a:cubicBezTo>
                  <a:close/>
                  <a:moveTo>
                    <a:pt x="1375" y="629"/>
                  </a:moveTo>
                  <a:cubicBezTo>
                    <a:pt x="1375" y="631"/>
                    <a:pt x="1375" y="634"/>
                    <a:pt x="1375" y="636"/>
                  </a:cubicBezTo>
                  <a:cubicBezTo>
                    <a:pt x="1373" y="636"/>
                    <a:pt x="1372" y="636"/>
                    <a:pt x="1370" y="636"/>
                  </a:cubicBezTo>
                  <a:cubicBezTo>
                    <a:pt x="1370" y="634"/>
                    <a:pt x="1370" y="631"/>
                    <a:pt x="1370" y="629"/>
                  </a:cubicBezTo>
                  <a:cubicBezTo>
                    <a:pt x="1372" y="629"/>
                    <a:pt x="1373" y="629"/>
                    <a:pt x="1375" y="629"/>
                  </a:cubicBezTo>
                  <a:close/>
                  <a:moveTo>
                    <a:pt x="1370" y="1235"/>
                  </a:moveTo>
                  <a:cubicBezTo>
                    <a:pt x="1366" y="1232"/>
                    <a:pt x="1359" y="1233"/>
                    <a:pt x="1362" y="1221"/>
                  </a:cubicBezTo>
                  <a:cubicBezTo>
                    <a:pt x="1364" y="1220"/>
                    <a:pt x="1364" y="1222"/>
                    <a:pt x="1364" y="1225"/>
                  </a:cubicBezTo>
                  <a:cubicBezTo>
                    <a:pt x="1366" y="1228"/>
                    <a:pt x="1371" y="1228"/>
                    <a:pt x="1370" y="1235"/>
                  </a:cubicBezTo>
                  <a:close/>
                  <a:moveTo>
                    <a:pt x="1356" y="1280"/>
                  </a:moveTo>
                  <a:cubicBezTo>
                    <a:pt x="1359" y="1275"/>
                    <a:pt x="1364" y="1273"/>
                    <a:pt x="1364" y="1265"/>
                  </a:cubicBezTo>
                  <a:cubicBezTo>
                    <a:pt x="1371" y="1264"/>
                    <a:pt x="1366" y="1279"/>
                    <a:pt x="1375" y="1276"/>
                  </a:cubicBezTo>
                  <a:cubicBezTo>
                    <a:pt x="1374" y="1285"/>
                    <a:pt x="1362" y="1278"/>
                    <a:pt x="1356" y="1280"/>
                  </a:cubicBezTo>
                  <a:close/>
                  <a:moveTo>
                    <a:pt x="1375" y="1239"/>
                  </a:moveTo>
                  <a:cubicBezTo>
                    <a:pt x="1370" y="1237"/>
                    <a:pt x="1375" y="1233"/>
                    <a:pt x="1375" y="1228"/>
                  </a:cubicBezTo>
                  <a:cubicBezTo>
                    <a:pt x="1380" y="1231"/>
                    <a:pt x="1376" y="1235"/>
                    <a:pt x="1375" y="1239"/>
                  </a:cubicBezTo>
                  <a:close/>
                  <a:moveTo>
                    <a:pt x="1378" y="255"/>
                  </a:moveTo>
                  <a:cubicBezTo>
                    <a:pt x="1369" y="255"/>
                    <a:pt x="1362" y="253"/>
                    <a:pt x="1362" y="241"/>
                  </a:cubicBezTo>
                  <a:cubicBezTo>
                    <a:pt x="1364" y="244"/>
                    <a:pt x="1379" y="249"/>
                    <a:pt x="1380" y="241"/>
                  </a:cubicBezTo>
                  <a:cubicBezTo>
                    <a:pt x="1392" y="245"/>
                    <a:pt x="1369" y="251"/>
                    <a:pt x="1380" y="255"/>
                  </a:cubicBezTo>
                  <a:cubicBezTo>
                    <a:pt x="1380" y="260"/>
                    <a:pt x="1378" y="258"/>
                    <a:pt x="1378" y="255"/>
                  </a:cubicBezTo>
                  <a:close/>
                  <a:moveTo>
                    <a:pt x="1383" y="562"/>
                  </a:moveTo>
                  <a:cubicBezTo>
                    <a:pt x="1380" y="587"/>
                    <a:pt x="1377" y="524"/>
                    <a:pt x="1383" y="562"/>
                  </a:cubicBezTo>
                  <a:close/>
                  <a:moveTo>
                    <a:pt x="1389" y="267"/>
                  </a:moveTo>
                  <a:cubicBezTo>
                    <a:pt x="1379" y="257"/>
                    <a:pt x="1398" y="256"/>
                    <a:pt x="1389" y="248"/>
                  </a:cubicBezTo>
                  <a:cubicBezTo>
                    <a:pt x="1391" y="242"/>
                    <a:pt x="1400" y="244"/>
                    <a:pt x="1405" y="241"/>
                  </a:cubicBezTo>
                  <a:cubicBezTo>
                    <a:pt x="1407" y="244"/>
                    <a:pt x="1406" y="251"/>
                    <a:pt x="1410" y="252"/>
                  </a:cubicBezTo>
                  <a:cubicBezTo>
                    <a:pt x="1409" y="256"/>
                    <a:pt x="1405" y="255"/>
                    <a:pt x="1405" y="252"/>
                  </a:cubicBezTo>
                  <a:cubicBezTo>
                    <a:pt x="1401" y="251"/>
                    <a:pt x="1404" y="261"/>
                    <a:pt x="1402" y="263"/>
                  </a:cubicBezTo>
                  <a:cubicBezTo>
                    <a:pt x="1400" y="266"/>
                    <a:pt x="1391" y="254"/>
                    <a:pt x="1391" y="267"/>
                  </a:cubicBezTo>
                  <a:cubicBezTo>
                    <a:pt x="1396" y="273"/>
                    <a:pt x="1401" y="265"/>
                    <a:pt x="1407" y="274"/>
                  </a:cubicBezTo>
                  <a:cubicBezTo>
                    <a:pt x="1407" y="278"/>
                    <a:pt x="1402" y="277"/>
                    <a:pt x="1402" y="281"/>
                  </a:cubicBezTo>
                  <a:cubicBezTo>
                    <a:pt x="1396" y="270"/>
                    <a:pt x="1400" y="280"/>
                    <a:pt x="1391" y="281"/>
                  </a:cubicBezTo>
                  <a:cubicBezTo>
                    <a:pt x="1399" y="273"/>
                    <a:pt x="1384" y="264"/>
                    <a:pt x="1383" y="278"/>
                  </a:cubicBezTo>
                  <a:cubicBezTo>
                    <a:pt x="1375" y="274"/>
                    <a:pt x="1386" y="268"/>
                    <a:pt x="1389" y="267"/>
                  </a:cubicBezTo>
                  <a:close/>
                  <a:moveTo>
                    <a:pt x="1389" y="555"/>
                  </a:moveTo>
                  <a:cubicBezTo>
                    <a:pt x="1390" y="550"/>
                    <a:pt x="1394" y="548"/>
                    <a:pt x="1399" y="548"/>
                  </a:cubicBezTo>
                  <a:cubicBezTo>
                    <a:pt x="1397" y="554"/>
                    <a:pt x="1393" y="562"/>
                    <a:pt x="1389" y="555"/>
                  </a:cubicBezTo>
                  <a:close/>
                  <a:moveTo>
                    <a:pt x="1399" y="577"/>
                  </a:moveTo>
                  <a:cubicBezTo>
                    <a:pt x="1396" y="576"/>
                    <a:pt x="1394" y="573"/>
                    <a:pt x="1394" y="566"/>
                  </a:cubicBezTo>
                  <a:cubicBezTo>
                    <a:pt x="1397" y="568"/>
                    <a:pt x="1399" y="571"/>
                    <a:pt x="1399" y="577"/>
                  </a:cubicBezTo>
                  <a:close/>
                  <a:moveTo>
                    <a:pt x="1389" y="1280"/>
                  </a:moveTo>
                  <a:cubicBezTo>
                    <a:pt x="1390" y="1280"/>
                    <a:pt x="1392" y="1280"/>
                    <a:pt x="1394" y="1280"/>
                  </a:cubicBezTo>
                  <a:cubicBezTo>
                    <a:pt x="1395" y="1290"/>
                    <a:pt x="1374" y="1279"/>
                    <a:pt x="1389" y="1280"/>
                  </a:cubicBezTo>
                  <a:close/>
                  <a:moveTo>
                    <a:pt x="1394" y="1250"/>
                  </a:moveTo>
                  <a:cubicBezTo>
                    <a:pt x="1391" y="1248"/>
                    <a:pt x="1391" y="1242"/>
                    <a:pt x="1386" y="1243"/>
                  </a:cubicBezTo>
                  <a:cubicBezTo>
                    <a:pt x="1388" y="1240"/>
                    <a:pt x="1390" y="1233"/>
                    <a:pt x="1386" y="1232"/>
                  </a:cubicBezTo>
                  <a:cubicBezTo>
                    <a:pt x="1387" y="1227"/>
                    <a:pt x="1394" y="1231"/>
                    <a:pt x="1394" y="1225"/>
                  </a:cubicBezTo>
                  <a:cubicBezTo>
                    <a:pt x="1400" y="1223"/>
                    <a:pt x="1397" y="1235"/>
                    <a:pt x="1402" y="1235"/>
                  </a:cubicBezTo>
                  <a:cubicBezTo>
                    <a:pt x="1401" y="1243"/>
                    <a:pt x="1390" y="1236"/>
                    <a:pt x="1394" y="1250"/>
                  </a:cubicBezTo>
                  <a:close/>
                  <a:moveTo>
                    <a:pt x="1402" y="577"/>
                  </a:moveTo>
                  <a:cubicBezTo>
                    <a:pt x="1404" y="567"/>
                    <a:pt x="1406" y="583"/>
                    <a:pt x="1410" y="581"/>
                  </a:cubicBezTo>
                  <a:cubicBezTo>
                    <a:pt x="1407" y="593"/>
                    <a:pt x="1405" y="577"/>
                    <a:pt x="1402" y="577"/>
                  </a:cubicBezTo>
                  <a:close/>
                  <a:moveTo>
                    <a:pt x="1405" y="1306"/>
                  </a:moveTo>
                  <a:cubicBezTo>
                    <a:pt x="1405" y="1297"/>
                    <a:pt x="1414" y="1305"/>
                    <a:pt x="1415" y="1306"/>
                  </a:cubicBezTo>
                  <a:cubicBezTo>
                    <a:pt x="1415" y="1315"/>
                    <a:pt x="1406" y="1307"/>
                    <a:pt x="1405" y="1306"/>
                  </a:cubicBezTo>
                  <a:close/>
                  <a:moveTo>
                    <a:pt x="1426" y="1247"/>
                  </a:moveTo>
                  <a:cubicBezTo>
                    <a:pt x="1422" y="1245"/>
                    <a:pt x="1424" y="1235"/>
                    <a:pt x="1415" y="1239"/>
                  </a:cubicBezTo>
                  <a:cubicBezTo>
                    <a:pt x="1415" y="1234"/>
                    <a:pt x="1415" y="1229"/>
                    <a:pt x="1415" y="1225"/>
                  </a:cubicBezTo>
                  <a:cubicBezTo>
                    <a:pt x="1421" y="1226"/>
                    <a:pt x="1420" y="1235"/>
                    <a:pt x="1429" y="1232"/>
                  </a:cubicBezTo>
                  <a:cubicBezTo>
                    <a:pt x="1430" y="1240"/>
                    <a:pt x="1427" y="1242"/>
                    <a:pt x="1426" y="1247"/>
                  </a:cubicBezTo>
                  <a:close/>
                  <a:moveTo>
                    <a:pt x="1421" y="1180"/>
                  </a:moveTo>
                  <a:cubicBezTo>
                    <a:pt x="1421" y="1183"/>
                    <a:pt x="1421" y="1185"/>
                    <a:pt x="1421" y="1187"/>
                  </a:cubicBezTo>
                  <a:cubicBezTo>
                    <a:pt x="1419" y="1187"/>
                    <a:pt x="1417" y="1187"/>
                    <a:pt x="1415" y="1187"/>
                  </a:cubicBezTo>
                  <a:cubicBezTo>
                    <a:pt x="1415" y="1185"/>
                    <a:pt x="1415" y="1183"/>
                    <a:pt x="1415" y="1180"/>
                  </a:cubicBezTo>
                  <a:cubicBezTo>
                    <a:pt x="1417" y="1180"/>
                    <a:pt x="1419" y="1180"/>
                    <a:pt x="1421" y="1180"/>
                  </a:cubicBezTo>
                  <a:close/>
                  <a:moveTo>
                    <a:pt x="1424" y="244"/>
                  </a:moveTo>
                  <a:cubicBezTo>
                    <a:pt x="1425" y="252"/>
                    <a:pt x="1422" y="254"/>
                    <a:pt x="1421" y="259"/>
                  </a:cubicBezTo>
                  <a:cubicBezTo>
                    <a:pt x="1413" y="259"/>
                    <a:pt x="1414" y="242"/>
                    <a:pt x="1424" y="244"/>
                  </a:cubicBezTo>
                  <a:close/>
                  <a:moveTo>
                    <a:pt x="1424" y="1180"/>
                  </a:moveTo>
                  <a:cubicBezTo>
                    <a:pt x="1424" y="1176"/>
                    <a:pt x="1424" y="1173"/>
                    <a:pt x="1424" y="1169"/>
                  </a:cubicBezTo>
                  <a:cubicBezTo>
                    <a:pt x="1431" y="1164"/>
                    <a:pt x="1431" y="1185"/>
                    <a:pt x="1424" y="1180"/>
                  </a:cubicBezTo>
                  <a:close/>
                  <a:moveTo>
                    <a:pt x="1421" y="289"/>
                  </a:moveTo>
                  <a:cubicBezTo>
                    <a:pt x="1420" y="282"/>
                    <a:pt x="1427" y="284"/>
                    <a:pt x="1429" y="281"/>
                  </a:cubicBezTo>
                  <a:cubicBezTo>
                    <a:pt x="1435" y="273"/>
                    <a:pt x="1430" y="288"/>
                    <a:pt x="1421" y="289"/>
                  </a:cubicBezTo>
                  <a:close/>
                  <a:moveTo>
                    <a:pt x="1421" y="270"/>
                  </a:moveTo>
                  <a:cubicBezTo>
                    <a:pt x="1423" y="267"/>
                    <a:pt x="1424" y="262"/>
                    <a:pt x="1424" y="255"/>
                  </a:cubicBezTo>
                  <a:cubicBezTo>
                    <a:pt x="1426" y="255"/>
                    <a:pt x="1429" y="255"/>
                    <a:pt x="1432" y="255"/>
                  </a:cubicBezTo>
                  <a:cubicBezTo>
                    <a:pt x="1428" y="261"/>
                    <a:pt x="1429" y="272"/>
                    <a:pt x="1421" y="270"/>
                  </a:cubicBezTo>
                  <a:close/>
                  <a:moveTo>
                    <a:pt x="1413" y="189"/>
                  </a:moveTo>
                  <a:cubicBezTo>
                    <a:pt x="1413" y="185"/>
                    <a:pt x="1416" y="186"/>
                    <a:pt x="1418" y="185"/>
                  </a:cubicBezTo>
                  <a:cubicBezTo>
                    <a:pt x="1425" y="187"/>
                    <a:pt x="1417" y="168"/>
                    <a:pt x="1426" y="174"/>
                  </a:cubicBezTo>
                  <a:cubicBezTo>
                    <a:pt x="1425" y="177"/>
                    <a:pt x="1423" y="180"/>
                    <a:pt x="1424" y="185"/>
                  </a:cubicBezTo>
                  <a:cubicBezTo>
                    <a:pt x="1436" y="183"/>
                    <a:pt x="1428" y="174"/>
                    <a:pt x="1429" y="159"/>
                  </a:cubicBezTo>
                  <a:cubicBezTo>
                    <a:pt x="1434" y="152"/>
                    <a:pt x="1434" y="162"/>
                    <a:pt x="1442" y="159"/>
                  </a:cubicBezTo>
                  <a:cubicBezTo>
                    <a:pt x="1442" y="165"/>
                    <a:pt x="1434" y="161"/>
                    <a:pt x="1434" y="167"/>
                  </a:cubicBezTo>
                  <a:cubicBezTo>
                    <a:pt x="1434" y="173"/>
                    <a:pt x="1448" y="163"/>
                    <a:pt x="1448" y="178"/>
                  </a:cubicBezTo>
                  <a:cubicBezTo>
                    <a:pt x="1444" y="182"/>
                    <a:pt x="1441" y="182"/>
                    <a:pt x="1440" y="174"/>
                  </a:cubicBezTo>
                  <a:cubicBezTo>
                    <a:pt x="1433" y="179"/>
                    <a:pt x="1431" y="182"/>
                    <a:pt x="1434" y="193"/>
                  </a:cubicBezTo>
                  <a:cubicBezTo>
                    <a:pt x="1426" y="193"/>
                    <a:pt x="1423" y="186"/>
                    <a:pt x="1413" y="189"/>
                  </a:cubicBezTo>
                  <a:close/>
                  <a:moveTo>
                    <a:pt x="1437" y="1295"/>
                  </a:moveTo>
                  <a:cubicBezTo>
                    <a:pt x="1434" y="1294"/>
                    <a:pt x="1435" y="1288"/>
                    <a:pt x="1434" y="1284"/>
                  </a:cubicBezTo>
                  <a:cubicBezTo>
                    <a:pt x="1439" y="1282"/>
                    <a:pt x="1439" y="1286"/>
                    <a:pt x="1440" y="1291"/>
                  </a:cubicBezTo>
                  <a:cubicBezTo>
                    <a:pt x="1437" y="1290"/>
                    <a:pt x="1437" y="1292"/>
                    <a:pt x="1437" y="1295"/>
                  </a:cubicBezTo>
                  <a:close/>
                  <a:moveTo>
                    <a:pt x="1445" y="1273"/>
                  </a:moveTo>
                  <a:cubicBezTo>
                    <a:pt x="1443" y="1273"/>
                    <a:pt x="1442" y="1273"/>
                    <a:pt x="1440" y="1273"/>
                  </a:cubicBezTo>
                  <a:cubicBezTo>
                    <a:pt x="1440" y="1270"/>
                    <a:pt x="1440" y="1268"/>
                    <a:pt x="1440" y="1265"/>
                  </a:cubicBezTo>
                  <a:cubicBezTo>
                    <a:pt x="1442" y="1265"/>
                    <a:pt x="1443" y="1265"/>
                    <a:pt x="1445" y="1265"/>
                  </a:cubicBezTo>
                  <a:cubicBezTo>
                    <a:pt x="1445" y="1268"/>
                    <a:pt x="1445" y="1270"/>
                    <a:pt x="1445" y="1273"/>
                  </a:cubicBezTo>
                  <a:close/>
                  <a:moveTo>
                    <a:pt x="1448" y="1254"/>
                  </a:moveTo>
                  <a:cubicBezTo>
                    <a:pt x="1444" y="1251"/>
                    <a:pt x="1439" y="1249"/>
                    <a:pt x="1440" y="1239"/>
                  </a:cubicBezTo>
                  <a:cubicBezTo>
                    <a:pt x="1444" y="1237"/>
                    <a:pt x="1454" y="1244"/>
                    <a:pt x="1453" y="1235"/>
                  </a:cubicBezTo>
                  <a:cubicBezTo>
                    <a:pt x="1451" y="1232"/>
                    <a:pt x="1447" y="1232"/>
                    <a:pt x="1448" y="1225"/>
                  </a:cubicBezTo>
                  <a:cubicBezTo>
                    <a:pt x="1450" y="1225"/>
                    <a:pt x="1453" y="1225"/>
                    <a:pt x="1456" y="1225"/>
                  </a:cubicBezTo>
                  <a:cubicBezTo>
                    <a:pt x="1452" y="1229"/>
                    <a:pt x="1454" y="1236"/>
                    <a:pt x="1458" y="1239"/>
                  </a:cubicBezTo>
                  <a:cubicBezTo>
                    <a:pt x="1460" y="1251"/>
                    <a:pt x="1445" y="1241"/>
                    <a:pt x="1448" y="1254"/>
                  </a:cubicBezTo>
                  <a:close/>
                  <a:moveTo>
                    <a:pt x="1458" y="1302"/>
                  </a:moveTo>
                  <a:cubicBezTo>
                    <a:pt x="1463" y="1294"/>
                    <a:pt x="1465" y="1305"/>
                    <a:pt x="1472" y="1298"/>
                  </a:cubicBezTo>
                  <a:cubicBezTo>
                    <a:pt x="1475" y="1312"/>
                    <a:pt x="1460" y="1305"/>
                    <a:pt x="1458" y="1302"/>
                  </a:cubicBezTo>
                  <a:close/>
                  <a:moveTo>
                    <a:pt x="1475" y="655"/>
                  </a:moveTo>
                  <a:cubicBezTo>
                    <a:pt x="1472" y="658"/>
                    <a:pt x="1470" y="652"/>
                    <a:pt x="1469" y="651"/>
                  </a:cubicBezTo>
                  <a:cubicBezTo>
                    <a:pt x="1469" y="651"/>
                    <a:pt x="1464" y="644"/>
                    <a:pt x="1467" y="640"/>
                  </a:cubicBezTo>
                  <a:cubicBezTo>
                    <a:pt x="1469" y="637"/>
                    <a:pt x="1469" y="650"/>
                    <a:pt x="1469" y="651"/>
                  </a:cubicBezTo>
                  <a:cubicBezTo>
                    <a:pt x="1469" y="651"/>
                    <a:pt x="1477" y="652"/>
                    <a:pt x="1475" y="655"/>
                  </a:cubicBezTo>
                  <a:close/>
                  <a:moveTo>
                    <a:pt x="1469" y="588"/>
                  </a:moveTo>
                  <a:cubicBezTo>
                    <a:pt x="1473" y="575"/>
                    <a:pt x="1474" y="595"/>
                    <a:pt x="1472" y="596"/>
                  </a:cubicBezTo>
                  <a:cubicBezTo>
                    <a:pt x="1470" y="596"/>
                    <a:pt x="1469" y="591"/>
                    <a:pt x="1469" y="588"/>
                  </a:cubicBezTo>
                  <a:close/>
                  <a:moveTo>
                    <a:pt x="1475" y="285"/>
                  </a:moveTo>
                  <a:cubicBezTo>
                    <a:pt x="1473" y="280"/>
                    <a:pt x="1468" y="276"/>
                    <a:pt x="1469" y="267"/>
                  </a:cubicBezTo>
                  <a:cubicBezTo>
                    <a:pt x="1472" y="267"/>
                    <a:pt x="1475" y="267"/>
                    <a:pt x="1477" y="267"/>
                  </a:cubicBezTo>
                  <a:cubicBezTo>
                    <a:pt x="1472" y="277"/>
                    <a:pt x="1483" y="284"/>
                    <a:pt x="1483" y="281"/>
                  </a:cubicBezTo>
                  <a:cubicBezTo>
                    <a:pt x="1483" y="285"/>
                    <a:pt x="1475" y="285"/>
                    <a:pt x="1477" y="292"/>
                  </a:cubicBezTo>
                  <a:cubicBezTo>
                    <a:pt x="1474" y="293"/>
                    <a:pt x="1476" y="288"/>
                    <a:pt x="1475" y="285"/>
                  </a:cubicBezTo>
                  <a:close/>
                  <a:moveTo>
                    <a:pt x="1480" y="699"/>
                  </a:moveTo>
                  <a:cubicBezTo>
                    <a:pt x="1480" y="695"/>
                    <a:pt x="1479" y="693"/>
                    <a:pt x="1477" y="692"/>
                  </a:cubicBezTo>
                  <a:cubicBezTo>
                    <a:pt x="1478" y="687"/>
                    <a:pt x="1483" y="688"/>
                    <a:pt x="1483" y="692"/>
                  </a:cubicBezTo>
                  <a:cubicBezTo>
                    <a:pt x="1485" y="693"/>
                    <a:pt x="1485" y="690"/>
                    <a:pt x="1485" y="688"/>
                  </a:cubicBezTo>
                  <a:cubicBezTo>
                    <a:pt x="1490" y="687"/>
                    <a:pt x="1486" y="703"/>
                    <a:pt x="1480" y="699"/>
                  </a:cubicBezTo>
                  <a:close/>
                  <a:moveTo>
                    <a:pt x="1493" y="1243"/>
                  </a:moveTo>
                  <a:cubicBezTo>
                    <a:pt x="1482" y="1245"/>
                    <a:pt x="1494" y="1235"/>
                    <a:pt x="1491" y="1225"/>
                  </a:cubicBezTo>
                  <a:cubicBezTo>
                    <a:pt x="1494" y="1226"/>
                    <a:pt x="1497" y="1245"/>
                    <a:pt x="1493" y="1243"/>
                  </a:cubicBezTo>
                  <a:close/>
                  <a:moveTo>
                    <a:pt x="1485" y="566"/>
                  </a:moveTo>
                  <a:cubicBezTo>
                    <a:pt x="1484" y="561"/>
                    <a:pt x="1496" y="557"/>
                    <a:pt x="1488" y="555"/>
                  </a:cubicBezTo>
                  <a:cubicBezTo>
                    <a:pt x="1499" y="541"/>
                    <a:pt x="1484" y="571"/>
                    <a:pt x="1496" y="566"/>
                  </a:cubicBezTo>
                  <a:cubicBezTo>
                    <a:pt x="1494" y="577"/>
                    <a:pt x="1490" y="563"/>
                    <a:pt x="1485" y="566"/>
                  </a:cubicBezTo>
                  <a:close/>
                  <a:moveTo>
                    <a:pt x="1491" y="182"/>
                  </a:moveTo>
                  <a:cubicBezTo>
                    <a:pt x="1491" y="179"/>
                    <a:pt x="1493" y="178"/>
                    <a:pt x="1493" y="174"/>
                  </a:cubicBezTo>
                  <a:cubicBezTo>
                    <a:pt x="1497" y="176"/>
                    <a:pt x="1499" y="179"/>
                    <a:pt x="1499" y="185"/>
                  </a:cubicBezTo>
                  <a:cubicBezTo>
                    <a:pt x="1494" y="186"/>
                    <a:pt x="1494" y="182"/>
                    <a:pt x="1491" y="182"/>
                  </a:cubicBezTo>
                  <a:close/>
                  <a:moveTo>
                    <a:pt x="1499" y="1221"/>
                  </a:moveTo>
                  <a:cubicBezTo>
                    <a:pt x="1494" y="1218"/>
                    <a:pt x="1498" y="1214"/>
                    <a:pt x="1499" y="1210"/>
                  </a:cubicBezTo>
                  <a:cubicBezTo>
                    <a:pt x="1504" y="1212"/>
                    <a:pt x="1499" y="1216"/>
                    <a:pt x="1499" y="1221"/>
                  </a:cubicBezTo>
                  <a:close/>
                  <a:moveTo>
                    <a:pt x="1496" y="170"/>
                  </a:moveTo>
                  <a:cubicBezTo>
                    <a:pt x="1495" y="165"/>
                    <a:pt x="1511" y="165"/>
                    <a:pt x="1504" y="174"/>
                  </a:cubicBezTo>
                  <a:cubicBezTo>
                    <a:pt x="1505" y="173"/>
                    <a:pt x="1496" y="170"/>
                    <a:pt x="1496" y="170"/>
                  </a:cubicBezTo>
                  <a:close/>
                  <a:moveTo>
                    <a:pt x="1504" y="651"/>
                  </a:moveTo>
                  <a:cubicBezTo>
                    <a:pt x="1506" y="648"/>
                    <a:pt x="1507" y="643"/>
                    <a:pt x="1507" y="636"/>
                  </a:cubicBezTo>
                  <a:cubicBezTo>
                    <a:pt x="1510" y="637"/>
                    <a:pt x="1512" y="636"/>
                    <a:pt x="1512" y="633"/>
                  </a:cubicBezTo>
                  <a:cubicBezTo>
                    <a:pt x="1516" y="634"/>
                    <a:pt x="1513" y="639"/>
                    <a:pt x="1510" y="640"/>
                  </a:cubicBezTo>
                  <a:cubicBezTo>
                    <a:pt x="1510" y="648"/>
                    <a:pt x="1509" y="652"/>
                    <a:pt x="1504" y="651"/>
                  </a:cubicBezTo>
                  <a:close/>
                  <a:moveTo>
                    <a:pt x="1515" y="1180"/>
                  </a:moveTo>
                  <a:cubicBezTo>
                    <a:pt x="1512" y="1178"/>
                    <a:pt x="1509" y="1175"/>
                    <a:pt x="1510" y="1169"/>
                  </a:cubicBezTo>
                  <a:cubicBezTo>
                    <a:pt x="1513" y="1171"/>
                    <a:pt x="1515" y="1174"/>
                    <a:pt x="1515" y="1180"/>
                  </a:cubicBezTo>
                  <a:close/>
                  <a:moveTo>
                    <a:pt x="1523" y="1291"/>
                  </a:moveTo>
                  <a:cubicBezTo>
                    <a:pt x="1518" y="1280"/>
                    <a:pt x="1511" y="1294"/>
                    <a:pt x="1510" y="1276"/>
                  </a:cubicBezTo>
                  <a:cubicBezTo>
                    <a:pt x="1522" y="1278"/>
                    <a:pt x="1514" y="1273"/>
                    <a:pt x="1515" y="1261"/>
                  </a:cubicBezTo>
                  <a:cubicBezTo>
                    <a:pt x="1522" y="1259"/>
                    <a:pt x="1520" y="1269"/>
                    <a:pt x="1526" y="1269"/>
                  </a:cubicBezTo>
                  <a:cubicBezTo>
                    <a:pt x="1525" y="1273"/>
                    <a:pt x="1523" y="1271"/>
                    <a:pt x="1523" y="1269"/>
                  </a:cubicBezTo>
                  <a:cubicBezTo>
                    <a:pt x="1520" y="1269"/>
                    <a:pt x="1521" y="1273"/>
                    <a:pt x="1520" y="1276"/>
                  </a:cubicBezTo>
                  <a:cubicBezTo>
                    <a:pt x="1523" y="1287"/>
                    <a:pt x="1532" y="1275"/>
                    <a:pt x="1536" y="1276"/>
                  </a:cubicBezTo>
                  <a:cubicBezTo>
                    <a:pt x="1538" y="1290"/>
                    <a:pt x="1524" y="1281"/>
                    <a:pt x="1523" y="1291"/>
                  </a:cubicBezTo>
                  <a:close/>
                  <a:moveTo>
                    <a:pt x="1534" y="230"/>
                  </a:moveTo>
                  <a:cubicBezTo>
                    <a:pt x="1536" y="230"/>
                    <a:pt x="1537" y="230"/>
                    <a:pt x="1539" y="230"/>
                  </a:cubicBezTo>
                  <a:cubicBezTo>
                    <a:pt x="1540" y="240"/>
                    <a:pt x="1519" y="229"/>
                    <a:pt x="1534" y="230"/>
                  </a:cubicBezTo>
                  <a:close/>
                  <a:moveTo>
                    <a:pt x="1553" y="1291"/>
                  </a:moveTo>
                  <a:cubicBezTo>
                    <a:pt x="1551" y="1291"/>
                    <a:pt x="1549" y="1291"/>
                    <a:pt x="1547" y="1291"/>
                  </a:cubicBezTo>
                  <a:cubicBezTo>
                    <a:pt x="1547" y="1289"/>
                    <a:pt x="1547" y="1286"/>
                    <a:pt x="1547" y="1284"/>
                  </a:cubicBezTo>
                  <a:cubicBezTo>
                    <a:pt x="1549" y="1284"/>
                    <a:pt x="1551" y="1284"/>
                    <a:pt x="1553" y="1284"/>
                  </a:cubicBezTo>
                  <a:cubicBezTo>
                    <a:pt x="1553" y="1286"/>
                    <a:pt x="1553" y="1289"/>
                    <a:pt x="1553" y="1291"/>
                  </a:cubicBezTo>
                  <a:close/>
                  <a:moveTo>
                    <a:pt x="1550" y="1276"/>
                  </a:moveTo>
                  <a:cubicBezTo>
                    <a:pt x="1548" y="1276"/>
                    <a:pt x="1547" y="1273"/>
                    <a:pt x="1545" y="1273"/>
                  </a:cubicBezTo>
                  <a:cubicBezTo>
                    <a:pt x="1545" y="1270"/>
                    <a:pt x="1547" y="1269"/>
                    <a:pt x="1547" y="1265"/>
                  </a:cubicBezTo>
                  <a:cubicBezTo>
                    <a:pt x="1549" y="1266"/>
                    <a:pt x="1550" y="1269"/>
                    <a:pt x="1553" y="1269"/>
                  </a:cubicBezTo>
                  <a:cubicBezTo>
                    <a:pt x="1552" y="1272"/>
                    <a:pt x="1550" y="1273"/>
                    <a:pt x="1550" y="1276"/>
                  </a:cubicBezTo>
                  <a:close/>
                  <a:moveTo>
                    <a:pt x="1555" y="1265"/>
                  </a:moveTo>
                  <a:cubicBezTo>
                    <a:pt x="1550" y="1266"/>
                    <a:pt x="1552" y="1257"/>
                    <a:pt x="1550" y="1254"/>
                  </a:cubicBezTo>
                  <a:cubicBezTo>
                    <a:pt x="1547" y="1251"/>
                    <a:pt x="1547" y="1254"/>
                    <a:pt x="1545" y="1250"/>
                  </a:cubicBezTo>
                  <a:cubicBezTo>
                    <a:pt x="1543" y="1247"/>
                    <a:pt x="1539" y="1246"/>
                    <a:pt x="1539" y="1239"/>
                  </a:cubicBezTo>
                  <a:cubicBezTo>
                    <a:pt x="1549" y="1240"/>
                    <a:pt x="1547" y="1243"/>
                    <a:pt x="1555" y="1239"/>
                  </a:cubicBezTo>
                  <a:cubicBezTo>
                    <a:pt x="1556" y="1250"/>
                    <a:pt x="1555" y="1252"/>
                    <a:pt x="1550" y="1247"/>
                  </a:cubicBezTo>
                  <a:cubicBezTo>
                    <a:pt x="1548" y="1258"/>
                    <a:pt x="1559" y="1251"/>
                    <a:pt x="1555" y="1265"/>
                  </a:cubicBezTo>
                  <a:close/>
                  <a:moveTo>
                    <a:pt x="1547" y="555"/>
                  </a:moveTo>
                  <a:cubicBezTo>
                    <a:pt x="1551" y="562"/>
                    <a:pt x="1556" y="568"/>
                    <a:pt x="1561" y="574"/>
                  </a:cubicBezTo>
                  <a:cubicBezTo>
                    <a:pt x="1558" y="579"/>
                    <a:pt x="1545" y="569"/>
                    <a:pt x="1547" y="555"/>
                  </a:cubicBezTo>
                  <a:close/>
                  <a:moveTo>
                    <a:pt x="1566" y="1243"/>
                  </a:moveTo>
                  <a:cubicBezTo>
                    <a:pt x="1560" y="1244"/>
                    <a:pt x="1563" y="1232"/>
                    <a:pt x="1558" y="1232"/>
                  </a:cubicBezTo>
                  <a:cubicBezTo>
                    <a:pt x="1558" y="1223"/>
                    <a:pt x="1567" y="1231"/>
                    <a:pt x="1569" y="1232"/>
                  </a:cubicBezTo>
                  <a:cubicBezTo>
                    <a:pt x="1567" y="1235"/>
                    <a:pt x="1566" y="1238"/>
                    <a:pt x="1566" y="1243"/>
                  </a:cubicBezTo>
                  <a:close/>
                  <a:moveTo>
                    <a:pt x="1561" y="1199"/>
                  </a:moveTo>
                  <a:cubicBezTo>
                    <a:pt x="1561" y="1195"/>
                    <a:pt x="1561" y="1191"/>
                    <a:pt x="1561" y="1187"/>
                  </a:cubicBezTo>
                  <a:cubicBezTo>
                    <a:pt x="1568" y="1185"/>
                    <a:pt x="1566" y="1195"/>
                    <a:pt x="1571" y="1195"/>
                  </a:cubicBezTo>
                  <a:cubicBezTo>
                    <a:pt x="1571" y="1200"/>
                    <a:pt x="1565" y="1198"/>
                    <a:pt x="1561" y="1199"/>
                  </a:cubicBezTo>
                  <a:close/>
                  <a:moveTo>
                    <a:pt x="1580" y="1250"/>
                  </a:moveTo>
                  <a:cubicBezTo>
                    <a:pt x="1577" y="1246"/>
                    <a:pt x="1570" y="1249"/>
                    <a:pt x="1571" y="1239"/>
                  </a:cubicBezTo>
                  <a:cubicBezTo>
                    <a:pt x="1574" y="1243"/>
                    <a:pt x="1581" y="1240"/>
                    <a:pt x="1580" y="1250"/>
                  </a:cubicBezTo>
                  <a:close/>
                  <a:moveTo>
                    <a:pt x="1577" y="640"/>
                  </a:moveTo>
                  <a:cubicBezTo>
                    <a:pt x="1577" y="638"/>
                    <a:pt x="1577" y="635"/>
                    <a:pt x="1577" y="633"/>
                  </a:cubicBezTo>
                  <a:cubicBezTo>
                    <a:pt x="1579" y="633"/>
                    <a:pt x="1580" y="633"/>
                    <a:pt x="1582" y="633"/>
                  </a:cubicBezTo>
                  <a:cubicBezTo>
                    <a:pt x="1582" y="635"/>
                    <a:pt x="1582" y="638"/>
                    <a:pt x="1582" y="640"/>
                  </a:cubicBezTo>
                  <a:cubicBezTo>
                    <a:pt x="1580" y="640"/>
                    <a:pt x="1579" y="640"/>
                    <a:pt x="1577" y="640"/>
                  </a:cubicBezTo>
                  <a:close/>
                  <a:moveTo>
                    <a:pt x="1598" y="1254"/>
                  </a:moveTo>
                  <a:cubicBezTo>
                    <a:pt x="1593" y="1257"/>
                    <a:pt x="1592" y="1248"/>
                    <a:pt x="1590" y="1247"/>
                  </a:cubicBezTo>
                  <a:cubicBezTo>
                    <a:pt x="1588" y="1246"/>
                    <a:pt x="1585" y="1252"/>
                    <a:pt x="1582" y="1247"/>
                  </a:cubicBezTo>
                  <a:cubicBezTo>
                    <a:pt x="1587" y="1239"/>
                    <a:pt x="1600" y="1236"/>
                    <a:pt x="1598" y="1254"/>
                  </a:cubicBezTo>
                  <a:close/>
                  <a:moveTo>
                    <a:pt x="1633" y="1291"/>
                  </a:moveTo>
                  <a:cubicBezTo>
                    <a:pt x="1625" y="1305"/>
                    <a:pt x="1624" y="1280"/>
                    <a:pt x="1633" y="1291"/>
                  </a:cubicBezTo>
                  <a:close/>
                  <a:moveTo>
                    <a:pt x="1628" y="1313"/>
                  </a:moveTo>
                  <a:cubicBezTo>
                    <a:pt x="1628" y="1308"/>
                    <a:pt x="1628" y="1303"/>
                    <a:pt x="1628" y="1298"/>
                  </a:cubicBezTo>
                  <a:cubicBezTo>
                    <a:pt x="1637" y="1298"/>
                    <a:pt x="1638" y="1316"/>
                    <a:pt x="1628" y="1313"/>
                  </a:cubicBezTo>
                  <a:close/>
                  <a:moveTo>
                    <a:pt x="1625" y="1250"/>
                  </a:moveTo>
                  <a:cubicBezTo>
                    <a:pt x="1617" y="1249"/>
                    <a:pt x="1607" y="1253"/>
                    <a:pt x="1601" y="1247"/>
                  </a:cubicBezTo>
                  <a:cubicBezTo>
                    <a:pt x="1602" y="1236"/>
                    <a:pt x="1609" y="1246"/>
                    <a:pt x="1612" y="1247"/>
                  </a:cubicBezTo>
                  <a:cubicBezTo>
                    <a:pt x="1614" y="1247"/>
                    <a:pt x="1615" y="1242"/>
                    <a:pt x="1617" y="1243"/>
                  </a:cubicBezTo>
                  <a:cubicBezTo>
                    <a:pt x="1618" y="1243"/>
                    <a:pt x="1617" y="1246"/>
                    <a:pt x="1620" y="1247"/>
                  </a:cubicBezTo>
                  <a:cubicBezTo>
                    <a:pt x="1625" y="1247"/>
                    <a:pt x="1629" y="1246"/>
                    <a:pt x="1636" y="1247"/>
                  </a:cubicBezTo>
                  <a:cubicBezTo>
                    <a:pt x="1638" y="1240"/>
                    <a:pt x="1638" y="1251"/>
                    <a:pt x="1641" y="1250"/>
                  </a:cubicBezTo>
                  <a:cubicBezTo>
                    <a:pt x="1639" y="1261"/>
                    <a:pt x="1631" y="1251"/>
                    <a:pt x="1625" y="1250"/>
                  </a:cubicBezTo>
                  <a:close/>
                  <a:moveTo>
                    <a:pt x="1641" y="588"/>
                  </a:moveTo>
                  <a:cubicBezTo>
                    <a:pt x="1641" y="595"/>
                    <a:pt x="1648" y="600"/>
                    <a:pt x="1639" y="599"/>
                  </a:cubicBezTo>
                  <a:cubicBezTo>
                    <a:pt x="1637" y="611"/>
                    <a:pt x="1644" y="611"/>
                    <a:pt x="1639" y="618"/>
                  </a:cubicBezTo>
                  <a:cubicBezTo>
                    <a:pt x="1627" y="611"/>
                    <a:pt x="1643" y="590"/>
                    <a:pt x="1641" y="574"/>
                  </a:cubicBezTo>
                  <a:cubicBezTo>
                    <a:pt x="1638" y="569"/>
                    <a:pt x="1641" y="572"/>
                    <a:pt x="1644" y="574"/>
                  </a:cubicBezTo>
                  <a:cubicBezTo>
                    <a:pt x="1646" y="581"/>
                    <a:pt x="1641" y="583"/>
                    <a:pt x="1641" y="588"/>
                  </a:cubicBezTo>
                  <a:close/>
                  <a:moveTo>
                    <a:pt x="2066" y="156"/>
                  </a:moveTo>
                  <a:cubicBezTo>
                    <a:pt x="2076" y="166"/>
                    <a:pt x="2060" y="179"/>
                    <a:pt x="2066" y="156"/>
                  </a:cubicBezTo>
                  <a:close/>
                  <a:moveTo>
                    <a:pt x="2055" y="562"/>
                  </a:moveTo>
                  <a:cubicBezTo>
                    <a:pt x="2055" y="562"/>
                    <a:pt x="2053" y="563"/>
                    <a:pt x="2053" y="562"/>
                  </a:cubicBezTo>
                  <a:cubicBezTo>
                    <a:pt x="2043" y="552"/>
                    <a:pt x="2062" y="561"/>
                    <a:pt x="2058" y="566"/>
                  </a:cubicBezTo>
                  <a:cubicBezTo>
                    <a:pt x="2057" y="568"/>
                    <a:pt x="2052" y="570"/>
                    <a:pt x="2053" y="566"/>
                  </a:cubicBezTo>
                  <a:cubicBezTo>
                    <a:pt x="2053" y="565"/>
                    <a:pt x="2056" y="566"/>
                    <a:pt x="2055" y="562"/>
                  </a:cubicBezTo>
                  <a:close/>
                  <a:moveTo>
                    <a:pt x="2034" y="296"/>
                  </a:moveTo>
                  <a:cubicBezTo>
                    <a:pt x="2038" y="296"/>
                    <a:pt x="2042" y="312"/>
                    <a:pt x="2042" y="296"/>
                  </a:cubicBezTo>
                  <a:cubicBezTo>
                    <a:pt x="2051" y="297"/>
                    <a:pt x="2042" y="306"/>
                    <a:pt x="2047" y="307"/>
                  </a:cubicBezTo>
                  <a:cubicBezTo>
                    <a:pt x="2047" y="312"/>
                    <a:pt x="2042" y="311"/>
                    <a:pt x="2042" y="307"/>
                  </a:cubicBezTo>
                  <a:cubicBezTo>
                    <a:pt x="2037" y="307"/>
                    <a:pt x="2036" y="312"/>
                    <a:pt x="2031" y="311"/>
                  </a:cubicBezTo>
                  <a:cubicBezTo>
                    <a:pt x="2031" y="304"/>
                    <a:pt x="2035" y="303"/>
                    <a:pt x="2034" y="296"/>
                  </a:cubicBezTo>
                  <a:close/>
                  <a:moveTo>
                    <a:pt x="2039" y="285"/>
                  </a:moveTo>
                  <a:cubicBezTo>
                    <a:pt x="2041" y="274"/>
                    <a:pt x="2045" y="289"/>
                    <a:pt x="2050" y="285"/>
                  </a:cubicBezTo>
                  <a:cubicBezTo>
                    <a:pt x="2050" y="294"/>
                    <a:pt x="2041" y="286"/>
                    <a:pt x="2039" y="285"/>
                  </a:cubicBezTo>
                  <a:close/>
                  <a:moveTo>
                    <a:pt x="2058" y="241"/>
                  </a:moveTo>
                  <a:cubicBezTo>
                    <a:pt x="2051" y="236"/>
                    <a:pt x="2066" y="214"/>
                    <a:pt x="2058" y="241"/>
                  </a:cubicBezTo>
                  <a:close/>
                  <a:moveTo>
                    <a:pt x="2050" y="174"/>
                  </a:moveTo>
                  <a:cubicBezTo>
                    <a:pt x="2060" y="185"/>
                    <a:pt x="2042" y="187"/>
                    <a:pt x="2050" y="174"/>
                  </a:cubicBezTo>
                  <a:close/>
                  <a:moveTo>
                    <a:pt x="2053" y="244"/>
                  </a:moveTo>
                  <a:cubicBezTo>
                    <a:pt x="2061" y="248"/>
                    <a:pt x="2052" y="257"/>
                    <a:pt x="2050" y="259"/>
                  </a:cubicBezTo>
                  <a:cubicBezTo>
                    <a:pt x="2047" y="259"/>
                    <a:pt x="2048" y="255"/>
                    <a:pt x="2047" y="252"/>
                  </a:cubicBezTo>
                  <a:cubicBezTo>
                    <a:pt x="2045" y="251"/>
                    <a:pt x="2045" y="253"/>
                    <a:pt x="2045" y="255"/>
                  </a:cubicBezTo>
                  <a:cubicBezTo>
                    <a:pt x="2042" y="256"/>
                    <a:pt x="2042" y="254"/>
                    <a:pt x="2042" y="252"/>
                  </a:cubicBezTo>
                  <a:cubicBezTo>
                    <a:pt x="2042" y="249"/>
                    <a:pt x="2042" y="247"/>
                    <a:pt x="2042" y="244"/>
                  </a:cubicBezTo>
                  <a:cubicBezTo>
                    <a:pt x="2047" y="241"/>
                    <a:pt x="2051" y="255"/>
                    <a:pt x="2053" y="244"/>
                  </a:cubicBezTo>
                  <a:close/>
                  <a:moveTo>
                    <a:pt x="2037" y="185"/>
                  </a:moveTo>
                  <a:cubicBezTo>
                    <a:pt x="2038" y="185"/>
                    <a:pt x="2040" y="185"/>
                    <a:pt x="2042" y="185"/>
                  </a:cubicBezTo>
                  <a:cubicBezTo>
                    <a:pt x="2042" y="188"/>
                    <a:pt x="2042" y="190"/>
                    <a:pt x="2042" y="193"/>
                  </a:cubicBezTo>
                  <a:cubicBezTo>
                    <a:pt x="2040" y="193"/>
                    <a:pt x="2038" y="193"/>
                    <a:pt x="2037" y="193"/>
                  </a:cubicBezTo>
                  <a:cubicBezTo>
                    <a:pt x="2037" y="190"/>
                    <a:pt x="2037" y="188"/>
                    <a:pt x="2037" y="185"/>
                  </a:cubicBezTo>
                  <a:close/>
                  <a:moveTo>
                    <a:pt x="2031" y="233"/>
                  </a:moveTo>
                  <a:cubicBezTo>
                    <a:pt x="2041" y="232"/>
                    <a:pt x="2035" y="253"/>
                    <a:pt x="2039" y="259"/>
                  </a:cubicBezTo>
                  <a:cubicBezTo>
                    <a:pt x="2029" y="262"/>
                    <a:pt x="2032" y="245"/>
                    <a:pt x="2031" y="233"/>
                  </a:cubicBezTo>
                  <a:close/>
                  <a:moveTo>
                    <a:pt x="2018" y="548"/>
                  </a:moveTo>
                  <a:cubicBezTo>
                    <a:pt x="2030" y="550"/>
                    <a:pt x="2016" y="570"/>
                    <a:pt x="2018" y="548"/>
                  </a:cubicBezTo>
                  <a:close/>
                  <a:moveTo>
                    <a:pt x="2020" y="1180"/>
                  </a:moveTo>
                  <a:cubicBezTo>
                    <a:pt x="2019" y="1187"/>
                    <a:pt x="2016" y="1181"/>
                    <a:pt x="2012" y="1180"/>
                  </a:cubicBezTo>
                  <a:cubicBezTo>
                    <a:pt x="2014" y="1173"/>
                    <a:pt x="2017" y="1180"/>
                    <a:pt x="2020" y="1180"/>
                  </a:cubicBezTo>
                  <a:close/>
                  <a:moveTo>
                    <a:pt x="2010" y="156"/>
                  </a:moveTo>
                  <a:cubicBezTo>
                    <a:pt x="2018" y="150"/>
                    <a:pt x="2018" y="172"/>
                    <a:pt x="2010" y="167"/>
                  </a:cubicBezTo>
                  <a:cubicBezTo>
                    <a:pt x="2010" y="163"/>
                    <a:pt x="2010" y="159"/>
                    <a:pt x="2010" y="156"/>
                  </a:cubicBezTo>
                  <a:close/>
                  <a:moveTo>
                    <a:pt x="2010" y="174"/>
                  </a:moveTo>
                  <a:cubicBezTo>
                    <a:pt x="2011" y="167"/>
                    <a:pt x="2013" y="176"/>
                    <a:pt x="2012" y="182"/>
                  </a:cubicBezTo>
                  <a:cubicBezTo>
                    <a:pt x="2011" y="189"/>
                    <a:pt x="2009" y="179"/>
                    <a:pt x="2010" y="174"/>
                  </a:cubicBezTo>
                  <a:close/>
                  <a:moveTo>
                    <a:pt x="2012" y="559"/>
                  </a:moveTo>
                  <a:cubicBezTo>
                    <a:pt x="2009" y="557"/>
                    <a:pt x="2007" y="554"/>
                    <a:pt x="2007" y="548"/>
                  </a:cubicBezTo>
                  <a:cubicBezTo>
                    <a:pt x="2010" y="549"/>
                    <a:pt x="2013" y="552"/>
                    <a:pt x="2012" y="559"/>
                  </a:cubicBezTo>
                  <a:close/>
                  <a:moveTo>
                    <a:pt x="2007" y="1187"/>
                  </a:moveTo>
                  <a:cubicBezTo>
                    <a:pt x="2019" y="1189"/>
                    <a:pt x="2004" y="1209"/>
                    <a:pt x="2007" y="1187"/>
                  </a:cubicBezTo>
                  <a:close/>
                  <a:moveTo>
                    <a:pt x="1991" y="182"/>
                  </a:moveTo>
                  <a:cubicBezTo>
                    <a:pt x="1995" y="172"/>
                    <a:pt x="2006" y="183"/>
                    <a:pt x="2004" y="193"/>
                  </a:cubicBezTo>
                  <a:cubicBezTo>
                    <a:pt x="1998" y="197"/>
                    <a:pt x="1993" y="182"/>
                    <a:pt x="1991" y="193"/>
                  </a:cubicBezTo>
                  <a:cubicBezTo>
                    <a:pt x="1988" y="192"/>
                    <a:pt x="1989" y="185"/>
                    <a:pt x="1986" y="185"/>
                  </a:cubicBezTo>
                  <a:cubicBezTo>
                    <a:pt x="1985" y="178"/>
                    <a:pt x="2004" y="189"/>
                    <a:pt x="1991" y="182"/>
                  </a:cubicBezTo>
                  <a:close/>
                  <a:moveTo>
                    <a:pt x="1996" y="537"/>
                  </a:moveTo>
                  <a:cubicBezTo>
                    <a:pt x="1995" y="544"/>
                    <a:pt x="1995" y="552"/>
                    <a:pt x="1988" y="551"/>
                  </a:cubicBezTo>
                  <a:cubicBezTo>
                    <a:pt x="1989" y="548"/>
                    <a:pt x="1991" y="545"/>
                    <a:pt x="1994" y="544"/>
                  </a:cubicBezTo>
                  <a:cubicBezTo>
                    <a:pt x="1991" y="539"/>
                    <a:pt x="1991" y="536"/>
                    <a:pt x="1996" y="537"/>
                  </a:cubicBezTo>
                  <a:close/>
                  <a:moveTo>
                    <a:pt x="1996" y="1169"/>
                  </a:moveTo>
                  <a:cubicBezTo>
                    <a:pt x="1999" y="1172"/>
                    <a:pt x="2000" y="1180"/>
                    <a:pt x="1996" y="1187"/>
                  </a:cubicBezTo>
                  <a:cubicBezTo>
                    <a:pt x="1990" y="1187"/>
                    <a:pt x="1995" y="1171"/>
                    <a:pt x="1996" y="1169"/>
                  </a:cubicBezTo>
                  <a:close/>
                  <a:moveTo>
                    <a:pt x="1996" y="211"/>
                  </a:moveTo>
                  <a:cubicBezTo>
                    <a:pt x="1990" y="213"/>
                    <a:pt x="1990" y="204"/>
                    <a:pt x="1983" y="207"/>
                  </a:cubicBezTo>
                  <a:cubicBezTo>
                    <a:pt x="1989" y="197"/>
                    <a:pt x="1991" y="205"/>
                    <a:pt x="1999" y="200"/>
                  </a:cubicBezTo>
                  <a:cubicBezTo>
                    <a:pt x="1998" y="203"/>
                    <a:pt x="1996" y="206"/>
                    <a:pt x="1996" y="211"/>
                  </a:cubicBezTo>
                  <a:close/>
                  <a:moveTo>
                    <a:pt x="1999" y="570"/>
                  </a:moveTo>
                  <a:cubicBezTo>
                    <a:pt x="2011" y="571"/>
                    <a:pt x="1996" y="591"/>
                    <a:pt x="1999" y="570"/>
                  </a:cubicBezTo>
                  <a:close/>
                  <a:moveTo>
                    <a:pt x="1986" y="122"/>
                  </a:moveTo>
                  <a:cubicBezTo>
                    <a:pt x="1988" y="123"/>
                    <a:pt x="1987" y="130"/>
                    <a:pt x="1991" y="130"/>
                  </a:cubicBezTo>
                  <a:cubicBezTo>
                    <a:pt x="1990" y="134"/>
                    <a:pt x="1986" y="132"/>
                    <a:pt x="1986" y="137"/>
                  </a:cubicBezTo>
                  <a:cubicBezTo>
                    <a:pt x="1977" y="135"/>
                    <a:pt x="1988" y="129"/>
                    <a:pt x="1986" y="122"/>
                  </a:cubicBezTo>
                  <a:close/>
                  <a:moveTo>
                    <a:pt x="1977" y="133"/>
                  </a:moveTo>
                  <a:cubicBezTo>
                    <a:pt x="1976" y="133"/>
                    <a:pt x="1974" y="133"/>
                    <a:pt x="1972" y="133"/>
                  </a:cubicBezTo>
                  <a:cubicBezTo>
                    <a:pt x="1973" y="130"/>
                    <a:pt x="1971" y="130"/>
                    <a:pt x="1969" y="130"/>
                  </a:cubicBezTo>
                  <a:cubicBezTo>
                    <a:pt x="1968" y="123"/>
                    <a:pt x="1982" y="124"/>
                    <a:pt x="1977" y="133"/>
                  </a:cubicBezTo>
                  <a:close/>
                  <a:moveTo>
                    <a:pt x="1961" y="133"/>
                  </a:moveTo>
                  <a:cubicBezTo>
                    <a:pt x="1966" y="142"/>
                    <a:pt x="1971" y="147"/>
                    <a:pt x="1980" y="141"/>
                  </a:cubicBezTo>
                  <a:cubicBezTo>
                    <a:pt x="1979" y="144"/>
                    <a:pt x="1978" y="145"/>
                    <a:pt x="1977" y="148"/>
                  </a:cubicBezTo>
                  <a:cubicBezTo>
                    <a:pt x="1977" y="156"/>
                    <a:pt x="1983" y="158"/>
                    <a:pt x="1983" y="163"/>
                  </a:cubicBezTo>
                  <a:cubicBezTo>
                    <a:pt x="1982" y="176"/>
                    <a:pt x="1978" y="182"/>
                    <a:pt x="1972" y="193"/>
                  </a:cubicBezTo>
                  <a:cubicBezTo>
                    <a:pt x="1969" y="192"/>
                    <a:pt x="1972" y="174"/>
                    <a:pt x="1975" y="174"/>
                  </a:cubicBezTo>
                  <a:cubicBezTo>
                    <a:pt x="1979" y="174"/>
                    <a:pt x="1974" y="159"/>
                    <a:pt x="1972" y="152"/>
                  </a:cubicBezTo>
                  <a:cubicBezTo>
                    <a:pt x="1968" y="152"/>
                    <a:pt x="1971" y="159"/>
                    <a:pt x="1969" y="163"/>
                  </a:cubicBezTo>
                  <a:cubicBezTo>
                    <a:pt x="1964" y="176"/>
                    <a:pt x="1972" y="145"/>
                    <a:pt x="1961" y="148"/>
                  </a:cubicBezTo>
                  <a:cubicBezTo>
                    <a:pt x="1961" y="143"/>
                    <a:pt x="1961" y="138"/>
                    <a:pt x="1961" y="133"/>
                  </a:cubicBezTo>
                  <a:close/>
                  <a:moveTo>
                    <a:pt x="1969" y="1232"/>
                  </a:moveTo>
                  <a:cubicBezTo>
                    <a:pt x="1973" y="1227"/>
                    <a:pt x="1971" y="1214"/>
                    <a:pt x="1961" y="1217"/>
                  </a:cubicBezTo>
                  <a:cubicBezTo>
                    <a:pt x="1960" y="1209"/>
                    <a:pt x="1966" y="1212"/>
                    <a:pt x="1967" y="1206"/>
                  </a:cubicBezTo>
                  <a:cubicBezTo>
                    <a:pt x="1967" y="1202"/>
                    <a:pt x="1972" y="1203"/>
                    <a:pt x="1975" y="1202"/>
                  </a:cubicBezTo>
                  <a:cubicBezTo>
                    <a:pt x="1976" y="1211"/>
                    <a:pt x="1974" y="1216"/>
                    <a:pt x="1972" y="1221"/>
                  </a:cubicBezTo>
                  <a:cubicBezTo>
                    <a:pt x="1974" y="1224"/>
                    <a:pt x="1978" y="1234"/>
                    <a:pt x="1969" y="1232"/>
                  </a:cubicBezTo>
                  <a:close/>
                  <a:moveTo>
                    <a:pt x="1964" y="1306"/>
                  </a:moveTo>
                  <a:cubicBezTo>
                    <a:pt x="1963" y="1310"/>
                    <a:pt x="1961" y="1313"/>
                    <a:pt x="1956" y="1313"/>
                  </a:cubicBezTo>
                  <a:cubicBezTo>
                    <a:pt x="1957" y="1309"/>
                    <a:pt x="1959" y="1306"/>
                    <a:pt x="1964" y="1306"/>
                  </a:cubicBezTo>
                  <a:close/>
                  <a:moveTo>
                    <a:pt x="1964" y="207"/>
                  </a:moveTo>
                  <a:cubicBezTo>
                    <a:pt x="1964" y="205"/>
                    <a:pt x="1964" y="202"/>
                    <a:pt x="1964" y="200"/>
                  </a:cubicBezTo>
                  <a:cubicBezTo>
                    <a:pt x="1969" y="199"/>
                    <a:pt x="1972" y="201"/>
                    <a:pt x="1972" y="207"/>
                  </a:cubicBezTo>
                  <a:cubicBezTo>
                    <a:pt x="1969" y="207"/>
                    <a:pt x="1967" y="207"/>
                    <a:pt x="1964" y="207"/>
                  </a:cubicBezTo>
                  <a:close/>
                  <a:moveTo>
                    <a:pt x="1961" y="163"/>
                  </a:moveTo>
                  <a:cubicBezTo>
                    <a:pt x="1969" y="151"/>
                    <a:pt x="1953" y="183"/>
                    <a:pt x="1967" y="178"/>
                  </a:cubicBezTo>
                  <a:cubicBezTo>
                    <a:pt x="1967" y="184"/>
                    <a:pt x="1963" y="186"/>
                    <a:pt x="1964" y="193"/>
                  </a:cubicBezTo>
                  <a:cubicBezTo>
                    <a:pt x="1960" y="187"/>
                    <a:pt x="1956" y="171"/>
                    <a:pt x="1961" y="163"/>
                  </a:cubicBezTo>
                  <a:close/>
                  <a:moveTo>
                    <a:pt x="1940" y="108"/>
                  </a:moveTo>
                  <a:cubicBezTo>
                    <a:pt x="1942" y="108"/>
                    <a:pt x="1945" y="108"/>
                    <a:pt x="1948" y="108"/>
                  </a:cubicBezTo>
                  <a:cubicBezTo>
                    <a:pt x="1945" y="115"/>
                    <a:pt x="1952" y="125"/>
                    <a:pt x="1953" y="115"/>
                  </a:cubicBezTo>
                  <a:cubicBezTo>
                    <a:pt x="1956" y="114"/>
                    <a:pt x="1956" y="116"/>
                    <a:pt x="1956" y="119"/>
                  </a:cubicBezTo>
                  <a:cubicBezTo>
                    <a:pt x="1955" y="122"/>
                    <a:pt x="1957" y="122"/>
                    <a:pt x="1959" y="122"/>
                  </a:cubicBezTo>
                  <a:cubicBezTo>
                    <a:pt x="1959" y="127"/>
                    <a:pt x="1954" y="124"/>
                    <a:pt x="1953" y="126"/>
                  </a:cubicBezTo>
                  <a:cubicBezTo>
                    <a:pt x="1951" y="130"/>
                    <a:pt x="1954" y="139"/>
                    <a:pt x="1951" y="141"/>
                  </a:cubicBezTo>
                  <a:cubicBezTo>
                    <a:pt x="1947" y="138"/>
                    <a:pt x="1945" y="132"/>
                    <a:pt x="1945" y="122"/>
                  </a:cubicBezTo>
                  <a:cubicBezTo>
                    <a:pt x="1943" y="122"/>
                    <a:pt x="1943" y="127"/>
                    <a:pt x="1942" y="130"/>
                  </a:cubicBezTo>
                  <a:cubicBezTo>
                    <a:pt x="1940" y="128"/>
                    <a:pt x="1938" y="126"/>
                    <a:pt x="1934" y="126"/>
                  </a:cubicBezTo>
                  <a:cubicBezTo>
                    <a:pt x="1937" y="121"/>
                    <a:pt x="1937" y="112"/>
                    <a:pt x="1940" y="108"/>
                  </a:cubicBezTo>
                  <a:close/>
                  <a:moveTo>
                    <a:pt x="1937" y="174"/>
                  </a:moveTo>
                  <a:cubicBezTo>
                    <a:pt x="1934" y="161"/>
                    <a:pt x="1954" y="164"/>
                    <a:pt x="1948" y="178"/>
                  </a:cubicBezTo>
                  <a:cubicBezTo>
                    <a:pt x="1943" y="171"/>
                    <a:pt x="1946" y="171"/>
                    <a:pt x="1937" y="174"/>
                  </a:cubicBezTo>
                  <a:close/>
                  <a:moveTo>
                    <a:pt x="1945" y="1095"/>
                  </a:moveTo>
                  <a:cubicBezTo>
                    <a:pt x="1944" y="1100"/>
                    <a:pt x="1942" y="1103"/>
                    <a:pt x="1937" y="1102"/>
                  </a:cubicBezTo>
                  <a:cubicBezTo>
                    <a:pt x="1938" y="1098"/>
                    <a:pt x="1941" y="1095"/>
                    <a:pt x="1945" y="1095"/>
                  </a:cubicBezTo>
                  <a:close/>
                  <a:moveTo>
                    <a:pt x="1942" y="137"/>
                  </a:moveTo>
                  <a:cubicBezTo>
                    <a:pt x="1941" y="142"/>
                    <a:pt x="1939" y="145"/>
                    <a:pt x="1934" y="145"/>
                  </a:cubicBezTo>
                  <a:cubicBezTo>
                    <a:pt x="1936" y="140"/>
                    <a:pt x="1938" y="137"/>
                    <a:pt x="1942" y="137"/>
                  </a:cubicBezTo>
                  <a:close/>
                  <a:moveTo>
                    <a:pt x="1908" y="193"/>
                  </a:moveTo>
                  <a:cubicBezTo>
                    <a:pt x="1910" y="201"/>
                    <a:pt x="1917" y="202"/>
                    <a:pt x="1921" y="207"/>
                  </a:cubicBezTo>
                  <a:cubicBezTo>
                    <a:pt x="1919" y="214"/>
                    <a:pt x="1915" y="210"/>
                    <a:pt x="1916" y="204"/>
                  </a:cubicBezTo>
                  <a:cubicBezTo>
                    <a:pt x="1910" y="205"/>
                    <a:pt x="1909" y="201"/>
                    <a:pt x="1905" y="200"/>
                  </a:cubicBezTo>
                  <a:cubicBezTo>
                    <a:pt x="1901" y="191"/>
                    <a:pt x="1913" y="185"/>
                    <a:pt x="1905" y="182"/>
                  </a:cubicBezTo>
                  <a:cubicBezTo>
                    <a:pt x="1905" y="173"/>
                    <a:pt x="1912" y="183"/>
                    <a:pt x="1913" y="182"/>
                  </a:cubicBezTo>
                  <a:cubicBezTo>
                    <a:pt x="1913" y="181"/>
                    <a:pt x="1913" y="178"/>
                    <a:pt x="1913" y="178"/>
                  </a:cubicBezTo>
                  <a:cubicBezTo>
                    <a:pt x="1919" y="179"/>
                    <a:pt x="1920" y="185"/>
                    <a:pt x="1924" y="193"/>
                  </a:cubicBezTo>
                  <a:cubicBezTo>
                    <a:pt x="1927" y="199"/>
                    <a:pt x="1935" y="201"/>
                    <a:pt x="1932" y="207"/>
                  </a:cubicBezTo>
                  <a:cubicBezTo>
                    <a:pt x="1922" y="210"/>
                    <a:pt x="1920" y="202"/>
                    <a:pt x="1921" y="189"/>
                  </a:cubicBezTo>
                  <a:cubicBezTo>
                    <a:pt x="1915" y="188"/>
                    <a:pt x="1911" y="190"/>
                    <a:pt x="1908" y="193"/>
                  </a:cubicBezTo>
                  <a:close/>
                  <a:moveTo>
                    <a:pt x="1897" y="244"/>
                  </a:moveTo>
                  <a:cubicBezTo>
                    <a:pt x="1897" y="239"/>
                    <a:pt x="1894" y="244"/>
                    <a:pt x="1894" y="244"/>
                  </a:cubicBezTo>
                  <a:cubicBezTo>
                    <a:pt x="1891" y="243"/>
                    <a:pt x="1892" y="235"/>
                    <a:pt x="1886" y="237"/>
                  </a:cubicBezTo>
                  <a:cubicBezTo>
                    <a:pt x="1888" y="231"/>
                    <a:pt x="1895" y="232"/>
                    <a:pt x="1899" y="230"/>
                  </a:cubicBezTo>
                  <a:cubicBezTo>
                    <a:pt x="1899" y="239"/>
                    <a:pt x="1897" y="253"/>
                    <a:pt x="1908" y="248"/>
                  </a:cubicBezTo>
                  <a:cubicBezTo>
                    <a:pt x="1909" y="258"/>
                    <a:pt x="1898" y="252"/>
                    <a:pt x="1897" y="259"/>
                  </a:cubicBezTo>
                  <a:cubicBezTo>
                    <a:pt x="1890" y="258"/>
                    <a:pt x="1900" y="253"/>
                    <a:pt x="1897" y="244"/>
                  </a:cubicBezTo>
                  <a:close/>
                  <a:moveTo>
                    <a:pt x="1908" y="241"/>
                  </a:moveTo>
                  <a:cubicBezTo>
                    <a:pt x="1901" y="240"/>
                    <a:pt x="1901" y="231"/>
                    <a:pt x="1905" y="226"/>
                  </a:cubicBezTo>
                  <a:cubicBezTo>
                    <a:pt x="1911" y="227"/>
                    <a:pt x="1911" y="236"/>
                    <a:pt x="1908" y="241"/>
                  </a:cubicBezTo>
                  <a:close/>
                  <a:moveTo>
                    <a:pt x="1902" y="222"/>
                  </a:moveTo>
                  <a:cubicBezTo>
                    <a:pt x="1904" y="217"/>
                    <a:pt x="1911" y="217"/>
                    <a:pt x="1916" y="215"/>
                  </a:cubicBezTo>
                  <a:cubicBezTo>
                    <a:pt x="1918" y="227"/>
                    <a:pt x="1907" y="221"/>
                    <a:pt x="1902" y="222"/>
                  </a:cubicBezTo>
                  <a:close/>
                  <a:moveTo>
                    <a:pt x="1926" y="189"/>
                  </a:moveTo>
                  <a:cubicBezTo>
                    <a:pt x="1936" y="167"/>
                    <a:pt x="1940" y="211"/>
                    <a:pt x="1926" y="189"/>
                  </a:cubicBezTo>
                  <a:close/>
                  <a:moveTo>
                    <a:pt x="1932" y="211"/>
                  </a:moveTo>
                  <a:cubicBezTo>
                    <a:pt x="1941" y="209"/>
                    <a:pt x="1932" y="228"/>
                    <a:pt x="1929" y="222"/>
                  </a:cubicBezTo>
                  <a:cubicBezTo>
                    <a:pt x="1929" y="222"/>
                    <a:pt x="1931" y="215"/>
                    <a:pt x="1932" y="215"/>
                  </a:cubicBezTo>
                  <a:cubicBezTo>
                    <a:pt x="1932" y="215"/>
                    <a:pt x="1932" y="211"/>
                    <a:pt x="1932" y="211"/>
                  </a:cubicBezTo>
                  <a:close/>
                  <a:moveTo>
                    <a:pt x="1934" y="159"/>
                  </a:moveTo>
                  <a:cubicBezTo>
                    <a:pt x="1934" y="164"/>
                    <a:pt x="1933" y="161"/>
                    <a:pt x="1932" y="163"/>
                  </a:cubicBezTo>
                  <a:cubicBezTo>
                    <a:pt x="1931" y="166"/>
                    <a:pt x="1922" y="176"/>
                    <a:pt x="1932" y="174"/>
                  </a:cubicBezTo>
                  <a:cubicBezTo>
                    <a:pt x="1931" y="178"/>
                    <a:pt x="1927" y="177"/>
                    <a:pt x="1924" y="178"/>
                  </a:cubicBezTo>
                  <a:cubicBezTo>
                    <a:pt x="1924" y="173"/>
                    <a:pt x="1924" y="168"/>
                    <a:pt x="1924" y="163"/>
                  </a:cubicBezTo>
                  <a:cubicBezTo>
                    <a:pt x="1928" y="163"/>
                    <a:pt x="1931" y="164"/>
                    <a:pt x="1932" y="159"/>
                  </a:cubicBezTo>
                  <a:cubicBezTo>
                    <a:pt x="1932" y="155"/>
                    <a:pt x="1935" y="157"/>
                    <a:pt x="1934" y="159"/>
                  </a:cubicBezTo>
                  <a:close/>
                  <a:moveTo>
                    <a:pt x="1921" y="119"/>
                  </a:moveTo>
                  <a:cubicBezTo>
                    <a:pt x="1923" y="120"/>
                    <a:pt x="1926" y="113"/>
                    <a:pt x="1929" y="119"/>
                  </a:cubicBezTo>
                  <a:cubicBezTo>
                    <a:pt x="1930" y="125"/>
                    <a:pt x="1920" y="138"/>
                    <a:pt x="1932" y="137"/>
                  </a:cubicBezTo>
                  <a:cubicBezTo>
                    <a:pt x="1929" y="146"/>
                    <a:pt x="1915" y="158"/>
                    <a:pt x="1921" y="167"/>
                  </a:cubicBezTo>
                  <a:cubicBezTo>
                    <a:pt x="1913" y="177"/>
                    <a:pt x="1913" y="159"/>
                    <a:pt x="1916" y="148"/>
                  </a:cubicBezTo>
                  <a:cubicBezTo>
                    <a:pt x="1918" y="148"/>
                    <a:pt x="1921" y="148"/>
                    <a:pt x="1924" y="148"/>
                  </a:cubicBezTo>
                  <a:cubicBezTo>
                    <a:pt x="1922" y="137"/>
                    <a:pt x="1922" y="141"/>
                    <a:pt x="1924" y="130"/>
                  </a:cubicBezTo>
                  <a:cubicBezTo>
                    <a:pt x="1921" y="129"/>
                    <a:pt x="1919" y="131"/>
                    <a:pt x="1918" y="133"/>
                  </a:cubicBezTo>
                  <a:cubicBezTo>
                    <a:pt x="1912" y="135"/>
                    <a:pt x="1926" y="115"/>
                    <a:pt x="1913" y="119"/>
                  </a:cubicBezTo>
                  <a:cubicBezTo>
                    <a:pt x="1914" y="117"/>
                    <a:pt x="1916" y="110"/>
                    <a:pt x="1918" y="111"/>
                  </a:cubicBezTo>
                  <a:cubicBezTo>
                    <a:pt x="1921" y="112"/>
                    <a:pt x="1920" y="118"/>
                    <a:pt x="1921" y="119"/>
                  </a:cubicBezTo>
                  <a:close/>
                  <a:moveTo>
                    <a:pt x="1913" y="71"/>
                  </a:moveTo>
                  <a:cubicBezTo>
                    <a:pt x="1915" y="71"/>
                    <a:pt x="1917" y="71"/>
                    <a:pt x="1918" y="71"/>
                  </a:cubicBezTo>
                  <a:cubicBezTo>
                    <a:pt x="1918" y="77"/>
                    <a:pt x="1918" y="83"/>
                    <a:pt x="1918" y="89"/>
                  </a:cubicBezTo>
                  <a:cubicBezTo>
                    <a:pt x="1916" y="87"/>
                    <a:pt x="1916" y="81"/>
                    <a:pt x="1910" y="82"/>
                  </a:cubicBezTo>
                  <a:cubicBezTo>
                    <a:pt x="1910" y="76"/>
                    <a:pt x="1913" y="75"/>
                    <a:pt x="1913" y="71"/>
                  </a:cubicBezTo>
                  <a:close/>
                  <a:moveTo>
                    <a:pt x="1897" y="111"/>
                  </a:moveTo>
                  <a:cubicBezTo>
                    <a:pt x="1904" y="113"/>
                    <a:pt x="1909" y="131"/>
                    <a:pt x="1897" y="130"/>
                  </a:cubicBezTo>
                  <a:cubicBezTo>
                    <a:pt x="1897" y="124"/>
                    <a:pt x="1897" y="117"/>
                    <a:pt x="1897" y="111"/>
                  </a:cubicBezTo>
                  <a:close/>
                  <a:moveTo>
                    <a:pt x="1894" y="137"/>
                  </a:moveTo>
                  <a:cubicBezTo>
                    <a:pt x="1891" y="136"/>
                    <a:pt x="1889" y="132"/>
                    <a:pt x="1889" y="126"/>
                  </a:cubicBezTo>
                  <a:cubicBezTo>
                    <a:pt x="1892" y="128"/>
                    <a:pt x="1894" y="131"/>
                    <a:pt x="1894" y="137"/>
                  </a:cubicBezTo>
                  <a:close/>
                  <a:moveTo>
                    <a:pt x="1875" y="126"/>
                  </a:moveTo>
                  <a:cubicBezTo>
                    <a:pt x="1884" y="126"/>
                    <a:pt x="1872" y="118"/>
                    <a:pt x="1873" y="108"/>
                  </a:cubicBezTo>
                  <a:cubicBezTo>
                    <a:pt x="1875" y="110"/>
                    <a:pt x="1879" y="111"/>
                    <a:pt x="1883" y="111"/>
                  </a:cubicBezTo>
                  <a:cubicBezTo>
                    <a:pt x="1883" y="116"/>
                    <a:pt x="1883" y="122"/>
                    <a:pt x="1886" y="122"/>
                  </a:cubicBezTo>
                  <a:cubicBezTo>
                    <a:pt x="1886" y="129"/>
                    <a:pt x="1877" y="125"/>
                    <a:pt x="1875" y="130"/>
                  </a:cubicBezTo>
                  <a:cubicBezTo>
                    <a:pt x="1876" y="137"/>
                    <a:pt x="1875" y="141"/>
                    <a:pt x="1870" y="141"/>
                  </a:cubicBezTo>
                  <a:cubicBezTo>
                    <a:pt x="1874" y="139"/>
                    <a:pt x="1867" y="126"/>
                    <a:pt x="1875" y="126"/>
                  </a:cubicBezTo>
                  <a:close/>
                  <a:moveTo>
                    <a:pt x="1878" y="152"/>
                  </a:moveTo>
                  <a:cubicBezTo>
                    <a:pt x="1879" y="149"/>
                    <a:pt x="1881" y="148"/>
                    <a:pt x="1881" y="145"/>
                  </a:cubicBezTo>
                  <a:cubicBezTo>
                    <a:pt x="1882" y="145"/>
                    <a:pt x="1884" y="145"/>
                    <a:pt x="1886" y="145"/>
                  </a:cubicBezTo>
                  <a:cubicBezTo>
                    <a:pt x="1887" y="152"/>
                    <a:pt x="1882" y="152"/>
                    <a:pt x="1878" y="152"/>
                  </a:cubicBezTo>
                  <a:close/>
                  <a:moveTo>
                    <a:pt x="1838" y="133"/>
                  </a:moveTo>
                  <a:cubicBezTo>
                    <a:pt x="1839" y="126"/>
                    <a:pt x="1841" y="136"/>
                    <a:pt x="1840" y="141"/>
                  </a:cubicBezTo>
                  <a:cubicBezTo>
                    <a:pt x="1839" y="148"/>
                    <a:pt x="1837" y="138"/>
                    <a:pt x="1838" y="133"/>
                  </a:cubicBezTo>
                  <a:close/>
                  <a:moveTo>
                    <a:pt x="1830" y="126"/>
                  </a:moveTo>
                  <a:cubicBezTo>
                    <a:pt x="1822" y="128"/>
                    <a:pt x="1827" y="112"/>
                    <a:pt x="1822" y="111"/>
                  </a:cubicBezTo>
                  <a:cubicBezTo>
                    <a:pt x="1825" y="101"/>
                    <a:pt x="1831" y="117"/>
                    <a:pt x="1830" y="126"/>
                  </a:cubicBezTo>
                  <a:close/>
                  <a:moveTo>
                    <a:pt x="1773" y="122"/>
                  </a:moveTo>
                  <a:cubicBezTo>
                    <a:pt x="1775" y="123"/>
                    <a:pt x="1776" y="126"/>
                    <a:pt x="1778" y="126"/>
                  </a:cubicBezTo>
                  <a:cubicBezTo>
                    <a:pt x="1778" y="129"/>
                    <a:pt x="1776" y="130"/>
                    <a:pt x="1776" y="133"/>
                  </a:cubicBezTo>
                  <a:cubicBezTo>
                    <a:pt x="1774" y="133"/>
                    <a:pt x="1773" y="130"/>
                    <a:pt x="1770" y="130"/>
                  </a:cubicBezTo>
                  <a:cubicBezTo>
                    <a:pt x="1771" y="127"/>
                    <a:pt x="1773" y="126"/>
                    <a:pt x="1773" y="122"/>
                  </a:cubicBezTo>
                  <a:close/>
                  <a:moveTo>
                    <a:pt x="1757" y="96"/>
                  </a:moveTo>
                  <a:cubicBezTo>
                    <a:pt x="1769" y="99"/>
                    <a:pt x="1755" y="119"/>
                    <a:pt x="1757" y="96"/>
                  </a:cubicBezTo>
                  <a:close/>
                  <a:moveTo>
                    <a:pt x="1711" y="163"/>
                  </a:moveTo>
                  <a:cubicBezTo>
                    <a:pt x="1717" y="164"/>
                    <a:pt x="1715" y="146"/>
                    <a:pt x="1709" y="152"/>
                  </a:cubicBezTo>
                  <a:cubicBezTo>
                    <a:pt x="1710" y="149"/>
                    <a:pt x="1711" y="145"/>
                    <a:pt x="1714" y="145"/>
                  </a:cubicBezTo>
                  <a:cubicBezTo>
                    <a:pt x="1723" y="135"/>
                    <a:pt x="1724" y="159"/>
                    <a:pt x="1725" y="137"/>
                  </a:cubicBezTo>
                  <a:cubicBezTo>
                    <a:pt x="1730" y="139"/>
                    <a:pt x="1730" y="148"/>
                    <a:pt x="1738" y="145"/>
                  </a:cubicBezTo>
                  <a:cubicBezTo>
                    <a:pt x="1736" y="155"/>
                    <a:pt x="1742" y="154"/>
                    <a:pt x="1741" y="163"/>
                  </a:cubicBezTo>
                  <a:cubicBezTo>
                    <a:pt x="1749" y="160"/>
                    <a:pt x="1739" y="151"/>
                    <a:pt x="1741" y="145"/>
                  </a:cubicBezTo>
                  <a:cubicBezTo>
                    <a:pt x="1746" y="151"/>
                    <a:pt x="1753" y="132"/>
                    <a:pt x="1760" y="141"/>
                  </a:cubicBezTo>
                  <a:cubicBezTo>
                    <a:pt x="1760" y="141"/>
                    <a:pt x="1760" y="145"/>
                    <a:pt x="1760" y="145"/>
                  </a:cubicBezTo>
                  <a:cubicBezTo>
                    <a:pt x="1761" y="144"/>
                    <a:pt x="1763" y="137"/>
                    <a:pt x="1762" y="137"/>
                  </a:cubicBezTo>
                  <a:cubicBezTo>
                    <a:pt x="1766" y="137"/>
                    <a:pt x="1766" y="147"/>
                    <a:pt x="1768" y="148"/>
                  </a:cubicBezTo>
                  <a:cubicBezTo>
                    <a:pt x="1772" y="151"/>
                    <a:pt x="1773" y="134"/>
                    <a:pt x="1778" y="145"/>
                  </a:cubicBezTo>
                  <a:cubicBezTo>
                    <a:pt x="1787" y="146"/>
                    <a:pt x="1779" y="126"/>
                    <a:pt x="1789" y="130"/>
                  </a:cubicBezTo>
                  <a:cubicBezTo>
                    <a:pt x="1788" y="135"/>
                    <a:pt x="1785" y="139"/>
                    <a:pt x="1784" y="145"/>
                  </a:cubicBezTo>
                  <a:cubicBezTo>
                    <a:pt x="1785" y="152"/>
                    <a:pt x="1794" y="147"/>
                    <a:pt x="1797" y="148"/>
                  </a:cubicBezTo>
                  <a:cubicBezTo>
                    <a:pt x="1797" y="148"/>
                    <a:pt x="1797" y="152"/>
                    <a:pt x="1797" y="152"/>
                  </a:cubicBezTo>
                  <a:cubicBezTo>
                    <a:pt x="1803" y="153"/>
                    <a:pt x="1811" y="148"/>
                    <a:pt x="1816" y="156"/>
                  </a:cubicBezTo>
                  <a:cubicBezTo>
                    <a:pt x="1816" y="156"/>
                    <a:pt x="1816" y="159"/>
                    <a:pt x="1816" y="159"/>
                  </a:cubicBezTo>
                  <a:cubicBezTo>
                    <a:pt x="1824" y="159"/>
                    <a:pt x="1822" y="138"/>
                    <a:pt x="1827" y="159"/>
                  </a:cubicBezTo>
                  <a:cubicBezTo>
                    <a:pt x="1831" y="158"/>
                    <a:pt x="1829" y="150"/>
                    <a:pt x="1830" y="145"/>
                  </a:cubicBezTo>
                  <a:cubicBezTo>
                    <a:pt x="1827" y="141"/>
                    <a:pt x="1824" y="137"/>
                    <a:pt x="1822" y="133"/>
                  </a:cubicBezTo>
                  <a:cubicBezTo>
                    <a:pt x="1821" y="122"/>
                    <a:pt x="1829" y="143"/>
                    <a:pt x="1830" y="130"/>
                  </a:cubicBezTo>
                  <a:cubicBezTo>
                    <a:pt x="1837" y="136"/>
                    <a:pt x="1826" y="166"/>
                    <a:pt x="1843" y="159"/>
                  </a:cubicBezTo>
                  <a:cubicBezTo>
                    <a:pt x="1842" y="162"/>
                    <a:pt x="1840" y="165"/>
                    <a:pt x="1840" y="170"/>
                  </a:cubicBezTo>
                  <a:cubicBezTo>
                    <a:pt x="1832" y="174"/>
                    <a:pt x="1832" y="165"/>
                    <a:pt x="1827" y="163"/>
                  </a:cubicBezTo>
                  <a:cubicBezTo>
                    <a:pt x="1820" y="163"/>
                    <a:pt x="1815" y="167"/>
                    <a:pt x="1811" y="167"/>
                  </a:cubicBezTo>
                  <a:cubicBezTo>
                    <a:pt x="1812" y="167"/>
                    <a:pt x="1808" y="155"/>
                    <a:pt x="1805" y="159"/>
                  </a:cubicBezTo>
                  <a:cubicBezTo>
                    <a:pt x="1803" y="164"/>
                    <a:pt x="1805" y="160"/>
                    <a:pt x="1803" y="159"/>
                  </a:cubicBezTo>
                  <a:cubicBezTo>
                    <a:pt x="1800" y="159"/>
                    <a:pt x="1800" y="163"/>
                    <a:pt x="1800" y="163"/>
                  </a:cubicBezTo>
                  <a:cubicBezTo>
                    <a:pt x="1794" y="162"/>
                    <a:pt x="1793" y="156"/>
                    <a:pt x="1787" y="156"/>
                  </a:cubicBezTo>
                  <a:cubicBezTo>
                    <a:pt x="1787" y="159"/>
                    <a:pt x="1790" y="159"/>
                    <a:pt x="1792" y="159"/>
                  </a:cubicBezTo>
                  <a:cubicBezTo>
                    <a:pt x="1789" y="166"/>
                    <a:pt x="1785" y="170"/>
                    <a:pt x="1784" y="178"/>
                  </a:cubicBezTo>
                  <a:cubicBezTo>
                    <a:pt x="1776" y="175"/>
                    <a:pt x="1787" y="169"/>
                    <a:pt x="1784" y="159"/>
                  </a:cubicBezTo>
                  <a:cubicBezTo>
                    <a:pt x="1781" y="159"/>
                    <a:pt x="1782" y="164"/>
                    <a:pt x="1781" y="167"/>
                  </a:cubicBezTo>
                  <a:cubicBezTo>
                    <a:pt x="1778" y="164"/>
                    <a:pt x="1778" y="158"/>
                    <a:pt x="1773" y="159"/>
                  </a:cubicBezTo>
                  <a:cubicBezTo>
                    <a:pt x="1773" y="156"/>
                    <a:pt x="1773" y="152"/>
                    <a:pt x="1773" y="148"/>
                  </a:cubicBezTo>
                  <a:cubicBezTo>
                    <a:pt x="1770" y="147"/>
                    <a:pt x="1764" y="159"/>
                    <a:pt x="1770" y="159"/>
                  </a:cubicBezTo>
                  <a:cubicBezTo>
                    <a:pt x="1769" y="163"/>
                    <a:pt x="1764" y="163"/>
                    <a:pt x="1765" y="170"/>
                  </a:cubicBezTo>
                  <a:cubicBezTo>
                    <a:pt x="1760" y="164"/>
                    <a:pt x="1762" y="171"/>
                    <a:pt x="1754" y="170"/>
                  </a:cubicBezTo>
                  <a:cubicBezTo>
                    <a:pt x="1754" y="160"/>
                    <a:pt x="1759" y="163"/>
                    <a:pt x="1754" y="156"/>
                  </a:cubicBezTo>
                  <a:cubicBezTo>
                    <a:pt x="1750" y="159"/>
                    <a:pt x="1749" y="165"/>
                    <a:pt x="1749" y="174"/>
                  </a:cubicBezTo>
                  <a:cubicBezTo>
                    <a:pt x="1747" y="172"/>
                    <a:pt x="1744" y="171"/>
                    <a:pt x="1744" y="167"/>
                  </a:cubicBezTo>
                  <a:cubicBezTo>
                    <a:pt x="1741" y="168"/>
                    <a:pt x="1741" y="170"/>
                    <a:pt x="1738" y="170"/>
                  </a:cubicBezTo>
                  <a:cubicBezTo>
                    <a:pt x="1734" y="171"/>
                    <a:pt x="1734" y="167"/>
                    <a:pt x="1730" y="167"/>
                  </a:cubicBezTo>
                  <a:cubicBezTo>
                    <a:pt x="1725" y="166"/>
                    <a:pt x="1722" y="176"/>
                    <a:pt x="1722" y="163"/>
                  </a:cubicBezTo>
                  <a:cubicBezTo>
                    <a:pt x="1717" y="159"/>
                    <a:pt x="1718" y="170"/>
                    <a:pt x="1717" y="170"/>
                  </a:cubicBezTo>
                  <a:cubicBezTo>
                    <a:pt x="1716" y="171"/>
                    <a:pt x="1706" y="163"/>
                    <a:pt x="1698" y="167"/>
                  </a:cubicBezTo>
                  <a:cubicBezTo>
                    <a:pt x="1700" y="155"/>
                    <a:pt x="1695" y="153"/>
                    <a:pt x="1695" y="145"/>
                  </a:cubicBezTo>
                  <a:cubicBezTo>
                    <a:pt x="1704" y="146"/>
                    <a:pt x="1704" y="160"/>
                    <a:pt x="1711" y="163"/>
                  </a:cubicBezTo>
                  <a:close/>
                  <a:moveTo>
                    <a:pt x="1832" y="196"/>
                  </a:moveTo>
                  <a:cubicBezTo>
                    <a:pt x="1824" y="194"/>
                    <a:pt x="1836" y="191"/>
                    <a:pt x="1835" y="185"/>
                  </a:cubicBezTo>
                  <a:cubicBezTo>
                    <a:pt x="1844" y="189"/>
                    <a:pt x="1832" y="193"/>
                    <a:pt x="1832" y="196"/>
                  </a:cubicBezTo>
                  <a:close/>
                  <a:moveTo>
                    <a:pt x="1838" y="1199"/>
                  </a:moveTo>
                  <a:cubicBezTo>
                    <a:pt x="1841" y="1198"/>
                    <a:pt x="1840" y="1202"/>
                    <a:pt x="1840" y="1202"/>
                  </a:cubicBezTo>
                  <a:cubicBezTo>
                    <a:pt x="1843" y="1203"/>
                    <a:pt x="1854" y="1199"/>
                    <a:pt x="1851" y="1210"/>
                  </a:cubicBezTo>
                  <a:cubicBezTo>
                    <a:pt x="1843" y="1212"/>
                    <a:pt x="1841" y="1206"/>
                    <a:pt x="1835" y="1206"/>
                  </a:cubicBezTo>
                  <a:cubicBezTo>
                    <a:pt x="1836" y="1206"/>
                    <a:pt x="1837" y="1199"/>
                    <a:pt x="1838" y="1199"/>
                  </a:cubicBezTo>
                  <a:close/>
                  <a:moveTo>
                    <a:pt x="1784" y="244"/>
                  </a:moveTo>
                  <a:cubicBezTo>
                    <a:pt x="1785" y="239"/>
                    <a:pt x="1792" y="241"/>
                    <a:pt x="1789" y="230"/>
                  </a:cubicBezTo>
                  <a:cubicBezTo>
                    <a:pt x="1792" y="232"/>
                    <a:pt x="1793" y="236"/>
                    <a:pt x="1795" y="241"/>
                  </a:cubicBezTo>
                  <a:cubicBezTo>
                    <a:pt x="1797" y="238"/>
                    <a:pt x="1799" y="234"/>
                    <a:pt x="1800" y="230"/>
                  </a:cubicBezTo>
                  <a:cubicBezTo>
                    <a:pt x="1804" y="231"/>
                    <a:pt x="1802" y="239"/>
                    <a:pt x="1803" y="244"/>
                  </a:cubicBezTo>
                  <a:cubicBezTo>
                    <a:pt x="1807" y="249"/>
                    <a:pt x="1809" y="255"/>
                    <a:pt x="1816" y="255"/>
                  </a:cubicBezTo>
                  <a:cubicBezTo>
                    <a:pt x="1814" y="266"/>
                    <a:pt x="1808" y="250"/>
                    <a:pt x="1800" y="255"/>
                  </a:cubicBezTo>
                  <a:cubicBezTo>
                    <a:pt x="1801" y="238"/>
                    <a:pt x="1795" y="249"/>
                    <a:pt x="1784" y="244"/>
                  </a:cubicBezTo>
                  <a:close/>
                  <a:moveTo>
                    <a:pt x="1805" y="226"/>
                  </a:moveTo>
                  <a:cubicBezTo>
                    <a:pt x="1796" y="232"/>
                    <a:pt x="1804" y="213"/>
                    <a:pt x="1797" y="215"/>
                  </a:cubicBezTo>
                  <a:cubicBezTo>
                    <a:pt x="1800" y="205"/>
                    <a:pt x="1808" y="217"/>
                    <a:pt x="1805" y="226"/>
                  </a:cubicBezTo>
                  <a:close/>
                  <a:moveTo>
                    <a:pt x="1797" y="189"/>
                  </a:moveTo>
                  <a:cubicBezTo>
                    <a:pt x="1800" y="178"/>
                    <a:pt x="1804" y="194"/>
                    <a:pt x="1811" y="189"/>
                  </a:cubicBezTo>
                  <a:cubicBezTo>
                    <a:pt x="1810" y="198"/>
                    <a:pt x="1799" y="191"/>
                    <a:pt x="1797" y="189"/>
                  </a:cubicBezTo>
                  <a:close/>
                  <a:moveTo>
                    <a:pt x="1730" y="1254"/>
                  </a:moveTo>
                  <a:cubicBezTo>
                    <a:pt x="1728" y="1255"/>
                    <a:pt x="1727" y="1258"/>
                    <a:pt x="1725" y="1258"/>
                  </a:cubicBezTo>
                  <a:cubicBezTo>
                    <a:pt x="1720" y="1258"/>
                    <a:pt x="1723" y="1270"/>
                    <a:pt x="1719" y="1273"/>
                  </a:cubicBezTo>
                  <a:cubicBezTo>
                    <a:pt x="1715" y="1265"/>
                    <a:pt x="1716" y="1269"/>
                    <a:pt x="1709" y="1265"/>
                  </a:cubicBezTo>
                  <a:cubicBezTo>
                    <a:pt x="1708" y="1258"/>
                    <a:pt x="1718" y="1265"/>
                    <a:pt x="1719" y="1261"/>
                  </a:cubicBezTo>
                  <a:cubicBezTo>
                    <a:pt x="1720" y="1261"/>
                    <a:pt x="1715" y="1252"/>
                    <a:pt x="1717" y="1250"/>
                  </a:cubicBezTo>
                  <a:cubicBezTo>
                    <a:pt x="1719" y="1248"/>
                    <a:pt x="1730" y="1259"/>
                    <a:pt x="1727" y="1243"/>
                  </a:cubicBezTo>
                  <a:cubicBezTo>
                    <a:pt x="1731" y="1232"/>
                    <a:pt x="1728" y="1261"/>
                    <a:pt x="1738" y="1254"/>
                  </a:cubicBezTo>
                  <a:cubicBezTo>
                    <a:pt x="1748" y="1256"/>
                    <a:pt x="1728" y="1263"/>
                    <a:pt x="1730" y="1254"/>
                  </a:cubicBezTo>
                  <a:close/>
                  <a:moveTo>
                    <a:pt x="1738" y="1265"/>
                  </a:moveTo>
                  <a:cubicBezTo>
                    <a:pt x="1732" y="1277"/>
                    <a:pt x="1725" y="1255"/>
                    <a:pt x="1738" y="1265"/>
                  </a:cubicBezTo>
                  <a:close/>
                  <a:moveTo>
                    <a:pt x="1725" y="1206"/>
                  </a:moveTo>
                  <a:cubicBezTo>
                    <a:pt x="1721" y="1207"/>
                    <a:pt x="1724" y="1217"/>
                    <a:pt x="1719" y="1217"/>
                  </a:cubicBezTo>
                  <a:cubicBezTo>
                    <a:pt x="1720" y="1221"/>
                    <a:pt x="1724" y="1220"/>
                    <a:pt x="1727" y="1221"/>
                  </a:cubicBezTo>
                  <a:cubicBezTo>
                    <a:pt x="1727" y="1226"/>
                    <a:pt x="1727" y="1231"/>
                    <a:pt x="1727" y="1235"/>
                  </a:cubicBezTo>
                  <a:cubicBezTo>
                    <a:pt x="1725" y="1235"/>
                    <a:pt x="1725" y="1231"/>
                    <a:pt x="1725" y="1228"/>
                  </a:cubicBezTo>
                  <a:cubicBezTo>
                    <a:pt x="1724" y="1223"/>
                    <a:pt x="1718" y="1225"/>
                    <a:pt x="1714" y="1225"/>
                  </a:cubicBezTo>
                  <a:cubicBezTo>
                    <a:pt x="1713" y="1216"/>
                    <a:pt x="1715" y="1211"/>
                    <a:pt x="1719" y="1210"/>
                  </a:cubicBezTo>
                  <a:cubicBezTo>
                    <a:pt x="1719" y="1204"/>
                    <a:pt x="1711" y="1208"/>
                    <a:pt x="1711" y="1202"/>
                  </a:cubicBezTo>
                  <a:cubicBezTo>
                    <a:pt x="1709" y="1191"/>
                    <a:pt x="1717" y="1196"/>
                    <a:pt x="1722" y="1195"/>
                  </a:cubicBezTo>
                  <a:cubicBezTo>
                    <a:pt x="1722" y="1192"/>
                    <a:pt x="1722" y="1190"/>
                    <a:pt x="1722" y="1187"/>
                  </a:cubicBezTo>
                  <a:cubicBezTo>
                    <a:pt x="1726" y="1189"/>
                    <a:pt x="1724" y="1197"/>
                    <a:pt x="1725" y="1202"/>
                  </a:cubicBezTo>
                  <a:cubicBezTo>
                    <a:pt x="1733" y="1205"/>
                    <a:pt x="1733" y="1195"/>
                    <a:pt x="1738" y="1202"/>
                  </a:cubicBezTo>
                  <a:cubicBezTo>
                    <a:pt x="1739" y="1210"/>
                    <a:pt x="1729" y="1204"/>
                    <a:pt x="1725" y="1206"/>
                  </a:cubicBezTo>
                  <a:close/>
                  <a:moveTo>
                    <a:pt x="1719" y="577"/>
                  </a:moveTo>
                  <a:cubicBezTo>
                    <a:pt x="1719" y="581"/>
                    <a:pt x="1716" y="580"/>
                    <a:pt x="1714" y="581"/>
                  </a:cubicBezTo>
                  <a:cubicBezTo>
                    <a:pt x="1714" y="578"/>
                    <a:pt x="1713" y="577"/>
                    <a:pt x="1711" y="577"/>
                  </a:cubicBezTo>
                  <a:cubicBezTo>
                    <a:pt x="1712" y="573"/>
                    <a:pt x="1717" y="575"/>
                    <a:pt x="1717" y="570"/>
                  </a:cubicBezTo>
                  <a:cubicBezTo>
                    <a:pt x="1720" y="571"/>
                    <a:pt x="1718" y="574"/>
                    <a:pt x="1717" y="574"/>
                  </a:cubicBezTo>
                  <a:cubicBezTo>
                    <a:pt x="1716" y="577"/>
                    <a:pt x="1718" y="577"/>
                    <a:pt x="1719" y="577"/>
                  </a:cubicBezTo>
                  <a:close/>
                  <a:moveTo>
                    <a:pt x="1722" y="614"/>
                  </a:moveTo>
                  <a:cubicBezTo>
                    <a:pt x="1718" y="616"/>
                    <a:pt x="1717" y="611"/>
                    <a:pt x="1717" y="607"/>
                  </a:cubicBezTo>
                  <a:cubicBezTo>
                    <a:pt x="1711" y="608"/>
                    <a:pt x="1708" y="606"/>
                    <a:pt x="1709" y="599"/>
                  </a:cubicBezTo>
                  <a:cubicBezTo>
                    <a:pt x="1719" y="597"/>
                    <a:pt x="1728" y="606"/>
                    <a:pt x="1722" y="614"/>
                  </a:cubicBezTo>
                  <a:close/>
                  <a:moveTo>
                    <a:pt x="1741" y="559"/>
                  </a:moveTo>
                  <a:cubicBezTo>
                    <a:pt x="1744" y="560"/>
                    <a:pt x="1742" y="562"/>
                    <a:pt x="1741" y="562"/>
                  </a:cubicBezTo>
                  <a:cubicBezTo>
                    <a:pt x="1739" y="576"/>
                    <a:pt x="1754" y="590"/>
                    <a:pt x="1738" y="592"/>
                  </a:cubicBezTo>
                  <a:cubicBezTo>
                    <a:pt x="1739" y="589"/>
                    <a:pt x="1741" y="585"/>
                    <a:pt x="1744" y="585"/>
                  </a:cubicBezTo>
                  <a:cubicBezTo>
                    <a:pt x="1744" y="577"/>
                    <a:pt x="1734" y="583"/>
                    <a:pt x="1730" y="581"/>
                  </a:cubicBezTo>
                  <a:cubicBezTo>
                    <a:pt x="1733" y="573"/>
                    <a:pt x="1738" y="567"/>
                    <a:pt x="1741" y="559"/>
                  </a:cubicBezTo>
                  <a:close/>
                  <a:moveTo>
                    <a:pt x="1738" y="230"/>
                  </a:moveTo>
                  <a:cubicBezTo>
                    <a:pt x="1738" y="227"/>
                    <a:pt x="1738" y="225"/>
                    <a:pt x="1738" y="222"/>
                  </a:cubicBezTo>
                  <a:cubicBezTo>
                    <a:pt x="1744" y="220"/>
                    <a:pt x="1743" y="228"/>
                    <a:pt x="1744" y="233"/>
                  </a:cubicBezTo>
                  <a:cubicBezTo>
                    <a:pt x="1741" y="233"/>
                    <a:pt x="1741" y="230"/>
                    <a:pt x="1738" y="230"/>
                  </a:cubicBezTo>
                  <a:close/>
                  <a:moveTo>
                    <a:pt x="1754" y="222"/>
                  </a:moveTo>
                  <a:cubicBezTo>
                    <a:pt x="1761" y="224"/>
                    <a:pt x="1753" y="246"/>
                    <a:pt x="1762" y="244"/>
                  </a:cubicBezTo>
                  <a:cubicBezTo>
                    <a:pt x="1760" y="263"/>
                    <a:pt x="1753" y="236"/>
                    <a:pt x="1749" y="248"/>
                  </a:cubicBezTo>
                  <a:cubicBezTo>
                    <a:pt x="1742" y="247"/>
                    <a:pt x="1747" y="231"/>
                    <a:pt x="1754" y="237"/>
                  </a:cubicBezTo>
                  <a:cubicBezTo>
                    <a:pt x="1753" y="224"/>
                    <a:pt x="1746" y="231"/>
                    <a:pt x="1754" y="222"/>
                  </a:cubicBezTo>
                  <a:close/>
                  <a:moveTo>
                    <a:pt x="1754" y="204"/>
                  </a:moveTo>
                  <a:cubicBezTo>
                    <a:pt x="1754" y="199"/>
                    <a:pt x="1754" y="194"/>
                    <a:pt x="1754" y="189"/>
                  </a:cubicBezTo>
                  <a:cubicBezTo>
                    <a:pt x="1756" y="189"/>
                    <a:pt x="1758" y="189"/>
                    <a:pt x="1760" y="189"/>
                  </a:cubicBezTo>
                  <a:cubicBezTo>
                    <a:pt x="1760" y="194"/>
                    <a:pt x="1760" y="199"/>
                    <a:pt x="1760" y="204"/>
                  </a:cubicBezTo>
                  <a:cubicBezTo>
                    <a:pt x="1758" y="204"/>
                    <a:pt x="1756" y="204"/>
                    <a:pt x="1754" y="204"/>
                  </a:cubicBezTo>
                  <a:close/>
                  <a:moveTo>
                    <a:pt x="1754" y="618"/>
                  </a:moveTo>
                  <a:cubicBezTo>
                    <a:pt x="1759" y="617"/>
                    <a:pt x="1759" y="621"/>
                    <a:pt x="1762" y="622"/>
                  </a:cubicBezTo>
                  <a:cubicBezTo>
                    <a:pt x="1763" y="629"/>
                    <a:pt x="1750" y="627"/>
                    <a:pt x="1754" y="618"/>
                  </a:cubicBezTo>
                  <a:close/>
                  <a:moveTo>
                    <a:pt x="1741" y="784"/>
                  </a:moveTo>
                  <a:cubicBezTo>
                    <a:pt x="1741" y="785"/>
                    <a:pt x="1743" y="777"/>
                    <a:pt x="1744" y="777"/>
                  </a:cubicBezTo>
                  <a:cubicBezTo>
                    <a:pt x="1744" y="777"/>
                    <a:pt x="1743" y="773"/>
                    <a:pt x="1744" y="773"/>
                  </a:cubicBezTo>
                  <a:cubicBezTo>
                    <a:pt x="1753" y="771"/>
                    <a:pt x="1744" y="790"/>
                    <a:pt x="1741" y="784"/>
                  </a:cubicBezTo>
                  <a:close/>
                  <a:moveTo>
                    <a:pt x="1735" y="640"/>
                  </a:moveTo>
                  <a:cubicBezTo>
                    <a:pt x="1736" y="636"/>
                    <a:pt x="1735" y="634"/>
                    <a:pt x="1733" y="633"/>
                  </a:cubicBezTo>
                  <a:cubicBezTo>
                    <a:pt x="1737" y="619"/>
                    <a:pt x="1737" y="641"/>
                    <a:pt x="1744" y="636"/>
                  </a:cubicBezTo>
                  <a:cubicBezTo>
                    <a:pt x="1743" y="645"/>
                    <a:pt x="1740" y="652"/>
                    <a:pt x="1738" y="659"/>
                  </a:cubicBezTo>
                  <a:cubicBezTo>
                    <a:pt x="1734" y="667"/>
                    <a:pt x="1739" y="635"/>
                    <a:pt x="1735" y="640"/>
                  </a:cubicBezTo>
                  <a:close/>
                  <a:moveTo>
                    <a:pt x="1730" y="603"/>
                  </a:moveTo>
                  <a:cubicBezTo>
                    <a:pt x="1736" y="612"/>
                    <a:pt x="1744" y="596"/>
                    <a:pt x="1744" y="614"/>
                  </a:cubicBezTo>
                  <a:cubicBezTo>
                    <a:pt x="1739" y="611"/>
                    <a:pt x="1729" y="614"/>
                    <a:pt x="1730" y="603"/>
                  </a:cubicBezTo>
                  <a:close/>
                  <a:moveTo>
                    <a:pt x="1733" y="566"/>
                  </a:moveTo>
                  <a:cubicBezTo>
                    <a:pt x="1731" y="568"/>
                    <a:pt x="1727" y="565"/>
                    <a:pt x="1727" y="570"/>
                  </a:cubicBezTo>
                  <a:cubicBezTo>
                    <a:pt x="1723" y="568"/>
                    <a:pt x="1725" y="564"/>
                    <a:pt x="1727" y="562"/>
                  </a:cubicBezTo>
                  <a:cubicBezTo>
                    <a:pt x="1731" y="560"/>
                    <a:pt x="1741" y="559"/>
                    <a:pt x="1733" y="566"/>
                  </a:cubicBezTo>
                  <a:close/>
                  <a:moveTo>
                    <a:pt x="1727" y="688"/>
                  </a:moveTo>
                  <a:cubicBezTo>
                    <a:pt x="1726" y="695"/>
                    <a:pt x="1731" y="711"/>
                    <a:pt x="1722" y="707"/>
                  </a:cubicBezTo>
                  <a:cubicBezTo>
                    <a:pt x="1727" y="700"/>
                    <a:pt x="1722" y="687"/>
                    <a:pt x="1717" y="684"/>
                  </a:cubicBezTo>
                  <a:cubicBezTo>
                    <a:pt x="1721" y="671"/>
                    <a:pt x="1721" y="693"/>
                    <a:pt x="1727" y="688"/>
                  </a:cubicBezTo>
                  <a:close/>
                  <a:moveTo>
                    <a:pt x="1738" y="1165"/>
                  </a:moveTo>
                  <a:cubicBezTo>
                    <a:pt x="1742" y="1168"/>
                    <a:pt x="1743" y="1173"/>
                    <a:pt x="1744" y="1180"/>
                  </a:cubicBezTo>
                  <a:cubicBezTo>
                    <a:pt x="1739" y="1179"/>
                    <a:pt x="1737" y="1174"/>
                    <a:pt x="1738" y="1165"/>
                  </a:cubicBezTo>
                  <a:close/>
                  <a:moveTo>
                    <a:pt x="1757" y="1206"/>
                  </a:moveTo>
                  <a:cubicBezTo>
                    <a:pt x="1750" y="1207"/>
                    <a:pt x="1751" y="1199"/>
                    <a:pt x="1744" y="1202"/>
                  </a:cubicBezTo>
                  <a:cubicBezTo>
                    <a:pt x="1744" y="1191"/>
                    <a:pt x="1760" y="1192"/>
                    <a:pt x="1757" y="1206"/>
                  </a:cubicBezTo>
                  <a:close/>
                  <a:moveTo>
                    <a:pt x="1757" y="1235"/>
                  </a:moveTo>
                  <a:cubicBezTo>
                    <a:pt x="1760" y="1237"/>
                    <a:pt x="1763" y="1240"/>
                    <a:pt x="1762" y="1247"/>
                  </a:cubicBezTo>
                  <a:cubicBezTo>
                    <a:pt x="1753" y="1250"/>
                    <a:pt x="1753" y="1241"/>
                    <a:pt x="1757" y="1235"/>
                  </a:cubicBezTo>
                  <a:close/>
                  <a:moveTo>
                    <a:pt x="1760" y="696"/>
                  </a:moveTo>
                  <a:cubicBezTo>
                    <a:pt x="1764" y="695"/>
                    <a:pt x="1765" y="699"/>
                    <a:pt x="1762" y="699"/>
                  </a:cubicBezTo>
                  <a:cubicBezTo>
                    <a:pt x="1763" y="709"/>
                    <a:pt x="1767" y="711"/>
                    <a:pt x="1762" y="718"/>
                  </a:cubicBezTo>
                  <a:cubicBezTo>
                    <a:pt x="1756" y="717"/>
                    <a:pt x="1761" y="702"/>
                    <a:pt x="1760" y="696"/>
                  </a:cubicBezTo>
                  <a:close/>
                  <a:moveTo>
                    <a:pt x="1706" y="640"/>
                  </a:moveTo>
                  <a:cubicBezTo>
                    <a:pt x="1711" y="640"/>
                    <a:pt x="1705" y="656"/>
                    <a:pt x="1698" y="651"/>
                  </a:cubicBezTo>
                  <a:cubicBezTo>
                    <a:pt x="1698" y="644"/>
                    <a:pt x="1707" y="649"/>
                    <a:pt x="1706" y="640"/>
                  </a:cubicBezTo>
                  <a:close/>
                  <a:moveTo>
                    <a:pt x="1698" y="540"/>
                  </a:moveTo>
                  <a:cubicBezTo>
                    <a:pt x="1699" y="533"/>
                    <a:pt x="1701" y="543"/>
                    <a:pt x="1700" y="548"/>
                  </a:cubicBezTo>
                  <a:cubicBezTo>
                    <a:pt x="1700" y="555"/>
                    <a:pt x="1697" y="545"/>
                    <a:pt x="1698" y="540"/>
                  </a:cubicBezTo>
                  <a:close/>
                  <a:moveTo>
                    <a:pt x="1698" y="200"/>
                  </a:moveTo>
                  <a:cubicBezTo>
                    <a:pt x="1700" y="200"/>
                    <a:pt x="1701" y="200"/>
                    <a:pt x="1703" y="200"/>
                  </a:cubicBezTo>
                  <a:cubicBezTo>
                    <a:pt x="1704" y="210"/>
                    <a:pt x="1683" y="199"/>
                    <a:pt x="1698" y="200"/>
                  </a:cubicBezTo>
                  <a:close/>
                  <a:moveTo>
                    <a:pt x="1684" y="566"/>
                  </a:moveTo>
                  <a:cubicBezTo>
                    <a:pt x="1684" y="560"/>
                    <a:pt x="1699" y="560"/>
                    <a:pt x="1695" y="570"/>
                  </a:cubicBezTo>
                  <a:cubicBezTo>
                    <a:pt x="1690" y="570"/>
                    <a:pt x="1689" y="565"/>
                    <a:pt x="1684" y="566"/>
                  </a:cubicBezTo>
                  <a:close/>
                  <a:moveTo>
                    <a:pt x="1692" y="622"/>
                  </a:moveTo>
                  <a:cubicBezTo>
                    <a:pt x="1692" y="624"/>
                    <a:pt x="1692" y="627"/>
                    <a:pt x="1692" y="629"/>
                  </a:cubicBezTo>
                  <a:cubicBezTo>
                    <a:pt x="1691" y="629"/>
                    <a:pt x="1689" y="629"/>
                    <a:pt x="1687" y="629"/>
                  </a:cubicBezTo>
                  <a:cubicBezTo>
                    <a:pt x="1687" y="627"/>
                    <a:pt x="1687" y="624"/>
                    <a:pt x="1687" y="622"/>
                  </a:cubicBezTo>
                  <a:cubicBezTo>
                    <a:pt x="1689" y="622"/>
                    <a:pt x="1691" y="622"/>
                    <a:pt x="1692" y="622"/>
                  </a:cubicBezTo>
                  <a:close/>
                  <a:moveTo>
                    <a:pt x="1690" y="63"/>
                  </a:moveTo>
                  <a:cubicBezTo>
                    <a:pt x="1699" y="70"/>
                    <a:pt x="1686" y="73"/>
                    <a:pt x="1684" y="71"/>
                  </a:cubicBezTo>
                  <a:cubicBezTo>
                    <a:pt x="1683" y="69"/>
                    <a:pt x="1691" y="66"/>
                    <a:pt x="1690" y="63"/>
                  </a:cubicBezTo>
                  <a:close/>
                  <a:moveTo>
                    <a:pt x="1684" y="1184"/>
                  </a:moveTo>
                  <a:cubicBezTo>
                    <a:pt x="1695" y="1183"/>
                    <a:pt x="1685" y="1187"/>
                    <a:pt x="1687" y="1195"/>
                  </a:cubicBezTo>
                  <a:cubicBezTo>
                    <a:pt x="1699" y="1195"/>
                    <a:pt x="1691" y="1186"/>
                    <a:pt x="1695" y="1180"/>
                  </a:cubicBezTo>
                  <a:cubicBezTo>
                    <a:pt x="1703" y="1180"/>
                    <a:pt x="1693" y="1203"/>
                    <a:pt x="1700" y="1202"/>
                  </a:cubicBezTo>
                  <a:cubicBezTo>
                    <a:pt x="1696" y="1213"/>
                    <a:pt x="1688" y="1197"/>
                    <a:pt x="1679" y="1202"/>
                  </a:cubicBezTo>
                  <a:cubicBezTo>
                    <a:pt x="1680" y="1195"/>
                    <a:pt x="1687" y="1196"/>
                    <a:pt x="1684" y="1184"/>
                  </a:cubicBezTo>
                  <a:close/>
                  <a:moveTo>
                    <a:pt x="1671" y="185"/>
                  </a:moveTo>
                  <a:cubicBezTo>
                    <a:pt x="1677" y="183"/>
                    <a:pt x="1681" y="207"/>
                    <a:pt x="1671" y="204"/>
                  </a:cubicBezTo>
                  <a:cubicBezTo>
                    <a:pt x="1675" y="198"/>
                    <a:pt x="1673" y="192"/>
                    <a:pt x="1666" y="193"/>
                  </a:cubicBezTo>
                  <a:cubicBezTo>
                    <a:pt x="1666" y="189"/>
                    <a:pt x="1671" y="190"/>
                    <a:pt x="1671" y="185"/>
                  </a:cubicBezTo>
                  <a:close/>
                  <a:moveTo>
                    <a:pt x="1668" y="215"/>
                  </a:moveTo>
                  <a:cubicBezTo>
                    <a:pt x="1676" y="215"/>
                    <a:pt x="1674" y="209"/>
                    <a:pt x="1679" y="215"/>
                  </a:cubicBezTo>
                  <a:cubicBezTo>
                    <a:pt x="1678" y="218"/>
                    <a:pt x="1676" y="221"/>
                    <a:pt x="1676" y="226"/>
                  </a:cubicBezTo>
                  <a:cubicBezTo>
                    <a:pt x="1668" y="229"/>
                    <a:pt x="1673" y="214"/>
                    <a:pt x="1666" y="215"/>
                  </a:cubicBezTo>
                  <a:cubicBezTo>
                    <a:pt x="1660" y="212"/>
                    <a:pt x="1668" y="209"/>
                    <a:pt x="1668" y="215"/>
                  </a:cubicBezTo>
                  <a:close/>
                  <a:moveTo>
                    <a:pt x="1668" y="237"/>
                  </a:moveTo>
                  <a:cubicBezTo>
                    <a:pt x="1669" y="234"/>
                    <a:pt x="1671" y="233"/>
                    <a:pt x="1671" y="230"/>
                  </a:cubicBezTo>
                  <a:cubicBezTo>
                    <a:pt x="1674" y="231"/>
                    <a:pt x="1676" y="234"/>
                    <a:pt x="1676" y="241"/>
                  </a:cubicBezTo>
                  <a:cubicBezTo>
                    <a:pt x="1672" y="242"/>
                    <a:pt x="1672" y="237"/>
                    <a:pt x="1668" y="237"/>
                  </a:cubicBezTo>
                  <a:close/>
                  <a:moveTo>
                    <a:pt x="1676" y="692"/>
                  </a:moveTo>
                  <a:cubicBezTo>
                    <a:pt x="1676" y="694"/>
                    <a:pt x="1676" y="697"/>
                    <a:pt x="1676" y="699"/>
                  </a:cubicBezTo>
                  <a:cubicBezTo>
                    <a:pt x="1675" y="699"/>
                    <a:pt x="1673" y="699"/>
                    <a:pt x="1671" y="699"/>
                  </a:cubicBezTo>
                  <a:cubicBezTo>
                    <a:pt x="1671" y="697"/>
                    <a:pt x="1671" y="694"/>
                    <a:pt x="1671" y="692"/>
                  </a:cubicBezTo>
                  <a:cubicBezTo>
                    <a:pt x="1673" y="692"/>
                    <a:pt x="1675" y="692"/>
                    <a:pt x="1676" y="692"/>
                  </a:cubicBezTo>
                  <a:close/>
                  <a:moveTo>
                    <a:pt x="1668" y="648"/>
                  </a:moveTo>
                  <a:cubicBezTo>
                    <a:pt x="1660" y="661"/>
                    <a:pt x="1659" y="636"/>
                    <a:pt x="1668" y="648"/>
                  </a:cubicBezTo>
                  <a:close/>
                  <a:moveTo>
                    <a:pt x="1663" y="1162"/>
                  </a:moveTo>
                  <a:cubicBezTo>
                    <a:pt x="1661" y="1161"/>
                    <a:pt x="1660" y="1163"/>
                    <a:pt x="1660" y="1165"/>
                  </a:cubicBezTo>
                  <a:cubicBezTo>
                    <a:pt x="1657" y="1165"/>
                    <a:pt x="1658" y="1159"/>
                    <a:pt x="1657" y="1154"/>
                  </a:cubicBezTo>
                  <a:cubicBezTo>
                    <a:pt x="1662" y="1153"/>
                    <a:pt x="1663" y="1157"/>
                    <a:pt x="1663" y="1162"/>
                  </a:cubicBezTo>
                  <a:close/>
                  <a:moveTo>
                    <a:pt x="1655" y="233"/>
                  </a:moveTo>
                  <a:cubicBezTo>
                    <a:pt x="1658" y="234"/>
                    <a:pt x="1657" y="241"/>
                    <a:pt x="1660" y="241"/>
                  </a:cubicBezTo>
                  <a:cubicBezTo>
                    <a:pt x="1659" y="251"/>
                    <a:pt x="1652" y="241"/>
                    <a:pt x="1655" y="233"/>
                  </a:cubicBezTo>
                  <a:close/>
                  <a:moveTo>
                    <a:pt x="1671" y="1254"/>
                  </a:moveTo>
                  <a:cubicBezTo>
                    <a:pt x="1670" y="1260"/>
                    <a:pt x="1673" y="1261"/>
                    <a:pt x="1676" y="1261"/>
                  </a:cubicBezTo>
                  <a:cubicBezTo>
                    <a:pt x="1675" y="1272"/>
                    <a:pt x="1668" y="1261"/>
                    <a:pt x="1666" y="1261"/>
                  </a:cubicBezTo>
                  <a:cubicBezTo>
                    <a:pt x="1660" y="1262"/>
                    <a:pt x="1659" y="1268"/>
                    <a:pt x="1652" y="1269"/>
                  </a:cubicBezTo>
                  <a:cubicBezTo>
                    <a:pt x="1652" y="1259"/>
                    <a:pt x="1660" y="1259"/>
                    <a:pt x="1663" y="1254"/>
                  </a:cubicBezTo>
                  <a:cubicBezTo>
                    <a:pt x="1662" y="1250"/>
                    <a:pt x="1658" y="1251"/>
                    <a:pt x="1655" y="1250"/>
                  </a:cubicBezTo>
                  <a:cubicBezTo>
                    <a:pt x="1652" y="1253"/>
                    <a:pt x="1652" y="1259"/>
                    <a:pt x="1647" y="1258"/>
                  </a:cubicBezTo>
                  <a:cubicBezTo>
                    <a:pt x="1643" y="1243"/>
                    <a:pt x="1655" y="1249"/>
                    <a:pt x="1655" y="1239"/>
                  </a:cubicBezTo>
                  <a:cubicBezTo>
                    <a:pt x="1657" y="1239"/>
                    <a:pt x="1657" y="1241"/>
                    <a:pt x="1657" y="1243"/>
                  </a:cubicBezTo>
                  <a:cubicBezTo>
                    <a:pt x="1662" y="1251"/>
                    <a:pt x="1679" y="1244"/>
                    <a:pt x="1684" y="1250"/>
                  </a:cubicBezTo>
                  <a:cubicBezTo>
                    <a:pt x="1683" y="1254"/>
                    <a:pt x="1678" y="1264"/>
                    <a:pt x="1687" y="1261"/>
                  </a:cubicBezTo>
                  <a:cubicBezTo>
                    <a:pt x="1680" y="1282"/>
                    <a:pt x="1683" y="1249"/>
                    <a:pt x="1671" y="1254"/>
                  </a:cubicBezTo>
                  <a:close/>
                  <a:moveTo>
                    <a:pt x="1690" y="1258"/>
                  </a:moveTo>
                  <a:cubicBezTo>
                    <a:pt x="1680" y="1250"/>
                    <a:pt x="1696" y="1247"/>
                    <a:pt x="1698" y="1243"/>
                  </a:cubicBezTo>
                  <a:cubicBezTo>
                    <a:pt x="1700" y="1242"/>
                    <a:pt x="1700" y="1244"/>
                    <a:pt x="1700" y="1247"/>
                  </a:cubicBezTo>
                  <a:cubicBezTo>
                    <a:pt x="1701" y="1252"/>
                    <a:pt x="1707" y="1250"/>
                    <a:pt x="1711" y="1250"/>
                  </a:cubicBezTo>
                  <a:cubicBezTo>
                    <a:pt x="1719" y="1260"/>
                    <a:pt x="1690" y="1248"/>
                    <a:pt x="1690" y="1258"/>
                  </a:cubicBezTo>
                  <a:close/>
                  <a:moveTo>
                    <a:pt x="1700" y="1273"/>
                  </a:moveTo>
                  <a:cubicBezTo>
                    <a:pt x="1697" y="1273"/>
                    <a:pt x="1697" y="1260"/>
                    <a:pt x="1706" y="1261"/>
                  </a:cubicBezTo>
                  <a:cubicBezTo>
                    <a:pt x="1705" y="1263"/>
                    <a:pt x="1702" y="1272"/>
                    <a:pt x="1700" y="1273"/>
                  </a:cubicBezTo>
                  <a:close/>
                  <a:moveTo>
                    <a:pt x="1730" y="1298"/>
                  </a:moveTo>
                  <a:cubicBezTo>
                    <a:pt x="1728" y="1299"/>
                    <a:pt x="1726" y="1312"/>
                    <a:pt x="1717" y="1306"/>
                  </a:cubicBezTo>
                  <a:cubicBezTo>
                    <a:pt x="1716" y="1305"/>
                    <a:pt x="1718" y="1295"/>
                    <a:pt x="1717" y="1295"/>
                  </a:cubicBezTo>
                  <a:cubicBezTo>
                    <a:pt x="1712" y="1293"/>
                    <a:pt x="1709" y="1301"/>
                    <a:pt x="1703" y="1298"/>
                  </a:cubicBezTo>
                  <a:cubicBezTo>
                    <a:pt x="1701" y="1288"/>
                    <a:pt x="1709" y="1291"/>
                    <a:pt x="1709" y="1284"/>
                  </a:cubicBezTo>
                  <a:cubicBezTo>
                    <a:pt x="1711" y="1283"/>
                    <a:pt x="1713" y="1291"/>
                    <a:pt x="1714" y="1291"/>
                  </a:cubicBezTo>
                  <a:cubicBezTo>
                    <a:pt x="1716" y="1292"/>
                    <a:pt x="1720" y="1286"/>
                    <a:pt x="1725" y="1287"/>
                  </a:cubicBezTo>
                  <a:cubicBezTo>
                    <a:pt x="1725" y="1287"/>
                    <a:pt x="1725" y="1295"/>
                    <a:pt x="1725" y="1295"/>
                  </a:cubicBezTo>
                  <a:cubicBezTo>
                    <a:pt x="1727" y="1295"/>
                    <a:pt x="1732" y="1290"/>
                    <a:pt x="1733" y="1287"/>
                  </a:cubicBezTo>
                  <a:cubicBezTo>
                    <a:pt x="1736" y="1290"/>
                    <a:pt x="1738" y="1295"/>
                    <a:pt x="1738" y="1302"/>
                  </a:cubicBezTo>
                  <a:cubicBezTo>
                    <a:pt x="1735" y="1306"/>
                    <a:pt x="1730" y="1298"/>
                    <a:pt x="1730" y="1298"/>
                  </a:cubicBezTo>
                  <a:close/>
                  <a:moveTo>
                    <a:pt x="1735" y="1324"/>
                  </a:moveTo>
                  <a:cubicBezTo>
                    <a:pt x="1733" y="1314"/>
                    <a:pt x="1741" y="1320"/>
                    <a:pt x="1744" y="1317"/>
                  </a:cubicBezTo>
                  <a:cubicBezTo>
                    <a:pt x="1748" y="1311"/>
                    <a:pt x="1745" y="1318"/>
                    <a:pt x="1752" y="1324"/>
                  </a:cubicBezTo>
                  <a:cubicBezTo>
                    <a:pt x="1751" y="1331"/>
                    <a:pt x="1743" y="1320"/>
                    <a:pt x="1735" y="1324"/>
                  </a:cubicBezTo>
                  <a:close/>
                  <a:moveTo>
                    <a:pt x="1752" y="1302"/>
                  </a:moveTo>
                  <a:cubicBezTo>
                    <a:pt x="1750" y="1302"/>
                    <a:pt x="1748" y="1302"/>
                    <a:pt x="1746" y="1302"/>
                  </a:cubicBezTo>
                  <a:cubicBezTo>
                    <a:pt x="1746" y="1300"/>
                    <a:pt x="1746" y="1297"/>
                    <a:pt x="1746" y="1295"/>
                  </a:cubicBezTo>
                  <a:cubicBezTo>
                    <a:pt x="1748" y="1295"/>
                    <a:pt x="1750" y="1295"/>
                    <a:pt x="1752" y="1295"/>
                  </a:cubicBezTo>
                  <a:cubicBezTo>
                    <a:pt x="1752" y="1297"/>
                    <a:pt x="1752" y="1300"/>
                    <a:pt x="1752" y="1302"/>
                  </a:cubicBezTo>
                  <a:close/>
                  <a:moveTo>
                    <a:pt x="1757" y="1269"/>
                  </a:moveTo>
                  <a:cubicBezTo>
                    <a:pt x="1752" y="1270"/>
                    <a:pt x="1754" y="1261"/>
                    <a:pt x="1752" y="1258"/>
                  </a:cubicBezTo>
                  <a:cubicBezTo>
                    <a:pt x="1750" y="1255"/>
                    <a:pt x="1745" y="1256"/>
                    <a:pt x="1744" y="1254"/>
                  </a:cubicBezTo>
                  <a:cubicBezTo>
                    <a:pt x="1741" y="1251"/>
                    <a:pt x="1742" y="1244"/>
                    <a:pt x="1738" y="1243"/>
                  </a:cubicBezTo>
                  <a:cubicBezTo>
                    <a:pt x="1741" y="1233"/>
                    <a:pt x="1749" y="1245"/>
                    <a:pt x="1746" y="1254"/>
                  </a:cubicBezTo>
                  <a:cubicBezTo>
                    <a:pt x="1753" y="1249"/>
                    <a:pt x="1756" y="1252"/>
                    <a:pt x="1762" y="1254"/>
                  </a:cubicBezTo>
                  <a:cubicBezTo>
                    <a:pt x="1762" y="1261"/>
                    <a:pt x="1755" y="1259"/>
                    <a:pt x="1757" y="1269"/>
                  </a:cubicBezTo>
                  <a:close/>
                  <a:moveTo>
                    <a:pt x="1762" y="1269"/>
                  </a:moveTo>
                  <a:cubicBezTo>
                    <a:pt x="1767" y="1261"/>
                    <a:pt x="1772" y="1268"/>
                    <a:pt x="1768" y="1254"/>
                  </a:cubicBezTo>
                  <a:cubicBezTo>
                    <a:pt x="1777" y="1256"/>
                    <a:pt x="1773" y="1273"/>
                    <a:pt x="1762" y="1269"/>
                  </a:cubicBezTo>
                  <a:close/>
                  <a:moveTo>
                    <a:pt x="1773" y="1210"/>
                  </a:moveTo>
                  <a:cubicBezTo>
                    <a:pt x="1771" y="1207"/>
                    <a:pt x="1767" y="1206"/>
                    <a:pt x="1762" y="1206"/>
                  </a:cubicBezTo>
                  <a:cubicBezTo>
                    <a:pt x="1762" y="1199"/>
                    <a:pt x="1777" y="1199"/>
                    <a:pt x="1773" y="1210"/>
                  </a:cubicBezTo>
                  <a:close/>
                  <a:moveTo>
                    <a:pt x="1776" y="241"/>
                  </a:moveTo>
                  <a:cubicBezTo>
                    <a:pt x="1771" y="240"/>
                    <a:pt x="1770" y="245"/>
                    <a:pt x="1765" y="244"/>
                  </a:cubicBezTo>
                  <a:cubicBezTo>
                    <a:pt x="1765" y="241"/>
                    <a:pt x="1765" y="237"/>
                    <a:pt x="1765" y="233"/>
                  </a:cubicBezTo>
                  <a:cubicBezTo>
                    <a:pt x="1768" y="238"/>
                    <a:pt x="1778" y="235"/>
                    <a:pt x="1778" y="244"/>
                  </a:cubicBezTo>
                  <a:cubicBezTo>
                    <a:pt x="1777" y="250"/>
                    <a:pt x="1776" y="245"/>
                    <a:pt x="1776" y="241"/>
                  </a:cubicBezTo>
                  <a:close/>
                  <a:moveTo>
                    <a:pt x="1776" y="1206"/>
                  </a:moveTo>
                  <a:cubicBezTo>
                    <a:pt x="1777" y="1201"/>
                    <a:pt x="1782" y="1203"/>
                    <a:pt x="1787" y="1202"/>
                  </a:cubicBezTo>
                  <a:cubicBezTo>
                    <a:pt x="1787" y="1200"/>
                    <a:pt x="1787" y="1197"/>
                    <a:pt x="1787" y="1195"/>
                  </a:cubicBezTo>
                  <a:cubicBezTo>
                    <a:pt x="1789" y="1194"/>
                    <a:pt x="1789" y="1196"/>
                    <a:pt x="1789" y="1199"/>
                  </a:cubicBezTo>
                  <a:cubicBezTo>
                    <a:pt x="1789" y="1207"/>
                    <a:pt x="1799" y="1200"/>
                    <a:pt x="1803" y="1202"/>
                  </a:cubicBezTo>
                  <a:cubicBezTo>
                    <a:pt x="1805" y="1202"/>
                    <a:pt x="1805" y="1198"/>
                    <a:pt x="1805" y="1195"/>
                  </a:cubicBezTo>
                  <a:cubicBezTo>
                    <a:pt x="1808" y="1197"/>
                    <a:pt x="1810" y="1199"/>
                    <a:pt x="1811" y="1195"/>
                  </a:cubicBezTo>
                  <a:cubicBezTo>
                    <a:pt x="1814" y="1194"/>
                    <a:pt x="1812" y="1201"/>
                    <a:pt x="1813" y="1202"/>
                  </a:cubicBezTo>
                  <a:cubicBezTo>
                    <a:pt x="1817" y="1206"/>
                    <a:pt x="1827" y="1196"/>
                    <a:pt x="1824" y="1210"/>
                  </a:cubicBezTo>
                  <a:cubicBezTo>
                    <a:pt x="1818" y="1204"/>
                    <a:pt x="1813" y="1210"/>
                    <a:pt x="1805" y="1210"/>
                  </a:cubicBezTo>
                  <a:cubicBezTo>
                    <a:pt x="1797" y="1209"/>
                    <a:pt x="1787" y="1203"/>
                    <a:pt x="1776" y="1206"/>
                  </a:cubicBezTo>
                  <a:close/>
                  <a:moveTo>
                    <a:pt x="1797" y="1225"/>
                  </a:moveTo>
                  <a:cubicBezTo>
                    <a:pt x="1805" y="1211"/>
                    <a:pt x="1806" y="1236"/>
                    <a:pt x="1797" y="1225"/>
                  </a:cubicBezTo>
                  <a:close/>
                  <a:moveTo>
                    <a:pt x="1787" y="1276"/>
                  </a:moveTo>
                  <a:cubicBezTo>
                    <a:pt x="1782" y="1273"/>
                    <a:pt x="1780" y="1266"/>
                    <a:pt x="1784" y="1261"/>
                  </a:cubicBezTo>
                  <a:cubicBezTo>
                    <a:pt x="1792" y="1265"/>
                    <a:pt x="1787" y="1267"/>
                    <a:pt x="1787" y="1276"/>
                  </a:cubicBezTo>
                  <a:close/>
                  <a:moveTo>
                    <a:pt x="1778" y="1258"/>
                  </a:moveTo>
                  <a:cubicBezTo>
                    <a:pt x="1779" y="1254"/>
                    <a:pt x="1782" y="1255"/>
                    <a:pt x="1784" y="1254"/>
                  </a:cubicBezTo>
                  <a:cubicBezTo>
                    <a:pt x="1787" y="1254"/>
                    <a:pt x="1789" y="1254"/>
                    <a:pt x="1792" y="1254"/>
                  </a:cubicBezTo>
                  <a:cubicBezTo>
                    <a:pt x="1792" y="1262"/>
                    <a:pt x="1782" y="1256"/>
                    <a:pt x="1778" y="1258"/>
                  </a:cubicBezTo>
                  <a:close/>
                  <a:moveTo>
                    <a:pt x="1800" y="1276"/>
                  </a:moveTo>
                  <a:cubicBezTo>
                    <a:pt x="1795" y="1276"/>
                    <a:pt x="1798" y="1264"/>
                    <a:pt x="1792" y="1265"/>
                  </a:cubicBezTo>
                  <a:cubicBezTo>
                    <a:pt x="1792" y="1261"/>
                    <a:pt x="1797" y="1262"/>
                    <a:pt x="1800" y="1261"/>
                  </a:cubicBezTo>
                  <a:cubicBezTo>
                    <a:pt x="1796" y="1256"/>
                    <a:pt x="1790" y="1252"/>
                    <a:pt x="1792" y="1239"/>
                  </a:cubicBezTo>
                  <a:cubicBezTo>
                    <a:pt x="1802" y="1236"/>
                    <a:pt x="1800" y="1269"/>
                    <a:pt x="1805" y="1261"/>
                  </a:cubicBezTo>
                  <a:cubicBezTo>
                    <a:pt x="1816" y="1270"/>
                    <a:pt x="1796" y="1265"/>
                    <a:pt x="1800" y="1276"/>
                  </a:cubicBezTo>
                  <a:close/>
                  <a:moveTo>
                    <a:pt x="1811" y="1221"/>
                  </a:moveTo>
                  <a:cubicBezTo>
                    <a:pt x="1811" y="1208"/>
                    <a:pt x="1820" y="1229"/>
                    <a:pt x="1819" y="1217"/>
                  </a:cubicBezTo>
                  <a:cubicBezTo>
                    <a:pt x="1820" y="1216"/>
                    <a:pt x="1822" y="1224"/>
                    <a:pt x="1822" y="1225"/>
                  </a:cubicBezTo>
                  <a:cubicBezTo>
                    <a:pt x="1821" y="1225"/>
                    <a:pt x="1816" y="1223"/>
                    <a:pt x="1816" y="1225"/>
                  </a:cubicBezTo>
                  <a:cubicBezTo>
                    <a:pt x="1814" y="1232"/>
                    <a:pt x="1814" y="1235"/>
                    <a:pt x="1813" y="1243"/>
                  </a:cubicBezTo>
                  <a:cubicBezTo>
                    <a:pt x="1801" y="1236"/>
                    <a:pt x="1818" y="1227"/>
                    <a:pt x="1811" y="1221"/>
                  </a:cubicBezTo>
                  <a:close/>
                  <a:moveTo>
                    <a:pt x="1811" y="1254"/>
                  </a:moveTo>
                  <a:cubicBezTo>
                    <a:pt x="1806" y="1252"/>
                    <a:pt x="1814" y="1248"/>
                    <a:pt x="1813" y="1254"/>
                  </a:cubicBezTo>
                  <a:cubicBezTo>
                    <a:pt x="1820" y="1254"/>
                    <a:pt x="1822" y="1247"/>
                    <a:pt x="1827" y="1254"/>
                  </a:cubicBezTo>
                  <a:cubicBezTo>
                    <a:pt x="1825" y="1264"/>
                    <a:pt x="1824" y="1275"/>
                    <a:pt x="1813" y="1273"/>
                  </a:cubicBezTo>
                  <a:cubicBezTo>
                    <a:pt x="1812" y="1267"/>
                    <a:pt x="1817" y="1253"/>
                    <a:pt x="1811" y="1254"/>
                  </a:cubicBezTo>
                  <a:close/>
                  <a:moveTo>
                    <a:pt x="1827" y="1295"/>
                  </a:moveTo>
                  <a:cubicBezTo>
                    <a:pt x="1820" y="1296"/>
                    <a:pt x="1821" y="1288"/>
                    <a:pt x="1813" y="1291"/>
                  </a:cubicBezTo>
                  <a:cubicBezTo>
                    <a:pt x="1813" y="1285"/>
                    <a:pt x="1831" y="1284"/>
                    <a:pt x="1827" y="1295"/>
                  </a:cubicBezTo>
                  <a:close/>
                  <a:moveTo>
                    <a:pt x="1835" y="1306"/>
                  </a:moveTo>
                  <a:cubicBezTo>
                    <a:pt x="1832" y="1305"/>
                    <a:pt x="1833" y="1299"/>
                    <a:pt x="1832" y="1295"/>
                  </a:cubicBezTo>
                  <a:cubicBezTo>
                    <a:pt x="1837" y="1293"/>
                    <a:pt x="1837" y="1298"/>
                    <a:pt x="1838" y="1302"/>
                  </a:cubicBezTo>
                  <a:cubicBezTo>
                    <a:pt x="1835" y="1301"/>
                    <a:pt x="1835" y="1304"/>
                    <a:pt x="1835" y="1306"/>
                  </a:cubicBezTo>
                  <a:close/>
                  <a:moveTo>
                    <a:pt x="1843" y="1269"/>
                  </a:moveTo>
                  <a:cubicBezTo>
                    <a:pt x="1842" y="1282"/>
                    <a:pt x="1831" y="1262"/>
                    <a:pt x="1832" y="1273"/>
                  </a:cubicBezTo>
                  <a:cubicBezTo>
                    <a:pt x="1823" y="1272"/>
                    <a:pt x="1838" y="1260"/>
                    <a:pt x="1830" y="1261"/>
                  </a:cubicBezTo>
                  <a:cubicBezTo>
                    <a:pt x="1829" y="1256"/>
                    <a:pt x="1845" y="1257"/>
                    <a:pt x="1835" y="1250"/>
                  </a:cubicBezTo>
                  <a:cubicBezTo>
                    <a:pt x="1837" y="1245"/>
                    <a:pt x="1839" y="1251"/>
                    <a:pt x="1846" y="1247"/>
                  </a:cubicBezTo>
                  <a:cubicBezTo>
                    <a:pt x="1846" y="1251"/>
                    <a:pt x="1845" y="1253"/>
                    <a:pt x="1843" y="1254"/>
                  </a:cubicBezTo>
                  <a:cubicBezTo>
                    <a:pt x="1843" y="1258"/>
                    <a:pt x="1846" y="1257"/>
                    <a:pt x="1848" y="1258"/>
                  </a:cubicBezTo>
                  <a:cubicBezTo>
                    <a:pt x="1847" y="1262"/>
                    <a:pt x="1828" y="1265"/>
                    <a:pt x="1843" y="1269"/>
                  </a:cubicBezTo>
                  <a:close/>
                  <a:moveTo>
                    <a:pt x="1862" y="1309"/>
                  </a:moveTo>
                  <a:cubicBezTo>
                    <a:pt x="1861" y="1311"/>
                    <a:pt x="1859" y="1300"/>
                    <a:pt x="1856" y="1302"/>
                  </a:cubicBezTo>
                  <a:cubicBezTo>
                    <a:pt x="1861" y="1290"/>
                    <a:pt x="1864" y="1307"/>
                    <a:pt x="1862" y="1309"/>
                  </a:cubicBezTo>
                  <a:close/>
                  <a:moveTo>
                    <a:pt x="1867" y="1273"/>
                  </a:moveTo>
                  <a:cubicBezTo>
                    <a:pt x="1862" y="1276"/>
                    <a:pt x="1856" y="1279"/>
                    <a:pt x="1854" y="1287"/>
                  </a:cubicBezTo>
                  <a:cubicBezTo>
                    <a:pt x="1845" y="1279"/>
                    <a:pt x="1860" y="1274"/>
                    <a:pt x="1859" y="1265"/>
                  </a:cubicBezTo>
                  <a:cubicBezTo>
                    <a:pt x="1859" y="1261"/>
                    <a:pt x="1854" y="1262"/>
                    <a:pt x="1851" y="1261"/>
                  </a:cubicBezTo>
                  <a:cubicBezTo>
                    <a:pt x="1853" y="1256"/>
                    <a:pt x="1857" y="1255"/>
                    <a:pt x="1862" y="1254"/>
                  </a:cubicBezTo>
                  <a:cubicBezTo>
                    <a:pt x="1859" y="1249"/>
                    <a:pt x="1861" y="1248"/>
                    <a:pt x="1862" y="1243"/>
                  </a:cubicBezTo>
                  <a:cubicBezTo>
                    <a:pt x="1868" y="1242"/>
                    <a:pt x="1860" y="1260"/>
                    <a:pt x="1870" y="1254"/>
                  </a:cubicBezTo>
                  <a:cubicBezTo>
                    <a:pt x="1869" y="1259"/>
                    <a:pt x="1866" y="1262"/>
                    <a:pt x="1862" y="1261"/>
                  </a:cubicBezTo>
                  <a:cubicBezTo>
                    <a:pt x="1862" y="1269"/>
                    <a:pt x="1868" y="1262"/>
                    <a:pt x="1867" y="1261"/>
                  </a:cubicBezTo>
                  <a:cubicBezTo>
                    <a:pt x="1870" y="1263"/>
                    <a:pt x="1870" y="1271"/>
                    <a:pt x="1875" y="1269"/>
                  </a:cubicBezTo>
                  <a:cubicBezTo>
                    <a:pt x="1875" y="1273"/>
                    <a:pt x="1870" y="1272"/>
                    <a:pt x="1867" y="1273"/>
                  </a:cubicBezTo>
                  <a:close/>
                  <a:moveTo>
                    <a:pt x="1867" y="1165"/>
                  </a:moveTo>
                  <a:cubicBezTo>
                    <a:pt x="1865" y="1165"/>
                    <a:pt x="1864" y="1165"/>
                    <a:pt x="1862" y="1165"/>
                  </a:cubicBezTo>
                  <a:cubicBezTo>
                    <a:pt x="1862" y="1163"/>
                    <a:pt x="1862" y="1160"/>
                    <a:pt x="1862" y="1158"/>
                  </a:cubicBezTo>
                  <a:cubicBezTo>
                    <a:pt x="1864" y="1158"/>
                    <a:pt x="1865" y="1158"/>
                    <a:pt x="1867" y="1158"/>
                  </a:cubicBezTo>
                  <a:cubicBezTo>
                    <a:pt x="1867" y="1160"/>
                    <a:pt x="1867" y="1163"/>
                    <a:pt x="1867" y="1165"/>
                  </a:cubicBezTo>
                  <a:close/>
                  <a:moveTo>
                    <a:pt x="1873" y="1173"/>
                  </a:moveTo>
                  <a:cubicBezTo>
                    <a:pt x="1873" y="1175"/>
                    <a:pt x="1873" y="1178"/>
                    <a:pt x="1873" y="1180"/>
                  </a:cubicBezTo>
                  <a:cubicBezTo>
                    <a:pt x="1871" y="1180"/>
                    <a:pt x="1869" y="1180"/>
                    <a:pt x="1867" y="1180"/>
                  </a:cubicBezTo>
                  <a:cubicBezTo>
                    <a:pt x="1867" y="1178"/>
                    <a:pt x="1867" y="1175"/>
                    <a:pt x="1867" y="1173"/>
                  </a:cubicBezTo>
                  <a:cubicBezTo>
                    <a:pt x="1869" y="1173"/>
                    <a:pt x="1871" y="1173"/>
                    <a:pt x="1873" y="1173"/>
                  </a:cubicBezTo>
                  <a:close/>
                  <a:moveTo>
                    <a:pt x="1873" y="1191"/>
                  </a:moveTo>
                  <a:cubicBezTo>
                    <a:pt x="1871" y="1197"/>
                    <a:pt x="1870" y="1191"/>
                    <a:pt x="1870" y="1187"/>
                  </a:cubicBezTo>
                  <a:cubicBezTo>
                    <a:pt x="1867" y="1187"/>
                    <a:pt x="1865" y="1188"/>
                    <a:pt x="1865" y="1191"/>
                  </a:cubicBezTo>
                  <a:cubicBezTo>
                    <a:pt x="1854" y="1184"/>
                    <a:pt x="1875" y="1179"/>
                    <a:pt x="1873" y="1191"/>
                  </a:cubicBezTo>
                  <a:close/>
                  <a:moveTo>
                    <a:pt x="1867" y="1210"/>
                  </a:moveTo>
                  <a:cubicBezTo>
                    <a:pt x="1866" y="1192"/>
                    <a:pt x="1879" y="1201"/>
                    <a:pt x="1878" y="1213"/>
                  </a:cubicBezTo>
                  <a:cubicBezTo>
                    <a:pt x="1876" y="1211"/>
                    <a:pt x="1872" y="1209"/>
                    <a:pt x="1867" y="1210"/>
                  </a:cubicBezTo>
                  <a:close/>
                  <a:moveTo>
                    <a:pt x="1873" y="174"/>
                  </a:moveTo>
                  <a:cubicBezTo>
                    <a:pt x="1868" y="183"/>
                    <a:pt x="1863" y="171"/>
                    <a:pt x="1859" y="170"/>
                  </a:cubicBezTo>
                  <a:cubicBezTo>
                    <a:pt x="1858" y="170"/>
                    <a:pt x="1854" y="170"/>
                    <a:pt x="1854" y="170"/>
                  </a:cubicBezTo>
                  <a:cubicBezTo>
                    <a:pt x="1850" y="176"/>
                    <a:pt x="1856" y="179"/>
                    <a:pt x="1846" y="174"/>
                  </a:cubicBezTo>
                  <a:cubicBezTo>
                    <a:pt x="1843" y="185"/>
                    <a:pt x="1852" y="181"/>
                    <a:pt x="1856" y="182"/>
                  </a:cubicBezTo>
                  <a:cubicBezTo>
                    <a:pt x="1856" y="188"/>
                    <a:pt x="1848" y="184"/>
                    <a:pt x="1848" y="193"/>
                  </a:cubicBezTo>
                  <a:cubicBezTo>
                    <a:pt x="1851" y="203"/>
                    <a:pt x="1856" y="187"/>
                    <a:pt x="1859" y="196"/>
                  </a:cubicBezTo>
                  <a:cubicBezTo>
                    <a:pt x="1864" y="199"/>
                    <a:pt x="1856" y="202"/>
                    <a:pt x="1856" y="196"/>
                  </a:cubicBezTo>
                  <a:cubicBezTo>
                    <a:pt x="1854" y="196"/>
                    <a:pt x="1854" y="201"/>
                    <a:pt x="1854" y="204"/>
                  </a:cubicBezTo>
                  <a:cubicBezTo>
                    <a:pt x="1848" y="205"/>
                    <a:pt x="1847" y="201"/>
                    <a:pt x="1843" y="200"/>
                  </a:cubicBezTo>
                  <a:cubicBezTo>
                    <a:pt x="1842" y="208"/>
                    <a:pt x="1844" y="214"/>
                    <a:pt x="1848" y="215"/>
                  </a:cubicBezTo>
                  <a:cubicBezTo>
                    <a:pt x="1842" y="227"/>
                    <a:pt x="1839" y="204"/>
                    <a:pt x="1838" y="196"/>
                  </a:cubicBezTo>
                  <a:cubicBezTo>
                    <a:pt x="1847" y="195"/>
                    <a:pt x="1846" y="185"/>
                    <a:pt x="1840" y="178"/>
                  </a:cubicBezTo>
                  <a:cubicBezTo>
                    <a:pt x="1840" y="171"/>
                    <a:pt x="1848" y="173"/>
                    <a:pt x="1846" y="163"/>
                  </a:cubicBezTo>
                  <a:cubicBezTo>
                    <a:pt x="1855" y="164"/>
                    <a:pt x="1863" y="162"/>
                    <a:pt x="1870" y="159"/>
                  </a:cubicBezTo>
                  <a:cubicBezTo>
                    <a:pt x="1869" y="162"/>
                    <a:pt x="1867" y="163"/>
                    <a:pt x="1867" y="167"/>
                  </a:cubicBezTo>
                  <a:cubicBezTo>
                    <a:pt x="1871" y="170"/>
                    <a:pt x="1875" y="163"/>
                    <a:pt x="1875" y="163"/>
                  </a:cubicBezTo>
                  <a:cubicBezTo>
                    <a:pt x="1879" y="164"/>
                    <a:pt x="1876" y="169"/>
                    <a:pt x="1878" y="170"/>
                  </a:cubicBezTo>
                  <a:cubicBezTo>
                    <a:pt x="1882" y="174"/>
                    <a:pt x="1889" y="167"/>
                    <a:pt x="1883" y="167"/>
                  </a:cubicBezTo>
                  <a:cubicBezTo>
                    <a:pt x="1883" y="167"/>
                    <a:pt x="1885" y="161"/>
                    <a:pt x="1886" y="163"/>
                  </a:cubicBezTo>
                  <a:cubicBezTo>
                    <a:pt x="1888" y="166"/>
                    <a:pt x="1891" y="166"/>
                    <a:pt x="1891" y="170"/>
                  </a:cubicBezTo>
                  <a:cubicBezTo>
                    <a:pt x="1897" y="170"/>
                    <a:pt x="1888" y="161"/>
                    <a:pt x="1891" y="152"/>
                  </a:cubicBezTo>
                  <a:cubicBezTo>
                    <a:pt x="1902" y="153"/>
                    <a:pt x="1896" y="131"/>
                    <a:pt x="1908" y="133"/>
                  </a:cubicBezTo>
                  <a:cubicBezTo>
                    <a:pt x="1903" y="144"/>
                    <a:pt x="1891" y="164"/>
                    <a:pt x="1902" y="174"/>
                  </a:cubicBezTo>
                  <a:cubicBezTo>
                    <a:pt x="1897" y="182"/>
                    <a:pt x="1893" y="205"/>
                    <a:pt x="1902" y="211"/>
                  </a:cubicBezTo>
                  <a:cubicBezTo>
                    <a:pt x="1900" y="218"/>
                    <a:pt x="1893" y="224"/>
                    <a:pt x="1889" y="218"/>
                  </a:cubicBezTo>
                  <a:cubicBezTo>
                    <a:pt x="1890" y="211"/>
                    <a:pt x="1893" y="211"/>
                    <a:pt x="1897" y="215"/>
                  </a:cubicBezTo>
                  <a:cubicBezTo>
                    <a:pt x="1892" y="209"/>
                    <a:pt x="1897" y="189"/>
                    <a:pt x="1886" y="193"/>
                  </a:cubicBezTo>
                  <a:cubicBezTo>
                    <a:pt x="1887" y="188"/>
                    <a:pt x="1891" y="190"/>
                    <a:pt x="1894" y="189"/>
                  </a:cubicBezTo>
                  <a:cubicBezTo>
                    <a:pt x="1891" y="177"/>
                    <a:pt x="1886" y="188"/>
                    <a:pt x="1881" y="178"/>
                  </a:cubicBezTo>
                  <a:cubicBezTo>
                    <a:pt x="1878" y="179"/>
                    <a:pt x="1879" y="182"/>
                    <a:pt x="1881" y="182"/>
                  </a:cubicBezTo>
                  <a:cubicBezTo>
                    <a:pt x="1880" y="191"/>
                    <a:pt x="1870" y="182"/>
                    <a:pt x="1873" y="174"/>
                  </a:cubicBezTo>
                  <a:close/>
                  <a:moveTo>
                    <a:pt x="1899" y="1317"/>
                  </a:moveTo>
                  <a:cubicBezTo>
                    <a:pt x="1889" y="1322"/>
                    <a:pt x="1899" y="1300"/>
                    <a:pt x="1889" y="1306"/>
                  </a:cubicBezTo>
                  <a:cubicBezTo>
                    <a:pt x="1890" y="1301"/>
                    <a:pt x="1895" y="1303"/>
                    <a:pt x="1899" y="1302"/>
                  </a:cubicBezTo>
                  <a:cubicBezTo>
                    <a:pt x="1899" y="1307"/>
                    <a:pt x="1899" y="1312"/>
                    <a:pt x="1899" y="1317"/>
                  </a:cubicBezTo>
                  <a:close/>
                  <a:moveTo>
                    <a:pt x="1937" y="1258"/>
                  </a:moveTo>
                  <a:cubicBezTo>
                    <a:pt x="1935" y="1258"/>
                    <a:pt x="1935" y="1253"/>
                    <a:pt x="1934" y="1250"/>
                  </a:cubicBezTo>
                  <a:cubicBezTo>
                    <a:pt x="1928" y="1251"/>
                    <a:pt x="1934" y="1262"/>
                    <a:pt x="1934" y="1261"/>
                  </a:cubicBezTo>
                  <a:cubicBezTo>
                    <a:pt x="1934" y="1269"/>
                    <a:pt x="1927" y="1263"/>
                    <a:pt x="1932" y="1276"/>
                  </a:cubicBezTo>
                  <a:cubicBezTo>
                    <a:pt x="1924" y="1279"/>
                    <a:pt x="1925" y="1271"/>
                    <a:pt x="1918" y="1273"/>
                  </a:cubicBezTo>
                  <a:cubicBezTo>
                    <a:pt x="1919" y="1268"/>
                    <a:pt x="1923" y="1269"/>
                    <a:pt x="1926" y="1269"/>
                  </a:cubicBezTo>
                  <a:cubicBezTo>
                    <a:pt x="1924" y="1260"/>
                    <a:pt x="1913" y="1260"/>
                    <a:pt x="1913" y="1273"/>
                  </a:cubicBezTo>
                  <a:cubicBezTo>
                    <a:pt x="1907" y="1275"/>
                    <a:pt x="1909" y="1265"/>
                    <a:pt x="1905" y="1265"/>
                  </a:cubicBezTo>
                  <a:cubicBezTo>
                    <a:pt x="1902" y="1266"/>
                    <a:pt x="1903" y="1269"/>
                    <a:pt x="1905" y="1269"/>
                  </a:cubicBezTo>
                  <a:cubicBezTo>
                    <a:pt x="1904" y="1279"/>
                    <a:pt x="1886" y="1266"/>
                    <a:pt x="1886" y="1276"/>
                  </a:cubicBezTo>
                  <a:cubicBezTo>
                    <a:pt x="1882" y="1275"/>
                    <a:pt x="1885" y="1265"/>
                    <a:pt x="1881" y="1265"/>
                  </a:cubicBezTo>
                  <a:cubicBezTo>
                    <a:pt x="1880" y="1258"/>
                    <a:pt x="1886" y="1261"/>
                    <a:pt x="1889" y="1258"/>
                  </a:cubicBezTo>
                  <a:cubicBezTo>
                    <a:pt x="1890" y="1256"/>
                    <a:pt x="1890" y="1242"/>
                    <a:pt x="1897" y="1247"/>
                  </a:cubicBezTo>
                  <a:cubicBezTo>
                    <a:pt x="1897" y="1257"/>
                    <a:pt x="1891" y="1260"/>
                    <a:pt x="1886" y="1265"/>
                  </a:cubicBezTo>
                  <a:cubicBezTo>
                    <a:pt x="1886" y="1273"/>
                    <a:pt x="1896" y="1267"/>
                    <a:pt x="1899" y="1269"/>
                  </a:cubicBezTo>
                  <a:cubicBezTo>
                    <a:pt x="1899" y="1265"/>
                    <a:pt x="1896" y="1266"/>
                    <a:pt x="1894" y="1265"/>
                  </a:cubicBezTo>
                  <a:cubicBezTo>
                    <a:pt x="1894" y="1262"/>
                    <a:pt x="1897" y="1262"/>
                    <a:pt x="1899" y="1261"/>
                  </a:cubicBezTo>
                  <a:cubicBezTo>
                    <a:pt x="1898" y="1254"/>
                    <a:pt x="1901" y="1252"/>
                    <a:pt x="1902" y="1247"/>
                  </a:cubicBezTo>
                  <a:cubicBezTo>
                    <a:pt x="1906" y="1247"/>
                    <a:pt x="1903" y="1258"/>
                    <a:pt x="1908" y="1258"/>
                  </a:cubicBezTo>
                  <a:cubicBezTo>
                    <a:pt x="1912" y="1258"/>
                    <a:pt x="1910" y="1230"/>
                    <a:pt x="1913" y="1250"/>
                  </a:cubicBezTo>
                  <a:cubicBezTo>
                    <a:pt x="1915" y="1255"/>
                    <a:pt x="1919" y="1257"/>
                    <a:pt x="1924" y="1258"/>
                  </a:cubicBezTo>
                  <a:cubicBezTo>
                    <a:pt x="1928" y="1254"/>
                    <a:pt x="1929" y="1246"/>
                    <a:pt x="1937" y="1247"/>
                  </a:cubicBezTo>
                  <a:cubicBezTo>
                    <a:pt x="1937" y="1250"/>
                    <a:pt x="1937" y="1254"/>
                    <a:pt x="1937" y="1258"/>
                  </a:cubicBezTo>
                  <a:close/>
                  <a:moveTo>
                    <a:pt x="1945" y="1217"/>
                  </a:moveTo>
                  <a:cubicBezTo>
                    <a:pt x="1942" y="1212"/>
                    <a:pt x="1944" y="1218"/>
                    <a:pt x="1940" y="1217"/>
                  </a:cubicBezTo>
                  <a:cubicBezTo>
                    <a:pt x="1937" y="1217"/>
                    <a:pt x="1934" y="1210"/>
                    <a:pt x="1932" y="1221"/>
                  </a:cubicBezTo>
                  <a:cubicBezTo>
                    <a:pt x="1929" y="1221"/>
                    <a:pt x="1930" y="1216"/>
                    <a:pt x="1929" y="1213"/>
                  </a:cubicBezTo>
                  <a:cubicBezTo>
                    <a:pt x="1925" y="1213"/>
                    <a:pt x="1920" y="1213"/>
                    <a:pt x="1916" y="1213"/>
                  </a:cubicBezTo>
                  <a:cubicBezTo>
                    <a:pt x="1913" y="1216"/>
                    <a:pt x="1913" y="1222"/>
                    <a:pt x="1908" y="1221"/>
                  </a:cubicBezTo>
                  <a:cubicBezTo>
                    <a:pt x="1912" y="1208"/>
                    <a:pt x="1900" y="1217"/>
                    <a:pt x="1894" y="1213"/>
                  </a:cubicBezTo>
                  <a:cubicBezTo>
                    <a:pt x="1892" y="1212"/>
                    <a:pt x="1892" y="1205"/>
                    <a:pt x="1889" y="1206"/>
                  </a:cubicBezTo>
                  <a:cubicBezTo>
                    <a:pt x="1887" y="1196"/>
                    <a:pt x="1901" y="1209"/>
                    <a:pt x="1899" y="1199"/>
                  </a:cubicBezTo>
                  <a:cubicBezTo>
                    <a:pt x="1901" y="1206"/>
                    <a:pt x="1914" y="1198"/>
                    <a:pt x="1916" y="1206"/>
                  </a:cubicBezTo>
                  <a:cubicBezTo>
                    <a:pt x="1919" y="1198"/>
                    <a:pt x="1927" y="1201"/>
                    <a:pt x="1942" y="1202"/>
                  </a:cubicBezTo>
                  <a:cubicBezTo>
                    <a:pt x="1943" y="1202"/>
                    <a:pt x="1942" y="1206"/>
                    <a:pt x="1942" y="1206"/>
                  </a:cubicBezTo>
                  <a:cubicBezTo>
                    <a:pt x="1945" y="1207"/>
                    <a:pt x="1945" y="1205"/>
                    <a:pt x="1945" y="1202"/>
                  </a:cubicBezTo>
                  <a:cubicBezTo>
                    <a:pt x="1948" y="1203"/>
                    <a:pt x="1947" y="1206"/>
                    <a:pt x="1945" y="1206"/>
                  </a:cubicBezTo>
                  <a:cubicBezTo>
                    <a:pt x="1945" y="1210"/>
                    <a:pt x="1946" y="1214"/>
                    <a:pt x="1948" y="1213"/>
                  </a:cubicBezTo>
                  <a:cubicBezTo>
                    <a:pt x="1951" y="1213"/>
                    <a:pt x="1953" y="1206"/>
                    <a:pt x="1959" y="1213"/>
                  </a:cubicBezTo>
                  <a:cubicBezTo>
                    <a:pt x="1962" y="1218"/>
                    <a:pt x="1947" y="1220"/>
                    <a:pt x="1945" y="1217"/>
                  </a:cubicBezTo>
                  <a:close/>
                  <a:moveTo>
                    <a:pt x="1967" y="1339"/>
                  </a:moveTo>
                  <a:cubicBezTo>
                    <a:pt x="1959" y="1342"/>
                    <a:pt x="1961" y="1332"/>
                    <a:pt x="1956" y="1332"/>
                  </a:cubicBezTo>
                  <a:cubicBezTo>
                    <a:pt x="1958" y="1327"/>
                    <a:pt x="1962" y="1325"/>
                    <a:pt x="1967" y="1324"/>
                  </a:cubicBezTo>
                  <a:cubicBezTo>
                    <a:pt x="1967" y="1329"/>
                    <a:pt x="1967" y="1334"/>
                    <a:pt x="1967" y="1339"/>
                  </a:cubicBezTo>
                  <a:close/>
                  <a:moveTo>
                    <a:pt x="1969" y="1269"/>
                  </a:moveTo>
                  <a:cubicBezTo>
                    <a:pt x="1970" y="1266"/>
                    <a:pt x="1968" y="1265"/>
                    <a:pt x="1967" y="1265"/>
                  </a:cubicBezTo>
                  <a:cubicBezTo>
                    <a:pt x="1967" y="1262"/>
                    <a:pt x="1970" y="1262"/>
                    <a:pt x="1972" y="1261"/>
                  </a:cubicBezTo>
                  <a:cubicBezTo>
                    <a:pt x="1967" y="1253"/>
                    <a:pt x="1973" y="1257"/>
                    <a:pt x="1975" y="1250"/>
                  </a:cubicBezTo>
                  <a:cubicBezTo>
                    <a:pt x="1983" y="1254"/>
                    <a:pt x="1971" y="1260"/>
                    <a:pt x="1975" y="1269"/>
                  </a:cubicBezTo>
                  <a:cubicBezTo>
                    <a:pt x="1973" y="1269"/>
                    <a:pt x="1971" y="1269"/>
                    <a:pt x="1969" y="1269"/>
                  </a:cubicBezTo>
                  <a:close/>
                  <a:moveTo>
                    <a:pt x="1977" y="1306"/>
                  </a:moveTo>
                  <a:cubicBezTo>
                    <a:pt x="1984" y="1296"/>
                    <a:pt x="1986" y="1310"/>
                    <a:pt x="1994" y="1309"/>
                  </a:cubicBezTo>
                  <a:cubicBezTo>
                    <a:pt x="1994" y="1315"/>
                    <a:pt x="1974" y="1318"/>
                    <a:pt x="1977" y="1306"/>
                  </a:cubicBezTo>
                  <a:close/>
                  <a:moveTo>
                    <a:pt x="1980" y="1232"/>
                  </a:moveTo>
                  <a:cubicBezTo>
                    <a:pt x="1981" y="1225"/>
                    <a:pt x="1985" y="1223"/>
                    <a:pt x="1991" y="1225"/>
                  </a:cubicBezTo>
                  <a:cubicBezTo>
                    <a:pt x="1989" y="1229"/>
                    <a:pt x="1985" y="1231"/>
                    <a:pt x="1980" y="1232"/>
                  </a:cubicBezTo>
                  <a:close/>
                  <a:moveTo>
                    <a:pt x="2015" y="1269"/>
                  </a:moveTo>
                  <a:cubicBezTo>
                    <a:pt x="2004" y="1271"/>
                    <a:pt x="2007" y="1255"/>
                    <a:pt x="2007" y="1243"/>
                  </a:cubicBezTo>
                  <a:cubicBezTo>
                    <a:pt x="2010" y="1245"/>
                    <a:pt x="2010" y="1252"/>
                    <a:pt x="2015" y="1250"/>
                  </a:cubicBezTo>
                  <a:cubicBezTo>
                    <a:pt x="2015" y="1257"/>
                    <a:pt x="2015" y="1263"/>
                    <a:pt x="2015" y="1269"/>
                  </a:cubicBezTo>
                  <a:close/>
                  <a:moveTo>
                    <a:pt x="2020" y="1261"/>
                  </a:moveTo>
                  <a:cubicBezTo>
                    <a:pt x="2028" y="1259"/>
                    <a:pt x="2019" y="1279"/>
                    <a:pt x="2026" y="1276"/>
                  </a:cubicBezTo>
                  <a:cubicBezTo>
                    <a:pt x="2021" y="1289"/>
                    <a:pt x="2019" y="1269"/>
                    <a:pt x="2020" y="1261"/>
                  </a:cubicBezTo>
                  <a:close/>
                  <a:moveTo>
                    <a:pt x="2026" y="1217"/>
                  </a:moveTo>
                  <a:cubicBezTo>
                    <a:pt x="2026" y="1217"/>
                    <a:pt x="2022" y="1221"/>
                    <a:pt x="2023" y="1221"/>
                  </a:cubicBezTo>
                  <a:cubicBezTo>
                    <a:pt x="2021" y="1221"/>
                    <a:pt x="2018" y="1213"/>
                    <a:pt x="2018" y="1213"/>
                  </a:cubicBezTo>
                  <a:cubicBezTo>
                    <a:pt x="2014" y="1214"/>
                    <a:pt x="2013" y="1220"/>
                    <a:pt x="2010" y="1221"/>
                  </a:cubicBezTo>
                  <a:cubicBezTo>
                    <a:pt x="2001" y="1223"/>
                    <a:pt x="1995" y="1212"/>
                    <a:pt x="1988" y="1221"/>
                  </a:cubicBezTo>
                  <a:cubicBezTo>
                    <a:pt x="1985" y="1222"/>
                    <a:pt x="1979" y="1210"/>
                    <a:pt x="1986" y="1210"/>
                  </a:cubicBezTo>
                  <a:cubicBezTo>
                    <a:pt x="1985" y="1206"/>
                    <a:pt x="1982" y="1207"/>
                    <a:pt x="1980" y="1206"/>
                  </a:cubicBezTo>
                  <a:cubicBezTo>
                    <a:pt x="1981" y="1198"/>
                    <a:pt x="1996" y="1201"/>
                    <a:pt x="1991" y="1213"/>
                  </a:cubicBezTo>
                  <a:cubicBezTo>
                    <a:pt x="1994" y="1213"/>
                    <a:pt x="1994" y="1202"/>
                    <a:pt x="1991" y="1202"/>
                  </a:cubicBezTo>
                  <a:cubicBezTo>
                    <a:pt x="1991" y="1198"/>
                    <a:pt x="1996" y="1199"/>
                    <a:pt x="1999" y="1199"/>
                  </a:cubicBezTo>
                  <a:cubicBezTo>
                    <a:pt x="1999" y="1202"/>
                    <a:pt x="1999" y="1206"/>
                    <a:pt x="1999" y="1210"/>
                  </a:cubicBezTo>
                  <a:cubicBezTo>
                    <a:pt x="2009" y="1209"/>
                    <a:pt x="2004" y="1201"/>
                    <a:pt x="2012" y="1206"/>
                  </a:cubicBezTo>
                  <a:cubicBezTo>
                    <a:pt x="2013" y="1206"/>
                    <a:pt x="2017" y="1205"/>
                    <a:pt x="2018" y="1206"/>
                  </a:cubicBezTo>
                  <a:cubicBezTo>
                    <a:pt x="2018" y="1206"/>
                    <a:pt x="2019" y="1212"/>
                    <a:pt x="2020" y="1210"/>
                  </a:cubicBezTo>
                  <a:cubicBezTo>
                    <a:pt x="2025" y="1204"/>
                    <a:pt x="2023" y="1215"/>
                    <a:pt x="2031" y="1213"/>
                  </a:cubicBezTo>
                  <a:cubicBezTo>
                    <a:pt x="2031" y="1217"/>
                    <a:pt x="2028" y="1216"/>
                    <a:pt x="2026" y="1217"/>
                  </a:cubicBezTo>
                  <a:close/>
                  <a:moveTo>
                    <a:pt x="2031" y="588"/>
                  </a:moveTo>
                  <a:cubicBezTo>
                    <a:pt x="2033" y="585"/>
                    <a:pt x="2034" y="580"/>
                    <a:pt x="2034" y="574"/>
                  </a:cubicBezTo>
                  <a:cubicBezTo>
                    <a:pt x="2039" y="572"/>
                    <a:pt x="2039" y="594"/>
                    <a:pt x="2031" y="588"/>
                  </a:cubicBezTo>
                  <a:close/>
                  <a:moveTo>
                    <a:pt x="2039" y="1210"/>
                  </a:moveTo>
                  <a:cubicBezTo>
                    <a:pt x="2044" y="1209"/>
                    <a:pt x="2044" y="1213"/>
                    <a:pt x="2047" y="1213"/>
                  </a:cubicBezTo>
                  <a:cubicBezTo>
                    <a:pt x="2046" y="1218"/>
                    <a:pt x="2042" y="1220"/>
                    <a:pt x="2037" y="1221"/>
                  </a:cubicBezTo>
                  <a:cubicBezTo>
                    <a:pt x="2038" y="1218"/>
                    <a:pt x="2039" y="1215"/>
                    <a:pt x="2039" y="1210"/>
                  </a:cubicBezTo>
                  <a:close/>
                  <a:moveTo>
                    <a:pt x="2039" y="1306"/>
                  </a:moveTo>
                  <a:cubicBezTo>
                    <a:pt x="2042" y="1309"/>
                    <a:pt x="2045" y="1310"/>
                    <a:pt x="2050" y="1309"/>
                  </a:cubicBezTo>
                  <a:cubicBezTo>
                    <a:pt x="2051" y="1316"/>
                    <a:pt x="2035" y="1316"/>
                    <a:pt x="2039" y="1306"/>
                  </a:cubicBezTo>
                  <a:close/>
                  <a:moveTo>
                    <a:pt x="2050" y="1269"/>
                  </a:moveTo>
                  <a:cubicBezTo>
                    <a:pt x="2048" y="1268"/>
                    <a:pt x="2048" y="1270"/>
                    <a:pt x="2047" y="1273"/>
                  </a:cubicBezTo>
                  <a:cubicBezTo>
                    <a:pt x="2044" y="1272"/>
                    <a:pt x="2045" y="1266"/>
                    <a:pt x="2045" y="1261"/>
                  </a:cubicBezTo>
                  <a:cubicBezTo>
                    <a:pt x="2048" y="1263"/>
                    <a:pt x="2049" y="1268"/>
                    <a:pt x="2053" y="1269"/>
                  </a:cubicBezTo>
                  <a:cubicBezTo>
                    <a:pt x="2052" y="1273"/>
                    <a:pt x="2050" y="1271"/>
                    <a:pt x="2050" y="1269"/>
                  </a:cubicBezTo>
                  <a:close/>
                  <a:moveTo>
                    <a:pt x="2064" y="1213"/>
                  </a:moveTo>
                  <a:cubicBezTo>
                    <a:pt x="2061" y="1219"/>
                    <a:pt x="2057" y="1221"/>
                    <a:pt x="2050" y="1221"/>
                  </a:cubicBezTo>
                  <a:cubicBezTo>
                    <a:pt x="2050" y="1214"/>
                    <a:pt x="2059" y="1218"/>
                    <a:pt x="2058" y="1210"/>
                  </a:cubicBezTo>
                  <a:cubicBezTo>
                    <a:pt x="2058" y="1206"/>
                    <a:pt x="2055" y="1207"/>
                    <a:pt x="2053" y="1206"/>
                  </a:cubicBezTo>
                  <a:cubicBezTo>
                    <a:pt x="2054" y="1201"/>
                    <a:pt x="2059" y="1203"/>
                    <a:pt x="2064" y="1202"/>
                  </a:cubicBezTo>
                  <a:cubicBezTo>
                    <a:pt x="2064" y="1209"/>
                    <a:pt x="2059" y="1212"/>
                    <a:pt x="2064" y="1213"/>
                  </a:cubicBezTo>
                  <a:close/>
                  <a:moveTo>
                    <a:pt x="2055" y="1195"/>
                  </a:moveTo>
                  <a:cubicBezTo>
                    <a:pt x="2055" y="1191"/>
                    <a:pt x="2055" y="1187"/>
                    <a:pt x="2055" y="1184"/>
                  </a:cubicBezTo>
                  <a:cubicBezTo>
                    <a:pt x="2060" y="1180"/>
                    <a:pt x="2064" y="1195"/>
                    <a:pt x="2066" y="1184"/>
                  </a:cubicBezTo>
                  <a:cubicBezTo>
                    <a:pt x="2072" y="1186"/>
                    <a:pt x="2063" y="1198"/>
                    <a:pt x="2055" y="1195"/>
                  </a:cubicBezTo>
                  <a:close/>
                  <a:moveTo>
                    <a:pt x="2069" y="204"/>
                  </a:moveTo>
                  <a:cubicBezTo>
                    <a:pt x="2065" y="208"/>
                    <a:pt x="2064" y="215"/>
                    <a:pt x="2058" y="207"/>
                  </a:cubicBezTo>
                  <a:cubicBezTo>
                    <a:pt x="2062" y="202"/>
                    <a:pt x="2071" y="196"/>
                    <a:pt x="2072" y="207"/>
                  </a:cubicBezTo>
                  <a:cubicBezTo>
                    <a:pt x="2070" y="213"/>
                    <a:pt x="2069" y="208"/>
                    <a:pt x="2069" y="204"/>
                  </a:cubicBezTo>
                  <a:close/>
                  <a:moveTo>
                    <a:pt x="2074" y="182"/>
                  </a:moveTo>
                  <a:cubicBezTo>
                    <a:pt x="2069" y="181"/>
                    <a:pt x="2074" y="174"/>
                    <a:pt x="2074" y="174"/>
                  </a:cubicBezTo>
                  <a:cubicBezTo>
                    <a:pt x="2074" y="170"/>
                    <a:pt x="2069" y="164"/>
                    <a:pt x="2074" y="159"/>
                  </a:cubicBezTo>
                  <a:cubicBezTo>
                    <a:pt x="2082" y="163"/>
                    <a:pt x="2073" y="175"/>
                    <a:pt x="2074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</p:grpSp>
      <p:sp>
        <p:nvSpPr>
          <p:cNvPr id="112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792107" y="4619607"/>
            <a:ext cx="4232424" cy="749300"/>
          </a:xfrm>
        </p:spPr>
        <p:txBody>
          <a:bodyPr/>
          <a:lstStyle>
            <a:lvl1pPr>
              <a:defRPr>
                <a:solidFill>
                  <a:srgbClr val="C25327"/>
                </a:solidFill>
              </a:defRPr>
            </a:lvl1pPr>
            <a:lvl2pPr>
              <a:defRPr>
                <a:solidFill>
                  <a:srgbClr val="C25327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  <a:endParaRPr lang="en-AU"/>
          </a:p>
        </p:txBody>
      </p:sp>
      <p:sp>
        <p:nvSpPr>
          <p:cNvPr id="113" name="Title 4124"/>
          <p:cNvSpPr>
            <a:spLocks noGrp="1"/>
          </p:cNvSpPr>
          <p:nvPr>
            <p:ph type="title"/>
          </p:nvPr>
        </p:nvSpPr>
        <p:spPr>
          <a:xfrm>
            <a:off x="5735264" y="1927683"/>
            <a:ext cx="5486400" cy="2603500"/>
          </a:xfrm>
        </p:spPr>
        <p:txBody>
          <a:bodyPr/>
          <a:lstStyle>
            <a:lvl1pPr>
              <a:defRPr sz="7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404252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A226D34-6D49-448F-9993-2A44520E64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49E9032-C41D-4BFD-9EBA-728BD1DB4F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8B64E09-1C66-439A-A0B7-F64139B29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703344C-EDE3-4137-9FE1-DF0789064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F015378-B6F4-4DD1-A9AD-52913E05BD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7826916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splash">
    <p:bg>
      <p:bgPr>
        <a:solidFill>
          <a:srgbClr val="8321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" name="Group 110"/>
          <p:cNvGrpSpPr/>
          <p:nvPr userDrawn="1"/>
        </p:nvGrpSpPr>
        <p:grpSpPr>
          <a:xfrm>
            <a:off x="3388559" y="1687629"/>
            <a:ext cx="8814356" cy="4310435"/>
            <a:chOff x="2541419" y="1687628"/>
            <a:chExt cx="6610767" cy="4310435"/>
          </a:xfrm>
          <a:solidFill>
            <a:schemeClr val="accent5"/>
          </a:solidFill>
        </p:grpSpPr>
        <p:sp>
          <p:nvSpPr>
            <p:cNvPr id="145" name="Freeform 7"/>
            <p:cNvSpPr>
              <a:spLocks/>
            </p:cNvSpPr>
            <p:nvPr userDrawn="1"/>
          </p:nvSpPr>
          <p:spPr bwMode="auto">
            <a:xfrm>
              <a:off x="3782953" y="1707783"/>
              <a:ext cx="34935" cy="79275"/>
            </a:xfrm>
            <a:custGeom>
              <a:avLst/>
              <a:gdLst>
                <a:gd name="T0" fmla="*/ 11 w 11"/>
                <a:gd name="T1" fmla="*/ 13 h 25"/>
                <a:gd name="T2" fmla="*/ 11 w 11"/>
                <a:gd name="T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25">
                  <a:moveTo>
                    <a:pt x="11" y="13"/>
                  </a:moveTo>
                  <a:cubicBezTo>
                    <a:pt x="0" y="0"/>
                    <a:pt x="4" y="25"/>
                    <a:pt x="1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6" name="Freeform 8"/>
            <p:cNvSpPr>
              <a:spLocks/>
            </p:cNvSpPr>
            <p:nvPr userDrawn="1"/>
          </p:nvSpPr>
          <p:spPr bwMode="auto">
            <a:xfrm>
              <a:off x="4782630" y="1722563"/>
              <a:ext cx="30904" cy="67183"/>
            </a:xfrm>
            <a:custGeom>
              <a:avLst/>
              <a:gdLst>
                <a:gd name="T0" fmla="*/ 10 w 10"/>
                <a:gd name="T1" fmla="*/ 11 h 21"/>
                <a:gd name="T2" fmla="*/ 0 w 10"/>
                <a:gd name="T3" fmla="*/ 11 h 21"/>
                <a:gd name="T4" fmla="*/ 10 w 10"/>
                <a:gd name="T5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1">
                  <a:moveTo>
                    <a:pt x="10" y="11"/>
                  </a:moveTo>
                  <a:cubicBezTo>
                    <a:pt x="5" y="15"/>
                    <a:pt x="1" y="0"/>
                    <a:pt x="0" y="11"/>
                  </a:cubicBezTo>
                  <a:cubicBezTo>
                    <a:pt x="1" y="13"/>
                    <a:pt x="10" y="21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7" name="Freeform 9"/>
            <p:cNvSpPr>
              <a:spLocks/>
            </p:cNvSpPr>
            <p:nvPr userDrawn="1"/>
          </p:nvSpPr>
          <p:spPr bwMode="auto">
            <a:xfrm>
              <a:off x="8294936" y="1770934"/>
              <a:ext cx="34935" cy="51059"/>
            </a:xfrm>
            <a:custGeom>
              <a:avLst/>
              <a:gdLst>
                <a:gd name="T0" fmla="*/ 3 w 11"/>
                <a:gd name="T1" fmla="*/ 0 h 16"/>
                <a:gd name="T2" fmla="*/ 0 w 11"/>
                <a:gd name="T3" fmla="*/ 15 h 16"/>
                <a:gd name="T4" fmla="*/ 3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3" y="0"/>
                  </a:moveTo>
                  <a:cubicBezTo>
                    <a:pt x="4" y="7"/>
                    <a:pt x="0" y="8"/>
                    <a:pt x="0" y="15"/>
                  </a:cubicBezTo>
                  <a:cubicBezTo>
                    <a:pt x="8" y="16"/>
                    <a:pt x="11" y="1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8" name="Freeform 10"/>
            <p:cNvSpPr>
              <a:spLocks/>
            </p:cNvSpPr>
            <p:nvPr userDrawn="1"/>
          </p:nvSpPr>
          <p:spPr bwMode="auto">
            <a:xfrm>
              <a:off x="8345995" y="1783027"/>
              <a:ext cx="18811" cy="57777"/>
            </a:xfrm>
            <a:custGeom>
              <a:avLst/>
              <a:gdLst>
                <a:gd name="T0" fmla="*/ 6 w 6"/>
                <a:gd name="T1" fmla="*/ 18 h 18"/>
                <a:gd name="T2" fmla="*/ 1 w 6"/>
                <a:gd name="T3" fmla="*/ 0 h 18"/>
                <a:gd name="T4" fmla="*/ 6 w 6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8">
                  <a:moveTo>
                    <a:pt x="6" y="18"/>
                  </a:moveTo>
                  <a:cubicBezTo>
                    <a:pt x="6" y="9"/>
                    <a:pt x="5" y="3"/>
                    <a:pt x="1" y="0"/>
                  </a:cubicBezTo>
                  <a:cubicBezTo>
                    <a:pt x="0" y="9"/>
                    <a:pt x="0" y="18"/>
                    <a:pt x="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9" name="Freeform 11"/>
            <p:cNvSpPr>
              <a:spLocks/>
            </p:cNvSpPr>
            <p:nvPr userDrawn="1"/>
          </p:nvSpPr>
          <p:spPr bwMode="auto">
            <a:xfrm>
              <a:off x="8921078" y="1783027"/>
              <a:ext cx="79275" cy="123616"/>
            </a:xfrm>
            <a:custGeom>
              <a:avLst/>
              <a:gdLst>
                <a:gd name="T0" fmla="*/ 5 w 25"/>
                <a:gd name="T1" fmla="*/ 33 h 39"/>
                <a:gd name="T2" fmla="*/ 10 w 25"/>
                <a:gd name="T3" fmla="*/ 37 h 39"/>
                <a:gd name="T4" fmla="*/ 13 w 25"/>
                <a:gd name="T5" fmla="*/ 33 h 39"/>
                <a:gd name="T6" fmla="*/ 19 w 25"/>
                <a:gd name="T7" fmla="*/ 26 h 39"/>
                <a:gd name="T8" fmla="*/ 24 w 25"/>
                <a:gd name="T9" fmla="*/ 18 h 39"/>
                <a:gd name="T10" fmla="*/ 16 w 25"/>
                <a:gd name="T11" fmla="*/ 0 h 39"/>
                <a:gd name="T12" fmla="*/ 2 w 25"/>
                <a:gd name="T13" fmla="*/ 15 h 39"/>
                <a:gd name="T14" fmla="*/ 13 w 25"/>
                <a:gd name="T15" fmla="*/ 11 h 39"/>
                <a:gd name="T16" fmla="*/ 10 w 25"/>
                <a:gd name="T17" fmla="*/ 30 h 39"/>
                <a:gd name="T18" fmla="*/ 0 w 25"/>
                <a:gd name="T19" fmla="*/ 26 h 39"/>
                <a:gd name="T20" fmla="*/ 2 w 25"/>
                <a:gd name="T21" fmla="*/ 37 h 39"/>
                <a:gd name="T22" fmla="*/ 5 w 25"/>
                <a:gd name="T23" fmla="*/ 3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39">
                  <a:moveTo>
                    <a:pt x="5" y="33"/>
                  </a:moveTo>
                  <a:cubicBezTo>
                    <a:pt x="8" y="32"/>
                    <a:pt x="9" y="38"/>
                    <a:pt x="10" y="37"/>
                  </a:cubicBezTo>
                  <a:cubicBezTo>
                    <a:pt x="12" y="36"/>
                    <a:pt x="10" y="33"/>
                    <a:pt x="13" y="33"/>
                  </a:cubicBezTo>
                  <a:cubicBezTo>
                    <a:pt x="17" y="33"/>
                    <a:pt x="16" y="26"/>
                    <a:pt x="19" y="26"/>
                  </a:cubicBezTo>
                  <a:cubicBezTo>
                    <a:pt x="22" y="25"/>
                    <a:pt x="21" y="20"/>
                    <a:pt x="24" y="18"/>
                  </a:cubicBezTo>
                  <a:cubicBezTo>
                    <a:pt x="25" y="8"/>
                    <a:pt x="19" y="6"/>
                    <a:pt x="16" y="0"/>
                  </a:cubicBezTo>
                  <a:cubicBezTo>
                    <a:pt x="10" y="3"/>
                    <a:pt x="0" y="0"/>
                    <a:pt x="2" y="15"/>
                  </a:cubicBezTo>
                  <a:cubicBezTo>
                    <a:pt x="9" y="20"/>
                    <a:pt x="11" y="0"/>
                    <a:pt x="13" y="11"/>
                  </a:cubicBezTo>
                  <a:cubicBezTo>
                    <a:pt x="14" y="21"/>
                    <a:pt x="3" y="20"/>
                    <a:pt x="10" y="30"/>
                  </a:cubicBezTo>
                  <a:cubicBezTo>
                    <a:pt x="5" y="23"/>
                    <a:pt x="5" y="32"/>
                    <a:pt x="0" y="26"/>
                  </a:cubicBezTo>
                  <a:cubicBezTo>
                    <a:pt x="0" y="30"/>
                    <a:pt x="0" y="35"/>
                    <a:pt x="2" y="37"/>
                  </a:cubicBezTo>
                  <a:cubicBezTo>
                    <a:pt x="5" y="39"/>
                    <a:pt x="5" y="33"/>
                    <a:pt x="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0" name="Freeform 12"/>
            <p:cNvSpPr>
              <a:spLocks/>
            </p:cNvSpPr>
            <p:nvPr userDrawn="1"/>
          </p:nvSpPr>
          <p:spPr bwMode="auto">
            <a:xfrm>
              <a:off x="8399741" y="1817962"/>
              <a:ext cx="16124" cy="22842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3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1" name="Freeform 13"/>
            <p:cNvSpPr>
              <a:spLocks/>
            </p:cNvSpPr>
            <p:nvPr userDrawn="1"/>
          </p:nvSpPr>
          <p:spPr bwMode="auto">
            <a:xfrm>
              <a:off x="7350349" y="1840804"/>
              <a:ext cx="14780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2" name="Freeform 14"/>
            <p:cNvSpPr>
              <a:spLocks/>
            </p:cNvSpPr>
            <p:nvPr userDrawn="1"/>
          </p:nvSpPr>
          <p:spPr bwMode="auto">
            <a:xfrm>
              <a:off x="8534106" y="1840804"/>
              <a:ext cx="28217" cy="72557"/>
            </a:xfrm>
            <a:custGeom>
              <a:avLst/>
              <a:gdLst>
                <a:gd name="T0" fmla="*/ 9 w 9"/>
                <a:gd name="T1" fmla="*/ 23 h 23"/>
                <a:gd name="T2" fmla="*/ 3 w 9"/>
                <a:gd name="T3" fmla="*/ 0 h 23"/>
                <a:gd name="T4" fmla="*/ 9 w 9"/>
                <a:gd name="T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3">
                  <a:moveTo>
                    <a:pt x="9" y="23"/>
                  </a:moveTo>
                  <a:cubicBezTo>
                    <a:pt x="6" y="16"/>
                    <a:pt x="8" y="4"/>
                    <a:pt x="3" y="0"/>
                  </a:cubicBezTo>
                  <a:cubicBezTo>
                    <a:pt x="0" y="5"/>
                    <a:pt x="1" y="23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3" name="Freeform 15"/>
            <p:cNvSpPr>
              <a:spLocks/>
            </p:cNvSpPr>
            <p:nvPr userDrawn="1"/>
          </p:nvSpPr>
          <p:spPr bwMode="auto">
            <a:xfrm>
              <a:off x="8986917" y="1831399"/>
              <a:ext cx="38966" cy="104805"/>
            </a:xfrm>
            <a:custGeom>
              <a:avLst/>
              <a:gdLst>
                <a:gd name="T0" fmla="*/ 3 w 12"/>
                <a:gd name="T1" fmla="*/ 33 h 33"/>
                <a:gd name="T2" fmla="*/ 8 w 12"/>
                <a:gd name="T3" fmla="*/ 33 h 33"/>
                <a:gd name="T4" fmla="*/ 11 w 12"/>
                <a:gd name="T5" fmla="*/ 29 h 33"/>
                <a:gd name="T6" fmla="*/ 6 w 12"/>
                <a:gd name="T7" fmla="*/ 18 h 33"/>
                <a:gd name="T8" fmla="*/ 3 w 12"/>
                <a:gd name="T9" fmla="*/ 3 h 33"/>
                <a:gd name="T10" fmla="*/ 3 w 12"/>
                <a:gd name="T1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33">
                  <a:moveTo>
                    <a:pt x="3" y="33"/>
                  </a:moveTo>
                  <a:cubicBezTo>
                    <a:pt x="5" y="33"/>
                    <a:pt x="7" y="33"/>
                    <a:pt x="8" y="33"/>
                  </a:cubicBezTo>
                  <a:cubicBezTo>
                    <a:pt x="9" y="31"/>
                    <a:pt x="9" y="29"/>
                    <a:pt x="11" y="29"/>
                  </a:cubicBezTo>
                  <a:cubicBezTo>
                    <a:pt x="12" y="22"/>
                    <a:pt x="7" y="22"/>
                    <a:pt x="6" y="18"/>
                  </a:cubicBezTo>
                  <a:cubicBezTo>
                    <a:pt x="8" y="15"/>
                    <a:pt x="12" y="0"/>
                    <a:pt x="3" y="3"/>
                  </a:cubicBezTo>
                  <a:cubicBezTo>
                    <a:pt x="0" y="17"/>
                    <a:pt x="1" y="24"/>
                    <a:pt x="3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4" name="Freeform 16"/>
            <p:cNvSpPr>
              <a:spLocks/>
            </p:cNvSpPr>
            <p:nvPr userDrawn="1"/>
          </p:nvSpPr>
          <p:spPr bwMode="auto">
            <a:xfrm>
              <a:off x="8476329" y="1887832"/>
              <a:ext cx="60464" cy="83306"/>
            </a:xfrm>
            <a:custGeom>
              <a:avLst/>
              <a:gdLst>
                <a:gd name="T0" fmla="*/ 11 w 19"/>
                <a:gd name="T1" fmla="*/ 26 h 26"/>
                <a:gd name="T2" fmla="*/ 19 w 19"/>
                <a:gd name="T3" fmla="*/ 15 h 26"/>
                <a:gd name="T4" fmla="*/ 19 w 19"/>
                <a:gd name="T5" fmla="*/ 0 h 26"/>
                <a:gd name="T6" fmla="*/ 11 w 19"/>
                <a:gd name="T7" fmla="*/ 0 h 26"/>
                <a:gd name="T8" fmla="*/ 11 w 19"/>
                <a:gd name="T9" fmla="*/ 15 h 26"/>
                <a:gd name="T10" fmla="*/ 11 w 19"/>
                <a:gd name="T1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6">
                  <a:moveTo>
                    <a:pt x="11" y="26"/>
                  </a:moveTo>
                  <a:cubicBezTo>
                    <a:pt x="14" y="23"/>
                    <a:pt x="11" y="12"/>
                    <a:pt x="19" y="15"/>
                  </a:cubicBezTo>
                  <a:cubicBezTo>
                    <a:pt x="19" y="10"/>
                    <a:pt x="19" y="5"/>
                    <a:pt x="19" y="0"/>
                  </a:cubicBezTo>
                  <a:cubicBezTo>
                    <a:pt x="16" y="0"/>
                    <a:pt x="13" y="0"/>
                    <a:pt x="11" y="0"/>
                  </a:cubicBezTo>
                  <a:cubicBezTo>
                    <a:pt x="7" y="10"/>
                    <a:pt x="11" y="11"/>
                    <a:pt x="11" y="15"/>
                  </a:cubicBezTo>
                  <a:cubicBezTo>
                    <a:pt x="10" y="17"/>
                    <a:pt x="0" y="23"/>
                    <a:pt x="11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5" name="Freeform 17"/>
            <p:cNvSpPr>
              <a:spLocks/>
            </p:cNvSpPr>
            <p:nvPr userDrawn="1"/>
          </p:nvSpPr>
          <p:spPr bwMode="auto">
            <a:xfrm>
              <a:off x="8771933" y="1885145"/>
              <a:ext cx="37622" cy="81963"/>
            </a:xfrm>
            <a:custGeom>
              <a:avLst/>
              <a:gdLst>
                <a:gd name="T0" fmla="*/ 12 w 12"/>
                <a:gd name="T1" fmla="*/ 23 h 26"/>
                <a:gd name="T2" fmla="*/ 1 w 12"/>
                <a:gd name="T3" fmla="*/ 1 h 26"/>
                <a:gd name="T4" fmla="*/ 6 w 12"/>
                <a:gd name="T5" fmla="*/ 16 h 26"/>
                <a:gd name="T6" fmla="*/ 12 w 12"/>
                <a:gd name="T7" fmla="*/ 2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12" y="23"/>
                  </a:moveTo>
                  <a:cubicBezTo>
                    <a:pt x="9" y="15"/>
                    <a:pt x="11" y="0"/>
                    <a:pt x="1" y="1"/>
                  </a:cubicBezTo>
                  <a:cubicBezTo>
                    <a:pt x="0" y="7"/>
                    <a:pt x="5" y="12"/>
                    <a:pt x="6" y="16"/>
                  </a:cubicBezTo>
                  <a:cubicBezTo>
                    <a:pt x="8" y="19"/>
                    <a:pt x="6" y="26"/>
                    <a:pt x="1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6" name="Freeform 18"/>
            <p:cNvSpPr>
              <a:spLocks/>
            </p:cNvSpPr>
            <p:nvPr userDrawn="1"/>
          </p:nvSpPr>
          <p:spPr bwMode="auto">
            <a:xfrm>
              <a:off x="4985522" y="1901268"/>
              <a:ext cx="18811" cy="21498"/>
            </a:xfrm>
            <a:custGeom>
              <a:avLst/>
              <a:gdLst>
                <a:gd name="T0" fmla="*/ 0 w 6"/>
                <a:gd name="T1" fmla="*/ 7 h 7"/>
                <a:gd name="T2" fmla="*/ 6 w 6"/>
                <a:gd name="T3" fmla="*/ 7 h 7"/>
                <a:gd name="T4" fmla="*/ 6 w 6"/>
                <a:gd name="T5" fmla="*/ 0 h 7"/>
                <a:gd name="T6" fmla="*/ 0 w 6"/>
                <a:gd name="T7" fmla="*/ 0 h 7"/>
                <a:gd name="T8" fmla="*/ 0 w 6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7"/>
                  </a:moveTo>
                  <a:cubicBezTo>
                    <a:pt x="2" y="7"/>
                    <a:pt x="4" y="7"/>
                    <a:pt x="6" y="7"/>
                  </a:cubicBezTo>
                  <a:cubicBezTo>
                    <a:pt x="6" y="5"/>
                    <a:pt x="6" y="2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7" name="Freeform 19"/>
            <p:cNvSpPr>
              <a:spLocks/>
            </p:cNvSpPr>
            <p:nvPr userDrawn="1"/>
          </p:nvSpPr>
          <p:spPr bwMode="auto">
            <a:xfrm>
              <a:off x="7707760" y="1901268"/>
              <a:ext cx="16124" cy="21498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4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8" name="Freeform 20"/>
            <p:cNvSpPr>
              <a:spLocks/>
            </p:cNvSpPr>
            <p:nvPr userDrawn="1"/>
          </p:nvSpPr>
          <p:spPr bwMode="auto">
            <a:xfrm>
              <a:off x="5395336" y="1910674"/>
              <a:ext cx="44341" cy="44341"/>
            </a:xfrm>
            <a:custGeom>
              <a:avLst/>
              <a:gdLst>
                <a:gd name="T0" fmla="*/ 0 w 14"/>
                <a:gd name="T1" fmla="*/ 8 h 14"/>
                <a:gd name="T2" fmla="*/ 14 w 14"/>
                <a:gd name="T3" fmla="*/ 4 h 14"/>
                <a:gd name="T4" fmla="*/ 0 w 14"/>
                <a:gd name="T5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0" y="8"/>
                  </a:moveTo>
                  <a:cubicBezTo>
                    <a:pt x="4" y="14"/>
                    <a:pt x="11" y="11"/>
                    <a:pt x="14" y="4"/>
                  </a:cubicBezTo>
                  <a:cubicBezTo>
                    <a:pt x="10" y="6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9" name="Freeform 21"/>
            <p:cNvSpPr>
              <a:spLocks/>
            </p:cNvSpPr>
            <p:nvPr userDrawn="1"/>
          </p:nvSpPr>
          <p:spPr bwMode="auto">
            <a:xfrm>
              <a:off x="7086993" y="1910674"/>
              <a:ext cx="37622" cy="85994"/>
            </a:xfrm>
            <a:custGeom>
              <a:avLst/>
              <a:gdLst>
                <a:gd name="T0" fmla="*/ 2 w 12"/>
                <a:gd name="T1" fmla="*/ 4 h 27"/>
                <a:gd name="T2" fmla="*/ 0 w 12"/>
                <a:gd name="T3" fmla="*/ 19 h 27"/>
                <a:gd name="T4" fmla="*/ 2 w 12"/>
                <a:gd name="T5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7">
                  <a:moveTo>
                    <a:pt x="2" y="4"/>
                  </a:moveTo>
                  <a:cubicBezTo>
                    <a:pt x="2" y="11"/>
                    <a:pt x="2" y="16"/>
                    <a:pt x="0" y="19"/>
                  </a:cubicBezTo>
                  <a:cubicBezTo>
                    <a:pt x="10" y="27"/>
                    <a:pt x="12" y="0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0" name="Freeform 22"/>
            <p:cNvSpPr>
              <a:spLocks/>
            </p:cNvSpPr>
            <p:nvPr userDrawn="1"/>
          </p:nvSpPr>
          <p:spPr bwMode="auto">
            <a:xfrm>
              <a:off x="8844490" y="1906643"/>
              <a:ext cx="22842" cy="69870"/>
            </a:xfrm>
            <a:custGeom>
              <a:avLst/>
              <a:gdLst>
                <a:gd name="T0" fmla="*/ 0 w 7"/>
                <a:gd name="T1" fmla="*/ 5 h 22"/>
                <a:gd name="T2" fmla="*/ 0 w 7"/>
                <a:gd name="T3" fmla="*/ 16 h 22"/>
                <a:gd name="T4" fmla="*/ 0 w 7"/>
                <a:gd name="T5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2">
                  <a:moveTo>
                    <a:pt x="0" y="5"/>
                  </a:moveTo>
                  <a:cubicBezTo>
                    <a:pt x="0" y="9"/>
                    <a:pt x="0" y="13"/>
                    <a:pt x="0" y="16"/>
                  </a:cubicBezTo>
                  <a:cubicBezTo>
                    <a:pt x="7" y="22"/>
                    <a:pt x="7" y="0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1" name="Freeform 23"/>
            <p:cNvSpPr>
              <a:spLocks/>
            </p:cNvSpPr>
            <p:nvPr userDrawn="1"/>
          </p:nvSpPr>
          <p:spPr bwMode="auto">
            <a:xfrm>
              <a:off x="5778276" y="1906643"/>
              <a:ext cx="34935" cy="79275"/>
            </a:xfrm>
            <a:custGeom>
              <a:avLst/>
              <a:gdLst>
                <a:gd name="T0" fmla="*/ 11 w 11"/>
                <a:gd name="T1" fmla="*/ 13 h 25"/>
                <a:gd name="T2" fmla="*/ 11 w 11"/>
                <a:gd name="T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25">
                  <a:moveTo>
                    <a:pt x="11" y="13"/>
                  </a:moveTo>
                  <a:cubicBezTo>
                    <a:pt x="0" y="0"/>
                    <a:pt x="5" y="25"/>
                    <a:pt x="1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2" name="Freeform 24"/>
            <p:cNvSpPr>
              <a:spLocks/>
            </p:cNvSpPr>
            <p:nvPr userDrawn="1"/>
          </p:nvSpPr>
          <p:spPr bwMode="auto">
            <a:xfrm>
              <a:off x="5870988" y="1926798"/>
              <a:ext cx="47028" cy="30904"/>
            </a:xfrm>
            <a:custGeom>
              <a:avLst/>
              <a:gdLst>
                <a:gd name="T0" fmla="*/ 9 w 15"/>
                <a:gd name="T1" fmla="*/ 10 h 10"/>
                <a:gd name="T2" fmla="*/ 14 w 15"/>
                <a:gd name="T3" fmla="*/ 3 h 10"/>
                <a:gd name="T4" fmla="*/ 9 w 15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9" y="10"/>
                  </a:moveTo>
                  <a:cubicBezTo>
                    <a:pt x="8" y="7"/>
                    <a:pt x="15" y="5"/>
                    <a:pt x="14" y="3"/>
                  </a:cubicBezTo>
                  <a:cubicBezTo>
                    <a:pt x="12" y="0"/>
                    <a:pt x="0" y="4"/>
                    <a:pt x="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3" name="Freeform 25"/>
            <p:cNvSpPr>
              <a:spLocks/>
            </p:cNvSpPr>
            <p:nvPr userDrawn="1"/>
          </p:nvSpPr>
          <p:spPr bwMode="auto">
            <a:xfrm>
              <a:off x="6940535" y="1932172"/>
              <a:ext cx="25529" cy="38966"/>
            </a:xfrm>
            <a:custGeom>
              <a:avLst/>
              <a:gdLst>
                <a:gd name="T0" fmla="*/ 8 w 8"/>
                <a:gd name="T1" fmla="*/ 5 h 12"/>
                <a:gd name="T2" fmla="*/ 0 w 8"/>
                <a:gd name="T3" fmla="*/ 1 h 12"/>
                <a:gd name="T4" fmla="*/ 0 w 8"/>
                <a:gd name="T5" fmla="*/ 12 h 12"/>
                <a:gd name="T6" fmla="*/ 5 w 8"/>
                <a:gd name="T7" fmla="*/ 12 h 12"/>
                <a:gd name="T8" fmla="*/ 8 w 8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8" y="5"/>
                  </a:moveTo>
                  <a:cubicBezTo>
                    <a:pt x="5" y="4"/>
                    <a:pt x="4" y="0"/>
                    <a:pt x="0" y="1"/>
                  </a:cubicBezTo>
                  <a:cubicBezTo>
                    <a:pt x="0" y="5"/>
                    <a:pt x="0" y="8"/>
                    <a:pt x="0" y="12"/>
                  </a:cubicBezTo>
                  <a:cubicBezTo>
                    <a:pt x="2" y="12"/>
                    <a:pt x="3" y="12"/>
                    <a:pt x="5" y="12"/>
                  </a:cubicBezTo>
                  <a:cubicBezTo>
                    <a:pt x="5" y="8"/>
                    <a:pt x="7" y="8"/>
                    <a:pt x="8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4" name="Freeform 26"/>
            <p:cNvSpPr>
              <a:spLocks/>
            </p:cNvSpPr>
            <p:nvPr userDrawn="1"/>
          </p:nvSpPr>
          <p:spPr bwMode="auto">
            <a:xfrm>
              <a:off x="5959669" y="1938891"/>
              <a:ext cx="37622" cy="44341"/>
            </a:xfrm>
            <a:custGeom>
              <a:avLst/>
              <a:gdLst>
                <a:gd name="T0" fmla="*/ 10 w 12"/>
                <a:gd name="T1" fmla="*/ 3 h 14"/>
                <a:gd name="T2" fmla="*/ 2 w 12"/>
                <a:gd name="T3" fmla="*/ 6 h 14"/>
                <a:gd name="T4" fmla="*/ 10 w 12"/>
                <a:gd name="T5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4">
                  <a:moveTo>
                    <a:pt x="10" y="3"/>
                  </a:moveTo>
                  <a:cubicBezTo>
                    <a:pt x="8" y="0"/>
                    <a:pt x="3" y="5"/>
                    <a:pt x="2" y="6"/>
                  </a:cubicBezTo>
                  <a:cubicBezTo>
                    <a:pt x="0" y="14"/>
                    <a:pt x="12" y="5"/>
                    <a:pt x="1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5" name="Freeform 27"/>
            <p:cNvSpPr>
              <a:spLocks/>
            </p:cNvSpPr>
            <p:nvPr userDrawn="1"/>
          </p:nvSpPr>
          <p:spPr bwMode="auto">
            <a:xfrm>
              <a:off x="6343954" y="1948296"/>
              <a:ext cx="16124" cy="22842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6" name="Freeform 28"/>
            <p:cNvSpPr>
              <a:spLocks/>
            </p:cNvSpPr>
            <p:nvPr userDrawn="1"/>
          </p:nvSpPr>
          <p:spPr bwMode="auto">
            <a:xfrm>
              <a:off x="8902267" y="1948296"/>
              <a:ext cx="18811" cy="22842"/>
            </a:xfrm>
            <a:custGeom>
              <a:avLst/>
              <a:gdLst>
                <a:gd name="T0" fmla="*/ 6 w 6"/>
                <a:gd name="T1" fmla="*/ 0 h 7"/>
                <a:gd name="T2" fmla="*/ 0 w 6"/>
                <a:gd name="T3" fmla="*/ 0 h 7"/>
                <a:gd name="T4" fmla="*/ 0 w 6"/>
                <a:gd name="T5" fmla="*/ 7 h 7"/>
                <a:gd name="T6" fmla="*/ 6 w 6"/>
                <a:gd name="T7" fmla="*/ 7 h 7"/>
                <a:gd name="T8" fmla="*/ 6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4" y="7"/>
                    <a:pt x="6" y="7"/>
                  </a:cubicBezTo>
                  <a:cubicBezTo>
                    <a:pt x="6" y="5"/>
                    <a:pt x="6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7" name="Freeform 29"/>
            <p:cNvSpPr>
              <a:spLocks/>
            </p:cNvSpPr>
            <p:nvPr userDrawn="1"/>
          </p:nvSpPr>
          <p:spPr bwMode="auto">
            <a:xfrm>
              <a:off x="8986917" y="1948296"/>
              <a:ext cx="29560" cy="37622"/>
            </a:xfrm>
            <a:custGeom>
              <a:avLst/>
              <a:gdLst>
                <a:gd name="T0" fmla="*/ 8 w 9"/>
                <a:gd name="T1" fmla="*/ 11 h 12"/>
                <a:gd name="T2" fmla="*/ 3 w 9"/>
                <a:gd name="T3" fmla="*/ 0 h 12"/>
                <a:gd name="T4" fmla="*/ 0 w 9"/>
                <a:gd name="T5" fmla="*/ 7 h 12"/>
                <a:gd name="T6" fmla="*/ 8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11"/>
                  </a:moveTo>
                  <a:cubicBezTo>
                    <a:pt x="9" y="4"/>
                    <a:pt x="6" y="1"/>
                    <a:pt x="3" y="0"/>
                  </a:cubicBezTo>
                  <a:cubicBezTo>
                    <a:pt x="3" y="3"/>
                    <a:pt x="1" y="4"/>
                    <a:pt x="0" y="7"/>
                  </a:cubicBezTo>
                  <a:cubicBezTo>
                    <a:pt x="4" y="7"/>
                    <a:pt x="4" y="12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8" name="Freeform 30"/>
            <p:cNvSpPr>
              <a:spLocks/>
            </p:cNvSpPr>
            <p:nvPr userDrawn="1"/>
          </p:nvSpPr>
          <p:spPr bwMode="auto">
            <a:xfrm>
              <a:off x="9037976" y="1938891"/>
              <a:ext cx="32248" cy="44341"/>
            </a:xfrm>
            <a:custGeom>
              <a:avLst/>
              <a:gdLst>
                <a:gd name="T0" fmla="*/ 0 w 10"/>
                <a:gd name="T1" fmla="*/ 10 h 14"/>
                <a:gd name="T2" fmla="*/ 8 w 10"/>
                <a:gd name="T3" fmla="*/ 14 h 14"/>
                <a:gd name="T4" fmla="*/ 0 w 10"/>
                <a:gd name="T5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4">
                  <a:moveTo>
                    <a:pt x="0" y="10"/>
                  </a:moveTo>
                  <a:cubicBezTo>
                    <a:pt x="4" y="10"/>
                    <a:pt x="6" y="12"/>
                    <a:pt x="8" y="14"/>
                  </a:cubicBezTo>
                  <a:cubicBezTo>
                    <a:pt x="10" y="2"/>
                    <a:pt x="1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9" name="Freeform 31"/>
            <p:cNvSpPr>
              <a:spLocks/>
            </p:cNvSpPr>
            <p:nvPr userDrawn="1"/>
          </p:nvSpPr>
          <p:spPr bwMode="auto">
            <a:xfrm>
              <a:off x="6521316" y="1983231"/>
              <a:ext cx="48371" cy="51059"/>
            </a:xfrm>
            <a:custGeom>
              <a:avLst/>
              <a:gdLst>
                <a:gd name="T0" fmla="*/ 6 w 15"/>
                <a:gd name="T1" fmla="*/ 11 h 16"/>
                <a:gd name="T2" fmla="*/ 3 w 15"/>
                <a:gd name="T3" fmla="*/ 15 h 16"/>
                <a:gd name="T4" fmla="*/ 14 w 15"/>
                <a:gd name="T5" fmla="*/ 0 h 16"/>
                <a:gd name="T6" fmla="*/ 0 w 15"/>
                <a:gd name="T7" fmla="*/ 7 h 16"/>
                <a:gd name="T8" fmla="*/ 6 w 15"/>
                <a:gd name="T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6" y="11"/>
                  </a:moveTo>
                  <a:cubicBezTo>
                    <a:pt x="4" y="11"/>
                    <a:pt x="2" y="11"/>
                    <a:pt x="3" y="15"/>
                  </a:cubicBezTo>
                  <a:cubicBezTo>
                    <a:pt x="11" y="16"/>
                    <a:pt x="15" y="11"/>
                    <a:pt x="14" y="0"/>
                  </a:cubicBezTo>
                  <a:cubicBezTo>
                    <a:pt x="9" y="2"/>
                    <a:pt x="2" y="2"/>
                    <a:pt x="0" y="7"/>
                  </a:cubicBezTo>
                  <a:cubicBezTo>
                    <a:pt x="2" y="8"/>
                    <a:pt x="5" y="7"/>
                    <a:pt x="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0" name="Freeform 32"/>
            <p:cNvSpPr>
              <a:spLocks/>
            </p:cNvSpPr>
            <p:nvPr userDrawn="1"/>
          </p:nvSpPr>
          <p:spPr bwMode="auto">
            <a:xfrm>
              <a:off x="7397377" y="1973826"/>
              <a:ext cx="51059" cy="37622"/>
            </a:xfrm>
            <a:custGeom>
              <a:avLst/>
              <a:gdLst>
                <a:gd name="T0" fmla="*/ 12 w 16"/>
                <a:gd name="T1" fmla="*/ 10 h 12"/>
                <a:gd name="T2" fmla="*/ 1 w 16"/>
                <a:gd name="T3" fmla="*/ 6 h 12"/>
                <a:gd name="T4" fmla="*/ 12 w 16"/>
                <a:gd name="T5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2" y="10"/>
                  </a:moveTo>
                  <a:cubicBezTo>
                    <a:pt x="16" y="0"/>
                    <a:pt x="0" y="0"/>
                    <a:pt x="1" y="6"/>
                  </a:cubicBezTo>
                  <a:cubicBezTo>
                    <a:pt x="5" y="8"/>
                    <a:pt x="6" y="12"/>
                    <a:pt x="1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1" name="Freeform 33"/>
            <p:cNvSpPr>
              <a:spLocks/>
            </p:cNvSpPr>
            <p:nvPr userDrawn="1"/>
          </p:nvSpPr>
          <p:spPr bwMode="auto">
            <a:xfrm>
              <a:off x="7508900" y="1983231"/>
              <a:ext cx="40310" cy="37622"/>
            </a:xfrm>
            <a:custGeom>
              <a:avLst/>
              <a:gdLst>
                <a:gd name="T0" fmla="*/ 12 w 13"/>
                <a:gd name="T1" fmla="*/ 11 h 12"/>
                <a:gd name="T2" fmla="*/ 1 w 13"/>
                <a:gd name="T3" fmla="*/ 0 h 12"/>
                <a:gd name="T4" fmla="*/ 12 w 13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2" y="11"/>
                  </a:moveTo>
                  <a:cubicBezTo>
                    <a:pt x="13" y="1"/>
                    <a:pt x="6" y="1"/>
                    <a:pt x="1" y="0"/>
                  </a:cubicBezTo>
                  <a:cubicBezTo>
                    <a:pt x="0" y="9"/>
                    <a:pt x="5" y="12"/>
                    <a:pt x="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2" name="Freeform 34"/>
            <p:cNvSpPr>
              <a:spLocks/>
            </p:cNvSpPr>
            <p:nvPr userDrawn="1"/>
          </p:nvSpPr>
          <p:spPr bwMode="auto">
            <a:xfrm>
              <a:off x="6061787" y="1989949"/>
              <a:ext cx="24186" cy="28217"/>
            </a:xfrm>
            <a:custGeom>
              <a:avLst/>
              <a:gdLst>
                <a:gd name="T0" fmla="*/ 0 w 8"/>
                <a:gd name="T1" fmla="*/ 1 h 9"/>
                <a:gd name="T2" fmla="*/ 0 w 8"/>
                <a:gd name="T3" fmla="*/ 9 h 9"/>
                <a:gd name="T4" fmla="*/ 8 w 8"/>
                <a:gd name="T5" fmla="*/ 9 h 9"/>
                <a:gd name="T6" fmla="*/ 0 w 8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3" y="9"/>
                    <a:pt x="5" y="9"/>
                    <a:pt x="8" y="9"/>
                  </a:cubicBezTo>
                  <a:cubicBezTo>
                    <a:pt x="8" y="2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3" name="Freeform 35"/>
            <p:cNvSpPr>
              <a:spLocks/>
            </p:cNvSpPr>
            <p:nvPr userDrawn="1"/>
          </p:nvSpPr>
          <p:spPr bwMode="auto">
            <a:xfrm>
              <a:off x="6290208" y="1976513"/>
              <a:ext cx="60464" cy="69870"/>
            </a:xfrm>
            <a:custGeom>
              <a:avLst/>
              <a:gdLst>
                <a:gd name="T0" fmla="*/ 19 w 19"/>
                <a:gd name="T1" fmla="*/ 13 h 22"/>
                <a:gd name="T2" fmla="*/ 0 w 19"/>
                <a:gd name="T3" fmla="*/ 13 h 22"/>
                <a:gd name="T4" fmla="*/ 19 w 19"/>
                <a:gd name="T5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22">
                  <a:moveTo>
                    <a:pt x="19" y="13"/>
                  </a:moveTo>
                  <a:cubicBezTo>
                    <a:pt x="13" y="11"/>
                    <a:pt x="2" y="0"/>
                    <a:pt x="0" y="13"/>
                  </a:cubicBezTo>
                  <a:cubicBezTo>
                    <a:pt x="9" y="8"/>
                    <a:pt x="17" y="22"/>
                    <a:pt x="19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4" name="Freeform 36"/>
            <p:cNvSpPr>
              <a:spLocks/>
            </p:cNvSpPr>
            <p:nvPr userDrawn="1"/>
          </p:nvSpPr>
          <p:spPr bwMode="auto">
            <a:xfrm>
              <a:off x="6632839" y="1980544"/>
              <a:ext cx="72557" cy="72557"/>
            </a:xfrm>
            <a:custGeom>
              <a:avLst/>
              <a:gdLst>
                <a:gd name="T0" fmla="*/ 14 w 23"/>
                <a:gd name="T1" fmla="*/ 23 h 23"/>
                <a:gd name="T2" fmla="*/ 14 w 23"/>
                <a:gd name="T3" fmla="*/ 4 h 23"/>
                <a:gd name="T4" fmla="*/ 3 w 23"/>
                <a:gd name="T5" fmla="*/ 4 h 23"/>
                <a:gd name="T6" fmla="*/ 0 w 23"/>
                <a:gd name="T7" fmla="*/ 16 h 23"/>
                <a:gd name="T8" fmla="*/ 14 w 23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4" y="23"/>
                  </a:moveTo>
                  <a:cubicBezTo>
                    <a:pt x="15" y="16"/>
                    <a:pt x="23" y="7"/>
                    <a:pt x="14" y="4"/>
                  </a:cubicBezTo>
                  <a:cubicBezTo>
                    <a:pt x="13" y="22"/>
                    <a:pt x="10" y="0"/>
                    <a:pt x="3" y="4"/>
                  </a:cubicBezTo>
                  <a:cubicBezTo>
                    <a:pt x="3" y="10"/>
                    <a:pt x="1" y="13"/>
                    <a:pt x="0" y="16"/>
                  </a:cubicBezTo>
                  <a:cubicBezTo>
                    <a:pt x="9" y="12"/>
                    <a:pt x="8" y="21"/>
                    <a:pt x="14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5" name="Freeform 37"/>
            <p:cNvSpPr>
              <a:spLocks/>
            </p:cNvSpPr>
            <p:nvPr userDrawn="1"/>
          </p:nvSpPr>
          <p:spPr bwMode="auto">
            <a:xfrm>
              <a:off x="8397054" y="1989949"/>
              <a:ext cx="32248" cy="51059"/>
            </a:xfrm>
            <a:custGeom>
              <a:avLst/>
              <a:gdLst>
                <a:gd name="T0" fmla="*/ 1 w 10"/>
                <a:gd name="T1" fmla="*/ 1 h 16"/>
                <a:gd name="T2" fmla="*/ 9 w 10"/>
                <a:gd name="T3" fmla="*/ 16 h 16"/>
                <a:gd name="T4" fmla="*/ 1 w 10"/>
                <a:gd name="T5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6">
                  <a:moveTo>
                    <a:pt x="1" y="1"/>
                  </a:moveTo>
                  <a:cubicBezTo>
                    <a:pt x="0" y="11"/>
                    <a:pt x="5" y="13"/>
                    <a:pt x="9" y="16"/>
                  </a:cubicBezTo>
                  <a:cubicBezTo>
                    <a:pt x="10" y="7"/>
                    <a:pt x="8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6" name="Freeform 38"/>
            <p:cNvSpPr>
              <a:spLocks/>
            </p:cNvSpPr>
            <p:nvPr userDrawn="1"/>
          </p:nvSpPr>
          <p:spPr bwMode="auto">
            <a:xfrm>
              <a:off x="7178362" y="2002042"/>
              <a:ext cx="76588" cy="83306"/>
            </a:xfrm>
            <a:custGeom>
              <a:avLst/>
              <a:gdLst>
                <a:gd name="T0" fmla="*/ 14 w 24"/>
                <a:gd name="T1" fmla="*/ 16 h 26"/>
                <a:gd name="T2" fmla="*/ 24 w 24"/>
                <a:gd name="T3" fmla="*/ 16 h 26"/>
                <a:gd name="T4" fmla="*/ 16 w 24"/>
                <a:gd name="T5" fmla="*/ 16 h 26"/>
                <a:gd name="T6" fmla="*/ 11 w 24"/>
                <a:gd name="T7" fmla="*/ 5 h 26"/>
                <a:gd name="T8" fmla="*/ 6 w 24"/>
                <a:gd name="T9" fmla="*/ 5 h 26"/>
                <a:gd name="T10" fmla="*/ 0 w 24"/>
                <a:gd name="T11" fmla="*/ 20 h 26"/>
                <a:gd name="T12" fmla="*/ 14 w 24"/>
                <a:gd name="T13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6">
                  <a:moveTo>
                    <a:pt x="14" y="16"/>
                  </a:moveTo>
                  <a:cubicBezTo>
                    <a:pt x="16" y="22"/>
                    <a:pt x="24" y="26"/>
                    <a:pt x="24" y="16"/>
                  </a:cubicBezTo>
                  <a:cubicBezTo>
                    <a:pt x="22" y="16"/>
                    <a:pt x="19" y="16"/>
                    <a:pt x="16" y="16"/>
                  </a:cubicBezTo>
                  <a:cubicBezTo>
                    <a:pt x="17" y="9"/>
                    <a:pt x="13" y="9"/>
                    <a:pt x="11" y="5"/>
                  </a:cubicBezTo>
                  <a:cubicBezTo>
                    <a:pt x="11" y="1"/>
                    <a:pt x="6" y="0"/>
                    <a:pt x="6" y="5"/>
                  </a:cubicBezTo>
                  <a:cubicBezTo>
                    <a:pt x="14" y="10"/>
                    <a:pt x="1" y="15"/>
                    <a:pt x="0" y="20"/>
                  </a:cubicBezTo>
                  <a:cubicBezTo>
                    <a:pt x="6" y="21"/>
                    <a:pt x="11" y="19"/>
                    <a:pt x="1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7" name="Freeform 39"/>
            <p:cNvSpPr>
              <a:spLocks/>
            </p:cNvSpPr>
            <p:nvPr userDrawn="1"/>
          </p:nvSpPr>
          <p:spPr bwMode="auto">
            <a:xfrm>
              <a:off x="6733613" y="2018166"/>
              <a:ext cx="25529" cy="22842"/>
            </a:xfrm>
            <a:custGeom>
              <a:avLst/>
              <a:gdLst>
                <a:gd name="T0" fmla="*/ 8 w 8"/>
                <a:gd name="T1" fmla="*/ 0 h 7"/>
                <a:gd name="T2" fmla="*/ 0 w 8"/>
                <a:gd name="T3" fmla="*/ 7 h 7"/>
                <a:gd name="T4" fmla="*/ 8 w 8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7">
                  <a:moveTo>
                    <a:pt x="8" y="0"/>
                  </a:moveTo>
                  <a:cubicBezTo>
                    <a:pt x="4" y="0"/>
                    <a:pt x="2" y="3"/>
                    <a:pt x="0" y="7"/>
                  </a:cubicBezTo>
                  <a:cubicBezTo>
                    <a:pt x="5" y="7"/>
                    <a:pt x="7" y="4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8" name="Freeform 40"/>
            <p:cNvSpPr>
              <a:spLocks/>
            </p:cNvSpPr>
            <p:nvPr userDrawn="1"/>
          </p:nvSpPr>
          <p:spPr bwMode="auto">
            <a:xfrm>
              <a:off x="8993635" y="2015479"/>
              <a:ext cx="28217" cy="44341"/>
            </a:xfrm>
            <a:custGeom>
              <a:avLst/>
              <a:gdLst>
                <a:gd name="T0" fmla="*/ 9 w 9"/>
                <a:gd name="T1" fmla="*/ 1 h 14"/>
                <a:gd name="T2" fmla="*/ 1 w 9"/>
                <a:gd name="T3" fmla="*/ 12 h 14"/>
                <a:gd name="T4" fmla="*/ 9 w 9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9" y="1"/>
                  </a:moveTo>
                  <a:cubicBezTo>
                    <a:pt x="3" y="0"/>
                    <a:pt x="0" y="4"/>
                    <a:pt x="1" y="12"/>
                  </a:cubicBezTo>
                  <a:cubicBezTo>
                    <a:pt x="8" y="14"/>
                    <a:pt x="6" y="4"/>
                    <a:pt x="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9" name="Freeform 41"/>
            <p:cNvSpPr>
              <a:spLocks/>
            </p:cNvSpPr>
            <p:nvPr userDrawn="1"/>
          </p:nvSpPr>
          <p:spPr bwMode="auto">
            <a:xfrm>
              <a:off x="6949941" y="2027572"/>
              <a:ext cx="56433" cy="95399"/>
            </a:xfrm>
            <a:custGeom>
              <a:avLst/>
              <a:gdLst>
                <a:gd name="T0" fmla="*/ 13 w 18"/>
                <a:gd name="T1" fmla="*/ 26 h 30"/>
                <a:gd name="T2" fmla="*/ 8 w 18"/>
                <a:gd name="T3" fmla="*/ 19 h 30"/>
                <a:gd name="T4" fmla="*/ 16 w 18"/>
                <a:gd name="T5" fmla="*/ 1 h 30"/>
                <a:gd name="T6" fmla="*/ 0 w 18"/>
                <a:gd name="T7" fmla="*/ 15 h 30"/>
                <a:gd name="T8" fmla="*/ 13 w 18"/>
                <a:gd name="T9" fmla="*/ 2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30">
                  <a:moveTo>
                    <a:pt x="13" y="26"/>
                  </a:moveTo>
                  <a:cubicBezTo>
                    <a:pt x="14" y="9"/>
                    <a:pt x="11" y="13"/>
                    <a:pt x="8" y="19"/>
                  </a:cubicBezTo>
                  <a:cubicBezTo>
                    <a:pt x="5" y="5"/>
                    <a:pt x="18" y="13"/>
                    <a:pt x="16" y="1"/>
                  </a:cubicBezTo>
                  <a:cubicBezTo>
                    <a:pt x="7" y="0"/>
                    <a:pt x="5" y="10"/>
                    <a:pt x="0" y="15"/>
                  </a:cubicBezTo>
                  <a:cubicBezTo>
                    <a:pt x="9" y="13"/>
                    <a:pt x="3" y="30"/>
                    <a:pt x="13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0" name="Freeform 42"/>
            <p:cNvSpPr>
              <a:spLocks/>
            </p:cNvSpPr>
            <p:nvPr userDrawn="1"/>
          </p:nvSpPr>
          <p:spPr bwMode="auto">
            <a:xfrm>
              <a:off x="7061464" y="2020853"/>
              <a:ext cx="40310" cy="60464"/>
            </a:xfrm>
            <a:custGeom>
              <a:avLst/>
              <a:gdLst>
                <a:gd name="T0" fmla="*/ 13 w 13"/>
                <a:gd name="T1" fmla="*/ 6 h 19"/>
                <a:gd name="T2" fmla="*/ 0 w 13"/>
                <a:gd name="T3" fmla="*/ 10 h 19"/>
                <a:gd name="T4" fmla="*/ 13 w 13"/>
                <a:gd name="T5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9">
                  <a:moveTo>
                    <a:pt x="13" y="6"/>
                  </a:moveTo>
                  <a:cubicBezTo>
                    <a:pt x="7" y="4"/>
                    <a:pt x="3" y="0"/>
                    <a:pt x="0" y="10"/>
                  </a:cubicBezTo>
                  <a:cubicBezTo>
                    <a:pt x="8" y="8"/>
                    <a:pt x="11" y="19"/>
                    <a:pt x="1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1" name="Freeform 43"/>
            <p:cNvSpPr>
              <a:spLocks/>
            </p:cNvSpPr>
            <p:nvPr userDrawn="1"/>
          </p:nvSpPr>
          <p:spPr bwMode="auto">
            <a:xfrm>
              <a:off x="7250919" y="2041008"/>
              <a:ext cx="67183" cy="49715"/>
            </a:xfrm>
            <a:custGeom>
              <a:avLst/>
              <a:gdLst>
                <a:gd name="T0" fmla="*/ 9 w 21"/>
                <a:gd name="T1" fmla="*/ 0 h 16"/>
                <a:gd name="T2" fmla="*/ 4 w 21"/>
                <a:gd name="T3" fmla="*/ 0 h 16"/>
                <a:gd name="T4" fmla="*/ 9 w 2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6">
                  <a:moveTo>
                    <a:pt x="9" y="0"/>
                  </a:moveTo>
                  <a:cubicBezTo>
                    <a:pt x="9" y="5"/>
                    <a:pt x="6" y="2"/>
                    <a:pt x="4" y="0"/>
                  </a:cubicBezTo>
                  <a:cubicBezTo>
                    <a:pt x="0" y="16"/>
                    <a:pt x="21" y="4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2" name="Freeform 44"/>
            <p:cNvSpPr>
              <a:spLocks/>
            </p:cNvSpPr>
            <p:nvPr userDrawn="1"/>
          </p:nvSpPr>
          <p:spPr bwMode="auto">
            <a:xfrm>
              <a:off x="7324820" y="2034290"/>
              <a:ext cx="44341" cy="88681"/>
            </a:xfrm>
            <a:custGeom>
              <a:avLst/>
              <a:gdLst>
                <a:gd name="T0" fmla="*/ 8 w 14"/>
                <a:gd name="T1" fmla="*/ 28 h 28"/>
                <a:gd name="T2" fmla="*/ 13 w 14"/>
                <a:gd name="T3" fmla="*/ 21 h 28"/>
                <a:gd name="T4" fmla="*/ 5 w 14"/>
                <a:gd name="T5" fmla="*/ 2 h 28"/>
                <a:gd name="T6" fmla="*/ 8 w 14"/>
                <a:gd name="T7" fmla="*/ 17 h 28"/>
                <a:gd name="T8" fmla="*/ 8 w 14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8">
                  <a:moveTo>
                    <a:pt x="8" y="28"/>
                  </a:moveTo>
                  <a:cubicBezTo>
                    <a:pt x="8" y="23"/>
                    <a:pt x="13" y="25"/>
                    <a:pt x="13" y="21"/>
                  </a:cubicBezTo>
                  <a:cubicBezTo>
                    <a:pt x="7" y="19"/>
                    <a:pt x="14" y="0"/>
                    <a:pt x="5" y="2"/>
                  </a:cubicBezTo>
                  <a:cubicBezTo>
                    <a:pt x="0" y="10"/>
                    <a:pt x="6" y="9"/>
                    <a:pt x="8" y="17"/>
                  </a:cubicBezTo>
                  <a:cubicBezTo>
                    <a:pt x="4" y="17"/>
                    <a:pt x="5" y="27"/>
                    <a:pt x="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3" name="Freeform 45"/>
            <p:cNvSpPr>
              <a:spLocks/>
            </p:cNvSpPr>
            <p:nvPr userDrawn="1"/>
          </p:nvSpPr>
          <p:spPr bwMode="auto">
            <a:xfrm>
              <a:off x="7504869" y="2041008"/>
              <a:ext cx="51059" cy="116898"/>
            </a:xfrm>
            <a:custGeom>
              <a:avLst/>
              <a:gdLst>
                <a:gd name="T0" fmla="*/ 7 w 16"/>
                <a:gd name="T1" fmla="*/ 0 h 37"/>
                <a:gd name="T2" fmla="*/ 5 w 16"/>
                <a:gd name="T3" fmla="*/ 15 h 37"/>
                <a:gd name="T4" fmla="*/ 10 w 16"/>
                <a:gd name="T5" fmla="*/ 22 h 37"/>
                <a:gd name="T6" fmla="*/ 5 w 16"/>
                <a:gd name="T7" fmla="*/ 37 h 37"/>
                <a:gd name="T8" fmla="*/ 16 w 16"/>
                <a:gd name="T9" fmla="*/ 30 h 37"/>
                <a:gd name="T10" fmla="*/ 13 w 16"/>
                <a:gd name="T11" fmla="*/ 22 h 37"/>
                <a:gd name="T12" fmla="*/ 7 w 16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37">
                  <a:moveTo>
                    <a:pt x="7" y="0"/>
                  </a:moveTo>
                  <a:cubicBezTo>
                    <a:pt x="2" y="10"/>
                    <a:pt x="8" y="10"/>
                    <a:pt x="5" y="15"/>
                  </a:cubicBezTo>
                  <a:cubicBezTo>
                    <a:pt x="3" y="17"/>
                    <a:pt x="10" y="21"/>
                    <a:pt x="10" y="22"/>
                  </a:cubicBezTo>
                  <a:cubicBezTo>
                    <a:pt x="10" y="25"/>
                    <a:pt x="0" y="30"/>
                    <a:pt x="5" y="37"/>
                  </a:cubicBezTo>
                  <a:cubicBezTo>
                    <a:pt x="10" y="37"/>
                    <a:pt x="14" y="35"/>
                    <a:pt x="16" y="30"/>
                  </a:cubicBezTo>
                  <a:cubicBezTo>
                    <a:pt x="9" y="30"/>
                    <a:pt x="12" y="28"/>
                    <a:pt x="13" y="22"/>
                  </a:cubicBezTo>
                  <a:cubicBezTo>
                    <a:pt x="14" y="14"/>
                    <a:pt x="9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4" name="Freeform 46"/>
            <p:cNvSpPr>
              <a:spLocks/>
            </p:cNvSpPr>
            <p:nvPr userDrawn="1"/>
          </p:nvSpPr>
          <p:spPr bwMode="auto">
            <a:xfrm>
              <a:off x="6753768" y="2046383"/>
              <a:ext cx="37622" cy="57777"/>
            </a:xfrm>
            <a:custGeom>
              <a:avLst/>
              <a:gdLst>
                <a:gd name="T0" fmla="*/ 2 w 12"/>
                <a:gd name="T1" fmla="*/ 6 h 18"/>
                <a:gd name="T2" fmla="*/ 0 w 12"/>
                <a:gd name="T3" fmla="*/ 13 h 18"/>
                <a:gd name="T4" fmla="*/ 2 w 12"/>
                <a:gd name="T5" fmla="*/ 2 h 18"/>
                <a:gd name="T6" fmla="*/ 2 w 12"/>
                <a:gd name="T7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8">
                  <a:moveTo>
                    <a:pt x="2" y="6"/>
                  </a:moveTo>
                  <a:cubicBezTo>
                    <a:pt x="2" y="6"/>
                    <a:pt x="0" y="13"/>
                    <a:pt x="0" y="13"/>
                  </a:cubicBezTo>
                  <a:cubicBezTo>
                    <a:pt x="3" y="18"/>
                    <a:pt x="12" y="0"/>
                    <a:pt x="2" y="2"/>
                  </a:cubicBezTo>
                  <a:cubicBezTo>
                    <a:pt x="2" y="2"/>
                    <a:pt x="3" y="5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5" name="Freeform 47"/>
            <p:cNvSpPr>
              <a:spLocks/>
            </p:cNvSpPr>
            <p:nvPr userDrawn="1"/>
          </p:nvSpPr>
          <p:spPr bwMode="auto">
            <a:xfrm>
              <a:off x="6171966" y="2071912"/>
              <a:ext cx="48371" cy="29560"/>
            </a:xfrm>
            <a:custGeom>
              <a:avLst/>
              <a:gdLst>
                <a:gd name="T0" fmla="*/ 8 w 15"/>
                <a:gd name="T1" fmla="*/ 1 h 9"/>
                <a:gd name="T2" fmla="*/ 0 w 15"/>
                <a:gd name="T3" fmla="*/ 5 h 9"/>
                <a:gd name="T4" fmla="*/ 8 w 15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8" y="1"/>
                  </a:moveTo>
                  <a:cubicBezTo>
                    <a:pt x="6" y="0"/>
                    <a:pt x="0" y="2"/>
                    <a:pt x="0" y="5"/>
                  </a:cubicBezTo>
                  <a:cubicBezTo>
                    <a:pt x="0" y="9"/>
                    <a:pt x="15" y="7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6" name="Freeform 48"/>
            <p:cNvSpPr>
              <a:spLocks/>
            </p:cNvSpPr>
            <p:nvPr userDrawn="1"/>
          </p:nvSpPr>
          <p:spPr bwMode="auto">
            <a:xfrm>
              <a:off x="7054746" y="2075943"/>
              <a:ext cx="34935" cy="34935"/>
            </a:xfrm>
            <a:custGeom>
              <a:avLst/>
              <a:gdLst>
                <a:gd name="T0" fmla="*/ 10 w 11"/>
                <a:gd name="T1" fmla="*/ 11 h 11"/>
                <a:gd name="T2" fmla="*/ 2 w 11"/>
                <a:gd name="T3" fmla="*/ 0 h 11"/>
                <a:gd name="T4" fmla="*/ 10 w 11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1">
                  <a:moveTo>
                    <a:pt x="10" y="11"/>
                  </a:moveTo>
                  <a:cubicBezTo>
                    <a:pt x="11" y="1"/>
                    <a:pt x="4" y="4"/>
                    <a:pt x="2" y="0"/>
                  </a:cubicBezTo>
                  <a:cubicBezTo>
                    <a:pt x="0" y="10"/>
                    <a:pt x="7" y="8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7" name="Freeform 49"/>
            <p:cNvSpPr>
              <a:spLocks/>
            </p:cNvSpPr>
            <p:nvPr userDrawn="1"/>
          </p:nvSpPr>
          <p:spPr bwMode="auto">
            <a:xfrm>
              <a:off x="7111179" y="2075943"/>
              <a:ext cx="48371" cy="72557"/>
            </a:xfrm>
            <a:custGeom>
              <a:avLst/>
              <a:gdLst>
                <a:gd name="T0" fmla="*/ 2 w 15"/>
                <a:gd name="T1" fmla="*/ 0 h 23"/>
                <a:gd name="T2" fmla="*/ 2 w 15"/>
                <a:gd name="T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3">
                  <a:moveTo>
                    <a:pt x="2" y="0"/>
                  </a:moveTo>
                  <a:cubicBezTo>
                    <a:pt x="0" y="23"/>
                    <a:pt x="15" y="3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8" name="Freeform 50"/>
            <p:cNvSpPr>
              <a:spLocks/>
            </p:cNvSpPr>
            <p:nvPr userDrawn="1"/>
          </p:nvSpPr>
          <p:spPr bwMode="auto">
            <a:xfrm>
              <a:off x="7143427" y="2088036"/>
              <a:ext cx="28217" cy="37622"/>
            </a:xfrm>
            <a:custGeom>
              <a:avLst/>
              <a:gdLst>
                <a:gd name="T0" fmla="*/ 8 w 9"/>
                <a:gd name="T1" fmla="*/ 11 h 12"/>
                <a:gd name="T2" fmla="*/ 3 w 9"/>
                <a:gd name="T3" fmla="*/ 0 h 12"/>
                <a:gd name="T4" fmla="*/ 0 w 9"/>
                <a:gd name="T5" fmla="*/ 7 h 12"/>
                <a:gd name="T6" fmla="*/ 8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11"/>
                  </a:moveTo>
                  <a:cubicBezTo>
                    <a:pt x="9" y="5"/>
                    <a:pt x="6" y="2"/>
                    <a:pt x="3" y="0"/>
                  </a:cubicBezTo>
                  <a:cubicBezTo>
                    <a:pt x="3" y="4"/>
                    <a:pt x="1" y="4"/>
                    <a:pt x="0" y="7"/>
                  </a:cubicBezTo>
                  <a:cubicBezTo>
                    <a:pt x="4" y="8"/>
                    <a:pt x="4" y="12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9" name="Freeform 51"/>
            <p:cNvSpPr>
              <a:spLocks/>
            </p:cNvSpPr>
            <p:nvPr userDrawn="1"/>
          </p:nvSpPr>
          <p:spPr bwMode="auto">
            <a:xfrm>
              <a:off x="6765860" y="2097442"/>
              <a:ext cx="41653" cy="38966"/>
            </a:xfrm>
            <a:custGeom>
              <a:avLst/>
              <a:gdLst>
                <a:gd name="T0" fmla="*/ 12 w 13"/>
                <a:gd name="T1" fmla="*/ 4 h 12"/>
                <a:gd name="T2" fmla="*/ 4 w 13"/>
                <a:gd name="T3" fmla="*/ 1 h 12"/>
                <a:gd name="T4" fmla="*/ 12 w 13"/>
                <a:gd name="T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2" y="4"/>
                  </a:moveTo>
                  <a:cubicBezTo>
                    <a:pt x="8" y="4"/>
                    <a:pt x="8" y="0"/>
                    <a:pt x="4" y="1"/>
                  </a:cubicBezTo>
                  <a:cubicBezTo>
                    <a:pt x="0" y="10"/>
                    <a:pt x="13" y="12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0" name="Freeform 52"/>
            <p:cNvSpPr>
              <a:spLocks/>
            </p:cNvSpPr>
            <p:nvPr userDrawn="1"/>
          </p:nvSpPr>
          <p:spPr bwMode="auto">
            <a:xfrm>
              <a:off x="7400064" y="2148500"/>
              <a:ext cx="32248" cy="34935"/>
            </a:xfrm>
            <a:custGeom>
              <a:avLst/>
              <a:gdLst>
                <a:gd name="T0" fmla="*/ 8 w 10"/>
                <a:gd name="T1" fmla="*/ 11 h 11"/>
                <a:gd name="T2" fmla="*/ 0 w 10"/>
                <a:gd name="T3" fmla="*/ 0 h 11"/>
                <a:gd name="T4" fmla="*/ 8 w 10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8" y="11"/>
                  </a:moveTo>
                  <a:cubicBezTo>
                    <a:pt x="10" y="1"/>
                    <a:pt x="3" y="3"/>
                    <a:pt x="0" y="0"/>
                  </a:cubicBezTo>
                  <a:cubicBezTo>
                    <a:pt x="0" y="8"/>
                    <a:pt x="2" y="11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1" name="Freeform 53"/>
            <p:cNvSpPr>
              <a:spLocks/>
            </p:cNvSpPr>
            <p:nvPr userDrawn="1"/>
          </p:nvSpPr>
          <p:spPr bwMode="auto">
            <a:xfrm>
              <a:off x="7674169" y="2155219"/>
              <a:ext cx="37622" cy="37622"/>
            </a:xfrm>
            <a:custGeom>
              <a:avLst/>
              <a:gdLst>
                <a:gd name="T0" fmla="*/ 6 w 12"/>
                <a:gd name="T1" fmla="*/ 12 h 12"/>
                <a:gd name="T2" fmla="*/ 11 w 12"/>
                <a:gd name="T3" fmla="*/ 1 h 12"/>
                <a:gd name="T4" fmla="*/ 0 w 12"/>
                <a:gd name="T5" fmla="*/ 5 h 12"/>
                <a:gd name="T6" fmla="*/ 6 w 12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6" y="7"/>
                    <a:pt x="12" y="9"/>
                    <a:pt x="11" y="1"/>
                  </a:cubicBezTo>
                  <a:cubicBezTo>
                    <a:pt x="7" y="2"/>
                    <a:pt x="1" y="0"/>
                    <a:pt x="0" y="5"/>
                  </a:cubicBezTo>
                  <a:cubicBezTo>
                    <a:pt x="4" y="5"/>
                    <a:pt x="3" y="11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2" name="Freeform 54"/>
            <p:cNvSpPr>
              <a:spLocks/>
            </p:cNvSpPr>
            <p:nvPr userDrawn="1"/>
          </p:nvSpPr>
          <p:spPr bwMode="auto">
            <a:xfrm>
              <a:off x="7991271" y="2157906"/>
              <a:ext cx="56433" cy="47028"/>
            </a:xfrm>
            <a:custGeom>
              <a:avLst/>
              <a:gdLst>
                <a:gd name="T0" fmla="*/ 13 w 18"/>
                <a:gd name="T1" fmla="*/ 15 h 15"/>
                <a:gd name="T2" fmla="*/ 18 w 18"/>
                <a:gd name="T3" fmla="*/ 4 h 15"/>
                <a:gd name="T4" fmla="*/ 0 w 18"/>
                <a:gd name="T5" fmla="*/ 11 h 15"/>
                <a:gd name="T6" fmla="*/ 13 w 18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13" y="15"/>
                  </a:moveTo>
                  <a:cubicBezTo>
                    <a:pt x="12" y="8"/>
                    <a:pt x="17" y="8"/>
                    <a:pt x="18" y="4"/>
                  </a:cubicBezTo>
                  <a:cubicBezTo>
                    <a:pt x="15" y="0"/>
                    <a:pt x="1" y="2"/>
                    <a:pt x="0" y="11"/>
                  </a:cubicBezTo>
                  <a:cubicBezTo>
                    <a:pt x="11" y="9"/>
                    <a:pt x="9" y="8"/>
                    <a:pt x="13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3" name="Freeform 55"/>
            <p:cNvSpPr>
              <a:spLocks/>
            </p:cNvSpPr>
            <p:nvPr userDrawn="1"/>
          </p:nvSpPr>
          <p:spPr bwMode="auto">
            <a:xfrm>
              <a:off x="7359755" y="2190154"/>
              <a:ext cx="14780" cy="37622"/>
            </a:xfrm>
            <a:custGeom>
              <a:avLst/>
              <a:gdLst>
                <a:gd name="T0" fmla="*/ 0 w 5"/>
                <a:gd name="T1" fmla="*/ 1 h 12"/>
                <a:gd name="T2" fmla="*/ 0 w 5"/>
                <a:gd name="T3" fmla="*/ 9 h 12"/>
                <a:gd name="T4" fmla="*/ 5 w 5"/>
                <a:gd name="T5" fmla="*/ 12 h 12"/>
                <a:gd name="T6" fmla="*/ 0 w 5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2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3" y="12"/>
                    <a:pt x="5" y="12"/>
                  </a:cubicBezTo>
                  <a:cubicBezTo>
                    <a:pt x="5" y="7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4" name="Freeform 56"/>
            <p:cNvSpPr>
              <a:spLocks/>
            </p:cNvSpPr>
            <p:nvPr userDrawn="1"/>
          </p:nvSpPr>
          <p:spPr bwMode="auto">
            <a:xfrm>
              <a:off x="7742695" y="2202246"/>
              <a:ext cx="25529" cy="51059"/>
            </a:xfrm>
            <a:custGeom>
              <a:avLst/>
              <a:gdLst>
                <a:gd name="T0" fmla="*/ 0 w 8"/>
                <a:gd name="T1" fmla="*/ 1 h 16"/>
                <a:gd name="T2" fmla="*/ 5 w 8"/>
                <a:gd name="T3" fmla="*/ 16 h 16"/>
                <a:gd name="T4" fmla="*/ 8 w 8"/>
                <a:gd name="T5" fmla="*/ 5 h 16"/>
                <a:gd name="T6" fmla="*/ 0 w 8"/>
                <a:gd name="T7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6">
                  <a:moveTo>
                    <a:pt x="0" y="1"/>
                  </a:moveTo>
                  <a:cubicBezTo>
                    <a:pt x="0" y="8"/>
                    <a:pt x="1" y="13"/>
                    <a:pt x="5" y="16"/>
                  </a:cubicBezTo>
                  <a:cubicBezTo>
                    <a:pt x="5" y="11"/>
                    <a:pt x="6" y="8"/>
                    <a:pt x="8" y="5"/>
                  </a:cubicBezTo>
                  <a:cubicBezTo>
                    <a:pt x="4" y="5"/>
                    <a:pt x="4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5" name="Freeform 57"/>
            <p:cNvSpPr>
              <a:spLocks/>
            </p:cNvSpPr>
            <p:nvPr userDrawn="1"/>
          </p:nvSpPr>
          <p:spPr bwMode="auto">
            <a:xfrm>
              <a:off x="7698355" y="2225089"/>
              <a:ext cx="34935" cy="63152"/>
            </a:xfrm>
            <a:custGeom>
              <a:avLst/>
              <a:gdLst>
                <a:gd name="T0" fmla="*/ 0 w 11"/>
                <a:gd name="T1" fmla="*/ 9 h 20"/>
                <a:gd name="T2" fmla="*/ 11 w 11"/>
                <a:gd name="T3" fmla="*/ 9 h 20"/>
                <a:gd name="T4" fmla="*/ 0 w 11"/>
                <a:gd name="T5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0">
                  <a:moveTo>
                    <a:pt x="0" y="9"/>
                  </a:moveTo>
                  <a:cubicBezTo>
                    <a:pt x="5" y="5"/>
                    <a:pt x="9" y="20"/>
                    <a:pt x="11" y="9"/>
                  </a:cubicBezTo>
                  <a:cubicBezTo>
                    <a:pt x="9" y="8"/>
                    <a:pt x="1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6" name="Freeform 58"/>
            <p:cNvSpPr>
              <a:spLocks/>
            </p:cNvSpPr>
            <p:nvPr userDrawn="1"/>
          </p:nvSpPr>
          <p:spPr bwMode="auto">
            <a:xfrm>
              <a:off x="7749414" y="2329893"/>
              <a:ext cx="18811" cy="40310"/>
            </a:xfrm>
            <a:custGeom>
              <a:avLst/>
              <a:gdLst>
                <a:gd name="T0" fmla="*/ 0 w 6"/>
                <a:gd name="T1" fmla="*/ 2 h 13"/>
                <a:gd name="T2" fmla="*/ 0 w 6"/>
                <a:gd name="T3" fmla="*/ 9 h 13"/>
                <a:gd name="T4" fmla="*/ 6 w 6"/>
                <a:gd name="T5" fmla="*/ 13 h 13"/>
                <a:gd name="T6" fmla="*/ 0 w 6"/>
                <a:gd name="T7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3">
                  <a:moveTo>
                    <a:pt x="0" y="2"/>
                  </a:moveTo>
                  <a:cubicBezTo>
                    <a:pt x="0" y="4"/>
                    <a:pt x="0" y="7"/>
                    <a:pt x="0" y="9"/>
                  </a:cubicBezTo>
                  <a:cubicBezTo>
                    <a:pt x="3" y="9"/>
                    <a:pt x="4" y="12"/>
                    <a:pt x="6" y="13"/>
                  </a:cubicBezTo>
                  <a:cubicBezTo>
                    <a:pt x="5" y="7"/>
                    <a:pt x="6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7" name="Freeform 59"/>
            <p:cNvSpPr>
              <a:spLocks/>
            </p:cNvSpPr>
            <p:nvPr userDrawn="1"/>
          </p:nvSpPr>
          <p:spPr bwMode="auto">
            <a:xfrm>
              <a:off x="6892164" y="2354079"/>
              <a:ext cx="67183" cy="38966"/>
            </a:xfrm>
            <a:custGeom>
              <a:avLst/>
              <a:gdLst>
                <a:gd name="T0" fmla="*/ 20 w 21"/>
                <a:gd name="T1" fmla="*/ 1 h 12"/>
                <a:gd name="T2" fmla="*/ 15 w 21"/>
                <a:gd name="T3" fmla="*/ 1 h 12"/>
                <a:gd name="T4" fmla="*/ 20 w 21"/>
                <a:gd name="T5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2">
                  <a:moveTo>
                    <a:pt x="20" y="1"/>
                  </a:moveTo>
                  <a:cubicBezTo>
                    <a:pt x="18" y="1"/>
                    <a:pt x="17" y="1"/>
                    <a:pt x="15" y="1"/>
                  </a:cubicBezTo>
                  <a:cubicBezTo>
                    <a:pt x="0" y="0"/>
                    <a:pt x="21" y="12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8" name="Freeform 60"/>
            <p:cNvSpPr>
              <a:spLocks/>
            </p:cNvSpPr>
            <p:nvPr userDrawn="1"/>
          </p:nvSpPr>
          <p:spPr bwMode="auto">
            <a:xfrm>
              <a:off x="2995573" y="2386327"/>
              <a:ext cx="18811" cy="67183"/>
            </a:xfrm>
            <a:custGeom>
              <a:avLst/>
              <a:gdLst>
                <a:gd name="T0" fmla="*/ 3 w 6"/>
                <a:gd name="T1" fmla="*/ 21 h 21"/>
                <a:gd name="T2" fmla="*/ 1 w 6"/>
                <a:gd name="T3" fmla="*/ 13 h 21"/>
                <a:gd name="T4" fmla="*/ 3 w 6"/>
                <a:gd name="T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1">
                  <a:moveTo>
                    <a:pt x="3" y="21"/>
                  </a:moveTo>
                  <a:cubicBezTo>
                    <a:pt x="6" y="20"/>
                    <a:pt x="5" y="0"/>
                    <a:pt x="1" y="13"/>
                  </a:cubicBezTo>
                  <a:cubicBezTo>
                    <a:pt x="0" y="16"/>
                    <a:pt x="2" y="21"/>
                    <a:pt x="3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9" name="Freeform 61"/>
            <p:cNvSpPr>
              <a:spLocks/>
            </p:cNvSpPr>
            <p:nvPr userDrawn="1"/>
          </p:nvSpPr>
          <p:spPr bwMode="auto">
            <a:xfrm>
              <a:off x="2970044" y="2423949"/>
              <a:ext cx="18811" cy="38966"/>
            </a:xfrm>
            <a:custGeom>
              <a:avLst/>
              <a:gdLst>
                <a:gd name="T0" fmla="*/ 3 w 6"/>
                <a:gd name="T1" fmla="*/ 12 h 12"/>
                <a:gd name="T2" fmla="*/ 6 w 6"/>
                <a:gd name="T3" fmla="*/ 9 h 12"/>
                <a:gd name="T4" fmla="*/ 0 w 6"/>
                <a:gd name="T5" fmla="*/ 1 h 12"/>
                <a:gd name="T6" fmla="*/ 3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3" y="12"/>
                  </a:moveTo>
                  <a:cubicBezTo>
                    <a:pt x="3" y="10"/>
                    <a:pt x="4" y="8"/>
                    <a:pt x="6" y="9"/>
                  </a:cubicBezTo>
                  <a:cubicBezTo>
                    <a:pt x="6" y="4"/>
                    <a:pt x="5" y="0"/>
                    <a:pt x="0" y="1"/>
                  </a:cubicBezTo>
                  <a:cubicBezTo>
                    <a:pt x="1" y="6"/>
                    <a:pt x="0" y="12"/>
                    <a:pt x="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0" name="Freeform 62"/>
            <p:cNvSpPr>
              <a:spLocks/>
            </p:cNvSpPr>
            <p:nvPr userDrawn="1"/>
          </p:nvSpPr>
          <p:spPr bwMode="auto">
            <a:xfrm>
              <a:off x="3023790" y="2440073"/>
              <a:ext cx="41653" cy="38966"/>
            </a:xfrm>
            <a:custGeom>
              <a:avLst/>
              <a:gdLst>
                <a:gd name="T0" fmla="*/ 13 w 13"/>
                <a:gd name="T1" fmla="*/ 4 h 12"/>
                <a:gd name="T2" fmla="*/ 2 w 13"/>
                <a:gd name="T3" fmla="*/ 11 h 12"/>
                <a:gd name="T4" fmla="*/ 13 w 13"/>
                <a:gd name="T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4"/>
                  </a:moveTo>
                  <a:cubicBezTo>
                    <a:pt x="8" y="5"/>
                    <a:pt x="0" y="0"/>
                    <a:pt x="2" y="11"/>
                  </a:cubicBezTo>
                  <a:cubicBezTo>
                    <a:pt x="9" y="12"/>
                    <a:pt x="13" y="10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1" name="Freeform 63"/>
            <p:cNvSpPr>
              <a:spLocks/>
            </p:cNvSpPr>
            <p:nvPr userDrawn="1"/>
          </p:nvSpPr>
          <p:spPr bwMode="auto">
            <a:xfrm>
              <a:off x="3792359" y="3484090"/>
              <a:ext cx="28217" cy="64495"/>
            </a:xfrm>
            <a:custGeom>
              <a:avLst/>
              <a:gdLst>
                <a:gd name="T0" fmla="*/ 8 w 9"/>
                <a:gd name="T1" fmla="*/ 19 h 20"/>
                <a:gd name="T2" fmla="*/ 0 w 9"/>
                <a:gd name="T3" fmla="*/ 0 h 20"/>
                <a:gd name="T4" fmla="*/ 8 w 9"/>
                <a:gd name="T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0">
                  <a:moveTo>
                    <a:pt x="8" y="19"/>
                  </a:moveTo>
                  <a:cubicBezTo>
                    <a:pt x="9" y="7"/>
                    <a:pt x="4" y="4"/>
                    <a:pt x="0" y="0"/>
                  </a:cubicBezTo>
                  <a:cubicBezTo>
                    <a:pt x="2" y="7"/>
                    <a:pt x="0" y="20"/>
                    <a:pt x="8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2" name="Freeform 64"/>
            <p:cNvSpPr>
              <a:spLocks/>
            </p:cNvSpPr>
            <p:nvPr userDrawn="1"/>
          </p:nvSpPr>
          <p:spPr bwMode="auto">
            <a:xfrm>
              <a:off x="3338205" y="3532462"/>
              <a:ext cx="47028" cy="75245"/>
            </a:xfrm>
            <a:custGeom>
              <a:avLst/>
              <a:gdLst>
                <a:gd name="T0" fmla="*/ 6 w 15"/>
                <a:gd name="T1" fmla="*/ 0 h 24"/>
                <a:gd name="T2" fmla="*/ 6 w 15"/>
                <a:gd name="T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4">
                  <a:moveTo>
                    <a:pt x="6" y="0"/>
                  </a:moveTo>
                  <a:cubicBezTo>
                    <a:pt x="0" y="24"/>
                    <a:pt x="15" y="1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3" name="Freeform 65"/>
            <p:cNvSpPr>
              <a:spLocks/>
            </p:cNvSpPr>
            <p:nvPr userDrawn="1"/>
          </p:nvSpPr>
          <p:spPr bwMode="auto">
            <a:xfrm>
              <a:off x="3748018" y="3523056"/>
              <a:ext cx="37622" cy="81963"/>
            </a:xfrm>
            <a:custGeom>
              <a:avLst/>
              <a:gdLst>
                <a:gd name="T0" fmla="*/ 3 w 12"/>
                <a:gd name="T1" fmla="*/ 3 h 26"/>
                <a:gd name="T2" fmla="*/ 0 w 12"/>
                <a:gd name="T3" fmla="*/ 25 h 26"/>
                <a:gd name="T4" fmla="*/ 6 w 12"/>
                <a:gd name="T5" fmla="*/ 14 h 26"/>
                <a:gd name="T6" fmla="*/ 3 w 12"/>
                <a:gd name="T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3" y="3"/>
                  </a:moveTo>
                  <a:cubicBezTo>
                    <a:pt x="5" y="14"/>
                    <a:pt x="0" y="16"/>
                    <a:pt x="0" y="25"/>
                  </a:cubicBezTo>
                  <a:cubicBezTo>
                    <a:pt x="7" y="26"/>
                    <a:pt x="4" y="21"/>
                    <a:pt x="6" y="14"/>
                  </a:cubicBezTo>
                  <a:cubicBezTo>
                    <a:pt x="7" y="9"/>
                    <a:pt x="12" y="0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4" name="Freeform 66"/>
            <p:cNvSpPr>
              <a:spLocks/>
            </p:cNvSpPr>
            <p:nvPr userDrawn="1"/>
          </p:nvSpPr>
          <p:spPr bwMode="auto">
            <a:xfrm>
              <a:off x="2998261" y="3574115"/>
              <a:ext cx="32248" cy="63152"/>
            </a:xfrm>
            <a:custGeom>
              <a:avLst/>
              <a:gdLst>
                <a:gd name="T0" fmla="*/ 0 w 10"/>
                <a:gd name="T1" fmla="*/ 9 h 20"/>
                <a:gd name="T2" fmla="*/ 10 w 10"/>
                <a:gd name="T3" fmla="*/ 9 h 20"/>
                <a:gd name="T4" fmla="*/ 0 w 10"/>
                <a:gd name="T5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9"/>
                  </a:moveTo>
                  <a:cubicBezTo>
                    <a:pt x="5" y="6"/>
                    <a:pt x="9" y="20"/>
                    <a:pt x="10" y="9"/>
                  </a:cubicBezTo>
                  <a:cubicBezTo>
                    <a:pt x="9" y="8"/>
                    <a:pt x="0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" name="Freeform 67"/>
            <p:cNvSpPr>
              <a:spLocks/>
            </p:cNvSpPr>
            <p:nvPr userDrawn="1"/>
          </p:nvSpPr>
          <p:spPr bwMode="auto">
            <a:xfrm>
              <a:off x="3151437" y="3672202"/>
              <a:ext cx="44341" cy="69870"/>
            </a:xfrm>
            <a:custGeom>
              <a:avLst/>
              <a:gdLst>
                <a:gd name="T0" fmla="*/ 3 w 14"/>
                <a:gd name="T1" fmla="*/ 0 h 22"/>
                <a:gd name="T2" fmla="*/ 3 w 14"/>
                <a:gd name="T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22">
                  <a:moveTo>
                    <a:pt x="3" y="0"/>
                  </a:moveTo>
                  <a:cubicBezTo>
                    <a:pt x="0" y="22"/>
                    <a:pt x="14" y="2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" name="Freeform 68"/>
            <p:cNvSpPr>
              <a:spLocks/>
            </p:cNvSpPr>
            <p:nvPr userDrawn="1"/>
          </p:nvSpPr>
          <p:spPr bwMode="auto">
            <a:xfrm>
              <a:off x="3140688" y="3872406"/>
              <a:ext cx="20155" cy="24186"/>
            </a:xfrm>
            <a:custGeom>
              <a:avLst/>
              <a:gdLst>
                <a:gd name="T0" fmla="*/ 6 w 6"/>
                <a:gd name="T1" fmla="*/ 0 h 8"/>
                <a:gd name="T2" fmla="*/ 0 w 6"/>
                <a:gd name="T3" fmla="*/ 0 h 8"/>
                <a:gd name="T4" fmla="*/ 0 w 6"/>
                <a:gd name="T5" fmla="*/ 8 h 8"/>
                <a:gd name="T6" fmla="*/ 6 w 6"/>
                <a:gd name="T7" fmla="*/ 8 h 8"/>
                <a:gd name="T8" fmla="*/ 6 w 6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6" y="8"/>
                  </a:cubicBezTo>
                  <a:cubicBezTo>
                    <a:pt x="6" y="5"/>
                    <a:pt x="6" y="3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" name="Freeform 69"/>
            <p:cNvSpPr>
              <a:spLocks/>
            </p:cNvSpPr>
            <p:nvPr userDrawn="1"/>
          </p:nvSpPr>
          <p:spPr bwMode="auto">
            <a:xfrm>
              <a:off x="3081567" y="3919434"/>
              <a:ext cx="72557" cy="116898"/>
            </a:xfrm>
            <a:custGeom>
              <a:avLst/>
              <a:gdLst>
                <a:gd name="T0" fmla="*/ 11 w 23"/>
                <a:gd name="T1" fmla="*/ 4 h 37"/>
                <a:gd name="T2" fmla="*/ 3 w 23"/>
                <a:gd name="T3" fmla="*/ 0 h 37"/>
                <a:gd name="T4" fmla="*/ 3 w 23"/>
                <a:gd name="T5" fmla="*/ 33 h 37"/>
                <a:gd name="T6" fmla="*/ 22 w 23"/>
                <a:gd name="T7" fmla="*/ 26 h 37"/>
                <a:gd name="T8" fmla="*/ 17 w 23"/>
                <a:gd name="T9" fmla="*/ 15 h 37"/>
                <a:gd name="T10" fmla="*/ 14 w 23"/>
                <a:gd name="T11" fmla="*/ 4 h 37"/>
                <a:gd name="T12" fmla="*/ 6 w 23"/>
                <a:gd name="T13" fmla="*/ 11 h 37"/>
                <a:gd name="T14" fmla="*/ 11 w 23"/>
                <a:gd name="T15" fmla="*/ 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7">
                  <a:moveTo>
                    <a:pt x="11" y="4"/>
                  </a:moveTo>
                  <a:cubicBezTo>
                    <a:pt x="8" y="4"/>
                    <a:pt x="5" y="2"/>
                    <a:pt x="3" y="0"/>
                  </a:cubicBezTo>
                  <a:cubicBezTo>
                    <a:pt x="2" y="17"/>
                    <a:pt x="0" y="18"/>
                    <a:pt x="3" y="33"/>
                  </a:cubicBezTo>
                  <a:cubicBezTo>
                    <a:pt x="14" y="37"/>
                    <a:pt x="10" y="20"/>
                    <a:pt x="22" y="26"/>
                  </a:cubicBezTo>
                  <a:cubicBezTo>
                    <a:pt x="23" y="18"/>
                    <a:pt x="18" y="19"/>
                    <a:pt x="17" y="15"/>
                  </a:cubicBezTo>
                  <a:cubicBezTo>
                    <a:pt x="16" y="13"/>
                    <a:pt x="22" y="4"/>
                    <a:pt x="14" y="4"/>
                  </a:cubicBezTo>
                  <a:cubicBezTo>
                    <a:pt x="16" y="11"/>
                    <a:pt x="7" y="20"/>
                    <a:pt x="6" y="11"/>
                  </a:cubicBezTo>
                  <a:cubicBezTo>
                    <a:pt x="9" y="11"/>
                    <a:pt x="12" y="10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8" name="Freeform 70"/>
            <p:cNvSpPr>
              <a:spLocks/>
            </p:cNvSpPr>
            <p:nvPr userDrawn="1"/>
          </p:nvSpPr>
          <p:spPr bwMode="auto">
            <a:xfrm>
              <a:off x="3058725" y="3912715"/>
              <a:ext cx="32248" cy="60464"/>
            </a:xfrm>
            <a:custGeom>
              <a:avLst/>
              <a:gdLst>
                <a:gd name="T0" fmla="*/ 0 w 10"/>
                <a:gd name="T1" fmla="*/ 9 h 19"/>
                <a:gd name="T2" fmla="*/ 7 w 10"/>
                <a:gd name="T3" fmla="*/ 17 h 19"/>
                <a:gd name="T4" fmla="*/ 0 w 10"/>
                <a:gd name="T5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9">
                  <a:moveTo>
                    <a:pt x="0" y="9"/>
                  </a:moveTo>
                  <a:cubicBezTo>
                    <a:pt x="4" y="10"/>
                    <a:pt x="2" y="19"/>
                    <a:pt x="7" y="17"/>
                  </a:cubicBezTo>
                  <a:cubicBezTo>
                    <a:pt x="10" y="9"/>
                    <a:pt x="1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9" name="Freeform 71"/>
            <p:cNvSpPr>
              <a:spLocks/>
            </p:cNvSpPr>
            <p:nvPr userDrawn="1"/>
          </p:nvSpPr>
          <p:spPr bwMode="auto">
            <a:xfrm>
              <a:off x="3125908" y="4049768"/>
              <a:ext cx="75245" cy="126303"/>
            </a:xfrm>
            <a:custGeom>
              <a:avLst/>
              <a:gdLst>
                <a:gd name="T0" fmla="*/ 0 w 24"/>
                <a:gd name="T1" fmla="*/ 29 h 40"/>
                <a:gd name="T2" fmla="*/ 19 w 24"/>
                <a:gd name="T3" fmla="*/ 22 h 40"/>
                <a:gd name="T4" fmla="*/ 21 w 24"/>
                <a:gd name="T5" fmla="*/ 40 h 40"/>
                <a:gd name="T6" fmla="*/ 24 w 24"/>
                <a:gd name="T7" fmla="*/ 18 h 40"/>
                <a:gd name="T8" fmla="*/ 16 w 24"/>
                <a:gd name="T9" fmla="*/ 0 h 40"/>
                <a:gd name="T10" fmla="*/ 13 w 24"/>
                <a:gd name="T11" fmla="*/ 18 h 40"/>
                <a:gd name="T12" fmla="*/ 0 w 24"/>
                <a:gd name="T13" fmla="*/ 2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0">
                  <a:moveTo>
                    <a:pt x="0" y="29"/>
                  </a:moveTo>
                  <a:cubicBezTo>
                    <a:pt x="8" y="30"/>
                    <a:pt x="8" y="18"/>
                    <a:pt x="19" y="22"/>
                  </a:cubicBezTo>
                  <a:cubicBezTo>
                    <a:pt x="15" y="27"/>
                    <a:pt x="17" y="37"/>
                    <a:pt x="21" y="40"/>
                  </a:cubicBezTo>
                  <a:cubicBezTo>
                    <a:pt x="21" y="31"/>
                    <a:pt x="21" y="23"/>
                    <a:pt x="24" y="18"/>
                  </a:cubicBezTo>
                  <a:cubicBezTo>
                    <a:pt x="16" y="20"/>
                    <a:pt x="22" y="1"/>
                    <a:pt x="16" y="0"/>
                  </a:cubicBezTo>
                  <a:cubicBezTo>
                    <a:pt x="12" y="8"/>
                    <a:pt x="10" y="7"/>
                    <a:pt x="13" y="18"/>
                  </a:cubicBezTo>
                  <a:cubicBezTo>
                    <a:pt x="5" y="16"/>
                    <a:pt x="2" y="23"/>
                    <a:pt x="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0" name="Freeform 72"/>
            <p:cNvSpPr>
              <a:spLocks/>
            </p:cNvSpPr>
            <p:nvPr userDrawn="1"/>
          </p:nvSpPr>
          <p:spPr bwMode="auto">
            <a:xfrm>
              <a:off x="2792682" y="4059173"/>
              <a:ext cx="14780" cy="47028"/>
            </a:xfrm>
            <a:custGeom>
              <a:avLst/>
              <a:gdLst>
                <a:gd name="T0" fmla="*/ 5 w 5"/>
                <a:gd name="T1" fmla="*/ 15 h 15"/>
                <a:gd name="T2" fmla="*/ 5 w 5"/>
                <a:gd name="T3" fmla="*/ 0 h 15"/>
                <a:gd name="T4" fmla="*/ 0 w 5"/>
                <a:gd name="T5" fmla="*/ 0 h 15"/>
                <a:gd name="T6" fmla="*/ 0 w 5"/>
                <a:gd name="T7" fmla="*/ 15 h 15"/>
                <a:gd name="T8" fmla="*/ 5 w 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5">
                  <a:moveTo>
                    <a:pt x="5" y="15"/>
                  </a:moveTo>
                  <a:cubicBezTo>
                    <a:pt x="5" y="10"/>
                    <a:pt x="5" y="5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5"/>
                    <a:pt x="0" y="10"/>
                    <a:pt x="0" y="15"/>
                  </a:cubicBezTo>
                  <a:cubicBezTo>
                    <a:pt x="2" y="15"/>
                    <a:pt x="4" y="15"/>
                    <a:pt x="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1" name="Freeform 73"/>
            <p:cNvSpPr>
              <a:spLocks/>
            </p:cNvSpPr>
            <p:nvPr userDrawn="1"/>
          </p:nvSpPr>
          <p:spPr bwMode="auto">
            <a:xfrm>
              <a:off x="2823586" y="4059173"/>
              <a:ext cx="44341" cy="72557"/>
            </a:xfrm>
            <a:custGeom>
              <a:avLst/>
              <a:gdLst>
                <a:gd name="T0" fmla="*/ 9 w 14"/>
                <a:gd name="T1" fmla="*/ 23 h 23"/>
                <a:gd name="T2" fmla="*/ 14 w 14"/>
                <a:gd name="T3" fmla="*/ 8 h 23"/>
                <a:gd name="T4" fmla="*/ 4 w 14"/>
                <a:gd name="T5" fmla="*/ 0 h 23"/>
                <a:gd name="T6" fmla="*/ 9 w 14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3">
                  <a:moveTo>
                    <a:pt x="9" y="23"/>
                  </a:moveTo>
                  <a:cubicBezTo>
                    <a:pt x="10" y="17"/>
                    <a:pt x="13" y="13"/>
                    <a:pt x="14" y="8"/>
                  </a:cubicBezTo>
                  <a:cubicBezTo>
                    <a:pt x="10" y="6"/>
                    <a:pt x="7" y="2"/>
                    <a:pt x="4" y="0"/>
                  </a:cubicBezTo>
                  <a:cubicBezTo>
                    <a:pt x="9" y="11"/>
                    <a:pt x="0" y="19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2" name="Freeform 74"/>
            <p:cNvSpPr>
              <a:spLocks/>
            </p:cNvSpPr>
            <p:nvPr userDrawn="1"/>
          </p:nvSpPr>
          <p:spPr bwMode="auto">
            <a:xfrm>
              <a:off x="2867927" y="4084703"/>
              <a:ext cx="51059" cy="60464"/>
            </a:xfrm>
            <a:custGeom>
              <a:avLst/>
              <a:gdLst>
                <a:gd name="T0" fmla="*/ 16 w 16"/>
                <a:gd name="T1" fmla="*/ 18 h 19"/>
                <a:gd name="T2" fmla="*/ 3 w 16"/>
                <a:gd name="T3" fmla="*/ 0 h 19"/>
                <a:gd name="T4" fmla="*/ 0 w 16"/>
                <a:gd name="T5" fmla="*/ 15 h 19"/>
                <a:gd name="T6" fmla="*/ 16 w 16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9">
                  <a:moveTo>
                    <a:pt x="16" y="18"/>
                  </a:moveTo>
                  <a:cubicBezTo>
                    <a:pt x="15" y="8"/>
                    <a:pt x="11" y="1"/>
                    <a:pt x="3" y="0"/>
                  </a:cubicBezTo>
                  <a:cubicBezTo>
                    <a:pt x="5" y="12"/>
                    <a:pt x="5" y="7"/>
                    <a:pt x="0" y="15"/>
                  </a:cubicBezTo>
                  <a:cubicBezTo>
                    <a:pt x="3" y="19"/>
                    <a:pt x="10" y="19"/>
                    <a:pt x="1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3" name="Freeform 75"/>
            <p:cNvSpPr>
              <a:spLocks/>
            </p:cNvSpPr>
            <p:nvPr userDrawn="1"/>
          </p:nvSpPr>
          <p:spPr bwMode="auto">
            <a:xfrm>
              <a:off x="3090973" y="4084703"/>
              <a:ext cx="65839" cy="56433"/>
            </a:xfrm>
            <a:custGeom>
              <a:avLst/>
              <a:gdLst>
                <a:gd name="T0" fmla="*/ 8 w 21"/>
                <a:gd name="T1" fmla="*/ 0 h 18"/>
                <a:gd name="T2" fmla="*/ 0 w 21"/>
                <a:gd name="T3" fmla="*/ 7 h 18"/>
                <a:gd name="T4" fmla="*/ 6 w 21"/>
                <a:gd name="T5" fmla="*/ 18 h 18"/>
                <a:gd name="T6" fmla="*/ 8 w 21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8">
                  <a:moveTo>
                    <a:pt x="8" y="0"/>
                  </a:moveTo>
                  <a:cubicBezTo>
                    <a:pt x="8" y="5"/>
                    <a:pt x="2" y="4"/>
                    <a:pt x="0" y="7"/>
                  </a:cubicBezTo>
                  <a:cubicBezTo>
                    <a:pt x="0" y="14"/>
                    <a:pt x="2" y="17"/>
                    <a:pt x="6" y="18"/>
                  </a:cubicBezTo>
                  <a:cubicBezTo>
                    <a:pt x="5" y="7"/>
                    <a:pt x="21" y="6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4" name="Freeform 76"/>
            <p:cNvSpPr>
              <a:spLocks/>
            </p:cNvSpPr>
            <p:nvPr userDrawn="1"/>
          </p:nvSpPr>
          <p:spPr bwMode="auto">
            <a:xfrm>
              <a:off x="2937796" y="4112919"/>
              <a:ext cx="73901" cy="102118"/>
            </a:xfrm>
            <a:custGeom>
              <a:avLst/>
              <a:gdLst>
                <a:gd name="T0" fmla="*/ 0 w 23"/>
                <a:gd name="T1" fmla="*/ 2 h 32"/>
                <a:gd name="T2" fmla="*/ 0 w 23"/>
                <a:gd name="T3" fmla="*/ 17 h 32"/>
                <a:gd name="T4" fmla="*/ 16 w 23"/>
                <a:gd name="T5" fmla="*/ 13 h 32"/>
                <a:gd name="T6" fmla="*/ 10 w 23"/>
                <a:gd name="T7" fmla="*/ 31 h 32"/>
                <a:gd name="T8" fmla="*/ 19 w 23"/>
                <a:gd name="T9" fmla="*/ 6 h 32"/>
                <a:gd name="T10" fmla="*/ 0 w 23"/>
                <a:gd name="T11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32">
                  <a:moveTo>
                    <a:pt x="0" y="2"/>
                  </a:moveTo>
                  <a:cubicBezTo>
                    <a:pt x="0" y="7"/>
                    <a:pt x="0" y="12"/>
                    <a:pt x="0" y="17"/>
                  </a:cubicBezTo>
                  <a:cubicBezTo>
                    <a:pt x="8" y="21"/>
                    <a:pt x="14" y="4"/>
                    <a:pt x="16" y="13"/>
                  </a:cubicBezTo>
                  <a:cubicBezTo>
                    <a:pt x="9" y="20"/>
                    <a:pt x="13" y="19"/>
                    <a:pt x="10" y="31"/>
                  </a:cubicBezTo>
                  <a:cubicBezTo>
                    <a:pt x="20" y="32"/>
                    <a:pt x="23" y="12"/>
                    <a:pt x="19" y="6"/>
                  </a:cubicBezTo>
                  <a:cubicBezTo>
                    <a:pt x="9" y="9"/>
                    <a:pt x="8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5" name="Freeform 77"/>
            <p:cNvSpPr>
              <a:spLocks/>
            </p:cNvSpPr>
            <p:nvPr userDrawn="1"/>
          </p:nvSpPr>
          <p:spPr bwMode="auto">
            <a:xfrm>
              <a:off x="2814181" y="4115607"/>
              <a:ext cx="79275" cy="51059"/>
            </a:xfrm>
            <a:custGeom>
              <a:avLst/>
              <a:gdLst>
                <a:gd name="T0" fmla="*/ 12 w 25"/>
                <a:gd name="T1" fmla="*/ 16 h 16"/>
                <a:gd name="T2" fmla="*/ 20 w 25"/>
                <a:gd name="T3" fmla="*/ 16 h 16"/>
                <a:gd name="T4" fmla="*/ 12 w 25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16">
                  <a:moveTo>
                    <a:pt x="12" y="16"/>
                  </a:moveTo>
                  <a:cubicBezTo>
                    <a:pt x="13" y="10"/>
                    <a:pt x="18" y="13"/>
                    <a:pt x="20" y="16"/>
                  </a:cubicBezTo>
                  <a:cubicBezTo>
                    <a:pt x="25" y="0"/>
                    <a:pt x="0" y="10"/>
                    <a:pt x="1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6" name="Freeform 78"/>
            <p:cNvSpPr>
              <a:spLocks/>
            </p:cNvSpPr>
            <p:nvPr userDrawn="1"/>
          </p:nvSpPr>
          <p:spPr bwMode="auto">
            <a:xfrm>
              <a:off x="3033196" y="4138449"/>
              <a:ext cx="32248" cy="67183"/>
            </a:xfrm>
            <a:custGeom>
              <a:avLst/>
              <a:gdLst>
                <a:gd name="T0" fmla="*/ 5 w 10"/>
                <a:gd name="T1" fmla="*/ 20 h 21"/>
                <a:gd name="T2" fmla="*/ 10 w 10"/>
                <a:gd name="T3" fmla="*/ 1 h 21"/>
                <a:gd name="T4" fmla="*/ 5 w 10"/>
                <a:gd name="T5" fmla="*/ 1 h 21"/>
                <a:gd name="T6" fmla="*/ 5 w 10"/>
                <a:gd name="T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1">
                  <a:moveTo>
                    <a:pt x="5" y="20"/>
                  </a:moveTo>
                  <a:cubicBezTo>
                    <a:pt x="8" y="15"/>
                    <a:pt x="7" y="6"/>
                    <a:pt x="10" y="1"/>
                  </a:cubicBezTo>
                  <a:cubicBezTo>
                    <a:pt x="8" y="1"/>
                    <a:pt x="7" y="1"/>
                    <a:pt x="5" y="1"/>
                  </a:cubicBezTo>
                  <a:cubicBezTo>
                    <a:pt x="0" y="0"/>
                    <a:pt x="0" y="21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7" name="Freeform 79"/>
            <p:cNvSpPr>
              <a:spLocks/>
            </p:cNvSpPr>
            <p:nvPr userDrawn="1"/>
          </p:nvSpPr>
          <p:spPr bwMode="auto">
            <a:xfrm>
              <a:off x="3004979" y="4176071"/>
              <a:ext cx="28217" cy="34935"/>
            </a:xfrm>
            <a:custGeom>
              <a:avLst/>
              <a:gdLst>
                <a:gd name="T0" fmla="*/ 8 w 9"/>
                <a:gd name="T1" fmla="*/ 8 h 11"/>
                <a:gd name="T2" fmla="*/ 3 w 9"/>
                <a:gd name="T3" fmla="*/ 0 h 11"/>
                <a:gd name="T4" fmla="*/ 0 w 9"/>
                <a:gd name="T5" fmla="*/ 11 h 11"/>
                <a:gd name="T6" fmla="*/ 6 w 9"/>
                <a:gd name="T7" fmla="*/ 11 h 11"/>
                <a:gd name="T8" fmla="*/ 8 w 9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8" y="8"/>
                  </a:moveTo>
                  <a:cubicBezTo>
                    <a:pt x="5" y="8"/>
                    <a:pt x="6" y="1"/>
                    <a:pt x="3" y="0"/>
                  </a:cubicBezTo>
                  <a:cubicBezTo>
                    <a:pt x="3" y="5"/>
                    <a:pt x="0" y="6"/>
                    <a:pt x="0" y="11"/>
                  </a:cubicBezTo>
                  <a:cubicBezTo>
                    <a:pt x="2" y="11"/>
                    <a:pt x="4" y="11"/>
                    <a:pt x="6" y="11"/>
                  </a:cubicBezTo>
                  <a:cubicBezTo>
                    <a:pt x="7" y="11"/>
                    <a:pt x="9" y="11"/>
                    <a:pt x="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8" name="Freeform 80"/>
            <p:cNvSpPr>
              <a:spLocks/>
            </p:cNvSpPr>
            <p:nvPr userDrawn="1"/>
          </p:nvSpPr>
          <p:spPr bwMode="auto">
            <a:xfrm>
              <a:off x="3624403" y="4215037"/>
              <a:ext cx="40310" cy="40310"/>
            </a:xfrm>
            <a:custGeom>
              <a:avLst/>
              <a:gdLst>
                <a:gd name="T0" fmla="*/ 2 w 13"/>
                <a:gd name="T1" fmla="*/ 11 h 13"/>
                <a:gd name="T2" fmla="*/ 12 w 13"/>
                <a:gd name="T3" fmla="*/ 7 h 13"/>
                <a:gd name="T4" fmla="*/ 2 w 13"/>
                <a:gd name="T5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2" y="11"/>
                  </a:moveTo>
                  <a:cubicBezTo>
                    <a:pt x="3" y="13"/>
                    <a:pt x="13" y="10"/>
                    <a:pt x="12" y="7"/>
                  </a:cubicBezTo>
                  <a:cubicBezTo>
                    <a:pt x="9" y="0"/>
                    <a:pt x="0" y="9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9" name="Freeform 81"/>
            <p:cNvSpPr>
              <a:spLocks/>
            </p:cNvSpPr>
            <p:nvPr userDrawn="1"/>
          </p:nvSpPr>
          <p:spPr bwMode="auto">
            <a:xfrm>
              <a:off x="2792682" y="4205631"/>
              <a:ext cx="34935" cy="79275"/>
            </a:xfrm>
            <a:custGeom>
              <a:avLst/>
              <a:gdLst>
                <a:gd name="T0" fmla="*/ 8 w 11"/>
                <a:gd name="T1" fmla="*/ 25 h 25"/>
                <a:gd name="T2" fmla="*/ 11 w 11"/>
                <a:gd name="T3" fmla="*/ 17 h 25"/>
                <a:gd name="T4" fmla="*/ 0 w 11"/>
                <a:gd name="T5" fmla="*/ 14 h 25"/>
                <a:gd name="T6" fmla="*/ 3 w 11"/>
                <a:gd name="T7" fmla="*/ 25 h 25"/>
                <a:gd name="T8" fmla="*/ 8 w 11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5">
                  <a:moveTo>
                    <a:pt x="8" y="25"/>
                  </a:moveTo>
                  <a:cubicBezTo>
                    <a:pt x="8" y="21"/>
                    <a:pt x="10" y="20"/>
                    <a:pt x="11" y="17"/>
                  </a:cubicBezTo>
                  <a:cubicBezTo>
                    <a:pt x="4" y="22"/>
                    <a:pt x="4" y="0"/>
                    <a:pt x="0" y="14"/>
                  </a:cubicBezTo>
                  <a:cubicBezTo>
                    <a:pt x="3" y="14"/>
                    <a:pt x="3" y="19"/>
                    <a:pt x="3" y="25"/>
                  </a:cubicBezTo>
                  <a:cubicBezTo>
                    <a:pt x="5" y="25"/>
                    <a:pt x="6" y="25"/>
                    <a:pt x="8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0" name="Freeform 82"/>
            <p:cNvSpPr>
              <a:spLocks/>
            </p:cNvSpPr>
            <p:nvPr userDrawn="1"/>
          </p:nvSpPr>
          <p:spPr bwMode="auto">
            <a:xfrm>
              <a:off x="2960639" y="4236535"/>
              <a:ext cx="30904" cy="48371"/>
            </a:xfrm>
            <a:custGeom>
              <a:avLst/>
              <a:gdLst>
                <a:gd name="T0" fmla="*/ 1 w 10"/>
                <a:gd name="T1" fmla="*/ 4 h 15"/>
                <a:gd name="T2" fmla="*/ 6 w 10"/>
                <a:gd name="T3" fmla="*/ 15 h 15"/>
                <a:gd name="T4" fmla="*/ 9 w 10"/>
                <a:gd name="T5" fmla="*/ 0 h 15"/>
                <a:gd name="T6" fmla="*/ 3 w 10"/>
                <a:gd name="T7" fmla="*/ 0 h 15"/>
                <a:gd name="T8" fmla="*/ 1 w 10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1" y="4"/>
                  </a:moveTo>
                  <a:cubicBezTo>
                    <a:pt x="5" y="4"/>
                    <a:pt x="2" y="14"/>
                    <a:pt x="6" y="15"/>
                  </a:cubicBezTo>
                  <a:cubicBezTo>
                    <a:pt x="7" y="10"/>
                    <a:pt x="10" y="8"/>
                    <a:pt x="9" y="0"/>
                  </a:cubicBezTo>
                  <a:cubicBezTo>
                    <a:pt x="7" y="0"/>
                    <a:pt x="5" y="0"/>
                    <a:pt x="3" y="0"/>
                  </a:cubicBezTo>
                  <a:cubicBezTo>
                    <a:pt x="2" y="0"/>
                    <a:pt x="0" y="0"/>
                    <a:pt x="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1" name="Freeform 83"/>
            <p:cNvSpPr>
              <a:spLocks/>
            </p:cNvSpPr>
            <p:nvPr userDrawn="1"/>
          </p:nvSpPr>
          <p:spPr bwMode="auto">
            <a:xfrm>
              <a:off x="2998261" y="4227130"/>
              <a:ext cx="41653" cy="67183"/>
            </a:xfrm>
            <a:custGeom>
              <a:avLst/>
              <a:gdLst>
                <a:gd name="T0" fmla="*/ 0 w 13"/>
                <a:gd name="T1" fmla="*/ 10 h 21"/>
                <a:gd name="T2" fmla="*/ 13 w 13"/>
                <a:gd name="T3" fmla="*/ 10 h 21"/>
                <a:gd name="T4" fmla="*/ 0 w 13"/>
                <a:gd name="T5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1">
                  <a:moveTo>
                    <a:pt x="0" y="10"/>
                  </a:moveTo>
                  <a:cubicBezTo>
                    <a:pt x="6" y="5"/>
                    <a:pt x="11" y="21"/>
                    <a:pt x="13" y="10"/>
                  </a:cubicBezTo>
                  <a:cubicBezTo>
                    <a:pt x="8" y="5"/>
                    <a:pt x="4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2" name="Freeform 84"/>
            <p:cNvSpPr>
              <a:spLocks/>
            </p:cNvSpPr>
            <p:nvPr userDrawn="1"/>
          </p:nvSpPr>
          <p:spPr bwMode="auto">
            <a:xfrm>
              <a:off x="2802088" y="4249972"/>
              <a:ext cx="85994" cy="114210"/>
            </a:xfrm>
            <a:custGeom>
              <a:avLst/>
              <a:gdLst>
                <a:gd name="T0" fmla="*/ 11 w 27"/>
                <a:gd name="T1" fmla="*/ 33 h 36"/>
                <a:gd name="T2" fmla="*/ 21 w 27"/>
                <a:gd name="T3" fmla="*/ 33 h 36"/>
                <a:gd name="T4" fmla="*/ 21 w 27"/>
                <a:gd name="T5" fmla="*/ 0 h 36"/>
                <a:gd name="T6" fmla="*/ 13 w 27"/>
                <a:gd name="T7" fmla="*/ 0 h 36"/>
                <a:gd name="T8" fmla="*/ 11 w 27"/>
                <a:gd name="T9" fmla="*/ 11 h 36"/>
                <a:gd name="T10" fmla="*/ 11 w 27"/>
                <a:gd name="T11" fmla="*/ 3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36">
                  <a:moveTo>
                    <a:pt x="11" y="33"/>
                  </a:moveTo>
                  <a:cubicBezTo>
                    <a:pt x="12" y="22"/>
                    <a:pt x="16" y="36"/>
                    <a:pt x="21" y="33"/>
                  </a:cubicBezTo>
                  <a:cubicBezTo>
                    <a:pt x="17" y="21"/>
                    <a:pt x="20" y="13"/>
                    <a:pt x="21" y="0"/>
                  </a:cubicBezTo>
                  <a:cubicBezTo>
                    <a:pt x="19" y="0"/>
                    <a:pt x="16" y="0"/>
                    <a:pt x="13" y="0"/>
                  </a:cubicBezTo>
                  <a:cubicBezTo>
                    <a:pt x="13" y="5"/>
                    <a:pt x="12" y="8"/>
                    <a:pt x="11" y="11"/>
                  </a:cubicBezTo>
                  <a:cubicBezTo>
                    <a:pt x="27" y="13"/>
                    <a:pt x="0" y="27"/>
                    <a:pt x="11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3" name="Freeform 85"/>
            <p:cNvSpPr>
              <a:spLocks/>
            </p:cNvSpPr>
            <p:nvPr userDrawn="1"/>
          </p:nvSpPr>
          <p:spPr bwMode="auto">
            <a:xfrm>
              <a:off x="2867927" y="4255347"/>
              <a:ext cx="55090" cy="64495"/>
            </a:xfrm>
            <a:custGeom>
              <a:avLst/>
              <a:gdLst>
                <a:gd name="T0" fmla="*/ 8 w 17"/>
                <a:gd name="T1" fmla="*/ 9 h 20"/>
                <a:gd name="T2" fmla="*/ 6 w 17"/>
                <a:gd name="T3" fmla="*/ 9 h 20"/>
                <a:gd name="T4" fmla="*/ 3 w 17"/>
                <a:gd name="T5" fmla="*/ 1 h 20"/>
                <a:gd name="T6" fmla="*/ 0 w 17"/>
                <a:gd name="T7" fmla="*/ 16 h 20"/>
                <a:gd name="T8" fmla="*/ 16 w 17"/>
                <a:gd name="T9" fmla="*/ 20 h 20"/>
                <a:gd name="T10" fmla="*/ 8 w 17"/>
                <a:gd name="T11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20">
                  <a:moveTo>
                    <a:pt x="8" y="9"/>
                  </a:moveTo>
                  <a:cubicBezTo>
                    <a:pt x="6" y="10"/>
                    <a:pt x="9" y="13"/>
                    <a:pt x="6" y="9"/>
                  </a:cubicBezTo>
                  <a:cubicBezTo>
                    <a:pt x="4" y="7"/>
                    <a:pt x="6" y="0"/>
                    <a:pt x="3" y="1"/>
                  </a:cubicBezTo>
                  <a:cubicBezTo>
                    <a:pt x="3" y="8"/>
                    <a:pt x="2" y="13"/>
                    <a:pt x="0" y="16"/>
                  </a:cubicBezTo>
                  <a:cubicBezTo>
                    <a:pt x="9" y="13"/>
                    <a:pt x="10" y="20"/>
                    <a:pt x="16" y="20"/>
                  </a:cubicBezTo>
                  <a:cubicBezTo>
                    <a:pt x="17" y="10"/>
                    <a:pt x="12" y="7"/>
                    <a:pt x="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4" name="Freeform 86"/>
            <p:cNvSpPr>
              <a:spLocks/>
            </p:cNvSpPr>
            <p:nvPr userDrawn="1"/>
          </p:nvSpPr>
          <p:spPr bwMode="auto">
            <a:xfrm>
              <a:off x="3081567" y="4243254"/>
              <a:ext cx="25529" cy="69870"/>
            </a:xfrm>
            <a:custGeom>
              <a:avLst/>
              <a:gdLst>
                <a:gd name="T0" fmla="*/ 0 w 8"/>
                <a:gd name="T1" fmla="*/ 13 h 22"/>
                <a:gd name="T2" fmla="*/ 6 w 8"/>
                <a:gd name="T3" fmla="*/ 20 h 22"/>
                <a:gd name="T4" fmla="*/ 0 w 8"/>
                <a:gd name="T5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2">
                  <a:moveTo>
                    <a:pt x="0" y="13"/>
                  </a:moveTo>
                  <a:cubicBezTo>
                    <a:pt x="3" y="11"/>
                    <a:pt x="5" y="22"/>
                    <a:pt x="6" y="20"/>
                  </a:cubicBezTo>
                  <a:cubicBezTo>
                    <a:pt x="8" y="17"/>
                    <a:pt x="5" y="0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5" name="Freeform 87"/>
            <p:cNvSpPr>
              <a:spLocks/>
            </p:cNvSpPr>
            <p:nvPr userDrawn="1"/>
          </p:nvSpPr>
          <p:spPr bwMode="auto">
            <a:xfrm>
              <a:off x="2928391" y="4284907"/>
              <a:ext cx="69870" cy="116898"/>
            </a:xfrm>
            <a:custGeom>
              <a:avLst/>
              <a:gdLst>
                <a:gd name="T0" fmla="*/ 6 w 22"/>
                <a:gd name="T1" fmla="*/ 26 h 37"/>
                <a:gd name="T2" fmla="*/ 13 w 22"/>
                <a:gd name="T3" fmla="*/ 37 h 37"/>
                <a:gd name="T4" fmla="*/ 22 w 22"/>
                <a:gd name="T5" fmla="*/ 29 h 37"/>
                <a:gd name="T6" fmla="*/ 6 w 22"/>
                <a:gd name="T7" fmla="*/ 11 h 37"/>
                <a:gd name="T8" fmla="*/ 16 w 22"/>
                <a:gd name="T9" fmla="*/ 18 h 37"/>
                <a:gd name="T10" fmla="*/ 19 w 22"/>
                <a:gd name="T11" fmla="*/ 7 h 37"/>
                <a:gd name="T12" fmla="*/ 8 w 22"/>
                <a:gd name="T13" fmla="*/ 0 h 37"/>
                <a:gd name="T14" fmla="*/ 0 w 22"/>
                <a:gd name="T15" fmla="*/ 11 h 37"/>
                <a:gd name="T16" fmla="*/ 6 w 22"/>
                <a:gd name="T17" fmla="*/ 2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37">
                  <a:moveTo>
                    <a:pt x="6" y="26"/>
                  </a:moveTo>
                  <a:cubicBezTo>
                    <a:pt x="8" y="30"/>
                    <a:pt x="12" y="34"/>
                    <a:pt x="13" y="37"/>
                  </a:cubicBezTo>
                  <a:cubicBezTo>
                    <a:pt x="14" y="31"/>
                    <a:pt x="21" y="35"/>
                    <a:pt x="22" y="29"/>
                  </a:cubicBezTo>
                  <a:cubicBezTo>
                    <a:pt x="17" y="23"/>
                    <a:pt x="5" y="25"/>
                    <a:pt x="6" y="11"/>
                  </a:cubicBezTo>
                  <a:cubicBezTo>
                    <a:pt x="11" y="11"/>
                    <a:pt x="9" y="21"/>
                    <a:pt x="16" y="18"/>
                  </a:cubicBezTo>
                  <a:cubicBezTo>
                    <a:pt x="16" y="13"/>
                    <a:pt x="18" y="10"/>
                    <a:pt x="19" y="7"/>
                  </a:cubicBezTo>
                  <a:cubicBezTo>
                    <a:pt x="12" y="10"/>
                    <a:pt x="13" y="0"/>
                    <a:pt x="8" y="0"/>
                  </a:cubicBezTo>
                  <a:cubicBezTo>
                    <a:pt x="7" y="5"/>
                    <a:pt x="4" y="9"/>
                    <a:pt x="0" y="11"/>
                  </a:cubicBezTo>
                  <a:cubicBezTo>
                    <a:pt x="0" y="17"/>
                    <a:pt x="3" y="22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6" name="Freeform 88"/>
            <p:cNvSpPr>
              <a:spLocks/>
            </p:cNvSpPr>
            <p:nvPr userDrawn="1"/>
          </p:nvSpPr>
          <p:spPr bwMode="auto">
            <a:xfrm>
              <a:off x="3061412" y="4319842"/>
              <a:ext cx="29560" cy="44341"/>
            </a:xfrm>
            <a:custGeom>
              <a:avLst/>
              <a:gdLst>
                <a:gd name="T0" fmla="*/ 9 w 9"/>
                <a:gd name="T1" fmla="*/ 11 h 14"/>
                <a:gd name="T2" fmla="*/ 4 w 9"/>
                <a:gd name="T3" fmla="*/ 0 h 14"/>
                <a:gd name="T4" fmla="*/ 9 w 9"/>
                <a:gd name="T5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9" y="11"/>
                  </a:moveTo>
                  <a:cubicBezTo>
                    <a:pt x="9" y="4"/>
                    <a:pt x="7" y="1"/>
                    <a:pt x="4" y="0"/>
                  </a:cubicBezTo>
                  <a:cubicBezTo>
                    <a:pt x="0" y="5"/>
                    <a:pt x="0" y="14"/>
                    <a:pt x="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7" name="Freeform 89"/>
            <p:cNvSpPr>
              <a:spLocks/>
            </p:cNvSpPr>
            <p:nvPr userDrawn="1"/>
          </p:nvSpPr>
          <p:spPr bwMode="auto">
            <a:xfrm>
              <a:off x="2988855" y="4329247"/>
              <a:ext cx="16124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8" name="Freeform 90"/>
            <p:cNvSpPr>
              <a:spLocks/>
            </p:cNvSpPr>
            <p:nvPr userDrawn="1"/>
          </p:nvSpPr>
          <p:spPr bwMode="auto">
            <a:xfrm>
              <a:off x="3072162" y="4389712"/>
              <a:ext cx="30904" cy="56433"/>
            </a:xfrm>
            <a:custGeom>
              <a:avLst/>
              <a:gdLst>
                <a:gd name="T0" fmla="*/ 3 w 10"/>
                <a:gd name="T1" fmla="*/ 18 h 18"/>
                <a:gd name="T2" fmla="*/ 1 w 10"/>
                <a:gd name="T3" fmla="*/ 4 h 18"/>
                <a:gd name="T4" fmla="*/ 3 w 10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3" y="18"/>
                  </a:moveTo>
                  <a:cubicBezTo>
                    <a:pt x="5" y="16"/>
                    <a:pt x="10" y="0"/>
                    <a:pt x="1" y="4"/>
                  </a:cubicBezTo>
                  <a:cubicBezTo>
                    <a:pt x="1" y="9"/>
                    <a:pt x="0" y="17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9" name="Freeform 91"/>
            <p:cNvSpPr>
              <a:spLocks/>
            </p:cNvSpPr>
            <p:nvPr userDrawn="1"/>
          </p:nvSpPr>
          <p:spPr bwMode="auto">
            <a:xfrm>
              <a:off x="3131282" y="4401805"/>
              <a:ext cx="22842" cy="44341"/>
            </a:xfrm>
            <a:custGeom>
              <a:avLst/>
              <a:gdLst>
                <a:gd name="T0" fmla="*/ 6 w 7"/>
                <a:gd name="T1" fmla="*/ 14 h 14"/>
                <a:gd name="T2" fmla="*/ 1 w 7"/>
                <a:gd name="T3" fmla="*/ 0 h 14"/>
                <a:gd name="T4" fmla="*/ 6 w 7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6" y="14"/>
                  </a:moveTo>
                  <a:cubicBezTo>
                    <a:pt x="7" y="6"/>
                    <a:pt x="5" y="1"/>
                    <a:pt x="1" y="0"/>
                  </a:cubicBezTo>
                  <a:cubicBezTo>
                    <a:pt x="0" y="8"/>
                    <a:pt x="1" y="14"/>
                    <a:pt x="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0" name="Freeform 92"/>
            <p:cNvSpPr>
              <a:spLocks/>
            </p:cNvSpPr>
            <p:nvPr userDrawn="1"/>
          </p:nvSpPr>
          <p:spPr bwMode="auto">
            <a:xfrm>
              <a:off x="2807462" y="4378963"/>
              <a:ext cx="45684" cy="115554"/>
            </a:xfrm>
            <a:custGeom>
              <a:avLst/>
              <a:gdLst>
                <a:gd name="T0" fmla="*/ 14 w 14"/>
                <a:gd name="T1" fmla="*/ 18 h 36"/>
                <a:gd name="T2" fmla="*/ 11 w 14"/>
                <a:gd name="T3" fmla="*/ 14 h 36"/>
                <a:gd name="T4" fmla="*/ 14 w 14"/>
                <a:gd name="T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36">
                  <a:moveTo>
                    <a:pt x="14" y="18"/>
                  </a:moveTo>
                  <a:cubicBezTo>
                    <a:pt x="11" y="19"/>
                    <a:pt x="12" y="15"/>
                    <a:pt x="11" y="14"/>
                  </a:cubicBezTo>
                  <a:cubicBezTo>
                    <a:pt x="0" y="0"/>
                    <a:pt x="4" y="36"/>
                    <a:pt x="1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1" name="Freeform 93"/>
            <p:cNvSpPr>
              <a:spLocks/>
            </p:cNvSpPr>
            <p:nvPr userDrawn="1"/>
          </p:nvSpPr>
          <p:spPr bwMode="auto">
            <a:xfrm>
              <a:off x="2923016" y="4439427"/>
              <a:ext cx="81963" cy="83306"/>
            </a:xfrm>
            <a:custGeom>
              <a:avLst/>
              <a:gdLst>
                <a:gd name="T0" fmla="*/ 18 w 26"/>
                <a:gd name="T1" fmla="*/ 21 h 26"/>
                <a:gd name="T2" fmla="*/ 24 w 26"/>
                <a:gd name="T3" fmla="*/ 2 h 26"/>
                <a:gd name="T4" fmla="*/ 8 w 26"/>
                <a:gd name="T5" fmla="*/ 17 h 26"/>
                <a:gd name="T6" fmla="*/ 18 w 26"/>
                <a:gd name="T7" fmla="*/ 2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6">
                  <a:moveTo>
                    <a:pt x="18" y="21"/>
                  </a:moveTo>
                  <a:cubicBezTo>
                    <a:pt x="14" y="7"/>
                    <a:pt x="26" y="14"/>
                    <a:pt x="24" y="2"/>
                  </a:cubicBezTo>
                  <a:cubicBezTo>
                    <a:pt x="15" y="0"/>
                    <a:pt x="0" y="9"/>
                    <a:pt x="8" y="17"/>
                  </a:cubicBezTo>
                  <a:cubicBezTo>
                    <a:pt x="10" y="6"/>
                    <a:pt x="12" y="26"/>
                    <a:pt x="18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2" name="Freeform 94"/>
            <p:cNvSpPr>
              <a:spLocks/>
            </p:cNvSpPr>
            <p:nvPr userDrawn="1"/>
          </p:nvSpPr>
          <p:spPr bwMode="auto">
            <a:xfrm>
              <a:off x="3252211" y="4446145"/>
              <a:ext cx="34935" cy="85994"/>
            </a:xfrm>
            <a:custGeom>
              <a:avLst/>
              <a:gdLst>
                <a:gd name="T0" fmla="*/ 11 w 11"/>
                <a:gd name="T1" fmla="*/ 23 h 27"/>
                <a:gd name="T2" fmla="*/ 3 w 11"/>
                <a:gd name="T3" fmla="*/ 0 h 27"/>
                <a:gd name="T4" fmla="*/ 11 w 11"/>
                <a:gd name="T5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7">
                  <a:moveTo>
                    <a:pt x="11" y="23"/>
                  </a:moveTo>
                  <a:cubicBezTo>
                    <a:pt x="10" y="13"/>
                    <a:pt x="7" y="6"/>
                    <a:pt x="3" y="0"/>
                  </a:cubicBezTo>
                  <a:cubicBezTo>
                    <a:pt x="1" y="4"/>
                    <a:pt x="0" y="27"/>
                    <a:pt x="1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3" name="Freeform 95"/>
            <p:cNvSpPr>
              <a:spLocks/>
            </p:cNvSpPr>
            <p:nvPr userDrawn="1"/>
          </p:nvSpPr>
          <p:spPr bwMode="auto">
            <a:xfrm>
              <a:off x="2827617" y="4483767"/>
              <a:ext cx="28217" cy="22842"/>
            </a:xfrm>
            <a:custGeom>
              <a:avLst/>
              <a:gdLst>
                <a:gd name="T0" fmla="*/ 3 w 9"/>
                <a:gd name="T1" fmla="*/ 0 h 7"/>
                <a:gd name="T2" fmla="*/ 0 w 9"/>
                <a:gd name="T3" fmla="*/ 7 h 7"/>
                <a:gd name="T4" fmla="*/ 8 w 9"/>
                <a:gd name="T5" fmla="*/ 0 h 7"/>
                <a:gd name="T6" fmla="*/ 3 w 9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3" y="0"/>
                  </a:moveTo>
                  <a:cubicBezTo>
                    <a:pt x="3" y="3"/>
                    <a:pt x="0" y="4"/>
                    <a:pt x="0" y="7"/>
                  </a:cubicBezTo>
                  <a:cubicBezTo>
                    <a:pt x="4" y="7"/>
                    <a:pt x="9" y="7"/>
                    <a:pt x="8" y="0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4" name="Freeform 96"/>
            <p:cNvSpPr>
              <a:spLocks/>
            </p:cNvSpPr>
            <p:nvPr userDrawn="1"/>
          </p:nvSpPr>
          <p:spPr bwMode="auto">
            <a:xfrm>
              <a:off x="3109784" y="4483767"/>
              <a:ext cx="47028" cy="69870"/>
            </a:xfrm>
            <a:custGeom>
              <a:avLst/>
              <a:gdLst>
                <a:gd name="T0" fmla="*/ 8 w 15"/>
                <a:gd name="T1" fmla="*/ 22 h 22"/>
                <a:gd name="T2" fmla="*/ 13 w 15"/>
                <a:gd name="T3" fmla="*/ 22 h 22"/>
                <a:gd name="T4" fmla="*/ 8 w 15"/>
                <a:gd name="T5" fmla="*/ 7 h 22"/>
                <a:gd name="T6" fmla="*/ 8 w 15"/>
                <a:gd name="T7" fmla="*/ 0 h 22"/>
                <a:gd name="T8" fmla="*/ 8 w 15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2">
                  <a:moveTo>
                    <a:pt x="8" y="22"/>
                  </a:moveTo>
                  <a:cubicBezTo>
                    <a:pt x="8" y="17"/>
                    <a:pt x="11" y="19"/>
                    <a:pt x="13" y="22"/>
                  </a:cubicBezTo>
                  <a:cubicBezTo>
                    <a:pt x="15" y="12"/>
                    <a:pt x="8" y="14"/>
                    <a:pt x="8" y="7"/>
                  </a:cubicBezTo>
                  <a:cubicBezTo>
                    <a:pt x="10" y="7"/>
                    <a:pt x="11" y="0"/>
                    <a:pt x="8" y="0"/>
                  </a:cubicBezTo>
                  <a:cubicBezTo>
                    <a:pt x="4" y="8"/>
                    <a:pt x="0" y="16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5" name="Freeform 97"/>
            <p:cNvSpPr>
              <a:spLocks/>
            </p:cNvSpPr>
            <p:nvPr userDrawn="1"/>
          </p:nvSpPr>
          <p:spPr bwMode="auto">
            <a:xfrm>
              <a:off x="3151437" y="4481080"/>
              <a:ext cx="24186" cy="44341"/>
            </a:xfrm>
            <a:custGeom>
              <a:avLst/>
              <a:gdLst>
                <a:gd name="T0" fmla="*/ 8 w 8"/>
                <a:gd name="T1" fmla="*/ 1 h 14"/>
                <a:gd name="T2" fmla="*/ 0 w 8"/>
                <a:gd name="T3" fmla="*/ 12 h 14"/>
                <a:gd name="T4" fmla="*/ 8 w 8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4">
                  <a:moveTo>
                    <a:pt x="8" y="1"/>
                  </a:moveTo>
                  <a:cubicBezTo>
                    <a:pt x="2" y="0"/>
                    <a:pt x="0" y="4"/>
                    <a:pt x="0" y="12"/>
                  </a:cubicBezTo>
                  <a:cubicBezTo>
                    <a:pt x="7" y="14"/>
                    <a:pt x="5" y="4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6" name="Freeform 98"/>
            <p:cNvSpPr>
              <a:spLocks/>
            </p:cNvSpPr>
            <p:nvPr userDrawn="1"/>
          </p:nvSpPr>
          <p:spPr bwMode="auto">
            <a:xfrm>
              <a:off x="3217276" y="4513328"/>
              <a:ext cx="25529" cy="69870"/>
            </a:xfrm>
            <a:custGeom>
              <a:avLst/>
              <a:gdLst>
                <a:gd name="T0" fmla="*/ 3 w 8"/>
                <a:gd name="T1" fmla="*/ 2 h 22"/>
                <a:gd name="T2" fmla="*/ 1 w 8"/>
                <a:gd name="T3" fmla="*/ 16 h 22"/>
                <a:gd name="T4" fmla="*/ 3 w 8"/>
                <a:gd name="T5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2">
                  <a:moveTo>
                    <a:pt x="3" y="2"/>
                  </a:moveTo>
                  <a:cubicBezTo>
                    <a:pt x="4" y="9"/>
                    <a:pt x="0" y="10"/>
                    <a:pt x="1" y="16"/>
                  </a:cubicBezTo>
                  <a:cubicBezTo>
                    <a:pt x="8" y="22"/>
                    <a:pt x="8" y="0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7" name="Freeform 99"/>
            <p:cNvSpPr>
              <a:spLocks/>
            </p:cNvSpPr>
            <p:nvPr userDrawn="1"/>
          </p:nvSpPr>
          <p:spPr bwMode="auto">
            <a:xfrm>
              <a:off x="3252211" y="4499891"/>
              <a:ext cx="16124" cy="67183"/>
            </a:xfrm>
            <a:custGeom>
              <a:avLst/>
              <a:gdLst>
                <a:gd name="T0" fmla="*/ 3 w 5"/>
                <a:gd name="T1" fmla="*/ 20 h 21"/>
                <a:gd name="T2" fmla="*/ 0 w 5"/>
                <a:gd name="T3" fmla="*/ 13 h 21"/>
                <a:gd name="T4" fmla="*/ 3 w 5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1">
                  <a:moveTo>
                    <a:pt x="3" y="20"/>
                  </a:moveTo>
                  <a:cubicBezTo>
                    <a:pt x="5" y="20"/>
                    <a:pt x="4" y="0"/>
                    <a:pt x="0" y="13"/>
                  </a:cubicBezTo>
                  <a:cubicBezTo>
                    <a:pt x="0" y="15"/>
                    <a:pt x="1" y="21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8" name="Freeform 100"/>
            <p:cNvSpPr>
              <a:spLocks/>
            </p:cNvSpPr>
            <p:nvPr userDrawn="1"/>
          </p:nvSpPr>
          <p:spPr bwMode="auto">
            <a:xfrm>
              <a:off x="2704001" y="4563043"/>
              <a:ext cx="40310" cy="102118"/>
            </a:xfrm>
            <a:custGeom>
              <a:avLst/>
              <a:gdLst>
                <a:gd name="T0" fmla="*/ 4 w 13"/>
                <a:gd name="T1" fmla="*/ 0 h 32"/>
                <a:gd name="T2" fmla="*/ 1 w 13"/>
                <a:gd name="T3" fmla="*/ 8 h 32"/>
                <a:gd name="T4" fmla="*/ 4 w 13"/>
                <a:gd name="T5" fmla="*/ 19 h 32"/>
                <a:gd name="T6" fmla="*/ 4 w 13"/>
                <a:gd name="T7" fmla="*/ 26 h 32"/>
                <a:gd name="T8" fmla="*/ 9 w 13"/>
                <a:gd name="T9" fmla="*/ 26 h 32"/>
                <a:gd name="T10" fmla="*/ 4 w 13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32">
                  <a:moveTo>
                    <a:pt x="4" y="0"/>
                  </a:moveTo>
                  <a:cubicBezTo>
                    <a:pt x="3" y="3"/>
                    <a:pt x="4" y="8"/>
                    <a:pt x="1" y="8"/>
                  </a:cubicBezTo>
                  <a:cubicBezTo>
                    <a:pt x="0" y="13"/>
                    <a:pt x="4" y="16"/>
                    <a:pt x="4" y="19"/>
                  </a:cubicBezTo>
                  <a:cubicBezTo>
                    <a:pt x="5" y="25"/>
                    <a:pt x="1" y="22"/>
                    <a:pt x="4" y="26"/>
                  </a:cubicBezTo>
                  <a:cubicBezTo>
                    <a:pt x="5" y="28"/>
                    <a:pt x="8" y="32"/>
                    <a:pt x="9" y="26"/>
                  </a:cubicBezTo>
                  <a:cubicBezTo>
                    <a:pt x="3" y="19"/>
                    <a:pt x="13" y="7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9" name="Freeform 101"/>
            <p:cNvSpPr>
              <a:spLocks/>
            </p:cNvSpPr>
            <p:nvPr userDrawn="1"/>
          </p:nvSpPr>
          <p:spPr bwMode="auto">
            <a:xfrm>
              <a:off x="3074849" y="4563043"/>
              <a:ext cx="16124" cy="25529"/>
            </a:xfrm>
            <a:custGeom>
              <a:avLst/>
              <a:gdLst>
                <a:gd name="T0" fmla="*/ 0 w 5"/>
                <a:gd name="T1" fmla="*/ 8 h 8"/>
                <a:gd name="T2" fmla="*/ 5 w 5"/>
                <a:gd name="T3" fmla="*/ 8 h 8"/>
                <a:gd name="T4" fmla="*/ 5 w 5"/>
                <a:gd name="T5" fmla="*/ 0 h 8"/>
                <a:gd name="T6" fmla="*/ 0 w 5"/>
                <a:gd name="T7" fmla="*/ 0 h 8"/>
                <a:gd name="T8" fmla="*/ 0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0" y="8"/>
                  </a:moveTo>
                  <a:cubicBezTo>
                    <a:pt x="2" y="8"/>
                    <a:pt x="3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0" name="Freeform 102"/>
            <p:cNvSpPr>
              <a:spLocks/>
            </p:cNvSpPr>
            <p:nvPr userDrawn="1"/>
          </p:nvSpPr>
          <p:spPr bwMode="auto">
            <a:xfrm>
              <a:off x="3335517" y="4563043"/>
              <a:ext cx="59121" cy="64495"/>
            </a:xfrm>
            <a:custGeom>
              <a:avLst/>
              <a:gdLst>
                <a:gd name="T0" fmla="*/ 12 w 19"/>
                <a:gd name="T1" fmla="*/ 0 h 20"/>
                <a:gd name="T2" fmla="*/ 4 w 19"/>
                <a:gd name="T3" fmla="*/ 15 h 20"/>
                <a:gd name="T4" fmla="*/ 12 w 19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20">
                  <a:moveTo>
                    <a:pt x="12" y="0"/>
                  </a:moveTo>
                  <a:cubicBezTo>
                    <a:pt x="11" y="8"/>
                    <a:pt x="0" y="1"/>
                    <a:pt x="4" y="15"/>
                  </a:cubicBezTo>
                  <a:cubicBezTo>
                    <a:pt x="12" y="20"/>
                    <a:pt x="19" y="5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1" name="Freeform 103"/>
            <p:cNvSpPr>
              <a:spLocks/>
            </p:cNvSpPr>
            <p:nvPr userDrawn="1"/>
          </p:nvSpPr>
          <p:spPr bwMode="auto">
            <a:xfrm>
              <a:off x="3240118" y="4588572"/>
              <a:ext cx="30904" cy="64495"/>
            </a:xfrm>
            <a:custGeom>
              <a:avLst/>
              <a:gdLst>
                <a:gd name="T0" fmla="*/ 4 w 10"/>
                <a:gd name="T1" fmla="*/ 0 h 20"/>
                <a:gd name="T2" fmla="*/ 10 w 10"/>
                <a:gd name="T3" fmla="*/ 11 h 20"/>
                <a:gd name="T4" fmla="*/ 4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4" y="0"/>
                  </a:moveTo>
                  <a:cubicBezTo>
                    <a:pt x="0" y="8"/>
                    <a:pt x="5" y="20"/>
                    <a:pt x="10" y="11"/>
                  </a:cubicBezTo>
                  <a:cubicBezTo>
                    <a:pt x="5" y="11"/>
                    <a:pt x="8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2" name="Freeform 104"/>
            <p:cNvSpPr>
              <a:spLocks/>
            </p:cNvSpPr>
            <p:nvPr userDrawn="1"/>
          </p:nvSpPr>
          <p:spPr bwMode="auto">
            <a:xfrm>
              <a:off x="2998261" y="4585885"/>
              <a:ext cx="60464" cy="47028"/>
            </a:xfrm>
            <a:custGeom>
              <a:avLst/>
              <a:gdLst>
                <a:gd name="T0" fmla="*/ 19 w 19"/>
                <a:gd name="T1" fmla="*/ 5 h 15"/>
                <a:gd name="T2" fmla="*/ 0 w 19"/>
                <a:gd name="T3" fmla="*/ 8 h 15"/>
                <a:gd name="T4" fmla="*/ 10 w 19"/>
                <a:gd name="T5" fmla="*/ 8 h 15"/>
                <a:gd name="T6" fmla="*/ 16 w 19"/>
                <a:gd name="T7" fmla="*/ 12 h 15"/>
                <a:gd name="T8" fmla="*/ 19 w 19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19" y="5"/>
                  </a:moveTo>
                  <a:cubicBezTo>
                    <a:pt x="13" y="7"/>
                    <a:pt x="1" y="0"/>
                    <a:pt x="0" y="8"/>
                  </a:cubicBezTo>
                  <a:cubicBezTo>
                    <a:pt x="3" y="15"/>
                    <a:pt x="7" y="9"/>
                    <a:pt x="10" y="8"/>
                  </a:cubicBezTo>
                  <a:cubicBezTo>
                    <a:pt x="11" y="8"/>
                    <a:pt x="12" y="14"/>
                    <a:pt x="16" y="12"/>
                  </a:cubicBezTo>
                  <a:cubicBezTo>
                    <a:pt x="17" y="11"/>
                    <a:pt x="17" y="5"/>
                    <a:pt x="19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3" name="Freeform 105"/>
            <p:cNvSpPr>
              <a:spLocks/>
            </p:cNvSpPr>
            <p:nvPr userDrawn="1"/>
          </p:nvSpPr>
          <p:spPr bwMode="auto">
            <a:xfrm>
              <a:off x="3284459" y="4604696"/>
              <a:ext cx="25529" cy="76588"/>
            </a:xfrm>
            <a:custGeom>
              <a:avLst/>
              <a:gdLst>
                <a:gd name="T0" fmla="*/ 1 w 8"/>
                <a:gd name="T1" fmla="*/ 6 h 24"/>
                <a:gd name="T2" fmla="*/ 1 w 8"/>
                <a:gd name="T3" fmla="*/ 21 h 24"/>
                <a:gd name="T4" fmla="*/ 4 w 8"/>
                <a:gd name="T5" fmla="*/ 6 h 24"/>
                <a:gd name="T6" fmla="*/ 6 w 8"/>
                <a:gd name="T7" fmla="*/ 2 h 24"/>
                <a:gd name="T8" fmla="*/ 1 w 8"/>
                <a:gd name="T9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4">
                  <a:moveTo>
                    <a:pt x="1" y="6"/>
                  </a:moveTo>
                  <a:cubicBezTo>
                    <a:pt x="1" y="8"/>
                    <a:pt x="0" y="19"/>
                    <a:pt x="1" y="21"/>
                  </a:cubicBezTo>
                  <a:cubicBezTo>
                    <a:pt x="3" y="24"/>
                    <a:pt x="4" y="9"/>
                    <a:pt x="4" y="6"/>
                  </a:cubicBezTo>
                  <a:cubicBezTo>
                    <a:pt x="4" y="6"/>
                    <a:pt x="8" y="5"/>
                    <a:pt x="6" y="2"/>
                  </a:cubicBezTo>
                  <a:cubicBezTo>
                    <a:pt x="5" y="0"/>
                    <a:pt x="1" y="5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4" name="Freeform 106"/>
            <p:cNvSpPr>
              <a:spLocks/>
            </p:cNvSpPr>
            <p:nvPr userDrawn="1"/>
          </p:nvSpPr>
          <p:spPr bwMode="auto">
            <a:xfrm>
              <a:off x="3131282" y="4623507"/>
              <a:ext cx="41653" cy="34935"/>
            </a:xfrm>
            <a:custGeom>
              <a:avLst/>
              <a:gdLst>
                <a:gd name="T0" fmla="*/ 3 w 13"/>
                <a:gd name="T1" fmla="*/ 11 h 11"/>
                <a:gd name="T2" fmla="*/ 9 w 13"/>
                <a:gd name="T3" fmla="*/ 11 h 11"/>
                <a:gd name="T4" fmla="*/ 1 w 13"/>
                <a:gd name="T5" fmla="*/ 7 h 11"/>
                <a:gd name="T6" fmla="*/ 3 w 13"/>
                <a:gd name="T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3" y="11"/>
                  </a:moveTo>
                  <a:cubicBezTo>
                    <a:pt x="5" y="11"/>
                    <a:pt x="7" y="11"/>
                    <a:pt x="9" y="11"/>
                  </a:cubicBezTo>
                  <a:cubicBezTo>
                    <a:pt x="13" y="2"/>
                    <a:pt x="0" y="0"/>
                    <a:pt x="1" y="7"/>
                  </a:cubicBezTo>
                  <a:cubicBezTo>
                    <a:pt x="2" y="8"/>
                    <a:pt x="4" y="8"/>
                    <a:pt x="3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5" name="Freeform 107"/>
            <p:cNvSpPr>
              <a:spLocks/>
            </p:cNvSpPr>
            <p:nvPr userDrawn="1"/>
          </p:nvSpPr>
          <p:spPr bwMode="auto">
            <a:xfrm>
              <a:off x="3433604" y="4636944"/>
              <a:ext cx="16124" cy="21498"/>
            </a:xfrm>
            <a:custGeom>
              <a:avLst/>
              <a:gdLst>
                <a:gd name="T0" fmla="*/ 0 w 5"/>
                <a:gd name="T1" fmla="*/ 7 h 7"/>
                <a:gd name="T2" fmla="*/ 5 w 5"/>
                <a:gd name="T3" fmla="*/ 7 h 7"/>
                <a:gd name="T4" fmla="*/ 5 w 5"/>
                <a:gd name="T5" fmla="*/ 0 h 7"/>
                <a:gd name="T6" fmla="*/ 0 w 5"/>
                <a:gd name="T7" fmla="*/ 0 h 7"/>
                <a:gd name="T8" fmla="*/ 0 w 5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0" y="7"/>
                  </a:moveTo>
                  <a:cubicBezTo>
                    <a:pt x="2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6" name="Freeform 108"/>
            <p:cNvSpPr>
              <a:spLocks/>
            </p:cNvSpPr>
            <p:nvPr userDrawn="1"/>
          </p:nvSpPr>
          <p:spPr bwMode="auto">
            <a:xfrm>
              <a:off x="2923016" y="4646349"/>
              <a:ext cx="49715" cy="95399"/>
            </a:xfrm>
            <a:custGeom>
              <a:avLst/>
              <a:gdLst>
                <a:gd name="T0" fmla="*/ 5 w 16"/>
                <a:gd name="T1" fmla="*/ 0 h 30"/>
                <a:gd name="T2" fmla="*/ 13 w 16"/>
                <a:gd name="T3" fmla="*/ 30 h 30"/>
                <a:gd name="T4" fmla="*/ 8 w 16"/>
                <a:gd name="T5" fmla="*/ 4 h 30"/>
                <a:gd name="T6" fmla="*/ 5 w 16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0">
                  <a:moveTo>
                    <a:pt x="5" y="0"/>
                  </a:moveTo>
                  <a:cubicBezTo>
                    <a:pt x="0" y="17"/>
                    <a:pt x="7" y="19"/>
                    <a:pt x="13" y="30"/>
                  </a:cubicBezTo>
                  <a:cubicBezTo>
                    <a:pt x="16" y="15"/>
                    <a:pt x="7" y="15"/>
                    <a:pt x="8" y="4"/>
                  </a:cubicBezTo>
                  <a:cubicBezTo>
                    <a:pt x="7" y="2"/>
                    <a:pt x="7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7" name="Freeform 109"/>
            <p:cNvSpPr>
              <a:spLocks/>
            </p:cNvSpPr>
            <p:nvPr userDrawn="1"/>
          </p:nvSpPr>
          <p:spPr bwMode="auto">
            <a:xfrm>
              <a:off x="3100378" y="4646349"/>
              <a:ext cx="16124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8" name="Freeform 110"/>
            <p:cNvSpPr>
              <a:spLocks/>
            </p:cNvSpPr>
            <p:nvPr userDrawn="1"/>
          </p:nvSpPr>
          <p:spPr bwMode="auto">
            <a:xfrm>
              <a:off x="3201152" y="4627538"/>
              <a:ext cx="34935" cy="65839"/>
            </a:xfrm>
            <a:custGeom>
              <a:avLst/>
              <a:gdLst>
                <a:gd name="T0" fmla="*/ 0 w 11"/>
                <a:gd name="T1" fmla="*/ 10 h 21"/>
                <a:gd name="T2" fmla="*/ 8 w 11"/>
                <a:gd name="T3" fmla="*/ 21 h 21"/>
                <a:gd name="T4" fmla="*/ 0 w 11"/>
                <a:gd name="T5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1">
                  <a:moveTo>
                    <a:pt x="0" y="10"/>
                  </a:moveTo>
                  <a:cubicBezTo>
                    <a:pt x="6" y="9"/>
                    <a:pt x="3" y="21"/>
                    <a:pt x="8" y="21"/>
                  </a:cubicBezTo>
                  <a:cubicBezTo>
                    <a:pt x="11" y="12"/>
                    <a:pt x="3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9" name="Freeform 111"/>
            <p:cNvSpPr>
              <a:spLocks/>
            </p:cNvSpPr>
            <p:nvPr userDrawn="1"/>
          </p:nvSpPr>
          <p:spPr bwMode="auto">
            <a:xfrm>
              <a:off x="2893456" y="4671879"/>
              <a:ext cx="18811" cy="44341"/>
            </a:xfrm>
            <a:custGeom>
              <a:avLst/>
              <a:gdLst>
                <a:gd name="T0" fmla="*/ 0 w 6"/>
                <a:gd name="T1" fmla="*/ 14 h 14"/>
                <a:gd name="T2" fmla="*/ 6 w 6"/>
                <a:gd name="T3" fmla="*/ 14 h 14"/>
                <a:gd name="T4" fmla="*/ 6 w 6"/>
                <a:gd name="T5" fmla="*/ 0 h 14"/>
                <a:gd name="T6" fmla="*/ 0 w 6"/>
                <a:gd name="T7" fmla="*/ 0 h 14"/>
                <a:gd name="T8" fmla="*/ 0 w 6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2" y="14"/>
                    <a:pt x="4" y="14"/>
                    <a:pt x="6" y="14"/>
                  </a:cubicBezTo>
                  <a:cubicBezTo>
                    <a:pt x="6" y="10"/>
                    <a:pt x="6" y="5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0" name="Freeform 112"/>
            <p:cNvSpPr>
              <a:spLocks/>
            </p:cNvSpPr>
            <p:nvPr userDrawn="1"/>
          </p:nvSpPr>
          <p:spPr bwMode="auto">
            <a:xfrm>
              <a:off x="3370452" y="4671879"/>
              <a:ext cx="21498" cy="44341"/>
            </a:xfrm>
            <a:custGeom>
              <a:avLst/>
              <a:gdLst>
                <a:gd name="T0" fmla="*/ 1 w 7"/>
                <a:gd name="T1" fmla="*/ 0 h 14"/>
                <a:gd name="T2" fmla="*/ 4 w 7"/>
                <a:gd name="T3" fmla="*/ 14 h 14"/>
                <a:gd name="T4" fmla="*/ 1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1" y="0"/>
                  </a:moveTo>
                  <a:cubicBezTo>
                    <a:pt x="1" y="5"/>
                    <a:pt x="0" y="13"/>
                    <a:pt x="4" y="14"/>
                  </a:cubicBezTo>
                  <a:cubicBezTo>
                    <a:pt x="7" y="10"/>
                    <a:pt x="7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1" name="Freeform 113"/>
            <p:cNvSpPr>
              <a:spLocks/>
            </p:cNvSpPr>
            <p:nvPr userDrawn="1"/>
          </p:nvSpPr>
          <p:spPr bwMode="auto">
            <a:xfrm>
              <a:off x="3280428" y="4681284"/>
              <a:ext cx="32248" cy="34935"/>
            </a:xfrm>
            <a:custGeom>
              <a:avLst/>
              <a:gdLst>
                <a:gd name="T0" fmla="*/ 5 w 10"/>
                <a:gd name="T1" fmla="*/ 0 h 11"/>
                <a:gd name="T2" fmla="*/ 5 w 10"/>
                <a:gd name="T3" fmla="*/ 11 h 11"/>
                <a:gd name="T4" fmla="*/ 5 w 10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5" y="0"/>
                  </a:moveTo>
                  <a:cubicBezTo>
                    <a:pt x="4" y="5"/>
                    <a:pt x="0" y="9"/>
                    <a:pt x="5" y="11"/>
                  </a:cubicBezTo>
                  <a:cubicBezTo>
                    <a:pt x="5" y="7"/>
                    <a:pt x="10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2" name="Freeform 114"/>
            <p:cNvSpPr>
              <a:spLocks/>
            </p:cNvSpPr>
            <p:nvPr userDrawn="1"/>
          </p:nvSpPr>
          <p:spPr bwMode="auto">
            <a:xfrm>
              <a:off x="3410762" y="4690690"/>
              <a:ext cx="29560" cy="79275"/>
            </a:xfrm>
            <a:custGeom>
              <a:avLst/>
              <a:gdLst>
                <a:gd name="T0" fmla="*/ 1 w 9"/>
                <a:gd name="T1" fmla="*/ 20 h 25"/>
                <a:gd name="T2" fmla="*/ 4 w 9"/>
                <a:gd name="T3" fmla="*/ 1 h 25"/>
                <a:gd name="T4" fmla="*/ 1 w 9"/>
                <a:gd name="T5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5">
                  <a:moveTo>
                    <a:pt x="1" y="20"/>
                  </a:moveTo>
                  <a:cubicBezTo>
                    <a:pt x="9" y="25"/>
                    <a:pt x="8" y="0"/>
                    <a:pt x="4" y="1"/>
                  </a:cubicBezTo>
                  <a:cubicBezTo>
                    <a:pt x="6" y="12"/>
                    <a:pt x="0" y="11"/>
                    <a:pt x="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3" name="Freeform 115"/>
            <p:cNvSpPr>
              <a:spLocks/>
            </p:cNvSpPr>
            <p:nvPr userDrawn="1"/>
          </p:nvSpPr>
          <p:spPr bwMode="auto">
            <a:xfrm>
              <a:off x="3468539" y="4712188"/>
              <a:ext cx="25529" cy="29560"/>
            </a:xfrm>
            <a:custGeom>
              <a:avLst/>
              <a:gdLst>
                <a:gd name="T0" fmla="*/ 0 w 8"/>
                <a:gd name="T1" fmla="*/ 1 h 9"/>
                <a:gd name="T2" fmla="*/ 0 w 8"/>
                <a:gd name="T3" fmla="*/ 9 h 9"/>
                <a:gd name="T4" fmla="*/ 8 w 8"/>
                <a:gd name="T5" fmla="*/ 9 h 9"/>
                <a:gd name="T6" fmla="*/ 0 w 8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5" y="9"/>
                    <a:pt x="8" y="9"/>
                  </a:cubicBezTo>
                  <a:cubicBezTo>
                    <a:pt x="8" y="2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4" name="Freeform 116"/>
            <p:cNvSpPr>
              <a:spLocks/>
            </p:cNvSpPr>
            <p:nvPr userDrawn="1"/>
          </p:nvSpPr>
          <p:spPr bwMode="auto">
            <a:xfrm>
              <a:off x="3135313" y="4737718"/>
              <a:ext cx="51059" cy="57777"/>
            </a:xfrm>
            <a:custGeom>
              <a:avLst/>
              <a:gdLst>
                <a:gd name="T0" fmla="*/ 0 w 16"/>
                <a:gd name="T1" fmla="*/ 8 h 18"/>
                <a:gd name="T2" fmla="*/ 13 w 16"/>
                <a:gd name="T3" fmla="*/ 16 h 18"/>
                <a:gd name="T4" fmla="*/ 16 w 16"/>
                <a:gd name="T5" fmla="*/ 5 h 18"/>
                <a:gd name="T6" fmla="*/ 0 w 16"/>
                <a:gd name="T7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8">
                  <a:moveTo>
                    <a:pt x="0" y="8"/>
                  </a:moveTo>
                  <a:cubicBezTo>
                    <a:pt x="8" y="6"/>
                    <a:pt x="5" y="18"/>
                    <a:pt x="13" y="16"/>
                  </a:cubicBezTo>
                  <a:cubicBezTo>
                    <a:pt x="13" y="11"/>
                    <a:pt x="14" y="8"/>
                    <a:pt x="16" y="5"/>
                  </a:cubicBezTo>
                  <a:cubicBezTo>
                    <a:pt x="11" y="7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5" name="Freeform 117"/>
            <p:cNvSpPr>
              <a:spLocks/>
            </p:cNvSpPr>
            <p:nvPr userDrawn="1"/>
          </p:nvSpPr>
          <p:spPr bwMode="auto">
            <a:xfrm>
              <a:off x="3379858" y="4776684"/>
              <a:ext cx="47028" cy="65839"/>
            </a:xfrm>
            <a:custGeom>
              <a:avLst/>
              <a:gdLst>
                <a:gd name="T0" fmla="*/ 3 w 15"/>
                <a:gd name="T1" fmla="*/ 0 h 21"/>
                <a:gd name="T2" fmla="*/ 3 w 15"/>
                <a:gd name="T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1">
                  <a:moveTo>
                    <a:pt x="3" y="0"/>
                  </a:moveTo>
                  <a:cubicBezTo>
                    <a:pt x="0" y="21"/>
                    <a:pt x="15" y="2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6" name="Freeform 118"/>
            <p:cNvSpPr>
              <a:spLocks/>
            </p:cNvSpPr>
            <p:nvPr userDrawn="1"/>
          </p:nvSpPr>
          <p:spPr bwMode="auto">
            <a:xfrm>
              <a:off x="3452415" y="4798182"/>
              <a:ext cx="32248" cy="79275"/>
            </a:xfrm>
            <a:custGeom>
              <a:avLst/>
              <a:gdLst>
                <a:gd name="T0" fmla="*/ 5 w 10"/>
                <a:gd name="T1" fmla="*/ 0 h 25"/>
                <a:gd name="T2" fmla="*/ 2 w 10"/>
                <a:gd name="T3" fmla="*/ 19 h 25"/>
                <a:gd name="T4" fmla="*/ 5 w 10"/>
                <a:gd name="T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5">
                  <a:moveTo>
                    <a:pt x="5" y="0"/>
                  </a:moveTo>
                  <a:cubicBezTo>
                    <a:pt x="6" y="9"/>
                    <a:pt x="0" y="8"/>
                    <a:pt x="2" y="19"/>
                  </a:cubicBezTo>
                  <a:cubicBezTo>
                    <a:pt x="10" y="25"/>
                    <a:pt x="9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7" name="Freeform 119"/>
            <p:cNvSpPr>
              <a:spLocks/>
            </p:cNvSpPr>
            <p:nvPr userDrawn="1"/>
          </p:nvSpPr>
          <p:spPr bwMode="auto">
            <a:xfrm>
              <a:off x="3357016" y="4807588"/>
              <a:ext cx="104805" cy="69870"/>
            </a:xfrm>
            <a:custGeom>
              <a:avLst/>
              <a:gdLst>
                <a:gd name="T0" fmla="*/ 2 w 33"/>
                <a:gd name="T1" fmla="*/ 5 h 22"/>
                <a:gd name="T2" fmla="*/ 16 w 33"/>
                <a:gd name="T3" fmla="*/ 12 h 22"/>
                <a:gd name="T4" fmla="*/ 24 w 33"/>
                <a:gd name="T5" fmla="*/ 20 h 22"/>
                <a:gd name="T6" fmla="*/ 2 w 33"/>
                <a:gd name="T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22">
                  <a:moveTo>
                    <a:pt x="2" y="5"/>
                  </a:moveTo>
                  <a:cubicBezTo>
                    <a:pt x="0" y="17"/>
                    <a:pt x="11" y="10"/>
                    <a:pt x="16" y="12"/>
                  </a:cubicBezTo>
                  <a:cubicBezTo>
                    <a:pt x="18" y="13"/>
                    <a:pt x="18" y="22"/>
                    <a:pt x="24" y="20"/>
                  </a:cubicBezTo>
                  <a:cubicBezTo>
                    <a:pt x="33" y="6"/>
                    <a:pt x="7" y="0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8" name="Freeform 120"/>
            <p:cNvSpPr>
              <a:spLocks/>
            </p:cNvSpPr>
            <p:nvPr userDrawn="1"/>
          </p:nvSpPr>
          <p:spPr bwMode="auto">
            <a:xfrm>
              <a:off x="3484663" y="4802213"/>
              <a:ext cx="84650" cy="107492"/>
            </a:xfrm>
            <a:custGeom>
              <a:avLst/>
              <a:gdLst>
                <a:gd name="T0" fmla="*/ 16 w 27"/>
                <a:gd name="T1" fmla="*/ 14 h 34"/>
                <a:gd name="T2" fmla="*/ 21 w 27"/>
                <a:gd name="T3" fmla="*/ 3 h 34"/>
                <a:gd name="T4" fmla="*/ 11 w 27"/>
                <a:gd name="T5" fmla="*/ 18 h 34"/>
                <a:gd name="T6" fmla="*/ 5 w 27"/>
                <a:gd name="T7" fmla="*/ 22 h 34"/>
                <a:gd name="T8" fmla="*/ 21 w 27"/>
                <a:gd name="T9" fmla="*/ 22 h 34"/>
                <a:gd name="T10" fmla="*/ 27 w 27"/>
                <a:gd name="T11" fmla="*/ 33 h 34"/>
                <a:gd name="T12" fmla="*/ 27 w 27"/>
                <a:gd name="T13" fmla="*/ 18 h 34"/>
                <a:gd name="T14" fmla="*/ 16 w 27"/>
                <a:gd name="T15" fmla="*/ 1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34">
                  <a:moveTo>
                    <a:pt x="16" y="14"/>
                  </a:moveTo>
                  <a:cubicBezTo>
                    <a:pt x="21" y="15"/>
                    <a:pt x="22" y="10"/>
                    <a:pt x="21" y="3"/>
                  </a:cubicBezTo>
                  <a:cubicBezTo>
                    <a:pt x="12" y="0"/>
                    <a:pt x="17" y="17"/>
                    <a:pt x="11" y="18"/>
                  </a:cubicBezTo>
                  <a:cubicBezTo>
                    <a:pt x="7" y="18"/>
                    <a:pt x="0" y="19"/>
                    <a:pt x="5" y="22"/>
                  </a:cubicBezTo>
                  <a:cubicBezTo>
                    <a:pt x="14" y="20"/>
                    <a:pt x="16" y="30"/>
                    <a:pt x="21" y="22"/>
                  </a:cubicBezTo>
                  <a:cubicBezTo>
                    <a:pt x="22" y="27"/>
                    <a:pt x="21" y="34"/>
                    <a:pt x="27" y="33"/>
                  </a:cubicBezTo>
                  <a:cubicBezTo>
                    <a:pt x="27" y="28"/>
                    <a:pt x="27" y="23"/>
                    <a:pt x="27" y="18"/>
                  </a:cubicBezTo>
                  <a:cubicBezTo>
                    <a:pt x="23" y="9"/>
                    <a:pt x="19" y="25"/>
                    <a:pt x="1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9" name="Freeform 121"/>
            <p:cNvSpPr>
              <a:spLocks/>
            </p:cNvSpPr>
            <p:nvPr userDrawn="1"/>
          </p:nvSpPr>
          <p:spPr bwMode="auto">
            <a:xfrm>
              <a:off x="3585437" y="4823711"/>
              <a:ext cx="34935" cy="53746"/>
            </a:xfrm>
            <a:custGeom>
              <a:avLst/>
              <a:gdLst>
                <a:gd name="T0" fmla="*/ 0 w 11"/>
                <a:gd name="T1" fmla="*/ 0 h 17"/>
                <a:gd name="T2" fmla="*/ 3 w 11"/>
                <a:gd name="T3" fmla="*/ 7 h 17"/>
                <a:gd name="T4" fmla="*/ 11 w 11"/>
                <a:gd name="T5" fmla="*/ 15 h 17"/>
                <a:gd name="T6" fmla="*/ 0 w 11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7">
                  <a:moveTo>
                    <a:pt x="0" y="0"/>
                  </a:moveTo>
                  <a:cubicBezTo>
                    <a:pt x="1" y="3"/>
                    <a:pt x="0" y="7"/>
                    <a:pt x="3" y="7"/>
                  </a:cubicBezTo>
                  <a:cubicBezTo>
                    <a:pt x="7" y="7"/>
                    <a:pt x="5" y="17"/>
                    <a:pt x="11" y="15"/>
                  </a:cubicBezTo>
                  <a:cubicBezTo>
                    <a:pt x="11" y="5"/>
                    <a:pt x="7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0" name="Freeform 122"/>
            <p:cNvSpPr>
              <a:spLocks/>
            </p:cNvSpPr>
            <p:nvPr userDrawn="1"/>
          </p:nvSpPr>
          <p:spPr bwMode="auto">
            <a:xfrm>
              <a:off x="3569313" y="4849241"/>
              <a:ext cx="41653" cy="57777"/>
            </a:xfrm>
            <a:custGeom>
              <a:avLst/>
              <a:gdLst>
                <a:gd name="T0" fmla="*/ 2 w 13"/>
                <a:gd name="T1" fmla="*/ 3 h 18"/>
                <a:gd name="T2" fmla="*/ 13 w 13"/>
                <a:gd name="T3" fmla="*/ 10 h 18"/>
                <a:gd name="T4" fmla="*/ 2 w 13"/>
                <a:gd name="T5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2" y="3"/>
                  </a:moveTo>
                  <a:cubicBezTo>
                    <a:pt x="0" y="11"/>
                    <a:pt x="12" y="18"/>
                    <a:pt x="13" y="10"/>
                  </a:cubicBezTo>
                  <a:cubicBezTo>
                    <a:pt x="8" y="10"/>
                    <a:pt x="10" y="0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1" name="Freeform 123"/>
            <p:cNvSpPr>
              <a:spLocks/>
            </p:cNvSpPr>
            <p:nvPr userDrawn="1"/>
          </p:nvSpPr>
          <p:spPr bwMode="auto">
            <a:xfrm>
              <a:off x="3692929" y="4881488"/>
              <a:ext cx="22842" cy="47028"/>
            </a:xfrm>
            <a:custGeom>
              <a:avLst/>
              <a:gdLst>
                <a:gd name="T0" fmla="*/ 1 w 7"/>
                <a:gd name="T1" fmla="*/ 0 h 15"/>
                <a:gd name="T2" fmla="*/ 4 w 7"/>
                <a:gd name="T3" fmla="*/ 15 h 15"/>
                <a:gd name="T4" fmla="*/ 1 w 7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5">
                  <a:moveTo>
                    <a:pt x="1" y="0"/>
                  </a:moveTo>
                  <a:cubicBezTo>
                    <a:pt x="2" y="6"/>
                    <a:pt x="0" y="14"/>
                    <a:pt x="4" y="15"/>
                  </a:cubicBezTo>
                  <a:cubicBezTo>
                    <a:pt x="7" y="10"/>
                    <a:pt x="7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2" name="Freeform 124"/>
            <p:cNvSpPr>
              <a:spLocks/>
            </p:cNvSpPr>
            <p:nvPr userDrawn="1"/>
          </p:nvSpPr>
          <p:spPr bwMode="auto">
            <a:xfrm>
              <a:off x="6318424" y="5769642"/>
              <a:ext cx="16124" cy="37622"/>
            </a:xfrm>
            <a:custGeom>
              <a:avLst/>
              <a:gdLst>
                <a:gd name="T0" fmla="*/ 0 w 5"/>
                <a:gd name="T1" fmla="*/ 1 h 12"/>
                <a:gd name="T2" fmla="*/ 0 w 5"/>
                <a:gd name="T3" fmla="*/ 9 h 12"/>
                <a:gd name="T4" fmla="*/ 5 w 5"/>
                <a:gd name="T5" fmla="*/ 12 h 12"/>
                <a:gd name="T6" fmla="*/ 0 w 5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2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3" y="12"/>
                    <a:pt x="5" y="12"/>
                  </a:cubicBezTo>
                  <a:cubicBezTo>
                    <a:pt x="5" y="7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3" name="Freeform 125"/>
            <p:cNvSpPr>
              <a:spLocks/>
            </p:cNvSpPr>
            <p:nvPr userDrawn="1"/>
          </p:nvSpPr>
          <p:spPr bwMode="auto">
            <a:xfrm>
              <a:off x="6753768" y="5832794"/>
              <a:ext cx="47028" cy="69870"/>
            </a:xfrm>
            <a:custGeom>
              <a:avLst/>
              <a:gdLst>
                <a:gd name="T0" fmla="*/ 2 w 15"/>
                <a:gd name="T1" fmla="*/ 0 h 22"/>
                <a:gd name="T2" fmla="*/ 2 w 15"/>
                <a:gd name="T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2">
                  <a:moveTo>
                    <a:pt x="2" y="0"/>
                  </a:moveTo>
                  <a:cubicBezTo>
                    <a:pt x="0" y="22"/>
                    <a:pt x="15" y="2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4" name="Freeform 126"/>
            <p:cNvSpPr>
              <a:spLocks/>
            </p:cNvSpPr>
            <p:nvPr userDrawn="1"/>
          </p:nvSpPr>
          <p:spPr bwMode="auto">
            <a:xfrm>
              <a:off x="7911995" y="5820701"/>
              <a:ext cx="47028" cy="126303"/>
            </a:xfrm>
            <a:custGeom>
              <a:avLst/>
              <a:gdLst>
                <a:gd name="T0" fmla="*/ 0 w 15"/>
                <a:gd name="T1" fmla="*/ 30 h 40"/>
                <a:gd name="T2" fmla="*/ 11 w 15"/>
                <a:gd name="T3" fmla="*/ 37 h 40"/>
                <a:gd name="T4" fmla="*/ 6 w 15"/>
                <a:gd name="T5" fmla="*/ 26 h 40"/>
                <a:gd name="T6" fmla="*/ 8 w 15"/>
                <a:gd name="T7" fmla="*/ 15 h 40"/>
                <a:gd name="T8" fmla="*/ 14 w 15"/>
                <a:gd name="T9" fmla="*/ 11 h 40"/>
                <a:gd name="T10" fmla="*/ 0 w 15"/>
                <a:gd name="T11" fmla="*/ 3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40">
                  <a:moveTo>
                    <a:pt x="0" y="30"/>
                  </a:moveTo>
                  <a:cubicBezTo>
                    <a:pt x="6" y="30"/>
                    <a:pt x="4" y="40"/>
                    <a:pt x="11" y="37"/>
                  </a:cubicBezTo>
                  <a:cubicBezTo>
                    <a:pt x="12" y="30"/>
                    <a:pt x="8" y="30"/>
                    <a:pt x="6" y="26"/>
                  </a:cubicBezTo>
                  <a:cubicBezTo>
                    <a:pt x="10" y="27"/>
                    <a:pt x="7" y="18"/>
                    <a:pt x="8" y="15"/>
                  </a:cubicBezTo>
                  <a:cubicBezTo>
                    <a:pt x="10" y="13"/>
                    <a:pt x="15" y="16"/>
                    <a:pt x="14" y="11"/>
                  </a:cubicBezTo>
                  <a:cubicBezTo>
                    <a:pt x="5" y="0"/>
                    <a:pt x="2" y="19"/>
                    <a:pt x="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5" name="Freeform 127"/>
            <p:cNvSpPr>
              <a:spLocks/>
            </p:cNvSpPr>
            <p:nvPr userDrawn="1"/>
          </p:nvSpPr>
          <p:spPr bwMode="auto">
            <a:xfrm>
              <a:off x="6912318" y="5846230"/>
              <a:ext cx="40310" cy="34935"/>
            </a:xfrm>
            <a:custGeom>
              <a:avLst/>
              <a:gdLst>
                <a:gd name="T0" fmla="*/ 1 w 13"/>
                <a:gd name="T1" fmla="*/ 7 h 11"/>
                <a:gd name="T2" fmla="*/ 3 w 13"/>
                <a:gd name="T3" fmla="*/ 11 h 11"/>
                <a:gd name="T4" fmla="*/ 9 w 13"/>
                <a:gd name="T5" fmla="*/ 11 h 11"/>
                <a:gd name="T6" fmla="*/ 1 w 13"/>
                <a:gd name="T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1" y="7"/>
                  </a:moveTo>
                  <a:cubicBezTo>
                    <a:pt x="2" y="7"/>
                    <a:pt x="4" y="7"/>
                    <a:pt x="3" y="11"/>
                  </a:cubicBezTo>
                  <a:cubicBezTo>
                    <a:pt x="5" y="11"/>
                    <a:pt x="7" y="11"/>
                    <a:pt x="9" y="11"/>
                  </a:cubicBezTo>
                  <a:cubicBezTo>
                    <a:pt x="13" y="2"/>
                    <a:pt x="0" y="0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6" name="Freeform 128"/>
            <p:cNvSpPr>
              <a:spLocks/>
            </p:cNvSpPr>
            <p:nvPr userDrawn="1"/>
          </p:nvSpPr>
          <p:spPr bwMode="auto">
            <a:xfrm>
              <a:off x="7280479" y="5839512"/>
              <a:ext cx="56433" cy="67183"/>
            </a:xfrm>
            <a:custGeom>
              <a:avLst/>
              <a:gdLst>
                <a:gd name="T0" fmla="*/ 0 w 18"/>
                <a:gd name="T1" fmla="*/ 13 h 21"/>
                <a:gd name="T2" fmla="*/ 14 w 18"/>
                <a:gd name="T3" fmla="*/ 20 h 21"/>
                <a:gd name="T4" fmla="*/ 0 w 18"/>
                <a:gd name="T5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cubicBezTo>
                    <a:pt x="6" y="14"/>
                    <a:pt x="7" y="21"/>
                    <a:pt x="14" y="20"/>
                  </a:cubicBezTo>
                  <a:cubicBezTo>
                    <a:pt x="18" y="4"/>
                    <a:pt x="2" y="0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7" name="Freeform 129"/>
            <p:cNvSpPr>
              <a:spLocks/>
            </p:cNvSpPr>
            <p:nvPr userDrawn="1"/>
          </p:nvSpPr>
          <p:spPr bwMode="auto">
            <a:xfrm>
              <a:off x="7365129" y="5855636"/>
              <a:ext cx="41653" cy="34935"/>
            </a:xfrm>
            <a:custGeom>
              <a:avLst/>
              <a:gdLst>
                <a:gd name="T0" fmla="*/ 0 w 13"/>
                <a:gd name="T1" fmla="*/ 8 h 11"/>
                <a:gd name="T2" fmla="*/ 6 w 13"/>
                <a:gd name="T3" fmla="*/ 11 h 11"/>
                <a:gd name="T4" fmla="*/ 0 w 13"/>
                <a:gd name="T5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8"/>
                  </a:moveTo>
                  <a:cubicBezTo>
                    <a:pt x="3" y="8"/>
                    <a:pt x="4" y="11"/>
                    <a:pt x="6" y="11"/>
                  </a:cubicBezTo>
                  <a:cubicBezTo>
                    <a:pt x="13" y="4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8" name="Freeform 130"/>
            <p:cNvSpPr>
              <a:spLocks/>
            </p:cNvSpPr>
            <p:nvPr userDrawn="1"/>
          </p:nvSpPr>
          <p:spPr bwMode="auto">
            <a:xfrm>
              <a:off x="8921078" y="1980544"/>
              <a:ext cx="72557" cy="142427"/>
            </a:xfrm>
            <a:custGeom>
              <a:avLst/>
              <a:gdLst>
                <a:gd name="T0" fmla="*/ 21 w 23"/>
                <a:gd name="T1" fmla="*/ 30 h 45"/>
                <a:gd name="T2" fmla="*/ 16 w 23"/>
                <a:gd name="T3" fmla="*/ 8 h 45"/>
                <a:gd name="T4" fmla="*/ 2 w 23"/>
                <a:gd name="T5" fmla="*/ 4 h 45"/>
                <a:gd name="T6" fmla="*/ 13 w 23"/>
                <a:gd name="T7" fmla="*/ 19 h 45"/>
                <a:gd name="T8" fmla="*/ 13 w 23"/>
                <a:gd name="T9" fmla="*/ 30 h 45"/>
                <a:gd name="T10" fmla="*/ 5 w 23"/>
                <a:gd name="T11" fmla="*/ 23 h 45"/>
                <a:gd name="T12" fmla="*/ 16 w 23"/>
                <a:gd name="T13" fmla="*/ 45 h 45"/>
                <a:gd name="T14" fmla="*/ 21 w 23"/>
                <a:gd name="T15" fmla="*/ 3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45">
                  <a:moveTo>
                    <a:pt x="21" y="30"/>
                  </a:moveTo>
                  <a:cubicBezTo>
                    <a:pt x="23" y="21"/>
                    <a:pt x="18" y="10"/>
                    <a:pt x="16" y="8"/>
                  </a:cubicBezTo>
                  <a:cubicBezTo>
                    <a:pt x="12" y="20"/>
                    <a:pt x="9" y="0"/>
                    <a:pt x="2" y="4"/>
                  </a:cubicBezTo>
                  <a:cubicBezTo>
                    <a:pt x="0" y="17"/>
                    <a:pt x="12" y="11"/>
                    <a:pt x="13" y="19"/>
                  </a:cubicBezTo>
                  <a:cubicBezTo>
                    <a:pt x="14" y="24"/>
                    <a:pt x="18" y="28"/>
                    <a:pt x="13" y="30"/>
                  </a:cubicBezTo>
                  <a:cubicBezTo>
                    <a:pt x="9" y="30"/>
                    <a:pt x="11" y="21"/>
                    <a:pt x="5" y="23"/>
                  </a:cubicBezTo>
                  <a:cubicBezTo>
                    <a:pt x="6" y="35"/>
                    <a:pt x="7" y="45"/>
                    <a:pt x="16" y="45"/>
                  </a:cubicBezTo>
                  <a:cubicBezTo>
                    <a:pt x="11" y="36"/>
                    <a:pt x="22" y="26"/>
                    <a:pt x="2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9" name="Freeform 131"/>
            <p:cNvSpPr>
              <a:spLocks/>
            </p:cNvSpPr>
            <p:nvPr userDrawn="1"/>
          </p:nvSpPr>
          <p:spPr bwMode="auto">
            <a:xfrm>
              <a:off x="2601884" y="2917069"/>
              <a:ext cx="72557" cy="154520"/>
            </a:xfrm>
            <a:custGeom>
              <a:avLst/>
              <a:gdLst>
                <a:gd name="T0" fmla="*/ 17 w 23"/>
                <a:gd name="T1" fmla="*/ 31 h 49"/>
                <a:gd name="T2" fmla="*/ 12 w 23"/>
                <a:gd name="T3" fmla="*/ 46 h 49"/>
                <a:gd name="T4" fmla="*/ 17 w 23"/>
                <a:gd name="T5" fmla="*/ 35 h 49"/>
                <a:gd name="T6" fmla="*/ 22 w 23"/>
                <a:gd name="T7" fmla="*/ 28 h 49"/>
                <a:gd name="T8" fmla="*/ 17 w 23"/>
                <a:gd name="T9" fmla="*/ 16 h 49"/>
                <a:gd name="T10" fmla="*/ 12 w 23"/>
                <a:gd name="T11" fmla="*/ 2 h 49"/>
                <a:gd name="T12" fmla="*/ 4 w 23"/>
                <a:gd name="T13" fmla="*/ 9 h 49"/>
                <a:gd name="T14" fmla="*/ 1 w 23"/>
                <a:gd name="T15" fmla="*/ 13 h 49"/>
                <a:gd name="T16" fmla="*/ 9 w 23"/>
                <a:gd name="T17" fmla="*/ 20 h 49"/>
                <a:gd name="T18" fmla="*/ 1 w 23"/>
                <a:gd name="T19" fmla="*/ 20 h 49"/>
                <a:gd name="T20" fmla="*/ 6 w 23"/>
                <a:gd name="T21" fmla="*/ 28 h 49"/>
                <a:gd name="T22" fmla="*/ 17 w 23"/>
                <a:gd name="T23" fmla="*/ 3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9">
                  <a:moveTo>
                    <a:pt x="17" y="31"/>
                  </a:moveTo>
                  <a:cubicBezTo>
                    <a:pt x="13" y="34"/>
                    <a:pt x="12" y="39"/>
                    <a:pt x="12" y="46"/>
                  </a:cubicBezTo>
                  <a:cubicBezTo>
                    <a:pt x="19" y="49"/>
                    <a:pt x="15" y="40"/>
                    <a:pt x="17" y="35"/>
                  </a:cubicBezTo>
                  <a:cubicBezTo>
                    <a:pt x="18" y="32"/>
                    <a:pt x="23" y="32"/>
                    <a:pt x="22" y="28"/>
                  </a:cubicBezTo>
                  <a:cubicBezTo>
                    <a:pt x="15" y="29"/>
                    <a:pt x="19" y="22"/>
                    <a:pt x="17" y="16"/>
                  </a:cubicBezTo>
                  <a:cubicBezTo>
                    <a:pt x="16" y="13"/>
                    <a:pt x="7" y="9"/>
                    <a:pt x="12" y="2"/>
                  </a:cubicBezTo>
                  <a:cubicBezTo>
                    <a:pt x="6" y="0"/>
                    <a:pt x="6" y="7"/>
                    <a:pt x="4" y="9"/>
                  </a:cubicBezTo>
                  <a:cubicBezTo>
                    <a:pt x="2" y="9"/>
                    <a:pt x="0" y="10"/>
                    <a:pt x="1" y="13"/>
                  </a:cubicBezTo>
                  <a:cubicBezTo>
                    <a:pt x="5" y="13"/>
                    <a:pt x="10" y="12"/>
                    <a:pt x="9" y="20"/>
                  </a:cubicBezTo>
                  <a:cubicBezTo>
                    <a:pt x="6" y="20"/>
                    <a:pt x="3" y="14"/>
                    <a:pt x="1" y="20"/>
                  </a:cubicBezTo>
                  <a:cubicBezTo>
                    <a:pt x="4" y="21"/>
                    <a:pt x="5" y="24"/>
                    <a:pt x="6" y="28"/>
                  </a:cubicBezTo>
                  <a:cubicBezTo>
                    <a:pt x="13" y="27"/>
                    <a:pt x="15" y="21"/>
                    <a:pt x="1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0" name="Freeform 132"/>
            <p:cNvSpPr>
              <a:spLocks/>
            </p:cNvSpPr>
            <p:nvPr userDrawn="1"/>
          </p:nvSpPr>
          <p:spPr bwMode="auto">
            <a:xfrm>
              <a:off x="4563615" y="1735999"/>
              <a:ext cx="37622" cy="47028"/>
            </a:xfrm>
            <a:custGeom>
              <a:avLst/>
              <a:gdLst>
                <a:gd name="T0" fmla="*/ 12 w 12"/>
                <a:gd name="T1" fmla="*/ 0 h 15"/>
                <a:gd name="T2" fmla="*/ 1 w 12"/>
                <a:gd name="T3" fmla="*/ 4 h 15"/>
                <a:gd name="T4" fmla="*/ 12 w 1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12" y="0"/>
                  </a:moveTo>
                  <a:cubicBezTo>
                    <a:pt x="7" y="3"/>
                    <a:pt x="0" y="1"/>
                    <a:pt x="1" y="4"/>
                  </a:cubicBezTo>
                  <a:cubicBezTo>
                    <a:pt x="3" y="6"/>
                    <a:pt x="12" y="15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1" name="Freeform 133"/>
            <p:cNvSpPr>
              <a:spLocks/>
            </p:cNvSpPr>
            <p:nvPr userDrawn="1"/>
          </p:nvSpPr>
          <p:spPr bwMode="auto">
            <a:xfrm>
              <a:off x="7891841" y="1729281"/>
              <a:ext cx="99430" cy="76588"/>
            </a:xfrm>
            <a:custGeom>
              <a:avLst/>
              <a:gdLst>
                <a:gd name="T0" fmla="*/ 28 w 31"/>
                <a:gd name="T1" fmla="*/ 17 h 24"/>
                <a:gd name="T2" fmla="*/ 28 w 31"/>
                <a:gd name="T3" fmla="*/ 2 h 24"/>
                <a:gd name="T4" fmla="*/ 20 w 31"/>
                <a:gd name="T5" fmla="*/ 13 h 24"/>
                <a:gd name="T6" fmla="*/ 12 w 31"/>
                <a:gd name="T7" fmla="*/ 2 h 24"/>
                <a:gd name="T8" fmla="*/ 1 w 31"/>
                <a:gd name="T9" fmla="*/ 6 h 24"/>
                <a:gd name="T10" fmla="*/ 4 w 31"/>
                <a:gd name="T11" fmla="*/ 21 h 24"/>
                <a:gd name="T12" fmla="*/ 28 w 31"/>
                <a:gd name="T13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4">
                  <a:moveTo>
                    <a:pt x="28" y="17"/>
                  </a:moveTo>
                  <a:cubicBezTo>
                    <a:pt x="28" y="12"/>
                    <a:pt x="28" y="7"/>
                    <a:pt x="28" y="2"/>
                  </a:cubicBezTo>
                  <a:cubicBezTo>
                    <a:pt x="17" y="0"/>
                    <a:pt x="31" y="12"/>
                    <a:pt x="20" y="13"/>
                  </a:cubicBezTo>
                  <a:cubicBezTo>
                    <a:pt x="17" y="10"/>
                    <a:pt x="19" y="0"/>
                    <a:pt x="12" y="2"/>
                  </a:cubicBezTo>
                  <a:cubicBezTo>
                    <a:pt x="12" y="24"/>
                    <a:pt x="11" y="1"/>
                    <a:pt x="1" y="6"/>
                  </a:cubicBezTo>
                  <a:cubicBezTo>
                    <a:pt x="0" y="13"/>
                    <a:pt x="4" y="14"/>
                    <a:pt x="4" y="21"/>
                  </a:cubicBezTo>
                  <a:cubicBezTo>
                    <a:pt x="16" y="17"/>
                    <a:pt x="20" y="11"/>
                    <a:pt x="2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2" name="Freeform 134"/>
            <p:cNvSpPr>
              <a:spLocks/>
            </p:cNvSpPr>
            <p:nvPr userDrawn="1"/>
          </p:nvSpPr>
          <p:spPr bwMode="auto">
            <a:xfrm>
              <a:off x="8168633" y="1726594"/>
              <a:ext cx="104805" cy="110179"/>
            </a:xfrm>
            <a:custGeom>
              <a:avLst/>
              <a:gdLst>
                <a:gd name="T0" fmla="*/ 5 w 33"/>
                <a:gd name="T1" fmla="*/ 18 h 35"/>
                <a:gd name="T2" fmla="*/ 32 w 33"/>
                <a:gd name="T3" fmla="*/ 10 h 35"/>
                <a:gd name="T4" fmla="*/ 24 w 33"/>
                <a:gd name="T5" fmla="*/ 18 h 35"/>
                <a:gd name="T6" fmla="*/ 0 w 33"/>
                <a:gd name="T7" fmla="*/ 7 h 35"/>
                <a:gd name="T8" fmla="*/ 5 w 33"/>
                <a:gd name="T9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5">
                  <a:moveTo>
                    <a:pt x="5" y="18"/>
                  </a:moveTo>
                  <a:cubicBezTo>
                    <a:pt x="10" y="7"/>
                    <a:pt x="33" y="35"/>
                    <a:pt x="32" y="10"/>
                  </a:cubicBezTo>
                  <a:cubicBezTo>
                    <a:pt x="27" y="9"/>
                    <a:pt x="27" y="15"/>
                    <a:pt x="24" y="18"/>
                  </a:cubicBezTo>
                  <a:cubicBezTo>
                    <a:pt x="17" y="9"/>
                    <a:pt x="4" y="0"/>
                    <a:pt x="0" y="7"/>
                  </a:cubicBezTo>
                  <a:cubicBezTo>
                    <a:pt x="5" y="7"/>
                    <a:pt x="2" y="17"/>
                    <a:pt x="5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3" name="Freeform 135"/>
            <p:cNvSpPr>
              <a:spLocks/>
            </p:cNvSpPr>
            <p:nvPr userDrawn="1"/>
          </p:nvSpPr>
          <p:spPr bwMode="auto">
            <a:xfrm>
              <a:off x="4878030" y="1748092"/>
              <a:ext cx="79275" cy="48371"/>
            </a:xfrm>
            <a:custGeom>
              <a:avLst/>
              <a:gdLst>
                <a:gd name="T0" fmla="*/ 18 w 25"/>
                <a:gd name="T1" fmla="*/ 3 h 15"/>
                <a:gd name="T2" fmla="*/ 5 w 25"/>
                <a:gd name="T3" fmla="*/ 0 h 15"/>
                <a:gd name="T4" fmla="*/ 13 w 25"/>
                <a:gd name="T5" fmla="*/ 11 h 15"/>
                <a:gd name="T6" fmla="*/ 18 w 25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5">
                  <a:moveTo>
                    <a:pt x="18" y="3"/>
                  </a:moveTo>
                  <a:cubicBezTo>
                    <a:pt x="16" y="14"/>
                    <a:pt x="9" y="0"/>
                    <a:pt x="5" y="0"/>
                  </a:cubicBezTo>
                  <a:cubicBezTo>
                    <a:pt x="0" y="13"/>
                    <a:pt x="14" y="2"/>
                    <a:pt x="13" y="11"/>
                  </a:cubicBezTo>
                  <a:cubicBezTo>
                    <a:pt x="18" y="15"/>
                    <a:pt x="25" y="5"/>
                    <a:pt x="1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4" name="Freeform 136"/>
            <p:cNvSpPr>
              <a:spLocks/>
            </p:cNvSpPr>
            <p:nvPr userDrawn="1"/>
          </p:nvSpPr>
          <p:spPr bwMode="auto">
            <a:xfrm>
              <a:off x="4804129" y="1773622"/>
              <a:ext cx="146458" cy="73901"/>
            </a:xfrm>
            <a:custGeom>
              <a:avLst/>
              <a:gdLst>
                <a:gd name="T0" fmla="*/ 3 w 46"/>
                <a:gd name="T1" fmla="*/ 18 h 23"/>
                <a:gd name="T2" fmla="*/ 14 w 46"/>
                <a:gd name="T3" fmla="*/ 18 h 23"/>
                <a:gd name="T4" fmla="*/ 33 w 46"/>
                <a:gd name="T5" fmla="*/ 15 h 23"/>
                <a:gd name="T6" fmla="*/ 33 w 46"/>
                <a:gd name="T7" fmla="*/ 14 h 23"/>
                <a:gd name="T8" fmla="*/ 33 w 46"/>
                <a:gd name="T9" fmla="*/ 15 h 23"/>
                <a:gd name="T10" fmla="*/ 44 w 46"/>
                <a:gd name="T11" fmla="*/ 14 h 23"/>
                <a:gd name="T12" fmla="*/ 36 w 46"/>
                <a:gd name="T13" fmla="*/ 3 h 23"/>
                <a:gd name="T14" fmla="*/ 3 w 46"/>
                <a:gd name="T15" fmla="*/ 7 h 23"/>
                <a:gd name="T16" fmla="*/ 3 w 46"/>
                <a:gd name="T17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23">
                  <a:moveTo>
                    <a:pt x="3" y="18"/>
                  </a:moveTo>
                  <a:cubicBezTo>
                    <a:pt x="11" y="16"/>
                    <a:pt x="11" y="13"/>
                    <a:pt x="14" y="18"/>
                  </a:cubicBezTo>
                  <a:cubicBezTo>
                    <a:pt x="17" y="23"/>
                    <a:pt x="30" y="17"/>
                    <a:pt x="33" y="15"/>
                  </a:cubicBezTo>
                  <a:cubicBezTo>
                    <a:pt x="32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5"/>
                  </a:cubicBezTo>
                  <a:cubicBezTo>
                    <a:pt x="34" y="17"/>
                    <a:pt x="46" y="22"/>
                    <a:pt x="44" y="14"/>
                  </a:cubicBezTo>
                  <a:cubicBezTo>
                    <a:pt x="41" y="10"/>
                    <a:pt x="34" y="13"/>
                    <a:pt x="36" y="3"/>
                  </a:cubicBezTo>
                  <a:cubicBezTo>
                    <a:pt x="29" y="14"/>
                    <a:pt x="7" y="0"/>
                    <a:pt x="3" y="7"/>
                  </a:cubicBezTo>
                  <a:cubicBezTo>
                    <a:pt x="16" y="8"/>
                    <a:pt x="0" y="8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5" name="Freeform 137"/>
            <p:cNvSpPr>
              <a:spLocks/>
            </p:cNvSpPr>
            <p:nvPr userDrawn="1"/>
          </p:nvSpPr>
          <p:spPr bwMode="auto">
            <a:xfrm>
              <a:off x="4953274" y="1726594"/>
              <a:ext cx="486402" cy="151833"/>
            </a:xfrm>
            <a:custGeom>
              <a:avLst/>
              <a:gdLst>
                <a:gd name="T0" fmla="*/ 7 w 153"/>
                <a:gd name="T1" fmla="*/ 25 h 48"/>
                <a:gd name="T2" fmla="*/ 13 w 153"/>
                <a:gd name="T3" fmla="*/ 22 h 48"/>
                <a:gd name="T4" fmla="*/ 32 w 153"/>
                <a:gd name="T5" fmla="*/ 29 h 48"/>
                <a:gd name="T6" fmla="*/ 37 w 153"/>
                <a:gd name="T7" fmla="*/ 33 h 48"/>
                <a:gd name="T8" fmla="*/ 37 w 153"/>
                <a:gd name="T9" fmla="*/ 36 h 48"/>
                <a:gd name="T10" fmla="*/ 69 w 153"/>
                <a:gd name="T11" fmla="*/ 40 h 48"/>
                <a:gd name="T12" fmla="*/ 94 w 153"/>
                <a:gd name="T13" fmla="*/ 40 h 48"/>
                <a:gd name="T14" fmla="*/ 104 w 153"/>
                <a:gd name="T15" fmla="*/ 36 h 48"/>
                <a:gd name="T16" fmla="*/ 115 w 153"/>
                <a:gd name="T17" fmla="*/ 36 h 48"/>
                <a:gd name="T18" fmla="*/ 115 w 153"/>
                <a:gd name="T19" fmla="*/ 33 h 48"/>
                <a:gd name="T20" fmla="*/ 123 w 153"/>
                <a:gd name="T21" fmla="*/ 36 h 48"/>
                <a:gd name="T22" fmla="*/ 115 w 153"/>
                <a:gd name="T23" fmla="*/ 40 h 48"/>
                <a:gd name="T24" fmla="*/ 131 w 153"/>
                <a:gd name="T25" fmla="*/ 36 h 48"/>
                <a:gd name="T26" fmla="*/ 139 w 153"/>
                <a:gd name="T27" fmla="*/ 40 h 48"/>
                <a:gd name="T28" fmla="*/ 150 w 153"/>
                <a:gd name="T29" fmla="*/ 40 h 48"/>
                <a:gd name="T30" fmla="*/ 153 w 153"/>
                <a:gd name="T31" fmla="*/ 33 h 48"/>
                <a:gd name="T32" fmla="*/ 142 w 153"/>
                <a:gd name="T33" fmla="*/ 33 h 48"/>
                <a:gd name="T34" fmla="*/ 145 w 153"/>
                <a:gd name="T35" fmla="*/ 22 h 48"/>
                <a:gd name="T36" fmla="*/ 126 w 153"/>
                <a:gd name="T37" fmla="*/ 33 h 48"/>
                <a:gd name="T38" fmla="*/ 131 w 153"/>
                <a:gd name="T39" fmla="*/ 18 h 48"/>
                <a:gd name="T40" fmla="*/ 118 w 153"/>
                <a:gd name="T41" fmla="*/ 22 h 48"/>
                <a:gd name="T42" fmla="*/ 118 w 153"/>
                <a:gd name="T43" fmla="*/ 25 h 48"/>
                <a:gd name="T44" fmla="*/ 112 w 153"/>
                <a:gd name="T45" fmla="*/ 18 h 48"/>
                <a:gd name="T46" fmla="*/ 107 w 153"/>
                <a:gd name="T47" fmla="*/ 25 h 48"/>
                <a:gd name="T48" fmla="*/ 104 w 153"/>
                <a:gd name="T49" fmla="*/ 18 h 48"/>
                <a:gd name="T50" fmla="*/ 102 w 153"/>
                <a:gd name="T51" fmla="*/ 25 h 48"/>
                <a:gd name="T52" fmla="*/ 102 w 153"/>
                <a:gd name="T53" fmla="*/ 18 h 48"/>
                <a:gd name="T54" fmla="*/ 88 w 153"/>
                <a:gd name="T55" fmla="*/ 29 h 48"/>
                <a:gd name="T56" fmla="*/ 91 w 153"/>
                <a:gd name="T57" fmla="*/ 10 h 48"/>
                <a:gd name="T58" fmla="*/ 72 w 153"/>
                <a:gd name="T59" fmla="*/ 18 h 48"/>
                <a:gd name="T60" fmla="*/ 75 w 153"/>
                <a:gd name="T61" fmla="*/ 18 h 48"/>
                <a:gd name="T62" fmla="*/ 83 w 153"/>
                <a:gd name="T63" fmla="*/ 14 h 48"/>
                <a:gd name="T64" fmla="*/ 85 w 153"/>
                <a:gd name="T65" fmla="*/ 25 h 48"/>
                <a:gd name="T66" fmla="*/ 32 w 153"/>
                <a:gd name="T67" fmla="*/ 25 h 48"/>
                <a:gd name="T68" fmla="*/ 24 w 153"/>
                <a:gd name="T69" fmla="*/ 18 h 48"/>
                <a:gd name="T70" fmla="*/ 21 w 153"/>
                <a:gd name="T71" fmla="*/ 10 h 48"/>
                <a:gd name="T72" fmla="*/ 13 w 153"/>
                <a:gd name="T73" fmla="*/ 18 h 48"/>
                <a:gd name="T74" fmla="*/ 7 w 153"/>
                <a:gd name="T75" fmla="*/ 2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3" h="48">
                  <a:moveTo>
                    <a:pt x="7" y="25"/>
                  </a:moveTo>
                  <a:cubicBezTo>
                    <a:pt x="8" y="22"/>
                    <a:pt x="10" y="21"/>
                    <a:pt x="13" y="22"/>
                  </a:cubicBezTo>
                  <a:cubicBezTo>
                    <a:pt x="12" y="34"/>
                    <a:pt x="27" y="35"/>
                    <a:pt x="32" y="29"/>
                  </a:cubicBezTo>
                  <a:cubicBezTo>
                    <a:pt x="29" y="39"/>
                    <a:pt x="37" y="33"/>
                    <a:pt x="37" y="33"/>
                  </a:cubicBezTo>
                  <a:cubicBezTo>
                    <a:pt x="37" y="33"/>
                    <a:pt x="37" y="36"/>
                    <a:pt x="37" y="36"/>
                  </a:cubicBezTo>
                  <a:cubicBezTo>
                    <a:pt x="46" y="38"/>
                    <a:pt x="64" y="39"/>
                    <a:pt x="69" y="40"/>
                  </a:cubicBezTo>
                  <a:cubicBezTo>
                    <a:pt x="84" y="43"/>
                    <a:pt x="84" y="41"/>
                    <a:pt x="94" y="40"/>
                  </a:cubicBezTo>
                  <a:cubicBezTo>
                    <a:pt x="99" y="39"/>
                    <a:pt x="101" y="40"/>
                    <a:pt x="104" y="36"/>
                  </a:cubicBezTo>
                  <a:cubicBezTo>
                    <a:pt x="106" y="35"/>
                    <a:pt x="113" y="37"/>
                    <a:pt x="115" y="36"/>
                  </a:cubicBezTo>
                  <a:cubicBezTo>
                    <a:pt x="115" y="36"/>
                    <a:pt x="115" y="33"/>
                    <a:pt x="115" y="33"/>
                  </a:cubicBezTo>
                  <a:cubicBezTo>
                    <a:pt x="116" y="31"/>
                    <a:pt x="124" y="34"/>
                    <a:pt x="123" y="36"/>
                  </a:cubicBezTo>
                  <a:cubicBezTo>
                    <a:pt x="120" y="37"/>
                    <a:pt x="115" y="36"/>
                    <a:pt x="115" y="40"/>
                  </a:cubicBezTo>
                  <a:cubicBezTo>
                    <a:pt x="121" y="48"/>
                    <a:pt x="126" y="39"/>
                    <a:pt x="131" y="36"/>
                  </a:cubicBezTo>
                  <a:cubicBezTo>
                    <a:pt x="136" y="43"/>
                    <a:pt x="136" y="36"/>
                    <a:pt x="139" y="40"/>
                  </a:cubicBezTo>
                  <a:cubicBezTo>
                    <a:pt x="141" y="43"/>
                    <a:pt x="148" y="38"/>
                    <a:pt x="150" y="40"/>
                  </a:cubicBezTo>
                  <a:cubicBezTo>
                    <a:pt x="151" y="37"/>
                    <a:pt x="150" y="33"/>
                    <a:pt x="153" y="33"/>
                  </a:cubicBezTo>
                  <a:cubicBezTo>
                    <a:pt x="148" y="26"/>
                    <a:pt x="149" y="33"/>
                    <a:pt x="142" y="33"/>
                  </a:cubicBezTo>
                  <a:cubicBezTo>
                    <a:pt x="137" y="24"/>
                    <a:pt x="143" y="29"/>
                    <a:pt x="145" y="22"/>
                  </a:cubicBezTo>
                  <a:cubicBezTo>
                    <a:pt x="135" y="18"/>
                    <a:pt x="130" y="40"/>
                    <a:pt x="126" y="33"/>
                  </a:cubicBezTo>
                  <a:cubicBezTo>
                    <a:pt x="122" y="21"/>
                    <a:pt x="134" y="30"/>
                    <a:pt x="131" y="18"/>
                  </a:cubicBezTo>
                  <a:cubicBezTo>
                    <a:pt x="123" y="19"/>
                    <a:pt x="121" y="15"/>
                    <a:pt x="118" y="22"/>
                  </a:cubicBezTo>
                  <a:cubicBezTo>
                    <a:pt x="118" y="22"/>
                    <a:pt x="122" y="24"/>
                    <a:pt x="118" y="25"/>
                  </a:cubicBezTo>
                  <a:cubicBezTo>
                    <a:pt x="118" y="25"/>
                    <a:pt x="114" y="17"/>
                    <a:pt x="112" y="18"/>
                  </a:cubicBezTo>
                  <a:cubicBezTo>
                    <a:pt x="111" y="18"/>
                    <a:pt x="112" y="30"/>
                    <a:pt x="107" y="25"/>
                  </a:cubicBezTo>
                  <a:cubicBezTo>
                    <a:pt x="106" y="22"/>
                    <a:pt x="107" y="18"/>
                    <a:pt x="104" y="18"/>
                  </a:cubicBezTo>
                  <a:cubicBezTo>
                    <a:pt x="104" y="20"/>
                    <a:pt x="104" y="26"/>
                    <a:pt x="102" y="25"/>
                  </a:cubicBezTo>
                  <a:cubicBezTo>
                    <a:pt x="101" y="25"/>
                    <a:pt x="102" y="18"/>
                    <a:pt x="102" y="18"/>
                  </a:cubicBezTo>
                  <a:cubicBezTo>
                    <a:pt x="96" y="14"/>
                    <a:pt x="96" y="25"/>
                    <a:pt x="88" y="29"/>
                  </a:cubicBezTo>
                  <a:cubicBezTo>
                    <a:pt x="89" y="25"/>
                    <a:pt x="99" y="15"/>
                    <a:pt x="91" y="10"/>
                  </a:cubicBezTo>
                  <a:cubicBezTo>
                    <a:pt x="87" y="22"/>
                    <a:pt x="73" y="0"/>
                    <a:pt x="72" y="18"/>
                  </a:cubicBezTo>
                  <a:cubicBezTo>
                    <a:pt x="75" y="19"/>
                    <a:pt x="78" y="22"/>
                    <a:pt x="75" y="18"/>
                  </a:cubicBezTo>
                  <a:cubicBezTo>
                    <a:pt x="75" y="14"/>
                    <a:pt x="79" y="14"/>
                    <a:pt x="83" y="14"/>
                  </a:cubicBezTo>
                  <a:cubicBezTo>
                    <a:pt x="83" y="19"/>
                    <a:pt x="84" y="22"/>
                    <a:pt x="85" y="25"/>
                  </a:cubicBezTo>
                  <a:cubicBezTo>
                    <a:pt x="61" y="26"/>
                    <a:pt x="50" y="22"/>
                    <a:pt x="32" y="25"/>
                  </a:cubicBezTo>
                  <a:cubicBezTo>
                    <a:pt x="28" y="24"/>
                    <a:pt x="27" y="19"/>
                    <a:pt x="24" y="18"/>
                  </a:cubicBezTo>
                  <a:cubicBezTo>
                    <a:pt x="23" y="24"/>
                    <a:pt x="20" y="18"/>
                    <a:pt x="21" y="10"/>
                  </a:cubicBezTo>
                  <a:cubicBezTo>
                    <a:pt x="16" y="9"/>
                    <a:pt x="16" y="15"/>
                    <a:pt x="13" y="18"/>
                  </a:cubicBezTo>
                  <a:cubicBezTo>
                    <a:pt x="14" y="8"/>
                    <a:pt x="0" y="26"/>
                    <a:pt x="7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6" name="Freeform 138"/>
            <p:cNvSpPr>
              <a:spLocks/>
            </p:cNvSpPr>
            <p:nvPr userDrawn="1"/>
          </p:nvSpPr>
          <p:spPr bwMode="auto">
            <a:xfrm>
              <a:off x="5439676" y="1792433"/>
              <a:ext cx="116898" cy="67183"/>
            </a:xfrm>
            <a:custGeom>
              <a:avLst/>
              <a:gdLst>
                <a:gd name="T0" fmla="*/ 24 w 37"/>
                <a:gd name="T1" fmla="*/ 15 h 21"/>
                <a:gd name="T2" fmla="*/ 35 w 37"/>
                <a:gd name="T3" fmla="*/ 19 h 21"/>
                <a:gd name="T4" fmla="*/ 37 w 37"/>
                <a:gd name="T5" fmla="*/ 4 h 21"/>
                <a:gd name="T6" fmla="*/ 16 w 37"/>
                <a:gd name="T7" fmla="*/ 12 h 21"/>
                <a:gd name="T8" fmla="*/ 10 w 37"/>
                <a:gd name="T9" fmla="*/ 8 h 21"/>
                <a:gd name="T10" fmla="*/ 8 w 37"/>
                <a:gd name="T11" fmla="*/ 12 h 21"/>
                <a:gd name="T12" fmla="*/ 0 w 37"/>
                <a:gd name="T13" fmla="*/ 12 h 21"/>
                <a:gd name="T14" fmla="*/ 0 w 37"/>
                <a:gd name="T15" fmla="*/ 19 h 21"/>
                <a:gd name="T16" fmla="*/ 24 w 37"/>
                <a:gd name="T1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21">
                  <a:moveTo>
                    <a:pt x="24" y="15"/>
                  </a:moveTo>
                  <a:cubicBezTo>
                    <a:pt x="28" y="16"/>
                    <a:pt x="29" y="21"/>
                    <a:pt x="35" y="19"/>
                  </a:cubicBezTo>
                  <a:cubicBezTo>
                    <a:pt x="34" y="13"/>
                    <a:pt x="35" y="8"/>
                    <a:pt x="37" y="4"/>
                  </a:cubicBezTo>
                  <a:cubicBezTo>
                    <a:pt x="27" y="0"/>
                    <a:pt x="22" y="10"/>
                    <a:pt x="16" y="12"/>
                  </a:cubicBezTo>
                  <a:cubicBezTo>
                    <a:pt x="13" y="12"/>
                    <a:pt x="13" y="8"/>
                    <a:pt x="10" y="8"/>
                  </a:cubicBezTo>
                  <a:cubicBezTo>
                    <a:pt x="11" y="8"/>
                    <a:pt x="9" y="11"/>
                    <a:pt x="8" y="12"/>
                  </a:cubicBezTo>
                  <a:cubicBezTo>
                    <a:pt x="7" y="12"/>
                    <a:pt x="0" y="12"/>
                    <a:pt x="0" y="12"/>
                  </a:cubicBezTo>
                  <a:cubicBezTo>
                    <a:pt x="0" y="12"/>
                    <a:pt x="0" y="19"/>
                    <a:pt x="0" y="19"/>
                  </a:cubicBezTo>
                  <a:cubicBezTo>
                    <a:pt x="7" y="19"/>
                    <a:pt x="15" y="14"/>
                    <a:pt x="2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7" name="Freeform 139"/>
            <p:cNvSpPr>
              <a:spLocks/>
            </p:cNvSpPr>
            <p:nvPr userDrawn="1"/>
          </p:nvSpPr>
          <p:spPr bwMode="auto">
            <a:xfrm>
              <a:off x="9003041" y="1796464"/>
              <a:ext cx="149145" cy="139740"/>
            </a:xfrm>
            <a:custGeom>
              <a:avLst/>
              <a:gdLst>
                <a:gd name="T0" fmla="*/ 36 w 47"/>
                <a:gd name="T1" fmla="*/ 11 h 44"/>
                <a:gd name="T2" fmla="*/ 36 w 47"/>
                <a:gd name="T3" fmla="*/ 3 h 44"/>
                <a:gd name="T4" fmla="*/ 25 w 47"/>
                <a:gd name="T5" fmla="*/ 0 h 44"/>
                <a:gd name="T6" fmla="*/ 22 w 47"/>
                <a:gd name="T7" fmla="*/ 18 h 44"/>
                <a:gd name="T8" fmla="*/ 9 w 47"/>
                <a:gd name="T9" fmla="*/ 18 h 44"/>
                <a:gd name="T10" fmla="*/ 6 w 47"/>
                <a:gd name="T11" fmla="*/ 18 h 44"/>
                <a:gd name="T12" fmla="*/ 14 w 47"/>
                <a:gd name="T13" fmla="*/ 44 h 44"/>
                <a:gd name="T14" fmla="*/ 19 w 47"/>
                <a:gd name="T15" fmla="*/ 26 h 44"/>
                <a:gd name="T16" fmla="*/ 30 w 47"/>
                <a:gd name="T17" fmla="*/ 29 h 44"/>
                <a:gd name="T18" fmla="*/ 46 w 47"/>
                <a:gd name="T19" fmla="*/ 18 h 44"/>
                <a:gd name="T20" fmla="*/ 36 w 47"/>
                <a:gd name="T21" fmla="*/ 1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44">
                  <a:moveTo>
                    <a:pt x="36" y="11"/>
                  </a:moveTo>
                  <a:cubicBezTo>
                    <a:pt x="35" y="9"/>
                    <a:pt x="36" y="4"/>
                    <a:pt x="36" y="3"/>
                  </a:cubicBezTo>
                  <a:cubicBezTo>
                    <a:pt x="33" y="0"/>
                    <a:pt x="26" y="5"/>
                    <a:pt x="25" y="0"/>
                  </a:cubicBezTo>
                  <a:cubicBezTo>
                    <a:pt x="17" y="6"/>
                    <a:pt x="28" y="18"/>
                    <a:pt x="22" y="18"/>
                  </a:cubicBezTo>
                  <a:cubicBezTo>
                    <a:pt x="22" y="10"/>
                    <a:pt x="15" y="23"/>
                    <a:pt x="9" y="18"/>
                  </a:cubicBezTo>
                  <a:cubicBezTo>
                    <a:pt x="9" y="16"/>
                    <a:pt x="7" y="14"/>
                    <a:pt x="6" y="18"/>
                  </a:cubicBezTo>
                  <a:cubicBezTo>
                    <a:pt x="18" y="21"/>
                    <a:pt x="0" y="42"/>
                    <a:pt x="14" y="44"/>
                  </a:cubicBezTo>
                  <a:cubicBezTo>
                    <a:pt x="19" y="44"/>
                    <a:pt x="9" y="25"/>
                    <a:pt x="19" y="26"/>
                  </a:cubicBezTo>
                  <a:cubicBezTo>
                    <a:pt x="20" y="31"/>
                    <a:pt x="26" y="29"/>
                    <a:pt x="30" y="29"/>
                  </a:cubicBezTo>
                  <a:cubicBezTo>
                    <a:pt x="26" y="14"/>
                    <a:pt x="47" y="29"/>
                    <a:pt x="46" y="18"/>
                  </a:cubicBezTo>
                  <a:cubicBezTo>
                    <a:pt x="44" y="16"/>
                    <a:pt x="36" y="15"/>
                    <a:pt x="3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8" name="Freeform 140"/>
            <p:cNvSpPr>
              <a:spLocks/>
            </p:cNvSpPr>
            <p:nvPr userDrawn="1"/>
          </p:nvSpPr>
          <p:spPr bwMode="auto">
            <a:xfrm>
              <a:off x="5772902" y="1805869"/>
              <a:ext cx="40310" cy="41653"/>
            </a:xfrm>
            <a:custGeom>
              <a:avLst/>
              <a:gdLst>
                <a:gd name="T0" fmla="*/ 13 w 13"/>
                <a:gd name="T1" fmla="*/ 4 h 13"/>
                <a:gd name="T2" fmla="*/ 0 w 13"/>
                <a:gd name="T3" fmla="*/ 4 h 13"/>
                <a:gd name="T4" fmla="*/ 13 w 13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13" y="4"/>
                  </a:moveTo>
                  <a:cubicBezTo>
                    <a:pt x="8" y="2"/>
                    <a:pt x="0" y="0"/>
                    <a:pt x="0" y="4"/>
                  </a:cubicBezTo>
                  <a:cubicBezTo>
                    <a:pt x="1" y="6"/>
                    <a:pt x="12" y="13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9" name="Freeform 141"/>
            <p:cNvSpPr>
              <a:spLocks/>
            </p:cNvSpPr>
            <p:nvPr userDrawn="1"/>
          </p:nvSpPr>
          <p:spPr bwMode="auto">
            <a:xfrm>
              <a:off x="8429301" y="1770934"/>
              <a:ext cx="30904" cy="104805"/>
            </a:xfrm>
            <a:custGeom>
              <a:avLst/>
              <a:gdLst>
                <a:gd name="T0" fmla="*/ 10 w 10"/>
                <a:gd name="T1" fmla="*/ 30 h 33"/>
                <a:gd name="T2" fmla="*/ 4 w 10"/>
                <a:gd name="T3" fmla="*/ 19 h 33"/>
                <a:gd name="T4" fmla="*/ 10 w 10"/>
                <a:gd name="T5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33">
                  <a:moveTo>
                    <a:pt x="10" y="30"/>
                  </a:moveTo>
                  <a:cubicBezTo>
                    <a:pt x="10" y="22"/>
                    <a:pt x="6" y="22"/>
                    <a:pt x="4" y="19"/>
                  </a:cubicBezTo>
                  <a:cubicBezTo>
                    <a:pt x="0" y="0"/>
                    <a:pt x="1" y="33"/>
                    <a:pt x="1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0" name="Freeform 142"/>
            <p:cNvSpPr>
              <a:spLocks/>
            </p:cNvSpPr>
            <p:nvPr userDrawn="1"/>
          </p:nvSpPr>
          <p:spPr bwMode="auto">
            <a:xfrm>
              <a:off x="8485735" y="1817962"/>
              <a:ext cx="25529" cy="67183"/>
            </a:xfrm>
            <a:custGeom>
              <a:avLst/>
              <a:gdLst>
                <a:gd name="T0" fmla="*/ 5 w 8"/>
                <a:gd name="T1" fmla="*/ 7 h 21"/>
                <a:gd name="T2" fmla="*/ 8 w 8"/>
                <a:gd name="T3" fmla="*/ 0 h 21"/>
                <a:gd name="T4" fmla="*/ 2 w 8"/>
                <a:gd name="T5" fmla="*/ 7 h 21"/>
                <a:gd name="T6" fmla="*/ 5 w 8"/>
                <a:gd name="T7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1">
                  <a:moveTo>
                    <a:pt x="5" y="7"/>
                  </a:moveTo>
                  <a:cubicBezTo>
                    <a:pt x="7" y="7"/>
                    <a:pt x="8" y="4"/>
                    <a:pt x="8" y="0"/>
                  </a:cubicBezTo>
                  <a:cubicBezTo>
                    <a:pt x="4" y="0"/>
                    <a:pt x="5" y="6"/>
                    <a:pt x="2" y="7"/>
                  </a:cubicBezTo>
                  <a:cubicBezTo>
                    <a:pt x="0" y="21"/>
                    <a:pt x="7" y="21"/>
                    <a:pt x="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1" name="Freeform 143"/>
            <p:cNvSpPr>
              <a:spLocks/>
            </p:cNvSpPr>
            <p:nvPr userDrawn="1"/>
          </p:nvSpPr>
          <p:spPr bwMode="auto">
            <a:xfrm>
              <a:off x="8651004" y="1817962"/>
              <a:ext cx="142427" cy="139740"/>
            </a:xfrm>
            <a:custGeom>
              <a:avLst/>
              <a:gdLst>
                <a:gd name="T0" fmla="*/ 9 w 45"/>
                <a:gd name="T1" fmla="*/ 37 h 44"/>
                <a:gd name="T2" fmla="*/ 20 w 45"/>
                <a:gd name="T3" fmla="*/ 33 h 44"/>
                <a:gd name="T4" fmla="*/ 17 w 45"/>
                <a:gd name="T5" fmla="*/ 30 h 44"/>
                <a:gd name="T6" fmla="*/ 31 w 45"/>
                <a:gd name="T7" fmla="*/ 30 h 44"/>
                <a:gd name="T8" fmla="*/ 36 w 45"/>
                <a:gd name="T9" fmla="*/ 44 h 44"/>
                <a:gd name="T10" fmla="*/ 36 w 45"/>
                <a:gd name="T11" fmla="*/ 0 h 44"/>
                <a:gd name="T12" fmla="*/ 17 w 45"/>
                <a:gd name="T13" fmla="*/ 22 h 44"/>
                <a:gd name="T14" fmla="*/ 1 w 45"/>
                <a:gd name="T15" fmla="*/ 19 h 44"/>
                <a:gd name="T16" fmla="*/ 9 w 45"/>
                <a:gd name="T17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44">
                  <a:moveTo>
                    <a:pt x="9" y="37"/>
                  </a:moveTo>
                  <a:cubicBezTo>
                    <a:pt x="10" y="24"/>
                    <a:pt x="21" y="44"/>
                    <a:pt x="20" y="33"/>
                  </a:cubicBezTo>
                  <a:cubicBezTo>
                    <a:pt x="19" y="33"/>
                    <a:pt x="17" y="33"/>
                    <a:pt x="17" y="30"/>
                  </a:cubicBezTo>
                  <a:cubicBezTo>
                    <a:pt x="20" y="19"/>
                    <a:pt x="26" y="32"/>
                    <a:pt x="31" y="30"/>
                  </a:cubicBezTo>
                  <a:cubicBezTo>
                    <a:pt x="30" y="38"/>
                    <a:pt x="32" y="43"/>
                    <a:pt x="36" y="44"/>
                  </a:cubicBezTo>
                  <a:cubicBezTo>
                    <a:pt x="29" y="30"/>
                    <a:pt x="45" y="15"/>
                    <a:pt x="36" y="0"/>
                  </a:cubicBezTo>
                  <a:cubicBezTo>
                    <a:pt x="26" y="1"/>
                    <a:pt x="24" y="15"/>
                    <a:pt x="17" y="22"/>
                  </a:cubicBezTo>
                  <a:cubicBezTo>
                    <a:pt x="8" y="21"/>
                    <a:pt x="11" y="12"/>
                    <a:pt x="1" y="19"/>
                  </a:cubicBezTo>
                  <a:cubicBezTo>
                    <a:pt x="0" y="30"/>
                    <a:pt x="5" y="34"/>
                    <a:pt x="9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2" name="Freeform 144"/>
            <p:cNvSpPr>
              <a:spLocks/>
            </p:cNvSpPr>
            <p:nvPr userDrawn="1"/>
          </p:nvSpPr>
          <p:spPr bwMode="auto">
            <a:xfrm>
              <a:off x="5568667" y="1917392"/>
              <a:ext cx="48371" cy="30904"/>
            </a:xfrm>
            <a:custGeom>
              <a:avLst/>
              <a:gdLst>
                <a:gd name="T0" fmla="*/ 10 w 15"/>
                <a:gd name="T1" fmla="*/ 6 h 10"/>
                <a:gd name="T2" fmla="*/ 15 w 15"/>
                <a:gd name="T3" fmla="*/ 10 h 10"/>
                <a:gd name="T4" fmla="*/ 10 w 15"/>
                <a:gd name="T5" fmla="*/ 2 h 10"/>
                <a:gd name="T6" fmla="*/ 10 w 15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0">
                  <a:moveTo>
                    <a:pt x="10" y="6"/>
                  </a:moveTo>
                  <a:cubicBezTo>
                    <a:pt x="10" y="9"/>
                    <a:pt x="12" y="10"/>
                    <a:pt x="15" y="10"/>
                  </a:cubicBezTo>
                  <a:cubicBezTo>
                    <a:pt x="15" y="5"/>
                    <a:pt x="10" y="6"/>
                    <a:pt x="10" y="2"/>
                  </a:cubicBezTo>
                  <a:cubicBezTo>
                    <a:pt x="0" y="0"/>
                    <a:pt x="0" y="9"/>
                    <a:pt x="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3" name="Freeform 145"/>
            <p:cNvSpPr>
              <a:spLocks/>
            </p:cNvSpPr>
            <p:nvPr userDrawn="1"/>
          </p:nvSpPr>
          <p:spPr bwMode="auto">
            <a:xfrm>
              <a:off x="6854541" y="1948296"/>
              <a:ext cx="92712" cy="158551"/>
            </a:xfrm>
            <a:custGeom>
              <a:avLst/>
              <a:gdLst>
                <a:gd name="T0" fmla="*/ 14 w 29"/>
                <a:gd name="T1" fmla="*/ 40 h 50"/>
                <a:gd name="T2" fmla="*/ 5 w 29"/>
                <a:gd name="T3" fmla="*/ 33 h 50"/>
                <a:gd name="T4" fmla="*/ 27 w 29"/>
                <a:gd name="T5" fmla="*/ 37 h 50"/>
                <a:gd name="T6" fmla="*/ 19 w 29"/>
                <a:gd name="T7" fmla="*/ 22 h 50"/>
                <a:gd name="T8" fmla="*/ 19 w 29"/>
                <a:gd name="T9" fmla="*/ 7 h 50"/>
                <a:gd name="T10" fmla="*/ 5 w 29"/>
                <a:gd name="T11" fmla="*/ 0 h 50"/>
                <a:gd name="T12" fmla="*/ 3 w 29"/>
                <a:gd name="T13" fmla="*/ 14 h 50"/>
                <a:gd name="T14" fmla="*/ 11 w 29"/>
                <a:gd name="T15" fmla="*/ 26 h 50"/>
                <a:gd name="T16" fmla="*/ 3 w 29"/>
                <a:gd name="T17" fmla="*/ 18 h 50"/>
                <a:gd name="T18" fmla="*/ 14 w 29"/>
                <a:gd name="T19" fmla="*/ 4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50">
                  <a:moveTo>
                    <a:pt x="14" y="40"/>
                  </a:moveTo>
                  <a:cubicBezTo>
                    <a:pt x="10" y="39"/>
                    <a:pt x="7" y="36"/>
                    <a:pt x="5" y="33"/>
                  </a:cubicBezTo>
                  <a:cubicBezTo>
                    <a:pt x="13" y="30"/>
                    <a:pt x="19" y="29"/>
                    <a:pt x="27" y="37"/>
                  </a:cubicBezTo>
                  <a:cubicBezTo>
                    <a:pt x="29" y="25"/>
                    <a:pt x="20" y="29"/>
                    <a:pt x="19" y="22"/>
                  </a:cubicBezTo>
                  <a:cubicBezTo>
                    <a:pt x="19" y="17"/>
                    <a:pt x="19" y="12"/>
                    <a:pt x="19" y="7"/>
                  </a:cubicBezTo>
                  <a:cubicBezTo>
                    <a:pt x="10" y="10"/>
                    <a:pt x="11" y="1"/>
                    <a:pt x="5" y="0"/>
                  </a:cubicBezTo>
                  <a:cubicBezTo>
                    <a:pt x="6" y="6"/>
                    <a:pt x="5" y="11"/>
                    <a:pt x="3" y="14"/>
                  </a:cubicBezTo>
                  <a:cubicBezTo>
                    <a:pt x="10" y="12"/>
                    <a:pt x="12" y="16"/>
                    <a:pt x="11" y="26"/>
                  </a:cubicBezTo>
                  <a:cubicBezTo>
                    <a:pt x="7" y="25"/>
                    <a:pt x="6" y="19"/>
                    <a:pt x="3" y="18"/>
                  </a:cubicBezTo>
                  <a:cubicBezTo>
                    <a:pt x="0" y="32"/>
                    <a:pt x="8" y="50"/>
                    <a:pt x="14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4" name="Freeform 146"/>
            <p:cNvSpPr>
              <a:spLocks/>
            </p:cNvSpPr>
            <p:nvPr userDrawn="1"/>
          </p:nvSpPr>
          <p:spPr bwMode="auto">
            <a:xfrm>
              <a:off x="6385607" y="1989949"/>
              <a:ext cx="56433" cy="47028"/>
            </a:xfrm>
            <a:custGeom>
              <a:avLst/>
              <a:gdLst>
                <a:gd name="T0" fmla="*/ 6 w 18"/>
                <a:gd name="T1" fmla="*/ 13 h 15"/>
                <a:gd name="T2" fmla="*/ 14 w 18"/>
                <a:gd name="T3" fmla="*/ 1 h 15"/>
                <a:gd name="T4" fmla="*/ 6 w 18"/>
                <a:gd name="T5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6" y="13"/>
                  </a:moveTo>
                  <a:cubicBezTo>
                    <a:pt x="4" y="4"/>
                    <a:pt x="18" y="15"/>
                    <a:pt x="14" y="1"/>
                  </a:cubicBezTo>
                  <a:cubicBezTo>
                    <a:pt x="8" y="0"/>
                    <a:pt x="0" y="11"/>
                    <a:pt x="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5" name="Freeform 147"/>
            <p:cNvSpPr>
              <a:spLocks/>
            </p:cNvSpPr>
            <p:nvPr userDrawn="1"/>
          </p:nvSpPr>
          <p:spPr bwMode="auto">
            <a:xfrm>
              <a:off x="7387971" y="2204934"/>
              <a:ext cx="47028" cy="48371"/>
            </a:xfrm>
            <a:custGeom>
              <a:avLst/>
              <a:gdLst>
                <a:gd name="T0" fmla="*/ 15 w 15"/>
                <a:gd name="T1" fmla="*/ 0 h 15"/>
                <a:gd name="T2" fmla="*/ 1 w 15"/>
                <a:gd name="T3" fmla="*/ 0 h 15"/>
                <a:gd name="T4" fmla="*/ 15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5" y="0"/>
                  </a:moveTo>
                  <a:cubicBezTo>
                    <a:pt x="8" y="0"/>
                    <a:pt x="7" y="7"/>
                    <a:pt x="1" y="0"/>
                  </a:cubicBezTo>
                  <a:cubicBezTo>
                    <a:pt x="0" y="15"/>
                    <a:pt x="14" y="5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6" name="Freeform 148"/>
            <p:cNvSpPr>
              <a:spLocks/>
            </p:cNvSpPr>
            <p:nvPr userDrawn="1"/>
          </p:nvSpPr>
          <p:spPr bwMode="auto">
            <a:xfrm>
              <a:off x="3808483" y="3544555"/>
              <a:ext cx="44341" cy="57777"/>
            </a:xfrm>
            <a:custGeom>
              <a:avLst/>
              <a:gdLst>
                <a:gd name="T0" fmla="*/ 11 w 14"/>
                <a:gd name="T1" fmla="*/ 3 h 18"/>
                <a:gd name="T2" fmla="*/ 13 w 14"/>
                <a:gd name="T3" fmla="*/ 0 h 18"/>
                <a:gd name="T4" fmla="*/ 0 w 14"/>
                <a:gd name="T5" fmla="*/ 14 h 18"/>
                <a:gd name="T6" fmla="*/ 11 w 14"/>
                <a:gd name="T7" fmla="*/ 18 h 18"/>
                <a:gd name="T8" fmla="*/ 11 w 14"/>
                <a:gd name="T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8">
                  <a:moveTo>
                    <a:pt x="11" y="3"/>
                  </a:moveTo>
                  <a:cubicBezTo>
                    <a:pt x="11" y="7"/>
                    <a:pt x="14" y="6"/>
                    <a:pt x="13" y="0"/>
                  </a:cubicBezTo>
                  <a:cubicBezTo>
                    <a:pt x="7" y="2"/>
                    <a:pt x="0" y="3"/>
                    <a:pt x="0" y="14"/>
                  </a:cubicBezTo>
                  <a:cubicBezTo>
                    <a:pt x="5" y="14"/>
                    <a:pt x="8" y="15"/>
                    <a:pt x="11" y="18"/>
                  </a:cubicBezTo>
                  <a:cubicBezTo>
                    <a:pt x="13" y="11"/>
                    <a:pt x="3" y="6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7" name="Freeform 149"/>
            <p:cNvSpPr>
              <a:spLocks/>
            </p:cNvSpPr>
            <p:nvPr userDrawn="1"/>
          </p:nvSpPr>
          <p:spPr bwMode="auto">
            <a:xfrm>
              <a:off x="2630100" y="3649360"/>
              <a:ext cx="79275" cy="48371"/>
            </a:xfrm>
            <a:custGeom>
              <a:avLst/>
              <a:gdLst>
                <a:gd name="T0" fmla="*/ 5 w 25"/>
                <a:gd name="T1" fmla="*/ 11 h 15"/>
                <a:gd name="T2" fmla="*/ 0 w 25"/>
                <a:gd name="T3" fmla="*/ 7 h 15"/>
                <a:gd name="T4" fmla="*/ 5 w 25"/>
                <a:gd name="T5" fmla="*/ 15 h 15"/>
                <a:gd name="T6" fmla="*/ 5 w 25"/>
                <a:gd name="T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5">
                  <a:moveTo>
                    <a:pt x="5" y="11"/>
                  </a:moveTo>
                  <a:cubicBezTo>
                    <a:pt x="4" y="10"/>
                    <a:pt x="2" y="0"/>
                    <a:pt x="0" y="7"/>
                  </a:cubicBezTo>
                  <a:cubicBezTo>
                    <a:pt x="3" y="8"/>
                    <a:pt x="4" y="11"/>
                    <a:pt x="5" y="15"/>
                  </a:cubicBezTo>
                  <a:cubicBezTo>
                    <a:pt x="25" y="12"/>
                    <a:pt x="12" y="15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8" name="Freeform 150"/>
            <p:cNvSpPr>
              <a:spLocks/>
            </p:cNvSpPr>
            <p:nvPr userDrawn="1"/>
          </p:nvSpPr>
          <p:spPr bwMode="auto">
            <a:xfrm>
              <a:off x="3074849" y="4150542"/>
              <a:ext cx="44341" cy="108836"/>
            </a:xfrm>
            <a:custGeom>
              <a:avLst/>
              <a:gdLst>
                <a:gd name="T0" fmla="*/ 5 w 14"/>
                <a:gd name="T1" fmla="*/ 27 h 34"/>
                <a:gd name="T2" fmla="*/ 2 w 14"/>
                <a:gd name="T3" fmla="*/ 19 h 34"/>
                <a:gd name="T4" fmla="*/ 11 w 14"/>
                <a:gd name="T5" fmla="*/ 19 h 34"/>
                <a:gd name="T6" fmla="*/ 8 w 14"/>
                <a:gd name="T7" fmla="*/ 1 h 34"/>
                <a:gd name="T8" fmla="*/ 2 w 14"/>
                <a:gd name="T9" fmla="*/ 5 h 34"/>
                <a:gd name="T10" fmla="*/ 0 w 14"/>
                <a:gd name="T11" fmla="*/ 23 h 34"/>
                <a:gd name="T12" fmla="*/ 5 w 14"/>
                <a:gd name="T1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34">
                  <a:moveTo>
                    <a:pt x="5" y="27"/>
                  </a:moveTo>
                  <a:cubicBezTo>
                    <a:pt x="5" y="23"/>
                    <a:pt x="3" y="22"/>
                    <a:pt x="2" y="19"/>
                  </a:cubicBezTo>
                  <a:cubicBezTo>
                    <a:pt x="5" y="19"/>
                    <a:pt x="8" y="19"/>
                    <a:pt x="11" y="19"/>
                  </a:cubicBezTo>
                  <a:cubicBezTo>
                    <a:pt x="9" y="14"/>
                    <a:pt x="14" y="0"/>
                    <a:pt x="8" y="1"/>
                  </a:cubicBezTo>
                  <a:cubicBezTo>
                    <a:pt x="7" y="4"/>
                    <a:pt x="6" y="5"/>
                    <a:pt x="2" y="5"/>
                  </a:cubicBezTo>
                  <a:cubicBezTo>
                    <a:pt x="3" y="13"/>
                    <a:pt x="2" y="19"/>
                    <a:pt x="0" y="23"/>
                  </a:cubicBezTo>
                  <a:cubicBezTo>
                    <a:pt x="4" y="23"/>
                    <a:pt x="3" y="34"/>
                    <a:pt x="5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9" name="Freeform 151"/>
            <p:cNvSpPr>
              <a:spLocks/>
            </p:cNvSpPr>
            <p:nvPr userDrawn="1"/>
          </p:nvSpPr>
          <p:spPr bwMode="auto">
            <a:xfrm>
              <a:off x="3096347" y="4173384"/>
              <a:ext cx="67183" cy="85994"/>
            </a:xfrm>
            <a:custGeom>
              <a:avLst/>
              <a:gdLst>
                <a:gd name="T0" fmla="*/ 12 w 21"/>
                <a:gd name="T1" fmla="*/ 1 h 27"/>
                <a:gd name="T2" fmla="*/ 6 w 21"/>
                <a:gd name="T3" fmla="*/ 9 h 27"/>
                <a:gd name="T4" fmla="*/ 6 w 21"/>
                <a:gd name="T5" fmla="*/ 16 h 27"/>
                <a:gd name="T6" fmla="*/ 1 w 21"/>
                <a:gd name="T7" fmla="*/ 20 h 27"/>
                <a:gd name="T8" fmla="*/ 9 w 21"/>
                <a:gd name="T9" fmla="*/ 16 h 27"/>
                <a:gd name="T10" fmla="*/ 20 w 21"/>
                <a:gd name="T11" fmla="*/ 16 h 27"/>
                <a:gd name="T12" fmla="*/ 12 w 21"/>
                <a:gd name="T13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7">
                  <a:moveTo>
                    <a:pt x="12" y="1"/>
                  </a:moveTo>
                  <a:cubicBezTo>
                    <a:pt x="14" y="9"/>
                    <a:pt x="8" y="6"/>
                    <a:pt x="6" y="9"/>
                  </a:cubicBezTo>
                  <a:cubicBezTo>
                    <a:pt x="5" y="10"/>
                    <a:pt x="7" y="15"/>
                    <a:pt x="6" y="16"/>
                  </a:cubicBezTo>
                  <a:cubicBezTo>
                    <a:pt x="5" y="18"/>
                    <a:pt x="0" y="15"/>
                    <a:pt x="1" y="20"/>
                  </a:cubicBezTo>
                  <a:cubicBezTo>
                    <a:pt x="7" y="27"/>
                    <a:pt x="4" y="19"/>
                    <a:pt x="9" y="16"/>
                  </a:cubicBezTo>
                  <a:cubicBezTo>
                    <a:pt x="13" y="16"/>
                    <a:pt x="16" y="16"/>
                    <a:pt x="20" y="16"/>
                  </a:cubicBezTo>
                  <a:cubicBezTo>
                    <a:pt x="21" y="7"/>
                    <a:pt x="19" y="0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0" name="Freeform 152"/>
            <p:cNvSpPr>
              <a:spLocks/>
            </p:cNvSpPr>
            <p:nvPr userDrawn="1"/>
          </p:nvSpPr>
          <p:spPr bwMode="auto">
            <a:xfrm>
              <a:off x="2874645" y="4319842"/>
              <a:ext cx="44341" cy="100774"/>
            </a:xfrm>
            <a:custGeom>
              <a:avLst/>
              <a:gdLst>
                <a:gd name="T0" fmla="*/ 12 w 14"/>
                <a:gd name="T1" fmla="*/ 3 h 32"/>
                <a:gd name="T2" fmla="*/ 6 w 14"/>
                <a:gd name="T3" fmla="*/ 18 h 32"/>
                <a:gd name="T4" fmla="*/ 9 w 14"/>
                <a:gd name="T5" fmla="*/ 15 h 32"/>
                <a:gd name="T6" fmla="*/ 12 w 14"/>
                <a:gd name="T7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2">
                  <a:moveTo>
                    <a:pt x="12" y="3"/>
                  </a:moveTo>
                  <a:cubicBezTo>
                    <a:pt x="5" y="0"/>
                    <a:pt x="0" y="16"/>
                    <a:pt x="6" y="18"/>
                  </a:cubicBezTo>
                  <a:cubicBezTo>
                    <a:pt x="7" y="16"/>
                    <a:pt x="7" y="14"/>
                    <a:pt x="9" y="15"/>
                  </a:cubicBezTo>
                  <a:cubicBezTo>
                    <a:pt x="14" y="32"/>
                    <a:pt x="7" y="7"/>
                    <a:pt x="1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1" name="Freeform 153"/>
            <p:cNvSpPr>
              <a:spLocks/>
            </p:cNvSpPr>
            <p:nvPr userDrawn="1"/>
          </p:nvSpPr>
          <p:spPr bwMode="auto">
            <a:xfrm>
              <a:off x="2767153" y="4376275"/>
              <a:ext cx="60464" cy="48371"/>
            </a:xfrm>
            <a:custGeom>
              <a:avLst/>
              <a:gdLst>
                <a:gd name="T0" fmla="*/ 5 w 19"/>
                <a:gd name="T1" fmla="*/ 11 h 15"/>
                <a:gd name="T2" fmla="*/ 0 w 19"/>
                <a:gd name="T3" fmla="*/ 15 h 15"/>
                <a:gd name="T4" fmla="*/ 11 w 19"/>
                <a:gd name="T5" fmla="*/ 15 h 15"/>
                <a:gd name="T6" fmla="*/ 16 w 19"/>
                <a:gd name="T7" fmla="*/ 0 h 15"/>
                <a:gd name="T8" fmla="*/ 5 w 19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5" y="11"/>
                  </a:moveTo>
                  <a:cubicBezTo>
                    <a:pt x="7" y="10"/>
                    <a:pt x="0" y="7"/>
                    <a:pt x="0" y="15"/>
                  </a:cubicBezTo>
                  <a:cubicBezTo>
                    <a:pt x="4" y="15"/>
                    <a:pt x="7" y="15"/>
                    <a:pt x="11" y="15"/>
                  </a:cubicBezTo>
                  <a:cubicBezTo>
                    <a:pt x="8" y="3"/>
                    <a:pt x="19" y="12"/>
                    <a:pt x="16" y="0"/>
                  </a:cubicBezTo>
                  <a:cubicBezTo>
                    <a:pt x="9" y="2"/>
                    <a:pt x="10" y="7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2" name="Freeform 154"/>
            <p:cNvSpPr>
              <a:spLocks/>
            </p:cNvSpPr>
            <p:nvPr userDrawn="1"/>
          </p:nvSpPr>
          <p:spPr bwMode="auto">
            <a:xfrm>
              <a:off x="2842397" y="4360151"/>
              <a:ext cx="92712" cy="155864"/>
            </a:xfrm>
            <a:custGeom>
              <a:avLst/>
              <a:gdLst>
                <a:gd name="T0" fmla="*/ 16 w 29"/>
                <a:gd name="T1" fmla="*/ 27 h 49"/>
                <a:gd name="T2" fmla="*/ 11 w 29"/>
                <a:gd name="T3" fmla="*/ 13 h 49"/>
                <a:gd name="T4" fmla="*/ 0 w 29"/>
                <a:gd name="T5" fmla="*/ 13 h 49"/>
                <a:gd name="T6" fmla="*/ 8 w 29"/>
                <a:gd name="T7" fmla="*/ 31 h 49"/>
                <a:gd name="T8" fmla="*/ 6 w 29"/>
                <a:gd name="T9" fmla="*/ 46 h 49"/>
                <a:gd name="T10" fmla="*/ 14 w 29"/>
                <a:gd name="T11" fmla="*/ 31 h 49"/>
                <a:gd name="T12" fmla="*/ 24 w 29"/>
                <a:gd name="T13" fmla="*/ 27 h 49"/>
                <a:gd name="T14" fmla="*/ 27 w 29"/>
                <a:gd name="T15" fmla="*/ 31 h 49"/>
                <a:gd name="T16" fmla="*/ 16 w 29"/>
                <a:gd name="T17" fmla="*/ 2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49">
                  <a:moveTo>
                    <a:pt x="16" y="27"/>
                  </a:moveTo>
                  <a:cubicBezTo>
                    <a:pt x="11" y="21"/>
                    <a:pt x="14" y="16"/>
                    <a:pt x="11" y="13"/>
                  </a:cubicBezTo>
                  <a:cubicBezTo>
                    <a:pt x="9" y="27"/>
                    <a:pt x="1" y="0"/>
                    <a:pt x="0" y="13"/>
                  </a:cubicBezTo>
                  <a:cubicBezTo>
                    <a:pt x="4" y="17"/>
                    <a:pt x="4" y="27"/>
                    <a:pt x="8" y="31"/>
                  </a:cubicBezTo>
                  <a:cubicBezTo>
                    <a:pt x="9" y="38"/>
                    <a:pt x="8" y="43"/>
                    <a:pt x="6" y="46"/>
                  </a:cubicBezTo>
                  <a:cubicBezTo>
                    <a:pt x="18" y="49"/>
                    <a:pt x="9" y="32"/>
                    <a:pt x="14" y="31"/>
                  </a:cubicBezTo>
                  <a:cubicBezTo>
                    <a:pt x="19" y="39"/>
                    <a:pt x="21" y="32"/>
                    <a:pt x="24" y="27"/>
                  </a:cubicBezTo>
                  <a:cubicBezTo>
                    <a:pt x="25" y="30"/>
                    <a:pt x="25" y="32"/>
                    <a:pt x="27" y="31"/>
                  </a:cubicBezTo>
                  <a:cubicBezTo>
                    <a:pt x="29" y="18"/>
                    <a:pt x="18" y="25"/>
                    <a:pt x="1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3" name="Freeform 155"/>
            <p:cNvSpPr>
              <a:spLocks/>
            </p:cNvSpPr>
            <p:nvPr userDrawn="1"/>
          </p:nvSpPr>
          <p:spPr bwMode="auto">
            <a:xfrm>
              <a:off x="3156812" y="4385681"/>
              <a:ext cx="57777" cy="216328"/>
            </a:xfrm>
            <a:custGeom>
              <a:avLst/>
              <a:gdLst>
                <a:gd name="T0" fmla="*/ 11 w 18"/>
                <a:gd name="T1" fmla="*/ 12 h 68"/>
                <a:gd name="T2" fmla="*/ 1 w 18"/>
                <a:gd name="T3" fmla="*/ 12 h 68"/>
                <a:gd name="T4" fmla="*/ 3 w 18"/>
                <a:gd name="T5" fmla="*/ 16 h 68"/>
                <a:gd name="T6" fmla="*/ 1 w 18"/>
                <a:gd name="T7" fmla="*/ 27 h 68"/>
                <a:gd name="T8" fmla="*/ 9 w 18"/>
                <a:gd name="T9" fmla="*/ 19 h 68"/>
                <a:gd name="T10" fmla="*/ 11 w 18"/>
                <a:gd name="T11" fmla="*/ 38 h 68"/>
                <a:gd name="T12" fmla="*/ 6 w 18"/>
                <a:gd name="T13" fmla="*/ 60 h 68"/>
                <a:gd name="T14" fmla="*/ 6 w 18"/>
                <a:gd name="T15" fmla="*/ 68 h 68"/>
                <a:gd name="T16" fmla="*/ 14 w 18"/>
                <a:gd name="T17" fmla="*/ 56 h 68"/>
                <a:gd name="T18" fmla="*/ 14 w 18"/>
                <a:gd name="T19" fmla="*/ 34 h 68"/>
                <a:gd name="T20" fmla="*/ 11 w 18"/>
                <a:gd name="T21" fmla="*/ 1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68">
                  <a:moveTo>
                    <a:pt x="11" y="12"/>
                  </a:moveTo>
                  <a:cubicBezTo>
                    <a:pt x="9" y="26"/>
                    <a:pt x="2" y="0"/>
                    <a:pt x="1" y="12"/>
                  </a:cubicBezTo>
                  <a:cubicBezTo>
                    <a:pt x="2" y="12"/>
                    <a:pt x="4" y="13"/>
                    <a:pt x="3" y="16"/>
                  </a:cubicBezTo>
                  <a:cubicBezTo>
                    <a:pt x="3" y="20"/>
                    <a:pt x="0" y="21"/>
                    <a:pt x="1" y="27"/>
                  </a:cubicBezTo>
                  <a:cubicBezTo>
                    <a:pt x="6" y="28"/>
                    <a:pt x="6" y="22"/>
                    <a:pt x="9" y="19"/>
                  </a:cubicBezTo>
                  <a:cubicBezTo>
                    <a:pt x="8" y="28"/>
                    <a:pt x="9" y="34"/>
                    <a:pt x="11" y="38"/>
                  </a:cubicBezTo>
                  <a:cubicBezTo>
                    <a:pt x="5" y="38"/>
                    <a:pt x="6" y="50"/>
                    <a:pt x="6" y="60"/>
                  </a:cubicBezTo>
                  <a:cubicBezTo>
                    <a:pt x="6" y="64"/>
                    <a:pt x="2" y="66"/>
                    <a:pt x="6" y="68"/>
                  </a:cubicBezTo>
                  <a:cubicBezTo>
                    <a:pt x="9" y="64"/>
                    <a:pt x="11" y="60"/>
                    <a:pt x="14" y="56"/>
                  </a:cubicBezTo>
                  <a:cubicBezTo>
                    <a:pt x="12" y="46"/>
                    <a:pt x="12" y="45"/>
                    <a:pt x="14" y="34"/>
                  </a:cubicBezTo>
                  <a:cubicBezTo>
                    <a:pt x="9" y="25"/>
                    <a:pt x="18" y="19"/>
                    <a:pt x="1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4" name="Freeform 156"/>
            <p:cNvSpPr>
              <a:spLocks/>
            </p:cNvSpPr>
            <p:nvPr userDrawn="1"/>
          </p:nvSpPr>
          <p:spPr bwMode="auto">
            <a:xfrm>
              <a:off x="2709376" y="4439427"/>
              <a:ext cx="57777" cy="118241"/>
            </a:xfrm>
            <a:custGeom>
              <a:avLst/>
              <a:gdLst>
                <a:gd name="T0" fmla="*/ 7 w 18"/>
                <a:gd name="T1" fmla="*/ 2 h 37"/>
                <a:gd name="T2" fmla="*/ 2 w 18"/>
                <a:gd name="T3" fmla="*/ 17 h 37"/>
                <a:gd name="T4" fmla="*/ 10 w 18"/>
                <a:gd name="T5" fmla="*/ 32 h 37"/>
                <a:gd name="T6" fmla="*/ 13 w 18"/>
                <a:gd name="T7" fmla="*/ 36 h 37"/>
                <a:gd name="T8" fmla="*/ 15 w 18"/>
                <a:gd name="T9" fmla="*/ 17 h 37"/>
                <a:gd name="T10" fmla="*/ 15 w 18"/>
                <a:gd name="T11" fmla="*/ 10 h 37"/>
                <a:gd name="T12" fmla="*/ 18 w 18"/>
                <a:gd name="T13" fmla="*/ 10 h 37"/>
                <a:gd name="T14" fmla="*/ 7 w 18"/>
                <a:gd name="T15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37">
                  <a:moveTo>
                    <a:pt x="7" y="2"/>
                  </a:moveTo>
                  <a:cubicBezTo>
                    <a:pt x="11" y="12"/>
                    <a:pt x="11" y="28"/>
                    <a:pt x="2" y="17"/>
                  </a:cubicBezTo>
                  <a:cubicBezTo>
                    <a:pt x="0" y="29"/>
                    <a:pt x="11" y="22"/>
                    <a:pt x="10" y="32"/>
                  </a:cubicBezTo>
                  <a:cubicBezTo>
                    <a:pt x="7" y="32"/>
                    <a:pt x="8" y="37"/>
                    <a:pt x="13" y="36"/>
                  </a:cubicBezTo>
                  <a:cubicBezTo>
                    <a:pt x="12" y="27"/>
                    <a:pt x="13" y="21"/>
                    <a:pt x="15" y="17"/>
                  </a:cubicBezTo>
                  <a:cubicBezTo>
                    <a:pt x="13" y="17"/>
                    <a:pt x="12" y="11"/>
                    <a:pt x="15" y="10"/>
                  </a:cubicBezTo>
                  <a:cubicBezTo>
                    <a:pt x="15" y="12"/>
                    <a:pt x="18" y="14"/>
                    <a:pt x="18" y="10"/>
                  </a:cubicBezTo>
                  <a:cubicBezTo>
                    <a:pt x="13" y="10"/>
                    <a:pt x="15" y="0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5" name="Freeform 157"/>
            <p:cNvSpPr>
              <a:spLocks/>
            </p:cNvSpPr>
            <p:nvPr userDrawn="1"/>
          </p:nvSpPr>
          <p:spPr bwMode="auto">
            <a:xfrm>
              <a:off x="3214589" y="4446145"/>
              <a:ext cx="30904" cy="60464"/>
            </a:xfrm>
            <a:custGeom>
              <a:avLst/>
              <a:gdLst>
                <a:gd name="T0" fmla="*/ 10 w 10"/>
                <a:gd name="T1" fmla="*/ 15 h 19"/>
                <a:gd name="T2" fmla="*/ 2 w 10"/>
                <a:gd name="T3" fmla="*/ 0 h 19"/>
                <a:gd name="T4" fmla="*/ 2 w 10"/>
                <a:gd name="T5" fmla="*/ 19 h 19"/>
                <a:gd name="T6" fmla="*/ 7 w 10"/>
                <a:gd name="T7" fmla="*/ 19 h 19"/>
                <a:gd name="T8" fmla="*/ 10 w 10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9">
                  <a:moveTo>
                    <a:pt x="10" y="15"/>
                  </a:moveTo>
                  <a:cubicBezTo>
                    <a:pt x="2" y="17"/>
                    <a:pt x="7" y="1"/>
                    <a:pt x="2" y="0"/>
                  </a:cubicBezTo>
                  <a:cubicBezTo>
                    <a:pt x="0" y="12"/>
                    <a:pt x="7" y="12"/>
                    <a:pt x="2" y="19"/>
                  </a:cubicBezTo>
                  <a:cubicBezTo>
                    <a:pt x="3" y="19"/>
                    <a:pt x="5" y="19"/>
                    <a:pt x="7" y="19"/>
                  </a:cubicBezTo>
                  <a:cubicBezTo>
                    <a:pt x="9" y="19"/>
                    <a:pt x="10" y="18"/>
                    <a:pt x="1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6" name="Freeform 158"/>
            <p:cNvSpPr>
              <a:spLocks/>
            </p:cNvSpPr>
            <p:nvPr userDrawn="1"/>
          </p:nvSpPr>
          <p:spPr bwMode="auto">
            <a:xfrm>
              <a:off x="2998261" y="4427334"/>
              <a:ext cx="92712" cy="100774"/>
            </a:xfrm>
            <a:custGeom>
              <a:avLst/>
              <a:gdLst>
                <a:gd name="T0" fmla="*/ 21 w 29"/>
                <a:gd name="T1" fmla="*/ 25 h 32"/>
                <a:gd name="T2" fmla="*/ 2 w 29"/>
                <a:gd name="T3" fmla="*/ 14 h 32"/>
                <a:gd name="T4" fmla="*/ 5 w 29"/>
                <a:gd name="T5" fmla="*/ 21 h 32"/>
                <a:gd name="T6" fmla="*/ 0 w 29"/>
                <a:gd name="T7" fmla="*/ 25 h 32"/>
                <a:gd name="T8" fmla="*/ 13 w 29"/>
                <a:gd name="T9" fmla="*/ 18 h 32"/>
                <a:gd name="T10" fmla="*/ 16 w 29"/>
                <a:gd name="T11" fmla="*/ 32 h 32"/>
                <a:gd name="T12" fmla="*/ 29 w 29"/>
                <a:gd name="T13" fmla="*/ 32 h 32"/>
                <a:gd name="T14" fmla="*/ 29 w 29"/>
                <a:gd name="T15" fmla="*/ 14 h 32"/>
                <a:gd name="T16" fmla="*/ 19 w 29"/>
                <a:gd name="T17" fmla="*/ 10 h 32"/>
                <a:gd name="T18" fmla="*/ 21 w 29"/>
                <a:gd name="T19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2">
                  <a:moveTo>
                    <a:pt x="21" y="25"/>
                  </a:moveTo>
                  <a:cubicBezTo>
                    <a:pt x="15" y="24"/>
                    <a:pt x="11" y="0"/>
                    <a:pt x="2" y="14"/>
                  </a:cubicBezTo>
                  <a:cubicBezTo>
                    <a:pt x="4" y="15"/>
                    <a:pt x="5" y="17"/>
                    <a:pt x="5" y="21"/>
                  </a:cubicBezTo>
                  <a:cubicBezTo>
                    <a:pt x="3" y="22"/>
                    <a:pt x="0" y="21"/>
                    <a:pt x="0" y="25"/>
                  </a:cubicBezTo>
                  <a:cubicBezTo>
                    <a:pt x="9" y="21"/>
                    <a:pt x="8" y="26"/>
                    <a:pt x="13" y="18"/>
                  </a:cubicBezTo>
                  <a:cubicBezTo>
                    <a:pt x="13" y="24"/>
                    <a:pt x="14" y="29"/>
                    <a:pt x="16" y="32"/>
                  </a:cubicBezTo>
                  <a:cubicBezTo>
                    <a:pt x="22" y="32"/>
                    <a:pt x="24" y="25"/>
                    <a:pt x="29" y="32"/>
                  </a:cubicBezTo>
                  <a:cubicBezTo>
                    <a:pt x="29" y="26"/>
                    <a:pt x="29" y="20"/>
                    <a:pt x="29" y="14"/>
                  </a:cubicBezTo>
                  <a:cubicBezTo>
                    <a:pt x="25" y="14"/>
                    <a:pt x="21" y="13"/>
                    <a:pt x="19" y="10"/>
                  </a:cubicBezTo>
                  <a:cubicBezTo>
                    <a:pt x="15" y="19"/>
                    <a:pt x="29" y="22"/>
                    <a:pt x="21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7" name="Freeform 159"/>
            <p:cNvSpPr>
              <a:spLocks/>
            </p:cNvSpPr>
            <p:nvPr userDrawn="1"/>
          </p:nvSpPr>
          <p:spPr bwMode="auto">
            <a:xfrm>
              <a:off x="2970044" y="4494517"/>
              <a:ext cx="53746" cy="84650"/>
            </a:xfrm>
            <a:custGeom>
              <a:avLst/>
              <a:gdLst>
                <a:gd name="T0" fmla="*/ 9 w 17"/>
                <a:gd name="T1" fmla="*/ 19 h 27"/>
                <a:gd name="T2" fmla="*/ 17 w 17"/>
                <a:gd name="T3" fmla="*/ 19 h 27"/>
                <a:gd name="T4" fmla="*/ 9 w 17"/>
                <a:gd name="T5" fmla="*/ 15 h 27"/>
                <a:gd name="T6" fmla="*/ 0 w 17"/>
                <a:gd name="T7" fmla="*/ 19 h 27"/>
                <a:gd name="T8" fmla="*/ 9 w 17"/>
                <a:gd name="T9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7">
                  <a:moveTo>
                    <a:pt x="9" y="19"/>
                  </a:moveTo>
                  <a:cubicBezTo>
                    <a:pt x="9" y="27"/>
                    <a:pt x="16" y="27"/>
                    <a:pt x="17" y="19"/>
                  </a:cubicBezTo>
                  <a:cubicBezTo>
                    <a:pt x="12" y="16"/>
                    <a:pt x="3" y="0"/>
                    <a:pt x="9" y="15"/>
                  </a:cubicBezTo>
                  <a:cubicBezTo>
                    <a:pt x="5" y="16"/>
                    <a:pt x="1" y="14"/>
                    <a:pt x="0" y="19"/>
                  </a:cubicBezTo>
                  <a:cubicBezTo>
                    <a:pt x="4" y="20"/>
                    <a:pt x="5" y="23"/>
                    <a:pt x="9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8" name="Freeform 160"/>
            <p:cNvSpPr>
              <a:spLocks/>
            </p:cNvSpPr>
            <p:nvPr userDrawn="1"/>
          </p:nvSpPr>
          <p:spPr bwMode="auto">
            <a:xfrm>
              <a:off x="2979450" y="4636944"/>
              <a:ext cx="57777" cy="126303"/>
            </a:xfrm>
            <a:custGeom>
              <a:avLst/>
              <a:gdLst>
                <a:gd name="T0" fmla="*/ 8 w 18"/>
                <a:gd name="T1" fmla="*/ 25 h 40"/>
                <a:gd name="T2" fmla="*/ 6 w 18"/>
                <a:gd name="T3" fmla="*/ 0 h 40"/>
                <a:gd name="T4" fmla="*/ 0 w 18"/>
                <a:gd name="T5" fmla="*/ 18 h 40"/>
                <a:gd name="T6" fmla="*/ 6 w 18"/>
                <a:gd name="T7" fmla="*/ 40 h 40"/>
                <a:gd name="T8" fmla="*/ 14 w 18"/>
                <a:gd name="T9" fmla="*/ 40 h 40"/>
                <a:gd name="T10" fmla="*/ 8 w 18"/>
                <a:gd name="T11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0">
                  <a:moveTo>
                    <a:pt x="8" y="25"/>
                  </a:moveTo>
                  <a:cubicBezTo>
                    <a:pt x="7" y="19"/>
                    <a:pt x="14" y="6"/>
                    <a:pt x="6" y="0"/>
                  </a:cubicBezTo>
                  <a:cubicBezTo>
                    <a:pt x="3" y="12"/>
                    <a:pt x="14" y="21"/>
                    <a:pt x="0" y="18"/>
                  </a:cubicBezTo>
                  <a:cubicBezTo>
                    <a:pt x="1" y="31"/>
                    <a:pt x="12" y="25"/>
                    <a:pt x="6" y="40"/>
                  </a:cubicBezTo>
                  <a:cubicBezTo>
                    <a:pt x="8" y="40"/>
                    <a:pt x="11" y="40"/>
                    <a:pt x="14" y="40"/>
                  </a:cubicBezTo>
                  <a:cubicBezTo>
                    <a:pt x="18" y="31"/>
                    <a:pt x="9" y="32"/>
                    <a:pt x="8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9" name="Freeform 161"/>
            <p:cNvSpPr>
              <a:spLocks/>
            </p:cNvSpPr>
            <p:nvPr userDrawn="1"/>
          </p:nvSpPr>
          <p:spPr bwMode="auto">
            <a:xfrm>
              <a:off x="3046632" y="4667848"/>
              <a:ext cx="91368" cy="118241"/>
            </a:xfrm>
            <a:custGeom>
              <a:avLst/>
              <a:gdLst>
                <a:gd name="T0" fmla="*/ 25 w 29"/>
                <a:gd name="T1" fmla="*/ 19 h 37"/>
                <a:gd name="T2" fmla="*/ 9 w 29"/>
                <a:gd name="T3" fmla="*/ 15 h 37"/>
                <a:gd name="T4" fmla="*/ 1 w 29"/>
                <a:gd name="T5" fmla="*/ 23 h 37"/>
                <a:gd name="T6" fmla="*/ 11 w 29"/>
                <a:gd name="T7" fmla="*/ 34 h 37"/>
                <a:gd name="T8" fmla="*/ 17 w 29"/>
                <a:gd name="T9" fmla="*/ 27 h 37"/>
                <a:gd name="T10" fmla="*/ 25 w 29"/>
                <a:gd name="T11" fmla="*/ 30 h 37"/>
                <a:gd name="T12" fmla="*/ 25 w 29"/>
                <a:gd name="T13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37">
                  <a:moveTo>
                    <a:pt x="25" y="19"/>
                  </a:moveTo>
                  <a:cubicBezTo>
                    <a:pt x="19" y="36"/>
                    <a:pt x="14" y="0"/>
                    <a:pt x="9" y="15"/>
                  </a:cubicBezTo>
                  <a:cubicBezTo>
                    <a:pt x="17" y="23"/>
                    <a:pt x="0" y="9"/>
                    <a:pt x="1" y="23"/>
                  </a:cubicBezTo>
                  <a:cubicBezTo>
                    <a:pt x="8" y="22"/>
                    <a:pt x="3" y="37"/>
                    <a:pt x="11" y="34"/>
                  </a:cubicBezTo>
                  <a:cubicBezTo>
                    <a:pt x="15" y="34"/>
                    <a:pt x="14" y="28"/>
                    <a:pt x="17" y="27"/>
                  </a:cubicBezTo>
                  <a:cubicBezTo>
                    <a:pt x="17" y="31"/>
                    <a:pt x="21" y="31"/>
                    <a:pt x="25" y="30"/>
                  </a:cubicBezTo>
                  <a:cubicBezTo>
                    <a:pt x="24" y="24"/>
                    <a:pt x="29" y="21"/>
                    <a:pt x="2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0" name="Freeform 162"/>
            <p:cNvSpPr>
              <a:spLocks/>
            </p:cNvSpPr>
            <p:nvPr userDrawn="1"/>
          </p:nvSpPr>
          <p:spPr bwMode="auto">
            <a:xfrm>
              <a:off x="3191747" y="4753841"/>
              <a:ext cx="79275" cy="67183"/>
            </a:xfrm>
            <a:custGeom>
              <a:avLst/>
              <a:gdLst>
                <a:gd name="T0" fmla="*/ 0 w 25"/>
                <a:gd name="T1" fmla="*/ 11 h 21"/>
                <a:gd name="T2" fmla="*/ 14 w 25"/>
                <a:gd name="T3" fmla="*/ 18 h 21"/>
                <a:gd name="T4" fmla="*/ 25 w 25"/>
                <a:gd name="T5" fmla="*/ 7 h 21"/>
                <a:gd name="T6" fmla="*/ 14 w 25"/>
                <a:gd name="T7" fmla="*/ 11 h 21"/>
                <a:gd name="T8" fmla="*/ 0 w 25"/>
                <a:gd name="T9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1">
                  <a:moveTo>
                    <a:pt x="0" y="11"/>
                  </a:moveTo>
                  <a:cubicBezTo>
                    <a:pt x="9" y="8"/>
                    <a:pt x="6" y="21"/>
                    <a:pt x="14" y="18"/>
                  </a:cubicBezTo>
                  <a:cubicBezTo>
                    <a:pt x="18" y="14"/>
                    <a:pt x="22" y="12"/>
                    <a:pt x="25" y="7"/>
                  </a:cubicBezTo>
                  <a:cubicBezTo>
                    <a:pt x="20" y="7"/>
                    <a:pt x="19" y="11"/>
                    <a:pt x="14" y="11"/>
                  </a:cubicBezTo>
                  <a:cubicBezTo>
                    <a:pt x="11" y="11"/>
                    <a:pt x="2" y="0"/>
                    <a:pt x="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1" name="Freeform 163"/>
            <p:cNvSpPr>
              <a:spLocks/>
            </p:cNvSpPr>
            <p:nvPr userDrawn="1"/>
          </p:nvSpPr>
          <p:spPr bwMode="auto">
            <a:xfrm>
              <a:off x="3030508" y="3239546"/>
              <a:ext cx="69870" cy="64495"/>
            </a:xfrm>
            <a:custGeom>
              <a:avLst/>
              <a:gdLst>
                <a:gd name="T0" fmla="*/ 19 w 22"/>
                <a:gd name="T1" fmla="*/ 0 h 20"/>
                <a:gd name="T2" fmla="*/ 3 w 22"/>
                <a:gd name="T3" fmla="*/ 0 h 20"/>
                <a:gd name="T4" fmla="*/ 0 w 22"/>
                <a:gd name="T5" fmla="*/ 11 h 20"/>
                <a:gd name="T6" fmla="*/ 22 w 22"/>
                <a:gd name="T7" fmla="*/ 18 h 20"/>
                <a:gd name="T8" fmla="*/ 19 w 22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0">
                  <a:moveTo>
                    <a:pt x="19" y="0"/>
                  </a:moveTo>
                  <a:cubicBezTo>
                    <a:pt x="14" y="0"/>
                    <a:pt x="9" y="0"/>
                    <a:pt x="3" y="0"/>
                  </a:cubicBezTo>
                  <a:cubicBezTo>
                    <a:pt x="3" y="5"/>
                    <a:pt x="2" y="8"/>
                    <a:pt x="0" y="11"/>
                  </a:cubicBezTo>
                  <a:cubicBezTo>
                    <a:pt x="6" y="15"/>
                    <a:pt x="11" y="20"/>
                    <a:pt x="22" y="18"/>
                  </a:cubicBezTo>
                  <a:cubicBezTo>
                    <a:pt x="21" y="5"/>
                    <a:pt x="15" y="13"/>
                    <a:pt x="1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2" name="Freeform 164"/>
            <p:cNvSpPr>
              <a:spLocks/>
            </p:cNvSpPr>
            <p:nvPr userDrawn="1"/>
          </p:nvSpPr>
          <p:spPr bwMode="auto">
            <a:xfrm>
              <a:off x="3116502" y="4325216"/>
              <a:ext cx="44341" cy="64495"/>
            </a:xfrm>
            <a:custGeom>
              <a:avLst/>
              <a:gdLst>
                <a:gd name="T0" fmla="*/ 6 w 14"/>
                <a:gd name="T1" fmla="*/ 1 h 20"/>
                <a:gd name="T2" fmla="*/ 3 w 14"/>
                <a:gd name="T3" fmla="*/ 20 h 20"/>
                <a:gd name="T4" fmla="*/ 14 w 14"/>
                <a:gd name="T5" fmla="*/ 20 h 20"/>
                <a:gd name="T6" fmla="*/ 6 w 14"/>
                <a:gd name="T7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0">
                  <a:moveTo>
                    <a:pt x="6" y="1"/>
                  </a:moveTo>
                  <a:cubicBezTo>
                    <a:pt x="0" y="9"/>
                    <a:pt x="8" y="13"/>
                    <a:pt x="3" y="20"/>
                  </a:cubicBezTo>
                  <a:cubicBezTo>
                    <a:pt x="7" y="20"/>
                    <a:pt x="10" y="20"/>
                    <a:pt x="14" y="20"/>
                  </a:cubicBezTo>
                  <a:cubicBezTo>
                    <a:pt x="14" y="9"/>
                    <a:pt x="14" y="0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3" name="Freeform 165"/>
            <p:cNvSpPr>
              <a:spLocks/>
            </p:cNvSpPr>
            <p:nvPr userDrawn="1"/>
          </p:nvSpPr>
          <p:spPr bwMode="auto">
            <a:xfrm>
              <a:off x="7714479" y="2323175"/>
              <a:ext cx="4031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4" name="Freeform 166"/>
            <p:cNvSpPr>
              <a:spLocks/>
            </p:cNvSpPr>
            <p:nvPr userDrawn="1"/>
          </p:nvSpPr>
          <p:spPr bwMode="auto">
            <a:xfrm>
              <a:off x="2783277" y="4115607"/>
              <a:ext cx="56433" cy="51059"/>
            </a:xfrm>
            <a:custGeom>
              <a:avLst/>
              <a:gdLst>
                <a:gd name="T0" fmla="*/ 11 w 18"/>
                <a:gd name="T1" fmla="*/ 8 h 16"/>
                <a:gd name="T2" fmla="*/ 14 w 18"/>
                <a:gd name="T3" fmla="*/ 16 h 16"/>
                <a:gd name="T4" fmla="*/ 6 w 18"/>
                <a:gd name="T5" fmla="*/ 5 h 16"/>
                <a:gd name="T6" fmla="*/ 6 w 18"/>
                <a:gd name="T7" fmla="*/ 1 h 16"/>
                <a:gd name="T8" fmla="*/ 0 w 18"/>
                <a:gd name="T9" fmla="*/ 1 h 16"/>
                <a:gd name="T10" fmla="*/ 11 w 1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6">
                  <a:moveTo>
                    <a:pt x="11" y="8"/>
                  </a:moveTo>
                  <a:cubicBezTo>
                    <a:pt x="12" y="11"/>
                    <a:pt x="11" y="16"/>
                    <a:pt x="14" y="16"/>
                  </a:cubicBezTo>
                  <a:cubicBezTo>
                    <a:pt x="18" y="2"/>
                    <a:pt x="9" y="7"/>
                    <a:pt x="6" y="5"/>
                  </a:cubicBezTo>
                  <a:cubicBezTo>
                    <a:pt x="5" y="4"/>
                    <a:pt x="6" y="1"/>
                    <a:pt x="6" y="1"/>
                  </a:cubicBezTo>
                  <a:cubicBezTo>
                    <a:pt x="5" y="0"/>
                    <a:pt x="1" y="2"/>
                    <a:pt x="0" y="1"/>
                  </a:cubicBezTo>
                  <a:cubicBezTo>
                    <a:pt x="2" y="6"/>
                    <a:pt x="6" y="8"/>
                    <a:pt x="1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5" name="Freeform 167"/>
            <p:cNvSpPr>
              <a:spLocks/>
            </p:cNvSpPr>
            <p:nvPr userDrawn="1"/>
          </p:nvSpPr>
          <p:spPr bwMode="auto">
            <a:xfrm>
              <a:off x="3414793" y="2509943"/>
              <a:ext cx="2687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6" name="Freeform 168"/>
            <p:cNvSpPr>
              <a:spLocks noEditPoints="1"/>
            </p:cNvSpPr>
            <p:nvPr userDrawn="1"/>
          </p:nvSpPr>
          <p:spPr bwMode="auto">
            <a:xfrm>
              <a:off x="2541419" y="1687628"/>
              <a:ext cx="6608080" cy="4310435"/>
            </a:xfrm>
            <a:custGeom>
              <a:avLst/>
              <a:gdLst>
                <a:gd name="T0" fmla="*/ 1924 w 2082"/>
                <a:gd name="T1" fmla="*/ 100 h 1358"/>
                <a:gd name="T2" fmla="*/ 1692 w 2082"/>
                <a:gd name="T3" fmla="*/ 41 h 1358"/>
                <a:gd name="T4" fmla="*/ 1606 w 2082"/>
                <a:gd name="T5" fmla="*/ 174 h 1358"/>
                <a:gd name="T6" fmla="*/ 1364 w 2082"/>
                <a:gd name="T7" fmla="*/ 145 h 1358"/>
                <a:gd name="T8" fmla="*/ 1063 w 2082"/>
                <a:gd name="T9" fmla="*/ 100 h 1358"/>
                <a:gd name="T10" fmla="*/ 738 w 2082"/>
                <a:gd name="T11" fmla="*/ 78 h 1358"/>
                <a:gd name="T12" fmla="*/ 356 w 2082"/>
                <a:gd name="T13" fmla="*/ 22 h 1358"/>
                <a:gd name="T14" fmla="*/ 17 w 2082"/>
                <a:gd name="T15" fmla="*/ 333 h 1358"/>
                <a:gd name="T16" fmla="*/ 36 w 2082"/>
                <a:gd name="T17" fmla="*/ 751 h 1358"/>
                <a:gd name="T18" fmla="*/ 176 w 2082"/>
                <a:gd name="T19" fmla="*/ 662 h 1358"/>
                <a:gd name="T20" fmla="*/ 243 w 2082"/>
                <a:gd name="T21" fmla="*/ 884 h 1358"/>
                <a:gd name="T22" fmla="*/ 698 w 2082"/>
                <a:gd name="T23" fmla="*/ 1210 h 1358"/>
                <a:gd name="T24" fmla="*/ 1101 w 2082"/>
                <a:gd name="T25" fmla="*/ 1287 h 1358"/>
                <a:gd name="T26" fmla="*/ 1480 w 2082"/>
                <a:gd name="T27" fmla="*/ 1317 h 1358"/>
                <a:gd name="T28" fmla="*/ 1881 w 2082"/>
                <a:gd name="T29" fmla="*/ 1350 h 1358"/>
                <a:gd name="T30" fmla="*/ 189 w 2082"/>
                <a:gd name="T31" fmla="*/ 644 h 1358"/>
                <a:gd name="T32" fmla="*/ 146 w 2082"/>
                <a:gd name="T33" fmla="*/ 403 h 1358"/>
                <a:gd name="T34" fmla="*/ 111 w 2082"/>
                <a:gd name="T35" fmla="*/ 599 h 1358"/>
                <a:gd name="T36" fmla="*/ 135 w 2082"/>
                <a:gd name="T37" fmla="*/ 485 h 1358"/>
                <a:gd name="T38" fmla="*/ 165 w 2082"/>
                <a:gd name="T39" fmla="*/ 267 h 1358"/>
                <a:gd name="T40" fmla="*/ 74 w 2082"/>
                <a:gd name="T41" fmla="*/ 218 h 1358"/>
                <a:gd name="T42" fmla="*/ 130 w 2082"/>
                <a:gd name="T43" fmla="*/ 659 h 1358"/>
                <a:gd name="T44" fmla="*/ 157 w 2082"/>
                <a:gd name="T45" fmla="*/ 448 h 1358"/>
                <a:gd name="T46" fmla="*/ 447 w 2082"/>
                <a:gd name="T47" fmla="*/ 648 h 1358"/>
                <a:gd name="T48" fmla="*/ 353 w 2082"/>
                <a:gd name="T49" fmla="*/ 755 h 1358"/>
                <a:gd name="T50" fmla="*/ 267 w 2082"/>
                <a:gd name="T51" fmla="*/ 537 h 1358"/>
                <a:gd name="T52" fmla="*/ 246 w 2082"/>
                <a:gd name="T53" fmla="*/ 448 h 1358"/>
                <a:gd name="T54" fmla="*/ 386 w 2082"/>
                <a:gd name="T55" fmla="*/ 307 h 1358"/>
                <a:gd name="T56" fmla="*/ 375 w 2082"/>
                <a:gd name="T57" fmla="*/ 311 h 1358"/>
                <a:gd name="T58" fmla="*/ 321 w 2082"/>
                <a:gd name="T59" fmla="*/ 570 h 1358"/>
                <a:gd name="T60" fmla="*/ 316 w 2082"/>
                <a:gd name="T61" fmla="*/ 385 h 1358"/>
                <a:gd name="T62" fmla="*/ 294 w 2082"/>
                <a:gd name="T63" fmla="*/ 699 h 1358"/>
                <a:gd name="T64" fmla="*/ 351 w 2082"/>
                <a:gd name="T65" fmla="*/ 651 h 1358"/>
                <a:gd name="T66" fmla="*/ 412 w 2082"/>
                <a:gd name="T67" fmla="*/ 614 h 1358"/>
                <a:gd name="T68" fmla="*/ 353 w 2082"/>
                <a:gd name="T69" fmla="*/ 307 h 1358"/>
                <a:gd name="T70" fmla="*/ 275 w 2082"/>
                <a:gd name="T71" fmla="*/ 178 h 1358"/>
                <a:gd name="T72" fmla="*/ 230 w 2082"/>
                <a:gd name="T73" fmla="*/ 163 h 1358"/>
                <a:gd name="T74" fmla="*/ 254 w 2082"/>
                <a:gd name="T75" fmla="*/ 670 h 1358"/>
                <a:gd name="T76" fmla="*/ 308 w 2082"/>
                <a:gd name="T77" fmla="*/ 762 h 1358"/>
                <a:gd name="T78" fmla="*/ 496 w 2082"/>
                <a:gd name="T79" fmla="*/ 807 h 1358"/>
                <a:gd name="T80" fmla="*/ 918 w 2082"/>
                <a:gd name="T81" fmla="*/ 1235 h 1358"/>
                <a:gd name="T82" fmla="*/ 1176 w 2082"/>
                <a:gd name="T83" fmla="*/ 1217 h 1358"/>
                <a:gd name="T84" fmla="*/ 1260 w 2082"/>
                <a:gd name="T85" fmla="*/ 237 h 1358"/>
                <a:gd name="T86" fmla="*/ 1319 w 2082"/>
                <a:gd name="T87" fmla="*/ 196 h 1358"/>
                <a:gd name="T88" fmla="*/ 1566 w 2082"/>
                <a:gd name="T89" fmla="*/ 263 h 1358"/>
                <a:gd name="T90" fmla="*/ 1448 w 2082"/>
                <a:gd name="T91" fmla="*/ 167 h 1358"/>
                <a:gd name="T92" fmla="*/ 1367 w 2082"/>
                <a:gd name="T93" fmla="*/ 599 h 1358"/>
                <a:gd name="T94" fmla="*/ 1415 w 2082"/>
                <a:gd name="T95" fmla="*/ 1306 h 1358"/>
                <a:gd name="T96" fmla="*/ 1467 w 2082"/>
                <a:gd name="T97" fmla="*/ 640 h 1358"/>
                <a:gd name="T98" fmla="*/ 1553 w 2082"/>
                <a:gd name="T99" fmla="*/ 1291 h 1358"/>
                <a:gd name="T100" fmla="*/ 2055 w 2082"/>
                <a:gd name="T101" fmla="*/ 562 h 1358"/>
                <a:gd name="T102" fmla="*/ 1996 w 2082"/>
                <a:gd name="T103" fmla="*/ 537 h 1358"/>
                <a:gd name="T104" fmla="*/ 1948 w 2082"/>
                <a:gd name="T105" fmla="*/ 178 h 1358"/>
                <a:gd name="T106" fmla="*/ 1918 w 2082"/>
                <a:gd name="T107" fmla="*/ 71 h 1358"/>
                <a:gd name="T108" fmla="*/ 1840 w 2082"/>
                <a:gd name="T109" fmla="*/ 170 h 1358"/>
                <a:gd name="T110" fmla="*/ 1738 w 2082"/>
                <a:gd name="T111" fmla="*/ 1265 h 1358"/>
                <a:gd name="T112" fmla="*/ 1730 w 2082"/>
                <a:gd name="T113" fmla="*/ 603 h 1358"/>
                <a:gd name="T114" fmla="*/ 1666 w 2082"/>
                <a:gd name="T115" fmla="*/ 215 h 1358"/>
                <a:gd name="T116" fmla="*/ 1746 w 2082"/>
                <a:gd name="T117" fmla="*/ 1295 h 1358"/>
                <a:gd name="T118" fmla="*/ 1811 w 2082"/>
                <a:gd name="T119" fmla="*/ 1254 h 1358"/>
                <a:gd name="T120" fmla="*/ 1848 w 2082"/>
                <a:gd name="T121" fmla="*/ 215 h 1358"/>
                <a:gd name="T122" fmla="*/ 1899 w 2082"/>
                <a:gd name="T123" fmla="*/ 1199 h 1358"/>
                <a:gd name="T124" fmla="*/ 2039 w 2082"/>
                <a:gd name="T125" fmla="*/ 1306 h 1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82" h="1358">
                  <a:moveTo>
                    <a:pt x="2050" y="100"/>
                  </a:moveTo>
                  <a:cubicBezTo>
                    <a:pt x="2048" y="103"/>
                    <a:pt x="2053" y="115"/>
                    <a:pt x="2045" y="119"/>
                  </a:cubicBezTo>
                  <a:cubicBezTo>
                    <a:pt x="2041" y="120"/>
                    <a:pt x="2037" y="118"/>
                    <a:pt x="2034" y="119"/>
                  </a:cubicBezTo>
                  <a:cubicBezTo>
                    <a:pt x="2032" y="131"/>
                    <a:pt x="2045" y="123"/>
                    <a:pt x="2042" y="137"/>
                  </a:cubicBezTo>
                  <a:cubicBezTo>
                    <a:pt x="2047" y="138"/>
                    <a:pt x="2047" y="132"/>
                    <a:pt x="2050" y="130"/>
                  </a:cubicBezTo>
                  <a:cubicBezTo>
                    <a:pt x="2050" y="133"/>
                    <a:pt x="2050" y="137"/>
                    <a:pt x="2050" y="141"/>
                  </a:cubicBezTo>
                  <a:cubicBezTo>
                    <a:pt x="2057" y="143"/>
                    <a:pt x="2071" y="136"/>
                    <a:pt x="2074" y="145"/>
                  </a:cubicBezTo>
                  <a:cubicBezTo>
                    <a:pt x="2074" y="147"/>
                    <a:pt x="2074" y="152"/>
                    <a:pt x="2072" y="152"/>
                  </a:cubicBezTo>
                  <a:cubicBezTo>
                    <a:pt x="2067" y="151"/>
                    <a:pt x="2062" y="141"/>
                    <a:pt x="2058" y="145"/>
                  </a:cubicBezTo>
                  <a:cubicBezTo>
                    <a:pt x="2057" y="146"/>
                    <a:pt x="2059" y="153"/>
                    <a:pt x="2055" y="152"/>
                  </a:cubicBezTo>
                  <a:cubicBezTo>
                    <a:pt x="2053" y="144"/>
                    <a:pt x="2049" y="139"/>
                    <a:pt x="2039" y="141"/>
                  </a:cubicBezTo>
                  <a:cubicBezTo>
                    <a:pt x="2041" y="153"/>
                    <a:pt x="2037" y="158"/>
                    <a:pt x="2037" y="167"/>
                  </a:cubicBezTo>
                  <a:cubicBezTo>
                    <a:pt x="2048" y="170"/>
                    <a:pt x="2047" y="157"/>
                    <a:pt x="2053" y="152"/>
                  </a:cubicBezTo>
                  <a:cubicBezTo>
                    <a:pt x="2050" y="162"/>
                    <a:pt x="2057" y="162"/>
                    <a:pt x="2055" y="170"/>
                  </a:cubicBezTo>
                  <a:cubicBezTo>
                    <a:pt x="2059" y="171"/>
                    <a:pt x="2062" y="171"/>
                    <a:pt x="2061" y="178"/>
                  </a:cubicBezTo>
                  <a:cubicBezTo>
                    <a:pt x="2057" y="172"/>
                    <a:pt x="2050" y="170"/>
                    <a:pt x="2045" y="167"/>
                  </a:cubicBezTo>
                  <a:cubicBezTo>
                    <a:pt x="2042" y="172"/>
                    <a:pt x="2043" y="181"/>
                    <a:pt x="2034" y="178"/>
                  </a:cubicBezTo>
                  <a:cubicBezTo>
                    <a:pt x="2038" y="165"/>
                    <a:pt x="2033" y="151"/>
                    <a:pt x="2037" y="137"/>
                  </a:cubicBezTo>
                  <a:cubicBezTo>
                    <a:pt x="2032" y="137"/>
                    <a:pt x="2034" y="128"/>
                    <a:pt x="2029" y="130"/>
                  </a:cubicBezTo>
                  <a:cubicBezTo>
                    <a:pt x="2028" y="137"/>
                    <a:pt x="2032" y="137"/>
                    <a:pt x="2034" y="141"/>
                  </a:cubicBezTo>
                  <a:cubicBezTo>
                    <a:pt x="2028" y="144"/>
                    <a:pt x="2032" y="154"/>
                    <a:pt x="2031" y="159"/>
                  </a:cubicBezTo>
                  <a:cubicBezTo>
                    <a:pt x="2031" y="160"/>
                    <a:pt x="2029" y="160"/>
                    <a:pt x="2029" y="163"/>
                  </a:cubicBezTo>
                  <a:cubicBezTo>
                    <a:pt x="2028" y="168"/>
                    <a:pt x="2028" y="171"/>
                    <a:pt x="2026" y="174"/>
                  </a:cubicBezTo>
                  <a:cubicBezTo>
                    <a:pt x="2023" y="180"/>
                    <a:pt x="2024" y="190"/>
                    <a:pt x="2020" y="193"/>
                  </a:cubicBezTo>
                  <a:cubicBezTo>
                    <a:pt x="2013" y="185"/>
                    <a:pt x="2023" y="171"/>
                    <a:pt x="2026" y="167"/>
                  </a:cubicBezTo>
                  <a:cubicBezTo>
                    <a:pt x="2027" y="155"/>
                    <a:pt x="2019" y="157"/>
                    <a:pt x="2018" y="148"/>
                  </a:cubicBezTo>
                  <a:cubicBezTo>
                    <a:pt x="2021" y="148"/>
                    <a:pt x="2022" y="153"/>
                    <a:pt x="2026" y="152"/>
                  </a:cubicBezTo>
                  <a:cubicBezTo>
                    <a:pt x="2029" y="152"/>
                    <a:pt x="2029" y="142"/>
                    <a:pt x="2026" y="141"/>
                  </a:cubicBezTo>
                  <a:cubicBezTo>
                    <a:pt x="2026" y="156"/>
                    <a:pt x="2022" y="141"/>
                    <a:pt x="2020" y="137"/>
                  </a:cubicBezTo>
                  <a:cubicBezTo>
                    <a:pt x="2012" y="140"/>
                    <a:pt x="2015" y="140"/>
                    <a:pt x="2007" y="137"/>
                  </a:cubicBezTo>
                  <a:cubicBezTo>
                    <a:pt x="2000" y="144"/>
                    <a:pt x="2009" y="172"/>
                    <a:pt x="2002" y="178"/>
                  </a:cubicBezTo>
                  <a:cubicBezTo>
                    <a:pt x="1999" y="168"/>
                    <a:pt x="1995" y="172"/>
                    <a:pt x="1999" y="167"/>
                  </a:cubicBezTo>
                  <a:cubicBezTo>
                    <a:pt x="2001" y="164"/>
                    <a:pt x="1990" y="162"/>
                    <a:pt x="1991" y="159"/>
                  </a:cubicBezTo>
                  <a:cubicBezTo>
                    <a:pt x="1990" y="153"/>
                    <a:pt x="1995" y="150"/>
                    <a:pt x="1991" y="148"/>
                  </a:cubicBezTo>
                  <a:cubicBezTo>
                    <a:pt x="1991" y="150"/>
                    <a:pt x="1989" y="152"/>
                    <a:pt x="1988" y="148"/>
                  </a:cubicBezTo>
                  <a:cubicBezTo>
                    <a:pt x="1994" y="147"/>
                    <a:pt x="1995" y="141"/>
                    <a:pt x="1999" y="137"/>
                  </a:cubicBezTo>
                  <a:cubicBezTo>
                    <a:pt x="2000" y="143"/>
                    <a:pt x="2002" y="136"/>
                    <a:pt x="2007" y="137"/>
                  </a:cubicBezTo>
                  <a:cubicBezTo>
                    <a:pt x="2009" y="134"/>
                    <a:pt x="2008" y="129"/>
                    <a:pt x="2010" y="126"/>
                  </a:cubicBezTo>
                  <a:cubicBezTo>
                    <a:pt x="2010" y="126"/>
                    <a:pt x="2012" y="126"/>
                    <a:pt x="2012" y="126"/>
                  </a:cubicBezTo>
                  <a:cubicBezTo>
                    <a:pt x="2013" y="121"/>
                    <a:pt x="2010" y="118"/>
                    <a:pt x="2010" y="115"/>
                  </a:cubicBezTo>
                  <a:cubicBezTo>
                    <a:pt x="2010" y="115"/>
                    <a:pt x="2013" y="114"/>
                    <a:pt x="2012" y="111"/>
                  </a:cubicBezTo>
                  <a:cubicBezTo>
                    <a:pt x="2012" y="111"/>
                    <a:pt x="2007" y="109"/>
                    <a:pt x="2007" y="108"/>
                  </a:cubicBezTo>
                  <a:cubicBezTo>
                    <a:pt x="2007" y="113"/>
                    <a:pt x="2007" y="120"/>
                    <a:pt x="2002" y="119"/>
                  </a:cubicBezTo>
                  <a:cubicBezTo>
                    <a:pt x="2001" y="112"/>
                    <a:pt x="2005" y="111"/>
                    <a:pt x="2004" y="104"/>
                  </a:cubicBezTo>
                  <a:cubicBezTo>
                    <a:pt x="2001" y="104"/>
                    <a:pt x="1998" y="106"/>
                    <a:pt x="1996" y="108"/>
                  </a:cubicBezTo>
                  <a:cubicBezTo>
                    <a:pt x="2003" y="102"/>
                    <a:pt x="1993" y="95"/>
                    <a:pt x="1988" y="96"/>
                  </a:cubicBezTo>
                  <a:cubicBezTo>
                    <a:pt x="1985" y="98"/>
                    <a:pt x="1986" y="102"/>
                    <a:pt x="1983" y="104"/>
                  </a:cubicBezTo>
                  <a:cubicBezTo>
                    <a:pt x="1983" y="99"/>
                    <a:pt x="1984" y="96"/>
                    <a:pt x="1986" y="93"/>
                  </a:cubicBezTo>
                  <a:cubicBezTo>
                    <a:pt x="1982" y="93"/>
                    <a:pt x="1978" y="93"/>
                    <a:pt x="1975" y="93"/>
                  </a:cubicBezTo>
                  <a:cubicBezTo>
                    <a:pt x="1974" y="97"/>
                    <a:pt x="1975" y="103"/>
                    <a:pt x="1972" y="104"/>
                  </a:cubicBezTo>
                  <a:cubicBezTo>
                    <a:pt x="1969" y="104"/>
                    <a:pt x="1970" y="97"/>
                    <a:pt x="1967" y="96"/>
                  </a:cubicBezTo>
                  <a:cubicBezTo>
                    <a:pt x="1967" y="97"/>
                    <a:pt x="1960" y="104"/>
                    <a:pt x="1956" y="100"/>
                  </a:cubicBezTo>
                  <a:cubicBezTo>
                    <a:pt x="1955" y="90"/>
                    <a:pt x="1948" y="87"/>
                    <a:pt x="1940" y="85"/>
                  </a:cubicBezTo>
                  <a:cubicBezTo>
                    <a:pt x="1939" y="93"/>
                    <a:pt x="1943" y="93"/>
                    <a:pt x="1945" y="96"/>
                  </a:cubicBezTo>
                  <a:cubicBezTo>
                    <a:pt x="1936" y="90"/>
                    <a:pt x="1937" y="97"/>
                    <a:pt x="1932" y="104"/>
                  </a:cubicBezTo>
                  <a:cubicBezTo>
                    <a:pt x="1930" y="93"/>
                    <a:pt x="1936" y="93"/>
                    <a:pt x="1934" y="82"/>
                  </a:cubicBezTo>
                  <a:cubicBezTo>
                    <a:pt x="1924" y="83"/>
                    <a:pt x="1936" y="98"/>
                    <a:pt x="1924" y="100"/>
                  </a:cubicBezTo>
                  <a:cubicBezTo>
                    <a:pt x="1928" y="88"/>
                    <a:pt x="1922" y="81"/>
                    <a:pt x="1924" y="63"/>
                  </a:cubicBezTo>
                  <a:cubicBezTo>
                    <a:pt x="1920" y="64"/>
                    <a:pt x="1915" y="60"/>
                    <a:pt x="1916" y="56"/>
                  </a:cubicBezTo>
                  <a:cubicBezTo>
                    <a:pt x="1916" y="56"/>
                    <a:pt x="1920" y="54"/>
                    <a:pt x="1918" y="52"/>
                  </a:cubicBezTo>
                  <a:cubicBezTo>
                    <a:pt x="1914" y="48"/>
                    <a:pt x="1902" y="50"/>
                    <a:pt x="1905" y="52"/>
                  </a:cubicBezTo>
                  <a:cubicBezTo>
                    <a:pt x="1908" y="54"/>
                    <a:pt x="1910" y="57"/>
                    <a:pt x="1910" y="63"/>
                  </a:cubicBezTo>
                  <a:cubicBezTo>
                    <a:pt x="1905" y="59"/>
                    <a:pt x="1897" y="69"/>
                    <a:pt x="1905" y="71"/>
                  </a:cubicBezTo>
                  <a:cubicBezTo>
                    <a:pt x="1905" y="67"/>
                    <a:pt x="1910" y="66"/>
                    <a:pt x="1910" y="71"/>
                  </a:cubicBezTo>
                  <a:cubicBezTo>
                    <a:pt x="1909" y="76"/>
                    <a:pt x="1906" y="80"/>
                    <a:pt x="1902" y="82"/>
                  </a:cubicBezTo>
                  <a:cubicBezTo>
                    <a:pt x="1896" y="73"/>
                    <a:pt x="1893" y="76"/>
                    <a:pt x="1886" y="82"/>
                  </a:cubicBezTo>
                  <a:cubicBezTo>
                    <a:pt x="1884" y="95"/>
                    <a:pt x="1889" y="100"/>
                    <a:pt x="1891" y="108"/>
                  </a:cubicBezTo>
                  <a:cubicBezTo>
                    <a:pt x="1888" y="112"/>
                    <a:pt x="1881" y="109"/>
                    <a:pt x="1878" y="104"/>
                  </a:cubicBezTo>
                  <a:cubicBezTo>
                    <a:pt x="1881" y="102"/>
                    <a:pt x="1884" y="99"/>
                    <a:pt x="1883" y="93"/>
                  </a:cubicBezTo>
                  <a:cubicBezTo>
                    <a:pt x="1877" y="93"/>
                    <a:pt x="1875" y="100"/>
                    <a:pt x="1873" y="89"/>
                  </a:cubicBezTo>
                  <a:cubicBezTo>
                    <a:pt x="1871" y="83"/>
                    <a:pt x="1876" y="67"/>
                    <a:pt x="1870" y="67"/>
                  </a:cubicBezTo>
                  <a:cubicBezTo>
                    <a:pt x="1870" y="84"/>
                    <a:pt x="1861" y="97"/>
                    <a:pt x="1862" y="111"/>
                  </a:cubicBezTo>
                  <a:cubicBezTo>
                    <a:pt x="1862" y="119"/>
                    <a:pt x="1874" y="123"/>
                    <a:pt x="1865" y="130"/>
                  </a:cubicBezTo>
                  <a:cubicBezTo>
                    <a:pt x="1854" y="127"/>
                    <a:pt x="1867" y="117"/>
                    <a:pt x="1856" y="115"/>
                  </a:cubicBezTo>
                  <a:cubicBezTo>
                    <a:pt x="1852" y="121"/>
                    <a:pt x="1857" y="147"/>
                    <a:pt x="1848" y="156"/>
                  </a:cubicBezTo>
                  <a:cubicBezTo>
                    <a:pt x="1850" y="144"/>
                    <a:pt x="1844" y="145"/>
                    <a:pt x="1846" y="133"/>
                  </a:cubicBezTo>
                  <a:cubicBezTo>
                    <a:pt x="1855" y="137"/>
                    <a:pt x="1850" y="122"/>
                    <a:pt x="1851" y="115"/>
                  </a:cubicBezTo>
                  <a:cubicBezTo>
                    <a:pt x="1842" y="117"/>
                    <a:pt x="1840" y="91"/>
                    <a:pt x="1846" y="85"/>
                  </a:cubicBezTo>
                  <a:cubicBezTo>
                    <a:pt x="1849" y="86"/>
                    <a:pt x="1852" y="105"/>
                    <a:pt x="1856" y="93"/>
                  </a:cubicBezTo>
                  <a:cubicBezTo>
                    <a:pt x="1850" y="85"/>
                    <a:pt x="1863" y="96"/>
                    <a:pt x="1865" y="89"/>
                  </a:cubicBezTo>
                  <a:cubicBezTo>
                    <a:pt x="1865" y="79"/>
                    <a:pt x="1863" y="68"/>
                    <a:pt x="1867" y="63"/>
                  </a:cubicBezTo>
                  <a:cubicBezTo>
                    <a:pt x="1862" y="62"/>
                    <a:pt x="1861" y="67"/>
                    <a:pt x="1856" y="67"/>
                  </a:cubicBezTo>
                  <a:cubicBezTo>
                    <a:pt x="1853" y="67"/>
                    <a:pt x="1852" y="59"/>
                    <a:pt x="1848" y="60"/>
                  </a:cubicBezTo>
                  <a:cubicBezTo>
                    <a:pt x="1847" y="60"/>
                    <a:pt x="1847" y="65"/>
                    <a:pt x="1843" y="63"/>
                  </a:cubicBezTo>
                  <a:cubicBezTo>
                    <a:pt x="1843" y="63"/>
                    <a:pt x="1843" y="57"/>
                    <a:pt x="1843" y="56"/>
                  </a:cubicBezTo>
                  <a:cubicBezTo>
                    <a:pt x="1837" y="57"/>
                    <a:pt x="1832" y="60"/>
                    <a:pt x="1827" y="63"/>
                  </a:cubicBezTo>
                  <a:cubicBezTo>
                    <a:pt x="1827" y="57"/>
                    <a:pt x="1827" y="50"/>
                    <a:pt x="1822" y="52"/>
                  </a:cubicBezTo>
                  <a:cubicBezTo>
                    <a:pt x="1821" y="56"/>
                    <a:pt x="1822" y="63"/>
                    <a:pt x="1819" y="63"/>
                  </a:cubicBezTo>
                  <a:cubicBezTo>
                    <a:pt x="1817" y="57"/>
                    <a:pt x="1816" y="65"/>
                    <a:pt x="1813" y="67"/>
                  </a:cubicBezTo>
                  <a:cubicBezTo>
                    <a:pt x="1810" y="55"/>
                    <a:pt x="1818" y="58"/>
                    <a:pt x="1819" y="52"/>
                  </a:cubicBezTo>
                  <a:cubicBezTo>
                    <a:pt x="1810" y="55"/>
                    <a:pt x="1813" y="55"/>
                    <a:pt x="1808" y="48"/>
                  </a:cubicBezTo>
                  <a:cubicBezTo>
                    <a:pt x="1809" y="54"/>
                    <a:pt x="1798" y="61"/>
                    <a:pt x="1797" y="52"/>
                  </a:cubicBezTo>
                  <a:cubicBezTo>
                    <a:pt x="1796" y="44"/>
                    <a:pt x="1808" y="57"/>
                    <a:pt x="1800" y="48"/>
                  </a:cubicBezTo>
                  <a:cubicBezTo>
                    <a:pt x="1798" y="36"/>
                    <a:pt x="1792" y="64"/>
                    <a:pt x="1792" y="48"/>
                  </a:cubicBezTo>
                  <a:cubicBezTo>
                    <a:pt x="1792" y="43"/>
                    <a:pt x="1783" y="41"/>
                    <a:pt x="1778" y="41"/>
                  </a:cubicBezTo>
                  <a:cubicBezTo>
                    <a:pt x="1778" y="45"/>
                    <a:pt x="1779" y="51"/>
                    <a:pt x="1776" y="52"/>
                  </a:cubicBezTo>
                  <a:cubicBezTo>
                    <a:pt x="1778" y="34"/>
                    <a:pt x="1767" y="40"/>
                    <a:pt x="1765" y="41"/>
                  </a:cubicBezTo>
                  <a:cubicBezTo>
                    <a:pt x="1756" y="44"/>
                    <a:pt x="1758" y="34"/>
                    <a:pt x="1752" y="37"/>
                  </a:cubicBezTo>
                  <a:cubicBezTo>
                    <a:pt x="1750" y="38"/>
                    <a:pt x="1752" y="46"/>
                    <a:pt x="1749" y="45"/>
                  </a:cubicBezTo>
                  <a:cubicBezTo>
                    <a:pt x="1748" y="40"/>
                    <a:pt x="1749" y="34"/>
                    <a:pt x="1746" y="34"/>
                  </a:cubicBezTo>
                  <a:cubicBezTo>
                    <a:pt x="1744" y="42"/>
                    <a:pt x="1729" y="44"/>
                    <a:pt x="1727" y="30"/>
                  </a:cubicBezTo>
                  <a:cubicBezTo>
                    <a:pt x="1728" y="24"/>
                    <a:pt x="1734" y="27"/>
                    <a:pt x="1735" y="22"/>
                  </a:cubicBezTo>
                  <a:cubicBezTo>
                    <a:pt x="1735" y="23"/>
                    <a:pt x="1731" y="19"/>
                    <a:pt x="1735" y="19"/>
                  </a:cubicBezTo>
                  <a:cubicBezTo>
                    <a:pt x="1741" y="16"/>
                    <a:pt x="1741" y="27"/>
                    <a:pt x="1744" y="26"/>
                  </a:cubicBezTo>
                  <a:cubicBezTo>
                    <a:pt x="1744" y="26"/>
                    <a:pt x="1749" y="14"/>
                    <a:pt x="1749" y="22"/>
                  </a:cubicBezTo>
                  <a:cubicBezTo>
                    <a:pt x="1749" y="28"/>
                    <a:pt x="1755" y="27"/>
                    <a:pt x="1757" y="30"/>
                  </a:cubicBezTo>
                  <a:cubicBezTo>
                    <a:pt x="1757" y="26"/>
                    <a:pt x="1757" y="19"/>
                    <a:pt x="1760" y="19"/>
                  </a:cubicBezTo>
                  <a:cubicBezTo>
                    <a:pt x="1759" y="25"/>
                    <a:pt x="1763" y="29"/>
                    <a:pt x="1765" y="22"/>
                  </a:cubicBezTo>
                  <a:cubicBezTo>
                    <a:pt x="1751" y="5"/>
                    <a:pt x="1742" y="19"/>
                    <a:pt x="1725" y="11"/>
                  </a:cubicBezTo>
                  <a:cubicBezTo>
                    <a:pt x="1719" y="18"/>
                    <a:pt x="1724" y="25"/>
                    <a:pt x="1725" y="34"/>
                  </a:cubicBezTo>
                  <a:cubicBezTo>
                    <a:pt x="1716" y="39"/>
                    <a:pt x="1713" y="35"/>
                    <a:pt x="1703" y="34"/>
                  </a:cubicBezTo>
                  <a:cubicBezTo>
                    <a:pt x="1703" y="37"/>
                    <a:pt x="1703" y="40"/>
                    <a:pt x="1700" y="41"/>
                  </a:cubicBezTo>
                  <a:cubicBezTo>
                    <a:pt x="1698" y="42"/>
                    <a:pt x="1698" y="38"/>
                    <a:pt x="1698" y="37"/>
                  </a:cubicBezTo>
                  <a:cubicBezTo>
                    <a:pt x="1695" y="36"/>
                    <a:pt x="1694" y="41"/>
                    <a:pt x="1692" y="41"/>
                  </a:cubicBezTo>
                  <a:cubicBezTo>
                    <a:pt x="1693" y="41"/>
                    <a:pt x="1691" y="38"/>
                    <a:pt x="1690" y="37"/>
                  </a:cubicBezTo>
                  <a:cubicBezTo>
                    <a:pt x="1687" y="36"/>
                    <a:pt x="1684" y="38"/>
                    <a:pt x="1682" y="37"/>
                  </a:cubicBezTo>
                  <a:cubicBezTo>
                    <a:pt x="1681" y="40"/>
                    <a:pt x="1682" y="45"/>
                    <a:pt x="1679" y="45"/>
                  </a:cubicBezTo>
                  <a:cubicBezTo>
                    <a:pt x="1676" y="36"/>
                    <a:pt x="1666" y="51"/>
                    <a:pt x="1666" y="34"/>
                  </a:cubicBezTo>
                  <a:cubicBezTo>
                    <a:pt x="1670" y="34"/>
                    <a:pt x="1675" y="34"/>
                    <a:pt x="1679" y="34"/>
                  </a:cubicBezTo>
                  <a:cubicBezTo>
                    <a:pt x="1680" y="18"/>
                    <a:pt x="1672" y="29"/>
                    <a:pt x="1671" y="22"/>
                  </a:cubicBezTo>
                  <a:cubicBezTo>
                    <a:pt x="1673" y="22"/>
                    <a:pt x="1674" y="22"/>
                    <a:pt x="1674" y="19"/>
                  </a:cubicBezTo>
                  <a:cubicBezTo>
                    <a:pt x="1665" y="23"/>
                    <a:pt x="1657" y="20"/>
                    <a:pt x="1652" y="22"/>
                  </a:cubicBezTo>
                  <a:cubicBezTo>
                    <a:pt x="1651" y="23"/>
                    <a:pt x="1648" y="29"/>
                    <a:pt x="1647" y="30"/>
                  </a:cubicBezTo>
                  <a:cubicBezTo>
                    <a:pt x="1644" y="32"/>
                    <a:pt x="1641" y="30"/>
                    <a:pt x="1639" y="34"/>
                  </a:cubicBezTo>
                  <a:cubicBezTo>
                    <a:pt x="1636" y="38"/>
                    <a:pt x="1638" y="46"/>
                    <a:pt x="1636" y="52"/>
                  </a:cubicBezTo>
                  <a:cubicBezTo>
                    <a:pt x="1635" y="55"/>
                    <a:pt x="1629" y="55"/>
                    <a:pt x="1628" y="60"/>
                  </a:cubicBezTo>
                  <a:cubicBezTo>
                    <a:pt x="1640" y="53"/>
                    <a:pt x="1641" y="69"/>
                    <a:pt x="1644" y="71"/>
                  </a:cubicBezTo>
                  <a:cubicBezTo>
                    <a:pt x="1649" y="73"/>
                    <a:pt x="1655" y="66"/>
                    <a:pt x="1660" y="74"/>
                  </a:cubicBezTo>
                  <a:cubicBezTo>
                    <a:pt x="1647" y="75"/>
                    <a:pt x="1648" y="95"/>
                    <a:pt x="1633" y="93"/>
                  </a:cubicBezTo>
                  <a:cubicBezTo>
                    <a:pt x="1633" y="98"/>
                    <a:pt x="1633" y="103"/>
                    <a:pt x="1633" y="108"/>
                  </a:cubicBezTo>
                  <a:cubicBezTo>
                    <a:pt x="1637" y="108"/>
                    <a:pt x="1643" y="106"/>
                    <a:pt x="1644" y="111"/>
                  </a:cubicBezTo>
                  <a:cubicBezTo>
                    <a:pt x="1644" y="115"/>
                    <a:pt x="1646" y="116"/>
                    <a:pt x="1647" y="119"/>
                  </a:cubicBezTo>
                  <a:cubicBezTo>
                    <a:pt x="1642" y="122"/>
                    <a:pt x="1637" y="125"/>
                    <a:pt x="1631" y="126"/>
                  </a:cubicBezTo>
                  <a:cubicBezTo>
                    <a:pt x="1629" y="139"/>
                    <a:pt x="1641" y="132"/>
                    <a:pt x="1641" y="141"/>
                  </a:cubicBezTo>
                  <a:cubicBezTo>
                    <a:pt x="1649" y="136"/>
                    <a:pt x="1647" y="141"/>
                    <a:pt x="1652" y="141"/>
                  </a:cubicBezTo>
                  <a:cubicBezTo>
                    <a:pt x="1652" y="141"/>
                    <a:pt x="1653" y="138"/>
                    <a:pt x="1655" y="137"/>
                  </a:cubicBezTo>
                  <a:cubicBezTo>
                    <a:pt x="1657" y="137"/>
                    <a:pt x="1660" y="138"/>
                    <a:pt x="1660" y="141"/>
                  </a:cubicBezTo>
                  <a:cubicBezTo>
                    <a:pt x="1654" y="143"/>
                    <a:pt x="1646" y="144"/>
                    <a:pt x="1647" y="156"/>
                  </a:cubicBezTo>
                  <a:cubicBezTo>
                    <a:pt x="1654" y="158"/>
                    <a:pt x="1664" y="145"/>
                    <a:pt x="1668" y="156"/>
                  </a:cubicBezTo>
                  <a:cubicBezTo>
                    <a:pt x="1657" y="155"/>
                    <a:pt x="1652" y="162"/>
                    <a:pt x="1652" y="178"/>
                  </a:cubicBezTo>
                  <a:cubicBezTo>
                    <a:pt x="1663" y="184"/>
                    <a:pt x="1653" y="162"/>
                    <a:pt x="1660" y="163"/>
                  </a:cubicBezTo>
                  <a:cubicBezTo>
                    <a:pt x="1666" y="165"/>
                    <a:pt x="1678" y="158"/>
                    <a:pt x="1679" y="167"/>
                  </a:cubicBezTo>
                  <a:cubicBezTo>
                    <a:pt x="1678" y="179"/>
                    <a:pt x="1663" y="178"/>
                    <a:pt x="1663" y="185"/>
                  </a:cubicBezTo>
                  <a:cubicBezTo>
                    <a:pt x="1662" y="195"/>
                    <a:pt x="1655" y="189"/>
                    <a:pt x="1655" y="196"/>
                  </a:cubicBezTo>
                  <a:cubicBezTo>
                    <a:pt x="1661" y="199"/>
                    <a:pt x="1656" y="217"/>
                    <a:pt x="1657" y="226"/>
                  </a:cubicBezTo>
                  <a:cubicBezTo>
                    <a:pt x="1644" y="218"/>
                    <a:pt x="1654" y="243"/>
                    <a:pt x="1647" y="244"/>
                  </a:cubicBezTo>
                  <a:cubicBezTo>
                    <a:pt x="1648" y="231"/>
                    <a:pt x="1642" y="234"/>
                    <a:pt x="1641" y="230"/>
                  </a:cubicBezTo>
                  <a:cubicBezTo>
                    <a:pt x="1641" y="229"/>
                    <a:pt x="1646" y="230"/>
                    <a:pt x="1647" y="230"/>
                  </a:cubicBezTo>
                  <a:cubicBezTo>
                    <a:pt x="1648" y="228"/>
                    <a:pt x="1643" y="223"/>
                    <a:pt x="1644" y="222"/>
                  </a:cubicBezTo>
                  <a:cubicBezTo>
                    <a:pt x="1643" y="209"/>
                    <a:pt x="1637" y="235"/>
                    <a:pt x="1636" y="222"/>
                  </a:cubicBezTo>
                  <a:cubicBezTo>
                    <a:pt x="1636" y="208"/>
                    <a:pt x="1640" y="201"/>
                    <a:pt x="1644" y="193"/>
                  </a:cubicBezTo>
                  <a:cubicBezTo>
                    <a:pt x="1642" y="193"/>
                    <a:pt x="1640" y="192"/>
                    <a:pt x="1639" y="193"/>
                  </a:cubicBezTo>
                  <a:cubicBezTo>
                    <a:pt x="1635" y="194"/>
                    <a:pt x="1637" y="196"/>
                    <a:pt x="1636" y="200"/>
                  </a:cubicBezTo>
                  <a:cubicBezTo>
                    <a:pt x="1636" y="200"/>
                    <a:pt x="1633" y="200"/>
                    <a:pt x="1633" y="200"/>
                  </a:cubicBezTo>
                  <a:cubicBezTo>
                    <a:pt x="1632" y="203"/>
                    <a:pt x="1634" y="211"/>
                    <a:pt x="1633" y="215"/>
                  </a:cubicBezTo>
                  <a:cubicBezTo>
                    <a:pt x="1633" y="219"/>
                    <a:pt x="1630" y="220"/>
                    <a:pt x="1631" y="226"/>
                  </a:cubicBezTo>
                  <a:cubicBezTo>
                    <a:pt x="1631" y="231"/>
                    <a:pt x="1635" y="233"/>
                    <a:pt x="1633" y="241"/>
                  </a:cubicBezTo>
                  <a:cubicBezTo>
                    <a:pt x="1628" y="234"/>
                    <a:pt x="1627" y="240"/>
                    <a:pt x="1620" y="241"/>
                  </a:cubicBezTo>
                  <a:cubicBezTo>
                    <a:pt x="1620" y="231"/>
                    <a:pt x="1608" y="237"/>
                    <a:pt x="1612" y="222"/>
                  </a:cubicBezTo>
                  <a:cubicBezTo>
                    <a:pt x="1615" y="223"/>
                    <a:pt x="1617" y="227"/>
                    <a:pt x="1623" y="226"/>
                  </a:cubicBezTo>
                  <a:cubicBezTo>
                    <a:pt x="1622" y="215"/>
                    <a:pt x="1623" y="213"/>
                    <a:pt x="1628" y="218"/>
                  </a:cubicBezTo>
                  <a:cubicBezTo>
                    <a:pt x="1625" y="212"/>
                    <a:pt x="1629" y="201"/>
                    <a:pt x="1630" y="200"/>
                  </a:cubicBezTo>
                  <a:cubicBezTo>
                    <a:pt x="1629" y="199"/>
                    <a:pt x="1624" y="199"/>
                    <a:pt x="1625" y="196"/>
                  </a:cubicBezTo>
                  <a:cubicBezTo>
                    <a:pt x="1627" y="193"/>
                    <a:pt x="1637" y="199"/>
                    <a:pt x="1633" y="189"/>
                  </a:cubicBezTo>
                  <a:cubicBezTo>
                    <a:pt x="1629" y="189"/>
                    <a:pt x="1624" y="189"/>
                    <a:pt x="1620" y="189"/>
                  </a:cubicBezTo>
                  <a:cubicBezTo>
                    <a:pt x="1620" y="202"/>
                    <a:pt x="1621" y="215"/>
                    <a:pt x="1614" y="218"/>
                  </a:cubicBezTo>
                  <a:cubicBezTo>
                    <a:pt x="1614" y="211"/>
                    <a:pt x="1607" y="224"/>
                    <a:pt x="1606" y="211"/>
                  </a:cubicBezTo>
                  <a:cubicBezTo>
                    <a:pt x="1612" y="210"/>
                    <a:pt x="1618" y="210"/>
                    <a:pt x="1617" y="200"/>
                  </a:cubicBezTo>
                  <a:cubicBezTo>
                    <a:pt x="1612" y="198"/>
                    <a:pt x="1601" y="205"/>
                    <a:pt x="1601" y="196"/>
                  </a:cubicBezTo>
                  <a:cubicBezTo>
                    <a:pt x="1602" y="191"/>
                    <a:pt x="1605" y="189"/>
                    <a:pt x="1604" y="182"/>
                  </a:cubicBezTo>
                  <a:cubicBezTo>
                    <a:pt x="1590" y="179"/>
                    <a:pt x="1607" y="180"/>
                    <a:pt x="1606" y="174"/>
                  </a:cubicBezTo>
                  <a:cubicBezTo>
                    <a:pt x="1603" y="174"/>
                    <a:pt x="1599" y="175"/>
                    <a:pt x="1598" y="170"/>
                  </a:cubicBezTo>
                  <a:cubicBezTo>
                    <a:pt x="1610" y="173"/>
                    <a:pt x="1596" y="163"/>
                    <a:pt x="1604" y="163"/>
                  </a:cubicBezTo>
                  <a:cubicBezTo>
                    <a:pt x="1606" y="176"/>
                    <a:pt x="1618" y="182"/>
                    <a:pt x="1612" y="196"/>
                  </a:cubicBezTo>
                  <a:cubicBezTo>
                    <a:pt x="1622" y="199"/>
                    <a:pt x="1615" y="179"/>
                    <a:pt x="1617" y="170"/>
                  </a:cubicBezTo>
                  <a:cubicBezTo>
                    <a:pt x="1618" y="169"/>
                    <a:pt x="1624" y="171"/>
                    <a:pt x="1623" y="167"/>
                  </a:cubicBezTo>
                  <a:cubicBezTo>
                    <a:pt x="1621" y="167"/>
                    <a:pt x="1619" y="166"/>
                    <a:pt x="1620" y="163"/>
                  </a:cubicBezTo>
                  <a:cubicBezTo>
                    <a:pt x="1617" y="163"/>
                    <a:pt x="1617" y="160"/>
                    <a:pt x="1614" y="159"/>
                  </a:cubicBezTo>
                  <a:cubicBezTo>
                    <a:pt x="1613" y="164"/>
                    <a:pt x="1612" y="168"/>
                    <a:pt x="1609" y="170"/>
                  </a:cubicBezTo>
                  <a:cubicBezTo>
                    <a:pt x="1614" y="153"/>
                    <a:pt x="1602" y="159"/>
                    <a:pt x="1598" y="152"/>
                  </a:cubicBezTo>
                  <a:cubicBezTo>
                    <a:pt x="1598" y="147"/>
                    <a:pt x="1614" y="147"/>
                    <a:pt x="1604" y="141"/>
                  </a:cubicBezTo>
                  <a:cubicBezTo>
                    <a:pt x="1602" y="152"/>
                    <a:pt x="1600" y="135"/>
                    <a:pt x="1596" y="137"/>
                  </a:cubicBezTo>
                  <a:cubicBezTo>
                    <a:pt x="1596" y="143"/>
                    <a:pt x="1588" y="139"/>
                    <a:pt x="1588" y="145"/>
                  </a:cubicBezTo>
                  <a:cubicBezTo>
                    <a:pt x="1590" y="148"/>
                    <a:pt x="1597" y="146"/>
                    <a:pt x="1596" y="156"/>
                  </a:cubicBezTo>
                  <a:cubicBezTo>
                    <a:pt x="1579" y="151"/>
                    <a:pt x="1596" y="170"/>
                    <a:pt x="1588" y="174"/>
                  </a:cubicBezTo>
                  <a:cubicBezTo>
                    <a:pt x="1584" y="174"/>
                    <a:pt x="1582" y="168"/>
                    <a:pt x="1580" y="174"/>
                  </a:cubicBezTo>
                  <a:cubicBezTo>
                    <a:pt x="1591" y="170"/>
                    <a:pt x="1585" y="192"/>
                    <a:pt x="1585" y="193"/>
                  </a:cubicBezTo>
                  <a:cubicBezTo>
                    <a:pt x="1585" y="194"/>
                    <a:pt x="1592" y="192"/>
                    <a:pt x="1590" y="196"/>
                  </a:cubicBezTo>
                  <a:cubicBezTo>
                    <a:pt x="1583" y="199"/>
                    <a:pt x="1588" y="217"/>
                    <a:pt x="1580" y="218"/>
                  </a:cubicBezTo>
                  <a:cubicBezTo>
                    <a:pt x="1574" y="217"/>
                    <a:pt x="1574" y="208"/>
                    <a:pt x="1569" y="207"/>
                  </a:cubicBezTo>
                  <a:cubicBezTo>
                    <a:pt x="1568" y="210"/>
                    <a:pt x="1569" y="215"/>
                    <a:pt x="1566" y="215"/>
                  </a:cubicBezTo>
                  <a:cubicBezTo>
                    <a:pt x="1564" y="204"/>
                    <a:pt x="1570" y="205"/>
                    <a:pt x="1569" y="196"/>
                  </a:cubicBezTo>
                  <a:cubicBezTo>
                    <a:pt x="1564" y="198"/>
                    <a:pt x="1560" y="183"/>
                    <a:pt x="1566" y="182"/>
                  </a:cubicBezTo>
                  <a:cubicBezTo>
                    <a:pt x="1566" y="188"/>
                    <a:pt x="1569" y="190"/>
                    <a:pt x="1574" y="189"/>
                  </a:cubicBezTo>
                  <a:cubicBezTo>
                    <a:pt x="1573" y="199"/>
                    <a:pt x="1575" y="205"/>
                    <a:pt x="1582" y="204"/>
                  </a:cubicBezTo>
                  <a:cubicBezTo>
                    <a:pt x="1581" y="191"/>
                    <a:pt x="1575" y="199"/>
                    <a:pt x="1580" y="185"/>
                  </a:cubicBezTo>
                  <a:cubicBezTo>
                    <a:pt x="1568" y="190"/>
                    <a:pt x="1575" y="170"/>
                    <a:pt x="1569" y="167"/>
                  </a:cubicBezTo>
                  <a:cubicBezTo>
                    <a:pt x="1565" y="181"/>
                    <a:pt x="1568" y="156"/>
                    <a:pt x="1563" y="159"/>
                  </a:cubicBezTo>
                  <a:cubicBezTo>
                    <a:pt x="1558" y="172"/>
                    <a:pt x="1554" y="153"/>
                    <a:pt x="1547" y="156"/>
                  </a:cubicBezTo>
                  <a:cubicBezTo>
                    <a:pt x="1550" y="161"/>
                    <a:pt x="1548" y="171"/>
                    <a:pt x="1550" y="174"/>
                  </a:cubicBezTo>
                  <a:cubicBezTo>
                    <a:pt x="1552" y="177"/>
                    <a:pt x="1557" y="177"/>
                    <a:pt x="1558" y="182"/>
                  </a:cubicBezTo>
                  <a:cubicBezTo>
                    <a:pt x="1554" y="182"/>
                    <a:pt x="1553" y="188"/>
                    <a:pt x="1550" y="189"/>
                  </a:cubicBezTo>
                  <a:cubicBezTo>
                    <a:pt x="1547" y="176"/>
                    <a:pt x="1530" y="182"/>
                    <a:pt x="1523" y="174"/>
                  </a:cubicBezTo>
                  <a:cubicBezTo>
                    <a:pt x="1522" y="177"/>
                    <a:pt x="1521" y="178"/>
                    <a:pt x="1518" y="178"/>
                  </a:cubicBezTo>
                  <a:cubicBezTo>
                    <a:pt x="1518" y="166"/>
                    <a:pt x="1510" y="187"/>
                    <a:pt x="1510" y="174"/>
                  </a:cubicBezTo>
                  <a:cubicBezTo>
                    <a:pt x="1510" y="169"/>
                    <a:pt x="1514" y="168"/>
                    <a:pt x="1515" y="163"/>
                  </a:cubicBezTo>
                  <a:cubicBezTo>
                    <a:pt x="1504" y="168"/>
                    <a:pt x="1506" y="156"/>
                    <a:pt x="1502" y="152"/>
                  </a:cubicBezTo>
                  <a:cubicBezTo>
                    <a:pt x="1501" y="156"/>
                    <a:pt x="1501" y="161"/>
                    <a:pt x="1496" y="159"/>
                  </a:cubicBezTo>
                  <a:cubicBezTo>
                    <a:pt x="1498" y="156"/>
                    <a:pt x="1502" y="146"/>
                    <a:pt x="1493" y="148"/>
                  </a:cubicBezTo>
                  <a:cubicBezTo>
                    <a:pt x="1485" y="147"/>
                    <a:pt x="1500" y="159"/>
                    <a:pt x="1491" y="159"/>
                  </a:cubicBezTo>
                  <a:cubicBezTo>
                    <a:pt x="1489" y="154"/>
                    <a:pt x="1487" y="150"/>
                    <a:pt x="1483" y="148"/>
                  </a:cubicBezTo>
                  <a:cubicBezTo>
                    <a:pt x="1483" y="164"/>
                    <a:pt x="1458" y="151"/>
                    <a:pt x="1450" y="156"/>
                  </a:cubicBezTo>
                  <a:cubicBezTo>
                    <a:pt x="1450" y="152"/>
                    <a:pt x="1450" y="148"/>
                    <a:pt x="1450" y="145"/>
                  </a:cubicBezTo>
                  <a:cubicBezTo>
                    <a:pt x="1445" y="143"/>
                    <a:pt x="1445" y="151"/>
                    <a:pt x="1442" y="152"/>
                  </a:cubicBezTo>
                  <a:cubicBezTo>
                    <a:pt x="1438" y="154"/>
                    <a:pt x="1433" y="151"/>
                    <a:pt x="1429" y="152"/>
                  </a:cubicBezTo>
                  <a:cubicBezTo>
                    <a:pt x="1428" y="150"/>
                    <a:pt x="1430" y="142"/>
                    <a:pt x="1429" y="141"/>
                  </a:cubicBezTo>
                  <a:cubicBezTo>
                    <a:pt x="1425" y="137"/>
                    <a:pt x="1406" y="140"/>
                    <a:pt x="1391" y="137"/>
                  </a:cubicBezTo>
                  <a:cubicBezTo>
                    <a:pt x="1388" y="137"/>
                    <a:pt x="1388" y="134"/>
                    <a:pt x="1383" y="133"/>
                  </a:cubicBezTo>
                  <a:cubicBezTo>
                    <a:pt x="1375" y="133"/>
                    <a:pt x="1377" y="140"/>
                    <a:pt x="1373" y="133"/>
                  </a:cubicBezTo>
                  <a:cubicBezTo>
                    <a:pt x="1370" y="130"/>
                    <a:pt x="1351" y="133"/>
                    <a:pt x="1354" y="137"/>
                  </a:cubicBezTo>
                  <a:cubicBezTo>
                    <a:pt x="1355" y="144"/>
                    <a:pt x="1366" y="137"/>
                    <a:pt x="1367" y="145"/>
                  </a:cubicBezTo>
                  <a:cubicBezTo>
                    <a:pt x="1362" y="152"/>
                    <a:pt x="1368" y="161"/>
                    <a:pt x="1367" y="163"/>
                  </a:cubicBezTo>
                  <a:cubicBezTo>
                    <a:pt x="1367" y="164"/>
                    <a:pt x="1362" y="162"/>
                    <a:pt x="1362" y="163"/>
                  </a:cubicBezTo>
                  <a:cubicBezTo>
                    <a:pt x="1361" y="164"/>
                    <a:pt x="1362" y="170"/>
                    <a:pt x="1362" y="170"/>
                  </a:cubicBezTo>
                  <a:cubicBezTo>
                    <a:pt x="1359" y="172"/>
                    <a:pt x="1354" y="170"/>
                    <a:pt x="1354" y="167"/>
                  </a:cubicBezTo>
                  <a:cubicBezTo>
                    <a:pt x="1357" y="166"/>
                    <a:pt x="1360" y="166"/>
                    <a:pt x="1359" y="159"/>
                  </a:cubicBezTo>
                  <a:cubicBezTo>
                    <a:pt x="1352" y="162"/>
                    <a:pt x="1349" y="158"/>
                    <a:pt x="1351" y="148"/>
                  </a:cubicBezTo>
                  <a:cubicBezTo>
                    <a:pt x="1354" y="153"/>
                    <a:pt x="1364" y="154"/>
                    <a:pt x="1364" y="145"/>
                  </a:cubicBezTo>
                  <a:cubicBezTo>
                    <a:pt x="1352" y="148"/>
                    <a:pt x="1351" y="136"/>
                    <a:pt x="1346" y="130"/>
                  </a:cubicBezTo>
                  <a:cubicBezTo>
                    <a:pt x="1345" y="135"/>
                    <a:pt x="1347" y="138"/>
                    <a:pt x="1348" y="141"/>
                  </a:cubicBezTo>
                  <a:cubicBezTo>
                    <a:pt x="1345" y="141"/>
                    <a:pt x="1342" y="143"/>
                    <a:pt x="1340" y="145"/>
                  </a:cubicBezTo>
                  <a:cubicBezTo>
                    <a:pt x="1339" y="140"/>
                    <a:pt x="1332" y="144"/>
                    <a:pt x="1329" y="141"/>
                  </a:cubicBezTo>
                  <a:cubicBezTo>
                    <a:pt x="1328" y="139"/>
                    <a:pt x="1330" y="132"/>
                    <a:pt x="1327" y="133"/>
                  </a:cubicBezTo>
                  <a:cubicBezTo>
                    <a:pt x="1322" y="151"/>
                    <a:pt x="1306" y="131"/>
                    <a:pt x="1297" y="141"/>
                  </a:cubicBezTo>
                  <a:cubicBezTo>
                    <a:pt x="1297" y="136"/>
                    <a:pt x="1298" y="133"/>
                    <a:pt x="1300" y="130"/>
                  </a:cubicBezTo>
                  <a:cubicBezTo>
                    <a:pt x="1291" y="132"/>
                    <a:pt x="1293" y="117"/>
                    <a:pt x="1286" y="126"/>
                  </a:cubicBezTo>
                  <a:cubicBezTo>
                    <a:pt x="1287" y="121"/>
                    <a:pt x="1285" y="118"/>
                    <a:pt x="1284" y="115"/>
                  </a:cubicBezTo>
                  <a:cubicBezTo>
                    <a:pt x="1283" y="112"/>
                    <a:pt x="1284" y="108"/>
                    <a:pt x="1281" y="108"/>
                  </a:cubicBezTo>
                  <a:cubicBezTo>
                    <a:pt x="1281" y="117"/>
                    <a:pt x="1280" y="123"/>
                    <a:pt x="1276" y="126"/>
                  </a:cubicBezTo>
                  <a:cubicBezTo>
                    <a:pt x="1268" y="131"/>
                    <a:pt x="1262" y="116"/>
                    <a:pt x="1260" y="126"/>
                  </a:cubicBezTo>
                  <a:cubicBezTo>
                    <a:pt x="1262" y="127"/>
                    <a:pt x="1263" y="129"/>
                    <a:pt x="1262" y="133"/>
                  </a:cubicBezTo>
                  <a:cubicBezTo>
                    <a:pt x="1255" y="133"/>
                    <a:pt x="1248" y="133"/>
                    <a:pt x="1241" y="133"/>
                  </a:cubicBezTo>
                  <a:cubicBezTo>
                    <a:pt x="1248" y="120"/>
                    <a:pt x="1234" y="134"/>
                    <a:pt x="1225" y="130"/>
                  </a:cubicBezTo>
                  <a:cubicBezTo>
                    <a:pt x="1225" y="109"/>
                    <a:pt x="1222" y="127"/>
                    <a:pt x="1219" y="126"/>
                  </a:cubicBezTo>
                  <a:cubicBezTo>
                    <a:pt x="1217" y="125"/>
                    <a:pt x="1220" y="119"/>
                    <a:pt x="1217" y="119"/>
                  </a:cubicBezTo>
                  <a:cubicBezTo>
                    <a:pt x="1216" y="119"/>
                    <a:pt x="1216" y="126"/>
                    <a:pt x="1214" y="126"/>
                  </a:cubicBezTo>
                  <a:cubicBezTo>
                    <a:pt x="1213" y="126"/>
                    <a:pt x="1211" y="117"/>
                    <a:pt x="1208" y="119"/>
                  </a:cubicBezTo>
                  <a:cubicBezTo>
                    <a:pt x="1208" y="122"/>
                    <a:pt x="1208" y="126"/>
                    <a:pt x="1206" y="126"/>
                  </a:cubicBezTo>
                  <a:cubicBezTo>
                    <a:pt x="1205" y="122"/>
                    <a:pt x="1206" y="116"/>
                    <a:pt x="1203" y="115"/>
                  </a:cubicBezTo>
                  <a:cubicBezTo>
                    <a:pt x="1197" y="120"/>
                    <a:pt x="1207" y="124"/>
                    <a:pt x="1200" y="126"/>
                  </a:cubicBezTo>
                  <a:cubicBezTo>
                    <a:pt x="1197" y="125"/>
                    <a:pt x="1197" y="120"/>
                    <a:pt x="1198" y="115"/>
                  </a:cubicBezTo>
                  <a:cubicBezTo>
                    <a:pt x="1190" y="116"/>
                    <a:pt x="1179" y="112"/>
                    <a:pt x="1179" y="122"/>
                  </a:cubicBezTo>
                  <a:cubicBezTo>
                    <a:pt x="1182" y="123"/>
                    <a:pt x="1187" y="122"/>
                    <a:pt x="1187" y="126"/>
                  </a:cubicBezTo>
                  <a:cubicBezTo>
                    <a:pt x="1182" y="126"/>
                    <a:pt x="1178" y="126"/>
                    <a:pt x="1173" y="126"/>
                  </a:cubicBezTo>
                  <a:cubicBezTo>
                    <a:pt x="1170" y="121"/>
                    <a:pt x="1172" y="105"/>
                    <a:pt x="1165" y="115"/>
                  </a:cubicBezTo>
                  <a:cubicBezTo>
                    <a:pt x="1169" y="103"/>
                    <a:pt x="1161" y="106"/>
                    <a:pt x="1160" y="100"/>
                  </a:cubicBezTo>
                  <a:cubicBezTo>
                    <a:pt x="1164" y="100"/>
                    <a:pt x="1170" y="101"/>
                    <a:pt x="1171" y="96"/>
                  </a:cubicBezTo>
                  <a:cubicBezTo>
                    <a:pt x="1163" y="97"/>
                    <a:pt x="1168" y="78"/>
                    <a:pt x="1160" y="78"/>
                  </a:cubicBezTo>
                  <a:cubicBezTo>
                    <a:pt x="1157" y="87"/>
                    <a:pt x="1168" y="93"/>
                    <a:pt x="1160" y="96"/>
                  </a:cubicBezTo>
                  <a:cubicBezTo>
                    <a:pt x="1158" y="94"/>
                    <a:pt x="1145" y="88"/>
                    <a:pt x="1144" y="96"/>
                  </a:cubicBezTo>
                  <a:cubicBezTo>
                    <a:pt x="1147" y="100"/>
                    <a:pt x="1151" y="101"/>
                    <a:pt x="1157" y="100"/>
                  </a:cubicBezTo>
                  <a:cubicBezTo>
                    <a:pt x="1161" y="105"/>
                    <a:pt x="1161" y="118"/>
                    <a:pt x="1155" y="119"/>
                  </a:cubicBezTo>
                  <a:cubicBezTo>
                    <a:pt x="1154" y="112"/>
                    <a:pt x="1145" y="98"/>
                    <a:pt x="1141" y="108"/>
                  </a:cubicBezTo>
                  <a:cubicBezTo>
                    <a:pt x="1144" y="109"/>
                    <a:pt x="1145" y="112"/>
                    <a:pt x="1147" y="115"/>
                  </a:cubicBezTo>
                  <a:cubicBezTo>
                    <a:pt x="1149" y="118"/>
                    <a:pt x="1152" y="119"/>
                    <a:pt x="1155" y="122"/>
                  </a:cubicBezTo>
                  <a:cubicBezTo>
                    <a:pt x="1156" y="123"/>
                    <a:pt x="1154" y="128"/>
                    <a:pt x="1155" y="130"/>
                  </a:cubicBezTo>
                  <a:cubicBezTo>
                    <a:pt x="1156" y="132"/>
                    <a:pt x="1161" y="129"/>
                    <a:pt x="1160" y="133"/>
                  </a:cubicBezTo>
                  <a:cubicBezTo>
                    <a:pt x="1155" y="134"/>
                    <a:pt x="1162" y="140"/>
                    <a:pt x="1157" y="141"/>
                  </a:cubicBezTo>
                  <a:cubicBezTo>
                    <a:pt x="1151" y="135"/>
                    <a:pt x="1147" y="142"/>
                    <a:pt x="1144" y="137"/>
                  </a:cubicBezTo>
                  <a:cubicBezTo>
                    <a:pt x="1140" y="131"/>
                    <a:pt x="1131" y="142"/>
                    <a:pt x="1131" y="141"/>
                  </a:cubicBezTo>
                  <a:cubicBezTo>
                    <a:pt x="1134" y="132"/>
                    <a:pt x="1120" y="129"/>
                    <a:pt x="1128" y="126"/>
                  </a:cubicBezTo>
                  <a:cubicBezTo>
                    <a:pt x="1134" y="127"/>
                    <a:pt x="1139" y="134"/>
                    <a:pt x="1141" y="122"/>
                  </a:cubicBezTo>
                  <a:cubicBezTo>
                    <a:pt x="1134" y="123"/>
                    <a:pt x="1132" y="117"/>
                    <a:pt x="1133" y="108"/>
                  </a:cubicBezTo>
                  <a:cubicBezTo>
                    <a:pt x="1124" y="111"/>
                    <a:pt x="1113" y="109"/>
                    <a:pt x="1098" y="104"/>
                  </a:cubicBezTo>
                  <a:cubicBezTo>
                    <a:pt x="1092" y="109"/>
                    <a:pt x="1102" y="113"/>
                    <a:pt x="1096" y="115"/>
                  </a:cubicBezTo>
                  <a:cubicBezTo>
                    <a:pt x="1091" y="115"/>
                    <a:pt x="1086" y="114"/>
                    <a:pt x="1087" y="122"/>
                  </a:cubicBezTo>
                  <a:cubicBezTo>
                    <a:pt x="1097" y="123"/>
                    <a:pt x="1095" y="117"/>
                    <a:pt x="1098" y="122"/>
                  </a:cubicBezTo>
                  <a:cubicBezTo>
                    <a:pt x="1099" y="123"/>
                    <a:pt x="1103" y="122"/>
                    <a:pt x="1104" y="122"/>
                  </a:cubicBezTo>
                  <a:cubicBezTo>
                    <a:pt x="1109" y="123"/>
                    <a:pt x="1123" y="119"/>
                    <a:pt x="1122" y="130"/>
                  </a:cubicBezTo>
                  <a:cubicBezTo>
                    <a:pt x="1119" y="130"/>
                    <a:pt x="1120" y="136"/>
                    <a:pt x="1117" y="137"/>
                  </a:cubicBezTo>
                  <a:cubicBezTo>
                    <a:pt x="1117" y="135"/>
                    <a:pt x="1117" y="132"/>
                    <a:pt x="1117" y="130"/>
                  </a:cubicBezTo>
                  <a:cubicBezTo>
                    <a:pt x="1104" y="125"/>
                    <a:pt x="1081" y="135"/>
                    <a:pt x="1085" y="108"/>
                  </a:cubicBezTo>
                  <a:cubicBezTo>
                    <a:pt x="1079" y="105"/>
                    <a:pt x="1073" y="95"/>
                    <a:pt x="1071" y="108"/>
                  </a:cubicBezTo>
                  <a:cubicBezTo>
                    <a:pt x="1076" y="105"/>
                    <a:pt x="1083" y="115"/>
                    <a:pt x="1077" y="115"/>
                  </a:cubicBezTo>
                  <a:cubicBezTo>
                    <a:pt x="1069" y="112"/>
                    <a:pt x="1070" y="101"/>
                    <a:pt x="1063" y="100"/>
                  </a:cubicBezTo>
                  <a:cubicBezTo>
                    <a:pt x="1063" y="100"/>
                    <a:pt x="1063" y="106"/>
                    <a:pt x="1061" y="104"/>
                  </a:cubicBezTo>
                  <a:cubicBezTo>
                    <a:pt x="1059" y="103"/>
                    <a:pt x="1060" y="94"/>
                    <a:pt x="1058" y="93"/>
                  </a:cubicBezTo>
                  <a:cubicBezTo>
                    <a:pt x="1055" y="91"/>
                    <a:pt x="1050" y="94"/>
                    <a:pt x="1047" y="93"/>
                  </a:cubicBezTo>
                  <a:cubicBezTo>
                    <a:pt x="1048" y="102"/>
                    <a:pt x="1043" y="104"/>
                    <a:pt x="1039" y="108"/>
                  </a:cubicBezTo>
                  <a:cubicBezTo>
                    <a:pt x="1041" y="93"/>
                    <a:pt x="1031" y="110"/>
                    <a:pt x="1028" y="111"/>
                  </a:cubicBezTo>
                  <a:cubicBezTo>
                    <a:pt x="1028" y="111"/>
                    <a:pt x="1029" y="104"/>
                    <a:pt x="1028" y="104"/>
                  </a:cubicBezTo>
                  <a:cubicBezTo>
                    <a:pt x="1025" y="99"/>
                    <a:pt x="1017" y="111"/>
                    <a:pt x="1020" y="115"/>
                  </a:cubicBezTo>
                  <a:cubicBezTo>
                    <a:pt x="1031" y="116"/>
                    <a:pt x="1046" y="111"/>
                    <a:pt x="1050" y="122"/>
                  </a:cubicBezTo>
                  <a:cubicBezTo>
                    <a:pt x="1039" y="118"/>
                    <a:pt x="1033" y="124"/>
                    <a:pt x="1018" y="122"/>
                  </a:cubicBezTo>
                  <a:cubicBezTo>
                    <a:pt x="1015" y="105"/>
                    <a:pt x="1020" y="94"/>
                    <a:pt x="1012" y="89"/>
                  </a:cubicBezTo>
                  <a:cubicBezTo>
                    <a:pt x="1008" y="103"/>
                    <a:pt x="1014" y="113"/>
                    <a:pt x="1009" y="119"/>
                  </a:cubicBezTo>
                  <a:cubicBezTo>
                    <a:pt x="1007" y="114"/>
                    <a:pt x="1008" y="111"/>
                    <a:pt x="1007" y="104"/>
                  </a:cubicBezTo>
                  <a:cubicBezTo>
                    <a:pt x="1006" y="101"/>
                    <a:pt x="1004" y="101"/>
                    <a:pt x="1004" y="100"/>
                  </a:cubicBezTo>
                  <a:cubicBezTo>
                    <a:pt x="1003" y="97"/>
                    <a:pt x="1007" y="95"/>
                    <a:pt x="1007" y="93"/>
                  </a:cubicBezTo>
                  <a:cubicBezTo>
                    <a:pt x="1006" y="90"/>
                    <a:pt x="999" y="89"/>
                    <a:pt x="1001" y="82"/>
                  </a:cubicBezTo>
                  <a:cubicBezTo>
                    <a:pt x="1005" y="81"/>
                    <a:pt x="1009" y="82"/>
                    <a:pt x="1009" y="78"/>
                  </a:cubicBezTo>
                  <a:cubicBezTo>
                    <a:pt x="1006" y="78"/>
                    <a:pt x="1002" y="78"/>
                    <a:pt x="999" y="78"/>
                  </a:cubicBezTo>
                  <a:cubicBezTo>
                    <a:pt x="999" y="84"/>
                    <a:pt x="998" y="89"/>
                    <a:pt x="996" y="93"/>
                  </a:cubicBezTo>
                  <a:cubicBezTo>
                    <a:pt x="998" y="94"/>
                    <a:pt x="1008" y="103"/>
                    <a:pt x="1001" y="104"/>
                  </a:cubicBezTo>
                  <a:cubicBezTo>
                    <a:pt x="993" y="107"/>
                    <a:pt x="998" y="92"/>
                    <a:pt x="991" y="93"/>
                  </a:cubicBezTo>
                  <a:cubicBezTo>
                    <a:pt x="982" y="104"/>
                    <a:pt x="968" y="88"/>
                    <a:pt x="966" y="96"/>
                  </a:cubicBezTo>
                  <a:cubicBezTo>
                    <a:pt x="970" y="98"/>
                    <a:pt x="972" y="100"/>
                    <a:pt x="975" y="104"/>
                  </a:cubicBezTo>
                  <a:cubicBezTo>
                    <a:pt x="972" y="107"/>
                    <a:pt x="974" y="111"/>
                    <a:pt x="972" y="122"/>
                  </a:cubicBezTo>
                  <a:cubicBezTo>
                    <a:pt x="970" y="124"/>
                    <a:pt x="959" y="131"/>
                    <a:pt x="958" y="122"/>
                  </a:cubicBezTo>
                  <a:cubicBezTo>
                    <a:pt x="958" y="115"/>
                    <a:pt x="962" y="115"/>
                    <a:pt x="964" y="111"/>
                  </a:cubicBezTo>
                  <a:cubicBezTo>
                    <a:pt x="959" y="110"/>
                    <a:pt x="965" y="105"/>
                    <a:pt x="961" y="104"/>
                  </a:cubicBezTo>
                  <a:cubicBezTo>
                    <a:pt x="959" y="113"/>
                    <a:pt x="952" y="91"/>
                    <a:pt x="950" y="108"/>
                  </a:cubicBezTo>
                  <a:cubicBezTo>
                    <a:pt x="952" y="108"/>
                    <a:pt x="956" y="108"/>
                    <a:pt x="956" y="111"/>
                  </a:cubicBezTo>
                  <a:cubicBezTo>
                    <a:pt x="951" y="111"/>
                    <a:pt x="947" y="109"/>
                    <a:pt x="945" y="104"/>
                  </a:cubicBezTo>
                  <a:cubicBezTo>
                    <a:pt x="947" y="95"/>
                    <a:pt x="949" y="87"/>
                    <a:pt x="940" y="85"/>
                  </a:cubicBezTo>
                  <a:cubicBezTo>
                    <a:pt x="937" y="99"/>
                    <a:pt x="947" y="108"/>
                    <a:pt x="937" y="111"/>
                  </a:cubicBezTo>
                  <a:cubicBezTo>
                    <a:pt x="935" y="94"/>
                    <a:pt x="924" y="96"/>
                    <a:pt x="918" y="108"/>
                  </a:cubicBezTo>
                  <a:cubicBezTo>
                    <a:pt x="917" y="99"/>
                    <a:pt x="919" y="93"/>
                    <a:pt x="921" y="89"/>
                  </a:cubicBezTo>
                  <a:cubicBezTo>
                    <a:pt x="912" y="83"/>
                    <a:pt x="904" y="87"/>
                    <a:pt x="894" y="89"/>
                  </a:cubicBezTo>
                  <a:cubicBezTo>
                    <a:pt x="890" y="84"/>
                    <a:pt x="890" y="75"/>
                    <a:pt x="894" y="71"/>
                  </a:cubicBezTo>
                  <a:cubicBezTo>
                    <a:pt x="890" y="71"/>
                    <a:pt x="887" y="71"/>
                    <a:pt x="883" y="71"/>
                  </a:cubicBezTo>
                  <a:cubicBezTo>
                    <a:pt x="881" y="82"/>
                    <a:pt x="892" y="75"/>
                    <a:pt x="889" y="89"/>
                  </a:cubicBezTo>
                  <a:cubicBezTo>
                    <a:pt x="875" y="87"/>
                    <a:pt x="875" y="90"/>
                    <a:pt x="867" y="82"/>
                  </a:cubicBezTo>
                  <a:cubicBezTo>
                    <a:pt x="865" y="94"/>
                    <a:pt x="858" y="80"/>
                    <a:pt x="856" y="82"/>
                  </a:cubicBezTo>
                  <a:cubicBezTo>
                    <a:pt x="854" y="83"/>
                    <a:pt x="856" y="95"/>
                    <a:pt x="851" y="93"/>
                  </a:cubicBezTo>
                  <a:cubicBezTo>
                    <a:pt x="853" y="81"/>
                    <a:pt x="847" y="81"/>
                    <a:pt x="843" y="78"/>
                  </a:cubicBezTo>
                  <a:cubicBezTo>
                    <a:pt x="841" y="96"/>
                    <a:pt x="839" y="103"/>
                    <a:pt x="843" y="115"/>
                  </a:cubicBezTo>
                  <a:cubicBezTo>
                    <a:pt x="838" y="115"/>
                    <a:pt x="834" y="115"/>
                    <a:pt x="829" y="115"/>
                  </a:cubicBezTo>
                  <a:cubicBezTo>
                    <a:pt x="829" y="109"/>
                    <a:pt x="829" y="103"/>
                    <a:pt x="827" y="100"/>
                  </a:cubicBezTo>
                  <a:cubicBezTo>
                    <a:pt x="829" y="94"/>
                    <a:pt x="840" y="101"/>
                    <a:pt x="837" y="89"/>
                  </a:cubicBezTo>
                  <a:cubicBezTo>
                    <a:pt x="830" y="90"/>
                    <a:pt x="826" y="88"/>
                    <a:pt x="827" y="78"/>
                  </a:cubicBezTo>
                  <a:cubicBezTo>
                    <a:pt x="818" y="75"/>
                    <a:pt x="823" y="91"/>
                    <a:pt x="813" y="85"/>
                  </a:cubicBezTo>
                  <a:cubicBezTo>
                    <a:pt x="817" y="72"/>
                    <a:pt x="806" y="62"/>
                    <a:pt x="802" y="71"/>
                  </a:cubicBezTo>
                  <a:cubicBezTo>
                    <a:pt x="808" y="70"/>
                    <a:pt x="811" y="74"/>
                    <a:pt x="810" y="82"/>
                  </a:cubicBezTo>
                  <a:cubicBezTo>
                    <a:pt x="807" y="85"/>
                    <a:pt x="801" y="85"/>
                    <a:pt x="797" y="89"/>
                  </a:cubicBezTo>
                  <a:cubicBezTo>
                    <a:pt x="797" y="82"/>
                    <a:pt x="797" y="74"/>
                    <a:pt x="797" y="67"/>
                  </a:cubicBezTo>
                  <a:cubicBezTo>
                    <a:pt x="784" y="67"/>
                    <a:pt x="795" y="82"/>
                    <a:pt x="789" y="85"/>
                  </a:cubicBezTo>
                  <a:cubicBezTo>
                    <a:pt x="776" y="81"/>
                    <a:pt x="771" y="88"/>
                    <a:pt x="765" y="78"/>
                  </a:cubicBezTo>
                  <a:cubicBezTo>
                    <a:pt x="758" y="79"/>
                    <a:pt x="755" y="84"/>
                    <a:pt x="746" y="82"/>
                  </a:cubicBezTo>
                  <a:cubicBezTo>
                    <a:pt x="746" y="78"/>
                    <a:pt x="744" y="77"/>
                    <a:pt x="743" y="74"/>
                  </a:cubicBezTo>
                  <a:cubicBezTo>
                    <a:pt x="744" y="70"/>
                    <a:pt x="747" y="67"/>
                    <a:pt x="741" y="67"/>
                  </a:cubicBezTo>
                  <a:cubicBezTo>
                    <a:pt x="732" y="66"/>
                    <a:pt x="747" y="78"/>
                    <a:pt x="738" y="78"/>
                  </a:cubicBezTo>
                  <a:cubicBezTo>
                    <a:pt x="733" y="78"/>
                    <a:pt x="736" y="66"/>
                    <a:pt x="730" y="67"/>
                  </a:cubicBezTo>
                  <a:cubicBezTo>
                    <a:pt x="729" y="71"/>
                    <a:pt x="727" y="73"/>
                    <a:pt x="724" y="74"/>
                  </a:cubicBezTo>
                  <a:cubicBezTo>
                    <a:pt x="718" y="57"/>
                    <a:pt x="687" y="71"/>
                    <a:pt x="681" y="52"/>
                  </a:cubicBezTo>
                  <a:cubicBezTo>
                    <a:pt x="691" y="55"/>
                    <a:pt x="692" y="44"/>
                    <a:pt x="700" y="45"/>
                  </a:cubicBezTo>
                  <a:cubicBezTo>
                    <a:pt x="700" y="48"/>
                    <a:pt x="700" y="52"/>
                    <a:pt x="700" y="56"/>
                  </a:cubicBezTo>
                  <a:cubicBezTo>
                    <a:pt x="707" y="55"/>
                    <a:pt x="710" y="49"/>
                    <a:pt x="714" y="45"/>
                  </a:cubicBezTo>
                  <a:cubicBezTo>
                    <a:pt x="710" y="41"/>
                    <a:pt x="707" y="34"/>
                    <a:pt x="703" y="30"/>
                  </a:cubicBezTo>
                  <a:cubicBezTo>
                    <a:pt x="702" y="34"/>
                    <a:pt x="700" y="38"/>
                    <a:pt x="698" y="41"/>
                  </a:cubicBezTo>
                  <a:cubicBezTo>
                    <a:pt x="697" y="31"/>
                    <a:pt x="693" y="46"/>
                    <a:pt x="687" y="41"/>
                  </a:cubicBezTo>
                  <a:cubicBezTo>
                    <a:pt x="687" y="35"/>
                    <a:pt x="680" y="38"/>
                    <a:pt x="681" y="30"/>
                  </a:cubicBezTo>
                  <a:cubicBezTo>
                    <a:pt x="673" y="25"/>
                    <a:pt x="679" y="42"/>
                    <a:pt x="671" y="37"/>
                  </a:cubicBezTo>
                  <a:cubicBezTo>
                    <a:pt x="667" y="38"/>
                    <a:pt x="668" y="30"/>
                    <a:pt x="665" y="30"/>
                  </a:cubicBezTo>
                  <a:cubicBezTo>
                    <a:pt x="664" y="30"/>
                    <a:pt x="664" y="36"/>
                    <a:pt x="660" y="34"/>
                  </a:cubicBezTo>
                  <a:cubicBezTo>
                    <a:pt x="659" y="33"/>
                    <a:pt x="660" y="27"/>
                    <a:pt x="660" y="26"/>
                  </a:cubicBezTo>
                  <a:cubicBezTo>
                    <a:pt x="646" y="29"/>
                    <a:pt x="636" y="25"/>
                    <a:pt x="630" y="15"/>
                  </a:cubicBezTo>
                  <a:cubicBezTo>
                    <a:pt x="631" y="22"/>
                    <a:pt x="627" y="22"/>
                    <a:pt x="625" y="26"/>
                  </a:cubicBezTo>
                  <a:cubicBezTo>
                    <a:pt x="626" y="26"/>
                    <a:pt x="628" y="29"/>
                    <a:pt x="625" y="30"/>
                  </a:cubicBezTo>
                  <a:cubicBezTo>
                    <a:pt x="625" y="26"/>
                    <a:pt x="621" y="24"/>
                    <a:pt x="625" y="22"/>
                  </a:cubicBezTo>
                  <a:cubicBezTo>
                    <a:pt x="626" y="18"/>
                    <a:pt x="629" y="15"/>
                    <a:pt x="622" y="15"/>
                  </a:cubicBezTo>
                  <a:cubicBezTo>
                    <a:pt x="618" y="15"/>
                    <a:pt x="621" y="25"/>
                    <a:pt x="617" y="26"/>
                  </a:cubicBezTo>
                  <a:cubicBezTo>
                    <a:pt x="608" y="12"/>
                    <a:pt x="600" y="36"/>
                    <a:pt x="593" y="34"/>
                  </a:cubicBezTo>
                  <a:cubicBezTo>
                    <a:pt x="591" y="33"/>
                    <a:pt x="590" y="22"/>
                    <a:pt x="587" y="22"/>
                  </a:cubicBezTo>
                  <a:cubicBezTo>
                    <a:pt x="587" y="28"/>
                    <a:pt x="588" y="36"/>
                    <a:pt x="585" y="37"/>
                  </a:cubicBezTo>
                  <a:cubicBezTo>
                    <a:pt x="584" y="33"/>
                    <a:pt x="580" y="33"/>
                    <a:pt x="577" y="34"/>
                  </a:cubicBezTo>
                  <a:cubicBezTo>
                    <a:pt x="578" y="24"/>
                    <a:pt x="571" y="26"/>
                    <a:pt x="568" y="22"/>
                  </a:cubicBezTo>
                  <a:cubicBezTo>
                    <a:pt x="568" y="26"/>
                    <a:pt x="566" y="27"/>
                    <a:pt x="566" y="30"/>
                  </a:cubicBezTo>
                  <a:cubicBezTo>
                    <a:pt x="566" y="34"/>
                    <a:pt x="570" y="36"/>
                    <a:pt x="566" y="37"/>
                  </a:cubicBezTo>
                  <a:cubicBezTo>
                    <a:pt x="565" y="32"/>
                    <a:pt x="562" y="30"/>
                    <a:pt x="563" y="22"/>
                  </a:cubicBezTo>
                  <a:cubicBezTo>
                    <a:pt x="557" y="30"/>
                    <a:pt x="548" y="16"/>
                    <a:pt x="542" y="26"/>
                  </a:cubicBezTo>
                  <a:cubicBezTo>
                    <a:pt x="544" y="30"/>
                    <a:pt x="547" y="34"/>
                    <a:pt x="550" y="37"/>
                  </a:cubicBezTo>
                  <a:cubicBezTo>
                    <a:pt x="541" y="38"/>
                    <a:pt x="542" y="26"/>
                    <a:pt x="531" y="30"/>
                  </a:cubicBezTo>
                  <a:cubicBezTo>
                    <a:pt x="528" y="24"/>
                    <a:pt x="527" y="18"/>
                    <a:pt x="520" y="19"/>
                  </a:cubicBezTo>
                  <a:cubicBezTo>
                    <a:pt x="519" y="16"/>
                    <a:pt x="520" y="12"/>
                    <a:pt x="517" y="11"/>
                  </a:cubicBezTo>
                  <a:cubicBezTo>
                    <a:pt x="519" y="29"/>
                    <a:pt x="509" y="18"/>
                    <a:pt x="515" y="26"/>
                  </a:cubicBezTo>
                  <a:cubicBezTo>
                    <a:pt x="516" y="28"/>
                    <a:pt x="517" y="34"/>
                    <a:pt x="515" y="34"/>
                  </a:cubicBezTo>
                  <a:cubicBezTo>
                    <a:pt x="510" y="32"/>
                    <a:pt x="513" y="19"/>
                    <a:pt x="504" y="22"/>
                  </a:cubicBezTo>
                  <a:cubicBezTo>
                    <a:pt x="501" y="29"/>
                    <a:pt x="512" y="35"/>
                    <a:pt x="504" y="37"/>
                  </a:cubicBezTo>
                  <a:cubicBezTo>
                    <a:pt x="500" y="33"/>
                    <a:pt x="503" y="19"/>
                    <a:pt x="496" y="19"/>
                  </a:cubicBezTo>
                  <a:cubicBezTo>
                    <a:pt x="497" y="29"/>
                    <a:pt x="486" y="10"/>
                    <a:pt x="485" y="22"/>
                  </a:cubicBezTo>
                  <a:cubicBezTo>
                    <a:pt x="489" y="25"/>
                    <a:pt x="492" y="28"/>
                    <a:pt x="493" y="34"/>
                  </a:cubicBezTo>
                  <a:cubicBezTo>
                    <a:pt x="487" y="29"/>
                    <a:pt x="483" y="43"/>
                    <a:pt x="482" y="34"/>
                  </a:cubicBezTo>
                  <a:cubicBezTo>
                    <a:pt x="482" y="29"/>
                    <a:pt x="487" y="30"/>
                    <a:pt x="488" y="26"/>
                  </a:cubicBezTo>
                  <a:cubicBezTo>
                    <a:pt x="488" y="26"/>
                    <a:pt x="482" y="22"/>
                    <a:pt x="482" y="19"/>
                  </a:cubicBezTo>
                  <a:cubicBezTo>
                    <a:pt x="483" y="17"/>
                    <a:pt x="489" y="15"/>
                    <a:pt x="488" y="11"/>
                  </a:cubicBezTo>
                  <a:cubicBezTo>
                    <a:pt x="479" y="8"/>
                    <a:pt x="484" y="24"/>
                    <a:pt x="477" y="22"/>
                  </a:cubicBezTo>
                  <a:cubicBezTo>
                    <a:pt x="467" y="27"/>
                    <a:pt x="462" y="15"/>
                    <a:pt x="458" y="22"/>
                  </a:cubicBezTo>
                  <a:cubicBezTo>
                    <a:pt x="459" y="22"/>
                    <a:pt x="462" y="26"/>
                    <a:pt x="458" y="26"/>
                  </a:cubicBezTo>
                  <a:cubicBezTo>
                    <a:pt x="459" y="16"/>
                    <a:pt x="441" y="31"/>
                    <a:pt x="445" y="15"/>
                  </a:cubicBezTo>
                  <a:cubicBezTo>
                    <a:pt x="440" y="14"/>
                    <a:pt x="439" y="20"/>
                    <a:pt x="437" y="22"/>
                  </a:cubicBezTo>
                  <a:cubicBezTo>
                    <a:pt x="435" y="18"/>
                    <a:pt x="434" y="14"/>
                    <a:pt x="431" y="11"/>
                  </a:cubicBezTo>
                  <a:cubicBezTo>
                    <a:pt x="425" y="29"/>
                    <a:pt x="405" y="19"/>
                    <a:pt x="399" y="30"/>
                  </a:cubicBezTo>
                  <a:cubicBezTo>
                    <a:pt x="397" y="25"/>
                    <a:pt x="393" y="23"/>
                    <a:pt x="388" y="22"/>
                  </a:cubicBezTo>
                  <a:cubicBezTo>
                    <a:pt x="388" y="18"/>
                    <a:pt x="388" y="14"/>
                    <a:pt x="383" y="15"/>
                  </a:cubicBezTo>
                  <a:cubicBezTo>
                    <a:pt x="378" y="18"/>
                    <a:pt x="379" y="29"/>
                    <a:pt x="372" y="30"/>
                  </a:cubicBezTo>
                  <a:cubicBezTo>
                    <a:pt x="372" y="26"/>
                    <a:pt x="370" y="26"/>
                    <a:pt x="367" y="26"/>
                  </a:cubicBezTo>
                  <a:cubicBezTo>
                    <a:pt x="364" y="26"/>
                    <a:pt x="365" y="23"/>
                    <a:pt x="364" y="22"/>
                  </a:cubicBezTo>
                  <a:cubicBezTo>
                    <a:pt x="362" y="21"/>
                    <a:pt x="359" y="23"/>
                    <a:pt x="356" y="22"/>
                  </a:cubicBezTo>
                  <a:cubicBezTo>
                    <a:pt x="354" y="22"/>
                    <a:pt x="352" y="19"/>
                    <a:pt x="351" y="19"/>
                  </a:cubicBezTo>
                  <a:cubicBezTo>
                    <a:pt x="349" y="19"/>
                    <a:pt x="348" y="30"/>
                    <a:pt x="343" y="26"/>
                  </a:cubicBezTo>
                  <a:cubicBezTo>
                    <a:pt x="342" y="21"/>
                    <a:pt x="344" y="13"/>
                    <a:pt x="340" y="11"/>
                  </a:cubicBezTo>
                  <a:cubicBezTo>
                    <a:pt x="339" y="14"/>
                    <a:pt x="340" y="19"/>
                    <a:pt x="337" y="19"/>
                  </a:cubicBezTo>
                  <a:cubicBezTo>
                    <a:pt x="333" y="23"/>
                    <a:pt x="333" y="20"/>
                    <a:pt x="329" y="19"/>
                  </a:cubicBezTo>
                  <a:cubicBezTo>
                    <a:pt x="324" y="17"/>
                    <a:pt x="321" y="23"/>
                    <a:pt x="318" y="22"/>
                  </a:cubicBezTo>
                  <a:cubicBezTo>
                    <a:pt x="317" y="22"/>
                    <a:pt x="317" y="18"/>
                    <a:pt x="313" y="19"/>
                  </a:cubicBezTo>
                  <a:cubicBezTo>
                    <a:pt x="311" y="19"/>
                    <a:pt x="312" y="23"/>
                    <a:pt x="308" y="22"/>
                  </a:cubicBezTo>
                  <a:cubicBezTo>
                    <a:pt x="307" y="22"/>
                    <a:pt x="303" y="15"/>
                    <a:pt x="302" y="15"/>
                  </a:cubicBezTo>
                  <a:cubicBezTo>
                    <a:pt x="288" y="21"/>
                    <a:pt x="275" y="26"/>
                    <a:pt x="265" y="15"/>
                  </a:cubicBezTo>
                  <a:cubicBezTo>
                    <a:pt x="265" y="21"/>
                    <a:pt x="253" y="23"/>
                    <a:pt x="251" y="22"/>
                  </a:cubicBezTo>
                  <a:cubicBezTo>
                    <a:pt x="249" y="22"/>
                    <a:pt x="249" y="19"/>
                    <a:pt x="249" y="19"/>
                  </a:cubicBezTo>
                  <a:cubicBezTo>
                    <a:pt x="243" y="18"/>
                    <a:pt x="234" y="31"/>
                    <a:pt x="235" y="15"/>
                  </a:cubicBezTo>
                  <a:cubicBezTo>
                    <a:pt x="225" y="18"/>
                    <a:pt x="215" y="19"/>
                    <a:pt x="205" y="22"/>
                  </a:cubicBezTo>
                  <a:cubicBezTo>
                    <a:pt x="202" y="22"/>
                    <a:pt x="201" y="18"/>
                    <a:pt x="200" y="15"/>
                  </a:cubicBezTo>
                  <a:cubicBezTo>
                    <a:pt x="195" y="12"/>
                    <a:pt x="195" y="21"/>
                    <a:pt x="189" y="22"/>
                  </a:cubicBezTo>
                  <a:cubicBezTo>
                    <a:pt x="189" y="22"/>
                    <a:pt x="187" y="18"/>
                    <a:pt x="184" y="19"/>
                  </a:cubicBezTo>
                  <a:cubicBezTo>
                    <a:pt x="184" y="19"/>
                    <a:pt x="184" y="22"/>
                    <a:pt x="184" y="22"/>
                  </a:cubicBezTo>
                  <a:cubicBezTo>
                    <a:pt x="182" y="25"/>
                    <a:pt x="166" y="23"/>
                    <a:pt x="165" y="22"/>
                  </a:cubicBezTo>
                  <a:cubicBezTo>
                    <a:pt x="161" y="21"/>
                    <a:pt x="162" y="19"/>
                    <a:pt x="160" y="22"/>
                  </a:cubicBezTo>
                  <a:cubicBezTo>
                    <a:pt x="158" y="26"/>
                    <a:pt x="145" y="22"/>
                    <a:pt x="144" y="22"/>
                  </a:cubicBezTo>
                  <a:cubicBezTo>
                    <a:pt x="140" y="24"/>
                    <a:pt x="140" y="26"/>
                    <a:pt x="138" y="22"/>
                  </a:cubicBezTo>
                  <a:cubicBezTo>
                    <a:pt x="138" y="22"/>
                    <a:pt x="134" y="23"/>
                    <a:pt x="133" y="22"/>
                  </a:cubicBezTo>
                  <a:cubicBezTo>
                    <a:pt x="123" y="21"/>
                    <a:pt x="120" y="19"/>
                    <a:pt x="114" y="19"/>
                  </a:cubicBezTo>
                  <a:cubicBezTo>
                    <a:pt x="110" y="18"/>
                    <a:pt x="111" y="23"/>
                    <a:pt x="109" y="19"/>
                  </a:cubicBezTo>
                  <a:cubicBezTo>
                    <a:pt x="108" y="18"/>
                    <a:pt x="104" y="19"/>
                    <a:pt x="103" y="19"/>
                  </a:cubicBezTo>
                  <a:cubicBezTo>
                    <a:pt x="99" y="17"/>
                    <a:pt x="97" y="16"/>
                    <a:pt x="95" y="19"/>
                  </a:cubicBezTo>
                  <a:cubicBezTo>
                    <a:pt x="95" y="19"/>
                    <a:pt x="91" y="19"/>
                    <a:pt x="90" y="19"/>
                  </a:cubicBezTo>
                  <a:cubicBezTo>
                    <a:pt x="80" y="19"/>
                    <a:pt x="79" y="14"/>
                    <a:pt x="76" y="19"/>
                  </a:cubicBezTo>
                  <a:cubicBezTo>
                    <a:pt x="74" y="23"/>
                    <a:pt x="64" y="15"/>
                    <a:pt x="63" y="15"/>
                  </a:cubicBezTo>
                  <a:cubicBezTo>
                    <a:pt x="55" y="13"/>
                    <a:pt x="48" y="12"/>
                    <a:pt x="39" y="11"/>
                  </a:cubicBezTo>
                  <a:cubicBezTo>
                    <a:pt x="39" y="7"/>
                    <a:pt x="42" y="6"/>
                    <a:pt x="41" y="0"/>
                  </a:cubicBezTo>
                  <a:cubicBezTo>
                    <a:pt x="28" y="7"/>
                    <a:pt x="16" y="24"/>
                    <a:pt x="12" y="37"/>
                  </a:cubicBezTo>
                  <a:cubicBezTo>
                    <a:pt x="11" y="39"/>
                    <a:pt x="9" y="43"/>
                    <a:pt x="9" y="45"/>
                  </a:cubicBezTo>
                  <a:cubicBezTo>
                    <a:pt x="9" y="48"/>
                    <a:pt x="7" y="47"/>
                    <a:pt x="7" y="48"/>
                  </a:cubicBezTo>
                  <a:cubicBezTo>
                    <a:pt x="4" y="56"/>
                    <a:pt x="5" y="69"/>
                    <a:pt x="4" y="78"/>
                  </a:cubicBezTo>
                  <a:cubicBezTo>
                    <a:pt x="4" y="78"/>
                    <a:pt x="2" y="79"/>
                    <a:pt x="1" y="82"/>
                  </a:cubicBezTo>
                  <a:cubicBezTo>
                    <a:pt x="0" y="85"/>
                    <a:pt x="2" y="89"/>
                    <a:pt x="1" y="93"/>
                  </a:cubicBezTo>
                  <a:cubicBezTo>
                    <a:pt x="18" y="99"/>
                    <a:pt x="3" y="124"/>
                    <a:pt x="4" y="141"/>
                  </a:cubicBezTo>
                  <a:cubicBezTo>
                    <a:pt x="9" y="138"/>
                    <a:pt x="8" y="146"/>
                    <a:pt x="9" y="148"/>
                  </a:cubicBezTo>
                  <a:cubicBezTo>
                    <a:pt x="12" y="151"/>
                    <a:pt x="18" y="149"/>
                    <a:pt x="17" y="156"/>
                  </a:cubicBezTo>
                  <a:cubicBezTo>
                    <a:pt x="15" y="156"/>
                    <a:pt x="14" y="156"/>
                    <a:pt x="12" y="156"/>
                  </a:cubicBezTo>
                  <a:cubicBezTo>
                    <a:pt x="15" y="172"/>
                    <a:pt x="3" y="168"/>
                    <a:pt x="4" y="182"/>
                  </a:cubicBezTo>
                  <a:cubicBezTo>
                    <a:pt x="7" y="182"/>
                    <a:pt x="11" y="181"/>
                    <a:pt x="12" y="185"/>
                  </a:cubicBezTo>
                  <a:cubicBezTo>
                    <a:pt x="13" y="199"/>
                    <a:pt x="19" y="203"/>
                    <a:pt x="15" y="215"/>
                  </a:cubicBezTo>
                  <a:cubicBezTo>
                    <a:pt x="20" y="212"/>
                    <a:pt x="18" y="220"/>
                    <a:pt x="20" y="222"/>
                  </a:cubicBezTo>
                  <a:cubicBezTo>
                    <a:pt x="21" y="224"/>
                    <a:pt x="26" y="222"/>
                    <a:pt x="25" y="226"/>
                  </a:cubicBezTo>
                  <a:cubicBezTo>
                    <a:pt x="25" y="232"/>
                    <a:pt x="26" y="237"/>
                    <a:pt x="28" y="241"/>
                  </a:cubicBezTo>
                  <a:cubicBezTo>
                    <a:pt x="25" y="241"/>
                    <a:pt x="23" y="241"/>
                    <a:pt x="20" y="241"/>
                  </a:cubicBezTo>
                  <a:cubicBezTo>
                    <a:pt x="23" y="252"/>
                    <a:pt x="22" y="255"/>
                    <a:pt x="17" y="263"/>
                  </a:cubicBezTo>
                  <a:cubicBezTo>
                    <a:pt x="22" y="264"/>
                    <a:pt x="24" y="257"/>
                    <a:pt x="25" y="263"/>
                  </a:cubicBezTo>
                  <a:cubicBezTo>
                    <a:pt x="24" y="268"/>
                    <a:pt x="20" y="270"/>
                    <a:pt x="15" y="270"/>
                  </a:cubicBezTo>
                  <a:cubicBezTo>
                    <a:pt x="12" y="282"/>
                    <a:pt x="22" y="278"/>
                    <a:pt x="23" y="285"/>
                  </a:cubicBezTo>
                  <a:cubicBezTo>
                    <a:pt x="14" y="288"/>
                    <a:pt x="18" y="297"/>
                    <a:pt x="15" y="300"/>
                  </a:cubicBezTo>
                  <a:cubicBezTo>
                    <a:pt x="7" y="310"/>
                    <a:pt x="12" y="294"/>
                    <a:pt x="7" y="292"/>
                  </a:cubicBezTo>
                  <a:cubicBezTo>
                    <a:pt x="1" y="306"/>
                    <a:pt x="12" y="313"/>
                    <a:pt x="15" y="322"/>
                  </a:cubicBezTo>
                  <a:cubicBezTo>
                    <a:pt x="16" y="325"/>
                    <a:pt x="9" y="334"/>
                    <a:pt x="17" y="333"/>
                  </a:cubicBezTo>
                  <a:cubicBezTo>
                    <a:pt x="18" y="329"/>
                    <a:pt x="17" y="323"/>
                    <a:pt x="20" y="322"/>
                  </a:cubicBezTo>
                  <a:cubicBezTo>
                    <a:pt x="19" y="334"/>
                    <a:pt x="25" y="335"/>
                    <a:pt x="23" y="348"/>
                  </a:cubicBezTo>
                  <a:cubicBezTo>
                    <a:pt x="22" y="352"/>
                    <a:pt x="6" y="352"/>
                    <a:pt x="15" y="355"/>
                  </a:cubicBezTo>
                  <a:cubicBezTo>
                    <a:pt x="23" y="357"/>
                    <a:pt x="26" y="347"/>
                    <a:pt x="28" y="359"/>
                  </a:cubicBezTo>
                  <a:cubicBezTo>
                    <a:pt x="25" y="358"/>
                    <a:pt x="23" y="353"/>
                    <a:pt x="23" y="363"/>
                  </a:cubicBezTo>
                  <a:cubicBezTo>
                    <a:pt x="31" y="367"/>
                    <a:pt x="29" y="357"/>
                    <a:pt x="33" y="355"/>
                  </a:cubicBezTo>
                  <a:cubicBezTo>
                    <a:pt x="34" y="363"/>
                    <a:pt x="43" y="359"/>
                    <a:pt x="44" y="366"/>
                  </a:cubicBezTo>
                  <a:cubicBezTo>
                    <a:pt x="39" y="374"/>
                    <a:pt x="45" y="374"/>
                    <a:pt x="47" y="381"/>
                  </a:cubicBezTo>
                  <a:cubicBezTo>
                    <a:pt x="43" y="380"/>
                    <a:pt x="42" y="377"/>
                    <a:pt x="39" y="381"/>
                  </a:cubicBezTo>
                  <a:cubicBezTo>
                    <a:pt x="41" y="369"/>
                    <a:pt x="33" y="376"/>
                    <a:pt x="33" y="381"/>
                  </a:cubicBezTo>
                  <a:cubicBezTo>
                    <a:pt x="40" y="382"/>
                    <a:pt x="43" y="388"/>
                    <a:pt x="47" y="392"/>
                  </a:cubicBezTo>
                  <a:cubicBezTo>
                    <a:pt x="42" y="392"/>
                    <a:pt x="38" y="392"/>
                    <a:pt x="33" y="392"/>
                  </a:cubicBezTo>
                  <a:cubicBezTo>
                    <a:pt x="31" y="404"/>
                    <a:pt x="41" y="399"/>
                    <a:pt x="39" y="411"/>
                  </a:cubicBezTo>
                  <a:cubicBezTo>
                    <a:pt x="45" y="416"/>
                    <a:pt x="50" y="400"/>
                    <a:pt x="52" y="411"/>
                  </a:cubicBezTo>
                  <a:cubicBezTo>
                    <a:pt x="49" y="411"/>
                    <a:pt x="46" y="412"/>
                    <a:pt x="47" y="418"/>
                  </a:cubicBezTo>
                  <a:cubicBezTo>
                    <a:pt x="47" y="423"/>
                    <a:pt x="51" y="422"/>
                    <a:pt x="52" y="426"/>
                  </a:cubicBezTo>
                  <a:cubicBezTo>
                    <a:pt x="46" y="425"/>
                    <a:pt x="42" y="427"/>
                    <a:pt x="41" y="433"/>
                  </a:cubicBezTo>
                  <a:cubicBezTo>
                    <a:pt x="45" y="434"/>
                    <a:pt x="44" y="439"/>
                    <a:pt x="44" y="444"/>
                  </a:cubicBezTo>
                  <a:cubicBezTo>
                    <a:pt x="52" y="450"/>
                    <a:pt x="56" y="439"/>
                    <a:pt x="58" y="455"/>
                  </a:cubicBezTo>
                  <a:cubicBezTo>
                    <a:pt x="48" y="458"/>
                    <a:pt x="46" y="451"/>
                    <a:pt x="41" y="448"/>
                  </a:cubicBezTo>
                  <a:cubicBezTo>
                    <a:pt x="45" y="457"/>
                    <a:pt x="31" y="459"/>
                    <a:pt x="39" y="463"/>
                  </a:cubicBezTo>
                  <a:cubicBezTo>
                    <a:pt x="39" y="458"/>
                    <a:pt x="46" y="458"/>
                    <a:pt x="47" y="463"/>
                  </a:cubicBezTo>
                  <a:cubicBezTo>
                    <a:pt x="36" y="459"/>
                    <a:pt x="51" y="487"/>
                    <a:pt x="36" y="485"/>
                  </a:cubicBezTo>
                  <a:cubicBezTo>
                    <a:pt x="38" y="499"/>
                    <a:pt x="44" y="506"/>
                    <a:pt x="47" y="518"/>
                  </a:cubicBezTo>
                  <a:cubicBezTo>
                    <a:pt x="39" y="526"/>
                    <a:pt x="47" y="532"/>
                    <a:pt x="39" y="537"/>
                  </a:cubicBezTo>
                  <a:cubicBezTo>
                    <a:pt x="40" y="534"/>
                    <a:pt x="36" y="533"/>
                    <a:pt x="36" y="533"/>
                  </a:cubicBezTo>
                  <a:cubicBezTo>
                    <a:pt x="36" y="530"/>
                    <a:pt x="39" y="528"/>
                    <a:pt x="39" y="529"/>
                  </a:cubicBezTo>
                  <a:cubicBezTo>
                    <a:pt x="38" y="525"/>
                    <a:pt x="36" y="520"/>
                    <a:pt x="36" y="518"/>
                  </a:cubicBezTo>
                  <a:cubicBezTo>
                    <a:pt x="36" y="518"/>
                    <a:pt x="41" y="517"/>
                    <a:pt x="41" y="514"/>
                  </a:cubicBezTo>
                  <a:cubicBezTo>
                    <a:pt x="42" y="511"/>
                    <a:pt x="37" y="508"/>
                    <a:pt x="36" y="507"/>
                  </a:cubicBezTo>
                  <a:cubicBezTo>
                    <a:pt x="31" y="519"/>
                    <a:pt x="41" y="530"/>
                    <a:pt x="28" y="533"/>
                  </a:cubicBezTo>
                  <a:cubicBezTo>
                    <a:pt x="28" y="539"/>
                    <a:pt x="28" y="545"/>
                    <a:pt x="28" y="551"/>
                  </a:cubicBezTo>
                  <a:cubicBezTo>
                    <a:pt x="38" y="557"/>
                    <a:pt x="29" y="535"/>
                    <a:pt x="39" y="540"/>
                  </a:cubicBezTo>
                  <a:cubicBezTo>
                    <a:pt x="34" y="547"/>
                    <a:pt x="38" y="550"/>
                    <a:pt x="39" y="559"/>
                  </a:cubicBezTo>
                  <a:cubicBezTo>
                    <a:pt x="37" y="560"/>
                    <a:pt x="34" y="559"/>
                    <a:pt x="33" y="562"/>
                  </a:cubicBezTo>
                  <a:cubicBezTo>
                    <a:pt x="37" y="572"/>
                    <a:pt x="41" y="556"/>
                    <a:pt x="44" y="566"/>
                  </a:cubicBezTo>
                  <a:cubicBezTo>
                    <a:pt x="39" y="564"/>
                    <a:pt x="36" y="583"/>
                    <a:pt x="41" y="585"/>
                  </a:cubicBezTo>
                  <a:cubicBezTo>
                    <a:pt x="45" y="579"/>
                    <a:pt x="46" y="569"/>
                    <a:pt x="52" y="566"/>
                  </a:cubicBezTo>
                  <a:cubicBezTo>
                    <a:pt x="57" y="573"/>
                    <a:pt x="50" y="579"/>
                    <a:pt x="47" y="585"/>
                  </a:cubicBezTo>
                  <a:cubicBezTo>
                    <a:pt x="44" y="585"/>
                    <a:pt x="44" y="588"/>
                    <a:pt x="41" y="588"/>
                  </a:cubicBezTo>
                  <a:cubicBezTo>
                    <a:pt x="35" y="593"/>
                    <a:pt x="31" y="579"/>
                    <a:pt x="31" y="588"/>
                  </a:cubicBezTo>
                  <a:cubicBezTo>
                    <a:pt x="34" y="598"/>
                    <a:pt x="52" y="589"/>
                    <a:pt x="49" y="607"/>
                  </a:cubicBezTo>
                  <a:cubicBezTo>
                    <a:pt x="46" y="602"/>
                    <a:pt x="38" y="604"/>
                    <a:pt x="39" y="614"/>
                  </a:cubicBezTo>
                  <a:cubicBezTo>
                    <a:pt x="49" y="609"/>
                    <a:pt x="45" y="622"/>
                    <a:pt x="47" y="625"/>
                  </a:cubicBezTo>
                  <a:cubicBezTo>
                    <a:pt x="48" y="627"/>
                    <a:pt x="53" y="625"/>
                    <a:pt x="52" y="629"/>
                  </a:cubicBezTo>
                  <a:cubicBezTo>
                    <a:pt x="50" y="649"/>
                    <a:pt x="39" y="636"/>
                    <a:pt x="33" y="648"/>
                  </a:cubicBezTo>
                  <a:cubicBezTo>
                    <a:pt x="42" y="647"/>
                    <a:pt x="35" y="663"/>
                    <a:pt x="36" y="670"/>
                  </a:cubicBezTo>
                  <a:cubicBezTo>
                    <a:pt x="36" y="670"/>
                    <a:pt x="41" y="671"/>
                    <a:pt x="41" y="673"/>
                  </a:cubicBezTo>
                  <a:cubicBezTo>
                    <a:pt x="42" y="678"/>
                    <a:pt x="37" y="679"/>
                    <a:pt x="39" y="684"/>
                  </a:cubicBezTo>
                  <a:cubicBezTo>
                    <a:pt x="41" y="685"/>
                    <a:pt x="42" y="688"/>
                    <a:pt x="41" y="692"/>
                  </a:cubicBezTo>
                  <a:cubicBezTo>
                    <a:pt x="46" y="692"/>
                    <a:pt x="51" y="691"/>
                    <a:pt x="49" y="699"/>
                  </a:cubicBezTo>
                  <a:cubicBezTo>
                    <a:pt x="46" y="699"/>
                    <a:pt x="46" y="695"/>
                    <a:pt x="41" y="696"/>
                  </a:cubicBezTo>
                  <a:cubicBezTo>
                    <a:pt x="45" y="707"/>
                    <a:pt x="37" y="705"/>
                    <a:pt x="36" y="710"/>
                  </a:cubicBezTo>
                  <a:cubicBezTo>
                    <a:pt x="40" y="712"/>
                    <a:pt x="43" y="716"/>
                    <a:pt x="44" y="721"/>
                  </a:cubicBezTo>
                  <a:cubicBezTo>
                    <a:pt x="39" y="722"/>
                    <a:pt x="36" y="721"/>
                    <a:pt x="33" y="718"/>
                  </a:cubicBezTo>
                  <a:cubicBezTo>
                    <a:pt x="31" y="730"/>
                    <a:pt x="36" y="732"/>
                    <a:pt x="39" y="736"/>
                  </a:cubicBezTo>
                  <a:cubicBezTo>
                    <a:pt x="31" y="730"/>
                    <a:pt x="31" y="752"/>
                    <a:pt x="36" y="751"/>
                  </a:cubicBezTo>
                  <a:cubicBezTo>
                    <a:pt x="38" y="733"/>
                    <a:pt x="37" y="755"/>
                    <a:pt x="41" y="755"/>
                  </a:cubicBezTo>
                  <a:cubicBezTo>
                    <a:pt x="40" y="748"/>
                    <a:pt x="49" y="736"/>
                    <a:pt x="49" y="744"/>
                  </a:cubicBezTo>
                  <a:cubicBezTo>
                    <a:pt x="49" y="751"/>
                    <a:pt x="42" y="748"/>
                    <a:pt x="44" y="759"/>
                  </a:cubicBezTo>
                  <a:cubicBezTo>
                    <a:pt x="47" y="757"/>
                    <a:pt x="53" y="769"/>
                    <a:pt x="47" y="770"/>
                  </a:cubicBezTo>
                  <a:cubicBezTo>
                    <a:pt x="50" y="760"/>
                    <a:pt x="38" y="753"/>
                    <a:pt x="36" y="762"/>
                  </a:cubicBezTo>
                  <a:cubicBezTo>
                    <a:pt x="42" y="763"/>
                    <a:pt x="42" y="772"/>
                    <a:pt x="39" y="777"/>
                  </a:cubicBezTo>
                  <a:cubicBezTo>
                    <a:pt x="44" y="781"/>
                    <a:pt x="48" y="766"/>
                    <a:pt x="49" y="777"/>
                  </a:cubicBezTo>
                  <a:cubicBezTo>
                    <a:pt x="51" y="791"/>
                    <a:pt x="38" y="783"/>
                    <a:pt x="36" y="792"/>
                  </a:cubicBezTo>
                  <a:cubicBezTo>
                    <a:pt x="39" y="792"/>
                    <a:pt x="39" y="798"/>
                    <a:pt x="39" y="803"/>
                  </a:cubicBezTo>
                  <a:cubicBezTo>
                    <a:pt x="44" y="807"/>
                    <a:pt x="50" y="809"/>
                    <a:pt x="52" y="818"/>
                  </a:cubicBezTo>
                  <a:cubicBezTo>
                    <a:pt x="48" y="814"/>
                    <a:pt x="46" y="814"/>
                    <a:pt x="44" y="821"/>
                  </a:cubicBezTo>
                  <a:cubicBezTo>
                    <a:pt x="46" y="828"/>
                    <a:pt x="57" y="821"/>
                    <a:pt x="58" y="829"/>
                  </a:cubicBezTo>
                  <a:cubicBezTo>
                    <a:pt x="58" y="837"/>
                    <a:pt x="57" y="843"/>
                    <a:pt x="52" y="844"/>
                  </a:cubicBezTo>
                  <a:cubicBezTo>
                    <a:pt x="52" y="839"/>
                    <a:pt x="56" y="838"/>
                    <a:pt x="55" y="832"/>
                  </a:cubicBezTo>
                  <a:cubicBezTo>
                    <a:pt x="47" y="831"/>
                    <a:pt x="49" y="839"/>
                    <a:pt x="44" y="840"/>
                  </a:cubicBezTo>
                  <a:cubicBezTo>
                    <a:pt x="45" y="840"/>
                    <a:pt x="42" y="833"/>
                    <a:pt x="41" y="832"/>
                  </a:cubicBezTo>
                  <a:cubicBezTo>
                    <a:pt x="39" y="831"/>
                    <a:pt x="37" y="838"/>
                    <a:pt x="36" y="840"/>
                  </a:cubicBezTo>
                  <a:cubicBezTo>
                    <a:pt x="39" y="841"/>
                    <a:pt x="42" y="845"/>
                    <a:pt x="41" y="851"/>
                  </a:cubicBezTo>
                  <a:cubicBezTo>
                    <a:pt x="45" y="852"/>
                    <a:pt x="49" y="845"/>
                    <a:pt x="49" y="851"/>
                  </a:cubicBezTo>
                  <a:cubicBezTo>
                    <a:pt x="49" y="852"/>
                    <a:pt x="47" y="858"/>
                    <a:pt x="47" y="858"/>
                  </a:cubicBezTo>
                  <a:cubicBezTo>
                    <a:pt x="55" y="864"/>
                    <a:pt x="56" y="859"/>
                    <a:pt x="63" y="858"/>
                  </a:cubicBezTo>
                  <a:cubicBezTo>
                    <a:pt x="62" y="864"/>
                    <a:pt x="67" y="868"/>
                    <a:pt x="68" y="862"/>
                  </a:cubicBezTo>
                  <a:cubicBezTo>
                    <a:pt x="64" y="862"/>
                    <a:pt x="73" y="838"/>
                    <a:pt x="66" y="832"/>
                  </a:cubicBezTo>
                  <a:cubicBezTo>
                    <a:pt x="76" y="835"/>
                    <a:pt x="67" y="801"/>
                    <a:pt x="79" y="818"/>
                  </a:cubicBezTo>
                  <a:cubicBezTo>
                    <a:pt x="81" y="807"/>
                    <a:pt x="75" y="808"/>
                    <a:pt x="76" y="799"/>
                  </a:cubicBezTo>
                  <a:cubicBezTo>
                    <a:pt x="70" y="800"/>
                    <a:pt x="66" y="798"/>
                    <a:pt x="66" y="792"/>
                  </a:cubicBezTo>
                  <a:cubicBezTo>
                    <a:pt x="71" y="792"/>
                    <a:pt x="65" y="787"/>
                    <a:pt x="66" y="784"/>
                  </a:cubicBezTo>
                  <a:cubicBezTo>
                    <a:pt x="66" y="783"/>
                    <a:pt x="71" y="785"/>
                    <a:pt x="71" y="784"/>
                  </a:cubicBezTo>
                  <a:cubicBezTo>
                    <a:pt x="73" y="780"/>
                    <a:pt x="69" y="763"/>
                    <a:pt x="76" y="766"/>
                  </a:cubicBezTo>
                  <a:cubicBezTo>
                    <a:pt x="70" y="760"/>
                    <a:pt x="77" y="755"/>
                    <a:pt x="76" y="751"/>
                  </a:cubicBezTo>
                  <a:cubicBezTo>
                    <a:pt x="76" y="749"/>
                    <a:pt x="64" y="739"/>
                    <a:pt x="74" y="736"/>
                  </a:cubicBezTo>
                  <a:cubicBezTo>
                    <a:pt x="77" y="741"/>
                    <a:pt x="86" y="739"/>
                    <a:pt x="90" y="744"/>
                  </a:cubicBezTo>
                  <a:cubicBezTo>
                    <a:pt x="88" y="735"/>
                    <a:pt x="86" y="726"/>
                    <a:pt x="95" y="725"/>
                  </a:cubicBezTo>
                  <a:cubicBezTo>
                    <a:pt x="92" y="739"/>
                    <a:pt x="100" y="756"/>
                    <a:pt x="106" y="744"/>
                  </a:cubicBezTo>
                  <a:cubicBezTo>
                    <a:pt x="102" y="741"/>
                    <a:pt x="101" y="739"/>
                    <a:pt x="103" y="736"/>
                  </a:cubicBezTo>
                  <a:cubicBezTo>
                    <a:pt x="104" y="736"/>
                    <a:pt x="96" y="719"/>
                    <a:pt x="103" y="721"/>
                  </a:cubicBezTo>
                  <a:cubicBezTo>
                    <a:pt x="107" y="735"/>
                    <a:pt x="113" y="734"/>
                    <a:pt x="109" y="751"/>
                  </a:cubicBezTo>
                  <a:cubicBezTo>
                    <a:pt x="113" y="751"/>
                    <a:pt x="117" y="752"/>
                    <a:pt x="119" y="755"/>
                  </a:cubicBezTo>
                  <a:cubicBezTo>
                    <a:pt x="119" y="746"/>
                    <a:pt x="114" y="739"/>
                    <a:pt x="122" y="736"/>
                  </a:cubicBezTo>
                  <a:cubicBezTo>
                    <a:pt x="122" y="752"/>
                    <a:pt x="124" y="745"/>
                    <a:pt x="128" y="740"/>
                  </a:cubicBezTo>
                  <a:cubicBezTo>
                    <a:pt x="125" y="764"/>
                    <a:pt x="138" y="764"/>
                    <a:pt x="149" y="770"/>
                  </a:cubicBezTo>
                  <a:cubicBezTo>
                    <a:pt x="149" y="765"/>
                    <a:pt x="150" y="761"/>
                    <a:pt x="154" y="762"/>
                  </a:cubicBezTo>
                  <a:cubicBezTo>
                    <a:pt x="155" y="758"/>
                    <a:pt x="155" y="753"/>
                    <a:pt x="160" y="755"/>
                  </a:cubicBezTo>
                  <a:cubicBezTo>
                    <a:pt x="163" y="767"/>
                    <a:pt x="151" y="758"/>
                    <a:pt x="154" y="770"/>
                  </a:cubicBezTo>
                  <a:cubicBezTo>
                    <a:pt x="158" y="769"/>
                    <a:pt x="164" y="771"/>
                    <a:pt x="165" y="766"/>
                  </a:cubicBezTo>
                  <a:cubicBezTo>
                    <a:pt x="161" y="766"/>
                    <a:pt x="165" y="762"/>
                    <a:pt x="165" y="762"/>
                  </a:cubicBezTo>
                  <a:cubicBezTo>
                    <a:pt x="165" y="760"/>
                    <a:pt x="162" y="756"/>
                    <a:pt x="163" y="755"/>
                  </a:cubicBezTo>
                  <a:cubicBezTo>
                    <a:pt x="163" y="751"/>
                    <a:pt x="168" y="752"/>
                    <a:pt x="168" y="744"/>
                  </a:cubicBezTo>
                  <a:cubicBezTo>
                    <a:pt x="168" y="744"/>
                    <a:pt x="165" y="744"/>
                    <a:pt x="165" y="744"/>
                  </a:cubicBezTo>
                  <a:cubicBezTo>
                    <a:pt x="163" y="741"/>
                    <a:pt x="161" y="721"/>
                    <a:pt x="168" y="729"/>
                  </a:cubicBezTo>
                  <a:cubicBezTo>
                    <a:pt x="169" y="715"/>
                    <a:pt x="157" y="719"/>
                    <a:pt x="160" y="703"/>
                  </a:cubicBezTo>
                  <a:cubicBezTo>
                    <a:pt x="166" y="702"/>
                    <a:pt x="171" y="699"/>
                    <a:pt x="176" y="696"/>
                  </a:cubicBezTo>
                  <a:cubicBezTo>
                    <a:pt x="176" y="691"/>
                    <a:pt x="176" y="686"/>
                    <a:pt x="176" y="681"/>
                  </a:cubicBezTo>
                  <a:cubicBezTo>
                    <a:pt x="165" y="683"/>
                    <a:pt x="174" y="672"/>
                    <a:pt x="173" y="670"/>
                  </a:cubicBezTo>
                  <a:cubicBezTo>
                    <a:pt x="173" y="667"/>
                    <a:pt x="168" y="666"/>
                    <a:pt x="168" y="662"/>
                  </a:cubicBezTo>
                  <a:cubicBezTo>
                    <a:pt x="167" y="658"/>
                    <a:pt x="168" y="652"/>
                    <a:pt x="170" y="651"/>
                  </a:cubicBezTo>
                  <a:cubicBezTo>
                    <a:pt x="174" y="653"/>
                    <a:pt x="173" y="659"/>
                    <a:pt x="176" y="662"/>
                  </a:cubicBezTo>
                  <a:cubicBezTo>
                    <a:pt x="175" y="661"/>
                    <a:pt x="177" y="658"/>
                    <a:pt x="178" y="658"/>
                  </a:cubicBezTo>
                  <a:cubicBezTo>
                    <a:pt x="177" y="659"/>
                    <a:pt x="188" y="675"/>
                    <a:pt x="187" y="662"/>
                  </a:cubicBezTo>
                  <a:cubicBezTo>
                    <a:pt x="184" y="661"/>
                    <a:pt x="183" y="655"/>
                    <a:pt x="181" y="651"/>
                  </a:cubicBezTo>
                  <a:cubicBezTo>
                    <a:pt x="177" y="641"/>
                    <a:pt x="184" y="646"/>
                    <a:pt x="181" y="636"/>
                  </a:cubicBezTo>
                  <a:cubicBezTo>
                    <a:pt x="181" y="634"/>
                    <a:pt x="176" y="634"/>
                    <a:pt x="176" y="629"/>
                  </a:cubicBezTo>
                  <a:cubicBezTo>
                    <a:pt x="176" y="629"/>
                    <a:pt x="181" y="626"/>
                    <a:pt x="181" y="625"/>
                  </a:cubicBezTo>
                  <a:cubicBezTo>
                    <a:pt x="184" y="619"/>
                    <a:pt x="180" y="610"/>
                    <a:pt x="184" y="607"/>
                  </a:cubicBezTo>
                  <a:cubicBezTo>
                    <a:pt x="177" y="609"/>
                    <a:pt x="174" y="605"/>
                    <a:pt x="176" y="596"/>
                  </a:cubicBezTo>
                  <a:cubicBezTo>
                    <a:pt x="181" y="595"/>
                    <a:pt x="182" y="600"/>
                    <a:pt x="187" y="599"/>
                  </a:cubicBezTo>
                  <a:cubicBezTo>
                    <a:pt x="187" y="597"/>
                    <a:pt x="187" y="592"/>
                    <a:pt x="189" y="592"/>
                  </a:cubicBezTo>
                  <a:cubicBezTo>
                    <a:pt x="189" y="597"/>
                    <a:pt x="190" y="606"/>
                    <a:pt x="192" y="599"/>
                  </a:cubicBezTo>
                  <a:cubicBezTo>
                    <a:pt x="191" y="591"/>
                    <a:pt x="193" y="586"/>
                    <a:pt x="197" y="585"/>
                  </a:cubicBezTo>
                  <a:cubicBezTo>
                    <a:pt x="195" y="598"/>
                    <a:pt x="197" y="594"/>
                    <a:pt x="195" y="607"/>
                  </a:cubicBezTo>
                  <a:cubicBezTo>
                    <a:pt x="202" y="604"/>
                    <a:pt x="193" y="624"/>
                    <a:pt x="200" y="622"/>
                  </a:cubicBezTo>
                  <a:cubicBezTo>
                    <a:pt x="206" y="611"/>
                    <a:pt x="195" y="608"/>
                    <a:pt x="200" y="603"/>
                  </a:cubicBezTo>
                  <a:cubicBezTo>
                    <a:pt x="208" y="613"/>
                    <a:pt x="210" y="635"/>
                    <a:pt x="200" y="644"/>
                  </a:cubicBezTo>
                  <a:cubicBezTo>
                    <a:pt x="197" y="640"/>
                    <a:pt x="191" y="640"/>
                    <a:pt x="184" y="640"/>
                  </a:cubicBezTo>
                  <a:cubicBezTo>
                    <a:pt x="185" y="650"/>
                    <a:pt x="187" y="658"/>
                    <a:pt x="192" y="662"/>
                  </a:cubicBezTo>
                  <a:cubicBezTo>
                    <a:pt x="187" y="664"/>
                    <a:pt x="193" y="667"/>
                    <a:pt x="192" y="673"/>
                  </a:cubicBezTo>
                  <a:cubicBezTo>
                    <a:pt x="185" y="673"/>
                    <a:pt x="184" y="666"/>
                    <a:pt x="181" y="677"/>
                  </a:cubicBezTo>
                  <a:cubicBezTo>
                    <a:pt x="188" y="675"/>
                    <a:pt x="175" y="694"/>
                    <a:pt x="184" y="696"/>
                  </a:cubicBezTo>
                  <a:cubicBezTo>
                    <a:pt x="188" y="691"/>
                    <a:pt x="184" y="676"/>
                    <a:pt x="195" y="681"/>
                  </a:cubicBezTo>
                  <a:cubicBezTo>
                    <a:pt x="194" y="668"/>
                    <a:pt x="199" y="665"/>
                    <a:pt x="203" y="659"/>
                  </a:cubicBezTo>
                  <a:cubicBezTo>
                    <a:pt x="207" y="661"/>
                    <a:pt x="202" y="677"/>
                    <a:pt x="211" y="673"/>
                  </a:cubicBezTo>
                  <a:cubicBezTo>
                    <a:pt x="212" y="667"/>
                    <a:pt x="207" y="664"/>
                    <a:pt x="211" y="662"/>
                  </a:cubicBezTo>
                  <a:cubicBezTo>
                    <a:pt x="213" y="663"/>
                    <a:pt x="216" y="662"/>
                    <a:pt x="216" y="666"/>
                  </a:cubicBezTo>
                  <a:cubicBezTo>
                    <a:pt x="212" y="668"/>
                    <a:pt x="216" y="680"/>
                    <a:pt x="211" y="681"/>
                  </a:cubicBezTo>
                  <a:cubicBezTo>
                    <a:pt x="205" y="679"/>
                    <a:pt x="206" y="670"/>
                    <a:pt x="200" y="677"/>
                  </a:cubicBezTo>
                  <a:cubicBezTo>
                    <a:pt x="199" y="691"/>
                    <a:pt x="201" y="701"/>
                    <a:pt x="205" y="707"/>
                  </a:cubicBezTo>
                  <a:cubicBezTo>
                    <a:pt x="199" y="706"/>
                    <a:pt x="197" y="700"/>
                    <a:pt x="195" y="710"/>
                  </a:cubicBezTo>
                  <a:cubicBezTo>
                    <a:pt x="202" y="714"/>
                    <a:pt x="191" y="722"/>
                    <a:pt x="195" y="733"/>
                  </a:cubicBezTo>
                  <a:cubicBezTo>
                    <a:pt x="200" y="736"/>
                    <a:pt x="204" y="722"/>
                    <a:pt x="205" y="733"/>
                  </a:cubicBezTo>
                  <a:cubicBezTo>
                    <a:pt x="200" y="731"/>
                    <a:pt x="200" y="738"/>
                    <a:pt x="197" y="740"/>
                  </a:cubicBezTo>
                  <a:cubicBezTo>
                    <a:pt x="196" y="740"/>
                    <a:pt x="194" y="741"/>
                    <a:pt x="195" y="744"/>
                  </a:cubicBezTo>
                  <a:cubicBezTo>
                    <a:pt x="203" y="747"/>
                    <a:pt x="208" y="728"/>
                    <a:pt x="211" y="736"/>
                  </a:cubicBezTo>
                  <a:cubicBezTo>
                    <a:pt x="204" y="742"/>
                    <a:pt x="210" y="762"/>
                    <a:pt x="211" y="770"/>
                  </a:cubicBezTo>
                  <a:cubicBezTo>
                    <a:pt x="211" y="779"/>
                    <a:pt x="211" y="789"/>
                    <a:pt x="211" y="799"/>
                  </a:cubicBezTo>
                  <a:cubicBezTo>
                    <a:pt x="201" y="797"/>
                    <a:pt x="199" y="806"/>
                    <a:pt x="189" y="803"/>
                  </a:cubicBezTo>
                  <a:cubicBezTo>
                    <a:pt x="188" y="817"/>
                    <a:pt x="206" y="804"/>
                    <a:pt x="200" y="825"/>
                  </a:cubicBezTo>
                  <a:cubicBezTo>
                    <a:pt x="209" y="826"/>
                    <a:pt x="206" y="811"/>
                    <a:pt x="214" y="810"/>
                  </a:cubicBezTo>
                  <a:cubicBezTo>
                    <a:pt x="218" y="823"/>
                    <a:pt x="214" y="823"/>
                    <a:pt x="214" y="840"/>
                  </a:cubicBezTo>
                  <a:cubicBezTo>
                    <a:pt x="208" y="837"/>
                    <a:pt x="203" y="852"/>
                    <a:pt x="208" y="851"/>
                  </a:cubicBezTo>
                  <a:cubicBezTo>
                    <a:pt x="209" y="847"/>
                    <a:pt x="212" y="847"/>
                    <a:pt x="216" y="847"/>
                  </a:cubicBezTo>
                  <a:cubicBezTo>
                    <a:pt x="210" y="855"/>
                    <a:pt x="219" y="859"/>
                    <a:pt x="214" y="866"/>
                  </a:cubicBezTo>
                  <a:cubicBezTo>
                    <a:pt x="223" y="869"/>
                    <a:pt x="216" y="849"/>
                    <a:pt x="224" y="851"/>
                  </a:cubicBezTo>
                  <a:cubicBezTo>
                    <a:pt x="227" y="854"/>
                    <a:pt x="225" y="865"/>
                    <a:pt x="232" y="862"/>
                  </a:cubicBezTo>
                  <a:cubicBezTo>
                    <a:pt x="229" y="850"/>
                    <a:pt x="241" y="859"/>
                    <a:pt x="238" y="847"/>
                  </a:cubicBezTo>
                  <a:cubicBezTo>
                    <a:pt x="229" y="843"/>
                    <a:pt x="236" y="859"/>
                    <a:pt x="227" y="855"/>
                  </a:cubicBezTo>
                  <a:cubicBezTo>
                    <a:pt x="231" y="840"/>
                    <a:pt x="220" y="847"/>
                    <a:pt x="219" y="840"/>
                  </a:cubicBezTo>
                  <a:cubicBezTo>
                    <a:pt x="222" y="837"/>
                    <a:pt x="226" y="835"/>
                    <a:pt x="232" y="836"/>
                  </a:cubicBezTo>
                  <a:cubicBezTo>
                    <a:pt x="233" y="831"/>
                    <a:pt x="231" y="822"/>
                    <a:pt x="235" y="821"/>
                  </a:cubicBezTo>
                  <a:cubicBezTo>
                    <a:pt x="239" y="830"/>
                    <a:pt x="243" y="815"/>
                    <a:pt x="246" y="825"/>
                  </a:cubicBezTo>
                  <a:cubicBezTo>
                    <a:pt x="242" y="834"/>
                    <a:pt x="247" y="832"/>
                    <a:pt x="243" y="836"/>
                  </a:cubicBezTo>
                  <a:cubicBezTo>
                    <a:pt x="242" y="837"/>
                    <a:pt x="243" y="842"/>
                    <a:pt x="243" y="844"/>
                  </a:cubicBezTo>
                  <a:cubicBezTo>
                    <a:pt x="240" y="853"/>
                    <a:pt x="245" y="849"/>
                    <a:pt x="243" y="858"/>
                  </a:cubicBezTo>
                  <a:cubicBezTo>
                    <a:pt x="243" y="861"/>
                    <a:pt x="235" y="862"/>
                    <a:pt x="238" y="869"/>
                  </a:cubicBezTo>
                  <a:cubicBezTo>
                    <a:pt x="241" y="872"/>
                    <a:pt x="243" y="877"/>
                    <a:pt x="243" y="884"/>
                  </a:cubicBezTo>
                  <a:cubicBezTo>
                    <a:pt x="240" y="885"/>
                    <a:pt x="239" y="879"/>
                    <a:pt x="238" y="884"/>
                  </a:cubicBezTo>
                  <a:cubicBezTo>
                    <a:pt x="241" y="885"/>
                    <a:pt x="241" y="890"/>
                    <a:pt x="240" y="895"/>
                  </a:cubicBezTo>
                  <a:cubicBezTo>
                    <a:pt x="237" y="896"/>
                    <a:pt x="233" y="895"/>
                    <a:pt x="232" y="899"/>
                  </a:cubicBezTo>
                  <a:cubicBezTo>
                    <a:pt x="238" y="898"/>
                    <a:pt x="234" y="912"/>
                    <a:pt x="235" y="918"/>
                  </a:cubicBezTo>
                  <a:cubicBezTo>
                    <a:pt x="245" y="916"/>
                    <a:pt x="249" y="907"/>
                    <a:pt x="251" y="895"/>
                  </a:cubicBezTo>
                  <a:cubicBezTo>
                    <a:pt x="249" y="894"/>
                    <a:pt x="246" y="895"/>
                    <a:pt x="246" y="892"/>
                  </a:cubicBezTo>
                  <a:cubicBezTo>
                    <a:pt x="254" y="879"/>
                    <a:pt x="238" y="856"/>
                    <a:pt x="254" y="855"/>
                  </a:cubicBezTo>
                  <a:cubicBezTo>
                    <a:pt x="255" y="866"/>
                    <a:pt x="249" y="868"/>
                    <a:pt x="251" y="881"/>
                  </a:cubicBezTo>
                  <a:cubicBezTo>
                    <a:pt x="256" y="879"/>
                    <a:pt x="257" y="886"/>
                    <a:pt x="259" y="888"/>
                  </a:cubicBezTo>
                  <a:cubicBezTo>
                    <a:pt x="265" y="875"/>
                    <a:pt x="267" y="899"/>
                    <a:pt x="273" y="899"/>
                  </a:cubicBezTo>
                  <a:cubicBezTo>
                    <a:pt x="273" y="895"/>
                    <a:pt x="277" y="894"/>
                    <a:pt x="278" y="899"/>
                  </a:cubicBezTo>
                  <a:cubicBezTo>
                    <a:pt x="283" y="911"/>
                    <a:pt x="268" y="914"/>
                    <a:pt x="275" y="918"/>
                  </a:cubicBezTo>
                  <a:cubicBezTo>
                    <a:pt x="276" y="909"/>
                    <a:pt x="287" y="916"/>
                    <a:pt x="292" y="914"/>
                  </a:cubicBezTo>
                  <a:cubicBezTo>
                    <a:pt x="291" y="919"/>
                    <a:pt x="293" y="922"/>
                    <a:pt x="294" y="925"/>
                  </a:cubicBezTo>
                  <a:cubicBezTo>
                    <a:pt x="304" y="925"/>
                    <a:pt x="310" y="931"/>
                    <a:pt x="313" y="940"/>
                  </a:cubicBezTo>
                  <a:cubicBezTo>
                    <a:pt x="312" y="940"/>
                    <a:pt x="310" y="943"/>
                    <a:pt x="313" y="943"/>
                  </a:cubicBezTo>
                  <a:cubicBezTo>
                    <a:pt x="314" y="937"/>
                    <a:pt x="319" y="941"/>
                    <a:pt x="321" y="943"/>
                  </a:cubicBezTo>
                  <a:cubicBezTo>
                    <a:pt x="323" y="945"/>
                    <a:pt x="325" y="946"/>
                    <a:pt x="326" y="947"/>
                  </a:cubicBezTo>
                  <a:cubicBezTo>
                    <a:pt x="329" y="949"/>
                    <a:pt x="332" y="954"/>
                    <a:pt x="335" y="954"/>
                  </a:cubicBezTo>
                  <a:cubicBezTo>
                    <a:pt x="334" y="954"/>
                    <a:pt x="335" y="948"/>
                    <a:pt x="337" y="951"/>
                  </a:cubicBezTo>
                  <a:cubicBezTo>
                    <a:pt x="339" y="953"/>
                    <a:pt x="336" y="958"/>
                    <a:pt x="340" y="958"/>
                  </a:cubicBezTo>
                  <a:cubicBezTo>
                    <a:pt x="344" y="959"/>
                    <a:pt x="345" y="969"/>
                    <a:pt x="345" y="973"/>
                  </a:cubicBezTo>
                  <a:cubicBezTo>
                    <a:pt x="364" y="976"/>
                    <a:pt x="367" y="1002"/>
                    <a:pt x="388" y="1003"/>
                  </a:cubicBezTo>
                  <a:cubicBezTo>
                    <a:pt x="391" y="1008"/>
                    <a:pt x="394" y="1015"/>
                    <a:pt x="396" y="1017"/>
                  </a:cubicBezTo>
                  <a:cubicBezTo>
                    <a:pt x="400" y="1021"/>
                    <a:pt x="406" y="1018"/>
                    <a:pt x="410" y="1021"/>
                  </a:cubicBezTo>
                  <a:cubicBezTo>
                    <a:pt x="411" y="1022"/>
                    <a:pt x="411" y="1028"/>
                    <a:pt x="412" y="1028"/>
                  </a:cubicBezTo>
                  <a:cubicBezTo>
                    <a:pt x="415" y="1030"/>
                    <a:pt x="418" y="1028"/>
                    <a:pt x="421" y="1028"/>
                  </a:cubicBezTo>
                  <a:cubicBezTo>
                    <a:pt x="421" y="1029"/>
                    <a:pt x="420" y="1032"/>
                    <a:pt x="421" y="1032"/>
                  </a:cubicBezTo>
                  <a:cubicBezTo>
                    <a:pt x="421" y="1033"/>
                    <a:pt x="428" y="1035"/>
                    <a:pt x="429" y="1036"/>
                  </a:cubicBezTo>
                  <a:cubicBezTo>
                    <a:pt x="433" y="1040"/>
                    <a:pt x="436" y="1038"/>
                    <a:pt x="442" y="1040"/>
                  </a:cubicBezTo>
                  <a:cubicBezTo>
                    <a:pt x="442" y="1040"/>
                    <a:pt x="443" y="1043"/>
                    <a:pt x="445" y="1043"/>
                  </a:cubicBezTo>
                  <a:cubicBezTo>
                    <a:pt x="448" y="1044"/>
                    <a:pt x="450" y="1046"/>
                    <a:pt x="453" y="1047"/>
                  </a:cubicBezTo>
                  <a:cubicBezTo>
                    <a:pt x="460" y="1049"/>
                    <a:pt x="461" y="1051"/>
                    <a:pt x="464" y="1058"/>
                  </a:cubicBezTo>
                  <a:cubicBezTo>
                    <a:pt x="469" y="1058"/>
                    <a:pt x="474" y="1058"/>
                    <a:pt x="480" y="1058"/>
                  </a:cubicBezTo>
                  <a:cubicBezTo>
                    <a:pt x="480" y="1065"/>
                    <a:pt x="481" y="1064"/>
                    <a:pt x="485" y="1065"/>
                  </a:cubicBezTo>
                  <a:cubicBezTo>
                    <a:pt x="486" y="1066"/>
                    <a:pt x="489" y="1069"/>
                    <a:pt x="488" y="1069"/>
                  </a:cubicBezTo>
                  <a:cubicBezTo>
                    <a:pt x="491" y="1069"/>
                    <a:pt x="495" y="1065"/>
                    <a:pt x="496" y="1065"/>
                  </a:cubicBezTo>
                  <a:cubicBezTo>
                    <a:pt x="496" y="1066"/>
                    <a:pt x="495" y="1072"/>
                    <a:pt x="496" y="1073"/>
                  </a:cubicBezTo>
                  <a:cubicBezTo>
                    <a:pt x="497" y="1074"/>
                    <a:pt x="500" y="1072"/>
                    <a:pt x="501" y="1073"/>
                  </a:cubicBezTo>
                  <a:cubicBezTo>
                    <a:pt x="502" y="1073"/>
                    <a:pt x="505" y="1077"/>
                    <a:pt x="504" y="1077"/>
                  </a:cubicBezTo>
                  <a:cubicBezTo>
                    <a:pt x="507" y="1077"/>
                    <a:pt x="511" y="1072"/>
                    <a:pt x="512" y="1073"/>
                  </a:cubicBezTo>
                  <a:cubicBezTo>
                    <a:pt x="514" y="1074"/>
                    <a:pt x="515" y="1082"/>
                    <a:pt x="517" y="1084"/>
                  </a:cubicBezTo>
                  <a:cubicBezTo>
                    <a:pt x="526" y="1087"/>
                    <a:pt x="523" y="1074"/>
                    <a:pt x="531" y="1077"/>
                  </a:cubicBezTo>
                  <a:cubicBezTo>
                    <a:pt x="532" y="1087"/>
                    <a:pt x="545" y="1082"/>
                    <a:pt x="542" y="1099"/>
                  </a:cubicBezTo>
                  <a:cubicBezTo>
                    <a:pt x="550" y="1098"/>
                    <a:pt x="553" y="1105"/>
                    <a:pt x="563" y="1102"/>
                  </a:cubicBezTo>
                  <a:cubicBezTo>
                    <a:pt x="565" y="1112"/>
                    <a:pt x="571" y="1117"/>
                    <a:pt x="574" y="1125"/>
                  </a:cubicBezTo>
                  <a:cubicBezTo>
                    <a:pt x="576" y="1129"/>
                    <a:pt x="574" y="1129"/>
                    <a:pt x="577" y="1132"/>
                  </a:cubicBezTo>
                  <a:cubicBezTo>
                    <a:pt x="577" y="1133"/>
                    <a:pt x="576" y="1138"/>
                    <a:pt x="577" y="1139"/>
                  </a:cubicBezTo>
                  <a:cubicBezTo>
                    <a:pt x="577" y="1140"/>
                    <a:pt x="579" y="1139"/>
                    <a:pt x="579" y="1139"/>
                  </a:cubicBezTo>
                  <a:cubicBezTo>
                    <a:pt x="580" y="1140"/>
                    <a:pt x="579" y="1145"/>
                    <a:pt x="579" y="1147"/>
                  </a:cubicBezTo>
                  <a:cubicBezTo>
                    <a:pt x="580" y="1148"/>
                    <a:pt x="584" y="1149"/>
                    <a:pt x="585" y="1151"/>
                  </a:cubicBezTo>
                  <a:cubicBezTo>
                    <a:pt x="586" y="1154"/>
                    <a:pt x="585" y="1159"/>
                    <a:pt x="587" y="1162"/>
                  </a:cubicBezTo>
                  <a:cubicBezTo>
                    <a:pt x="589" y="1165"/>
                    <a:pt x="593" y="1163"/>
                    <a:pt x="595" y="1165"/>
                  </a:cubicBezTo>
                  <a:cubicBezTo>
                    <a:pt x="599" y="1169"/>
                    <a:pt x="603" y="1175"/>
                    <a:pt x="606" y="1180"/>
                  </a:cubicBezTo>
                  <a:cubicBezTo>
                    <a:pt x="611" y="1186"/>
                    <a:pt x="614" y="1193"/>
                    <a:pt x="617" y="1199"/>
                  </a:cubicBezTo>
                  <a:cubicBezTo>
                    <a:pt x="634" y="1201"/>
                    <a:pt x="644" y="1194"/>
                    <a:pt x="660" y="1195"/>
                  </a:cubicBezTo>
                  <a:cubicBezTo>
                    <a:pt x="670" y="1210"/>
                    <a:pt x="684" y="1205"/>
                    <a:pt x="698" y="1210"/>
                  </a:cubicBezTo>
                  <a:cubicBezTo>
                    <a:pt x="699" y="1210"/>
                    <a:pt x="702" y="1216"/>
                    <a:pt x="703" y="1217"/>
                  </a:cubicBezTo>
                  <a:cubicBezTo>
                    <a:pt x="706" y="1218"/>
                    <a:pt x="710" y="1216"/>
                    <a:pt x="714" y="1217"/>
                  </a:cubicBezTo>
                  <a:cubicBezTo>
                    <a:pt x="714" y="1217"/>
                    <a:pt x="714" y="1220"/>
                    <a:pt x="716" y="1221"/>
                  </a:cubicBezTo>
                  <a:cubicBezTo>
                    <a:pt x="720" y="1222"/>
                    <a:pt x="722" y="1222"/>
                    <a:pt x="724" y="1225"/>
                  </a:cubicBezTo>
                  <a:cubicBezTo>
                    <a:pt x="730" y="1230"/>
                    <a:pt x="736" y="1226"/>
                    <a:pt x="743" y="1228"/>
                  </a:cubicBezTo>
                  <a:cubicBezTo>
                    <a:pt x="744" y="1228"/>
                    <a:pt x="747" y="1235"/>
                    <a:pt x="749" y="1235"/>
                  </a:cubicBezTo>
                  <a:cubicBezTo>
                    <a:pt x="752" y="1237"/>
                    <a:pt x="755" y="1232"/>
                    <a:pt x="757" y="1232"/>
                  </a:cubicBezTo>
                  <a:cubicBezTo>
                    <a:pt x="756" y="1232"/>
                    <a:pt x="758" y="1235"/>
                    <a:pt x="759" y="1235"/>
                  </a:cubicBezTo>
                  <a:cubicBezTo>
                    <a:pt x="763" y="1237"/>
                    <a:pt x="765" y="1238"/>
                    <a:pt x="767" y="1239"/>
                  </a:cubicBezTo>
                  <a:cubicBezTo>
                    <a:pt x="775" y="1242"/>
                    <a:pt x="773" y="1245"/>
                    <a:pt x="778" y="1247"/>
                  </a:cubicBezTo>
                  <a:cubicBezTo>
                    <a:pt x="777" y="1246"/>
                    <a:pt x="780" y="1243"/>
                    <a:pt x="781" y="1243"/>
                  </a:cubicBezTo>
                  <a:cubicBezTo>
                    <a:pt x="784" y="1242"/>
                    <a:pt x="788" y="1245"/>
                    <a:pt x="789" y="1247"/>
                  </a:cubicBezTo>
                  <a:cubicBezTo>
                    <a:pt x="795" y="1255"/>
                    <a:pt x="799" y="1246"/>
                    <a:pt x="805" y="1247"/>
                  </a:cubicBezTo>
                  <a:cubicBezTo>
                    <a:pt x="805" y="1247"/>
                    <a:pt x="806" y="1250"/>
                    <a:pt x="808" y="1250"/>
                  </a:cubicBezTo>
                  <a:cubicBezTo>
                    <a:pt x="809" y="1251"/>
                    <a:pt x="812" y="1250"/>
                    <a:pt x="813" y="1250"/>
                  </a:cubicBezTo>
                  <a:cubicBezTo>
                    <a:pt x="813" y="1251"/>
                    <a:pt x="813" y="1254"/>
                    <a:pt x="813" y="1254"/>
                  </a:cubicBezTo>
                  <a:cubicBezTo>
                    <a:pt x="817" y="1256"/>
                    <a:pt x="823" y="1255"/>
                    <a:pt x="827" y="1258"/>
                  </a:cubicBezTo>
                  <a:cubicBezTo>
                    <a:pt x="827" y="1255"/>
                    <a:pt x="827" y="1250"/>
                    <a:pt x="829" y="1250"/>
                  </a:cubicBezTo>
                  <a:cubicBezTo>
                    <a:pt x="835" y="1258"/>
                    <a:pt x="835" y="1249"/>
                    <a:pt x="840" y="1247"/>
                  </a:cubicBezTo>
                  <a:cubicBezTo>
                    <a:pt x="840" y="1252"/>
                    <a:pt x="840" y="1257"/>
                    <a:pt x="840" y="1261"/>
                  </a:cubicBezTo>
                  <a:cubicBezTo>
                    <a:pt x="845" y="1263"/>
                    <a:pt x="845" y="1256"/>
                    <a:pt x="848" y="1254"/>
                  </a:cubicBezTo>
                  <a:cubicBezTo>
                    <a:pt x="849" y="1258"/>
                    <a:pt x="851" y="1260"/>
                    <a:pt x="854" y="1261"/>
                  </a:cubicBezTo>
                  <a:cubicBezTo>
                    <a:pt x="854" y="1257"/>
                    <a:pt x="853" y="1251"/>
                    <a:pt x="856" y="1250"/>
                  </a:cubicBezTo>
                  <a:cubicBezTo>
                    <a:pt x="864" y="1260"/>
                    <a:pt x="866" y="1254"/>
                    <a:pt x="878" y="1258"/>
                  </a:cubicBezTo>
                  <a:cubicBezTo>
                    <a:pt x="878" y="1262"/>
                    <a:pt x="878" y="1266"/>
                    <a:pt x="883" y="1265"/>
                  </a:cubicBezTo>
                  <a:cubicBezTo>
                    <a:pt x="884" y="1253"/>
                    <a:pt x="888" y="1263"/>
                    <a:pt x="897" y="1258"/>
                  </a:cubicBezTo>
                  <a:cubicBezTo>
                    <a:pt x="896" y="1264"/>
                    <a:pt x="899" y="1267"/>
                    <a:pt x="902" y="1269"/>
                  </a:cubicBezTo>
                  <a:cubicBezTo>
                    <a:pt x="904" y="1263"/>
                    <a:pt x="905" y="1269"/>
                    <a:pt x="907" y="1265"/>
                  </a:cubicBezTo>
                  <a:cubicBezTo>
                    <a:pt x="911" y="1260"/>
                    <a:pt x="921" y="1269"/>
                    <a:pt x="921" y="1269"/>
                  </a:cubicBezTo>
                  <a:cubicBezTo>
                    <a:pt x="923" y="1268"/>
                    <a:pt x="926" y="1255"/>
                    <a:pt x="931" y="1261"/>
                  </a:cubicBezTo>
                  <a:cubicBezTo>
                    <a:pt x="930" y="1276"/>
                    <a:pt x="940" y="1266"/>
                    <a:pt x="945" y="1265"/>
                  </a:cubicBezTo>
                  <a:cubicBezTo>
                    <a:pt x="948" y="1265"/>
                    <a:pt x="949" y="1269"/>
                    <a:pt x="953" y="1269"/>
                  </a:cubicBezTo>
                  <a:cubicBezTo>
                    <a:pt x="952" y="1269"/>
                    <a:pt x="955" y="1265"/>
                    <a:pt x="956" y="1265"/>
                  </a:cubicBezTo>
                  <a:cubicBezTo>
                    <a:pt x="968" y="1258"/>
                    <a:pt x="952" y="1267"/>
                    <a:pt x="953" y="1258"/>
                  </a:cubicBezTo>
                  <a:cubicBezTo>
                    <a:pt x="957" y="1258"/>
                    <a:pt x="959" y="1256"/>
                    <a:pt x="961" y="1254"/>
                  </a:cubicBezTo>
                  <a:cubicBezTo>
                    <a:pt x="966" y="1259"/>
                    <a:pt x="961" y="1276"/>
                    <a:pt x="969" y="1276"/>
                  </a:cubicBezTo>
                  <a:cubicBezTo>
                    <a:pt x="968" y="1266"/>
                    <a:pt x="984" y="1279"/>
                    <a:pt x="983" y="1269"/>
                  </a:cubicBezTo>
                  <a:cubicBezTo>
                    <a:pt x="980" y="1268"/>
                    <a:pt x="978" y="1265"/>
                    <a:pt x="977" y="1261"/>
                  </a:cubicBezTo>
                  <a:cubicBezTo>
                    <a:pt x="990" y="1261"/>
                    <a:pt x="987" y="1259"/>
                    <a:pt x="999" y="1254"/>
                  </a:cubicBezTo>
                  <a:cubicBezTo>
                    <a:pt x="999" y="1260"/>
                    <a:pt x="998" y="1268"/>
                    <a:pt x="1001" y="1269"/>
                  </a:cubicBezTo>
                  <a:cubicBezTo>
                    <a:pt x="1002" y="1264"/>
                    <a:pt x="1002" y="1260"/>
                    <a:pt x="1007" y="1261"/>
                  </a:cubicBezTo>
                  <a:cubicBezTo>
                    <a:pt x="1007" y="1269"/>
                    <a:pt x="999" y="1266"/>
                    <a:pt x="1001" y="1276"/>
                  </a:cubicBezTo>
                  <a:cubicBezTo>
                    <a:pt x="1010" y="1279"/>
                    <a:pt x="1007" y="1267"/>
                    <a:pt x="1012" y="1265"/>
                  </a:cubicBezTo>
                  <a:cubicBezTo>
                    <a:pt x="1016" y="1264"/>
                    <a:pt x="1016" y="1272"/>
                    <a:pt x="1018" y="1273"/>
                  </a:cubicBezTo>
                  <a:cubicBezTo>
                    <a:pt x="1023" y="1275"/>
                    <a:pt x="1027" y="1266"/>
                    <a:pt x="1031" y="1269"/>
                  </a:cubicBezTo>
                  <a:cubicBezTo>
                    <a:pt x="1037" y="1273"/>
                    <a:pt x="1028" y="1282"/>
                    <a:pt x="1034" y="1280"/>
                  </a:cubicBezTo>
                  <a:cubicBezTo>
                    <a:pt x="1036" y="1279"/>
                    <a:pt x="1040" y="1267"/>
                    <a:pt x="1042" y="1265"/>
                  </a:cubicBezTo>
                  <a:cubicBezTo>
                    <a:pt x="1037" y="1264"/>
                    <a:pt x="1035" y="1271"/>
                    <a:pt x="1034" y="1265"/>
                  </a:cubicBezTo>
                  <a:cubicBezTo>
                    <a:pt x="1037" y="1255"/>
                    <a:pt x="1046" y="1268"/>
                    <a:pt x="1050" y="1269"/>
                  </a:cubicBezTo>
                  <a:cubicBezTo>
                    <a:pt x="1050" y="1254"/>
                    <a:pt x="1054" y="1269"/>
                    <a:pt x="1058" y="1269"/>
                  </a:cubicBezTo>
                  <a:cubicBezTo>
                    <a:pt x="1059" y="1269"/>
                    <a:pt x="1059" y="1263"/>
                    <a:pt x="1063" y="1265"/>
                  </a:cubicBezTo>
                  <a:cubicBezTo>
                    <a:pt x="1063" y="1265"/>
                    <a:pt x="1066" y="1269"/>
                    <a:pt x="1066" y="1269"/>
                  </a:cubicBezTo>
                  <a:cubicBezTo>
                    <a:pt x="1072" y="1275"/>
                    <a:pt x="1069" y="1268"/>
                    <a:pt x="1077" y="1269"/>
                  </a:cubicBezTo>
                  <a:cubicBezTo>
                    <a:pt x="1071" y="1277"/>
                    <a:pt x="1078" y="1277"/>
                    <a:pt x="1082" y="1273"/>
                  </a:cubicBezTo>
                  <a:cubicBezTo>
                    <a:pt x="1080" y="1284"/>
                    <a:pt x="1086" y="1284"/>
                    <a:pt x="1090" y="1287"/>
                  </a:cubicBezTo>
                  <a:cubicBezTo>
                    <a:pt x="1090" y="1281"/>
                    <a:pt x="1092" y="1278"/>
                    <a:pt x="1096" y="1276"/>
                  </a:cubicBezTo>
                  <a:cubicBezTo>
                    <a:pt x="1096" y="1282"/>
                    <a:pt x="1095" y="1289"/>
                    <a:pt x="1101" y="1287"/>
                  </a:cubicBezTo>
                  <a:cubicBezTo>
                    <a:pt x="1101" y="1281"/>
                    <a:pt x="1100" y="1276"/>
                    <a:pt x="1098" y="1273"/>
                  </a:cubicBezTo>
                  <a:cubicBezTo>
                    <a:pt x="1102" y="1273"/>
                    <a:pt x="1104" y="1271"/>
                    <a:pt x="1106" y="1269"/>
                  </a:cubicBezTo>
                  <a:cubicBezTo>
                    <a:pt x="1109" y="1274"/>
                    <a:pt x="1110" y="1284"/>
                    <a:pt x="1114" y="1287"/>
                  </a:cubicBezTo>
                  <a:cubicBezTo>
                    <a:pt x="1119" y="1280"/>
                    <a:pt x="1115" y="1278"/>
                    <a:pt x="1114" y="1269"/>
                  </a:cubicBezTo>
                  <a:cubicBezTo>
                    <a:pt x="1117" y="1275"/>
                    <a:pt x="1124" y="1269"/>
                    <a:pt x="1128" y="1273"/>
                  </a:cubicBezTo>
                  <a:cubicBezTo>
                    <a:pt x="1130" y="1274"/>
                    <a:pt x="1128" y="1285"/>
                    <a:pt x="1133" y="1284"/>
                  </a:cubicBezTo>
                  <a:cubicBezTo>
                    <a:pt x="1134" y="1279"/>
                    <a:pt x="1133" y="1273"/>
                    <a:pt x="1136" y="1273"/>
                  </a:cubicBezTo>
                  <a:cubicBezTo>
                    <a:pt x="1136" y="1277"/>
                    <a:pt x="1140" y="1277"/>
                    <a:pt x="1144" y="1276"/>
                  </a:cubicBezTo>
                  <a:cubicBezTo>
                    <a:pt x="1143" y="1284"/>
                    <a:pt x="1148" y="1284"/>
                    <a:pt x="1149" y="1287"/>
                  </a:cubicBezTo>
                  <a:cubicBezTo>
                    <a:pt x="1147" y="1288"/>
                    <a:pt x="1146" y="1290"/>
                    <a:pt x="1147" y="1295"/>
                  </a:cubicBezTo>
                  <a:cubicBezTo>
                    <a:pt x="1157" y="1295"/>
                    <a:pt x="1158" y="1280"/>
                    <a:pt x="1163" y="1273"/>
                  </a:cubicBezTo>
                  <a:cubicBezTo>
                    <a:pt x="1166" y="1273"/>
                    <a:pt x="1170" y="1273"/>
                    <a:pt x="1173" y="1273"/>
                  </a:cubicBezTo>
                  <a:cubicBezTo>
                    <a:pt x="1173" y="1282"/>
                    <a:pt x="1174" y="1288"/>
                    <a:pt x="1181" y="1287"/>
                  </a:cubicBezTo>
                  <a:cubicBezTo>
                    <a:pt x="1182" y="1282"/>
                    <a:pt x="1181" y="1274"/>
                    <a:pt x="1184" y="1273"/>
                  </a:cubicBezTo>
                  <a:cubicBezTo>
                    <a:pt x="1184" y="1277"/>
                    <a:pt x="1188" y="1274"/>
                    <a:pt x="1190" y="1276"/>
                  </a:cubicBezTo>
                  <a:cubicBezTo>
                    <a:pt x="1190" y="1277"/>
                    <a:pt x="1189" y="1283"/>
                    <a:pt x="1190" y="1284"/>
                  </a:cubicBezTo>
                  <a:cubicBezTo>
                    <a:pt x="1195" y="1287"/>
                    <a:pt x="1202" y="1281"/>
                    <a:pt x="1208" y="1280"/>
                  </a:cubicBezTo>
                  <a:cubicBezTo>
                    <a:pt x="1218" y="1287"/>
                    <a:pt x="1208" y="1278"/>
                    <a:pt x="1214" y="1276"/>
                  </a:cubicBezTo>
                  <a:cubicBezTo>
                    <a:pt x="1221" y="1282"/>
                    <a:pt x="1207" y="1306"/>
                    <a:pt x="1222" y="1306"/>
                  </a:cubicBezTo>
                  <a:cubicBezTo>
                    <a:pt x="1223" y="1300"/>
                    <a:pt x="1219" y="1287"/>
                    <a:pt x="1225" y="1287"/>
                  </a:cubicBezTo>
                  <a:cubicBezTo>
                    <a:pt x="1229" y="1301"/>
                    <a:pt x="1233" y="1282"/>
                    <a:pt x="1235" y="1280"/>
                  </a:cubicBezTo>
                  <a:cubicBezTo>
                    <a:pt x="1236" y="1281"/>
                    <a:pt x="1234" y="1290"/>
                    <a:pt x="1235" y="1291"/>
                  </a:cubicBezTo>
                  <a:cubicBezTo>
                    <a:pt x="1244" y="1297"/>
                    <a:pt x="1256" y="1287"/>
                    <a:pt x="1249" y="1306"/>
                  </a:cubicBezTo>
                  <a:cubicBezTo>
                    <a:pt x="1262" y="1313"/>
                    <a:pt x="1253" y="1289"/>
                    <a:pt x="1260" y="1287"/>
                  </a:cubicBezTo>
                  <a:cubicBezTo>
                    <a:pt x="1260" y="1291"/>
                    <a:pt x="1260" y="1295"/>
                    <a:pt x="1260" y="1298"/>
                  </a:cubicBezTo>
                  <a:cubicBezTo>
                    <a:pt x="1268" y="1302"/>
                    <a:pt x="1263" y="1286"/>
                    <a:pt x="1270" y="1287"/>
                  </a:cubicBezTo>
                  <a:cubicBezTo>
                    <a:pt x="1275" y="1289"/>
                    <a:pt x="1277" y="1282"/>
                    <a:pt x="1278" y="1287"/>
                  </a:cubicBezTo>
                  <a:cubicBezTo>
                    <a:pt x="1276" y="1292"/>
                    <a:pt x="1275" y="1297"/>
                    <a:pt x="1276" y="1306"/>
                  </a:cubicBezTo>
                  <a:cubicBezTo>
                    <a:pt x="1285" y="1306"/>
                    <a:pt x="1280" y="1287"/>
                    <a:pt x="1289" y="1287"/>
                  </a:cubicBezTo>
                  <a:cubicBezTo>
                    <a:pt x="1289" y="1294"/>
                    <a:pt x="1291" y="1300"/>
                    <a:pt x="1294" y="1302"/>
                  </a:cubicBezTo>
                  <a:cubicBezTo>
                    <a:pt x="1296" y="1295"/>
                    <a:pt x="1295" y="1286"/>
                    <a:pt x="1303" y="1287"/>
                  </a:cubicBezTo>
                  <a:cubicBezTo>
                    <a:pt x="1304" y="1295"/>
                    <a:pt x="1299" y="1312"/>
                    <a:pt x="1305" y="1313"/>
                  </a:cubicBezTo>
                  <a:cubicBezTo>
                    <a:pt x="1309" y="1311"/>
                    <a:pt x="1306" y="1299"/>
                    <a:pt x="1311" y="1298"/>
                  </a:cubicBezTo>
                  <a:cubicBezTo>
                    <a:pt x="1316" y="1300"/>
                    <a:pt x="1316" y="1293"/>
                    <a:pt x="1319" y="1291"/>
                  </a:cubicBezTo>
                  <a:cubicBezTo>
                    <a:pt x="1322" y="1291"/>
                    <a:pt x="1325" y="1289"/>
                    <a:pt x="1327" y="1287"/>
                  </a:cubicBezTo>
                  <a:cubicBezTo>
                    <a:pt x="1328" y="1296"/>
                    <a:pt x="1319" y="1291"/>
                    <a:pt x="1319" y="1298"/>
                  </a:cubicBezTo>
                  <a:cubicBezTo>
                    <a:pt x="1326" y="1309"/>
                    <a:pt x="1327" y="1291"/>
                    <a:pt x="1338" y="1295"/>
                  </a:cubicBezTo>
                  <a:cubicBezTo>
                    <a:pt x="1342" y="1297"/>
                    <a:pt x="1337" y="1312"/>
                    <a:pt x="1343" y="1313"/>
                  </a:cubicBezTo>
                  <a:cubicBezTo>
                    <a:pt x="1353" y="1295"/>
                    <a:pt x="1338" y="1295"/>
                    <a:pt x="1338" y="1284"/>
                  </a:cubicBezTo>
                  <a:cubicBezTo>
                    <a:pt x="1345" y="1284"/>
                    <a:pt x="1350" y="1288"/>
                    <a:pt x="1348" y="1302"/>
                  </a:cubicBezTo>
                  <a:cubicBezTo>
                    <a:pt x="1352" y="1302"/>
                    <a:pt x="1355" y="1302"/>
                    <a:pt x="1359" y="1302"/>
                  </a:cubicBezTo>
                  <a:cubicBezTo>
                    <a:pt x="1359" y="1290"/>
                    <a:pt x="1353" y="1284"/>
                    <a:pt x="1364" y="1284"/>
                  </a:cubicBezTo>
                  <a:cubicBezTo>
                    <a:pt x="1363" y="1297"/>
                    <a:pt x="1367" y="1305"/>
                    <a:pt x="1375" y="1306"/>
                  </a:cubicBezTo>
                  <a:cubicBezTo>
                    <a:pt x="1376" y="1300"/>
                    <a:pt x="1374" y="1292"/>
                    <a:pt x="1378" y="1291"/>
                  </a:cubicBezTo>
                  <a:cubicBezTo>
                    <a:pt x="1383" y="1292"/>
                    <a:pt x="1380" y="1300"/>
                    <a:pt x="1383" y="1295"/>
                  </a:cubicBezTo>
                  <a:cubicBezTo>
                    <a:pt x="1385" y="1292"/>
                    <a:pt x="1388" y="1292"/>
                    <a:pt x="1391" y="1291"/>
                  </a:cubicBezTo>
                  <a:cubicBezTo>
                    <a:pt x="1387" y="1304"/>
                    <a:pt x="1400" y="1293"/>
                    <a:pt x="1399" y="1302"/>
                  </a:cubicBezTo>
                  <a:cubicBezTo>
                    <a:pt x="1398" y="1309"/>
                    <a:pt x="1389" y="1305"/>
                    <a:pt x="1391" y="1317"/>
                  </a:cubicBezTo>
                  <a:cubicBezTo>
                    <a:pt x="1399" y="1320"/>
                    <a:pt x="1397" y="1310"/>
                    <a:pt x="1402" y="1309"/>
                  </a:cubicBezTo>
                  <a:cubicBezTo>
                    <a:pt x="1403" y="1314"/>
                    <a:pt x="1406" y="1314"/>
                    <a:pt x="1410" y="1313"/>
                  </a:cubicBezTo>
                  <a:cubicBezTo>
                    <a:pt x="1411" y="1318"/>
                    <a:pt x="1414" y="1321"/>
                    <a:pt x="1418" y="1321"/>
                  </a:cubicBezTo>
                  <a:cubicBezTo>
                    <a:pt x="1422" y="1307"/>
                    <a:pt x="1414" y="1301"/>
                    <a:pt x="1424" y="1295"/>
                  </a:cubicBezTo>
                  <a:cubicBezTo>
                    <a:pt x="1423" y="1303"/>
                    <a:pt x="1424" y="1309"/>
                    <a:pt x="1426" y="1313"/>
                  </a:cubicBezTo>
                  <a:cubicBezTo>
                    <a:pt x="1441" y="1318"/>
                    <a:pt x="1443" y="1304"/>
                    <a:pt x="1450" y="1298"/>
                  </a:cubicBezTo>
                  <a:cubicBezTo>
                    <a:pt x="1449" y="1312"/>
                    <a:pt x="1447" y="1315"/>
                    <a:pt x="1456" y="1321"/>
                  </a:cubicBezTo>
                  <a:cubicBezTo>
                    <a:pt x="1456" y="1313"/>
                    <a:pt x="1463" y="1313"/>
                    <a:pt x="1469" y="1313"/>
                  </a:cubicBezTo>
                  <a:cubicBezTo>
                    <a:pt x="1465" y="1324"/>
                    <a:pt x="1481" y="1323"/>
                    <a:pt x="1480" y="1317"/>
                  </a:cubicBezTo>
                  <a:cubicBezTo>
                    <a:pt x="1471" y="1314"/>
                    <a:pt x="1477" y="1305"/>
                    <a:pt x="1480" y="1302"/>
                  </a:cubicBezTo>
                  <a:cubicBezTo>
                    <a:pt x="1483" y="1299"/>
                    <a:pt x="1487" y="1307"/>
                    <a:pt x="1491" y="1306"/>
                  </a:cubicBezTo>
                  <a:cubicBezTo>
                    <a:pt x="1492" y="1305"/>
                    <a:pt x="1493" y="1298"/>
                    <a:pt x="1496" y="1298"/>
                  </a:cubicBezTo>
                  <a:cubicBezTo>
                    <a:pt x="1497" y="1298"/>
                    <a:pt x="1496" y="1305"/>
                    <a:pt x="1496" y="1306"/>
                  </a:cubicBezTo>
                  <a:cubicBezTo>
                    <a:pt x="1498" y="1309"/>
                    <a:pt x="1507" y="1304"/>
                    <a:pt x="1510" y="1306"/>
                  </a:cubicBezTo>
                  <a:cubicBezTo>
                    <a:pt x="1511" y="1313"/>
                    <a:pt x="1511" y="1322"/>
                    <a:pt x="1518" y="1321"/>
                  </a:cubicBezTo>
                  <a:cubicBezTo>
                    <a:pt x="1520" y="1309"/>
                    <a:pt x="1513" y="1309"/>
                    <a:pt x="1512" y="1302"/>
                  </a:cubicBezTo>
                  <a:cubicBezTo>
                    <a:pt x="1520" y="1305"/>
                    <a:pt x="1519" y="1297"/>
                    <a:pt x="1526" y="1298"/>
                  </a:cubicBezTo>
                  <a:cubicBezTo>
                    <a:pt x="1525" y="1309"/>
                    <a:pt x="1536" y="1302"/>
                    <a:pt x="1536" y="1309"/>
                  </a:cubicBezTo>
                  <a:cubicBezTo>
                    <a:pt x="1536" y="1316"/>
                    <a:pt x="1537" y="1321"/>
                    <a:pt x="1539" y="1324"/>
                  </a:cubicBezTo>
                  <a:cubicBezTo>
                    <a:pt x="1548" y="1321"/>
                    <a:pt x="1551" y="1313"/>
                    <a:pt x="1558" y="1324"/>
                  </a:cubicBezTo>
                  <a:cubicBezTo>
                    <a:pt x="1558" y="1321"/>
                    <a:pt x="1560" y="1320"/>
                    <a:pt x="1561" y="1317"/>
                  </a:cubicBezTo>
                  <a:cubicBezTo>
                    <a:pt x="1561" y="1313"/>
                    <a:pt x="1557" y="1311"/>
                    <a:pt x="1561" y="1309"/>
                  </a:cubicBezTo>
                  <a:cubicBezTo>
                    <a:pt x="1569" y="1304"/>
                    <a:pt x="1570" y="1313"/>
                    <a:pt x="1577" y="1306"/>
                  </a:cubicBezTo>
                  <a:cubicBezTo>
                    <a:pt x="1582" y="1313"/>
                    <a:pt x="1575" y="1313"/>
                    <a:pt x="1577" y="1324"/>
                  </a:cubicBezTo>
                  <a:cubicBezTo>
                    <a:pt x="1582" y="1325"/>
                    <a:pt x="1582" y="1319"/>
                    <a:pt x="1585" y="1317"/>
                  </a:cubicBezTo>
                  <a:cubicBezTo>
                    <a:pt x="1590" y="1317"/>
                    <a:pt x="1588" y="1307"/>
                    <a:pt x="1596" y="1309"/>
                  </a:cubicBezTo>
                  <a:cubicBezTo>
                    <a:pt x="1596" y="1331"/>
                    <a:pt x="1611" y="1299"/>
                    <a:pt x="1612" y="1309"/>
                  </a:cubicBezTo>
                  <a:cubicBezTo>
                    <a:pt x="1611" y="1317"/>
                    <a:pt x="1606" y="1319"/>
                    <a:pt x="1606" y="1328"/>
                  </a:cubicBezTo>
                  <a:cubicBezTo>
                    <a:pt x="1616" y="1329"/>
                    <a:pt x="1616" y="1317"/>
                    <a:pt x="1625" y="1317"/>
                  </a:cubicBezTo>
                  <a:cubicBezTo>
                    <a:pt x="1625" y="1322"/>
                    <a:pt x="1630" y="1320"/>
                    <a:pt x="1631" y="1324"/>
                  </a:cubicBezTo>
                  <a:cubicBezTo>
                    <a:pt x="1622" y="1328"/>
                    <a:pt x="1628" y="1333"/>
                    <a:pt x="1631" y="1339"/>
                  </a:cubicBezTo>
                  <a:cubicBezTo>
                    <a:pt x="1636" y="1339"/>
                    <a:pt x="1644" y="1332"/>
                    <a:pt x="1644" y="1332"/>
                  </a:cubicBezTo>
                  <a:cubicBezTo>
                    <a:pt x="1644" y="1332"/>
                    <a:pt x="1644" y="1339"/>
                    <a:pt x="1644" y="1339"/>
                  </a:cubicBezTo>
                  <a:cubicBezTo>
                    <a:pt x="1652" y="1336"/>
                    <a:pt x="1652" y="1336"/>
                    <a:pt x="1660" y="1324"/>
                  </a:cubicBezTo>
                  <a:cubicBezTo>
                    <a:pt x="1661" y="1329"/>
                    <a:pt x="1661" y="1333"/>
                    <a:pt x="1666" y="1332"/>
                  </a:cubicBezTo>
                  <a:cubicBezTo>
                    <a:pt x="1666" y="1327"/>
                    <a:pt x="1666" y="1323"/>
                    <a:pt x="1671" y="1324"/>
                  </a:cubicBezTo>
                  <a:cubicBezTo>
                    <a:pt x="1672" y="1320"/>
                    <a:pt x="1674" y="1316"/>
                    <a:pt x="1676" y="1313"/>
                  </a:cubicBezTo>
                  <a:cubicBezTo>
                    <a:pt x="1678" y="1320"/>
                    <a:pt x="1673" y="1336"/>
                    <a:pt x="1682" y="1332"/>
                  </a:cubicBezTo>
                  <a:cubicBezTo>
                    <a:pt x="1680" y="1318"/>
                    <a:pt x="1684" y="1312"/>
                    <a:pt x="1687" y="1306"/>
                  </a:cubicBezTo>
                  <a:cubicBezTo>
                    <a:pt x="1684" y="1304"/>
                    <a:pt x="1681" y="1302"/>
                    <a:pt x="1679" y="1298"/>
                  </a:cubicBezTo>
                  <a:cubicBezTo>
                    <a:pt x="1691" y="1301"/>
                    <a:pt x="1683" y="1284"/>
                    <a:pt x="1687" y="1284"/>
                  </a:cubicBezTo>
                  <a:cubicBezTo>
                    <a:pt x="1691" y="1285"/>
                    <a:pt x="1692" y="1288"/>
                    <a:pt x="1695" y="1284"/>
                  </a:cubicBezTo>
                  <a:cubicBezTo>
                    <a:pt x="1695" y="1290"/>
                    <a:pt x="1696" y="1295"/>
                    <a:pt x="1698" y="1298"/>
                  </a:cubicBezTo>
                  <a:cubicBezTo>
                    <a:pt x="1693" y="1298"/>
                    <a:pt x="1691" y="1301"/>
                    <a:pt x="1690" y="1306"/>
                  </a:cubicBezTo>
                  <a:cubicBezTo>
                    <a:pt x="1698" y="1306"/>
                    <a:pt x="1706" y="1306"/>
                    <a:pt x="1714" y="1306"/>
                  </a:cubicBezTo>
                  <a:cubicBezTo>
                    <a:pt x="1719" y="1315"/>
                    <a:pt x="1719" y="1332"/>
                    <a:pt x="1725" y="1339"/>
                  </a:cubicBezTo>
                  <a:cubicBezTo>
                    <a:pt x="1735" y="1342"/>
                    <a:pt x="1735" y="1331"/>
                    <a:pt x="1744" y="1332"/>
                  </a:cubicBezTo>
                  <a:cubicBezTo>
                    <a:pt x="1744" y="1337"/>
                    <a:pt x="1742" y="1340"/>
                    <a:pt x="1741" y="1343"/>
                  </a:cubicBezTo>
                  <a:cubicBezTo>
                    <a:pt x="1751" y="1347"/>
                    <a:pt x="1749" y="1334"/>
                    <a:pt x="1757" y="1335"/>
                  </a:cubicBezTo>
                  <a:cubicBezTo>
                    <a:pt x="1759" y="1342"/>
                    <a:pt x="1766" y="1342"/>
                    <a:pt x="1770" y="1347"/>
                  </a:cubicBezTo>
                  <a:cubicBezTo>
                    <a:pt x="1776" y="1344"/>
                    <a:pt x="1770" y="1326"/>
                    <a:pt x="1776" y="1324"/>
                  </a:cubicBezTo>
                  <a:cubicBezTo>
                    <a:pt x="1776" y="1330"/>
                    <a:pt x="1775" y="1338"/>
                    <a:pt x="1778" y="1339"/>
                  </a:cubicBezTo>
                  <a:cubicBezTo>
                    <a:pt x="1780" y="1335"/>
                    <a:pt x="1782" y="1332"/>
                    <a:pt x="1787" y="1332"/>
                  </a:cubicBezTo>
                  <a:cubicBezTo>
                    <a:pt x="1792" y="1337"/>
                    <a:pt x="1802" y="1326"/>
                    <a:pt x="1811" y="1324"/>
                  </a:cubicBezTo>
                  <a:cubicBezTo>
                    <a:pt x="1811" y="1329"/>
                    <a:pt x="1811" y="1334"/>
                    <a:pt x="1811" y="1339"/>
                  </a:cubicBezTo>
                  <a:cubicBezTo>
                    <a:pt x="1813" y="1339"/>
                    <a:pt x="1816" y="1339"/>
                    <a:pt x="1819" y="1339"/>
                  </a:cubicBezTo>
                  <a:cubicBezTo>
                    <a:pt x="1826" y="1334"/>
                    <a:pt x="1813" y="1320"/>
                    <a:pt x="1819" y="1317"/>
                  </a:cubicBezTo>
                  <a:cubicBezTo>
                    <a:pt x="1824" y="1321"/>
                    <a:pt x="1828" y="1327"/>
                    <a:pt x="1832" y="1332"/>
                  </a:cubicBezTo>
                  <a:cubicBezTo>
                    <a:pt x="1832" y="1337"/>
                    <a:pt x="1828" y="1335"/>
                    <a:pt x="1827" y="1339"/>
                  </a:cubicBezTo>
                  <a:cubicBezTo>
                    <a:pt x="1832" y="1342"/>
                    <a:pt x="1835" y="1348"/>
                    <a:pt x="1840" y="1350"/>
                  </a:cubicBezTo>
                  <a:cubicBezTo>
                    <a:pt x="1840" y="1339"/>
                    <a:pt x="1850" y="1346"/>
                    <a:pt x="1854" y="1343"/>
                  </a:cubicBezTo>
                  <a:cubicBezTo>
                    <a:pt x="1855" y="1342"/>
                    <a:pt x="1858" y="1337"/>
                    <a:pt x="1859" y="1335"/>
                  </a:cubicBezTo>
                  <a:cubicBezTo>
                    <a:pt x="1861" y="1333"/>
                    <a:pt x="1861" y="1328"/>
                    <a:pt x="1865" y="1328"/>
                  </a:cubicBezTo>
                  <a:cubicBezTo>
                    <a:pt x="1864" y="1337"/>
                    <a:pt x="1859" y="1340"/>
                    <a:pt x="1867" y="1343"/>
                  </a:cubicBezTo>
                  <a:cubicBezTo>
                    <a:pt x="1867" y="1334"/>
                    <a:pt x="1869" y="1327"/>
                    <a:pt x="1873" y="1324"/>
                  </a:cubicBezTo>
                  <a:cubicBezTo>
                    <a:pt x="1877" y="1331"/>
                    <a:pt x="1874" y="1347"/>
                    <a:pt x="1881" y="1350"/>
                  </a:cubicBezTo>
                  <a:cubicBezTo>
                    <a:pt x="1877" y="1329"/>
                    <a:pt x="1890" y="1349"/>
                    <a:pt x="1891" y="1339"/>
                  </a:cubicBezTo>
                  <a:cubicBezTo>
                    <a:pt x="1888" y="1338"/>
                    <a:pt x="1887" y="1335"/>
                    <a:pt x="1886" y="1332"/>
                  </a:cubicBezTo>
                  <a:cubicBezTo>
                    <a:pt x="1891" y="1332"/>
                    <a:pt x="1894" y="1331"/>
                    <a:pt x="1897" y="1328"/>
                  </a:cubicBezTo>
                  <a:cubicBezTo>
                    <a:pt x="1899" y="1340"/>
                    <a:pt x="1899" y="1336"/>
                    <a:pt x="1894" y="1343"/>
                  </a:cubicBezTo>
                  <a:cubicBezTo>
                    <a:pt x="1904" y="1347"/>
                    <a:pt x="1902" y="1334"/>
                    <a:pt x="1910" y="1335"/>
                  </a:cubicBezTo>
                  <a:cubicBezTo>
                    <a:pt x="1904" y="1343"/>
                    <a:pt x="1911" y="1347"/>
                    <a:pt x="1913" y="1354"/>
                  </a:cubicBezTo>
                  <a:cubicBezTo>
                    <a:pt x="1917" y="1354"/>
                    <a:pt x="1919" y="1352"/>
                    <a:pt x="1921" y="1350"/>
                  </a:cubicBezTo>
                  <a:cubicBezTo>
                    <a:pt x="1921" y="1344"/>
                    <a:pt x="1928" y="1348"/>
                    <a:pt x="1929" y="1343"/>
                  </a:cubicBezTo>
                  <a:cubicBezTo>
                    <a:pt x="1925" y="1343"/>
                    <a:pt x="1929" y="1340"/>
                    <a:pt x="1929" y="1339"/>
                  </a:cubicBezTo>
                  <a:cubicBezTo>
                    <a:pt x="1929" y="1334"/>
                    <a:pt x="1928" y="1331"/>
                    <a:pt x="1926" y="1328"/>
                  </a:cubicBezTo>
                  <a:cubicBezTo>
                    <a:pt x="1930" y="1329"/>
                    <a:pt x="1936" y="1327"/>
                    <a:pt x="1937" y="1332"/>
                  </a:cubicBezTo>
                  <a:cubicBezTo>
                    <a:pt x="1934" y="1332"/>
                    <a:pt x="1931" y="1333"/>
                    <a:pt x="1932" y="1339"/>
                  </a:cubicBezTo>
                  <a:cubicBezTo>
                    <a:pt x="1938" y="1348"/>
                    <a:pt x="1939" y="1333"/>
                    <a:pt x="1945" y="1332"/>
                  </a:cubicBezTo>
                  <a:cubicBezTo>
                    <a:pt x="1949" y="1336"/>
                    <a:pt x="1946" y="1350"/>
                    <a:pt x="1953" y="1350"/>
                  </a:cubicBezTo>
                  <a:cubicBezTo>
                    <a:pt x="1954" y="1346"/>
                    <a:pt x="1953" y="1340"/>
                    <a:pt x="1956" y="1339"/>
                  </a:cubicBezTo>
                  <a:cubicBezTo>
                    <a:pt x="1956" y="1344"/>
                    <a:pt x="1961" y="1343"/>
                    <a:pt x="1961" y="1347"/>
                  </a:cubicBezTo>
                  <a:cubicBezTo>
                    <a:pt x="1962" y="1351"/>
                    <a:pt x="1965" y="1354"/>
                    <a:pt x="1969" y="1354"/>
                  </a:cubicBezTo>
                  <a:cubicBezTo>
                    <a:pt x="1973" y="1353"/>
                    <a:pt x="1973" y="1349"/>
                    <a:pt x="1975" y="1347"/>
                  </a:cubicBezTo>
                  <a:cubicBezTo>
                    <a:pt x="1975" y="1345"/>
                    <a:pt x="1980" y="1339"/>
                    <a:pt x="1980" y="1339"/>
                  </a:cubicBezTo>
                  <a:cubicBezTo>
                    <a:pt x="1982" y="1333"/>
                    <a:pt x="1976" y="1330"/>
                    <a:pt x="1980" y="1328"/>
                  </a:cubicBezTo>
                  <a:cubicBezTo>
                    <a:pt x="1988" y="1331"/>
                    <a:pt x="1984" y="1349"/>
                    <a:pt x="1994" y="1350"/>
                  </a:cubicBezTo>
                  <a:cubicBezTo>
                    <a:pt x="1995" y="1345"/>
                    <a:pt x="1998" y="1341"/>
                    <a:pt x="2002" y="1339"/>
                  </a:cubicBezTo>
                  <a:cubicBezTo>
                    <a:pt x="2002" y="1334"/>
                    <a:pt x="2001" y="1325"/>
                    <a:pt x="2004" y="1324"/>
                  </a:cubicBezTo>
                  <a:cubicBezTo>
                    <a:pt x="2008" y="1326"/>
                    <a:pt x="2010" y="1329"/>
                    <a:pt x="2010" y="1335"/>
                  </a:cubicBezTo>
                  <a:cubicBezTo>
                    <a:pt x="2018" y="1342"/>
                    <a:pt x="2021" y="1322"/>
                    <a:pt x="2023" y="1332"/>
                  </a:cubicBezTo>
                  <a:cubicBezTo>
                    <a:pt x="2019" y="1335"/>
                    <a:pt x="2019" y="1344"/>
                    <a:pt x="2018" y="1350"/>
                  </a:cubicBezTo>
                  <a:cubicBezTo>
                    <a:pt x="2025" y="1351"/>
                    <a:pt x="2029" y="1357"/>
                    <a:pt x="2037" y="1358"/>
                  </a:cubicBezTo>
                  <a:cubicBezTo>
                    <a:pt x="2046" y="1349"/>
                    <a:pt x="2032" y="1329"/>
                    <a:pt x="2037" y="1328"/>
                  </a:cubicBezTo>
                  <a:cubicBezTo>
                    <a:pt x="2047" y="1331"/>
                    <a:pt x="2040" y="1341"/>
                    <a:pt x="2045" y="1347"/>
                  </a:cubicBezTo>
                  <a:cubicBezTo>
                    <a:pt x="2046" y="1342"/>
                    <a:pt x="2048" y="1338"/>
                    <a:pt x="2050" y="1335"/>
                  </a:cubicBezTo>
                  <a:cubicBezTo>
                    <a:pt x="2057" y="1340"/>
                    <a:pt x="2043" y="1351"/>
                    <a:pt x="2055" y="1350"/>
                  </a:cubicBezTo>
                  <a:cubicBezTo>
                    <a:pt x="2056" y="1345"/>
                    <a:pt x="2075" y="1337"/>
                    <a:pt x="2079" y="1335"/>
                  </a:cubicBezTo>
                  <a:cubicBezTo>
                    <a:pt x="2079" y="68"/>
                    <a:pt x="2079" y="68"/>
                    <a:pt x="2079" y="68"/>
                  </a:cubicBezTo>
                  <a:cubicBezTo>
                    <a:pt x="2079" y="68"/>
                    <a:pt x="2061" y="100"/>
                    <a:pt x="2061" y="100"/>
                  </a:cubicBezTo>
                  <a:cubicBezTo>
                    <a:pt x="2059" y="102"/>
                    <a:pt x="2052" y="98"/>
                    <a:pt x="2050" y="100"/>
                  </a:cubicBezTo>
                  <a:close/>
                  <a:moveTo>
                    <a:pt x="28" y="300"/>
                  </a:moveTo>
                  <a:cubicBezTo>
                    <a:pt x="24" y="315"/>
                    <a:pt x="23" y="298"/>
                    <a:pt x="17" y="296"/>
                  </a:cubicBezTo>
                  <a:cubicBezTo>
                    <a:pt x="22" y="283"/>
                    <a:pt x="21" y="305"/>
                    <a:pt x="28" y="300"/>
                  </a:cubicBezTo>
                  <a:close/>
                  <a:moveTo>
                    <a:pt x="17" y="318"/>
                  </a:moveTo>
                  <a:cubicBezTo>
                    <a:pt x="15" y="316"/>
                    <a:pt x="24" y="315"/>
                    <a:pt x="25" y="315"/>
                  </a:cubicBezTo>
                  <a:cubicBezTo>
                    <a:pt x="25" y="315"/>
                    <a:pt x="25" y="311"/>
                    <a:pt x="25" y="311"/>
                  </a:cubicBezTo>
                  <a:cubicBezTo>
                    <a:pt x="35" y="313"/>
                    <a:pt x="21" y="323"/>
                    <a:pt x="17" y="318"/>
                  </a:cubicBezTo>
                  <a:close/>
                  <a:moveTo>
                    <a:pt x="31" y="311"/>
                  </a:moveTo>
                  <a:cubicBezTo>
                    <a:pt x="32" y="307"/>
                    <a:pt x="43" y="299"/>
                    <a:pt x="36" y="296"/>
                  </a:cubicBezTo>
                  <a:cubicBezTo>
                    <a:pt x="44" y="282"/>
                    <a:pt x="44" y="321"/>
                    <a:pt x="31" y="311"/>
                  </a:cubicBezTo>
                  <a:close/>
                  <a:moveTo>
                    <a:pt x="39" y="352"/>
                  </a:moveTo>
                  <a:cubicBezTo>
                    <a:pt x="40" y="347"/>
                    <a:pt x="42" y="344"/>
                    <a:pt x="47" y="344"/>
                  </a:cubicBezTo>
                  <a:cubicBezTo>
                    <a:pt x="46" y="349"/>
                    <a:pt x="43" y="352"/>
                    <a:pt x="39" y="352"/>
                  </a:cubicBezTo>
                  <a:close/>
                  <a:moveTo>
                    <a:pt x="41" y="215"/>
                  </a:moveTo>
                  <a:cubicBezTo>
                    <a:pt x="45" y="216"/>
                    <a:pt x="47" y="220"/>
                    <a:pt x="47" y="226"/>
                  </a:cubicBezTo>
                  <a:cubicBezTo>
                    <a:pt x="44" y="224"/>
                    <a:pt x="41" y="221"/>
                    <a:pt x="41" y="215"/>
                  </a:cubicBezTo>
                  <a:close/>
                  <a:moveTo>
                    <a:pt x="41" y="677"/>
                  </a:moveTo>
                  <a:cubicBezTo>
                    <a:pt x="43" y="675"/>
                    <a:pt x="49" y="681"/>
                    <a:pt x="49" y="681"/>
                  </a:cubicBezTo>
                  <a:cubicBezTo>
                    <a:pt x="53" y="694"/>
                    <a:pt x="36" y="684"/>
                    <a:pt x="41" y="677"/>
                  </a:cubicBezTo>
                  <a:close/>
                  <a:moveTo>
                    <a:pt x="189" y="644"/>
                  </a:moveTo>
                  <a:cubicBezTo>
                    <a:pt x="194" y="643"/>
                    <a:pt x="194" y="647"/>
                    <a:pt x="197" y="648"/>
                  </a:cubicBezTo>
                  <a:cubicBezTo>
                    <a:pt x="198" y="655"/>
                    <a:pt x="185" y="653"/>
                    <a:pt x="189" y="644"/>
                  </a:cubicBezTo>
                  <a:close/>
                  <a:moveTo>
                    <a:pt x="192" y="337"/>
                  </a:moveTo>
                  <a:cubicBezTo>
                    <a:pt x="191" y="343"/>
                    <a:pt x="184" y="340"/>
                    <a:pt x="187" y="352"/>
                  </a:cubicBezTo>
                  <a:cubicBezTo>
                    <a:pt x="180" y="351"/>
                    <a:pt x="180" y="342"/>
                    <a:pt x="184" y="337"/>
                  </a:cubicBezTo>
                  <a:cubicBezTo>
                    <a:pt x="176" y="325"/>
                    <a:pt x="165" y="336"/>
                    <a:pt x="154" y="329"/>
                  </a:cubicBezTo>
                  <a:cubicBezTo>
                    <a:pt x="156" y="332"/>
                    <a:pt x="157" y="335"/>
                    <a:pt x="157" y="341"/>
                  </a:cubicBezTo>
                  <a:cubicBezTo>
                    <a:pt x="165" y="336"/>
                    <a:pt x="169" y="339"/>
                    <a:pt x="170" y="352"/>
                  </a:cubicBezTo>
                  <a:cubicBezTo>
                    <a:pt x="167" y="350"/>
                    <a:pt x="166" y="345"/>
                    <a:pt x="163" y="344"/>
                  </a:cubicBezTo>
                  <a:cubicBezTo>
                    <a:pt x="161" y="352"/>
                    <a:pt x="168" y="350"/>
                    <a:pt x="168" y="355"/>
                  </a:cubicBezTo>
                  <a:cubicBezTo>
                    <a:pt x="171" y="356"/>
                    <a:pt x="170" y="363"/>
                    <a:pt x="173" y="363"/>
                  </a:cubicBezTo>
                  <a:cubicBezTo>
                    <a:pt x="172" y="371"/>
                    <a:pt x="158" y="362"/>
                    <a:pt x="160" y="374"/>
                  </a:cubicBezTo>
                  <a:cubicBezTo>
                    <a:pt x="156" y="373"/>
                    <a:pt x="158" y="365"/>
                    <a:pt x="157" y="359"/>
                  </a:cubicBezTo>
                  <a:cubicBezTo>
                    <a:pt x="161" y="359"/>
                    <a:pt x="164" y="359"/>
                    <a:pt x="168" y="359"/>
                  </a:cubicBezTo>
                  <a:cubicBezTo>
                    <a:pt x="168" y="353"/>
                    <a:pt x="162" y="358"/>
                    <a:pt x="160" y="355"/>
                  </a:cubicBezTo>
                  <a:cubicBezTo>
                    <a:pt x="157" y="353"/>
                    <a:pt x="162" y="337"/>
                    <a:pt x="152" y="344"/>
                  </a:cubicBezTo>
                  <a:cubicBezTo>
                    <a:pt x="153" y="331"/>
                    <a:pt x="149" y="325"/>
                    <a:pt x="144" y="322"/>
                  </a:cubicBezTo>
                  <a:cubicBezTo>
                    <a:pt x="144" y="318"/>
                    <a:pt x="149" y="320"/>
                    <a:pt x="149" y="315"/>
                  </a:cubicBezTo>
                  <a:cubicBezTo>
                    <a:pt x="149" y="307"/>
                    <a:pt x="139" y="313"/>
                    <a:pt x="135" y="311"/>
                  </a:cubicBezTo>
                  <a:cubicBezTo>
                    <a:pt x="135" y="318"/>
                    <a:pt x="139" y="319"/>
                    <a:pt x="138" y="326"/>
                  </a:cubicBezTo>
                  <a:cubicBezTo>
                    <a:pt x="136" y="323"/>
                    <a:pt x="131" y="320"/>
                    <a:pt x="130" y="326"/>
                  </a:cubicBezTo>
                  <a:cubicBezTo>
                    <a:pt x="123" y="323"/>
                    <a:pt x="135" y="316"/>
                    <a:pt x="133" y="307"/>
                  </a:cubicBezTo>
                  <a:cubicBezTo>
                    <a:pt x="144" y="301"/>
                    <a:pt x="153" y="317"/>
                    <a:pt x="154" y="311"/>
                  </a:cubicBezTo>
                  <a:cubicBezTo>
                    <a:pt x="163" y="315"/>
                    <a:pt x="151" y="321"/>
                    <a:pt x="152" y="326"/>
                  </a:cubicBezTo>
                  <a:cubicBezTo>
                    <a:pt x="160" y="328"/>
                    <a:pt x="160" y="319"/>
                    <a:pt x="168" y="322"/>
                  </a:cubicBezTo>
                  <a:cubicBezTo>
                    <a:pt x="171" y="316"/>
                    <a:pt x="163" y="315"/>
                    <a:pt x="163" y="315"/>
                  </a:cubicBezTo>
                  <a:cubicBezTo>
                    <a:pt x="162" y="309"/>
                    <a:pt x="171" y="313"/>
                    <a:pt x="170" y="307"/>
                  </a:cubicBezTo>
                  <a:cubicBezTo>
                    <a:pt x="171" y="297"/>
                    <a:pt x="154" y="310"/>
                    <a:pt x="154" y="300"/>
                  </a:cubicBezTo>
                  <a:cubicBezTo>
                    <a:pt x="151" y="298"/>
                    <a:pt x="140" y="304"/>
                    <a:pt x="141" y="296"/>
                  </a:cubicBezTo>
                  <a:cubicBezTo>
                    <a:pt x="145" y="296"/>
                    <a:pt x="150" y="296"/>
                    <a:pt x="154" y="296"/>
                  </a:cubicBezTo>
                  <a:cubicBezTo>
                    <a:pt x="159" y="296"/>
                    <a:pt x="160" y="301"/>
                    <a:pt x="165" y="300"/>
                  </a:cubicBezTo>
                  <a:cubicBezTo>
                    <a:pt x="169" y="298"/>
                    <a:pt x="165" y="297"/>
                    <a:pt x="165" y="292"/>
                  </a:cubicBezTo>
                  <a:cubicBezTo>
                    <a:pt x="168" y="293"/>
                    <a:pt x="170" y="292"/>
                    <a:pt x="170" y="289"/>
                  </a:cubicBezTo>
                  <a:cubicBezTo>
                    <a:pt x="176" y="289"/>
                    <a:pt x="171" y="297"/>
                    <a:pt x="170" y="296"/>
                  </a:cubicBezTo>
                  <a:cubicBezTo>
                    <a:pt x="173" y="308"/>
                    <a:pt x="177" y="297"/>
                    <a:pt x="187" y="304"/>
                  </a:cubicBezTo>
                  <a:cubicBezTo>
                    <a:pt x="186" y="309"/>
                    <a:pt x="180" y="307"/>
                    <a:pt x="176" y="307"/>
                  </a:cubicBezTo>
                  <a:cubicBezTo>
                    <a:pt x="172" y="310"/>
                    <a:pt x="172" y="319"/>
                    <a:pt x="170" y="326"/>
                  </a:cubicBezTo>
                  <a:cubicBezTo>
                    <a:pt x="181" y="328"/>
                    <a:pt x="179" y="301"/>
                    <a:pt x="189" y="315"/>
                  </a:cubicBezTo>
                  <a:cubicBezTo>
                    <a:pt x="191" y="320"/>
                    <a:pt x="182" y="316"/>
                    <a:pt x="181" y="318"/>
                  </a:cubicBezTo>
                  <a:cubicBezTo>
                    <a:pt x="180" y="323"/>
                    <a:pt x="188" y="320"/>
                    <a:pt x="189" y="322"/>
                  </a:cubicBezTo>
                  <a:cubicBezTo>
                    <a:pt x="192" y="325"/>
                    <a:pt x="187" y="338"/>
                    <a:pt x="192" y="337"/>
                  </a:cubicBezTo>
                  <a:close/>
                  <a:moveTo>
                    <a:pt x="189" y="422"/>
                  </a:moveTo>
                  <a:cubicBezTo>
                    <a:pt x="190" y="425"/>
                    <a:pt x="178" y="426"/>
                    <a:pt x="173" y="422"/>
                  </a:cubicBezTo>
                  <a:cubicBezTo>
                    <a:pt x="171" y="420"/>
                    <a:pt x="181" y="416"/>
                    <a:pt x="181" y="418"/>
                  </a:cubicBezTo>
                  <a:cubicBezTo>
                    <a:pt x="180" y="412"/>
                    <a:pt x="176" y="418"/>
                    <a:pt x="173" y="415"/>
                  </a:cubicBezTo>
                  <a:cubicBezTo>
                    <a:pt x="173" y="414"/>
                    <a:pt x="172" y="408"/>
                    <a:pt x="170" y="411"/>
                  </a:cubicBezTo>
                  <a:cubicBezTo>
                    <a:pt x="170" y="411"/>
                    <a:pt x="170" y="415"/>
                    <a:pt x="170" y="415"/>
                  </a:cubicBezTo>
                  <a:cubicBezTo>
                    <a:pt x="168" y="414"/>
                    <a:pt x="166" y="412"/>
                    <a:pt x="163" y="411"/>
                  </a:cubicBezTo>
                  <a:cubicBezTo>
                    <a:pt x="159" y="410"/>
                    <a:pt x="157" y="407"/>
                    <a:pt x="154" y="407"/>
                  </a:cubicBezTo>
                  <a:cubicBezTo>
                    <a:pt x="152" y="407"/>
                    <a:pt x="151" y="414"/>
                    <a:pt x="152" y="415"/>
                  </a:cubicBezTo>
                  <a:cubicBezTo>
                    <a:pt x="148" y="414"/>
                    <a:pt x="151" y="409"/>
                    <a:pt x="149" y="407"/>
                  </a:cubicBezTo>
                  <a:cubicBezTo>
                    <a:pt x="146" y="405"/>
                    <a:pt x="137" y="416"/>
                    <a:pt x="138" y="403"/>
                  </a:cubicBezTo>
                  <a:cubicBezTo>
                    <a:pt x="131" y="406"/>
                    <a:pt x="134" y="405"/>
                    <a:pt x="128" y="403"/>
                  </a:cubicBezTo>
                  <a:cubicBezTo>
                    <a:pt x="123" y="402"/>
                    <a:pt x="113" y="406"/>
                    <a:pt x="117" y="396"/>
                  </a:cubicBezTo>
                  <a:cubicBezTo>
                    <a:pt x="124" y="396"/>
                    <a:pt x="122" y="402"/>
                    <a:pt x="128" y="396"/>
                  </a:cubicBezTo>
                  <a:cubicBezTo>
                    <a:pt x="127" y="392"/>
                    <a:pt x="123" y="393"/>
                    <a:pt x="119" y="392"/>
                  </a:cubicBezTo>
                  <a:cubicBezTo>
                    <a:pt x="123" y="376"/>
                    <a:pt x="130" y="393"/>
                    <a:pt x="133" y="400"/>
                  </a:cubicBezTo>
                  <a:cubicBezTo>
                    <a:pt x="137" y="403"/>
                    <a:pt x="141" y="396"/>
                    <a:pt x="141" y="396"/>
                  </a:cubicBezTo>
                  <a:cubicBezTo>
                    <a:pt x="144" y="396"/>
                    <a:pt x="145" y="403"/>
                    <a:pt x="146" y="403"/>
                  </a:cubicBezTo>
                  <a:cubicBezTo>
                    <a:pt x="147" y="404"/>
                    <a:pt x="158" y="393"/>
                    <a:pt x="160" y="403"/>
                  </a:cubicBezTo>
                  <a:cubicBezTo>
                    <a:pt x="162" y="403"/>
                    <a:pt x="162" y="400"/>
                    <a:pt x="165" y="400"/>
                  </a:cubicBezTo>
                  <a:cubicBezTo>
                    <a:pt x="162" y="396"/>
                    <a:pt x="164" y="386"/>
                    <a:pt x="157" y="389"/>
                  </a:cubicBezTo>
                  <a:cubicBezTo>
                    <a:pt x="159" y="385"/>
                    <a:pt x="163" y="385"/>
                    <a:pt x="163" y="378"/>
                  </a:cubicBezTo>
                  <a:cubicBezTo>
                    <a:pt x="167" y="378"/>
                    <a:pt x="171" y="378"/>
                    <a:pt x="176" y="378"/>
                  </a:cubicBezTo>
                  <a:cubicBezTo>
                    <a:pt x="176" y="386"/>
                    <a:pt x="174" y="389"/>
                    <a:pt x="168" y="389"/>
                  </a:cubicBezTo>
                  <a:cubicBezTo>
                    <a:pt x="167" y="398"/>
                    <a:pt x="173" y="397"/>
                    <a:pt x="170" y="407"/>
                  </a:cubicBezTo>
                  <a:cubicBezTo>
                    <a:pt x="174" y="408"/>
                    <a:pt x="175" y="406"/>
                    <a:pt x="176" y="403"/>
                  </a:cubicBezTo>
                  <a:cubicBezTo>
                    <a:pt x="183" y="412"/>
                    <a:pt x="183" y="408"/>
                    <a:pt x="192" y="411"/>
                  </a:cubicBezTo>
                  <a:cubicBezTo>
                    <a:pt x="192" y="414"/>
                    <a:pt x="189" y="414"/>
                    <a:pt x="187" y="415"/>
                  </a:cubicBezTo>
                  <a:cubicBezTo>
                    <a:pt x="186" y="419"/>
                    <a:pt x="187" y="421"/>
                    <a:pt x="189" y="422"/>
                  </a:cubicBezTo>
                  <a:close/>
                  <a:moveTo>
                    <a:pt x="168" y="440"/>
                  </a:moveTo>
                  <a:cubicBezTo>
                    <a:pt x="169" y="447"/>
                    <a:pt x="153" y="447"/>
                    <a:pt x="157" y="437"/>
                  </a:cubicBezTo>
                  <a:cubicBezTo>
                    <a:pt x="162" y="436"/>
                    <a:pt x="163" y="441"/>
                    <a:pt x="168" y="440"/>
                  </a:cubicBezTo>
                  <a:close/>
                  <a:moveTo>
                    <a:pt x="152" y="444"/>
                  </a:moveTo>
                  <a:cubicBezTo>
                    <a:pt x="149" y="438"/>
                    <a:pt x="142" y="443"/>
                    <a:pt x="138" y="440"/>
                  </a:cubicBezTo>
                  <a:cubicBezTo>
                    <a:pt x="136" y="439"/>
                    <a:pt x="137" y="433"/>
                    <a:pt x="133" y="433"/>
                  </a:cubicBezTo>
                  <a:cubicBezTo>
                    <a:pt x="130" y="433"/>
                    <a:pt x="131" y="428"/>
                    <a:pt x="130" y="426"/>
                  </a:cubicBezTo>
                  <a:cubicBezTo>
                    <a:pt x="127" y="426"/>
                    <a:pt x="128" y="432"/>
                    <a:pt x="128" y="437"/>
                  </a:cubicBezTo>
                  <a:cubicBezTo>
                    <a:pt x="122" y="435"/>
                    <a:pt x="116" y="435"/>
                    <a:pt x="117" y="426"/>
                  </a:cubicBezTo>
                  <a:cubicBezTo>
                    <a:pt x="109" y="425"/>
                    <a:pt x="111" y="432"/>
                    <a:pt x="106" y="426"/>
                  </a:cubicBezTo>
                  <a:cubicBezTo>
                    <a:pt x="109" y="409"/>
                    <a:pt x="114" y="425"/>
                    <a:pt x="119" y="426"/>
                  </a:cubicBezTo>
                  <a:cubicBezTo>
                    <a:pt x="124" y="426"/>
                    <a:pt x="125" y="421"/>
                    <a:pt x="130" y="422"/>
                  </a:cubicBezTo>
                  <a:cubicBezTo>
                    <a:pt x="133" y="430"/>
                    <a:pt x="138" y="435"/>
                    <a:pt x="146" y="437"/>
                  </a:cubicBezTo>
                  <a:cubicBezTo>
                    <a:pt x="153" y="438"/>
                    <a:pt x="145" y="420"/>
                    <a:pt x="154" y="426"/>
                  </a:cubicBezTo>
                  <a:cubicBezTo>
                    <a:pt x="157" y="430"/>
                    <a:pt x="157" y="433"/>
                    <a:pt x="152" y="433"/>
                  </a:cubicBezTo>
                  <a:cubicBezTo>
                    <a:pt x="155" y="438"/>
                    <a:pt x="153" y="439"/>
                    <a:pt x="152" y="444"/>
                  </a:cubicBezTo>
                  <a:close/>
                  <a:moveTo>
                    <a:pt x="141" y="518"/>
                  </a:moveTo>
                  <a:cubicBezTo>
                    <a:pt x="138" y="525"/>
                    <a:pt x="131" y="526"/>
                    <a:pt x="128" y="533"/>
                  </a:cubicBezTo>
                  <a:cubicBezTo>
                    <a:pt x="122" y="531"/>
                    <a:pt x="125" y="519"/>
                    <a:pt x="117" y="522"/>
                  </a:cubicBezTo>
                  <a:cubicBezTo>
                    <a:pt x="116" y="515"/>
                    <a:pt x="129" y="516"/>
                    <a:pt x="125" y="525"/>
                  </a:cubicBezTo>
                  <a:cubicBezTo>
                    <a:pt x="131" y="526"/>
                    <a:pt x="133" y="522"/>
                    <a:pt x="133" y="514"/>
                  </a:cubicBezTo>
                  <a:cubicBezTo>
                    <a:pt x="132" y="510"/>
                    <a:pt x="118" y="506"/>
                    <a:pt x="119" y="511"/>
                  </a:cubicBezTo>
                  <a:cubicBezTo>
                    <a:pt x="111" y="508"/>
                    <a:pt x="122" y="503"/>
                    <a:pt x="119" y="496"/>
                  </a:cubicBezTo>
                  <a:cubicBezTo>
                    <a:pt x="123" y="501"/>
                    <a:pt x="131" y="500"/>
                    <a:pt x="138" y="500"/>
                  </a:cubicBezTo>
                  <a:cubicBezTo>
                    <a:pt x="143" y="509"/>
                    <a:pt x="135" y="513"/>
                    <a:pt x="141" y="518"/>
                  </a:cubicBezTo>
                  <a:close/>
                  <a:moveTo>
                    <a:pt x="133" y="559"/>
                  </a:moveTo>
                  <a:cubicBezTo>
                    <a:pt x="135" y="545"/>
                    <a:pt x="145" y="579"/>
                    <a:pt x="133" y="574"/>
                  </a:cubicBezTo>
                  <a:cubicBezTo>
                    <a:pt x="129" y="565"/>
                    <a:pt x="140" y="560"/>
                    <a:pt x="133" y="559"/>
                  </a:cubicBezTo>
                  <a:close/>
                  <a:moveTo>
                    <a:pt x="130" y="533"/>
                  </a:moveTo>
                  <a:cubicBezTo>
                    <a:pt x="138" y="534"/>
                    <a:pt x="136" y="547"/>
                    <a:pt x="141" y="551"/>
                  </a:cubicBezTo>
                  <a:cubicBezTo>
                    <a:pt x="138" y="559"/>
                    <a:pt x="130" y="542"/>
                    <a:pt x="130" y="533"/>
                  </a:cubicBezTo>
                  <a:close/>
                  <a:moveTo>
                    <a:pt x="125" y="540"/>
                  </a:moveTo>
                  <a:cubicBezTo>
                    <a:pt x="123" y="539"/>
                    <a:pt x="118" y="542"/>
                    <a:pt x="117" y="540"/>
                  </a:cubicBezTo>
                  <a:cubicBezTo>
                    <a:pt x="112" y="531"/>
                    <a:pt x="134" y="538"/>
                    <a:pt x="128" y="548"/>
                  </a:cubicBezTo>
                  <a:cubicBezTo>
                    <a:pt x="126" y="550"/>
                    <a:pt x="125" y="540"/>
                    <a:pt x="125" y="540"/>
                  </a:cubicBezTo>
                  <a:close/>
                  <a:moveTo>
                    <a:pt x="125" y="574"/>
                  </a:moveTo>
                  <a:cubicBezTo>
                    <a:pt x="123" y="574"/>
                    <a:pt x="121" y="568"/>
                    <a:pt x="122" y="566"/>
                  </a:cubicBezTo>
                  <a:cubicBezTo>
                    <a:pt x="126" y="553"/>
                    <a:pt x="127" y="573"/>
                    <a:pt x="125" y="574"/>
                  </a:cubicBezTo>
                  <a:close/>
                  <a:moveTo>
                    <a:pt x="125" y="611"/>
                  </a:moveTo>
                  <a:cubicBezTo>
                    <a:pt x="124" y="615"/>
                    <a:pt x="122" y="613"/>
                    <a:pt x="122" y="611"/>
                  </a:cubicBezTo>
                  <a:cubicBezTo>
                    <a:pt x="120" y="612"/>
                    <a:pt x="117" y="614"/>
                    <a:pt x="117" y="618"/>
                  </a:cubicBezTo>
                  <a:cubicBezTo>
                    <a:pt x="110" y="616"/>
                    <a:pt x="116" y="604"/>
                    <a:pt x="122" y="607"/>
                  </a:cubicBezTo>
                  <a:cubicBezTo>
                    <a:pt x="122" y="610"/>
                    <a:pt x="123" y="610"/>
                    <a:pt x="125" y="611"/>
                  </a:cubicBezTo>
                  <a:close/>
                  <a:moveTo>
                    <a:pt x="111" y="599"/>
                  </a:moveTo>
                  <a:cubicBezTo>
                    <a:pt x="112" y="592"/>
                    <a:pt x="123" y="600"/>
                    <a:pt x="125" y="603"/>
                  </a:cubicBezTo>
                  <a:cubicBezTo>
                    <a:pt x="133" y="608"/>
                    <a:pt x="114" y="602"/>
                    <a:pt x="111" y="599"/>
                  </a:cubicBezTo>
                  <a:close/>
                  <a:moveTo>
                    <a:pt x="93" y="592"/>
                  </a:moveTo>
                  <a:cubicBezTo>
                    <a:pt x="95" y="592"/>
                    <a:pt x="95" y="597"/>
                    <a:pt x="95" y="599"/>
                  </a:cubicBezTo>
                  <a:cubicBezTo>
                    <a:pt x="97" y="594"/>
                    <a:pt x="106" y="599"/>
                    <a:pt x="106" y="592"/>
                  </a:cubicBezTo>
                  <a:cubicBezTo>
                    <a:pt x="109" y="593"/>
                    <a:pt x="109" y="599"/>
                    <a:pt x="106" y="599"/>
                  </a:cubicBezTo>
                  <a:cubicBezTo>
                    <a:pt x="99" y="598"/>
                    <a:pt x="104" y="614"/>
                    <a:pt x="95" y="611"/>
                  </a:cubicBezTo>
                  <a:cubicBezTo>
                    <a:pt x="96" y="602"/>
                    <a:pt x="90" y="603"/>
                    <a:pt x="93" y="592"/>
                  </a:cubicBezTo>
                  <a:close/>
                  <a:moveTo>
                    <a:pt x="93" y="389"/>
                  </a:moveTo>
                  <a:cubicBezTo>
                    <a:pt x="100" y="389"/>
                    <a:pt x="98" y="404"/>
                    <a:pt x="90" y="403"/>
                  </a:cubicBezTo>
                  <a:cubicBezTo>
                    <a:pt x="92" y="400"/>
                    <a:pt x="93" y="395"/>
                    <a:pt x="93" y="389"/>
                  </a:cubicBezTo>
                  <a:close/>
                  <a:moveTo>
                    <a:pt x="87" y="315"/>
                  </a:moveTo>
                  <a:cubicBezTo>
                    <a:pt x="87" y="312"/>
                    <a:pt x="87" y="310"/>
                    <a:pt x="87" y="307"/>
                  </a:cubicBezTo>
                  <a:cubicBezTo>
                    <a:pt x="89" y="308"/>
                    <a:pt x="90" y="306"/>
                    <a:pt x="90" y="304"/>
                  </a:cubicBezTo>
                  <a:cubicBezTo>
                    <a:pt x="95" y="302"/>
                    <a:pt x="94" y="320"/>
                    <a:pt x="87" y="315"/>
                  </a:cubicBezTo>
                  <a:close/>
                  <a:moveTo>
                    <a:pt x="122" y="352"/>
                  </a:moveTo>
                  <a:cubicBezTo>
                    <a:pt x="119" y="355"/>
                    <a:pt x="115" y="357"/>
                    <a:pt x="109" y="355"/>
                  </a:cubicBezTo>
                  <a:cubicBezTo>
                    <a:pt x="109" y="353"/>
                    <a:pt x="109" y="350"/>
                    <a:pt x="109" y="348"/>
                  </a:cubicBezTo>
                  <a:cubicBezTo>
                    <a:pt x="111" y="349"/>
                    <a:pt x="111" y="346"/>
                    <a:pt x="111" y="344"/>
                  </a:cubicBezTo>
                  <a:cubicBezTo>
                    <a:pt x="114" y="345"/>
                    <a:pt x="113" y="352"/>
                    <a:pt x="117" y="352"/>
                  </a:cubicBezTo>
                  <a:cubicBezTo>
                    <a:pt x="119" y="352"/>
                    <a:pt x="119" y="350"/>
                    <a:pt x="119" y="348"/>
                  </a:cubicBezTo>
                  <a:cubicBezTo>
                    <a:pt x="121" y="342"/>
                    <a:pt x="122" y="348"/>
                    <a:pt x="122" y="352"/>
                  </a:cubicBezTo>
                  <a:close/>
                  <a:moveTo>
                    <a:pt x="125" y="381"/>
                  </a:moveTo>
                  <a:cubicBezTo>
                    <a:pt x="115" y="380"/>
                    <a:pt x="118" y="372"/>
                    <a:pt x="119" y="363"/>
                  </a:cubicBezTo>
                  <a:cubicBezTo>
                    <a:pt x="123" y="366"/>
                    <a:pt x="123" y="375"/>
                    <a:pt x="125" y="381"/>
                  </a:cubicBezTo>
                  <a:close/>
                  <a:moveTo>
                    <a:pt x="106" y="318"/>
                  </a:moveTo>
                  <a:cubicBezTo>
                    <a:pt x="109" y="315"/>
                    <a:pt x="107" y="305"/>
                    <a:pt x="114" y="307"/>
                  </a:cubicBezTo>
                  <a:cubicBezTo>
                    <a:pt x="115" y="315"/>
                    <a:pt x="112" y="319"/>
                    <a:pt x="106" y="318"/>
                  </a:cubicBezTo>
                  <a:close/>
                  <a:moveTo>
                    <a:pt x="109" y="363"/>
                  </a:moveTo>
                  <a:cubicBezTo>
                    <a:pt x="110" y="369"/>
                    <a:pt x="117" y="366"/>
                    <a:pt x="114" y="378"/>
                  </a:cubicBezTo>
                  <a:cubicBezTo>
                    <a:pt x="102" y="376"/>
                    <a:pt x="110" y="370"/>
                    <a:pt x="106" y="359"/>
                  </a:cubicBezTo>
                  <a:cubicBezTo>
                    <a:pt x="108" y="358"/>
                    <a:pt x="109" y="360"/>
                    <a:pt x="109" y="363"/>
                  </a:cubicBezTo>
                  <a:close/>
                  <a:moveTo>
                    <a:pt x="114" y="407"/>
                  </a:moveTo>
                  <a:cubicBezTo>
                    <a:pt x="110" y="407"/>
                    <a:pt x="105" y="407"/>
                    <a:pt x="101" y="407"/>
                  </a:cubicBezTo>
                  <a:cubicBezTo>
                    <a:pt x="103" y="394"/>
                    <a:pt x="101" y="398"/>
                    <a:pt x="103" y="385"/>
                  </a:cubicBezTo>
                  <a:cubicBezTo>
                    <a:pt x="106" y="386"/>
                    <a:pt x="106" y="392"/>
                    <a:pt x="106" y="396"/>
                  </a:cubicBezTo>
                  <a:cubicBezTo>
                    <a:pt x="112" y="397"/>
                    <a:pt x="104" y="379"/>
                    <a:pt x="114" y="385"/>
                  </a:cubicBezTo>
                  <a:cubicBezTo>
                    <a:pt x="109" y="392"/>
                    <a:pt x="113" y="398"/>
                    <a:pt x="114" y="407"/>
                  </a:cubicBezTo>
                  <a:close/>
                  <a:moveTo>
                    <a:pt x="106" y="352"/>
                  </a:moveTo>
                  <a:cubicBezTo>
                    <a:pt x="102" y="368"/>
                    <a:pt x="95" y="334"/>
                    <a:pt x="106" y="341"/>
                  </a:cubicBezTo>
                  <a:cubicBezTo>
                    <a:pt x="104" y="344"/>
                    <a:pt x="102" y="351"/>
                    <a:pt x="106" y="352"/>
                  </a:cubicBezTo>
                  <a:close/>
                  <a:moveTo>
                    <a:pt x="103" y="433"/>
                  </a:moveTo>
                  <a:cubicBezTo>
                    <a:pt x="104" y="439"/>
                    <a:pt x="107" y="443"/>
                    <a:pt x="103" y="448"/>
                  </a:cubicBezTo>
                  <a:cubicBezTo>
                    <a:pt x="98" y="444"/>
                    <a:pt x="100" y="435"/>
                    <a:pt x="98" y="429"/>
                  </a:cubicBezTo>
                  <a:cubicBezTo>
                    <a:pt x="96" y="425"/>
                    <a:pt x="92" y="426"/>
                    <a:pt x="93" y="418"/>
                  </a:cubicBezTo>
                  <a:cubicBezTo>
                    <a:pt x="96" y="419"/>
                    <a:pt x="97" y="417"/>
                    <a:pt x="98" y="415"/>
                  </a:cubicBezTo>
                  <a:cubicBezTo>
                    <a:pt x="102" y="417"/>
                    <a:pt x="102" y="426"/>
                    <a:pt x="103" y="433"/>
                  </a:cubicBezTo>
                  <a:close/>
                  <a:moveTo>
                    <a:pt x="109" y="440"/>
                  </a:moveTo>
                  <a:cubicBezTo>
                    <a:pt x="111" y="440"/>
                    <a:pt x="114" y="440"/>
                    <a:pt x="117" y="440"/>
                  </a:cubicBezTo>
                  <a:cubicBezTo>
                    <a:pt x="117" y="447"/>
                    <a:pt x="112" y="455"/>
                    <a:pt x="114" y="459"/>
                  </a:cubicBezTo>
                  <a:cubicBezTo>
                    <a:pt x="115" y="461"/>
                    <a:pt x="117" y="456"/>
                    <a:pt x="117" y="455"/>
                  </a:cubicBezTo>
                  <a:cubicBezTo>
                    <a:pt x="117" y="454"/>
                    <a:pt x="121" y="457"/>
                    <a:pt x="119" y="459"/>
                  </a:cubicBezTo>
                  <a:cubicBezTo>
                    <a:pt x="115" y="464"/>
                    <a:pt x="120" y="463"/>
                    <a:pt x="117" y="474"/>
                  </a:cubicBezTo>
                  <a:cubicBezTo>
                    <a:pt x="111" y="475"/>
                    <a:pt x="108" y="473"/>
                    <a:pt x="109" y="466"/>
                  </a:cubicBezTo>
                  <a:cubicBezTo>
                    <a:pt x="104" y="468"/>
                    <a:pt x="106" y="478"/>
                    <a:pt x="98" y="474"/>
                  </a:cubicBezTo>
                  <a:cubicBezTo>
                    <a:pt x="103" y="465"/>
                    <a:pt x="104" y="463"/>
                    <a:pt x="95" y="459"/>
                  </a:cubicBezTo>
                  <a:cubicBezTo>
                    <a:pt x="96" y="456"/>
                    <a:pt x="104" y="448"/>
                    <a:pt x="103" y="455"/>
                  </a:cubicBezTo>
                  <a:cubicBezTo>
                    <a:pt x="112" y="452"/>
                    <a:pt x="104" y="447"/>
                    <a:pt x="109" y="440"/>
                  </a:cubicBezTo>
                  <a:close/>
                  <a:moveTo>
                    <a:pt x="135" y="485"/>
                  </a:moveTo>
                  <a:cubicBezTo>
                    <a:pt x="138" y="498"/>
                    <a:pt x="121" y="492"/>
                    <a:pt x="119" y="489"/>
                  </a:cubicBezTo>
                  <a:cubicBezTo>
                    <a:pt x="121" y="484"/>
                    <a:pt x="130" y="491"/>
                    <a:pt x="135" y="485"/>
                  </a:cubicBezTo>
                  <a:close/>
                  <a:moveTo>
                    <a:pt x="128" y="463"/>
                  </a:moveTo>
                  <a:cubicBezTo>
                    <a:pt x="128" y="456"/>
                    <a:pt x="134" y="461"/>
                    <a:pt x="135" y="452"/>
                  </a:cubicBezTo>
                  <a:cubicBezTo>
                    <a:pt x="139" y="452"/>
                    <a:pt x="137" y="455"/>
                    <a:pt x="135" y="455"/>
                  </a:cubicBezTo>
                  <a:cubicBezTo>
                    <a:pt x="133" y="469"/>
                    <a:pt x="135" y="473"/>
                    <a:pt x="133" y="481"/>
                  </a:cubicBezTo>
                  <a:cubicBezTo>
                    <a:pt x="127" y="482"/>
                    <a:pt x="123" y="480"/>
                    <a:pt x="122" y="474"/>
                  </a:cubicBezTo>
                  <a:cubicBezTo>
                    <a:pt x="121" y="466"/>
                    <a:pt x="127" y="468"/>
                    <a:pt x="128" y="463"/>
                  </a:cubicBezTo>
                  <a:close/>
                  <a:moveTo>
                    <a:pt x="111" y="507"/>
                  </a:moveTo>
                  <a:cubicBezTo>
                    <a:pt x="106" y="509"/>
                    <a:pt x="104" y="504"/>
                    <a:pt x="101" y="503"/>
                  </a:cubicBezTo>
                  <a:cubicBezTo>
                    <a:pt x="101" y="499"/>
                    <a:pt x="106" y="500"/>
                    <a:pt x="109" y="500"/>
                  </a:cubicBezTo>
                  <a:cubicBezTo>
                    <a:pt x="109" y="495"/>
                    <a:pt x="109" y="490"/>
                    <a:pt x="109" y="485"/>
                  </a:cubicBezTo>
                  <a:cubicBezTo>
                    <a:pt x="113" y="473"/>
                    <a:pt x="111" y="501"/>
                    <a:pt x="111" y="507"/>
                  </a:cubicBezTo>
                  <a:close/>
                  <a:moveTo>
                    <a:pt x="109" y="544"/>
                  </a:moveTo>
                  <a:cubicBezTo>
                    <a:pt x="103" y="544"/>
                    <a:pt x="105" y="534"/>
                    <a:pt x="98" y="537"/>
                  </a:cubicBezTo>
                  <a:cubicBezTo>
                    <a:pt x="90" y="526"/>
                    <a:pt x="110" y="542"/>
                    <a:pt x="109" y="533"/>
                  </a:cubicBezTo>
                  <a:cubicBezTo>
                    <a:pt x="113" y="534"/>
                    <a:pt x="108" y="538"/>
                    <a:pt x="109" y="544"/>
                  </a:cubicBezTo>
                  <a:close/>
                  <a:moveTo>
                    <a:pt x="101" y="585"/>
                  </a:moveTo>
                  <a:cubicBezTo>
                    <a:pt x="98" y="596"/>
                    <a:pt x="98" y="574"/>
                    <a:pt x="93" y="577"/>
                  </a:cubicBezTo>
                  <a:cubicBezTo>
                    <a:pt x="95" y="566"/>
                    <a:pt x="100" y="581"/>
                    <a:pt x="101" y="585"/>
                  </a:cubicBezTo>
                  <a:close/>
                  <a:moveTo>
                    <a:pt x="93" y="492"/>
                  </a:moveTo>
                  <a:cubicBezTo>
                    <a:pt x="101" y="479"/>
                    <a:pt x="102" y="503"/>
                    <a:pt x="93" y="492"/>
                  </a:cubicBezTo>
                  <a:close/>
                  <a:moveTo>
                    <a:pt x="111" y="607"/>
                  </a:moveTo>
                  <a:cubicBezTo>
                    <a:pt x="110" y="611"/>
                    <a:pt x="108" y="614"/>
                    <a:pt x="103" y="614"/>
                  </a:cubicBezTo>
                  <a:cubicBezTo>
                    <a:pt x="104" y="610"/>
                    <a:pt x="107" y="607"/>
                    <a:pt x="111" y="607"/>
                  </a:cubicBezTo>
                  <a:close/>
                  <a:moveTo>
                    <a:pt x="106" y="581"/>
                  </a:moveTo>
                  <a:cubicBezTo>
                    <a:pt x="106" y="577"/>
                    <a:pt x="111" y="578"/>
                    <a:pt x="114" y="577"/>
                  </a:cubicBezTo>
                  <a:cubicBezTo>
                    <a:pt x="114" y="567"/>
                    <a:pt x="110" y="570"/>
                    <a:pt x="114" y="562"/>
                  </a:cubicBezTo>
                  <a:cubicBezTo>
                    <a:pt x="123" y="565"/>
                    <a:pt x="111" y="586"/>
                    <a:pt x="117" y="585"/>
                  </a:cubicBezTo>
                  <a:cubicBezTo>
                    <a:pt x="114" y="596"/>
                    <a:pt x="108" y="583"/>
                    <a:pt x="106" y="581"/>
                  </a:cubicBezTo>
                  <a:close/>
                  <a:moveTo>
                    <a:pt x="128" y="352"/>
                  </a:moveTo>
                  <a:cubicBezTo>
                    <a:pt x="130" y="348"/>
                    <a:pt x="128" y="338"/>
                    <a:pt x="135" y="341"/>
                  </a:cubicBezTo>
                  <a:cubicBezTo>
                    <a:pt x="133" y="344"/>
                    <a:pt x="135" y="354"/>
                    <a:pt x="128" y="352"/>
                  </a:cubicBezTo>
                  <a:close/>
                  <a:moveTo>
                    <a:pt x="135" y="355"/>
                  </a:moveTo>
                  <a:cubicBezTo>
                    <a:pt x="135" y="358"/>
                    <a:pt x="135" y="360"/>
                    <a:pt x="135" y="363"/>
                  </a:cubicBezTo>
                  <a:cubicBezTo>
                    <a:pt x="134" y="363"/>
                    <a:pt x="132" y="363"/>
                    <a:pt x="130" y="363"/>
                  </a:cubicBezTo>
                  <a:cubicBezTo>
                    <a:pt x="130" y="360"/>
                    <a:pt x="130" y="358"/>
                    <a:pt x="130" y="355"/>
                  </a:cubicBezTo>
                  <a:cubicBezTo>
                    <a:pt x="132" y="355"/>
                    <a:pt x="134" y="355"/>
                    <a:pt x="135" y="355"/>
                  </a:cubicBezTo>
                  <a:close/>
                  <a:moveTo>
                    <a:pt x="141" y="333"/>
                  </a:moveTo>
                  <a:cubicBezTo>
                    <a:pt x="147" y="335"/>
                    <a:pt x="143" y="353"/>
                    <a:pt x="141" y="355"/>
                  </a:cubicBezTo>
                  <a:cubicBezTo>
                    <a:pt x="133" y="351"/>
                    <a:pt x="144" y="343"/>
                    <a:pt x="141" y="333"/>
                  </a:cubicBezTo>
                  <a:close/>
                  <a:moveTo>
                    <a:pt x="138" y="363"/>
                  </a:moveTo>
                  <a:cubicBezTo>
                    <a:pt x="139" y="358"/>
                    <a:pt x="143" y="360"/>
                    <a:pt x="146" y="359"/>
                  </a:cubicBezTo>
                  <a:cubicBezTo>
                    <a:pt x="149" y="359"/>
                    <a:pt x="148" y="355"/>
                    <a:pt x="149" y="352"/>
                  </a:cubicBezTo>
                  <a:cubicBezTo>
                    <a:pt x="155" y="350"/>
                    <a:pt x="154" y="357"/>
                    <a:pt x="154" y="363"/>
                  </a:cubicBezTo>
                  <a:cubicBezTo>
                    <a:pt x="150" y="370"/>
                    <a:pt x="148" y="360"/>
                    <a:pt x="138" y="363"/>
                  </a:cubicBezTo>
                  <a:close/>
                  <a:moveTo>
                    <a:pt x="149" y="378"/>
                  </a:moveTo>
                  <a:cubicBezTo>
                    <a:pt x="161" y="379"/>
                    <a:pt x="146" y="399"/>
                    <a:pt x="149" y="378"/>
                  </a:cubicBezTo>
                  <a:close/>
                  <a:moveTo>
                    <a:pt x="184" y="389"/>
                  </a:moveTo>
                  <a:cubicBezTo>
                    <a:pt x="185" y="396"/>
                    <a:pt x="172" y="394"/>
                    <a:pt x="176" y="385"/>
                  </a:cubicBezTo>
                  <a:cubicBezTo>
                    <a:pt x="180" y="384"/>
                    <a:pt x="181" y="388"/>
                    <a:pt x="184" y="389"/>
                  </a:cubicBezTo>
                  <a:close/>
                  <a:moveTo>
                    <a:pt x="160" y="263"/>
                  </a:moveTo>
                  <a:cubicBezTo>
                    <a:pt x="157" y="263"/>
                    <a:pt x="147" y="266"/>
                    <a:pt x="146" y="259"/>
                  </a:cubicBezTo>
                  <a:cubicBezTo>
                    <a:pt x="146" y="256"/>
                    <a:pt x="147" y="252"/>
                    <a:pt x="149" y="252"/>
                  </a:cubicBezTo>
                  <a:cubicBezTo>
                    <a:pt x="150" y="252"/>
                    <a:pt x="151" y="259"/>
                    <a:pt x="152" y="259"/>
                  </a:cubicBezTo>
                  <a:cubicBezTo>
                    <a:pt x="158" y="261"/>
                    <a:pt x="162" y="258"/>
                    <a:pt x="168" y="259"/>
                  </a:cubicBezTo>
                  <a:cubicBezTo>
                    <a:pt x="167" y="260"/>
                    <a:pt x="166" y="266"/>
                    <a:pt x="165" y="267"/>
                  </a:cubicBezTo>
                  <a:cubicBezTo>
                    <a:pt x="161" y="269"/>
                    <a:pt x="161" y="263"/>
                    <a:pt x="160" y="263"/>
                  </a:cubicBezTo>
                  <a:close/>
                  <a:moveTo>
                    <a:pt x="149" y="278"/>
                  </a:moveTo>
                  <a:cubicBezTo>
                    <a:pt x="148" y="276"/>
                    <a:pt x="156" y="267"/>
                    <a:pt x="160" y="274"/>
                  </a:cubicBezTo>
                  <a:cubicBezTo>
                    <a:pt x="161" y="277"/>
                    <a:pt x="151" y="280"/>
                    <a:pt x="149" y="278"/>
                  </a:cubicBezTo>
                  <a:close/>
                  <a:moveTo>
                    <a:pt x="189" y="263"/>
                  </a:moveTo>
                  <a:cubicBezTo>
                    <a:pt x="187" y="266"/>
                    <a:pt x="188" y="273"/>
                    <a:pt x="184" y="274"/>
                  </a:cubicBezTo>
                  <a:cubicBezTo>
                    <a:pt x="185" y="280"/>
                    <a:pt x="192" y="277"/>
                    <a:pt x="189" y="289"/>
                  </a:cubicBezTo>
                  <a:cubicBezTo>
                    <a:pt x="181" y="292"/>
                    <a:pt x="186" y="276"/>
                    <a:pt x="176" y="281"/>
                  </a:cubicBezTo>
                  <a:cubicBezTo>
                    <a:pt x="177" y="277"/>
                    <a:pt x="179" y="274"/>
                    <a:pt x="184" y="274"/>
                  </a:cubicBezTo>
                  <a:cubicBezTo>
                    <a:pt x="183" y="267"/>
                    <a:pt x="185" y="262"/>
                    <a:pt x="189" y="263"/>
                  </a:cubicBezTo>
                  <a:close/>
                  <a:moveTo>
                    <a:pt x="176" y="267"/>
                  </a:moveTo>
                  <a:cubicBezTo>
                    <a:pt x="176" y="264"/>
                    <a:pt x="179" y="263"/>
                    <a:pt x="179" y="259"/>
                  </a:cubicBezTo>
                  <a:cubicBezTo>
                    <a:pt x="178" y="256"/>
                    <a:pt x="175" y="256"/>
                    <a:pt x="173" y="255"/>
                  </a:cubicBezTo>
                  <a:cubicBezTo>
                    <a:pt x="174" y="251"/>
                    <a:pt x="178" y="250"/>
                    <a:pt x="179" y="244"/>
                  </a:cubicBezTo>
                  <a:cubicBezTo>
                    <a:pt x="187" y="245"/>
                    <a:pt x="184" y="267"/>
                    <a:pt x="176" y="267"/>
                  </a:cubicBezTo>
                  <a:close/>
                  <a:moveTo>
                    <a:pt x="176" y="170"/>
                  </a:moveTo>
                  <a:cubicBezTo>
                    <a:pt x="173" y="183"/>
                    <a:pt x="171" y="172"/>
                    <a:pt x="163" y="174"/>
                  </a:cubicBezTo>
                  <a:cubicBezTo>
                    <a:pt x="165" y="168"/>
                    <a:pt x="172" y="165"/>
                    <a:pt x="176" y="170"/>
                  </a:cubicBezTo>
                  <a:close/>
                  <a:moveTo>
                    <a:pt x="90" y="226"/>
                  </a:moveTo>
                  <a:cubicBezTo>
                    <a:pt x="90" y="223"/>
                    <a:pt x="90" y="221"/>
                    <a:pt x="90" y="218"/>
                  </a:cubicBezTo>
                  <a:cubicBezTo>
                    <a:pt x="98" y="225"/>
                    <a:pt x="99" y="216"/>
                    <a:pt x="111" y="218"/>
                  </a:cubicBezTo>
                  <a:cubicBezTo>
                    <a:pt x="117" y="219"/>
                    <a:pt x="117" y="225"/>
                    <a:pt x="125" y="222"/>
                  </a:cubicBezTo>
                  <a:cubicBezTo>
                    <a:pt x="128" y="221"/>
                    <a:pt x="135" y="218"/>
                    <a:pt x="141" y="226"/>
                  </a:cubicBezTo>
                  <a:cubicBezTo>
                    <a:pt x="142" y="228"/>
                    <a:pt x="158" y="224"/>
                    <a:pt x="165" y="226"/>
                  </a:cubicBezTo>
                  <a:cubicBezTo>
                    <a:pt x="171" y="227"/>
                    <a:pt x="184" y="227"/>
                    <a:pt x="181" y="241"/>
                  </a:cubicBezTo>
                  <a:cubicBezTo>
                    <a:pt x="178" y="240"/>
                    <a:pt x="180" y="233"/>
                    <a:pt x="176" y="233"/>
                  </a:cubicBezTo>
                  <a:cubicBezTo>
                    <a:pt x="172" y="234"/>
                    <a:pt x="174" y="243"/>
                    <a:pt x="173" y="248"/>
                  </a:cubicBezTo>
                  <a:cubicBezTo>
                    <a:pt x="163" y="239"/>
                    <a:pt x="175" y="252"/>
                    <a:pt x="168" y="255"/>
                  </a:cubicBezTo>
                  <a:cubicBezTo>
                    <a:pt x="160" y="259"/>
                    <a:pt x="166" y="248"/>
                    <a:pt x="165" y="248"/>
                  </a:cubicBezTo>
                  <a:cubicBezTo>
                    <a:pt x="164" y="247"/>
                    <a:pt x="158" y="255"/>
                    <a:pt x="154" y="252"/>
                  </a:cubicBezTo>
                  <a:cubicBezTo>
                    <a:pt x="154" y="246"/>
                    <a:pt x="146" y="250"/>
                    <a:pt x="146" y="244"/>
                  </a:cubicBezTo>
                  <a:cubicBezTo>
                    <a:pt x="144" y="247"/>
                    <a:pt x="142" y="251"/>
                    <a:pt x="141" y="255"/>
                  </a:cubicBezTo>
                  <a:cubicBezTo>
                    <a:pt x="132" y="249"/>
                    <a:pt x="129" y="242"/>
                    <a:pt x="133" y="226"/>
                  </a:cubicBezTo>
                  <a:cubicBezTo>
                    <a:pt x="131" y="226"/>
                    <a:pt x="129" y="226"/>
                    <a:pt x="128" y="226"/>
                  </a:cubicBezTo>
                  <a:cubicBezTo>
                    <a:pt x="124" y="227"/>
                    <a:pt x="125" y="233"/>
                    <a:pt x="128" y="233"/>
                  </a:cubicBezTo>
                  <a:cubicBezTo>
                    <a:pt x="127" y="237"/>
                    <a:pt x="124" y="236"/>
                    <a:pt x="122" y="237"/>
                  </a:cubicBezTo>
                  <a:cubicBezTo>
                    <a:pt x="125" y="249"/>
                    <a:pt x="122" y="245"/>
                    <a:pt x="122" y="259"/>
                  </a:cubicBezTo>
                  <a:cubicBezTo>
                    <a:pt x="118" y="256"/>
                    <a:pt x="118" y="247"/>
                    <a:pt x="117" y="241"/>
                  </a:cubicBezTo>
                  <a:cubicBezTo>
                    <a:pt x="112" y="242"/>
                    <a:pt x="110" y="249"/>
                    <a:pt x="103" y="248"/>
                  </a:cubicBezTo>
                  <a:cubicBezTo>
                    <a:pt x="101" y="231"/>
                    <a:pt x="108" y="240"/>
                    <a:pt x="114" y="241"/>
                  </a:cubicBezTo>
                  <a:cubicBezTo>
                    <a:pt x="116" y="231"/>
                    <a:pt x="109" y="234"/>
                    <a:pt x="106" y="230"/>
                  </a:cubicBezTo>
                  <a:cubicBezTo>
                    <a:pt x="99" y="228"/>
                    <a:pt x="103" y="243"/>
                    <a:pt x="98" y="244"/>
                  </a:cubicBezTo>
                  <a:cubicBezTo>
                    <a:pt x="84" y="246"/>
                    <a:pt x="104" y="223"/>
                    <a:pt x="87" y="230"/>
                  </a:cubicBezTo>
                  <a:cubicBezTo>
                    <a:pt x="87" y="226"/>
                    <a:pt x="88" y="226"/>
                    <a:pt x="90" y="226"/>
                  </a:cubicBezTo>
                  <a:close/>
                  <a:moveTo>
                    <a:pt x="58" y="407"/>
                  </a:moveTo>
                  <a:cubicBezTo>
                    <a:pt x="67" y="405"/>
                    <a:pt x="58" y="424"/>
                    <a:pt x="55" y="418"/>
                  </a:cubicBezTo>
                  <a:cubicBezTo>
                    <a:pt x="55" y="418"/>
                    <a:pt x="57" y="411"/>
                    <a:pt x="58" y="411"/>
                  </a:cubicBezTo>
                  <a:cubicBezTo>
                    <a:pt x="58" y="411"/>
                    <a:pt x="57" y="407"/>
                    <a:pt x="58" y="407"/>
                  </a:cubicBezTo>
                  <a:close/>
                  <a:moveTo>
                    <a:pt x="55" y="433"/>
                  </a:moveTo>
                  <a:cubicBezTo>
                    <a:pt x="54" y="425"/>
                    <a:pt x="59" y="426"/>
                    <a:pt x="63" y="426"/>
                  </a:cubicBezTo>
                  <a:cubicBezTo>
                    <a:pt x="62" y="430"/>
                    <a:pt x="60" y="433"/>
                    <a:pt x="55" y="433"/>
                  </a:cubicBezTo>
                  <a:close/>
                  <a:moveTo>
                    <a:pt x="60" y="655"/>
                  </a:moveTo>
                  <a:cubicBezTo>
                    <a:pt x="60" y="649"/>
                    <a:pt x="60" y="643"/>
                    <a:pt x="60" y="636"/>
                  </a:cubicBezTo>
                  <a:cubicBezTo>
                    <a:pt x="69" y="631"/>
                    <a:pt x="69" y="661"/>
                    <a:pt x="60" y="655"/>
                  </a:cubicBezTo>
                  <a:close/>
                  <a:moveTo>
                    <a:pt x="71" y="244"/>
                  </a:moveTo>
                  <a:cubicBezTo>
                    <a:pt x="75" y="239"/>
                    <a:pt x="75" y="230"/>
                    <a:pt x="66" y="233"/>
                  </a:cubicBezTo>
                  <a:cubicBezTo>
                    <a:pt x="68" y="228"/>
                    <a:pt x="73" y="226"/>
                    <a:pt x="74" y="218"/>
                  </a:cubicBezTo>
                  <a:cubicBezTo>
                    <a:pt x="77" y="218"/>
                    <a:pt x="75" y="224"/>
                    <a:pt x="76" y="226"/>
                  </a:cubicBezTo>
                  <a:cubicBezTo>
                    <a:pt x="80" y="233"/>
                    <a:pt x="89" y="230"/>
                    <a:pt x="90" y="241"/>
                  </a:cubicBezTo>
                  <a:cubicBezTo>
                    <a:pt x="88" y="233"/>
                    <a:pt x="80" y="243"/>
                    <a:pt x="79" y="237"/>
                  </a:cubicBezTo>
                  <a:cubicBezTo>
                    <a:pt x="76" y="239"/>
                    <a:pt x="76" y="246"/>
                    <a:pt x="71" y="244"/>
                  </a:cubicBezTo>
                  <a:close/>
                  <a:moveTo>
                    <a:pt x="93" y="721"/>
                  </a:moveTo>
                  <a:cubicBezTo>
                    <a:pt x="93" y="712"/>
                    <a:pt x="87" y="712"/>
                    <a:pt x="82" y="710"/>
                  </a:cubicBezTo>
                  <a:cubicBezTo>
                    <a:pt x="83" y="703"/>
                    <a:pt x="92" y="707"/>
                    <a:pt x="90" y="696"/>
                  </a:cubicBezTo>
                  <a:cubicBezTo>
                    <a:pt x="93" y="700"/>
                    <a:pt x="99" y="700"/>
                    <a:pt x="106" y="699"/>
                  </a:cubicBezTo>
                  <a:cubicBezTo>
                    <a:pt x="106" y="714"/>
                    <a:pt x="102" y="721"/>
                    <a:pt x="93" y="721"/>
                  </a:cubicBezTo>
                  <a:close/>
                  <a:moveTo>
                    <a:pt x="106" y="692"/>
                  </a:moveTo>
                  <a:cubicBezTo>
                    <a:pt x="104" y="692"/>
                    <a:pt x="102" y="692"/>
                    <a:pt x="101" y="692"/>
                  </a:cubicBezTo>
                  <a:cubicBezTo>
                    <a:pt x="101" y="689"/>
                    <a:pt x="101" y="687"/>
                    <a:pt x="101" y="684"/>
                  </a:cubicBezTo>
                  <a:cubicBezTo>
                    <a:pt x="102" y="684"/>
                    <a:pt x="104" y="684"/>
                    <a:pt x="106" y="684"/>
                  </a:cubicBezTo>
                  <a:cubicBezTo>
                    <a:pt x="106" y="687"/>
                    <a:pt x="106" y="689"/>
                    <a:pt x="106" y="692"/>
                  </a:cubicBezTo>
                  <a:close/>
                  <a:moveTo>
                    <a:pt x="109" y="677"/>
                  </a:moveTo>
                  <a:cubicBezTo>
                    <a:pt x="101" y="677"/>
                    <a:pt x="98" y="669"/>
                    <a:pt x="93" y="666"/>
                  </a:cubicBezTo>
                  <a:cubicBezTo>
                    <a:pt x="92" y="672"/>
                    <a:pt x="95" y="673"/>
                    <a:pt x="98" y="673"/>
                  </a:cubicBezTo>
                  <a:cubicBezTo>
                    <a:pt x="95" y="685"/>
                    <a:pt x="86" y="673"/>
                    <a:pt x="90" y="662"/>
                  </a:cubicBezTo>
                  <a:cubicBezTo>
                    <a:pt x="82" y="663"/>
                    <a:pt x="83" y="678"/>
                    <a:pt x="79" y="655"/>
                  </a:cubicBezTo>
                  <a:cubicBezTo>
                    <a:pt x="87" y="665"/>
                    <a:pt x="97" y="649"/>
                    <a:pt x="101" y="662"/>
                  </a:cubicBezTo>
                  <a:cubicBezTo>
                    <a:pt x="103" y="662"/>
                    <a:pt x="103" y="659"/>
                    <a:pt x="106" y="659"/>
                  </a:cubicBezTo>
                  <a:cubicBezTo>
                    <a:pt x="106" y="652"/>
                    <a:pt x="97" y="656"/>
                    <a:pt x="95" y="651"/>
                  </a:cubicBezTo>
                  <a:cubicBezTo>
                    <a:pt x="97" y="649"/>
                    <a:pt x="106" y="640"/>
                    <a:pt x="98" y="636"/>
                  </a:cubicBezTo>
                  <a:cubicBezTo>
                    <a:pt x="96" y="634"/>
                    <a:pt x="105" y="634"/>
                    <a:pt x="106" y="636"/>
                  </a:cubicBezTo>
                  <a:cubicBezTo>
                    <a:pt x="107" y="637"/>
                    <a:pt x="105" y="643"/>
                    <a:pt x="106" y="644"/>
                  </a:cubicBezTo>
                  <a:cubicBezTo>
                    <a:pt x="108" y="645"/>
                    <a:pt x="112" y="643"/>
                    <a:pt x="114" y="644"/>
                  </a:cubicBezTo>
                  <a:cubicBezTo>
                    <a:pt x="115" y="648"/>
                    <a:pt x="109" y="646"/>
                    <a:pt x="109" y="648"/>
                  </a:cubicBezTo>
                  <a:cubicBezTo>
                    <a:pt x="106" y="657"/>
                    <a:pt x="115" y="669"/>
                    <a:pt x="109" y="677"/>
                  </a:cubicBezTo>
                  <a:close/>
                  <a:moveTo>
                    <a:pt x="163" y="736"/>
                  </a:moveTo>
                  <a:cubicBezTo>
                    <a:pt x="160" y="749"/>
                    <a:pt x="157" y="732"/>
                    <a:pt x="154" y="733"/>
                  </a:cubicBezTo>
                  <a:cubicBezTo>
                    <a:pt x="150" y="739"/>
                    <a:pt x="155" y="742"/>
                    <a:pt x="152" y="755"/>
                  </a:cubicBezTo>
                  <a:cubicBezTo>
                    <a:pt x="149" y="755"/>
                    <a:pt x="150" y="750"/>
                    <a:pt x="149" y="747"/>
                  </a:cubicBezTo>
                  <a:cubicBezTo>
                    <a:pt x="149" y="739"/>
                    <a:pt x="144" y="737"/>
                    <a:pt x="146" y="725"/>
                  </a:cubicBezTo>
                  <a:cubicBezTo>
                    <a:pt x="149" y="726"/>
                    <a:pt x="151" y="724"/>
                    <a:pt x="152" y="721"/>
                  </a:cubicBezTo>
                  <a:cubicBezTo>
                    <a:pt x="156" y="726"/>
                    <a:pt x="158" y="732"/>
                    <a:pt x="163" y="736"/>
                  </a:cubicBezTo>
                  <a:close/>
                  <a:moveTo>
                    <a:pt x="173" y="688"/>
                  </a:moveTo>
                  <a:cubicBezTo>
                    <a:pt x="172" y="693"/>
                    <a:pt x="170" y="696"/>
                    <a:pt x="165" y="696"/>
                  </a:cubicBezTo>
                  <a:cubicBezTo>
                    <a:pt x="159" y="695"/>
                    <a:pt x="161" y="690"/>
                    <a:pt x="157" y="688"/>
                  </a:cubicBezTo>
                  <a:cubicBezTo>
                    <a:pt x="153" y="690"/>
                    <a:pt x="158" y="693"/>
                    <a:pt x="157" y="699"/>
                  </a:cubicBezTo>
                  <a:cubicBezTo>
                    <a:pt x="148" y="700"/>
                    <a:pt x="151" y="685"/>
                    <a:pt x="144" y="684"/>
                  </a:cubicBezTo>
                  <a:cubicBezTo>
                    <a:pt x="135" y="692"/>
                    <a:pt x="148" y="702"/>
                    <a:pt x="154" y="703"/>
                  </a:cubicBezTo>
                  <a:cubicBezTo>
                    <a:pt x="153" y="706"/>
                    <a:pt x="151" y="710"/>
                    <a:pt x="154" y="710"/>
                  </a:cubicBezTo>
                  <a:cubicBezTo>
                    <a:pt x="153" y="721"/>
                    <a:pt x="149" y="707"/>
                    <a:pt x="144" y="710"/>
                  </a:cubicBezTo>
                  <a:cubicBezTo>
                    <a:pt x="140" y="711"/>
                    <a:pt x="146" y="729"/>
                    <a:pt x="144" y="740"/>
                  </a:cubicBezTo>
                  <a:cubicBezTo>
                    <a:pt x="135" y="736"/>
                    <a:pt x="139" y="748"/>
                    <a:pt x="138" y="755"/>
                  </a:cubicBezTo>
                  <a:cubicBezTo>
                    <a:pt x="136" y="766"/>
                    <a:pt x="135" y="748"/>
                    <a:pt x="135" y="744"/>
                  </a:cubicBezTo>
                  <a:cubicBezTo>
                    <a:pt x="134" y="735"/>
                    <a:pt x="140" y="736"/>
                    <a:pt x="138" y="725"/>
                  </a:cubicBezTo>
                  <a:cubicBezTo>
                    <a:pt x="126" y="722"/>
                    <a:pt x="142" y="735"/>
                    <a:pt x="130" y="733"/>
                  </a:cubicBezTo>
                  <a:cubicBezTo>
                    <a:pt x="129" y="723"/>
                    <a:pt x="131" y="719"/>
                    <a:pt x="138" y="721"/>
                  </a:cubicBezTo>
                  <a:cubicBezTo>
                    <a:pt x="138" y="712"/>
                    <a:pt x="138" y="704"/>
                    <a:pt x="144" y="703"/>
                  </a:cubicBezTo>
                  <a:cubicBezTo>
                    <a:pt x="140" y="696"/>
                    <a:pt x="130" y="700"/>
                    <a:pt x="125" y="696"/>
                  </a:cubicBezTo>
                  <a:cubicBezTo>
                    <a:pt x="119" y="698"/>
                    <a:pt x="122" y="718"/>
                    <a:pt x="130" y="714"/>
                  </a:cubicBezTo>
                  <a:cubicBezTo>
                    <a:pt x="129" y="719"/>
                    <a:pt x="127" y="722"/>
                    <a:pt x="122" y="721"/>
                  </a:cubicBezTo>
                  <a:cubicBezTo>
                    <a:pt x="123" y="729"/>
                    <a:pt x="118" y="729"/>
                    <a:pt x="114" y="729"/>
                  </a:cubicBezTo>
                  <a:cubicBezTo>
                    <a:pt x="115" y="694"/>
                    <a:pt x="115" y="674"/>
                    <a:pt x="117" y="644"/>
                  </a:cubicBezTo>
                  <a:cubicBezTo>
                    <a:pt x="128" y="642"/>
                    <a:pt x="124" y="657"/>
                    <a:pt x="119" y="662"/>
                  </a:cubicBezTo>
                  <a:cubicBezTo>
                    <a:pt x="122" y="673"/>
                    <a:pt x="123" y="654"/>
                    <a:pt x="130" y="659"/>
                  </a:cubicBezTo>
                  <a:cubicBezTo>
                    <a:pt x="132" y="670"/>
                    <a:pt x="127" y="672"/>
                    <a:pt x="128" y="681"/>
                  </a:cubicBezTo>
                  <a:cubicBezTo>
                    <a:pt x="123" y="679"/>
                    <a:pt x="122" y="684"/>
                    <a:pt x="122" y="688"/>
                  </a:cubicBezTo>
                  <a:cubicBezTo>
                    <a:pt x="132" y="706"/>
                    <a:pt x="130" y="664"/>
                    <a:pt x="138" y="677"/>
                  </a:cubicBezTo>
                  <a:cubicBezTo>
                    <a:pt x="139" y="670"/>
                    <a:pt x="135" y="669"/>
                    <a:pt x="135" y="662"/>
                  </a:cubicBezTo>
                  <a:cubicBezTo>
                    <a:pt x="135" y="652"/>
                    <a:pt x="127" y="654"/>
                    <a:pt x="128" y="644"/>
                  </a:cubicBezTo>
                  <a:cubicBezTo>
                    <a:pt x="133" y="637"/>
                    <a:pt x="132" y="646"/>
                    <a:pt x="141" y="644"/>
                  </a:cubicBezTo>
                  <a:cubicBezTo>
                    <a:pt x="141" y="651"/>
                    <a:pt x="141" y="659"/>
                    <a:pt x="141" y="666"/>
                  </a:cubicBezTo>
                  <a:cubicBezTo>
                    <a:pt x="149" y="669"/>
                    <a:pt x="144" y="653"/>
                    <a:pt x="154" y="659"/>
                  </a:cubicBezTo>
                  <a:cubicBezTo>
                    <a:pt x="153" y="654"/>
                    <a:pt x="151" y="651"/>
                    <a:pt x="146" y="651"/>
                  </a:cubicBezTo>
                  <a:cubicBezTo>
                    <a:pt x="146" y="645"/>
                    <a:pt x="151" y="642"/>
                    <a:pt x="146" y="640"/>
                  </a:cubicBezTo>
                  <a:cubicBezTo>
                    <a:pt x="152" y="634"/>
                    <a:pt x="150" y="637"/>
                    <a:pt x="149" y="618"/>
                  </a:cubicBezTo>
                  <a:cubicBezTo>
                    <a:pt x="153" y="618"/>
                    <a:pt x="156" y="618"/>
                    <a:pt x="160" y="618"/>
                  </a:cubicBezTo>
                  <a:cubicBezTo>
                    <a:pt x="158" y="623"/>
                    <a:pt x="156" y="627"/>
                    <a:pt x="154" y="633"/>
                  </a:cubicBezTo>
                  <a:cubicBezTo>
                    <a:pt x="158" y="638"/>
                    <a:pt x="165" y="640"/>
                    <a:pt x="163" y="655"/>
                  </a:cubicBezTo>
                  <a:cubicBezTo>
                    <a:pt x="159" y="654"/>
                    <a:pt x="161" y="648"/>
                    <a:pt x="157" y="648"/>
                  </a:cubicBezTo>
                  <a:cubicBezTo>
                    <a:pt x="151" y="652"/>
                    <a:pt x="160" y="668"/>
                    <a:pt x="160" y="677"/>
                  </a:cubicBezTo>
                  <a:cubicBezTo>
                    <a:pt x="157" y="677"/>
                    <a:pt x="155" y="678"/>
                    <a:pt x="154" y="681"/>
                  </a:cubicBezTo>
                  <a:cubicBezTo>
                    <a:pt x="159" y="694"/>
                    <a:pt x="166" y="679"/>
                    <a:pt x="173" y="688"/>
                  </a:cubicBezTo>
                  <a:close/>
                  <a:moveTo>
                    <a:pt x="173" y="648"/>
                  </a:moveTo>
                  <a:cubicBezTo>
                    <a:pt x="170" y="648"/>
                    <a:pt x="172" y="643"/>
                    <a:pt x="170" y="640"/>
                  </a:cubicBezTo>
                  <a:cubicBezTo>
                    <a:pt x="168" y="633"/>
                    <a:pt x="164" y="631"/>
                    <a:pt x="168" y="625"/>
                  </a:cubicBezTo>
                  <a:cubicBezTo>
                    <a:pt x="175" y="630"/>
                    <a:pt x="176" y="637"/>
                    <a:pt x="173" y="648"/>
                  </a:cubicBezTo>
                  <a:close/>
                  <a:moveTo>
                    <a:pt x="189" y="577"/>
                  </a:moveTo>
                  <a:cubicBezTo>
                    <a:pt x="185" y="575"/>
                    <a:pt x="183" y="572"/>
                    <a:pt x="179" y="570"/>
                  </a:cubicBezTo>
                  <a:cubicBezTo>
                    <a:pt x="173" y="587"/>
                    <a:pt x="189" y="575"/>
                    <a:pt x="187" y="588"/>
                  </a:cubicBezTo>
                  <a:cubicBezTo>
                    <a:pt x="182" y="592"/>
                    <a:pt x="178" y="577"/>
                    <a:pt x="176" y="588"/>
                  </a:cubicBezTo>
                  <a:cubicBezTo>
                    <a:pt x="169" y="584"/>
                    <a:pt x="176" y="569"/>
                    <a:pt x="176" y="562"/>
                  </a:cubicBezTo>
                  <a:cubicBezTo>
                    <a:pt x="176" y="556"/>
                    <a:pt x="174" y="550"/>
                    <a:pt x="170" y="548"/>
                  </a:cubicBezTo>
                  <a:cubicBezTo>
                    <a:pt x="163" y="553"/>
                    <a:pt x="173" y="552"/>
                    <a:pt x="173" y="562"/>
                  </a:cubicBezTo>
                  <a:cubicBezTo>
                    <a:pt x="173" y="563"/>
                    <a:pt x="168" y="562"/>
                    <a:pt x="168" y="562"/>
                  </a:cubicBezTo>
                  <a:cubicBezTo>
                    <a:pt x="166" y="567"/>
                    <a:pt x="171" y="583"/>
                    <a:pt x="168" y="588"/>
                  </a:cubicBezTo>
                  <a:cubicBezTo>
                    <a:pt x="166" y="588"/>
                    <a:pt x="165" y="585"/>
                    <a:pt x="163" y="585"/>
                  </a:cubicBezTo>
                  <a:cubicBezTo>
                    <a:pt x="164" y="596"/>
                    <a:pt x="159" y="599"/>
                    <a:pt x="157" y="607"/>
                  </a:cubicBezTo>
                  <a:cubicBezTo>
                    <a:pt x="160" y="617"/>
                    <a:pt x="182" y="602"/>
                    <a:pt x="179" y="622"/>
                  </a:cubicBezTo>
                  <a:cubicBezTo>
                    <a:pt x="164" y="624"/>
                    <a:pt x="163" y="609"/>
                    <a:pt x="149" y="611"/>
                  </a:cubicBezTo>
                  <a:cubicBezTo>
                    <a:pt x="143" y="611"/>
                    <a:pt x="143" y="620"/>
                    <a:pt x="144" y="629"/>
                  </a:cubicBezTo>
                  <a:cubicBezTo>
                    <a:pt x="138" y="629"/>
                    <a:pt x="140" y="619"/>
                    <a:pt x="133" y="622"/>
                  </a:cubicBezTo>
                  <a:cubicBezTo>
                    <a:pt x="133" y="616"/>
                    <a:pt x="134" y="608"/>
                    <a:pt x="130" y="607"/>
                  </a:cubicBezTo>
                  <a:cubicBezTo>
                    <a:pt x="131" y="601"/>
                    <a:pt x="138" y="606"/>
                    <a:pt x="138" y="599"/>
                  </a:cubicBezTo>
                  <a:cubicBezTo>
                    <a:pt x="137" y="584"/>
                    <a:pt x="128" y="591"/>
                    <a:pt x="119" y="592"/>
                  </a:cubicBezTo>
                  <a:cubicBezTo>
                    <a:pt x="120" y="569"/>
                    <a:pt x="146" y="603"/>
                    <a:pt x="141" y="577"/>
                  </a:cubicBezTo>
                  <a:cubicBezTo>
                    <a:pt x="146" y="578"/>
                    <a:pt x="147" y="584"/>
                    <a:pt x="146" y="592"/>
                  </a:cubicBezTo>
                  <a:cubicBezTo>
                    <a:pt x="150" y="592"/>
                    <a:pt x="153" y="592"/>
                    <a:pt x="157" y="592"/>
                  </a:cubicBezTo>
                  <a:cubicBezTo>
                    <a:pt x="159" y="579"/>
                    <a:pt x="147" y="586"/>
                    <a:pt x="146" y="577"/>
                  </a:cubicBezTo>
                  <a:cubicBezTo>
                    <a:pt x="145" y="566"/>
                    <a:pt x="155" y="570"/>
                    <a:pt x="160" y="566"/>
                  </a:cubicBezTo>
                  <a:cubicBezTo>
                    <a:pt x="160" y="570"/>
                    <a:pt x="160" y="574"/>
                    <a:pt x="160" y="577"/>
                  </a:cubicBezTo>
                  <a:cubicBezTo>
                    <a:pt x="163" y="577"/>
                    <a:pt x="162" y="573"/>
                    <a:pt x="163" y="570"/>
                  </a:cubicBezTo>
                  <a:cubicBezTo>
                    <a:pt x="164" y="566"/>
                    <a:pt x="164" y="563"/>
                    <a:pt x="165" y="551"/>
                  </a:cubicBezTo>
                  <a:cubicBezTo>
                    <a:pt x="165" y="550"/>
                    <a:pt x="165" y="545"/>
                    <a:pt x="165" y="544"/>
                  </a:cubicBezTo>
                  <a:cubicBezTo>
                    <a:pt x="170" y="539"/>
                    <a:pt x="162" y="533"/>
                    <a:pt x="168" y="525"/>
                  </a:cubicBezTo>
                  <a:cubicBezTo>
                    <a:pt x="169" y="516"/>
                    <a:pt x="153" y="529"/>
                    <a:pt x="157" y="514"/>
                  </a:cubicBezTo>
                  <a:cubicBezTo>
                    <a:pt x="152" y="514"/>
                    <a:pt x="151" y="519"/>
                    <a:pt x="146" y="518"/>
                  </a:cubicBezTo>
                  <a:cubicBezTo>
                    <a:pt x="144" y="510"/>
                    <a:pt x="141" y="504"/>
                    <a:pt x="141" y="492"/>
                  </a:cubicBezTo>
                  <a:cubicBezTo>
                    <a:pt x="143" y="495"/>
                    <a:pt x="145" y="499"/>
                    <a:pt x="146" y="503"/>
                  </a:cubicBezTo>
                  <a:cubicBezTo>
                    <a:pt x="157" y="503"/>
                    <a:pt x="143" y="482"/>
                    <a:pt x="154" y="492"/>
                  </a:cubicBezTo>
                  <a:cubicBezTo>
                    <a:pt x="155" y="482"/>
                    <a:pt x="148" y="482"/>
                    <a:pt x="141" y="481"/>
                  </a:cubicBezTo>
                  <a:cubicBezTo>
                    <a:pt x="136" y="456"/>
                    <a:pt x="158" y="468"/>
                    <a:pt x="157" y="448"/>
                  </a:cubicBezTo>
                  <a:cubicBezTo>
                    <a:pt x="162" y="447"/>
                    <a:pt x="163" y="452"/>
                    <a:pt x="168" y="452"/>
                  </a:cubicBezTo>
                  <a:cubicBezTo>
                    <a:pt x="175" y="453"/>
                    <a:pt x="166" y="431"/>
                    <a:pt x="173" y="433"/>
                  </a:cubicBezTo>
                  <a:cubicBezTo>
                    <a:pt x="186" y="433"/>
                    <a:pt x="171" y="442"/>
                    <a:pt x="179" y="444"/>
                  </a:cubicBezTo>
                  <a:cubicBezTo>
                    <a:pt x="180" y="445"/>
                    <a:pt x="183" y="443"/>
                    <a:pt x="184" y="444"/>
                  </a:cubicBezTo>
                  <a:cubicBezTo>
                    <a:pt x="189" y="449"/>
                    <a:pt x="186" y="458"/>
                    <a:pt x="192" y="463"/>
                  </a:cubicBezTo>
                  <a:cubicBezTo>
                    <a:pt x="185" y="475"/>
                    <a:pt x="186" y="447"/>
                    <a:pt x="179" y="448"/>
                  </a:cubicBezTo>
                  <a:cubicBezTo>
                    <a:pt x="176" y="448"/>
                    <a:pt x="177" y="452"/>
                    <a:pt x="176" y="455"/>
                  </a:cubicBezTo>
                  <a:cubicBezTo>
                    <a:pt x="170" y="455"/>
                    <a:pt x="165" y="455"/>
                    <a:pt x="160" y="455"/>
                  </a:cubicBezTo>
                  <a:cubicBezTo>
                    <a:pt x="157" y="458"/>
                    <a:pt x="157" y="464"/>
                    <a:pt x="152" y="463"/>
                  </a:cubicBezTo>
                  <a:cubicBezTo>
                    <a:pt x="157" y="470"/>
                    <a:pt x="157" y="466"/>
                    <a:pt x="154" y="477"/>
                  </a:cubicBezTo>
                  <a:cubicBezTo>
                    <a:pt x="161" y="477"/>
                    <a:pt x="159" y="464"/>
                    <a:pt x="163" y="459"/>
                  </a:cubicBezTo>
                  <a:cubicBezTo>
                    <a:pt x="168" y="452"/>
                    <a:pt x="171" y="466"/>
                    <a:pt x="173" y="466"/>
                  </a:cubicBezTo>
                  <a:cubicBezTo>
                    <a:pt x="177" y="467"/>
                    <a:pt x="179" y="455"/>
                    <a:pt x="184" y="463"/>
                  </a:cubicBezTo>
                  <a:cubicBezTo>
                    <a:pt x="186" y="474"/>
                    <a:pt x="181" y="476"/>
                    <a:pt x="181" y="485"/>
                  </a:cubicBezTo>
                  <a:cubicBezTo>
                    <a:pt x="188" y="482"/>
                    <a:pt x="201" y="475"/>
                    <a:pt x="200" y="492"/>
                  </a:cubicBezTo>
                  <a:cubicBezTo>
                    <a:pt x="188" y="487"/>
                    <a:pt x="193" y="505"/>
                    <a:pt x="184" y="503"/>
                  </a:cubicBezTo>
                  <a:cubicBezTo>
                    <a:pt x="184" y="500"/>
                    <a:pt x="184" y="496"/>
                    <a:pt x="184" y="492"/>
                  </a:cubicBezTo>
                  <a:cubicBezTo>
                    <a:pt x="180" y="493"/>
                    <a:pt x="183" y="503"/>
                    <a:pt x="179" y="503"/>
                  </a:cubicBezTo>
                  <a:cubicBezTo>
                    <a:pt x="179" y="514"/>
                    <a:pt x="191" y="508"/>
                    <a:pt x="195" y="514"/>
                  </a:cubicBezTo>
                  <a:cubicBezTo>
                    <a:pt x="194" y="519"/>
                    <a:pt x="190" y="518"/>
                    <a:pt x="187" y="518"/>
                  </a:cubicBezTo>
                  <a:cubicBezTo>
                    <a:pt x="187" y="525"/>
                    <a:pt x="187" y="533"/>
                    <a:pt x="187" y="540"/>
                  </a:cubicBezTo>
                  <a:cubicBezTo>
                    <a:pt x="174" y="544"/>
                    <a:pt x="191" y="528"/>
                    <a:pt x="181" y="525"/>
                  </a:cubicBezTo>
                  <a:cubicBezTo>
                    <a:pt x="177" y="529"/>
                    <a:pt x="178" y="541"/>
                    <a:pt x="176" y="548"/>
                  </a:cubicBezTo>
                  <a:cubicBezTo>
                    <a:pt x="174" y="558"/>
                    <a:pt x="181" y="555"/>
                    <a:pt x="181" y="562"/>
                  </a:cubicBezTo>
                  <a:cubicBezTo>
                    <a:pt x="180" y="572"/>
                    <a:pt x="192" y="565"/>
                    <a:pt x="189" y="577"/>
                  </a:cubicBezTo>
                  <a:close/>
                  <a:moveTo>
                    <a:pt x="168" y="607"/>
                  </a:moveTo>
                  <a:cubicBezTo>
                    <a:pt x="160" y="604"/>
                    <a:pt x="165" y="601"/>
                    <a:pt x="165" y="592"/>
                  </a:cubicBezTo>
                  <a:cubicBezTo>
                    <a:pt x="168" y="593"/>
                    <a:pt x="167" y="599"/>
                    <a:pt x="170" y="599"/>
                  </a:cubicBezTo>
                  <a:cubicBezTo>
                    <a:pt x="176" y="599"/>
                    <a:pt x="168" y="604"/>
                    <a:pt x="168" y="607"/>
                  </a:cubicBezTo>
                  <a:close/>
                  <a:moveTo>
                    <a:pt x="149" y="525"/>
                  </a:moveTo>
                  <a:cubicBezTo>
                    <a:pt x="152" y="525"/>
                    <a:pt x="154" y="525"/>
                    <a:pt x="157" y="525"/>
                  </a:cubicBezTo>
                  <a:cubicBezTo>
                    <a:pt x="162" y="532"/>
                    <a:pt x="159" y="547"/>
                    <a:pt x="160" y="559"/>
                  </a:cubicBezTo>
                  <a:cubicBezTo>
                    <a:pt x="151" y="556"/>
                    <a:pt x="148" y="551"/>
                    <a:pt x="152" y="566"/>
                  </a:cubicBezTo>
                  <a:cubicBezTo>
                    <a:pt x="137" y="563"/>
                    <a:pt x="147" y="547"/>
                    <a:pt x="149" y="537"/>
                  </a:cubicBezTo>
                  <a:cubicBezTo>
                    <a:pt x="150" y="533"/>
                    <a:pt x="145" y="530"/>
                    <a:pt x="149" y="525"/>
                  </a:cubicBezTo>
                  <a:close/>
                  <a:moveTo>
                    <a:pt x="189" y="566"/>
                  </a:moveTo>
                  <a:cubicBezTo>
                    <a:pt x="185" y="563"/>
                    <a:pt x="181" y="561"/>
                    <a:pt x="181" y="551"/>
                  </a:cubicBezTo>
                  <a:cubicBezTo>
                    <a:pt x="183" y="554"/>
                    <a:pt x="189" y="557"/>
                    <a:pt x="189" y="551"/>
                  </a:cubicBezTo>
                  <a:cubicBezTo>
                    <a:pt x="196" y="552"/>
                    <a:pt x="190" y="564"/>
                    <a:pt x="189" y="566"/>
                  </a:cubicBezTo>
                  <a:close/>
                  <a:moveTo>
                    <a:pt x="195" y="548"/>
                  </a:moveTo>
                  <a:cubicBezTo>
                    <a:pt x="187" y="544"/>
                    <a:pt x="198" y="536"/>
                    <a:pt x="195" y="525"/>
                  </a:cubicBezTo>
                  <a:cubicBezTo>
                    <a:pt x="201" y="533"/>
                    <a:pt x="200" y="541"/>
                    <a:pt x="195" y="548"/>
                  </a:cubicBezTo>
                  <a:close/>
                  <a:moveTo>
                    <a:pt x="205" y="525"/>
                  </a:moveTo>
                  <a:cubicBezTo>
                    <a:pt x="202" y="525"/>
                    <a:pt x="205" y="514"/>
                    <a:pt x="200" y="514"/>
                  </a:cubicBezTo>
                  <a:cubicBezTo>
                    <a:pt x="200" y="511"/>
                    <a:pt x="201" y="511"/>
                    <a:pt x="203" y="511"/>
                  </a:cubicBezTo>
                  <a:cubicBezTo>
                    <a:pt x="205" y="511"/>
                    <a:pt x="206" y="511"/>
                    <a:pt x="208" y="511"/>
                  </a:cubicBezTo>
                  <a:cubicBezTo>
                    <a:pt x="208" y="517"/>
                    <a:pt x="205" y="519"/>
                    <a:pt x="205" y="525"/>
                  </a:cubicBezTo>
                  <a:close/>
                  <a:moveTo>
                    <a:pt x="208" y="285"/>
                  </a:moveTo>
                  <a:cubicBezTo>
                    <a:pt x="201" y="280"/>
                    <a:pt x="216" y="258"/>
                    <a:pt x="208" y="285"/>
                  </a:cubicBezTo>
                  <a:close/>
                  <a:moveTo>
                    <a:pt x="458" y="803"/>
                  </a:moveTo>
                  <a:cubicBezTo>
                    <a:pt x="458" y="809"/>
                    <a:pt x="442" y="796"/>
                    <a:pt x="445" y="814"/>
                  </a:cubicBezTo>
                  <a:cubicBezTo>
                    <a:pt x="440" y="822"/>
                    <a:pt x="445" y="790"/>
                    <a:pt x="447" y="784"/>
                  </a:cubicBezTo>
                  <a:cubicBezTo>
                    <a:pt x="456" y="788"/>
                    <a:pt x="447" y="799"/>
                    <a:pt x="458" y="803"/>
                  </a:cubicBezTo>
                  <a:close/>
                  <a:moveTo>
                    <a:pt x="453" y="655"/>
                  </a:moveTo>
                  <a:cubicBezTo>
                    <a:pt x="457" y="642"/>
                    <a:pt x="458" y="662"/>
                    <a:pt x="456" y="662"/>
                  </a:cubicBezTo>
                  <a:cubicBezTo>
                    <a:pt x="454" y="663"/>
                    <a:pt x="452" y="657"/>
                    <a:pt x="453" y="655"/>
                  </a:cubicBezTo>
                  <a:close/>
                  <a:moveTo>
                    <a:pt x="447" y="648"/>
                  </a:moveTo>
                  <a:cubicBezTo>
                    <a:pt x="455" y="651"/>
                    <a:pt x="446" y="659"/>
                    <a:pt x="447" y="666"/>
                  </a:cubicBezTo>
                  <a:cubicBezTo>
                    <a:pt x="448" y="670"/>
                    <a:pt x="451" y="669"/>
                    <a:pt x="453" y="670"/>
                  </a:cubicBezTo>
                  <a:cubicBezTo>
                    <a:pt x="452" y="679"/>
                    <a:pt x="444" y="671"/>
                    <a:pt x="442" y="670"/>
                  </a:cubicBezTo>
                  <a:cubicBezTo>
                    <a:pt x="439" y="670"/>
                    <a:pt x="440" y="674"/>
                    <a:pt x="439" y="677"/>
                  </a:cubicBezTo>
                  <a:cubicBezTo>
                    <a:pt x="435" y="677"/>
                    <a:pt x="430" y="677"/>
                    <a:pt x="426" y="677"/>
                  </a:cubicBezTo>
                  <a:cubicBezTo>
                    <a:pt x="427" y="671"/>
                    <a:pt x="434" y="674"/>
                    <a:pt x="431" y="662"/>
                  </a:cubicBezTo>
                  <a:cubicBezTo>
                    <a:pt x="434" y="665"/>
                    <a:pt x="437" y="666"/>
                    <a:pt x="442" y="666"/>
                  </a:cubicBezTo>
                  <a:cubicBezTo>
                    <a:pt x="448" y="665"/>
                    <a:pt x="443" y="650"/>
                    <a:pt x="447" y="648"/>
                  </a:cubicBezTo>
                  <a:close/>
                  <a:moveTo>
                    <a:pt x="423" y="799"/>
                  </a:moveTo>
                  <a:cubicBezTo>
                    <a:pt x="418" y="798"/>
                    <a:pt x="410" y="807"/>
                    <a:pt x="410" y="792"/>
                  </a:cubicBezTo>
                  <a:cubicBezTo>
                    <a:pt x="404" y="793"/>
                    <a:pt x="401" y="791"/>
                    <a:pt x="402" y="784"/>
                  </a:cubicBezTo>
                  <a:cubicBezTo>
                    <a:pt x="399" y="784"/>
                    <a:pt x="400" y="789"/>
                    <a:pt x="399" y="792"/>
                  </a:cubicBezTo>
                  <a:cubicBezTo>
                    <a:pt x="392" y="787"/>
                    <a:pt x="399" y="772"/>
                    <a:pt x="407" y="777"/>
                  </a:cubicBezTo>
                  <a:cubicBezTo>
                    <a:pt x="407" y="782"/>
                    <a:pt x="407" y="787"/>
                    <a:pt x="410" y="788"/>
                  </a:cubicBezTo>
                  <a:cubicBezTo>
                    <a:pt x="416" y="783"/>
                    <a:pt x="408" y="780"/>
                    <a:pt x="412" y="773"/>
                  </a:cubicBezTo>
                  <a:cubicBezTo>
                    <a:pt x="415" y="770"/>
                    <a:pt x="407" y="761"/>
                    <a:pt x="410" y="751"/>
                  </a:cubicBezTo>
                  <a:cubicBezTo>
                    <a:pt x="412" y="750"/>
                    <a:pt x="412" y="753"/>
                    <a:pt x="412" y="755"/>
                  </a:cubicBezTo>
                  <a:cubicBezTo>
                    <a:pt x="413" y="759"/>
                    <a:pt x="415" y="757"/>
                    <a:pt x="415" y="755"/>
                  </a:cubicBezTo>
                  <a:cubicBezTo>
                    <a:pt x="419" y="756"/>
                    <a:pt x="417" y="764"/>
                    <a:pt x="418" y="770"/>
                  </a:cubicBezTo>
                  <a:cubicBezTo>
                    <a:pt x="419" y="774"/>
                    <a:pt x="427" y="776"/>
                    <a:pt x="423" y="784"/>
                  </a:cubicBezTo>
                  <a:cubicBezTo>
                    <a:pt x="432" y="783"/>
                    <a:pt x="435" y="781"/>
                    <a:pt x="442" y="784"/>
                  </a:cubicBezTo>
                  <a:cubicBezTo>
                    <a:pt x="439" y="789"/>
                    <a:pt x="439" y="798"/>
                    <a:pt x="437" y="803"/>
                  </a:cubicBezTo>
                  <a:cubicBezTo>
                    <a:pt x="434" y="801"/>
                    <a:pt x="425" y="806"/>
                    <a:pt x="423" y="803"/>
                  </a:cubicBezTo>
                  <a:cubicBezTo>
                    <a:pt x="423" y="803"/>
                    <a:pt x="423" y="799"/>
                    <a:pt x="423" y="799"/>
                  </a:cubicBezTo>
                  <a:close/>
                  <a:moveTo>
                    <a:pt x="388" y="792"/>
                  </a:moveTo>
                  <a:cubicBezTo>
                    <a:pt x="385" y="790"/>
                    <a:pt x="384" y="785"/>
                    <a:pt x="380" y="784"/>
                  </a:cubicBezTo>
                  <a:cubicBezTo>
                    <a:pt x="378" y="787"/>
                    <a:pt x="378" y="793"/>
                    <a:pt x="372" y="792"/>
                  </a:cubicBezTo>
                  <a:cubicBezTo>
                    <a:pt x="376" y="787"/>
                    <a:pt x="377" y="770"/>
                    <a:pt x="370" y="770"/>
                  </a:cubicBezTo>
                  <a:cubicBezTo>
                    <a:pt x="367" y="773"/>
                    <a:pt x="364" y="777"/>
                    <a:pt x="361" y="781"/>
                  </a:cubicBezTo>
                  <a:cubicBezTo>
                    <a:pt x="356" y="779"/>
                    <a:pt x="356" y="775"/>
                    <a:pt x="359" y="770"/>
                  </a:cubicBezTo>
                  <a:cubicBezTo>
                    <a:pt x="351" y="769"/>
                    <a:pt x="353" y="776"/>
                    <a:pt x="348" y="770"/>
                  </a:cubicBezTo>
                  <a:cubicBezTo>
                    <a:pt x="349" y="765"/>
                    <a:pt x="353" y="764"/>
                    <a:pt x="353" y="759"/>
                  </a:cubicBezTo>
                  <a:cubicBezTo>
                    <a:pt x="357" y="764"/>
                    <a:pt x="359" y="770"/>
                    <a:pt x="359" y="755"/>
                  </a:cubicBezTo>
                  <a:cubicBezTo>
                    <a:pt x="367" y="752"/>
                    <a:pt x="362" y="767"/>
                    <a:pt x="370" y="766"/>
                  </a:cubicBezTo>
                  <a:cubicBezTo>
                    <a:pt x="373" y="765"/>
                    <a:pt x="373" y="755"/>
                    <a:pt x="370" y="755"/>
                  </a:cubicBezTo>
                  <a:cubicBezTo>
                    <a:pt x="373" y="750"/>
                    <a:pt x="373" y="742"/>
                    <a:pt x="372" y="733"/>
                  </a:cubicBezTo>
                  <a:cubicBezTo>
                    <a:pt x="383" y="730"/>
                    <a:pt x="373" y="757"/>
                    <a:pt x="386" y="751"/>
                  </a:cubicBezTo>
                  <a:cubicBezTo>
                    <a:pt x="383" y="755"/>
                    <a:pt x="385" y="765"/>
                    <a:pt x="378" y="762"/>
                  </a:cubicBezTo>
                  <a:cubicBezTo>
                    <a:pt x="384" y="771"/>
                    <a:pt x="380" y="772"/>
                    <a:pt x="383" y="781"/>
                  </a:cubicBezTo>
                  <a:cubicBezTo>
                    <a:pt x="386" y="778"/>
                    <a:pt x="386" y="772"/>
                    <a:pt x="391" y="773"/>
                  </a:cubicBezTo>
                  <a:cubicBezTo>
                    <a:pt x="398" y="782"/>
                    <a:pt x="387" y="780"/>
                    <a:pt x="388" y="792"/>
                  </a:cubicBezTo>
                  <a:close/>
                  <a:moveTo>
                    <a:pt x="345" y="740"/>
                  </a:moveTo>
                  <a:cubicBezTo>
                    <a:pt x="346" y="740"/>
                    <a:pt x="344" y="746"/>
                    <a:pt x="343" y="744"/>
                  </a:cubicBezTo>
                  <a:cubicBezTo>
                    <a:pt x="340" y="739"/>
                    <a:pt x="339" y="743"/>
                    <a:pt x="335" y="740"/>
                  </a:cubicBezTo>
                  <a:cubicBezTo>
                    <a:pt x="334" y="740"/>
                    <a:pt x="335" y="734"/>
                    <a:pt x="335" y="733"/>
                  </a:cubicBezTo>
                  <a:cubicBezTo>
                    <a:pt x="332" y="727"/>
                    <a:pt x="326" y="732"/>
                    <a:pt x="321" y="733"/>
                  </a:cubicBezTo>
                  <a:cubicBezTo>
                    <a:pt x="321" y="723"/>
                    <a:pt x="316" y="721"/>
                    <a:pt x="321" y="714"/>
                  </a:cubicBezTo>
                  <a:cubicBezTo>
                    <a:pt x="325" y="713"/>
                    <a:pt x="322" y="723"/>
                    <a:pt x="324" y="725"/>
                  </a:cubicBezTo>
                  <a:cubicBezTo>
                    <a:pt x="327" y="729"/>
                    <a:pt x="331" y="718"/>
                    <a:pt x="335" y="721"/>
                  </a:cubicBezTo>
                  <a:cubicBezTo>
                    <a:pt x="335" y="725"/>
                    <a:pt x="335" y="729"/>
                    <a:pt x="335" y="733"/>
                  </a:cubicBezTo>
                  <a:cubicBezTo>
                    <a:pt x="341" y="731"/>
                    <a:pt x="345" y="727"/>
                    <a:pt x="353" y="729"/>
                  </a:cubicBezTo>
                  <a:cubicBezTo>
                    <a:pt x="353" y="725"/>
                    <a:pt x="348" y="726"/>
                    <a:pt x="345" y="725"/>
                  </a:cubicBezTo>
                  <a:cubicBezTo>
                    <a:pt x="349" y="720"/>
                    <a:pt x="356" y="720"/>
                    <a:pt x="356" y="710"/>
                  </a:cubicBezTo>
                  <a:cubicBezTo>
                    <a:pt x="360" y="711"/>
                    <a:pt x="357" y="721"/>
                    <a:pt x="361" y="721"/>
                  </a:cubicBezTo>
                  <a:cubicBezTo>
                    <a:pt x="356" y="729"/>
                    <a:pt x="357" y="723"/>
                    <a:pt x="359" y="736"/>
                  </a:cubicBezTo>
                  <a:cubicBezTo>
                    <a:pt x="359" y="741"/>
                    <a:pt x="358" y="746"/>
                    <a:pt x="359" y="751"/>
                  </a:cubicBezTo>
                  <a:cubicBezTo>
                    <a:pt x="356" y="751"/>
                    <a:pt x="354" y="752"/>
                    <a:pt x="353" y="755"/>
                  </a:cubicBezTo>
                  <a:cubicBezTo>
                    <a:pt x="346" y="754"/>
                    <a:pt x="357" y="748"/>
                    <a:pt x="353" y="740"/>
                  </a:cubicBezTo>
                  <a:cubicBezTo>
                    <a:pt x="358" y="727"/>
                    <a:pt x="336" y="740"/>
                    <a:pt x="345" y="740"/>
                  </a:cubicBezTo>
                  <a:close/>
                  <a:moveTo>
                    <a:pt x="332" y="747"/>
                  </a:moveTo>
                  <a:cubicBezTo>
                    <a:pt x="337" y="748"/>
                    <a:pt x="345" y="744"/>
                    <a:pt x="343" y="755"/>
                  </a:cubicBezTo>
                  <a:cubicBezTo>
                    <a:pt x="340" y="755"/>
                    <a:pt x="340" y="753"/>
                    <a:pt x="340" y="751"/>
                  </a:cubicBezTo>
                  <a:cubicBezTo>
                    <a:pt x="337" y="751"/>
                    <a:pt x="338" y="756"/>
                    <a:pt x="337" y="759"/>
                  </a:cubicBezTo>
                  <a:cubicBezTo>
                    <a:pt x="335" y="758"/>
                    <a:pt x="335" y="755"/>
                    <a:pt x="332" y="755"/>
                  </a:cubicBezTo>
                  <a:cubicBezTo>
                    <a:pt x="332" y="752"/>
                    <a:pt x="332" y="750"/>
                    <a:pt x="332" y="747"/>
                  </a:cubicBezTo>
                  <a:close/>
                  <a:moveTo>
                    <a:pt x="326" y="744"/>
                  </a:moveTo>
                  <a:cubicBezTo>
                    <a:pt x="326" y="741"/>
                    <a:pt x="326" y="739"/>
                    <a:pt x="326" y="736"/>
                  </a:cubicBezTo>
                  <a:cubicBezTo>
                    <a:pt x="328" y="736"/>
                    <a:pt x="330" y="736"/>
                    <a:pt x="332" y="736"/>
                  </a:cubicBezTo>
                  <a:cubicBezTo>
                    <a:pt x="332" y="739"/>
                    <a:pt x="332" y="741"/>
                    <a:pt x="332" y="744"/>
                  </a:cubicBezTo>
                  <a:cubicBezTo>
                    <a:pt x="330" y="744"/>
                    <a:pt x="328" y="744"/>
                    <a:pt x="326" y="744"/>
                  </a:cubicBezTo>
                  <a:close/>
                  <a:moveTo>
                    <a:pt x="297" y="607"/>
                  </a:moveTo>
                  <a:cubicBezTo>
                    <a:pt x="296" y="598"/>
                    <a:pt x="309" y="609"/>
                    <a:pt x="305" y="596"/>
                  </a:cubicBezTo>
                  <a:cubicBezTo>
                    <a:pt x="309" y="598"/>
                    <a:pt x="312" y="601"/>
                    <a:pt x="316" y="603"/>
                  </a:cubicBezTo>
                  <a:cubicBezTo>
                    <a:pt x="317" y="607"/>
                    <a:pt x="311" y="605"/>
                    <a:pt x="310" y="607"/>
                  </a:cubicBezTo>
                  <a:cubicBezTo>
                    <a:pt x="310" y="609"/>
                    <a:pt x="314" y="613"/>
                    <a:pt x="313" y="618"/>
                  </a:cubicBezTo>
                  <a:cubicBezTo>
                    <a:pt x="313" y="619"/>
                    <a:pt x="310" y="618"/>
                    <a:pt x="310" y="622"/>
                  </a:cubicBezTo>
                  <a:cubicBezTo>
                    <a:pt x="310" y="635"/>
                    <a:pt x="315" y="658"/>
                    <a:pt x="302" y="655"/>
                  </a:cubicBezTo>
                  <a:cubicBezTo>
                    <a:pt x="303" y="651"/>
                    <a:pt x="308" y="652"/>
                    <a:pt x="308" y="648"/>
                  </a:cubicBezTo>
                  <a:cubicBezTo>
                    <a:pt x="306" y="644"/>
                    <a:pt x="301" y="644"/>
                    <a:pt x="302" y="636"/>
                  </a:cubicBezTo>
                  <a:cubicBezTo>
                    <a:pt x="302" y="635"/>
                    <a:pt x="305" y="631"/>
                    <a:pt x="305" y="633"/>
                  </a:cubicBezTo>
                  <a:cubicBezTo>
                    <a:pt x="305" y="625"/>
                    <a:pt x="296" y="624"/>
                    <a:pt x="300" y="614"/>
                  </a:cubicBezTo>
                  <a:cubicBezTo>
                    <a:pt x="302" y="617"/>
                    <a:pt x="304" y="621"/>
                    <a:pt x="305" y="625"/>
                  </a:cubicBezTo>
                  <a:cubicBezTo>
                    <a:pt x="313" y="619"/>
                    <a:pt x="305" y="604"/>
                    <a:pt x="297" y="607"/>
                  </a:cubicBezTo>
                  <a:close/>
                  <a:moveTo>
                    <a:pt x="289" y="562"/>
                  </a:moveTo>
                  <a:cubicBezTo>
                    <a:pt x="284" y="562"/>
                    <a:pt x="283" y="567"/>
                    <a:pt x="278" y="566"/>
                  </a:cubicBezTo>
                  <a:cubicBezTo>
                    <a:pt x="276" y="558"/>
                    <a:pt x="286" y="554"/>
                    <a:pt x="275" y="555"/>
                  </a:cubicBezTo>
                  <a:cubicBezTo>
                    <a:pt x="279" y="541"/>
                    <a:pt x="293" y="558"/>
                    <a:pt x="286" y="537"/>
                  </a:cubicBezTo>
                  <a:cubicBezTo>
                    <a:pt x="281" y="542"/>
                    <a:pt x="280" y="540"/>
                    <a:pt x="281" y="529"/>
                  </a:cubicBezTo>
                  <a:cubicBezTo>
                    <a:pt x="276" y="529"/>
                    <a:pt x="272" y="529"/>
                    <a:pt x="267" y="529"/>
                  </a:cubicBezTo>
                  <a:cubicBezTo>
                    <a:pt x="268" y="518"/>
                    <a:pt x="277" y="524"/>
                    <a:pt x="281" y="529"/>
                  </a:cubicBezTo>
                  <a:cubicBezTo>
                    <a:pt x="287" y="528"/>
                    <a:pt x="291" y="523"/>
                    <a:pt x="300" y="525"/>
                  </a:cubicBezTo>
                  <a:cubicBezTo>
                    <a:pt x="300" y="531"/>
                    <a:pt x="284" y="531"/>
                    <a:pt x="297" y="533"/>
                  </a:cubicBezTo>
                  <a:cubicBezTo>
                    <a:pt x="291" y="548"/>
                    <a:pt x="294" y="552"/>
                    <a:pt x="292" y="570"/>
                  </a:cubicBezTo>
                  <a:cubicBezTo>
                    <a:pt x="296" y="571"/>
                    <a:pt x="297" y="567"/>
                    <a:pt x="297" y="562"/>
                  </a:cubicBezTo>
                  <a:cubicBezTo>
                    <a:pt x="300" y="562"/>
                    <a:pt x="302" y="563"/>
                    <a:pt x="302" y="566"/>
                  </a:cubicBezTo>
                  <a:cubicBezTo>
                    <a:pt x="308" y="565"/>
                    <a:pt x="303" y="550"/>
                    <a:pt x="308" y="548"/>
                  </a:cubicBezTo>
                  <a:cubicBezTo>
                    <a:pt x="313" y="548"/>
                    <a:pt x="308" y="559"/>
                    <a:pt x="310" y="562"/>
                  </a:cubicBezTo>
                  <a:cubicBezTo>
                    <a:pt x="311" y="565"/>
                    <a:pt x="313" y="560"/>
                    <a:pt x="313" y="559"/>
                  </a:cubicBezTo>
                  <a:cubicBezTo>
                    <a:pt x="313" y="558"/>
                    <a:pt x="318" y="560"/>
                    <a:pt x="316" y="562"/>
                  </a:cubicBezTo>
                  <a:cubicBezTo>
                    <a:pt x="311" y="567"/>
                    <a:pt x="319" y="566"/>
                    <a:pt x="313" y="585"/>
                  </a:cubicBezTo>
                  <a:cubicBezTo>
                    <a:pt x="316" y="582"/>
                    <a:pt x="316" y="576"/>
                    <a:pt x="321" y="577"/>
                  </a:cubicBezTo>
                  <a:cubicBezTo>
                    <a:pt x="321" y="583"/>
                    <a:pt x="321" y="590"/>
                    <a:pt x="321" y="596"/>
                  </a:cubicBezTo>
                  <a:cubicBezTo>
                    <a:pt x="318" y="596"/>
                    <a:pt x="319" y="591"/>
                    <a:pt x="318" y="588"/>
                  </a:cubicBezTo>
                  <a:cubicBezTo>
                    <a:pt x="315" y="588"/>
                    <a:pt x="314" y="589"/>
                    <a:pt x="313" y="592"/>
                  </a:cubicBezTo>
                  <a:cubicBezTo>
                    <a:pt x="311" y="588"/>
                    <a:pt x="301" y="577"/>
                    <a:pt x="300" y="585"/>
                  </a:cubicBezTo>
                  <a:cubicBezTo>
                    <a:pt x="291" y="581"/>
                    <a:pt x="303" y="577"/>
                    <a:pt x="302" y="574"/>
                  </a:cubicBezTo>
                  <a:cubicBezTo>
                    <a:pt x="300" y="568"/>
                    <a:pt x="281" y="577"/>
                    <a:pt x="289" y="562"/>
                  </a:cubicBezTo>
                  <a:close/>
                  <a:moveTo>
                    <a:pt x="292" y="625"/>
                  </a:moveTo>
                  <a:cubicBezTo>
                    <a:pt x="284" y="626"/>
                    <a:pt x="285" y="615"/>
                    <a:pt x="281" y="611"/>
                  </a:cubicBezTo>
                  <a:cubicBezTo>
                    <a:pt x="277" y="615"/>
                    <a:pt x="274" y="615"/>
                    <a:pt x="270" y="611"/>
                  </a:cubicBezTo>
                  <a:cubicBezTo>
                    <a:pt x="270" y="606"/>
                    <a:pt x="270" y="601"/>
                    <a:pt x="270" y="596"/>
                  </a:cubicBezTo>
                  <a:cubicBezTo>
                    <a:pt x="270" y="591"/>
                    <a:pt x="273" y="588"/>
                    <a:pt x="273" y="585"/>
                  </a:cubicBezTo>
                  <a:cubicBezTo>
                    <a:pt x="272" y="579"/>
                    <a:pt x="268" y="575"/>
                    <a:pt x="267" y="570"/>
                  </a:cubicBezTo>
                  <a:cubicBezTo>
                    <a:pt x="267" y="560"/>
                    <a:pt x="271" y="550"/>
                    <a:pt x="267" y="537"/>
                  </a:cubicBezTo>
                  <a:cubicBezTo>
                    <a:pt x="270" y="538"/>
                    <a:pt x="272" y="540"/>
                    <a:pt x="273" y="544"/>
                  </a:cubicBezTo>
                  <a:cubicBezTo>
                    <a:pt x="272" y="543"/>
                    <a:pt x="269" y="546"/>
                    <a:pt x="270" y="548"/>
                  </a:cubicBezTo>
                  <a:cubicBezTo>
                    <a:pt x="272" y="550"/>
                    <a:pt x="274" y="557"/>
                    <a:pt x="273" y="574"/>
                  </a:cubicBezTo>
                  <a:cubicBezTo>
                    <a:pt x="273" y="578"/>
                    <a:pt x="275" y="576"/>
                    <a:pt x="275" y="574"/>
                  </a:cubicBezTo>
                  <a:cubicBezTo>
                    <a:pt x="283" y="571"/>
                    <a:pt x="273" y="591"/>
                    <a:pt x="281" y="588"/>
                  </a:cubicBezTo>
                  <a:cubicBezTo>
                    <a:pt x="280" y="597"/>
                    <a:pt x="280" y="606"/>
                    <a:pt x="283" y="611"/>
                  </a:cubicBezTo>
                  <a:cubicBezTo>
                    <a:pt x="287" y="609"/>
                    <a:pt x="286" y="601"/>
                    <a:pt x="286" y="596"/>
                  </a:cubicBezTo>
                  <a:cubicBezTo>
                    <a:pt x="289" y="598"/>
                    <a:pt x="289" y="604"/>
                    <a:pt x="294" y="603"/>
                  </a:cubicBezTo>
                  <a:cubicBezTo>
                    <a:pt x="294" y="612"/>
                    <a:pt x="290" y="614"/>
                    <a:pt x="292" y="625"/>
                  </a:cubicBezTo>
                  <a:close/>
                  <a:moveTo>
                    <a:pt x="283" y="644"/>
                  </a:moveTo>
                  <a:cubicBezTo>
                    <a:pt x="283" y="648"/>
                    <a:pt x="278" y="646"/>
                    <a:pt x="278" y="651"/>
                  </a:cubicBezTo>
                  <a:cubicBezTo>
                    <a:pt x="275" y="651"/>
                    <a:pt x="277" y="648"/>
                    <a:pt x="278" y="648"/>
                  </a:cubicBezTo>
                  <a:cubicBezTo>
                    <a:pt x="274" y="637"/>
                    <a:pt x="276" y="643"/>
                    <a:pt x="283" y="644"/>
                  </a:cubicBezTo>
                  <a:close/>
                  <a:moveTo>
                    <a:pt x="270" y="618"/>
                  </a:moveTo>
                  <a:cubicBezTo>
                    <a:pt x="274" y="617"/>
                    <a:pt x="275" y="621"/>
                    <a:pt x="278" y="622"/>
                  </a:cubicBezTo>
                  <a:cubicBezTo>
                    <a:pt x="279" y="629"/>
                    <a:pt x="266" y="627"/>
                    <a:pt x="270" y="618"/>
                  </a:cubicBezTo>
                  <a:close/>
                  <a:moveTo>
                    <a:pt x="273" y="636"/>
                  </a:moveTo>
                  <a:cubicBezTo>
                    <a:pt x="273" y="635"/>
                    <a:pt x="270" y="648"/>
                    <a:pt x="270" y="648"/>
                  </a:cubicBezTo>
                  <a:cubicBezTo>
                    <a:pt x="268" y="650"/>
                    <a:pt x="269" y="635"/>
                    <a:pt x="267" y="629"/>
                  </a:cubicBezTo>
                  <a:cubicBezTo>
                    <a:pt x="272" y="628"/>
                    <a:pt x="273" y="632"/>
                    <a:pt x="273" y="636"/>
                  </a:cubicBezTo>
                  <a:close/>
                  <a:moveTo>
                    <a:pt x="232" y="470"/>
                  </a:moveTo>
                  <a:cubicBezTo>
                    <a:pt x="227" y="469"/>
                    <a:pt x="230" y="456"/>
                    <a:pt x="224" y="455"/>
                  </a:cubicBezTo>
                  <a:cubicBezTo>
                    <a:pt x="216" y="446"/>
                    <a:pt x="232" y="459"/>
                    <a:pt x="230" y="452"/>
                  </a:cubicBezTo>
                  <a:cubicBezTo>
                    <a:pt x="235" y="451"/>
                    <a:pt x="231" y="465"/>
                    <a:pt x="232" y="470"/>
                  </a:cubicBezTo>
                  <a:close/>
                  <a:moveTo>
                    <a:pt x="232" y="581"/>
                  </a:moveTo>
                  <a:cubicBezTo>
                    <a:pt x="228" y="578"/>
                    <a:pt x="229" y="569"/>
                    <a:pt x="227" y="562"/>
                  </a:cubicBezTo>
                  <a:cubicBezTo>
                    <a:pt x="233" y="563"/>
                    <a:pt x="233" y="572"/>
                    <a:pt x="232" y="581"/>
                  </a:cubicBezTo>
                  <a:close/>
                  <a:moveTo>
                    <a:pt x="214" y="751"/>
                  </a:moveTo>
                  <a:cubicBezTo>
                    <a:pt x="213" y="741"/>
                    <a:pt x="215" y="735"/>
                    <a:pt x="222" y="736"/>
                  </a:cubicBezTo>
                  <a:cubicBezTo>
                    <a:pt x="222" y="746"/>
                    <a:pt x="221" y="752"/>
                    <a:pt x="214" y="751"/>
                  </a:cubicBezTo>
                  <a:close/>
                  <a:moveTo>
                    <a:pt x="219" y="766"/>
                  </a:moveTo>
                  <a:cubicBezTo>
                    <a:pt x="218" y="767"/>
                    <a:pt x="216" y="757"/>
                    <a:pt x="214" y="759"/>
                  </a:cubicBezTo>
                  <a:cubicBezTo>
                    <a:pt x="218" y="746"/>
                    <a:pt x="221" y="763"/>
                    <a:pt x="219" y="766"/>
                  </a:cubicBezTo>
                  <a:close/>
                  <a:moveTo>
                    <a:pt x="224" y="537"/>
                  </a:moveTo>
                  <a:cubicBezTo>
                    <a:pt x="223" y="538"/>
                    <a:pt x="221" y="527"/>
                    <a:pt x="219" y="529"/>
                  </a:cubicBezTo>
                  <a:cubicBezTo>
                    <a:pt x="224" y="517"/>
                    <a:pt x="226" y="534"/>
                    <a:pt x="224" y="537"/>
                  </a:cubicBezTo>
                  <a:close/>
                  <a:moveTo>
                    <a:pt x="224" y="381"/>
                  </a:moveTo>
                  <a:cubicBezTo>
                    <a:pt x="224" y="378"/>
                    <a:pt x="224" y="374"/>
                    <a:pt x="224" y="370"/>
                  </a:cubicBezTo>
                  <a:cubicBezTo>
                    <a:pt x="232" y="365"/>
                    <a:pt x="232" y="387"/>
                    <a:pt x="224" y="381"/>
                  </a:cubicBezTo>
                  <a:close/>
                  <a:moveTo>
                    <a:pt x="230" y="392"/>
                  </a:moveTo>
                  <a:cubicBezTo>
                    <a:pt x="220" y="384"/>
                    <a:pt x="242" y="388"/>
                    <a:pt x="235" y="370"/>
                  </a:cubicBezTo>
                  <a:cubicBezTo>
                    <a:pt x="237" y="372"/>
                    <a:pt x="239" y="374"/>
                    <a:pt x="243" y="374"/>
                  </a:cubicBezTo>
                  <a:cubicBezTo>
                    <a:pt x="240" y="378"/>
                    <a:pt x="235" y="381"/>
                    <a:pt x="238" y="392"/>
                  </a:cubicBezTo>
                  <a:cubicBezTo>
                    <a:pt x="233" y="393"/>
                    <a:pt x="231" y="386"/>
                    <a:pt x="230" y="392"/>
                  </a:cubicBezTo>
                  <a:close/>
                  <a:moveTo>
                    <a:pt x="249" y="433"/>
                  </a:moveTo>
                  <a:cubicBezTo>
                    <a:pt x="248" y="437"/>
                    <a:pt x="245" y="436"/>
                    <a:pt x="243" y="437"/>
                  </a:cubicBezTo>
                  <a:cubicBezTo>
                    <a:pt x="240" y="432"/>
                    <a:pt x="242" y="431"/>
                    <a:pt x="243" y="426"/>
                  </a:cubicBezTo>
                  <a:cubicBezTo>
                    <a:pt x="246" y="427"/>
                    <a:pt x="245" y="433"/>
                    <a:pt x="249" y="433"/>
                  </a:cubicBezTo>
                  <a:close/>
                  <a:moveTo>
                    <a:pt x="235" y="477"/>
                  </a:moveTo>
                  <a:cubicBezTo>
                    <a:pt x="239" y="478"/>
                    <a:pt x="236" y="488"/>
                    <a:pt x="240" y="489"/>
                  </a:cubicBezTo>
                  <a:cubicBezTo>
                    <a:pt x="237" y="500"/>
                    <a:pt x="233" y="485"/>
                    <a:pt x="235" y="477"/>
                  </a:cubicBezTo>
                  <a:close/>
                  <a:moveTo>
                    <a:pt x="238" y="466"/>
                  </a:moveTo>
                  <a:cubicBezTo>
                    <a:pt x="238" y="456"/>
                    <a:pt x="252" y="459"/>
                    <a:pt x="251" y="470"/>
                  </a:cubicBezTo>
                  <a:cubicBezTo>
                    <a:pt x="246" y="462"/>
                    <a:pt x="243" y="473"/>
                    <a:pt x="238" y="466"/>
                  </a:cubicBezTo>
                  <a:close/>
                  <a:moveTo>
                    <a:pt x="254" y="533"/>
                  </a:moveTo>
                  <a:cubicBezTo>
                    <a:pt x="248" y="545"/>
                    <a:pt x="243" y="520"/>
                    <a:pt x="254" y="533"/>
                  </a:cubicBezTo>
                  <a:close/>
                  <a:moveTo>
                    <a:pt x="246" y="448"/>
                  </a:moveTo>
                  <a:cubicBezTo>
                    <a:pt x="246" y="444"/>
                    <a:pt x="251" y="445"/>
                    <a:pt x="254" y="444"/>
                  </a:cubicBezTo>
                  <a:cubicBezTo>
                    <a:pt x="256" y="448"/>
                    <a:pt x="257" y="454"/>
                    <a:pt x="257" y="463"/>
                  </a:cubicBezTo>
                  <a:cubicBezTo>
                    <a:pt x="252" y="459"/>
                    <a:pt x="252" y="449"/>
                    <a:pt x="246" y="448"/>
                  </a:cubicBezTo>
                  <a:close/>
                  <a:moveTo>
                    <a:pt x="254" y="437"/>
                  </a:moveTo>
                  <a:cubicBezTo>
                    <a:pt x="254" y="434"/>
                    <a:pt x="253" y="433"/>
                    <a:pt x="251" y="433"/>
                  </a:cubicBezTo>
                  <a:cubicBezTo>
                    <a:pt x="251" y="429"/>
                    <a:pt x="254" y="430"/>
                    <a:pt x="257" y="429"/>
                  </a:cubicBezTo>
                  <a:cubicBezTo>
                    <a:pt x="255" y="426"/>
                    <a:pt x="254" y="423"/>
                    <a:pt x="251" y="422"/>
                  </a:cubicBezTo>
                  <a:cubicBezTo>
                    <a:pt x="252" y="418"/>
                    <a:pt x="256" y="419"/>
                    <a:pt x="259" y="418"/>
                  </a:cubicBezTo>
                  <a:cubicBezTo>
                    <a:pt x="259" y="424"/>
                    <a:pt x="259" y="431"/>
                    <a:pt x="259" y="437"/>
                  </a:cubicBezTo>
                  <a:cubicBezTo>
                    <a:pt x="257" y="437"/>
                    <a:pt x="256" y="437"/>
                    <a:pt x="254" y="437"/>
                  </a:cubicBezTo>
                  <a:close/>
                  <a:moveTo>
                    <a:pt x="259" y="359"/>
                  </a:moveTo>
                  <a:cubicBezTo>
                    <a:pt x="251" y="360"/>
                    <a:pt x="254" y="347"/>
                    <a:pt x="251" y="341"/>
                  </a:cubicBezTo>
                  <a:cubicBezTo>
                    <a:pt x="254" y="346"/>
                    <a:pt x="259" y="350"/>
                    <a:pt x="259" y="359"/>
                  </a:cubicBezTo>
                  <a:close/>
                  <a:moveTo>
                    <a:pt x="254" y="329"/>
                  </a:moveTo>
                  <a:cubicBezTo>
                    <a:pt x="253" y="320"/>
                    <a:pt x="258" y="318"/>
                    <a:pt x="259" y="311"/>
                  </a:cubicBezTo>
                  <a:cubicBezTo>
                    <a:pt x="264" y="312"/>
                    <a:pt x="260" y="332"/>
                    <a:pt x="254" y="329"/>
                  </a:cubicBezTo>
                  <a:close/>
                  <a:moveTo>
                    <a:pt x="259" y="448"/>
                  </a:moveTo>
                  <a:cubicBezTo>
                    <a:pt x="267" y="434"/>
                    <a:pt x="268" y="459"/>
                    <a:pt x="259" y="448"/>
                  </a:cubicBezTo>
                  <a:close/>
                  <a:moveTo>
                    <a:pt x="265" y="437"/>
                  </a:moveTo>
                  <a:cubicBezTo>
                    <a:pt x="264" y="432"/>
                    <a:pt x="265" y="430"/>
                    <a:pt x="267" y="429"/>
                  </a:cubicBezTo>
                  <a:cubicBezTo>
                    <a:pt x="259" y="417"/>
                    <a:pt x="276" y="429"/>
                    <a:pt x="267" y="418"/>
                  </a:cubicBezTo>
                  <a:cubicBezTo>
                    <a:pt x="270" y="407"/>
                    <a:pt x="275" y="422"/>
                    <a:pt x="278" y="422"/>
                  </a:cubicBezTo>
                  <a:cubicBezTo>
                    <a:pt x="279" y="429"/>
                    <a:pt x="263" y="430"/>
                    <a:pt x="273" y="437"/>
                  </a:cubicBezTo>
                  <a:cubicBezTo>
                    <a:pt x="272" y="442"/>
                    <a:pt x="269" y="435"/>
                    <a:pt x="265" y="437"/>
                  </a:cubicBezTo>
                  <a:close/>
                  <a:moveTo>
                    <a:pt x="294" y="270"/>
                  </a:moveTo>
                  <a:cubicBezTo>
                    <a:pt x="289" y="267"/>
                    <a:pt x="293" y="246"/>
                    <a:pt x="300" y="248"/>
                  </a:cubicBezTo>
                  <a:cubicBezTo>
                    <a:pt x="298" y="256"/>
                    <a:pt x="293" y="259"/>
                    <a:pt x="294" y="270"/>
                  </a:cubicBezTo>
                  <a:close/>
                  <a:moveTo>
                    <a:pt x="294" y="296"/>
                  </a:moveTo>
                  <a:cubicBezTo>
                    <a:pt x="292" y="296"/>
                    <a:pt x="289" y="296"/>
                    <a:pt x="286" y="296"/>
                  </a:cubicBezTo>
                  <a:cubicBezTo>
                    <a:pt x="286" y="294"/>
                    <a:pt x="286" y="291"/>
                    <a:pt x="286" y="289"/>
                  </a:cubicBezTo>
                  <a:cubicBezTo>
                    <a:pt x="292" y="288"/>
                    <a:pt x="295" y="290"/>
                    <a:pt x="294" y="296"/>
                  </a:cubicBezTo>
                  <a:close/>
                  <a:moveTo>
                    <a:pt x="294" y="333"/>
                  </a:moveTo>
                  <a:cubicBezTo>
                    <a:pt x="291" y="332"/>
                    <a:pt x="292" y="324"/>
                    <a:pt x="292" y="318"/>
                  </a:cubicBezTo>
                  <a:cubicBezTo>
                    <a:pt x="302" y="317"/>
                    <a:pt x="293" y="326"/>
                    <a:pt x="294" y="333"/>
                  </a:cubicBezTo>
                  <a:close/>
                  <a:moveTo>
                    <a:pt x="294" y="389"/>
                  </a:moveTo>
                  <a:cubicBezTo>
                    <a:pt x="297" y="390"/>
                    <a:pt x="296" y="396"/>
                    <a:pt x="300" y="396"/>
                  </a:cubicBezTo>
                  <a:cubicBezTo>
                    <a:pt x="297" y="401"/>
                    <a:pt x="292" y="403"/>
                    <a:pt x="292" y="411"/>
                  </a:cubicBezTo>
                  <a:cubicBezTo>
                    <a:pt x="284" y="406"/>
                    <a:pt x="296" y="398"/>
                    <a:pt x="294" y="389"/>
                  </a:cubicBezTo>
                  <a:close/>
                  <a:moveTo>
                    <a:pt x="343" y="248"/>
                  </a:moveTo>
                  <a:cubicBezTo>
                    <a:pt x="347" y="242"/>
                    <a:pt x="351" y="250"/>
                    <a:pt x="361" y="244"/>
                  </a:cubicBezTo>
                  <a:cubicBezTo>
                    <a:pt x="365" y="249"/>
                    <a:pt x="364" y="257"/>
                    <a:pt x="364" y="267"/>
                  </a:cubicBezTo>
                  <a:cubicBezTo>
                    <a:pt x="355" y="262"/>
                    <a:pt x="362" y="279"/>
                    <a:pt x="353" y="274"/>
                  </a:cubicBezTo>
                  <a:cubicBezTo>
                    <a:pt x="351" y="261"/>
                    <a:pt x="356" y="258"/>
                    <a:pt x="361" y="255"/>
                  </a:cubicBezTo>
                  <a:cubicBezTo>
                    <a:pt x="359" y="240"/>
                    <a:pt x="348" y="259"/>
                    <a:pt x="343" y="248"/>
                  </a:cubicBezTo>
                  <a:close/>
                  <a:moveTo>
                    <a:pt x="348" y="300"/>
                  </a:moveTo>
                  <a:cubicBezTo>
                    <a:pt x="344" y="297"/>
                    <a:pt x="338" y="297"/>
                    <a:pt x="340" y="285"/>
                  </a:cubicBezTo>
                  <a:cubicBezTo>
                    <a:pt x="342" y="284"/>
                    <a:pt x="342" y="286"/>
                    <a:pt x="343" y="289"/>
                  </a:cubicBezTo>
                  <a:cubicBezTo>
                    <a:pt x="344" y="293"/>
                    <a:pt x="349" y="293"/>
                    <a:pt x="348" y="300"/>
                  </a:cubicBezTo>
                  <a:close/>
                  <a:moveTo>
                    <a:pt x="383" y="263"/>
                  </a:moveTo>
                  <a:cubicBezTo>
                    <a:pt x="388" y="264"/>
                    <a:pt x="388" y="273"/>
                    <a:pt x="394" y="274"/>
                  </a:cubicBezTo>
                  <a:cubicBezTo>
                    <a:pt x="393" y="279"/>
                    <a:pt x="388" y="278"/>
                    <a:pt x="388" y="274"/>
                  </a:cubicBezTo>
                  <a:cubicBezTo>
                    <a:pt x="386" y="274"/>
                    <a:pt x="386" y="279"/>
                    <a:pt x="386" y="281"/>
                  </a:cubicBezTo>
                  <a:cubicBezTo>
                    <a:pt x="377" y="278"/>
                    <a:pt x="384" y="274"/>
                    <a:pt x="383" y="263"/>
                  </a:cubicBezTo>
                  <a:close/>
                  <a:moveTo>
                    <a:pt x="386" y="333"/>
                  </a:moveTo>
                  <a:cubicBezTo>
                    <a:pt x="381" y="330"/>
                    <a:pt x="379" y="320"/>
                    <a:pt x="383" y="315"/>
                  </a:cubicBezTo>
                  <a:cubicBezTo>
                    <a:pt x="389" y="314"/>
                    <a:pt x="384" y="328"/>
                    <a:pt x="386" y="333"/>
                  </a:cubicBezTo>
                  <a:close/>
                  <a:moveTo>
                    <a:pt x="386" y="307"/>
                  </a:moveTo>
                  <a:cubicBezTo>
                    <a:pt x="378" y="299"/>
                    <a:pt x="384" y="297"/>
                    <a:pt x="380" y="285"/>
                  </a:cubicBezTo>
                  <a:cubicBezTo>
                    <a:pt x="387" y="285"/>
                    <a:pt x="386" y="297"/>
                    <a:pt x="386" y="307"/>
                  </a:cubicBezTo>
                  <a:close/>
                  <a:moveTo>
                    <a:pt x="388" y="489"/>
                  </a:moveTo>
                  <a:cubicBezTo>
                    <a:pt x="389" y="489"/>
                    <a:pt x="388" y="496"/>
                    <a:pt x="388" y="496"/>
                  </a:cubicBezTo>
                  <a:cubicBezTo>
                    <a:pt x="390" y="496"/>
                    <a:pt x="393" y="491"/>
                    <a:pt x="394" y="489"/>
                  </a:cubicBezTo>
                  <a:cubicBezTo>
                    <a:pt x="395" y="487"/>
                    <a:pt x="397" y="495"/>
                    <a:pt x="396" y="496"/>
                  </a:cubicBezTo>
                  <a:cubicBezTo>
                    <a:pt x="396" y="497"/>
                    <a:pt x="391" y="495"/>
                    <a:pt x="391" y="496"/>
                  </a:cubicBezTo>
                  <a:cubicBezTo>
                    <a:pt x="389" y="502"/>
                    <a:pt x="392" y="510"/>
                    <a:pt x="383" y="511"/>
                  </a:cubicBezTo>
                  <a:cubicBezTo>
                    <a:pt x="379" y="520"/>
                    <a:pt x="389" y="519"/>
                    <a:pt x="391" y="522"/>
                  </a:cubicBezTo>
                  <a:cubicBezTo>
                    <a:pt x="393" y="526"/>
                    <a:pt x="389" y="536"/>
                    <a:pt x="396" y="533"/>
                  </a:cubicBezTo>
                  <a:cubicBezTo>
                    <a:pt x="398" y="544"/>
                    <a:pt x="391" y="545"/>
                    <a:pt x="383" y="544"/>
                  </a:cubicBezTo>
                  <a:cubicBezTo>
                    <a:pt x="381" y="537"/>
                    <a:pt x="386" y="534"/>
                    <a:pt x="386" y="529"/>
                  </a:cubicBezTo>
                  <a:cubicBezTo>
                    <a:pt x="384" y="522"/>
                    <a:pt x="380" y="526"/>
                    <a:pt x="378" y="522"/>
                  </a:cubicBezTo>
                  <a:cubicBezTo>
                    <a:pt x="376" y="519"/>
                    <a:pt x="380" y="513"/>
                    <a:pt x="380" y="514"/>
                  </a:cubicBezTo>
                  <a:cubicBezTo>
                    <a:pt x="375" y="506"/>
                    <a:pt x="375" y="505"/>
                    <a:pt x="367" y="507"/>
                  </a:cubicBezTo>
                  <a:cubicBezTo>
                    <a:pt x="366" y="499"/>
                    <a:pt x="369" y="497"/>
                    <a:pt x="370" y="492"/>
                  </a:cubicBezTo>
                  <a:cubicBezTo>
                    <a:pt x="375" y="493"/>
                    <a:pt x="371" y="504"/>
                    <a:pt x="378" y="503"/>
                  </a:cubicBezTo>
                  <a:cubicBezTo>
                    <a:pt x="380" y="504"/>
                    <a:pt x="380" y="502"/>
                    <a:pt x="380" y="500"/>
                  </a:cubicBezTo>
                  <a:cubicBezTo>
                    <a:pt x="380" y="496"/>
                    <a:pt x="377" y="497"/>
                    <a:pt x="375" y="496"/>
                  </a:cubicBezTo>
                  <a:cubicBezTo>
                    <a:pt x="374" y="492"/>
                    <a:pt x="376" y="488"/>
                    <a:pt x="378" y="489"/>
                  </a:cubicBezTo>
                  <a:cubicBezTo>
                    <a:pt x="378" y="489"/>
                    <a:pt x="380" y="496"/>
                    <a:pt x="380" y="496"/>
                  </a:cubicBezTo>
                  <a:cubicBezTo>
                    <a:pt x="381" y="496"/>
                    <a:pt x="385" y="484"/>
                    <a:pt x="388" y="489"/>
                  </a:cubicBezTo>
                  <a:close/>
                  <a:moveTo>
                    <a:pt x="404" y="296"/>
                  </a:moveTo>
                  <a:cubicBezTo>
                    <a:pt x="406" y="299"/>
                    <a:pt x="394" y="307"/>
                    <a:pt x="396" y="300"/>
                  </a:cubicBezTo>
                  <a:cubicBezTo>
                    <a:pt x="397" y="299"/>
                    <a:pt x="402" y="293"/>
                    <a:pt x="404" y="296"/>
                  </a:cubicBezTo>
                  <a:close/>
                  <a:moveTo>
                    <a:pt x="396" y="278"/>
                  </a:moveTo>
                  <a:cubicBezTo>
                    <a:pt x="397" y="275"/>
                    <a:pt x="399" y="274"/>
                    <a:pt x="399" y="270"/>
                  </a:cubicBezTo>
                  <a:cubicBezTo>
                    <a:pt x="401" y="271"/>
                    <a:pt x="402" y="274"/>
                    <a:pt x="404" y="274"/>
                  </a:cubicBezTo>
                  <a:cubicBezTo>
                    <a:pt x="404" y="277"/>
                    <a:pt x="402" y="278"/>
                    <a:pt x="402" y="281"/>
                  </a:cubicBezTo>
                  <a:cubicBezTo>
                    <a:pt x="400" y="281"/>
                    <a:pt x="399" y="278"/>
                    <a:pt x="396" y="278"/>
                  </a:cubicBezTo>
                  <a:close/>
                  <a:moveTo>
                    <a:pt x="421" y="525"/>
                  </a:moveTo>
                  <a:cubicBezTo>
                    <a:pt x="422" y="534"/>
                    <a:pt x="416" y="534"/>
                    <a:pt x="418" y="544"/>
                  </a:cubicBezTo>
                  <a:cubicBezTo>
                    <a:pt x="412" y="539"/>
                    <a:pt x="410" y="546"/>
                    <a:pt x="402" y="540"/>
                  </a:cubicBezTo>
                  <a:cubicBezTo>
                    <a:pt x="404" y="537"/>
                    <a:pt x="405" y="532"/>
                    <a:pt x="404" y="525"/>
                  </a:cubicBezTo>
                  <a:cubicBezTo>
                    <a:pt x="410" y="528"/>
                    <a:pt x="410" y="531"/>
                    <a:pt x="407" y="537"/>
                  </a:cubicBezTo>
                  <a:cubicBezTo>
                    <a:pt x="419" y="543"/>
                    <a:pt x="411" y="522"/>
                    <a:pt x="421" y="525"/>
                  </a:cubicBezTo>
                  <a:close/>
                  <a:moveTo>
                    <a:pt x="410" y="285"/>
                  </a:moveTo>
                  <a:cubicBezTo>
                    <a:pt x="422" y="287"/>
                    <a:pt x="407" y="307"/>
                    <a:pt x="410" y="285"/>
                  </a:cubicBezTo>
                  <a:close/>
                  <a:moveTo>
                    <a:pt x="412" y="281"/>
                  </a:moveTo>
                  <a:cubicBezTo>
                    <a:pt x="412" y="279"/>
                    <a:pt x="412" y="276"/>
                    <a:pt x="412" y="274"/>
                  </a:cubicBezTo>
                  <a:cubicBezTo>
                    <a:pt x="414" y="274"/>
                    <a:pt x="416" y="274"/>
                    <a:pt x="418" y="274"/>
                  </a:cubicBezTo>
                  <a:cubicBezTo>
                    <a:pt x="418" y="276"/>
                    <a:pt x="418" y="279"/>
                    <a:pt x="418" y="281"/>
                  </a:cubicBezTo>
                  <a:cubicBezTo>
                    <a:pt x="416" y="281"/>
                    <a:pt x="414" y="281"/>
                    <a:pt x="412" y="281"/>
                  </a:cubicBezTo>
                  <a:close/>
                  <a:moveTo>
                    <a:pt x="396" y="500"/>
                  </a:moveTo>
                  <a:cubicBezTo>
                    <a:pt x="403" y="501"/>
                    <a:pt x="403" y="509"/>
                    <a:pt x="399" y="514"/>
                  </a:cubicBezTo>
                  <a:cubicBezTo>
                    <a:pt x="395" y="513"/>
                    <a:pt x="397" y="505"/>
                    <a:pt x="396" y="500"/>
                  </a:cubicBezTo>
                  <a:close/>
                  <a:moveTo>
                    <a:pt x="351" y="489"/>
                  </a:moveTo>
                  <a:cubicBezTo>
                    <a:pt x="352" y="483"/>
                    <a:pt x="356" y="482"/>
                    <a:pt x="361" y="481"/>
                  </a:cubicBezTo>
                  <a:cubicBezTo>
                    <a:pt x="363" y="490"/>
                    <a:pt x="368" y="509"/>
                    <a:pt x="356" y="507"/>
                  </a:cubicBezTo>
                  <a:cubicBezTo>
                    <a:pt x="356" y="503"/>
                    <a:pt x="356" y="500"/>
                    <a:pt x="356" y="496"/>
                  </a:cubicBezTo>
                  <a:cubicBezTo>
                    <a:pt x="359" y="496"/>
                    <a:pt x="358" y="500"/>
                    <a:pt x="359" y="503"/>
                  </a:cubicBezTo>
                  <a:cubicBezTo>
                    <a:pt x="367" y="498"/>
                    <a:pt x="357" y="487"/>
                    <a:pt x="351" y="489"/>
                  </a:cubicBezTo>
                  <a:close/>
                  <a:moveTo>
                    <a:pt x="364" y="285"/>
                  </a:moveTo>
                  <a:cubicBezTo>
                    <a:pt x="363" y="279"/>
                    <a:pt x="379" y="280"/>
                    <a:pt x="372" y="289"/>
                  </a:cubicBezTo>
                  <a:cubicBezTo>
                    <a:pt x="373" y="287"/>
                    <a:pt x="364" y="285"/>
                    <a:pt x="364" y="285"/>
                  </a:cubicBezTo>
                  <a:close/>
                  <a:moveTo>
                    <a:pt x="372" y="296"/>
                  </a:moveTo>
                  <a:cubicBezTo>
                    <a:pt x="372" y="303"/>
                    <a:pt x="375" y="304"/>
                    <a:pt x="375" y="311"/>
                  </a:cubicBezTo>
                  <a:cubicBezTo>
                    <a:pt x="372" y="311"/>
                    <a:pt x="373" y="306"/>
                    <a:pt x="372" y="304"/>
                  </a:cubicBezTo>
                  <a:cubicBezTo>
                    <a:pt x="370" y="303"/>
                    <a:pt x="370" y="305"/>
                    <a:pt x="370" y="307"/>
                  </a:cubicBezTo>
                  <a:cubicBezTo>
                    <a:pt x="368" y="314"/>
                    <a:pt x="365" y="303"/>
                    <a:pt x="370" y="304"/>
                  </a:cubicBezTo>
                  <a:cubicBezTo>
                    <a:pt x="371" y="295"/>
                    <a:pt x="357" y="306"/>
                    <a:pt x="361" y="292"/>
                  </a:cubicBezTo>
                  <a:cubicBezTo>
                    <a:pt x="364" y="295"/>
                    <a:pt x="367" y="296"/>
                    <a:pt x="372" y="296"/>
                  </a:cubicBezTo>
                  <a:close/>
                  <a:moveTo>
                    <a:pt x="375" y="533"/>
                  </a:moveTo>
                  <a:cubicBezTo>
                    <a:pt x="367" y="548"/>
                    <a:pt x="368" y="521"/>
                    <a:pt x="361" y="522"/>
                  </a:cubicBezTo>
                  <a:cubicBezTo>
                    <a:pt x="363" y="511"/>
                    <a:pt x="367" y="525"/>
                    <a:pt x="372" y="522"/>
                  </a:cubicBezTo>
                  <a:cubicBezTo>
                    <a:pt x="372" y="527"/>
                    <a:pt x="372" y="532"/>
                    <a:pt x="375" y="533"/>
                  </a:cubicBezTo>
                  <a:close/>
                  <a:moveTo>
                    <a:pt x="364" y="474"/>
                  </a:moveTo>
                  <a:cubicBezTo>
                    <a:pt x="361" y="473"/>
                    <a:pt x="362" y="467"/>
                    <a:pt x="361" y="463"/>
                  </a:cubicBezTo>
                  <a:cubicBezTo>
                    <a:pt x="366" y="461"/>
                    <a:pt x="367" y="465"/>
                    <a:pt x="367" y="470"/>
                  </a:cubicBezTo>
                  <a:cubicBezTo>
                    <a:pt x="365" y="469"/>
                    <a:pt x="364" y="471"/>
                    <a:pt x="364" y="474"/>
                  </a:cubicBezTo>
                  <a:close/>
                  <a:moveTo>
                    <a:pt x="364" y="344"/>
                  </a:moveTo>
                  <a:cubicBezTo>
                    <a:pt x="363" y="336"/>
                    <a:pt x="369" y="339"/>
                    <a:pt x="370" y="333"/>
                  </a:cubicBezTo>
                  <a:cubicBezTo>
                    <a:pt x="373" y="334"/>
                    <a:pt x="372" y="340"/>
                    <a:pt x="372" y="344"/>
                  </a:cubicBezTo>
                  <a:cubicBezTo>
                    <a:pt x="370" y="344"/>
                    <a:pt x="367" y="344"/>
                    <a:pt x="364" y="344"/>
                  </a:cubicBezTo>
                  <a:close/>
                  <a:moveTo>
                    <a:pt x="361" y="555"/>
                  </a:moveTo>
                  <a:cubicBezTo>
                    <a:pt x="368" y="551"/>
                    <a:pt x="379" y="549"/>
                    <a:pt x="378" y="566"/>
                  </a:cubicBezTo>
                  <a:cubicBezTo>
                    <a:pt x="373" y="561"/>
                    <a:pt x="360" y="567"/>
                    <a:pt x="361" y="555"/>
                  </a:cubicBezTo>
                  <a:close/>
                  <a:moveTo>
                    <a:pt x="364" y="274"/>
                  </a:moveTo>
                  <a:cubicBezTo>
                    <a:pt x="366" y="269"/>
                    <a:pt x="370" y="267"/>
                    <a:pt x="375" y="267"/>
                  </a:cubicBezTo>
                  <a:cubicBezTo>
                    <a:pt x="378" y="278"/>
                    <a:pt x="369" y="273"/>
                    <a:pt x="364" y="274"/>
                  </a:cubicBezTo>
                  <a:close/>
                  <a:moveTo>
                    <a:pt x="353" y="363"/>
                  </a:moveTo>
                  <a:cubicBezTo>
                    <a:pt x="352" y="364"/>
                    <a:pt x="350" y="353"/>
                    <a:pt x="348" y="355"/>
                  </a:cubicBezTo>
                  <a:cubicBezTo>
                    <a:pt x="353" y="343"/>
                    <a:pt x="355" y="360"/>
                    <a:pt x="353" y="363"/>
                  </a:cubicBezTo>
                  <a:close/>
                  <a:moveTo>
                    <a:pt x="351" y="459"/>
                  </a:moveTo>
                  <a:cubicBezTo>
                    <a:pt x="351" y="463"/>
                    <a:pt x="351" y="466"/>
                    <a:pt x="351" y="470"/>
                  </a:cubicBezTo>
                  <a:cubicBezTo>
                    <a:pt x="348" y="470"/>
                    <a:pt x="349" y="465"/>
                    <a:pt x="348" y="463"/>
                  </a:cubicBezTo>
                  <a:cubicBezTo>
                    <a:pt x="346" y="466"/>
                    <a:pt x="341" y="465"/>
                    <a:pt x="337" y="459"/>
                  </a:cubicBezTo>
                  <a:cubicBezTo>
                    <a:pt x="336" y="456"/>
                    <a:pt x="334" y="454"/>
                    <a:pt x="335" y="448"/>
                  </a:cubicBezTo>
                  <a:cubicBezTo>
                    <a:pt x="337" y="451"/>
                    <a:pt x="339" y="454"/>
                    <a:pt x="340" y="459"/>
                  </a:cubicBezTo>
                  <a:cubicBezTo>
                    <a:pt x="344" y="459"/>
                    <a:pt x="347" y="459"/>
                    <a:pt x="351" y="459"/>
                  </a:cubicBezTo>
                  <a:close/>
                  <a:moveTo>
                    <a:pt x="340" y="559"/>
                  </a:moveTo>
                  <a:cubicBezTo>
                    <a:pt x="347" y="549"/>
                    <a:pt x="345" y="570"/>
                    <a:pt x="343" y="574"/>
                  </a:cubicBezTo>
                  <a:cubicBezTo>
                    <a:pt x="336" y="572"/>
                    <a:pt x="336" y="564"/>
                    <a:pt x="343" y="562"/>
                  </a:cubicBezTo>
                  <a:cubicBezTo>
                    <a:pt x="343" y="559"/>
                    <a:pt x="342" y="559"/>
                    <a:pt x="340" y="559"/>
                  </a:cubicBezTo>
                  <a:close/>
                  <a:moveTo>
                    <a:pt x="335" y="522"/>
                  </a:moveTo>
                  <a:cubicBezTo>
                    <a:pt x="334" y="521"/>
                    <a:pt x="335" y="518"/>
                    <a:pt x="335" y="518"/>
                  </a:cubicBezTo>
                  <a:cubicBezTo>
                    <a:pt x="332" y="517"/>
                    <a:pt x="320" y="521"/>
                    <a:pt x="324" y="511"/>
                  </a:cubicBezTo>
                  <a:cubicBezTo>
                    <a:pt x="334" y="513"/>
                    <a:pt x="331" y="517"/>
                    <a:pt x="329" y="503"/>
                  </a:cubicBezTo>
                  <a:cubicBezTo>
                    <a:pt x="332" y="503"/>
                    <a:pt x="335" y="503"/>
                    <a:pt x="337" y="503"/>
                  </a:cubicBezTo>
                  <a:cubicBezTo>
                    <a:pt x="334" y="516"/>
                    <a:pt x="336" y="519"/>
                    <a:pt x="345" y="514"/>
                  </a:cubicBezTo>
                  <a:cubicBezTo>
                    <a:pt x="347" y="517"/>
                    <a:pt x="338" y="528"/>
                    <a:pt x="335" y="522"/>
                  </a:cubicBezTo>
                  <a:close/>
                  <a:moveTo>
                    <a:pt x="324" y="707"/>
                  </a:moveTo>
                  <a:cubicBezTo>
                    <a:pt x="320" y="705"/>
                    <a:pt x="325" y="702"/>
                    <a:pt x="324" y="696"/>
                  </a:cubicBezTo>
                  <a:cubicBezTo>
                    <a:pt x="332" y="698"/>
                    <a:pt x="329" y="698"/>
                    <a:pt x="337" y="696"/>
                  </a:cubicBezTo>
                  <a:cubicBezTo>
                    <a:pt x="338" y="706"/>
                    <a:pt x="338" y="716"/>
                    <a:pt x="329" y="714"/>
                  </a:cubicBezTo>
                  <a:cubicBezTo>
                    <a:pt x="329" y="710"/>
                    <a:pt x="329" y="707"/>
                    <a:pt x="329" y="703"/>
                  </a:cubicBezTo>
                  <a:cubicBezTo>
                    <a:pt x="326" y="702"/>
                    <a:pt x="324" y="704"/>
                    <a:pt x="324" y="707"/>
                  </a:cubicBezTo>
                  <a:close/>
                  <a:moveTo>
                    <a:pt x="316" y="644"/>
                  </a:moveTo>
                  <a:cubicBezTo>
                    <a:pt x="322" y="632"/>
                    <a:pt x="323" y="658"/>
                    <a:pt x="324" y="666"/>
                  </a:cubicBezTo>
                  <a:cubicBezTo>
                    <a:pt x="308" y="668"/>
                    <a:pt x="324" y="649"/>
                    <a:pt x="316" y="644"/>
                  </a:cubicBezTo>
                  <a:close/>
                  <a:moveTo>
                    <a:pt x="335" y="562"/>
                  </a:moveTo>
                  <a:cubicBezTo>
                    <a:pt x="335" y="571"/>
                    <a:pt x="335" y="580"/>
                    <a:pt x="335" y="588"/>
                  </a:cubicBezTo>
                  <a:cubicBezTo>
                    <a:pt x="331" y="589"/>
                    <a:pt x="325" y="578"/>
                    <a:pt x="332" y="577"/>
                  </a:cubicBezTo>
                  <a:cubicBezTo>
                    <a:pt x="329" y="573"/>
                    <a:pt x="326" y="577"/>
                    <a:pt x="321" y="570"/>
                  </a:cubicBezTo>
                  <a:cubicBezTo>
                    <a:pt x="322" y="560"/>
                    <a:pt x="326" y="575"/>
                    <a:pt x="332" y="570"/>
                  </a:cubicBezTo>
                  <a:cubicBezTo>
                    <a:pt x="329" y="565"/>
                    <a:pt x="330" y="562"/>
                    <a:pt x="335" y="562"/>
                  </a:cubicBezTo>
                  <a:close/>
                  <a:moveTo>
                    <a:pt x="324" y="618"/>
                  </a:moveTo>
                  <a:cubicBezTo>
                    <a:pt x="327" y="616"/>
                    <a:pt x="327" y="609"/>
                    <a:pt x="332" y="611"/>
                  </a:cubicBezTo>
                  <a:cubicBezTo>
                    <a:pt x="333" y="620"/>
                    <a:pt x="326" y="620"/>
                    <a:pt x="321" y="622"/>
                  </a:cubicBezTo>
                  <a:cubicBezTo>
                    <a:pt x="321" y="618"/>
                    <a:pt x="322" y="618"/>
                    <a:pt x="324" y="618"/>
                  </a:cubicBezTo>
                  <a:close/>
                  <a:moveTo>
                    <a:pt x="337" y="677"/>
                  </a:moveTo>
                  <a:cubicBezTo>
                    <a:pt x="329" y="691"/>
                    <a:pt x="328" y="666"/>
                    <a:pt x="337" y="677"/>
                  </a:cubicBezTo>
                  <a:close/>
                  <a:moveTo>
                    <a:pt x="326" y="670"/>
                  </a:moveTo>
                  <a:cubicBezTo>
                    <a:pt x="326" y="662"/>
                    <a:pt x="327" y="658"/>
                    <a:pt x="332" y="659"/>
                  </a:cubicBezTo>
                  <a:cubicBezTo>
                    <a:pt x="332" y="652"/>
                    <a:pt x="332" y="646"/>
                    <a:pt x="332" y="640"/>
                  </a:cubicBezTo>
                  <a:cubicBezTo>
                    <a:pt x="341" y="642"/>
                    <a:pt x="339" y="675"/>
                    <a:pt x="326" y="670"/>
                  </a:cubicBezTo>
                  <a:close/>
                  <a:moveTo>
                    <a:pt x="326" y="555"/>
                  </a:moveTo>
                  <a:cubicBezTo>
                    <a:pt x="326" y="555"/>
                    <a:pt x="330" y="548"/>
                    <a:pt x="329" y="548"/>
                  </a:cubicBezTo>
                  <a:cubicBezTo>
                    <a:pt x="325" y="546"/>
                    <a:pt x="325" y="551"/>
                    <a:pt x="324" y="551"/>
                  </a:cubicBezTo>
                  <a:cubicBezTo>
                    <a:pt x="322" y="552"/>
                    <a:pt x="319" y="545"/>
                    <a:pt x="318" y="551"/>
                  </a:cubicBezTo>
                  <a:cubicBezTo>
                    <a:pt x="314" y="550"/>
                    <a:pt x="319" y="548"/>
                    <a:pt x="318" y="544"/>
                  </a:cubicBezTo>
                  <a:cubicBezTo>
                    <a:pt x="319" y="541"/>
                    <a:pt x="317" y="540"/>
                    <a:pt x="316" y="540"/>
                  </a:cubicBezTo>
                  <a:cubicBezTo>
                    <a:pt x="309" y="535"/>
                    <a:pt x="333" y="541"/>
                    <a:pt x="337" y="544"/>
                  </a:cubicBezTo>
                  <a:cubicBezTo>
                    <a:pt x="335" y="547"/>
                    <a:pt x="333" y="554"/>
                    <a:pt x="337" y="555"/>
                  </a:cubicBezTo>
                  <a:cubicBezTo>
                    <a:pt x="341" y="561"/>
                    <a:pt x="326" y="554"/>
                    <a:pt x="326" y="555"/>
                  </a:cubicBezTo>
                  <a:close/>
                  <a:moveTo>
                    <a:pt x="313" y="463"/>
                  </a:moveTo>
                  <a:cubicBezTo>
                    <a:pt x="313" y="463"/>
                    <a:pt x="318" y="467"/>
                    <a:pt x="318" y="466"/>
                  </a:cubicBezTo>
                  <a:cubicBezTo>
                    <a:pt x="318" y="467"/>
                    <a:pt x="312" y="474"/>
                    <a:pt x="313" y="474"/>
                  </a:cubicBezTo>
                  <a:cubicBezTo>
                    <a:pt x="309" y="473"/>
                    <a:pt x="313" y="471"/>
                    <a:pt x="313" y="470"/>
                  </a:cubicBezTo>
                  <a:cubicBezTo>
                    <a:pt x="314" y="469"/>
                    <a:pt x="312" y="463"/>
                    <a:pt x="313" y="463"/>
                  </a:cubicBezTo>
                  <a:close/>
                  <a:moveTo>
                    <a:pt x="345" y="492"/>
                  </a:moveTo>
                  <a:cubicBezTo>
                    <a:pt x="350" y="491"/>
                    <a:pt x="350" y="495"/>
                    <a:pt x="351" y="500"/>
                  </a:cubicBezTo>
                  <a:cubicBezTo>
                    <a:pt x="348" y="499"/>
                    <a:pt x="348" y="501"/>
                    <a:pt x="348" y="503"/>
                  </a:cubicBezTo>
                  <a:cubicBezTo>
                    <a:pt x="345" y="503"/>
                    <a:pt x="346" y="497"/>
                    <a:pt x="345" y="492"/>
                  </a:cubicBezTo>
                  <a:close/>
                  <a:moveTo>
                    <a:pt x="343" y="422"/>
                  </a:moveTo>
                  <a:cubicBezTo>
                    <a:pt x="337" y="422"/>
                    <a:pt x="339" y="412"/>
                    <a:pt x="332" y="415"/>
                  </a:cubicBezTo>
                  <a:cubicBezTo>
                    <a:pt x="334" y="406"/>
                    <a:pt x="345" y="413"/>
                    <a:pt x="343" y="422"/>
                  </a:cubicBezTo>
                  <a:close/>
                  <a:moveTo>
                    <a:pt x="340" y="477"/>
                  </a:moveTo>
                  <a:cubicBezTo>
                    <a:pt x="340" y="478"/>
                    <a:pt x="340" y="481"/>
                    <a:pt x="340" y="481"/>
                  </a:cubicBezTo>
                  <a:cubicBezTo>
                    <a:pt x="343" y="483"/>
                    <a:pt x="346" y="481"/>
                    <a:pt x="345" y="489"/>
                  </a:cubicBezTo>
                  <a:cubicBezTo>
                    <a:pt x="341" y="490"/>
                    <a:pt x="340" y="486"/>
                    <a:pt x="340" y="481"/>
                  </a:cubicBezTo>
                  <a:cubicBezTo>
                    <a:pt x="337" y="481"/>
                    <a:pt x="338" y="486"/>
                    <a:pt x="337" y="489"/>
                  </a:cubicBezTo>
                  <a:cubicBezTo>
                    <a:pt x="333" y="487"/>
                    <a:pt x="332" y="491"/>
                    <a:pt x="332" y="496"/>
                  </a:cubicBezTo>
                  <a:cubicBezTo>
                    <a:pt x="329" y="495"/>
                    <a:pt x="330" y="489"/>
                    <a:pt x="329" y="485"/>
                  </a:cubicBezTo>
                  <a:cubicBezTo>
                    <a:pt x="326" y="485"/>
                    <a:pt x="324" y="485"/>
                    <a:pt x="321" y="485"/>
                  </a:cubicBezTo>
                  <a:cubicBezTo>
                    <a:pt x="320" y="482"/>
                    <a:pt x="337" y="476"/>
                    <a:pt x="340" y="477"/>
                  </a:cubicBezTo>
                  <a:close/>
                  <a:moveTo>
                    <a:pt x="332" y="466"/>
                  </a:moveTo>
                  <a:cubicBezTo>
                    <a:pt x="326" y="477"/>
                    <a:pt x="323" y="454"/>
                    <a:pt x="324" y="444"/>
                  </a:cubicBezTo>
                  <a:cubicBezTo>
                    <a:pt x="327" y="447"/>
                    <a:pt x="327" y="453"/>
                    <a:pt x="332" y="452"/>
                  </a:cubicBezTo>
                  <a:cubicBezTo>
                    <a:pt x="331" y="454"/>
                    <a:pt x="325" y="466"/>
                    <a:pt x="332" y="466"/>
                  </a:cubicBezTo>
                  <a:close/>
                  <a:moveTo>
                    <a:pt x="329" y="411"/>
                  </a:moveTo>
                  <a:cubicBezTo>
                    <a:pt x="326" y="411"/>
                    <a:pt x="327" y="418"/>
                    <a:pt x="326" y="422"/>
                  </a:cubicBezTo>
                  <a:cubicBezTo>
                    <a:pt x="323" y="421"/>
                    <a:pt x="322" y="423"/>
                    <a:pt x="321" y="426"/>
                  </a:cubicBezTo>
                  <a:cubicBezTo>
                    <a:pt x="315" y="425"/>
                    <a:pt x="321" y="413"/>
                    <a:pt x="324" y="415"/>
                  </a:cubicBezTo>
                  <a:cubicBezTo>
                    <a:pt x="324" y="407"/>
                    <a:pt x="324" y="400"/>
                    <a:pt x="324" y="392"/>
                  </a:cubicBezTo>
                  <a:cubicBezTo>
                    <a:pt x="328" y="395"/>
                    <a:pt x="328" y="404"/>
                    <a:pt x="329" y="411"/>
                  </a:cubicBezTo>
                  <a:close/>
                  <a:moveTo>
                    <a:pt x="324" y="344"/>
                  </a:moveTo>
                  <a:cubicBezTo>
                    <a:pt x="328" y="343"/>
                    <a:pt x="329" y="347"/>
                    <a:pt x="329" y="352"/>
                  </a:cubicBezTo>
                  <a:cubicBezTo>
                    <a:pt x="327" y="351"/>
                    <a:pt x="327" y="353"/>
                    <a:pt x="326" y="355"/>
                  </a:cubicBezTo>
                  <a:cubicBezTo>
                    <a:pt x="323" y="355"/>
                    <a:pt x="324" y="349"/>
                    <a:pt x="324" y="344"/>
                  </a:cubicBezTo>
                  <a:close/>
                  <a:moveTo>
                    <a:pt x="316" y="385"/>
                  </a:moveTo>
                  <a:cubicBezTo>
                    <a:pt x="316" y="381"/>
                    <a:pt x="321" y="382"/>
                    <a:pt x="321" y="378"/>
                  </a:cubicBezTo>
                  <a:cubicBezTo>
                    <a:pt x="324" y="378"/>
                    <a:pt x="323" y="382"/>
                    <a:pt x="324" y="385"/>
                  </a:cubicBezTo>
                  <a:cubicBezTo>
                    <a:pt x="320" y="389"/>
                    <a:pt x="320" y="386"/>
                    <a:pt x="316" y="385"/>
                  </a:cubicBezTo>
                  <a:close/>
                  <a:moveTo>
                    <a:pt x="321" y="352"/>
                  </a:moveTo>
                  <a:cubicBezTo>
                    <a:pt x="318" y="354"/>
                    <a:pt x="319" y="348"/>
                    <a:pt x="318" y="348"/>
                  </a:cubicBezTo>
                  <a:cubicBezTo>
                    <a:pt x="317" y="347"/>
                    <a:pt x="311" y="349"/>
                    <a:pt x="310" y="348"/>
                  </a:cubicBezTo>
                  <a:cubicBezTo>
                    <a:pt x="307" y="343"/>
                    <a:pt x="323" y="336"/>
                    <a:pt x="321" y="352"/>
                  </a:cubicBezTo>
                  <a:close/>
                  <a:moveTo>
                    <a:pt x="310" y="537"/>
                  </a:moveTo>
                  <a:cubicBezTo>
                    <a:pt x="312" y="551"/>
                    <a:pt x="297" y="551"/>
                    <a:pt x="300" y="537"/>
                  </a:cubicBezTo>
                  <a:cubicBezTo>
                    <a:pt x="305" y="530"/>
                    <a:pt x="303" y="537"/>
                    <a:pt x="310" y="537"/>
                  </a:cubicBezTo>
                  <a:close/>
                  <a:moveTo>
                    <a:pt x="286" y="496"/>
                  </a:moveTo>
                  <a:cubicBezTo>
                    <a:pt x="285" y="489"/>
                    <a:pt x="284" y="493"/>
                    <a:pt x="286" y="481"/>
                  </a:cubicBezTo>
                  <a:cubicBezTo>
                    <a:pt x="293" y="485"/>
                    <a:pt x="293" y="499"/>
                    <a:pt x="286" y="503"/>
                  </a:cubicBezTo>
                  <a:cubicBezTo>
                    <a:pt x="281" y="512"/>
                    <a:pt x="287" y="503"/>
                    <a:pt x="286" y="496"/>
                  </a:cubicBezTo>
                  <a:close/>
                  <a:moveTo>
                    <a:pt x="286" y="466"/>
                  </a:moveTo>
                  <a:cubicBezTo>
                    <a:pt x="286" y="461"/>
                    <a:pt x="286" y="456"/>
                    <a:pt x="286" y="452"/>
                  </a:cubicBezTo>
                  <a:cubicBezTo>
                    <a:pt x="284" y="452"/>
                    <a:pt x="283" y="452"/>
                    <a:pt x="281" y="452"/>
                  </a:cubicBezTo>
                  <a:cubicBezTo>
                    <a:pt x="281" y="447"/>
                    <a:pt x="286" y="448"/>
                    <a:pt x="289" y="448"/>
                  </a:cubicBezTo>
                  <a:cubicBezTo>
                    <a:pt x="289" y="453"/>
                    <a:pt x="289" y="458"/>
                    <a:pt x="289" y="463"/>
                  </a:cubicBezTo>
                  <a:cubicBezTo>
                    <a:pt x="292" y="462"/>
                    <a:pt x="291" y="456"/>
                    <a:pt x="292" y="452"/>
                  </a:cubicBezTo>
                  <a:cubicBezTo>
                    <a:pt x="299" y="456"/>
                    <a:pt x="300" y="464"/>
                    <a:pt x="297" y="474"/>
                  </a:cubicBezTo>
                  <a:cubicBezTo>
                    <a:pt x="293" y="472"/>
                    <a:pt x="295" y="462"/>
                    <a:pt x="286" y="466"/>
                  </a:cubicBezTo>
                  <a:close/>
                  <a:moveTo>
                    <a:pt x="289" y="344"/>
                  </a:moveTo>
                  <a:cubicBezTo>
                    <a:pt x="283" y="356"/>
                    <a:pt x="278" y="331"/>
                    <a:pt x="289" y="344"/>
                  </a:cubicBezTo>
                  <a:close/>
                  <a:moveTo>
                    <a:pt x="286" y="326"/>
                  </a:moveTo>
                  <a:cubicBezTo>
                    <a:pt x="281" y="325"/>
                    <a:pt x="280" y="319"/>
                    <a:pt x="281" y="311"/>
                  </a:cubicBezTo>
                  <a:cubicBezTo>
                    <a:pt x="286" y="312"/>
                    <a:pt x="287" y="317"/>
                    <a:pt x="286" y="326"/>
                  </a:cubicBezTo>
                  <a:close/>
                  <a:moveTo>
                    <a:pt x="281" y="500"/>
                  </a:moveTo>
                  <a:cubicBezTo>
                    <a:pt x="271" y="494"/>
                    <a:pt x="277" y="485"/>
                    <a:pt x="278" y="481"/>
                  </a:cubicBezTo>
                  <a:cubicBezTo>
                    <a:pt x="279" y="478"/>
                    <a:pt x="281" y="479"/>
                    <a:pt x="281" y="481"/>
                  </a:cubicBezTo>
                  <a:cubicBezTo>
                    <a:pt x="280" y="488"/>
                    <a:pt x="279" y="486"/>
                    <a:pt x="281" y="500"/>
                  </a:cubicBezTo>
                  <a:close/>
                  <a:moveTo>
                    <a:pt x="270" y="366"/>
                  </a:moveTo>
                  <a:cubicBezTo>
                    <a:pt x="264" y="367"/>
                    <a:pt x="269" y="353"/>
                    <a:pt x="267" y="348"/>
                  </a:cubicBezTo>
                  <a:cubicBezTo>
                    <a:pt x="271" y="352"/>
                    <a:pt x="274" y="352"/>
                    <a:pt x="275" y="344"/>
                  </a:cubicBezTo>
                  <a:cubicBezTo>
                    <a:pt x="286" y="354"/>
                    <a:pt x="267" y="355"/>
                    <a:pt x="270" y="366"/>
                  </a:cubicBezTo>
                  <a:close/>
                  <a:moveTo>
                    <a:pt x="270" y="389"/>
                  </a:moveTo>
                  <a:cubicBezTo>
                    <a:pt x="280" y="400"/>
                    <a:pt x="262" y="401"/>
                    <a:pt x="270" y="389"/>
                  </a:cubicBezTo>
                  <a:close/>
                  <a:moveTo>
                    <a:pt x="270" y="452"/>
                  </a:moveTo>
                  <a:cubicBezTo>
                    <a:pt x="277" y="452"/>
                    <a:pt x="283" y="460"/>
                    <a:pt x="278" y="466"/>
                  </a:cubicBezTo>
                  <a:cubicBezTo>
                    <a:pt x="271" y="467"/>
                    <a:pt x="269" y="461"/>
                    <a:pt x="270" y="452"/>
                  </a:cubicBezTo>
                  <a:close/>
                  <a:moveTo>
                    <a:pt x="278" y="315"/>
                  </a:moveTo>
                  <a:cubicBezTo>
                    <a:pt x="274" y="323"/>
                    <a:pt x="270" y="307"/>
                    <a:pt x="270" y="322"/>
                  </a:cubicBezTo>
                  <a:cubicBezTo>
                    <a:pt x="258" y="316"/>
                    <a:pt x="280" y="308"/>
                    <a:pt x="270" y="304"/>
                  </a:cubicBezTo>
                  <a:cubicBezTo>
                    <a:pt x="272" y="297"/>
                    <a:pt x="275" y="303"/>
                    <a:pt x="278" y="304"/>
                  </a:cubicBezTo>
                  <a:cubicBezTo>
                    <a:pt x="280" y="290"/>
                    <a:pt x="269" y="294"/>
                    <a:pt x="265" y="289"/>
                  </a:cubicBezTo>
                  <a:cubicBezTo>
                    <a:pt x="265" y="280"/>
                    <a:pt x="271" y="291"/>
                    <a:pt x="273" y="289"/>
                  </a:cubicBezTo>
                  <a:cubicBezTo>
                    <a:pt x="276" y="285"/>
                    <a:pt x="274" y="289"/>
                    <a:pt x="283" y="289"/>
                  </a:cubicBezTo>
                  <a:cubicBezTo>
                    <a:pt x="284" y="300"/>
                    <a:pt x="276" y="301"/>
                    <a:pt x="278" y="315"/>
                  </a:cubicBezTo>
                  <a:close/>
                  <a:moveTo>
                    <a:pt x="305" y="696"/>
                  </a:moveTo>
                  <a:cubicBezTo>
                    <a:pt x="314" y="700"/>
                    <a:pt x="305" y="707"/>
                    <a:pt x="310" y="718"/>
                  </a:cubicBezTo>
                  <a:cubicBezTo>
                    <a:pt x="308" y="715"/>
                    <a:pt x="304" y="714"/>
                    <a:pt x="300" y="714"/>
                  </a:cubicBezTo>
                  <a:cubicBezTo>
                    <a:pt x="297" y="702"/>
                    <a:pt x="304" y="703"/>
                    <a:pt x="305" y="696"/>
                  </a:cubicBezTo>
                  <a:close/>
                  <a:moveTo>
                    <a:pt x="294" y="699"/>
                  </a:moveTo>
                  <a:cubicBezTo>
                    <a:pt x="294" y="697"/>
                    <a:pt x="294" y="694"/>
                    <a:pt x="294" y="692"/>
                  </a:cubicBezTo>
                  <a:cubicBezTo>
                    <a:pt x="296" y="692"/>
                    <a:pt x="298" y="692"/>
                    <a:pt x="300" y="692"/>
                  </a:cubicBezTo>
                  <a:cubicBezTo>
                    <a:pt x="300" y="694"/>
                    <a:pt x="300" y="697"/>
                    <a:pt x="300" y="699"/>
                  </a:cubicBezTo>
                  <a:cubicBezTo>
                    <a:pt x="298" y="699"/>
                    <a:pt x="296" y="699"/>
                    <a:pt x="294" y="699"/>
                  </a:cubicBezTo>
                  <a:close/>
                  <a:moveTo>
                    <a:pt x="316" y="721"/>
                  </a:moveTo>
                  <a:cubicBezTo>
                    <a:pt x="311" y="724"/>
                    <a:pt x="316" y="740"/>
                    <a:pt x="308" y="736"/>
                  </a:cubicBezTo>
                  <a:cubicBezTo>
                    <a:pt x="307" y="727"/>
                    <a:pt x="309" y="720"/>
                    <a:pt x="316" y="721"/>
                  </a:cubicBezTo>
                  <a:close/>
                  <a:moveTo>
                    <a:pt x="316" y="751"/>
                  </a:moveTo>
                  <a:cubicBezTo>
                    <a:pt x="324" y="737"/>
                    <a:pt x="325" y="762"/>
                    <a:pt x="316" y="751"/>
                  </a:cubicBezTo>
                  <a:close/>
                  <a:moveTo>
                    <a:pt x="351" y="681"/>
                  </a:moveTo>
                  <a:cubicBezTo>
                    <a:pt x="353" y="689"/>
                    <a:pt x="341" y="689"/>
                    <a:pt x="343" y="681"/>
                  </a:cubicBezTo>
                  <a:cubicBezTo>
                    <a:pt x="344" y="676"/>
                    <a:pt x="350" y="678"/>
                    <a:pt x="351" y="681"/>
                  </a:cubicBezTo>
                  <a:close/>
                  <a:moveTo>
                    <a:pt x="351" y="662"/>
                  </a:moveTo>
                  <a:cubicBezTo>
                    <a:pt x="356" y="670"/>
                    <a:pt x="359" y="680"/>
                    <a:pt x="367" y="684"/>
                  </a:cubicBezTo>
                  <a:cubicBezTo>
                    <a:pt x="365" y="687"/>
                    <a:pt x="364" y="691"/>
                    <a:pt x="364" y="696"/>
                  </a:cubicBezTo>
                  <a:cubicBezTo>
                    <a:pt x="361" y="696"/>
                    <a:pt x="363" y="690"/>
                    <a:pt x="361" y="688"/>
                  </a:cubicBezTo>
                  <a:cubicBezTo>
                    <a:pt x="357" y="680"/>
                    <a:pt x="349" y="678"/>
                    <a:pt x="351" y="662"/>
                  </a:cubicBezTo>
                  <a:close/>
                  <a:moveTo>
                    <a:pt x="348" y="718"/>
                  </a:moveTo>
                  <a:cubicBezTo>
                    <a:pt x="342" y="717"/>
                    <a:pt x="342" y="708"/>
                    <a:pt x="345" y="703"/>
                  </a:cubicBezTo>
                  <a:cubicBezTo>
                    <a:pt x="349" y="704"/>
                    <a:pt x="347" y="712"/>
                    <a:pt x="348" y="718"/>
                  </a:cubicBezTo>
                  <a:close/>
                  <a:moveTo>
                    <a:pt x="388" y="755"/>
                  </a:moveTo>
                  <a:cubicBezTo>
                    <a:pt x="389" y="750"/>
                    <a:pt x="396" y="752"/>
                    <a:pt x="396" y="755"/>
                  </a:cubicBezTo>
                  <a:cubicBezTo>
                    <a:pt x="399" y="763"/>
                    <a:pt x="387" y="763"/>
                    <a:pt x="388" y="755"/>
                  </a:cubicBezTo>
                  <a:close/>
                  <a:moveTo>
                    <a:pt x="399" y="684"/>
                  </a:moveTo>
                  <a:cubicBezTo>
                    <a:pt x="405" y="687"/>
                    <a:pt x="407" y="696"/>
                    <a:pt x="410" y="703"/>
                  </a:cubicBezTo>
                  <a:cubicBezTo>
                    <a:pt x="408" y="709"/>
                    <a:pt x="407" y="703"/>
                    <a:pt x="407" y="699"/>
                  </a:cubicBezTo>
                  <a:cubicBezTo>
                    <a:pt x="403" y="698"/>
                    <a:pt x="403" y="703"/>
                    <a:pt x="399" y="703"/>
                  </a:cubicBezTo>
                  <a:cubicBezTo>
                    <a:pt x="395" y="701"/>
                    <a:pt x="399" y="699"/>
                    <a:pt x="402" y="699"/>
                  </a:cubicBezTo>
                  <a:cubicBezTo>
                    <a:pt x="402" y="693"/>
                    <a:pt x="398" y="692"/>
                    <a:pt x="399" y="684"/>
                  </a:cubicBezTo>
                  <a:close/>
                  <a:moveTo>
                    <a:pt x="412" y="696"/>
                  </a:moveTo>
                  <a:cubicBezTo>
                    <a:pt x="412" y="692"/>
                    <a:pt x="412" y="688"/>
                    <a:pt x="412" y="684"/>
                  </a:cubicBezTo>
                  <a:cubicBezTo>
                    <a:pt x="416" y="686"/>
                    <a:pt x="417" y="691"/>
                    <a:pt x="421" y="692"/>
                  </a:cubicBezTo>
                  <a:cubicBezTo>
                    <a:pt x="421" y="695"/>
                    <a:pt x="420" y="695"/>
                    <a:pt x="418" y="696"/>
                  </a:cubicBezTo>
                  <a:cubicBezTo>
                    <a:pt x="416" y="696"/>
                    <a:pt x="414" y="696"/>
                    <a:pt x="412" y="696"/>
                  </a:cubicBezTo>
                  <a:close/>
                  <a:moveTo>
                    <a:pt x="439" y="692"/>
                  </a:moveTo>
                  <a:cubicBezTo>
                    <a:pt x="436" y="691"/>
                    <a:pt x="438" y="685"/>
                    <a:pt x="434" y="684"/>
                  </a:cubicBezTo>
                  <a:cubicBezTo>
                    <a:pt x="435" y="680"/>
                    <a:pt x="439" y="681"/>
                    <a:pt x="442" y="681"/>
                  </a:cubicBezTo>
                  <a:cubicBezTo>
                    <a:pt x="443" y="687"/>
                    <a:pt x="440" y="687"/>
                    <a:pt x="439" y="692"/>
                  </a:cubicBezTo>
                  <a:close/>
                  <a:moveTo>
                    <a:pt x="439" y="581"/>
                  </a:moveTo>
                  <a:cubicBezTo>
                    <a:pt x="442" y="582"/>
                    <a:pt x="441" y="588"/>
                    <a:pt x="445" y="588"/>
                  </a:cubicBezTo>
                  <a:cubicBezTo>
                    <a:pt x="444" y="599"/>
                    <a:pt x="436" y="589"/>
                    <a:pt x="439" y="581"/>
                  </a:cubicBezTo>
                  <a:close/>
                  <a:moveTo>
                    <a:pt x="439" y="655"/>
                  </a:moveTo>
                  <a:cubicBezTo>
                    <a:pt x="438" y="666"/>
                    <a:pt x="434" y="651"/>
                    <a:pt x="429" y="655"/>
                  </a:cubicBezTo>
                  <a:cubicBezTo>
                    <a:pt x="424" y="657"/>
                    <a:pt x="427" y="668"/>
                    <a:pt x="423" y="673"/>
                  </a:cubicBezTo>
                  <a:cubicBezTo>
                    <a:pt x="422" y="676"/>
                    <a:pt x="416" y="682"/>
                    <a:pt x="412" y="681"/>
                  </a:cubicBezTo>
                  <a:cubicBezTo>
                    <a:pt x="410" y="666"/>
                    <a:pt x="397" y="665"/>
                    <a:pt x="399" y="644"/>
                  </a:cubicBezTo>
                  <a:cubicBezTo>
                    <a:pt x="393" y="644"/>
                    <a:pt x="393" y="653"/>
                    <a:pt x="394" y="662"/>
                  </a:cubicBezTo>
                  <a:cubicBezTo>
                    <a:pt x="395" y="671"/>
                    <a:pt x="398" y="658"/>
                    <a:pt x="402" y="666"/>
                  </a:cubicBezTo>
                  <a:cubicBezTo>
                    <a:pt x="396" y="674"/>
                    <a:pt x="392" y="680"/>
                    <a:pt x="383" y="673"/>
                  </a:cubicBezTo>
                  <a:cubicBezTo>
                    <a:pt x="386" y="686"/>
                    <a:pt x="389" y="687"/>
                    <a:pt x="383" y="699"/>
                  </a:cubicBezTo>
                  <a:cubicBezTo>
                    <a:pt x="380" y="695"/>
                    <a:pt x="373" y="695"/>
                    <a:pt x="367" y="696"/>
                  </a:cubicBezTo>
                  <a:cubicBezTo>
                    <a:pt x="367" y="689"/>
                    <a:pt x="371" y="687"/>
                    <a:pt x="378" y="688"/>
                  </a:cubicBezTo>
                  <a:cubicBezTo>
                    <a:pt x="379" y="682"/>
                    <a:pt x="371" y="683"/>
                    <a:pt x="370" y="681"/>
                  </a:cubicBezTo>
                  <a:cubicBezTo>
                    <a:pt x="369" y="680"/>
                    <a:pt x="372" y="675"/>
                    <a:pt x="372" y="673"/>
                  </a:cubicBezTo>
                  <a:cubicBezTo>
                    <a:pt x="372" y="672"/>
                    <a:pt x="370" y="661"/>
                    <a:pt x="367" y="659"/>
                  </a:cubicBezTo>
                  <a:cubicBezTo>
                    <a:pt x="361" y="658"/>
                    <a:pt x="366" y="672"/>
                    <a:pt x="364" y="677"/>
                  </a:cubicBezTo>
                  <a:cubicBezTo>
                    <a:pt x="362" y="677"/>
                    <a:pt x="356" y="665"/>
                    <a:pt x="361" y="666"/>
                  </a:cubicBezTo>
                  <a:cubicBezTo>
                    <a:pt x="361" y="658"/>
                    <a:pt x="354" y="659"/>
                    <a:pt x="351" y="655"/>
                  </a:cubicBezTo>
                  <a:cubicBezTo>
                    <a:pt x="345" y="655"/>
                    <a:pt x="345" y="664"/>
                    <a:pt x="345" y="673"/>
                  </a:cubicBezTo>
                  <a:cubicBezTo>
                    <a:pt x="335" y="670"/>
                    <a:pt x="346" y="658"/>
                    <a:pt x="343" y="644"/>
                  </a:cubicBezTo>
                  <a:cubicBezTo>
                    <a:pt x="345" y="646"/>
                    <a:pt x="345" y="652"/>
                    <a:pt x="351" y="651"/>
                  </a:cubicBezTo>
                  <a:cubicBezTo>
                    <a:pt x="360" y="653"/>
                    <a:pt x="351" y="633"/>
                    <a:pt x="351" y="633"/>
                  </a:cubicBezTo>
                  <a:cubicBezTo>
                    <a:pt x="348" y="632"/>
                    <a:pt x="347" y="645"/>
                    <a:pt x="345" y="636"/>
                  </a:cubicBezTo>
                  <a:cubicBezTo>
                    <a:pt x="345" y="634"/>
                    <a:pt x="346" y="631"/>
                    <a:pt x="345" y="629"/>
                  </a:cubicBezTo>
                  <a:cubicBezTo>
                    <a:pt x="343" y="623"/>
                    <a:pt x="335" y="621"/>
                    <a:pt x="340" y="611"/>
                  </a:cubicBezTo>
                  <a:cubicBezTo>
                    <a:pt x="342" y="603"/>
                    <a:pt x="344" y="615"/>
                    <a:pt x="340" y="614"/>
                  </a:cubicBezTo>
                  <a:cubicBezTo>
                    <a:pt x="336" y="622"/>
                    <a:pt x="347" y="618"/>
                    <a:pt x="351" y="622"/>
                  </a:cubicBezTo>
                  <a:cubicBezTo>
                    <a:pt x="352" y="623"/>
                    <a:pt x="360" y="639"/>
                    <a:pt x="359" y="618"/>
                  </a:cubicBezTo>
                  <a:cubicBezTo>
                    <a:pt x="365" y="625"/>
                    <a:pt x="364" y="640"/>
                    <a:pt x="364" y="655"/>
                  </a:cubicBezTo>
                  <a:cubicBezTo>
                    <a:pt x="368" y="656"/>
                    <a:pt x="369" y="651"/>
                    <a:pt x="372" y="651"/>
                  </a:cubicBezTo>
                  <a:cubicBezTo>
                    <a:pt x="371" y="645"/>
                    <a:pt x="364" y="648"/>
                    <a:pt x="367" y="636"/>
                  </a:cubicBezTo>
                  <a:cubicBezTo>
                    <a:pt x="370" y="636"/>
                    <a:pt x="372" y="636"/>
                    <a:pt x="375" y="636"/>
                  </a:cubicBezTo>
                  <a:cubicBezTo>
                    <a:pt x="374" y="632"/>
                    <a:pt x="371" y="629"/>
                    <a:pt x="367" y="629"/>
                  </a:cubicBezTo>
                  <a:cubicBezTo>
                    <a:pt x="365" y="624"/>
                    <a:pt x="377" y="620"/>
                    <a:pt x="370" y="618"/>
                  </a:cubicBezTo>
                  <a:cubicBezTo>
                    <a:pt x="372" y="606"/>
                    <a:pt x="375" y="622"/>
                    <a:pt x="378" y="622"/>
                  </a:cubicBezTo>
                  <a:cubicBezTo>
                    <a:pt x="378" y="652"/>
                    <a:pt x="373" y="658"/>
                    <a:pt x="378" y="681"/>
                  </a:cubicBezTo>
                  <a:cubicBezTo>
                    <a:pt x="386" y="678"/>
                    <a:pt x="375" y="653"/>
                    <a:pt x="380" y="648"/>
                  </a:cubicBezTo>
                  <a:cubicBezTo>
                    <a:pt x="384" y="643"/>
                    <a:pt x="377" y="638"/>
                    <a:pt x="383" y="629"/>
                  </a:cubicBezTo>
                  <a:cubicBezTo>
                    <a:pt x="390" y="634"/>
                    <a:pt x="391" y="637"/>
                    <a:pt x="388" y="648"/>
                  </a:cubicBezTo>
                  <a:cubicBezTo>
                    <a:pt x="399" y="651"/>
                    <a:pt x="392" y="630"/>
                    <a:pt x="402" y="633"/>
                  </a:cubicBezTo>
                  <a:cubicBezTo>
                    <a:pt x="402" y="622"/>
                    <a:pt x="395" y="620"/>
                    <a:pt x="394" y="611"/>
                  </a:cubicBezTo>
                  <a:cubicBezTo>
                    <a:pt x="391" y="612"/>
                    <a:pt x="387" y="617"/>
                    <a:pt x="391" y="618"/>
                  </a:cubicBezTo>
                  <a:cubicBezTo>
                    <a:pt x="389" y="624"/>
                    <a:pt x="385" y="620"/>
                    <a:pt x="386" y="614"/>
                  </a:cubicBezTo>
                  <a:cubicBezTo>
                    <a:pt x="383" y="610"/>
                    <a:pt x="376" y="613"/>
                    <a:pt x="378" y="603"/>
                  </a:cubicBezTo>
                  <a:cubicBezTo>
                    <a:pt x="370" y="603"/>
                    <a:pt x="363" y="603"/>
                    <a:pt x="356" y="603"/>
                  </a:cubicBezTo>
                  <a:cubicBezTo>
                    <a:pt x="358" y="607"/>
                    <a:pt x="361" y="609"/>
                    <a:pt x="364" y="611"/>
                  </a:cubicBezTo>
                  <a:cubicBezTo>
                    <a:pt x="364" y="624"/>
                    <a:pt x="355" y="603"/>
                    <a:pt x="356" y="614"/>
                  </a:cubicBezTo>
                  <a:cubicBezTo>
                    <a:pt x="349" y="614"/>
                    <a:pt x="353" y="598"/>
                    <a:pt x="343" y="603"/>
                  </a:cubicBezTo>
                  <a:cubicBezTo>
                    <a:pt x="340" y="598"/>
                    <a:pt x="345" y="593"/>
                    <a:pt x="345" y="592"/>
                  </a:cubicBezTo>
                  <a:cubicBezTo>
                    <a:pt x="345" y="585"/>
                    <a:pt x="336" y="584"/>
                    <a:pt x="343" y="581"/>
                  </a:cubicBezTo>
                  <a:cubicBezTo>
                    <a:pt x="352" y="577"/>
                    <a:pt x="347" y="592"/>
                    <a:pt x="348" y="599"/>
                  </a:cubicBezTo>
                  <a:cubicBezTo>
                    <a:pt x="355" y="599"/>
                    <a:pt x="352" y="586"/>
                    <a:pt x="356" y="581"/>
                  </a:cubicBezTo>
                  <a:cubicBezTo>
                    <a:pt x="357" y="577"/>
                    <a:pt x="352" y="579"/>
                    <a:pt x="351" y="577"/>
                  </a:cubicBezTo>
                  <a:cubicBezTo>
                    <a:pt x="349" y="574"/>
                    <a:pt x="353" y="565"/>
                    <a:pt x="348" y="566"/>
                  </a:cubicBezTo>
                  <a:cubicBezTo>
                    <a:pt x="350" y="562"/>
                    <a:pt x="354" y="562"/>
                    <a:pt x="353" y="555"/>
                  </a:cubicBezTo>
                  <a:cubicBezTo>
                    <a:pt x="360" y="556"/>
                    <a:pt x="354" y="568"/>
                    <a:pt x="353" y="570"/>
                  </a:cubicBezTo>
                  <a:cubicBezTo>
                    <a:pt x="353" y="578"/>
                    <a:pt x="363" y="572"/>
                    <a:pt x="367" y="574"/>
                  </a:cubicBezTo>
                  <a:cubicBezTo>
                    <a:pt x="365" y="585"/>
                    <a:pt x="372" y="587"/>
                    <a:pt x="370" y="599"/>
                  </a:cubicBezTo>
                  <a:cubicBezTo>
                    <a:pt x="384" y="595"/>
                    <a:pt x="371" y="585"/>
                    <a:pt x="372" y="570"/>
                  </a:cubicBezTo>
                  <a:cubicBezTo>
                    <a:pt x="376" y="571"/>
                    <a:pt x="376" y="576"/>
                    <a:pt x="380" y="577"/>
                  </a:cubicBezTo>
                  <a:cubicBezTo>
                    <a:pt x="386" y="578"/>
                    <a:pt x="382" y="564"/>
                    <a:pt x="383" y="559"/>
                  </a:cubicBezTo>
                  <a:cubicBezTo>
                    <a:pt x="390" y="562"/>
                    <a:pt x="390" y="554"/>
                    <a:pt x="396" y="555"/>
                  </a:cubicBezTo>
                  <a:cubicBezTo>
                    <a:pt x="397" y="570"/>
                    <a:pt x="403" y="555"/>
                    <a:pt x="410" y="562"/>
                  </a:cubicBezTo>
                  <a:cubicBezTo>
                    <a:pt x="409" y="567"/>
                    <a:pt x="405" y="568"/>
                    <a:pt x="404" y="574"/>
                  </a:cubicBezTo>
                  <a:cubicBezTo>
                    <a:pt x="413" y="576"/>
                    <a:pt x="410" y="563"/>
                    <a:pt x="418" y="566"/>
                  </a:cubicBezTo>
                  <a:cubicBezTo>
                    <a:pt x="419" y="574"/>
                    <a:pt x="426" y="573"/>
                    <a:pt x="421" y="581"/>
                  </a:cubicBezTo>
                  <a:cubicBezTo>
                    <a:pt x="417" y="580"/>
                    <a:pt x="420" y="570"/>
                    <a:pt x="415" y="570"/>
                  </a:cubicBezTo>
                  <a:cubicBezTo>
                    <a:pt x="412" y="571"/>
                    <a:pt x="412" y="577"/>
                    <a:pt x="415" y="577"/>
                  </a:cubicBezTo>
                  <a:cubicBezTo>
                    <a:pt x="415" y="582"/>
                    <a:pt x="415" y="588"/>
                    <a:pt x="418" y="588"/>
                  </a:cubicBezTo>
                  <a:cubicBezTo>
                    <a:pt x="416" y="600"/>
                    <a:pt x="416" y="595"/>
                    <a:pt x="418" y="607"/>
                  </a:cubicBezTo>
                  <a:cubicBezTo>
                    <a:pt x="424" y="609"/>
                    <a:pt x="423" y="602"/>
                    <a:pt x="423" y="596"/>
                  </a:cubicBezTo>
                  <a:cubicBezTo>
                    <a:pt x="426" y="596"/>
                    <a:pt x="426" y="602"/>
                    <a:pt x="426" y="607"/>
                  </a:cubicBezTo>
                  <a:cubicBezTo>
                    <a:pt x="426" y="614"/>
                    <a:pt x="433" y="612"/>
                    <a:pt x="431" y="622"/>
                  </a:cubicBezTo>
                  <a:cubicBezTo>
                    <a:pt x="429" y="620"/>
                    <a:pt x="427" y="618"/>
                    <a:pt x="423" y="618"/>
                  </a:cubicBezTo>
                  <a:cubicBezTo>
                    <a:pt x="416" y="617"/>
                    <a:pt x="427" y="642"/>
                    <a:pt x="415" y="636"/>
                  </a:cubicBezTo>
                  <a:cubicBezTo>
                    <a:pt x="418" y="630"/>
                    <a:pt x="416" y="618"/>
                    <a:pt x="421" y="614"/>
                  </a:cubicBezTo>
                  <a:cubicBezTo>
                    <a:pt x="419" y="611"/>
                    <a:pt x="416" y="609"/>
                    <a:pt x="412" y="607"/>
                  </a:cubicBezTo>
                  <a:cubicBezTo>
                    <a:pt x="407" y="607"/>
                    <a:pt x="412" y="615"/>
                    <a:pt x="412" y="614"/>
                  </a:cubicBezTo>
                  <a:cubicBezTo>
                    <a:pt x="411" y="620"/>
                    <a:pt x="400" y="622"/>
                    <a:pt x="410" y="625"/>
                  </a:cubicBezTo>
                  <a:cubicBezTo>
                    <a:pt x="409" y="629"/>
                    <a:pt x="404" y="628"/>
                    <a:pt x="404" y="633"/>
                  </a:cubicBezTo>
                  <a:cubicBezTo>
                    <a:pt x="405" y="637"/>
                    <a:pt x="409" y="636"/>
                    <a:pt x="412" y="636"/>
                  </a:cubicBezTo>
                  <a:cubicBezTo>
                    <a:pt x="414" y="644"/>
                    <a:pt x="409" y="643"/>
                    <a:pt x="404" y="644"/>
                  </a:cubicBezTo>
                  <a:cubicBezTo>
                    <a:pt x="400" y="653"/>
                    <a:pt x="411" y="651"/>
                    <a:pt x="412" y="655"/>
                  </a:cubicBezTo>
                  <a:cubicBezTo>
                    <a:pt x="415" y="662"/>
                    <a:pt x="408" y="669"/>
                    <a:pt x="415" y="673"/>
                  </a:cubicBezTo>
                  <a:cubicBezTo>
                    <a:pt x="420" y="668"/>
                    <a:pt x="415" y="648"/>
                    <a:pt x="421" y="636"/>
                  </a:cubicBezTo>
                  <a:cubicBezTo>
                    <a:pt x="422" y="638"/>
                    <a:pt x="429" y="651"/>
                    <a:pt x="431" y="640"/>
                  </a:cubicBezTo>
                  <a:cubicBezTo>
                    <a:pt x="437" y="641"/>
                    <a:pt x="432" y="657"/>
                    <a:pt x="439" y="655"/>
                  </a:cubicBezTo>
                  <a:close/>
                  <a:moveTo>
                    <a:pt x="426" y="570"/>
                  </a:moveTo>
                  <a:cubicBezTo>
                    <a:pt x="434" y="566"/>
                    <a:pt x="439" y="597"/>
                    <a:pt x="429" y="596"/>
                  </a:cubicBezTo>
                  <a:cubicBezTo>
                    <a:pt x="427" y="592"/>
                    <a:pt x="431" y="593"/>
                    <a:pt x="431" y="592"/>
                  </a:cubicBezTo>
                  <a:cubicBezTo>
                    <a:pt x="432" y="587"/>
                    <a:pt x="426" y="591"/>
                    <a:pt x="426" y="588"/>
                  </a:cubicBezTo>
                  <a:cubicBezTo>
                    <a:pt x="425" y="583"/>
                    <a:pt x="427" y="576"/>
                    <a:pt x="426" y="570"/>
                  </a:cubicBezTo>
                  <a:close/>
                  <a:moveTo>
                    <a:pt x="437" y="285"/>
                  </a:moveTo>
                  <a:cubicBezTo>
                    <a:pt x="435" y="284"/>
                    <a:pt x="434" y="281"/>
                    <a:pt x="431" y="281"/>
                  </a:cubicBezTo>
                  <a:cubicBezTo>
                    <a:pt x="427" y="283"/>
                    <a:pt x="435" y="294"/>
                    <a:pt x="423" y="292"/>
                  </a:cubicBezTo>
                  <a:cubicBezTo>
                    <a:pt x="425" y="290"/>
                    <a:pt x="427" y="282"/>
                    <a:pt x="423" y="281"/>
                  </a:cubicBezTo>
                  <a:cubicBezTo>
                    <a:pt x="423" y="275"/>
                    <a:pt x="441" y="274"/>
                    <a:pt x="437" y="285"/>
                  </a:cubicBezTo>
                  <a:close/>
                  <a:moveTo>
                    <a:pt x="426" y="30"/>
                  </a:moveTo>
                  <a:cubicBezTo>
                    <a:pt x="426" y="26"/>
                    <a:pt x="426" y="26"/>
                    <a:pt x="426" y="26"/>
                  </a:cubicBezTo>
                  <a:cubicBezTo>
                    <a:pt x="436" y="28"/>
                    <a:pt x="421" y="38"/>
                    <a:pt x="418" y="34"/>
                  </a:cubicBezTo>
                  <a:cubicBezTo>
                    <a:pt x="416" y="31"/>
                    <a:pt x="425" y="30"/>
                    <a:pt x="426" y="30"/>
                  </a:cubicBezTo>
                  <a:close/>
                  <a:moveTo>
                    <a:pt x="407" y="174"/>
                  </a:moveTo>
                  <a:cubicBezTo>
                    <a:pt x="413" y="173"/>
                    <a:pt x="422" y="196"/>
                    <a:pt x="410" y="196"/>
                  </a:cubicBezTo>
                  <a:cubicBezTo>
                    <a:pt x="410" y="193"/>
                    <a:pt x="412" y="193"/>
                    <a:pt x="412" y="189"/>
                  </a:cubicBezTo>
                  <a:cubicBezTo>
                    <a:pt x="410" y="183"/>
                    <a:pt x="404" y="184"/>
                    <a:pt x="399" y="182"/>
                  </a:cubicBezTo>
                  <a:cubicBezTo>
                    <a:pt x="400" y="176"/>
                    <a:pt x="407" y="180"/>
                    <a:pt x="407" y="174"/>
                  </a:cubicBezTo>
                  <a:close/>
                  <a:moveTo>
                    <a:pt x="415" y="252"/>
                  </a:moveTo>
                  <a:cubicBezTo>
                    <a:pt x="415" y="258"/>
                    <a:pt x="413" y="262"/>
                    <a:pt x="410" y="263"/>
                  </a:cubicBezTo>
                  <a:cubicBezTo>
                    <a:pt x="411" y="263"/>
                    <a:pt x="400" y="260"/>
                    <a:pt x="399" y="259"/>
                  </a:cubicBezTo>
                  <a:cubicBezTo>
                    <a:pt x="399" y="259"/>
                    <a:pt x="399" y="256"/>
                    <a:pt x="399" y="255"/>
                  </a:cubicBezTo>
                  <a:cubicBezTo>
                    <a:pt x="396" y="253"/>
                    <a:pt x="393" y="255"/>
                    <a:pt x="394" y="248"/>
                  </a:cubicBezTo>
                  <a:cubicBezTo>
                    <a:pt x="402" y="251"/>
                    <a:pt x="405" y="259"/>
                    <a:pt x="415" y="252"/>
                  </a:cubicBezTo>
                  <a:close/>
                  <a:moveTo>
                    <a:pt x="394" y="185"/>
                  </a:moveTo>
                  <a:cubicBezTo>
                    <a:pt x="391" y="182"/>
                    <a:pt x="388" y="181"/>
                    <a:pt x="383" y="182"/>
                  </a:cubicBezTo>
                  <a:cubicBezTo>
                    <a:pt x="382" y="175"/>
                    <a:pt x="398" y="175"/>
                    <a:pt x="394" y="185"/>
                  </a:cubicBezTo>
                  <a:close/>
                  <a:moveTo>
                    <a:pt x="391" y="248"/>
                  </a:moveTo>
                  <a:cubicBezTo>
                    <a:pt x="389" y="256"/>
                    <a:pt x="374" y="252"/>
                    <a:pt x="372" y="248"/>
                  </a:cubicBezTo>
                  <a:cubicBezTo>
                    <a:pt x="373" y="244"/>
                    <a:pt x="375" y="246"/>
                    <a:pt x="375" y="248"/>
                  </a:cubicBezTo>
                  <a:cubicBezTo>
                    <a:pt x="384" y="251"/>
                    <a:pt x="386" y="241"/>
                    <a:pt x="391" y="248"/>
                  </a:cubicBezTo>
                  <a:close/>
                  <a:moveTo>
                    <a:pt x="340" y="174"/>
                  </a:moveTo>
                  <a:cubicBezTo>
                    <a:pt x="350" y="177"/>
                    <a:pt x="339" y="185"/>
                    <a:pt x="345" y="193"/>
                  </a:cubicBezTo>
                  <a:cubicBezTo>
                    <a:pt x="355" y="195"/>
                    <a:pt x="361" y="181"/>
                    <a:pt x="367" y="189"/>
                  </a:cubicBezTo>
                  <a:cubicBezTo>
                    <a:pt x="367" y="185"/>
                    <a:pt x="366" y="182"/>
                    <a:pt x="364" y="182"/>
                  </a:cubicBezTo>
                  <a:cubicBezTo>
                    <a:pt x="362" y="171"/>
                    <a:pt x="377" y="184"/>
                    <a:pt x="375" y="174"/>
                  </a:cubicBezTo>
                  <a:cubicBezTo>
                    <a:pt x="380" y="177"/>
                    <a:pt x="373" y="200"/>
                    <a:pt x="370" y="204"/>
                  </a:cubicBezTo>
                  <a:cubicBezTo>
                    <a:pt x="368" y="205"/>
                    <a:pt x="367" y="208"/>
                    <a:pt x="364" y="207"/>
                  </a:cubicBezTo>
                  <a:cubicBezTo>
                    <a:pt x="370" y="200"/>
                    <a:pt x="364" y="195"/>
                    <a:pt x="359" y="193"/>
                  </a:cubicBezTo>
                  <a:cubicBezTo>
                    <a:pt x="355" y="191"/>
                    <a:pt x="357" y="199"/>
                    <a:pt x="356" y="200"/>
                  </a:cubicBezTo>
                  <a:cubicBezTo>
                    <a:pt x="352" y="203"/>
                    <a:pt x="345" y="198"/>
                    <a:pt x="340" y="200"/>
                  </a:cubicBezTo>
                  <a:cubicBezTo>
                    <a:pt x="335" y="191"/>
                    <a:pt x="333" y="182"/>
                    <a:pt x="340" y="174"/>
                  </a:cubicBezTo>
                  <a:close/>
                  <a:moveTo>
                    <a:pt x="340" y="300"/>
                  </a:moveTo>
                  <a:cubicBezTo>
                    <a:pt x="339" y="307"/>
                    <a:pt x="334" y="309"/>
                    <a:pt x="335" y="318"/>
                  </a:cubicBezTo>
                  <a:cubicBezTo>
                    <a:pt x="335" y="328"/>
                    <a:pt x="339" y="313"/>
                    <a:pt x="345" y="318"/>
                  </a:cubicBezTo>
                  <a:cubicBezTo>
                    <a:pt x="346" y="312"/>
                    <a:pt x="343" y="311"/>
                    <a:pt x="340" y="311"/>
                  </a:cubicBezTo>
                  <a:cubicBezTo>
                    <a:pt x="340" y="303"/>
                    <a:pt x="349" y="309"/>
                    <a:pt x="353" y="307"/>
                  </a:cubicBezTo>
                  <a:cubicBezTo>
                    <a:pt x="357" y="317"/>
                    <a:pt x="343" y="319"/>
                    <a:pt x="351" y="322"/>
                  </a:cubicBezTo>
                  <a:cubicBezTo>
                    <a:pt x="350" y="326"/>
                    <a:pt x="348" y="324"/>
                    <a:pt x="348" y="322"/>
                  </a:cubicBezTo>
                  <a:cubicBezTo>
                    <a:pt x="340" y="319"/>
                    <a:pt x="340" y="328"/>
                    <a:pt x="332" y="326"/>
                  </a:cubicBezTo>
                  <a:cubicBezTo>
                    <a:pt x="328" y="316"/>
                    <a:pt x="333" y="314"/>
                    <a:pt x="329" y="311"/>
                  </a:cubicBezTo>
                  <a:cubicBezTo>
                    <a:pt x="330" y="307"/>
                    <a:pt x="335" y="308"/>
                    <a:pt x="335" y="304"/>
                  </a:cubicBezTo>
                  <a:cubicBezTo>
                    <a:pt x="335" y="300"/>
                    <a:pt x="338" y="301"/>
                    <a:pt x="340" y="300"/>
                  </a:cubicBezTo>
                  <a:close/>
                  <a:moveTo>
                    <a:pt x="335" y="296"/>
                  </a:moveTo>
                  <a:cubicBezTo>
                    <a:pt x="331" y="294"/>
                    <a:pt x="330" y="288"/>
                    <a:pt x="329" y="281"/>
                  </a:cubicBezTo>
                  <a:cubicBezTo>
                    <a:pt x="334" y="282"/>
                    <a:pt x="335" y="288"/>
                    <a:pt x="335" y="296"/>
                  </a:cubicBezTo>
                  <a:close/>
                  <a:moveTo>
                    <a:pt x="324" y="163"/>
                  </a:moveTo>
                  <a:cubicBezTo>
                    <a:pt x="324" y="170"/>
                    <a:pt x="324" y="178"/>
                    <a:pt x="324" y="185"/>
                  </a:cubicBezTo>
                  <a:cubicBezTo>
                    <a:pt x="327" y="183"/>
                    <a:pt x="327" y="177"/>
                    <a:pt x="332" y="178"/>
                  </a:cubicBezTo>
                  <a:cubicBezTo>
                    <a:pt x="334" y="193"/>
                    <a:pt x="313" y="206"/>
                    <a:pt x="313" y="185"/>
                  </a:cubicBezTo>
                  <a:cubicBezTo>
                    <a:pt x="316" y="185"/>
                    <a:pt x="315" y="190"/>
                    <a:pt x="316" y="193"/>
                  </a:cubicBezTo>
                  <a:cubicBezTo>
                    <a:pt x="321" y="194"/>
                    <a:pt x="320" y="176"/>
                    <a:pt x="313" y="182"/>
                  </a:cubicBezTo>
                  <a:cubicBezTo>
                    <a:pt x="320" y="172"/>
                    <a:pt x="310" y="170"/>
                    <a:pt x="310" y="159"/>
                  </a:cubicBezTo>
                  <a:cubicBezTo>
                    <a:pt x="315" y="152"/>
                    <a:pt x="318" y="161"/>
                    <a:pt x="324" y="163"/>
                  </a:cubicBezTo>
                  <a:close/>
                  <a:moveTo>
                    <a:pt x="308" y="241"/>
                  </a:moveTo>
                  <a:cubicBezTo>
                    <a:pt x="316" y="246"/>
                    <a:pt x="318" y="237"/>
                    <a:pt x="321" y="248"/>
                  </a:cubicBezTo>
                  <a:cubicBezTo>
                    <a:pt x="323" y="246"/>
                    <a:pt x="326" y="244"/>
                    <a:pt x="329" y="244"/>
                  </a:cubicBezTo>
                  <a:cubicBezTo>
                    <a:pt x="330" y="248"/>
                    <a:pt x="328" y="248"/>
                    <a:pt x="326" y="248"/>
                  </a:cubicBezTo>
                  <a:cubicBezTo>
                    <a:pt x="319" y="255"/>
                    <a:pt x="326" y="266"/>
                    <a:pt x="326" y="274"/>
                  </a:cubicBezTo>
                  <a:cubicBezTo>
                    <a:pt x="327" y="282"/>
                    <a:pt x="324" y="291"/>
                    <a:pt x="326" y="296"/>
                  </a:cubicBezTo>
                  <a:cubicBezTo>
                    <a:pt x="323" y="296"/>
                    <a:pt x="319" y="296"/>
                    <a:pt x="318" y="300"/>
                  </a:cubicBezTo>
                  <a:cubicBezTo>
                    <a:pt x="312" y="292"/>
                    <a:pt x="326" y="281"/>
                    <a:pt x="321" y="263"/>
                  </a:cubicBezTo>
                  <a:cubicBezTo>
                    <a:pt x="321" y="266"/>
                    <a:pt x="307" y="266"/>
                    <a:pt x="313" y="259"/>
                  </a:cubicBezTo>
                  <a:cubicBezTo>
                    <a:pt x="313" y="259"/>
                    <a:pt x="318" y="260"/>
                    <a:pt x="318" y="259"/>
                  </a:cubicBezTo>
                  <a:cubicBezTo>
                    <a:pt x="318" y="258"/>
                    <a:pt x="314" y="249"/>
                    <a:pt x="313" y="248"/>
                  </a:cubicBezTo>
                  <a:cubicBezTo>
                    <a:pt x="311" y="247"/>
                    <a:pt x="309" y="251"/>
                    <a:pt x="310" y="252"/>
                  </a:cubicBezTo>
                  <a:cubicBezTo>
                    <a:pt x="314" y="256"/>
                    <a:pt x="310" y="255"/>
                    <a:pt x="308" y="252"/>
                  </a:cubicBezTo>
                  <a:cubicBezTo>
                    <a:pt x="305" y="248"/>
                    <a:pt x="308" y="249"/>
                    <a:pt x="308" y="241"/>
                  </a:cubicBezTo>
                  <a:close/>
                  <a:moveTo>
                    <a:pt x="308" y="270"/>
                  </a:moveTo>
                  <a:cubicBezTo>
                    <a:pt x="308" y="261"/>
                    <a:pt x="312" y="275"/>
                    <a:pt x="318" y="270"/>
                  </a:cubicBezTo>
                  <a:cubicBezTo>
                    <a:pt x="317" y="278"/>
                    <a:pt x="313" y="282"/>
                    <a:pt x="310" y="289"/>
                  </a:cubicBezTo>
                  <a:cubicBezTo>
                    <a:pt x="305" y="287"/>
                    <a:pt x="312" y="273"/>
                    <a:pt x="308" y="270"/>
                  </a:cubicBezTo>
                  <a:close/>
                  <a:moveTo>
                    <a:pt x="313" y="311"/>
                  </a:moveTo>
                  <a:cubicBezTo>
                    <a:pt x="318" y="310"/>
                    <a:pt x="321" y="312"/>
                    <a:pt x="321" y="318"/>
                  </a:cubicBezTo>
                  <a:cubicBezTo>
                    <a:pt x="316" y="317"/>
                    <a:pt x="309" y="317"/>
                    <a:pt x="310" y="307"/>
                  </a:cubicBezTo>
                  <a:cubicBezTo>
                    <a:pt x="303" y="306"/>
                    <a:pt x="313" y="328"/>
                    <a:pt x="302" y="322"/>
                  </a:cubicBezTo>
                  <a:cubicBezTo>
                    <a:pt x="303" y="313"/>
                    <a:pt x="303" y="304"/>
                    <a:pt x="297" y="304"/>
                  </a:cubicBezTo>
                  <a:cubicBezTo>
                    <a:pt x="293" y="305"/>
                    <a:pt x="298" y="308"/>
                    <a:pt x="297" y="315"/>
                  </a:cubicBezTo>
                  <a:cubicBezTo>
                    <a:pt x="289" y="318"/>
                    <a:pt x="292" y="306"/>
                    <a:pt x="292" y="300"/>
                  </a:cubicBezTo>
                  <a:cubicBezTo>
                    <a:pt x="299" y="295"/>
                    <a:pt x="306" y="311"/>
                    <a:pt x="305" y="296"/>
                  </a:cubicBezTo>
                  <a:cubicBezTo>
                    <a:pt x="312" y="295"/>
                    <a:pt x="312" y="304"/>
                    <a:pt x="313" y="311"/>
                  </a:cubicBezTo>
                  <a:close/>
                  <a:moveTo>
                    <a:pt x="292" y="159"/>
                  </a:moveTo>
                  <a:cubicBezTo>
                    <a:pt x="297" y="166"/>
                    <a:pt x="296" y="157"/>
                    <a:pt x="305" y="159"/>
                  </a:cubicBezTo>
                  <a:cubicBezTo>
                    <a:pt x="307" y="167"/>
                    <a:pt x="289" y="173"/>
                    <a:pt x="292" y="159"/>
                  </a:cubicBezTo>
                  <a:close/>
                  <a:moveTo>
                    <a:pt x="286" y="174"/>
                  </a:moveTo>
                  <a:cubicBezTo>
                    <a:pt x="293" y="173"/>
                    <a:pt x="292" y="181"/>
                    <a:pt x="300" y="178"/>
                  </a:cubicBezTo>
                  <a:cubicBezTo>
                    <a:pt x="298" y="181"/>
                    <a:pt x="297" y="184"/>
                    <a:pt x="297" y="189"/>
                  </a:cubicBezTo>
                  <a:cubicBezTo>
                    <a:pt x="293" y="185"/>
                    <a:pt x="285" y="186"/>
                    <a:pt x="286" y="174"/>
                  </a:cubicBezTo>
                  <a:close/>
                  <a:moveTo>
                    <a:pt x="289" y="255"/>
                  </a:moveTo>
                  <a:cubicBezTo>
                    <a:pt x="287" y="255"/>
                    <a:pt x="286" y="252"/>
                    <a:pt x="283" y="252"/>
                  </a:cubicBezTo>
                  <a:cubicBezTo>
                    <a:pt x="283" y="249"/>
                    <a:pt x="283" y="247"/>
                    <a:pt x="283" y="244"/>
                  </a:cubicBezTo>
                  <a:cubicBezTo>
                    <a:pt x="289" y="243"/>
                    <a:pt x="289" y="250"/>
                    <a:pt x="289" y="255"/>
                  </a:cubicBezTo>
                  <a:close/>
                  <a:moveTo>
                    <a:pt x="283" y="189"/>
                  </a:moveTo>
                  <a:cubicBezTo>
                    <a:pt x="278" y="188"/>
                    <a:pt x="282" y="177"/>
                    <a:pt x="275" y="178"/>
                  </a:cubicBezTo>
                  <a:cubicBezTo>
                    <a:pt x="279" y="167"/>
                    <a:pt x="287" y="178"/>
                    <a:pt x="283" y="189"/>
                  </a:cubicBezTo>
                  <a:close/>
                  <a:moveTo>
                    <a:pt x="278" y="248"/>
                  </a:moveTo>
                  <a:cubicBezTo>
                    <a:pt x="274" y="246"/>
                    <a:pt x="273" y="240"/>
                    <a:pt x="273" y="233"/>
                  </a:cubicBezTo>
                  <a:cubicBezTo>
                    <a:pt x="277" y="234"/>
                    <a:pt x="279" y="240"/>
                    <a:pt x="278" y="248"/>
                  </a:cubicBezTo>
                  <a:close/>
                  <a:moveTo>
                    <a:pt x="267" y="174"/>
                  </a:moveTo>
                  <a:cubicBezTo>
                    <a:pt x="269" y="174"/>
                    <a:pt x="271" y="174"/>
                    <a:pt x="273" y="174"/>
                  </a:cubicBezTo>
                  <a:cubicBezTo>
                    <a:pt x="273" y="177"/>
                    <a:pt x="273" y="179"/>
                    <a:pt x="273" y="182"/>
                  </a:cubicBezTo>
                  <a:cubicBezTo>
                    <a:pt x="271" y="182"/>
                    <a:pt x="269" y="182"/>
                    <a:pt x="267" y="182"/>
                  </a:cubicBezTo>
                  <a:cubicBezTo>
                    <a:pt x="267" y="179"/>
                    <a:pt x="267" y="177"/>
                    <a:pt x="267" y="174"/>
                  </a:cubicBezTo>
                  <a:close/>
                  <a:moveTo>
                    <a:pt x="276" y="259"/>
                  </a:moveTo>
                  <a:cubicBezTo>
                    <a:pt x="277" y="257"/>
                    <a:pt x="279" y="253"/>
                    <a:pt x="278" y="252"/>
                  </a:cubicBezTo>
                  <a:cubicBezTo>
                    <a:pt x="281" y="254"/>
                    <a:pt x="279" y="256"/>
                    <a:pt x="281" y="259"/>
                  </a:cubicBezTo>
                  <a:cubicBezTo>
                    <a:pt x="283" y="262"/>
                    <a:pt x="289" y="264"/>
                    <a:pt x="286" y="278"/>
                  </a:cubicBezTo>
                  <a:cubicBezTo>
                    <a:pt x="284" y="284"/>
                    <a:pt x="283" y="275"/>
                    <a:pt x="283" y="270"/>
                  </a:cubicBezTo>
                  <a:cubicBezTo>
                    <a:pt x="284" y="266"/>
                    <a:pt x="275" y="260"/>
                    <a:pt x="270" y="259"/>
                  </a:cubicBezTo>
                  <a:cubicBezTo>
                    <a:pt x="268" y="259"/>
                    <a:pt x="265" y="266"/>
                    <a:pt x="265" y="259"/>
                  </a:cubicBezTo>
                  <a:cubicBezTo>
                    <a:pt x="257" y="254"/>
                    <a:pt x="274" y="257"/>
                    <a:pt x="276" y="259"/>
                  </a:cubicBezTo>
                  <a:close/>
                  <a:moveTo>
                    <a:pt x="259" y="237"/>
                  </a:moveTo>
                  <a:cubicBezTo>
                    <a:pt x="263" y="238"/>
                    <a:pt x="260" y="248"/>
                    <a:pt x="265" y="248"/>
                  </a:cubicBezTo>
                  <a:cubicBezTo>
                    <a:pt x="264" y="257"/>
                    <a:pt x="257" y="245"/>
                    <a:pt x="259" y="237"/>
                  </a:cubicBezTo>
                  <a:close/>
                  <a:moveTo>
                    <a:pt x="257" y="270"/>
                  </a:moveTo>
                  <a:cubicBezTo>
                    <a:pt x="250" y="282"/>
                    <a:pt x="261" y="262"/>
                    <a:pt x="254" y="263"/>
                  </a:cubicBezTo>
                  <a:cubicBezTo>
                    <a:pt x="255" y="249"/>
                    <a:pt x="265" y="271"/>
                    <a:pt x="257" y="270"/>
                  </a:cubicBezTo>
                  <a:close/>
                  <a:moveTo>
                    <a:pt x="251" y="174"/>
                  </a:moveTo>
                  <a:cubicBezTo>
                    <a:pt x="253" y="174"/>
                    <a:pt x="255" y="174"/>
                    <a:pt x="257" y="174"/>
                  </a:cubicBezTo>
                  <a:cubicBezTo>
                    <a:pt x="257" y="177"/>
                    <a:pt x="257" y="179"/>
                    <a:pt x="257" y="182"/>
                  </a:cubicBezTo>
                  <a:cubicBezTo>
                    <a:pt x="255" y="182"/>
                    <a:pt x="253" y="182"/>
                    <a:pt x="251" y="182"/>
                  </a:cubicBezTo>
                  <a:cubicBezTo>
                    <a:pt x="251" y="179"/>
                    <a:pt x="251" y="177"/>
                    <a:pt x="251" y="174"/>
                  </a:cubicBezTo>
                  <a:close/>
                  <a:moveTo>
                    <a:pt x="249" y="289"/>
                  </a:moveTo>
                  <a:cubicBezTo>
                    <a:pt x="251" y="289"/>
                    <a:pt x="251" y="284"/>
                    <a:pt x="251" y="281"/>
                  </a:cubicBezTo>
                  <a:cubicBezTo>
                    <a:pt x="253" y="283"/>
                    <a:pt x="257" y="285"/>
                    <a:pt x="257" y="289"/>
                  </a:cubicBezTo>
                  <a:cubicBezTo>
                    <a:pt x="256" y="289"/>
                    <a:pt x="251" y="293"/>
                    <a:pt x="251" y="292"/>
                  </a:cubicBezTo>
                  <a:cubicBezTo>
                    <a:pt x="251" y="299"/>
                    <a:pt x="257" y="302"/>
                    <a:pt x="254" y="311"/>
                  </a:cubicBezTo>
                  <a:cubicBezTo>
                    <a:pt x="241" y="308"/>
                    <a:pt x="251" y="297"/>
                    <a:pt x="246" y="285"/>
                  </a:cubicBezTo>
                  <a:cubicBezTo>
                    <a:pt x="248" y="284"/>
                    <a:pt x="248" y="286"/>
                    <a:pt x="249" y="289"/>
                  </a:cubicBezTo>
                  <a:close/>
                  <a:moveTo>
                    <a:pt x="243" y="274"/>
                  </a:moveTo>
                  <a:cubicBezTo>
                    <a:pt x="240" y="279"/>
                    <a:pt x="242" y="275"/>
                    <a:pt x="240" y="270"/>
                  </a:cubicBezTo>
                  <a:cubicBezTo>
                    <a:pt x="240" y="270"/>
                    <a:pt x="238" y="270"/>
                    <a:pt x="238" y="270"/>
                  </a:cubicBezTo>
                  <a:cubicBezTo>
                    <a:pt x="238" y="265"/>
                    <a:pt x="240" y="270"/>
                    <a:pt x="240" y="270"/>
                  </a:cubicBezTo>
                  <a:cubicBezTo>
                    <a:pt x="245" y="273"/>
                    <a:pt x="246" y="271"/>
                    <a:pt x="243" y="274"/>
                  </a:cubicBezTo>
                  <a:close/>
                  <a:moveTo>
                    <a:pt x="227" y="304"/>
                  </a:moveTo>
                  <a:cubicBezTo>
                    <a:pt x="226" y="296"/>
                    <a:pt x="239" y="298"/>
                    <a:pt x="235" y="307"/>
                  </a:cubicBezTo>
                  <a:cubicBezTo>
                    <a:pt x="233" y="307"/>
                    <a:pt x="231" y="307"/>
                    <a:pt x="230" y="307"/>
                  </a:cubicBezTo>
                  <a:cubicBezTo>
                    <a:pt x="230" y="304"/>
                    <a:pt x="229" y="304"/>
                    <a:pt x="227" y="304"/>
                  </a:cubicBezTo>
                  <a:close/>
                  <a:moveTo>
                    <a:pt x="235" y="278"/>
                  </a:moveTo>
                  <a:cubicBezTo>
                    <a:pt x="238" y="279"/>
                    <a:pt x="237" y="285"/>
                    <a:pt x="240" y="285"/>
                  </a:cubicBezTo>
                  <a:cubicBezTo>
                    <a:pt x="239" y="295"/>
                    <a:pt x="232" y="285"/>
                    <a:pt x="235" y="278"/>
                  </a:cubicBezTo>
                  <a:close/>
                  <a:moveTo>
                    <a:pt x="235" y="244"/>
                  </a:moveTo>
                  <a:cubicBezTo>
                    <a:pt x="238" y="245"/>
                    <a:pt x="237" y="252"/>
                    <a:pt x="240" y="252"/>
                  </a:cubicBezTo>
                  <a:cubicBezTo>
                    <a:pt x="240" y="255"/>
                    <a:pt x="237" y="255"/>
                    <a:pt x="235" y="255"/>
                  </a:cubicBezTo>
                  <a:cubicBezTo>
                    <a:pt x="235" y="259"/>
                    <a:pt x="236" y="259"/>
                    <a:pt x="238" y="259"/>
                  </a:cubicBezTo>
                  <a:cubicBezTo>
                    <a:pt x="237" y="268"/>
                    <a:pt x="231" y="255"/>
                    <a:pt x="227" y="255"/>
                  </a:cubicBezTo>
                  <a:cubicBezTo>
                    <a:pt x="227" y="251"/>
                    <a:pt x="230" y="253"/>
                    <a:pt x="230" y="255"/>
                  </a:cubicBezTo>
                  <a:cubicBezTo>
                    <a:pt x="232" y="253"/>
                    <a:pt x="234" y="249"/>
                    <a:pt x="235" y="244"/>
                  </a:cubicBezTo>
                  <a:close/>
                  <a:moveTo>
                    <a:pt x="230" y="163"/>
                  </a:moveTo>
                  <a:cubicBezTo>
                    <a:pt x="231" y="162"/>
                    <a:pt x="222" y="159"/>
                    <a:pt x="222" y="159"/>
                  </a:cubicBezTo>
                  <a:cubicBezTo>
                    <a:pt x="221" y="153"/>
                    <a:pt x="236" y="154"/>
                    <a:pt x="230" y="163"/>
                  </a:cubicBezTo>
                  <a:close/>
                  <a:moveTo>
                    <a:pt x="222" y="244"/>
                  </a:moveTo>
                  <a:cubicBezTo>
                    <a:pt x="218" y="243"/>
                    <a:pt x="216" y="240"/>
                    <a:pt x="216" y="233"/>
                  </a:cubicBezTo>
                  <a:cubicBezTo>
                    <a:pt x="219" y="235"/>
                    <a:pt x="222" y="238"/>
                    <a:pt x="222" y="244"/>
                  </a:cubicBezTo>
                  <a:close/>
                  <a:moveTo>
                    <a:pt x="214" y="270"/>
                  </a:moveTo>
                  <a:cubicBezTo>
                    <a:pt x="212" y="260"/>
                    <a:pt x="226" y="273"/>
                    <a:pt x="224" y="263"/>
                  </a:cubicBezTo>
                  <a:cubicBezTo>
                    <a:pt x="230" y="265"/>
                    <a:pt x="220" y="277"/>
                    <a:pt x="222" y="285"/>
                  </a:cubicBezTo>
                  <a:cubicBezTo>
                    <a:pt x="221" y="299"/>
                    <a:pt x="215" y="274"/>
                    <a:pt x="222" y="278"/>
                  </a:cubicBezTo>
                  <a:cubicBezTo>
                    <a:pt x="220" y="274"/>
                    <a:pt x="217" y="272"/>
                    <a:pt x="214" y="270"/>
                  </a:cubicBezTo>
                  <a:close/>
                  <a:moveTo>
                    <a:pt x="216" y="337"/>
                  </a:moveTo>
                  <a:cubicBezTo>
                    <a:pt x="216" y="326"/>
                    <a:pt x="218" y="334"/>
                    <a:pt x="222" y="333"/>
                  </a:cubicBezTo>
                  <a:cubicBezTo>
                    <a:pt x="223" y="333"/>
                    <a:pt x="234" y="322"/>
                    <a:pt x="232" y="337"/>
                  </a:cubicBezTo>
                  <a:cubicBezTo>
                    <a:pt x="238" y="339"/>
                    <a:pt x="242" y="319"/>
                    <a:pt x="232" y="322"/>
                  </a:cubicBezTo>
                  <a:cubicBezTo>
                    <a:pt x="232" y="318"/>
                    <a:pt x="232" y="315"/>
                    <a:pt x="232" y="311"/>
                  </a:cubicBezTo>
                  <a:cubicBezTo>
                    <a:pt x="236" y="315"/>
                    <a:pt x="238" y="321"/>
                    <a:pt x="240" y="326"/>
                  </a:cubicBezTo>
                  <a:cubicBezTo>
                    <a:pt x="241" y="332"/>
                    <a:pt x="238" y="332"/>
                    <a:pt x="238" y="337"/>
                  </a:cubicBezTo>
                  <a:cubicBezTo>
                    <a:pt x="237" y="349"/>
                    <a:pt x="242" y="368"/>
                    <a:pt x="232" y="366"/>
                  </a:cubicBezTo>
                  <a:cubicBezTo>
                    <a:pt x="235" y="356"/>
                    <a:pt x="235" y="351"/>
                    <a:pt x="232" y="341"/>
                  </a:cubicBezTo>
                  <a:cubicBezTo>
                    <a:pt x="226" y="339"/>
                    <a:pt x="234" y="357"/>
                    <a:pt x="224" y="352"/>
                  </a:cubicBezTo>
                  <a:cubicBezTo>
                    <a:pt x="224" y="346"/>
                    <a:pt x="227" y="345"/>
                    <a:pt x="227" y="341"/>
                  </a:cubicBezTo>
                  <a:cubicBezTo>
                    <a:pt x="226" y="328"/>
                    <a:pt x="215" y="347"/>
                    <a:pt x="216" y="337"/>
                  </a:cubicBezTo>
                  <a:close/>
                  <a:moveTo>
                    <a:pt x="211" y="703"/>
                  </a:moveTo>
                  <a:cubicBezTo>
                    <a:pt x="210" y="696"/>
                    <a:pt x="203" y="696"/>
                    <a:pt x="205" y="684"/>
                  </a:cubicBezTo>
                  <a:cubicBezTo>
                    <a:pt x="208" y="684"/>
                    <a:pt x="211" y="684"/>
                    <a:pt x="214" y="684"/>
                  </a:cubicBezTo>
                  <a:cubicBezTo>
                    <a:pt x="216" y="693"/>
                    <a:pt x="215" y="705"/>
                    <a:pt x="222" y="707"/>
                  </a:cubicBezTo>
                  <a:cubicBezTo>
                    <a:pt x="221" y="712"/>
                    <a:pt x="215" y="710"/>
                    <a:pt x="211" y="710"/>
                  </a:cubicBezTo>
                  <a:cubicBezTo>
                    <a:pt x="209" y="707"/>
                    <a:pt x="208" y="704"/>
                    <a:pt x="211" y="703"/>
                  </a:cubicBezTo>
                  <a:close/>
                  <a:moveTo>
                    <a:pt x="214" y="795"/>
                  </a:moveTo>
                  <a:cubicBezTo>
                    <a:pt x="224" y="806"/>
                    <a:pt x="204" y="810"/>
                    <a:pt x="214" y="795"/>
                  </a:cubicBezTo>
                  <a:close/>
                  <a:moveTo>
                    <a:pt x="214" y="788"/>
                  </a:moveTo>
                  <a:cubicBezTo>
                    <a:pt x="212" y="779"/>
                    <a:pt x="218" y="780"/>
                    <a:pt x="216" y="770"/>
                  </a:cubicBezTo>
                  <a:cubicBezTo>
                    <a:pt x="219" y="772"/>
                    <a:pt x="222" y="774"/>
                    <a:pt x="227" y="773"/>
                  </a:cubicBezTo>
                  <a:cubicBezTo>
                    <a:pt x="227" y="777"/>
                    <a:pt x="224" y="776"/>
                    <a:pt x="222" y="777"/>
                  </a:cubicBezTo>
                  <a:cubicBezTo>
                    <a:pt x="221" y="783"/>
                    <a:pt x="224" y="784"/>
                    <a:pt x="227" y="784"/>
                  </a:cubicBezTo>
                  <a:cubicBezTo>
                    <a:pt x="228" y="790"/>
                    <a:pt x="216" y="793"/>
                    <a:pt x="224" y="795"/>
                  </a:cubicBezTo>
                  <a:cubicBezTo>
                    <a:pt x="222" y="806"/>
                    <a:pt x="218" y="787"/>
                    <a:pt x="214" y="788"/>
                  </a:cubicBezTo>
                  <a:close/>
                  <a:moveTo>
                    <a:pt x="227" y="832"/>
                  </a:moveTo>
                  <a:cubicBezTo>
                    <a:pt x="217" y="831"/>
                    <a:pt x="220" y="823"/>
                    <a:pt x="222" y="814"/>
                  </a:cubicBezTo>
                  <a:cubicBezTo>
                    <a:pt x="227" y="814"/>
                    <a:pt x="227" y="823"/>
                    <a:pt x="227" y="832"/>
                  </a:cubicBezTo>
                  <a:close/>
                  <a:moveTo>
                    <a:pt x="227" y="640"/>
                  </a:moveTo>
                  <a:cubicBezTo>
                    <a:pt x="230" y="629"/>
                    <a:pt x="236" y="642"/>
                    <a:pt x="238" y="644"/>
                  </a:cubicBezTo>
                  <a:cubicBezTo>
                    <a:pt x="237" y="653"/>
                    <a:pt x="231" y="640"/>
                    <a:pt x="227" y="640"/>
                  </a:cubicBezTo>
                  <a:close/>
                  <a:moveTo>
                    <a:pt x="232" y="559"/>
                  </a:moveTo>
                  <a:cubicBezTo>
                    <a:pt x="235" y="549"/>
                    <a:pt x="238" y="567"/>
                    <a:pt x="243" y="566"/>
                  </a:cubicBezTo>
                  <a:cubicBezTo>
                    <a:pt x="238" y="579"/>
                    <a:pt x="238" y="557"/>
                    <a:pt x="232" y="559"/>
                  </a:cubicBezTo>
                  <a:close/>
                  <a:moveTo>
                    <a:pt x="240" y="692"/>
                  </a:moveTo>
                  <a:cubicBezTo>
                    <a:pt x="243" y="689"/>
                    <a:pt x="243" y="684"/>
                    <a:pt x="243" y="677"/>
                  </a:cubicBezTo>
                  <a:cubicBezTo>
                    <a:pt x="248" y="676"/>
                    <a:pt x="248" y="698"/>
                    <a:pt x="240" y="692"/>
                  </a:cubicBezTo>
                  <a:close/>
                  <a:moveTo>
                    <a:pt x="246" y="592"/>
                  </a:moveTo>
                  <a:cubicBezTo>
                    <a:pt x="245" y="594"/>
                    <a:pt x="238" y="582"/>
                    <a:pt x="243" y="577"/>
                  </a:cubicBezTo>
                  <a:cubicBezTo>
                    <a:pt x="245" y="576"/>
                    <a:pt x="248" y="590"/>
                    <a:pt x="246" y="592"/>
                  </a:cubicBezTo>
                  <a:close/>
                  <a:moveTo>
                    <a:pt x="238" y="555"/>
                  </a:moveTo>
                  <a:cubicBezTo>
                    <a:pt x="238" y="547"/>
                    <a:pt x="250" y="554"/>
                    <a:pt x="249" y="544"/>
                  </a:cubicBezTo>
                  <a:cubicBezTo>
                    <a:pt x="252" y="550"/>
                    <a:pt x="264" y="545"/>
                    <a:pt x="267" y="551"/>
                  </a:cubicBezTo>
                  <a:cubicBezTo>
                    <a:pt x="262" y="560"/>
                    <a:pt x="249" y="542"/>
                    <a:pt x="249" y="562"/>
                  </a:cubicBezTo>
                  <a:cubicBezTo>
                    <a:pt x="244" y="561"/>
                    <a:pt x="246" y="551"/>
                    <a:pt x="238" y="555"/>
                  </a:cubicBezTo>
                  <a:close/>
                  <a:moveTo>
                    <a:pt x="249" y="651"/>
                  </a:moveTo>
                  <a:cubicBezTo>
                    <a:pt x="258" y="647"/>
                    <a:pt x="253" y="663"/>
                    <a:pt x="254" y="670"/>
                  </a:cubicBezTo>
                  <a:cubicBezTo>
                    <a:pt x="245" y="665"/>
                    <a:pt x="253" y="662"/>
                    <a:pt x="249" y="651"/>
                  </a:cubicBezTo>
                  <a:close/>
                  <a:moveTo>
                    <a:pt x="254" y="847"/>
                  </a:moveTo>
                  <a:cubicBezTo>
                    <a:pt x="250" y="846"/>
                    <a:pt x="252" y="838"/>
                    <a:pt x="251" y="832"/>
                  </a:cubicBezTo>
                  <a:cubicBezTo>
                    <a:pt x="262" y="831"/>
                    <a:pt x="253" y="840"/>
                    <a:pt x="254" y="847"/>
                  </a:cubicBezTo>
                  <a:close/>
                  <a:moveTo>
                    <a:pt x="262" y="633"/>
                  </a:moveTo>
                  <a:cubicBezTo>
                    <a:pt x="250" y="627"/>
                    <a:pt x="264" y="620"/>
                    <a:pt x="262" y="607"/>
                  </a:cubicBezTo>
                  <a:cubicBezTo>
                    <a:pt x="255" y="606"/>
                    <a:pt x="254" y="613"/>
                    <a:pt x="251" y="618"/>
                  </a:cubicBezTo>
                  <a:cubicBezTo>
                    <a:pt x="247" y="616"/>
                    <a:pt x="251" y="615"/>
                    <a:pt x="251" y="611"/>
                  </a:cubicBezTo>
                  <a:cubicBezTo>
                    <a:pt x="250" y="605"/>
                    <a:pt x="254" y="604"/>
                    <a:pt x="254" y="599"/>
                  </a:cubicBezTo>
                  <a:cubicBezTo>
                    <a:pt x="251" y="594"/>
                    <a:pt x="249" y="579"/>
                    <a:pt x="251" y="570"/>
                  </a:cubicBezTo>
                  <a:cubicBezTo>
                    <a:pt x="251" y="569"/>
                    <a:pt x="254" y="570"/>
                    <a:pt x="254" y="566"/>
                  </a:cubicBezTo>
                  <a:cubicBezTo>
                    <a:pt x="254" y="560"/>
                    <a:pt x="255" y="559"/>
                    <a:pt x="259" y="559"/>
                  </a:cubicBezTo>
                  <a:cubicBezTo>
                    <a:pt x="260" y="566"/>
                    <a:pt x="257" y="569"/>
                    <a:pt x="257" y="574"/>
                  </a:cubicBezTo>
                  <a:cubicBezTo>
                    <a:pt x="258" y="582"/>
                    <a:pt x="261" y="569"/>
                    <a:pt x="265" y="577"/>
                  </a:cubicBezTo>
                  <a:cubicBezTo>
                    <a:pt x="261" y="589"/>
                    <a:pt x="265" y="592"/>
                    <a:pt x="262" y="599"/>
                  </a:cubicBezTo>
                  <a:cubicBezTo>
                    <a:pt x="260" y="611"/>
                    <a:pt x="269" y="607"/>
                    <a:pt x="267" y="618"/>
                  </a:cubicBezTo>
                  <a:cubicBezTo>
                    <a:pt x="258" y="618"/>
                    <a:pt x="267" y="623"/>
                    <a:pt x="262" y="633"/>
                  </a:cubicBezTo>
                  <a:close/>
                  <a:moveTo>
                    <a:pt x="265" y="666"/>
                  </a:moveTo>
                  <a:cubicBezTo>
                    <a:pt x="269" y="667"/>
                    <a:pt x="270" y="662"/>
                    <a:pt x="275" y="662"/>
                  </a:cubicBezTo>
                  <a:cubicBezTo>
                    <a:pt x="273" y="664"/>
                    <a:pt x="264" y="682"/>
                    <a:pt x="265" y="666"/>
                  </a:cubicBezTo>
                  <a:close/>
                  <a:moveTo>
                    <a:pt x="278" y="766"/>
                  </a:moveTo>
                  <a:cubicBezTo>
                    <a:pt x="273" y="766"/>
                    <a:pt x="272" y="761"/>
                    <a:pt x="267" y="762"/>
                  </a:cubicBezTo>
                  <a:cubicBezTo>
                    <a:pt x="268" y="758"/>
                    <a:pt x="273" y="758"/>
                    <a:pt x="273" y="762"/>
                  </a:cubicBezTo>
                  <a:cubicBezTo>
                    <a:pt x="275" y="761"/>
                    <a:pt x="278" y="759"/>
                    <a:pt x="278" y="755"/>
                  </a:cubicBezTo>
                  <a:cubicBezTo>
                    <a:pt x="283" y="745"/>
                    <a:pt x="278" y="761"/>
                    <a:pt x="278" y="766"/>
                  </a:cubicBezTo>
                  <a:close/>
                  <a:moveTo>
                    <a:pt x="275" y="721"/>
                  </a:moveTo>
                  <a:cubicBezTo>
                    <a:pt x="275" y="717"/>
                    <a:pt x="280" y="716"/>
                    <a:pt x="281" y="714"/>
                  </a:cubicBezTo>
                  <a:cubicBezTo>
                    <a:pt x="282" y="710"/>
                    <a:pt x="272" y="697"/>
                    <a:pt x="283" y="699"/>
                  </a:cubicBezTo>
                  <a:cubicBezTo>
                    <a:pt x="283" y="702"/>
                    <a:pt x="281" y="703"/>
                    <a:pt x="281" y="707"/>
                  </a:cubicBezTo>
                  <a:cubicBezTo>
                    <a:pt x="279" y="713"/>
                    <a:pt x="288" y="712"/>
                    <a:pt x="289" y="714"/>
                  </a:cubicBezTo>
                  <a:cubicBezTo>
                    <a:pt x="290" y="718"/>
                    <a:pt x="284" y="717"/>
                    <a:pt x="283" y="718"/>
                  </a:cubicBezTo>
                  <a:cubicBezTo>
                    <a:pt x="282" y="723"/>
                    <a:pt x="292" y="724"/>
                    <a:pt x="289" y="733"/>
                  </a:cubicBezTo>
                  <a:cubicBezTo>
                    <a:pt x="279" y="737"/>
                    <a:pt x="285" y="719"/>
                    <a:pt x="275" y="721"/>
                  </a:cubicBezTo>
                  <a:close/>
                  <a:moveTo>
                    <a:pt x="281" y="766"/>
                  </a:moveTo>
                  <a:cubicBezTo>
                    <a:pt x="281" y="759"/>
                    <a:pt x="288" y="761"/>
                    <a:pt x="286" y="751"/>
                  </a:cubicBezTo>
                  <a:cubicBezTo>
                    <a:pt x="292" y="753"/>
                    <a:pt x="290" y="773"/>
                    <a:pt x="281" y="766"/>
                  </a:cubicBezTo>
                  <a:close/>
                  <a:moveTo>
                    <a:pt x="286" y="648"/>
                  </a:moveTo>
                  <a:cubicBezTo>
                    <a:pt x="286" y="643"/>
                    <a:pt x="286" y="638"/>
                    <a:pt x="286" y="633"/>
                  </a:cubicBezTo>
                  <a:cubicBezTo>
                    <a:pt x="289" y="634"/>
                    <a:pt x="291" y="636"/>
                    <a:pt x="292" y="640"/>
                  </a:cubicBezTo>
                  <a:cubicBezTo>
                    <a:pt x="294" y="640"/>
                    <a:pt x="294" y="636"/>
                    <a:pt x="294" y="633"/>
                  </a:cubicBezTo>
                  <a:cubicBezTo>
                    <a:pt x="304" y="636"/>
                    <a:pt x="296" y="650"/>
                    <a:pt x="286" y="648"/>
                  </a:cubicBezTo>
                  <a:close/>
                  <a:moveTo>
                    <a:pt x="297" y="777"/>
                  </a:moveTo>
                  <a:cubicBezTo>
                    <a:pt x="298" y="784"/>
                    <a:pt x="296" y="789"/>
                    <a:pt x="292" y="788"/>
                  </a:cubicBezTo>
                  <a:cubicBezTo>
                    <a:pt x="292" y="782"/>
                    <a:pt x="292" y="776"/>
                    <a:pt x="292" y="770"/>
                  </a:cubicBezTo>
                  <a:cubicBezTo>
                    <a:pt x="294" y="772"/>
                    <a:pt x="299" y="775"/>
                    <a:pt x="300" y="770"/>
                  </a:cubicBezTo>
                  <a:cubicBezTo>
                    <a:pt x="304" y="772"/>
                    <a:pt x="301" y="778"/>
                    <a:pt x="297" y="777"/>
                  </a:cubicBezTo>
                  <a:close/>
                  <a:moveTo>
                    <a:pt x="300" y="755"/>
                  </a:moveTo>
                  <a:cubicBezTo>
                    <a:pt x="300" y="755"/>
                    <a:pt x="300" y="750"/>
                    <a:pt x="302" y="751"/>
                  </a:cubicBezTo>
                  <a:cubicBezTo>
                    <a:pt x="300" y="751"/>
                    <a:pt x="306" y="756"/>
                    <a:pt x="305" y="755"/>
                  </a:cubicBezTo>
                  <a:cubicBezTo>
                    <a:pt x="307" y="759"/>
                    <a:pt x="286" y="756"/>
                    <a:pt x="300" y="755"/>
                  </a:cubicBezTo>
                  <a:close/>
                  <a:moveTo>
                    <a:pt x="361" y="825"/>
                  </a:moveTo>
                  <a:cubicBezTo>
                    <a:pt x="360" y="824"/>
                    <a:pt x="355" y="827"/>
                    <a:pt x="353" y="825"/>
                  </a:cubicBezTo>
                  <a:cubicBezTo>
                    <a:pt x="353" y="824"/>
                    <a:pt x="354" y="818"/>
                    <a:pt x="353" y="818"/>
                  </a:cubicBezTo>
                  <a:cubicBezTo>
                    <a:pt x="348" y="814"/>
                    <a:pt x="338" y="818"/>
                    <a:pt x="337" y="807"/>
                  </a:cubicBezTo>
                  <a:cubicBezTo>
                    <a:pt x="325" y="808"/>
                    <a:pt x="318" y="804"/>
                    <a:pt x="316" y="792"/>
                  </a:cubicBezTo>
                  <a:cubicBezTo>
                    <a:pt x="312" y="796"/>
                    <a:pt x="309" y="796"/>
                    <a:pt x="305" y="792"/>
                  </a:cubicBezTo>
                  <a:cubicBezTo>
                    <a:pt x="304" y="780"/>
                    <a:pt x="310" y="776"/>
                    <a:pt x="308" y="762"/>
                  </a:cubicBezTo>
                  <a:cubicBezTo>
                    <a:pt x="311" y="748"/>
                    <a:pt x="310" y="801"/>
                    <a:pt x="316" y="773"/>
                  </a:cubicBezTo>
                  <a:cubicBezTo>
                    <a:pt x="325" y="774"/>
                    <a:pt x="309" y="789"/>
                    <a:pt x="318" y="792"/>
                  </a:cubicBezTo>
                  <a:cubicBezTo>
                    <a:pt x="322" y="787"/>
                    <a:pt x="322" y="778"/>
                    <a:pt x="326" y="773"/>
                  </a:cubicBezTo>
                  <a:cubicBezTo>
                    <a:pt x="326" y="771"/>
                    <a:pt x="326" y="768"/>
                    <a:pt x="326" y="766"/>
                  </a:cubicBezTo>
                  <a:cubicBezTo>
                    <a:pt x="330" y="766"/>
                    <a:pt x="329" y="773"/>
                    <a:pt x="329" y="777"/>
                  </a:cubicBezTo>
                  <a:cubicBezTo>
                    <a:pt x="329" y="781"/>
                    <a:pt x="333" y="779"/>
                    <a:pt x="335" y="781"/>
                  </a:cubicBezTo>
                  <a:cubicBezTo>
                    <a:pt x="337" y="785"/>
                    <a:pt x="334" y="793"/>
                    <a:pt x="337" y="795"/>
                  </a:cubicBezTo>
                  <a:cubicBezTo>
                    <a:pt x="342" y="794"/>
                    <a:pt x="339" y="781"/>
                    <a:pt x="348" y="784"/>
                  </a:cubicBezTo>
                  <a:cubicBezTo>
                    <a:pt x="347" y="789"/>
                    <a:pt x="343" y="790"/>
                    <a:pt x="343" y="795"/>
                  </a:cubicBezTo>
                  <a:cubicBezTo>
                    <a:pt x="343" y="803"/>
                    <a:pt x="352" y="791"/>
                    <a:pt x="359" y="795"/>
                  </a:cubicBezTo>
                  <a:cubicBezTo>
                    <a:pt x="359" y="813"/>
                    <a:pt x="366" y="808"/>
                    <a:pt x="361" y="825"/>
                  </a:cubicBezTo>
                  <a:close/>
                  <a:moveTo>
                    <a:pt x="415" y="851"/>
                  </a:moveTo>
                  <a:cubicBezTo>
                    <a:pt x="407" y="853"/>
                    <a:pt x="414" y="833"/>
                    <a:pt x="404" y="836"/>
                  </a:cubicBezTo>
                  <a:cubicBezTo>
                    <a:pt x="400" y="838"/>
                    <a:pt x="405" y="841"/>
                    <a:pt x="404" y="847"/>
                  </a:cubicBezTo>
                  <a:cubicBezTo>
                    <a:pt x="399" y="847"/>
                    <a:pt x="401" y="840"/>
                    <a:pt x="399" y="836"/>
                  </a:cubicBezTo>
                  <a:cubicBezTo>
                    <a:pt x="396" y="830"/>
                    <a:pt x="395" y="830"/>
                    <a:pt x="391" y="825"/>
                  </a:cubicBezTo>
                  <a:cubicBezTo>
                    <a:pt x="387" y="828"/>
                    <a:pt x="392" y="831"/>
                    <a:pt x="388" y="840"/>
                  </a:cubicBezTo>
                  <a:cubicBezTo>
                    <a:pt x="386" y="840"/>
                    <a:pt x="386" y="835"/>
                    <a:pt x="386" y="832"/>
                  </a:cubicBezTo>
                  <a:cubicBezTo>
                    <a:pt x="378" y="829"/>
                    <a:pt x="379" y="838"/>
                    <a:pt x="372" y="836"/>
                  </a:cubicBezTo>
                  <a:cubicBezTo>
                    <a:pt x="371" y="835"/>
                    <a:pt x="368" y="818"/>
                    <a:pt x="367" y="829"/>
                  </a:cubicBezTo>
                  <a:cubicBezTo>
                    <a:pt x="361" y="830"/>
                    <a:pt x="367" y="818"/>
                    <a:pt x="370" y="818"/>
                  </a:cubicBezTo>
                  <a:cubicBezTo>
                    <a:pt x="367" y="809"/>
                    <a:pt x="365" y="798"/>
                    <a:pt x="378" y="795"/>
                  </a:cubicBezTo>
                  <a:cubicBezTo>
                    <a:pt x="376" y="803"/>
                    <a:pt x="383" y="804"/>
                    <a:pt x="383" y="799"/>
                  </a:cubicBezTo>
                  <a:cubicBezTo>
                    <a:pt x="388" y="802"/>
                    <a:pt x="383" y="806"/>
                    <a:pt x="383" y="810"/>
                  </a:cubicBezTo>
                  <a:cubicBezTo>
                    <a:pt x="386" y="817"/>
                    <a:pt x="386" y="807"/>
                    <a:pt x="391" y="814"/>
                  </a:cubicBezTo>
                  <a:cubicBezTo>
                    <a:pt x="397" y="822"/>
                    <a:pt x="394" y="802"/>
                    <a:pt x="402" y="807"/>
                  </a:cubicBezTo>
                  <a:cubicBezTo>
                    <a:pt x="403" y="816"/>
                    <a:pt x="403" y="827"/>
                    <a:pt x="407" y="832"/>
                  </a:cubicBezTo>
                  <a:cubicBezTo>
                    <a:pt x="415" y="832"/>
                    <a:pt x="401" y="822"/>
                    <a:pt x="412" y="825"/>
                  </a:cubicBezTo>
                  <a:cubicBezTo>
                    <a:pt x="410" y="838"/>
                    <a:pt x="417" y="839"/>
                    <a:pt x="415" y="851"/>
                  </a:cubicBezTo>
                  <a:close/>
                  <a:moveTo>
                    <a:pt x="466" y="866"/>
                  </a:moveTo>
                  <a:cubicBezTo>
                    <a:pt x="465" y="863"/>
                    <a:pt x="475" y="860"/>
                    <a:pt x="477" y="862"/>
                  </a:cubicBezTo>
                  <a:cubicBezTo>
                    <a:pt x="478" y="864"/>
                    <a:pt x="470" y="873"/>
                    <a:pt x="466" y="866"/>
                  </a:cubicBezTo>
                  <a:close/>
                  <a:moveTo>
                    <a:pt x="485" y="807"/>
                  </a:moveTo>
                  <a:cubicBezTo>
                    <a:pt x="482" y="797"/>
                    <a:pt x="477" y="818"/>
                    <a:pt x="472" y="818"/>
                  </a:cubicBezTo>
                  <a:cubicBezTo>
                    <a:pt x="468" y="837"/>
                    <a:pt x="482" y="845"/>
                    <a:pt x="474" y="858"/>
                  </a:cubicBezTo>
                  <a:cubicBezTo>
                    <a:pt x="469" y="858"/>
                    <a:pt x="473" y="846"/>
                    <a:pt x="469" y="844"/>
                  </a:cubicBezTo>
                  <a:cubicBezTo>
                    <a:pt x="464" y="843"/>
                    <a:pt x="468" y="855"/>
                    <a:pt x="466" y="858"/>
                  </a:cubicBezTo>
                  <a:cubicBezTo>
                    <a:pt x="466" y="859"/>
                    <a:pt x="454" y="847"/>
                    <a:pt x="458" y="862"/>
                  </a:cubicBezTo>
                  <a:cubicBezTo>
                    <a:pt x="451" y="866"/>
                    <a:pt x="445" y="851"/>
                    <a:pt x="442" y="862"/>
                  </a:cubicBezTo>
                  <a:cubicBezTo>
                    <a:pt x="438" y="857"/>
                    <a:pt x="439" y="844"/>
                    <a:pt x="431" y="844"/>
                  </a:cubicBezTo>
                  <a:cubicBezTo>
                    <a:pt x="428" y="844"/>
                    <a:pt x="429" y="851"/>
                    <a:pt x="431" y="851"/>
                  </a:cubicBezTo>
                  <a:cubicBezTo>
                    <a:pt x="430" y="862"/>
                    <a:pt x="418" y="849"/>
                    <a:pt x="418" y="847"/>
                  </a:cubicBezTo>
                  <a:cubicBezTo>
                    <a:pt x="418" y="845"/>
                    <a:pt x="426" y="835"/>
                    <a:pt x="415" y="836"/>
                  </a:cubicBezTo>
                  <a:cubicBezTo>
                    <a:pt x="415" y="829"/>
                    <a:pt x="419" y="828"/>
                    <a:pt x="418" y="821"/>
                  </a:cubicBezTo>
                  <a:cubicBezTo>
                    <a:pt x="428" y="819"/>
                    <a:pt x="430" y="827"/>
                    <a:pt x="429" y="840"/>
                  </a:cubicBezTo>
                  <a:cubicBezTo>
                    <a:pt x="431" y="838"/>
                    <a:pt x="433" y="836"/>
                    <a:pt x="437" y="836"/>
                  </a:cubicBezTo>
                  <a:cubicBezTo>
                    <a:pt x="437" y="830"/>
                    <a:pt x="435" y="827"/>
                    <a:pt x="431" y="825"/>
                  </a:cubicBezTo>
                  <a:cubicBezTo>
                    <a:pt x="431" y="814"/>
                    <a:pt x="439" y="834"/>
                    <a:pt x="439" y="821"/>
                  </a:cubicBezTo>
                  <a:cubicBezTo>
                    <a:pt x="444" y="822"/>
                    <a:pt x="441" y="834"/>
                    <a:pt x="445" y="836"/>
                  </a:cubicBezTo>
                  <a:cubicBezTo>
                    <a:pt x="447" y="834"/>
                    <a:pt x="448" y="828"/>
                    <a:pt x="453" y="829"/>
                  </a:cubicBezTo>
                  <a:cubicBezTo>
                    <a:pt x="455" y="839"/>
                    <a:pt x="447" y="836"/>
                    <a:pt x="447" y="844"/>
                  </a:cubicBezTo>
                  <a:cubicBezTo>
                    <a:pt x="450" y="855"/>
                    <a:pt x="455" y="832"/>
                    <a:pt x="458" y="836"/>
                  </a:cubicBezTo>
                  <a:cubicBezTo>
                    <a:pt x="462" y="842"/>
                    <a:pt x="461" y="833"/>
                    <a:pt x="469" y="832"/>
                  </a:cubicBezTo>
                  <a:cubicBezTo>
                    <a:pt x="470" y="824"/>
                    <a:pt x="464" y="824"/>
                    <a:pt x="466" y="814"/>
                  </a:cubicBezTo>
                  <a:cubicBezTo>
                    <a:pt x="475" y="817"/>
                    <a:pt x="471" y="804"/>
                    <a:pt x="480" y="807"/>
                  </a:cubicBezTo>
                  <a:cubicBezTo>
                    <a:pt x="479" y="802"/>
                    <a:pt x="475" y="803"/>
                    <a:pt x="472" y="803"/>
                  </a:cubicBezTo>
                  <a:cubicBezTo>
                    <a:pt x="478" y="789"/>
                    <a:pt x="490" y="800"/>
                    <a:pt x="496" y="807"/>
                  </a:cubicBezTo>
                  <a:cubicBezTo>
                    <a:pt x="497" y="820"/>
                    <a:pt x="478" y="810"/>
                    <a:pt x="485" y="807"/>
                  </a:cubicBezTo>
                  <a:close/>
                  <a:moveTo>
                    <a:pt x="493" y="858"/>
                  </a:moveTo>
                  <a:cubicBezTo>
                    <a:pt x="490" y="857"/>
                    <a:pt x="488" y="854"/>
                    <a:pt x="488" y="847"/>
                  </a:cubicBezTo>
                  <a:cubicBezTo>
                    <a:pt x="491" y="849"/>
                    <a:pt x="493" y="852"/>
                    <a:pt x="493" y="858"/>
                  </a:cubicBezTo>
                  <a:close/>
                  <a:moveTo>
                    <a:pt x="501" y="877"/>
                  </a:moveTo>
                  <a:cubicBezTo>
                    <a:pt x="499" y="877"/>
                    <a:pt x="499" y="872"/>
                    <a:pt x="499" y="869"/>
                  </a:cubicBezTo>
                  <a:cubicBezTo>
                    <a:pt x="494" y="869"/>
                    <a:pt x="493" y="874"/>
                    <a:pt x="488" y="873"/>
                  </a:cubicBezTo>
                  <a:cubicBezTo>
                    <a:pt x="488" y="869"/>
                    <a:pt x="488" y="866"/>
                    <a:pt x="488" y="862"/>
                  </a:cubicBezTo>
                  <a:cubicBezTo>
                    <a:pt x="492" y="867"/>
                    <a:pt x="510" y="865"/>
                    <a:pt x="501" y="877"/>
                  </a:cubicBezTo>
                  <a:close/>
                  <a:moveTo>
                    <a:pt x="590" y="45"/>
                  </a:moveTo>
                  <a:cubicBezTo>
                    <a:pt x="589" y="30"/>
                    <a:pt x="606" y="42"/>
                    <a:pt x="606" y="30"/>
                  </a:cubicBezTo>
                  <a:cubicBezTo>
                    <a:pt x="613" y="35"/>
                    <a:pt x="593" y="53"/>
                    <a:pt x="590" y="45"/>
                  </a:cubicBezTo>
                  <a:close/>
                  <a:moveTo>
                    <a:pt x="612" y="137"/>
                  </a:moveTo>
                  <a:cubicBezTo>
                    <a:pt x="609" y="136"/>
                    <a:pt x="609" y="133"/>
                    <a:pt x="606" y="133"/>
                  </a:cubicBezTo>
                  <a:cubicBezTo>
                    <a:pt x="606" y="125"/>
                    <a:pt x="619" y="130"/>
                    <a:pt x="612" y="137"/>
                  </a:cubicBezTo>
                  <a:close/>
                  <a:moveTo>
                    <a:pt x="636" y="126"/>
                  </a:moveTo>
                  <a:cubicBezTo>
                    <a:pt x="647" y="128"/>
                    <a:pt x="633" y="147"/>
                    <a:pt x="636" y="126"/>
                  </a:cubicBezTo>
                  <a:close/>
                  <a:moveTo>
                    <a:pt x="644" y="137"/>
                  </a:moveTo>
                  <a:cubicBezTo>
                    <a:pt x="645" y="127"/>
                    <a:pt x="658" y="120"/>
                    <a:pt x="657" y="137"/>
                  </a:cubicBezTo>
                  <a:cubicBezTo>
                    <a:pt x="652" y="144"/>
                    <a:pt x="652" y="135"/>
                    <a:pt x="644" y="137"/>
                  </a:cubicBezTo>
                  <a:close/>
                  <a:moveTo>
                    <a:pt x="708" y="137"/>
                  </a:moveTo>
                  <a:cubicBezTo>
                    <a:pt x="703" y="138"/>
                    <a:pt x="700" y="136"/>
                    <a:pt x="700" y="130"/>
                  </a:cubicBezTo>
                  <a:cubicBezTo>
                    <a:pt x="704" y="126"/>
                    <a:pt x="707" y="133"/>
                    <a:pt x="708" y="133"/>
                  </a:cubicBezTo>
                  <a:cubicBezTo>
                    <a:pt x="713" y="134"/>
                    <a:pt x="715" y="127"/>
                    <a:pt x="716" y="133"/>
                  </a:cubicBezTo>
                  <a:cubicBezTo>
                    <a:pt x="718" y="146"/>
                    <a:pt x="711" y="139"/>
                    <a:pt x="708" y="137"/>
                  </a:cubicBezTo>
                  <a:close/>
                  <a:moveTo>
                    <a:pt x="716" y="100"/>
                  </a:moveTo>
                  <a:cubicBezTo>
                    <a:pt x="719" y="100"/>
                    <a:pt x="722" y="100"/>
                    <a:pt x="724" y="100"/>
                  </a:cubicBezTo>
                  <a:cubicBezTo>
                    <a:pt x="723" y="111"/>
                    <a:pt x="696" y="99"/>
                    <a:pt x="716" y="100"/>
                  </a:cubicBezTo>
                  <a:close/>
                  <a:moveTo>
                    <a:pt x="792" y="115"/>
                  </a:moveTo>
                  <a:cubicBezTo>
                    <a:pt x="786" y="114"/>
                    <a:pt x="786" y="106"/>
                    <a:pt x="786" y="96"/>
                  </a:cubicBezTo>
                  <a:cubicBezTo>
                    <a:pt x="791" y="96"/>
                    <a:pt x="795" y="96"/>
                    <a:pt x="800" y="96"/>
                  </a:cubicBezTo>
                  <a:cubicBezTo>
                    <a:pt x="797" y="103"/>
                    <a:pt x="793" y="107"/>
                    <a:pt x="792" y="115"/>
                  </a:cubicBezTo>
                  <a:close/>
                  <a:moveTo>
                    <a:pt x="816" y="111"/>
                  </a:moveTo>
                  <a:cubicBezTo>
                    <a:pt x="812" y="108"/>
                    <a:pt x="810" y="102"/>
                    <a:pt x="810" y="93"/>
                  </a:cubicBezTo>
                  <a:cubicBezTo>
                    <a:pt x="815" y="90"/>
                    <a:pt x="820" y="87"/>
                    <a:pt x="827" y="85"/>
                  </a:cubicBezTo>
                  <a:cubicBezTo>
                    <a:pt x="830" y="104"/>
                    <a:pt x="818" y="101"/>
                    <a:pt x="816" y="111"/>
                  </a:cubicBezTo>
                  <a:close/>
                  <a:moveTo>
                    <a:pt x="827" y="126"/>
                  </a:moveTo>
                  <a:cubicBezTo>
                    <a:pt x="827" y="121"/>
                    <a:pt x="835" y="125"/>
                    <a:pt x="835" y="119"/>
                  </a:cubicBezTo>
                  <a:cubicBezTo>
                    <a:pt x="843" y="123"/>
                    <a:pt x="829" y="134"/>
                    <a:pt x="827" y="126"/>
                  </a:cubicBezTo>
                  <a:close/>
                  <a:moveTo>
                    <a:pt x="870" y="152"/>
                  </a:moveTo>
                  <a:cubicBezTo>
                    <a:pt x="867" y="153"/>
                    <a:pt x="865" y="157"/>
                    <a:pt x="862" y="156"/>
                  </a:cubicBezTo>
                  <a:cubicBezTo>
                    <a:pt x="861" y="156"/>
                    <a:pt x="861" y="152"/>
                    <a:pt x="859" y="152"/>
                  </a:cubicBezTo>
                  <a:cubicBezTo>
                    <a:pt x="857" y="152"/>
                    <a:pt x="855" y="147"/>
                    <a:pt x="851" y="148"/>
                  </a:cubicBezTo>
                  <a:cubicBezTo>
                    <a:pt x="853" y="142"/>
                    <a:pt x="873" y="142"/>
                    <a:pt x="875" y="148"/>
                  </a:cubicBezTo>
                  <a:cubicBezTo>
                    <a:pt x="875" y="159"/>
                    <a:pt x="873" y="151"/>
                    <a:pt x="870" y="152"/>
                  </a:cubicBezTo>
                  <a:close/>
                  <a:moveTo>
                    <a:pt x="859" y="133"/>
                  </a:moveTo>
                  <a:cubicBezTo>
                    <a:pt x="859" y="128"/>
                    <a:pt x="859" y="123"/>
                    <a:pt x="856" y="122"/>
                  </a:cubicBezTo>
                  <a:cubicBezTo>
                    <a:pt x="860" y="114"/>
                    <a:pt x="871" y="127"/>
                    <a:pt x="878" y="126"/>
                  </a:cubicBezTo>
                  <a:cubicBezTo>
                    <a:pt x="872" y="133"/>
                    <a:pt x="867" y="138"/>
                    <a:pt x="859" y="133"/>
                  </a:cubicBezTo>
                  <a:close/>
                  <a:moveTo>
                    <a:pt x="886" y="104"/>
                  </a:moveTo>
                  <a:cubicBezTo>
                    <a:pt x="884" y="104"/>
                    <a:pt x="882" y="104"/>
                    <a:pt x="880" y="104"/>
                  </a:cubicBezTo>
                  <a:cubicBezTo>
                    <a:pt x="880" y="101"/>
                    <a:pt x="880" y="99"/>
                    <a:pt x="880" y="96"/>
                  </a:cubicBezTo>
                  <a:cubicBezTo>
                    <a:pt x="882" y="96"/>
                    <a:pt x="884" y="96"/>
                    <a:pt x="886" y="96"/>
                  </a:cubicBezTo>
                  <a:cubicBezTo>
                    <a:pt x="886" y="99"/>
                    <a:pt x="886" y="101"/>
                    <a:pt x="886" y="104"/>
                  </a:cubicBezTo>
                  <a:close/>
                  <a:moveTo>
                    <a:pt x="913" y="1239"/>
                  </a:moveTo>
                  <a:cubicBezTo>
                    <a:pt x="909" y="1234"/>
                    <a:pt x="912" y="1233"/>
                    <a:pt x="913" y="1228"/>
                  </a:cubicBezTo>
                  <a:cubicBezTo>
                    <a:pt x="916" y="1229"/>
                    <a:pt x="914" y="1235"/>
                    <a:pt x="918" y="1235"/>
                  </a:cubicBezTo>
                  <a:cubicBezTo>
                    <a:pt x="918" y="1239"/>
                    <a:pt x="915" y="1238"/>
                    <a:pt x="913" y="1239"/>
                  </a:cubicBezTo>
                  <a:close/>
                  <a:moveTo>
                    <a:pt x="926" y="119"/>
                  </a:moveTo>
                  <a:cubicBezTo>
                    <a:pt x="923" y="118"/>
                    <a:pt x="924" y="112"/>
                    <a:pt x="923" y="108"/>
                  </a:cubicBezTo>
                  <a:cubicBezTo>
                    <a:pt x="926" y="108"/>
                    <a:pt x="929" y="108"/>
                    <a:pt x="931" y="108"/>
                  </a:cubicBezTo>
                  <a:cubicBezTo>
                    <a:pt x="931" y="112"/>
                    <a:pt x="927" y="113"/>
                    <a:pt x="926" y="119"/>
                  </a:cubicBezTo>
                  <a:close/>
                  <a:moveTo>
                    <a:pt x="931" y="673"/>
                  </a:moveTo>
                  <a:cubicBezTo>
                    <a:pt x="928" y="672"/>
                    <a:pt x="929" y="664"/>
                    <a:pt x="929" y="659"/>
                  </a:cubicBezTo>
                  <a:cubicBezTo>
                    <a:pt x="935" y="660"/>
                    <a:pt x="935" y="668"/>
                    <a:pt x="931" y="673"/>
                  </a:cubicBezTo>
                  <a:close/>
                  <a:moveTo>
                    <a:pt x="956" y="385"/>
                  </a:moveTo>
                  <a:cubicBezTo>
                    <a:pt x="954" y="385"/>
                    <a:pt x="952" y="385"/>
                    <a:pt x="950" y="385"/>
                  </a:cubicBezTo>
                  <a:cubicBezTo>
                    <a:pt x="951" y="382"/>
                    <a:pt x="949" y="381"/>
                    <a:pt x="948" y="381"/>
                  </a:cubicBezTo>
                  <a:cubicBezTo>
                    <a:pt x="947" y="374"/>
                    <a:pt x="960" y="376"/>
                    <a:pt x="956" y="385"/>
                  </a:cubicBezTo>
                  <a:close/>
                  <a:moveTo>
                    <a:pt x="977" y="111"/>
                  </a:moveTo>
                  <a:cubicBezTo>
                    <a:pt x="977" y="108"/>
                    <a:pt x="977" y="104"/>
                    <a:pt x="977" y="100"/>
                  </a:cubicBezTo>
                  <a:cubicBezTo>
                    <a:pt x="980" y="100"/>
                    <a:pt x="983" y="100"/>
                    <a:pt x="985" y="100"/>
                  </a:cubicBezTo>
                  <a:cubicBezTo>
                    <a:pt x="982" y="104"/>
                    <a:pt x="984" y="114"/>
                    <a:pt x="977" y="111"/>
                  </a:cubicBezTo>
                  <a:close/>
                  <a:moveTo>
                    <a:pt x="993" y="688"/>
                  </a:moveTo>
                  <a:cubicBezTo>
                    <a:pt x="993" y="684"/>
                    <a:pt x="993" y="681"/>
                    <a:pt x="993" y="677"/>
                  </a:cubicBezTo>
                  <a:cubicBezTo>
                    <a:pt x="1001" y="672"/>
                    <a:pt x="1001" y="694"/>
                    <a:pt x="993" y="688"/>
                  </a:cubicBezTo>
                  <a:close/>
                  <a:moveTo>
                    <a:pt x="1009" y="1254"/>
                  </a:moveTo>
                  <a:cubicBezTo>
                    <a:pt x="1008" y="1254"/>
                    <a:pt x="1006" y="1254"/>
                    <a:pt x="1004" y="1254"/>
                  </a:cubicBezTo>
                  <a:cubicBezTo>
                    <a:pt x="1003" y="1244"/>
                    <a:pt x="1005" y="1238"/>
                    <a:pt x="1012" y="1239"/>
                  </a:cubicBezTo>
                  <a:cubicBezTo>
                    <a:pt x="1010" y="1242"/>
                    <a:pt x="1008" y="1249"/>
                    <a:pt x="1012" y="1250"/>
                  </a:cubicBezTo>
                  <a:cubicBezTo>
                    <a:pt x="1013" y="1254"/>
                    <a:pt x="1011" y="1254"/>
                    <a:pt x="1009" y="1254"/>
                  </a:cubicBezTo>
                  <a:close/>
                  <a:moveTo>
                    <a:pt x="1039" y="145"/>
                  </a:moveTo>
                  <a:cubicBezTo>
                    <a:pt x="1031" y="158"/>
                    <a:pt x="1030" y="133"/>
                    <a:pt x="1039" y="145"/>
                  </a:cubicBezTo>
                  <a:close/>
                  <a:moveTo>
                    <a:pt x="1074" y="133"/>
                  </a:moveTo>
                  <a:cubicBezTo>
                    <a:pt x="1071" y="132"/>
                    <a:pt x="1068" y="129"/>
                    <a:pt x="1069" y="122"/>
                  </a:cubicBezTo>
                  <a:cubicBezTo>
                    <a:pt x="1071" y="123"/>
                    <a:pt x="1071" y="121"/>
                    <a:pt x="1071" y="119"/>
                  </a:cubicBezTo>
                  <a:cubicBezTo>
                    <a:pt x="1074" y="121"/>
                    <a:pt x="1076" y="123"/>
                    <a:pt x="1079" y="122"/>
                  </a:cubicBezTo>
                  <a:cubicBezTo>
                    <a:pt x="1078" y="126"/>
                    <a:pt x="1073" y="126"/>
                    <a:pt x="1074" y="133"/>
                  </a:cubicBezTo>
                  <a:close/>
                  <a:moveTo>
                    <a:pt x="1085" y="640"/>
                  </a:moveTo>
                  <a:cubicBezTo>
                    <a:pt x="1083" y="640"/>
                    <a:pt x="1081" y="640"/>
                    <a:pt x="1079" y="640"/>
                  </a:cubicBezTo>
                  <a:cubicBezTo>
                    <a:pt x="1079" y="638"/>
                    <a:pt x="1079" y="635"/>
                    <a:pt x="1079" y="633"/>
                  </a:cubicBezTo>
                  <a:cubicBezTo>
                    <a:pt x="1081" y="633"/>
                    <a:pt x="1083" y="633"/>
                    <a:pt x="1085" y="633"/>
                  </a:cubicBezTo>
                  <a:cubicBezTo>
                    <a:pt x="1085" y="635"/>
                    <a:pt x="1085" y="638"/>
                    <a:pt x="1085" y="640"/>
                  </a:cubicBezTo>
                  <a:close/>
                  <a:moveTo>
                    <a:pt x="1096" y="1254"/>
                  </a:moveTo>
                  <a:cubicBezTo>
                    <a:pt x="1094" y="1254"/>
                    <a:pt x="1092" y="1254"/>
                    <a:pt x="1090" y="1254"/>
                  </a:cubicBezTo>
                  <a:cubicBezTo>
                    <a:pt x="1090" y="1252"/>
                    <a:pt x="1090" y="1249"/>
                    <a:pt x="1090" y="1247"/>
                  </a:cubicBezTo>
                  <a:cubicBezTo>
                    <a:pt x="1092" y="1247"/>
                    <a:pt x="1094" y="1247"/>
                    <a:pt x="1096" y="1247"/>
                  </a:cubicBezTo>
                  <a:cubicBezTo>
                    <a:pt x="1096" y="1249"/>
                    <a:pt x="1096" y="1252"/>
                    <a:pt x="1096" y="1254"/>
                  </a:cubicBezTo>
                  <a:close/>
                  <a:moveTo>
                    <a:pt x="1101" y="170"/>
                  </a:moveTo>
                  <a:cubicBezTo>
                    <a:pt x="1109" y="167"/>
                    <a:pt x="1111" y="174"/>
                    <a:pt x="1114" y="178"/>
                  </a:cubicBezTo>
                  <a:cubicBezTo>
                    <a:pt x="1116" y="181"/>
                    <a:pt x="1098" y="181"/>
                    <a:pt x="1101" y="170"/>
                  </a:cubicBezTo>
                  <a:close/>
                  <a:moveTo>
                    <a:pt x="1117" y="119"/>
                  </a:moveTo>
                  <a:cubicBezTo>
                    <a:pt x="1117" y="115"/>
                    <a:pt x="1120" y="116"/>
                    <a:pt x="1122" y="115"/>
                  </a:cubicBezTo>
                  <a:cubicBezTo>
                    <a:pt x="1125" y="115"/>
                    <a:pt x="1128" y="115"/>
                    <a:pt x="1131" y="115"/>
                  </a:cubicBezTo>
                  <a:cubicBezTo>
                    <a:pt x="1131" y="123"/>
                    <a:pt x="1121" y="117"/>
                    <a:pt x="1117" y="119"/>
                  </a:cubicBezTo>
                  <a:close/>
                  <a:moveTo>
                    <a:pt x="1125" y="1265"/>
                  </a:moveTo>
                  <a:cubicBezTo>
                    <a:pt x="1118" y="1258"/>
                    <a:pt x="1128" y="1249"/>
                    <a:pt x="1122" y="1239"/>
                  </a:cubicBezTo>
                  <a:cubicBezTo>
                    <a:pt x="1135" y="1240"/>
                    <a:pt x="1123" y="1256"/>
                    <a:pt x="1125" y="1265"/>
                  </a:cubicBezTo>
                  <a:close/>
                  <a:moveTo>
                    <a:pt x="1147" y="178"/>
                  </a:moveTo>
                  <a:cubicBezTo>
                    <a:pt x="1140" y="190"/>
                    <a:pt x="1134" y="168"/>
                    <a:pt x="1147" y="178"/>
                  </a:cubicBezTo>
                  <a:close/>
                  <a:moveTo>
                    <a:pt x="1171" y="189"/>
                  </a:moveTo>
                  <a:cubicBezTo>
                    <a:pt x="1167" y="185"/>
                    <a:pt x="1161" y="185"/>
                    <a:pt x="1157" y="182"/>
                  </a:cubicBezTo>
                  <a:cubicBezTo>
                    <a:pt x="1159" y="174"/>
                    <a:pt x="1176" y="175"/>
                    <a:pt x="1171" y="189"/>
                  </a:cubicBezTo>
                  <a:close/>
                  <a:moveTo>
                    <a:pt x="1176" y="1217"/>
                  </a:moveTo>
                  <a:cubicBezTo>
                    <a:pt x="1176" y="1214"/>
                    <a:pt x="1181" y="1213"/>
                    <a:pt x="1184" y="1213"/>
                  </a:cubicBezTo>
                  <a:cubicBezTo>
                    <a:pt x="1183" y="1213"/>
                    <a:pt x="1190" y="1219"/>
                    <a:pt x="1190" y="1217"/>
                  </a:cubicBezTo>
                  <a:cubicBezTo>
                    <a:pt x="1192" y="1224"/>
                    <a:pt x="1181" y="1219"/>
                    <a:pt x="1176" y="1217"/>
                  </a:cubicBezTo>
                  <a:close/>
                  <a:moveTo>
                    <a:pt x="1187" y="592"/>
                  </a:moveTo>
                  <a:cubicBezTo>
                    <a:pt x="1190" y="580"/>
                    <a:pt x="1190" y="602"/>
                    <a:pt x="1190" y="607"/>
                  </a:cubicBezTo>
                  <a:cubicBezTo>
                    <a:pt x="1187" y="619"/>
                    <a:pt x="1187" y="597"/>
                    <a:pt x="1187" y="592"/>
                  </a:cubicBezTo>
                  <a:close/>
                  <a:moveTo>
                    <a:pt x="1192" y="577"/>
                  </a:moveTo>
                  <a:cubicBezTo>
                    <a:pt x="1191" y="577"/>
                    <a:pt x="1190" y="574"/>
                    <a:pt x="1190" y="574"/>
                  </a:cubicBezTo>
                  <a:cubicBezTo>
                    <a:pt x="1188" y="573"/>
                    <a:pt x="1186" y="576"/>
                    <a:pt x="1187" y="577"/>
                  </a:cubicBezTo>
                  <a:cubicBezTo>
                    <a:pt x="1185" y="575"/>
                    <a:pt x="1185" y="574"/>
                    <a:pt x="1187" y="574"/>
                  </a:cubicBezTo>
                  <a:cubicBezTo>
                    <a:pt x="1188" y="573"/>
                    <a:pt x="1189" y="569"/>
                    <a:pt x="1192" y="570"/>
                  </a:cubicBezTo>
                  <a:cubicBezTo>
                    <a:pt x="1192" y="570"/>
                    <a:pt x="1204" y="581"/>
                    <a:pt x="1192" y="577"/>
                  </a:cubicBezTo>
                  <a:close/>
                  <a:moveTo>
                    <a:pt x="1200" y="133"/>
                  </a:moveTo>
                  <a:cubicBezTo>
                    <a:pt x="1203" y="133"/>
                    <a:pt x="1203" y="137"/>
                    <a:pt x="1203" y="137"/>
                  </a:cubicBezTo>
                  <a:cubicBezTo>
                    <a:pt x="1207" y="137"/>
                    <a:pt x="1219" y="134"/>
                    <a:pt x="1217" y="145"/>
                  </a:cubicBezTo>
                  <a:cubicBezTo>
                    <a:pt x="1213" y="139"/>
                    <a:pt x="1205" y="141"/>
                    <a:pt x="1198" y="141"/>
                  </a:cubicBezTo>
                  <a:cubicBezTo>
                    <a:pt x="1199" y="141"/>
                    <a:pt x="1200" y="134"/>
                    <a:pt x="1200" y="133"/>
                  </a:cubicBezTo>
                  <a:close/>
                  <a:moveTo>
                    <a:pt x="1200" y="189"/>
                  </a:moveTo>
                  <a:cubicBezTo>
                    <a:pt x="1201" y="184"/>
                    <a:pt x="1207" y="186"/>
                    <a:pt x="1211" y="185"/>
                  </a:cubicBezTo>
                  <a:cubicBezTo>
                    <a:pt x="1210" y="194"/>
                    <a:pt x="1204" y="194"/>
                    <a:pt x="1200" y="189"/>
                  </a:cubicBezTo>
                  <a:close/>
                  <a:moveTo>
                    <a:pt x="1208" y="1269"/>
                  </a:moveTo>
                  <a:cubicBezTo>
                    <a:pt x="1205" y="1257"/>
                    <a:pt x="1213" y="1260"/>
                    <a:pt x="1214" y="1254"/>
                  </a:cubicBezTo>
                  <a:cubicBezTo>
                    <a:pt x="1217" y="1255"/>
                    <a:pt x="1216" y="1263"/>
                    <a:pt x="1217" y="1269"/>
                  </a:cubicBezTo>
                  <a:cubicBezTo>
                    <a:pt x="1214" y="1269"/>
                    <a:pt x="1211" y="1269"/>
                    <a:pt x="1208" y="1269"/>
                  </a:cubicBezTo>
                  <a:close/>
                  <a:moveTo>
                    <a:pt x="1214" y="237"/>
                  </a:moveTo>
                  <a:cubicBezTo>
                    <a:pt x="1213" y="243"/>
                    <a:pt x="1210" y="236"/>
                    <a:pt x="1206" y="237"/>
                  </a:cubicBezTo>
                  <a:cubicBezTo>
                    <a:pt x="1208" y="227"/>
                    <a:pt x="1202" y="227"/>
                    <a:pt x="1203" y="218"/>
                  </a:cubicBezTo>
                  <a:cubicBezTo>
                    <a:pt x="1206" y="217"/>
                    <a:pt x="1207" y="226"/>
                    <a:pt x="1208" y="226"/>
                  </a:cubicBezTo>
                  <a:cubicBezTo>
                    <a:pt x="1213" y="227"/>
                    <a:pt x="1215" y="211"/>
                    <a:pt x="1222" y="222"/>
                  </a:cubicBezTo>
                  <a:cubicBezTo>
                    <a:pt x="1220" y="227"/>
                    <a:pt x="1204" y="229"/>
                    <a:pt x="1214" y="237"/>
                  </a:cubicBezTo>
                  <a:close/>
                  <a:moveTo>
                    <a:pt x="1340" y="152"/>
                  </a:moveTo>
                  <a:cubicBezTo>
                    <a:pt x="1341" y="154"/>
                    <a:pt x="1333" y="158"/>
                    <a:pt x="1332" y="156"/>
                  </a:cubicBezTo>
                  <a:cubicBezTo>
                    <a:pt x="1332" y="155"/>
                    <a:pt x="1332" y="152"/>
                    <a:pt x="1332" y="152"/>
                  </a:cubicBezTo>
                  <a:cubicBezTo>
                    <a:pt x="1329" y="152"/>
                    <a:pt x="1324" y="159"/>
                    <a:pt x="1321" y="152"/>
                  </a:cubicBezTo>
                  <a:cubicBezTo>
                    <a:pt x="1323" y="144"/>
                    <a:pt x="1338" y="148"/>
                    <a:pt x="1340" y="152"/>
                  </a:cubicBezTo>
                  <a:close/>
                  <a:moveTo>
                    <a:pt x="1316" y="574"/>
                  </a:moveTo>
                  <a:cubicBezTo>
                    <a:pt x="1314" y="561"/>
                    <a:pt x="1320" y="559"/>
                    <a:pt x="1319" y="548"/>
                  </a:cubicBezTo>
                  <a:cubicBezTo>
                    <a:pt x="1328" y="549"/>
                    <a:pt x="1324" y="574"/>
                    <a:pt x="1316" y="574"/>
                  </a:cubicBezTo>
                  <a:close/>
                  <a:moveTo>
                    <a:pt x="1281" y="130"/>
                  </a:moveTo>
                  <a:cubicBezTo>
                    <a:pt x="1285" y="118"/>
                    <a:pt x="1285" y="140"/>
                    <a:pt x="1278" y="137"/>
                  </a:cubicBezTo>
                  <a:cubicBezTo>
                    <a:pt x="1273" y="134"/>
                    <a:pt x="1281" y="135"/>
                    <a:pt x="1281" y="130"/>
                  </a:cubicBezTo>
                  <a:close/>
                  <a:moveTo>
                    <a:pt x="1260" y="137"/>
                  </a:moveTo>
                  <a:cubicBezTo>
                    <a:pt x="1267" y="141"/>
                    <a:pt x="1273" y="146"/>
                    <a:pt x="1284" y="145"/>
                  </a:cubicBezTo>
                  <a:cubicBezTo>
                    <a:pt x="1286" y="157"/>
                    <a:pt x="1278" y="151"/>
                    <a:pt x="1276" y="148"/>
                  </a:cubicBezTo>
                  <a:cubicBezTo>
                    <a:pt x="1274" y="158"/>
                    <a:pt x="1277" y="162"/>
                    <a:pt x="1284" y="159"/>
                  </a:cubicBezTo>
                  <a:cubicBezTo>
                    <a:pt x="1294" y="168"/>
                    <a:pt x="1255" y="158"/>
                    <a:pt x="1265" y="167"/>
                  </a:cubicBezTo>
                  <a:cubicBezTo>
                    <a:pt x="1264" y="177"/>
                    <a:pt x="1256" y="167"/>
                    <a:pt x="1260" y="159"/>
                  </a:cubicBezTo>
                  <a:cubicBezTo>
                    <a:pt x="1257" y="159"/>
                    <a:pt x="1254" y="159"/>
                    <a:pt x="1251" y="159"/>
                  </a:cubicBezTo>
                  <a:cubicBezTo>
                    <a:pt x="1251" y="153"/>
                    <a:pt x="1268" y="153"/>
                    <a:pt x="1268" y="159"/>
                  </a:cubicBezTo>
                  <a:cubicBezTo>
                    <a:pt x="1270" y="157"/>
                    <a:pt x="1272" y="153"/>
                    <a:pt x="1273" y="148"/>
                  </a:cubicBezTo>
                  <a:cubicBezTo>
                    <a:pt x="1264" y="154"/>
                    <a:pt x="1261" y="150"/>
                    <a:pt x="1251" y="148"/>
                  </a:cubicBezTo>
                  <a:cubicBezTo>
                    <a:pt x="1247" y="135"/>
                    <a:pt x="1261" y="146"/>
                    <a:pt x="1260" y="137"/>
                  </a:cubicBezTo>
                  <a:close/>
                  <a:moveTo>
                    <a:pt x="1276" y="237"/>
                  </a:moveTo>
                  <a:cubicBezTo>
                    <a:pt x="1274" y="237"/>
                    <a:pt x="1272" y="237"/>
                    <a:pt x="1270" y="237"/>
                  </a:cubicBezTo>
                  <a:cubicBezTo>
                    <a:pt x="1270" y="231"/>
                    <a:pt x="1273" y="231"/>
                    <a:pt x="1273" y="226"/>
                  </a:cubicBezTo>
                  <a:cubicBezTo>
                    <a:pt x="1279" y="228"/>
                    <a:pt x="1279" y="232"/>
                    <a:pt x="1276" y="237"/>
                  </a:cubicBezTo>
                  <a:close/>
                  <a:moveTo>
                    <a:pt x="1260" y="237"/>
                  </a:moveTo>
                  <a:cubicBezTo>
                    <a:pt x="1255" y="238"/>
                    <a:pt x="1254" y="234"/>
                    <a:pt x="1254" y="230"/>
                  </a:cubicBezTo>
                  <a:cubicBezTo>
                    <a:pt x="1240" y="238"/>
                    <a:pt x="1262" y="214"/>
                    <a:pt x="1260" y="237"/>
                  </a:cubicBezTo>
                  <a:close/>
                  <a:moveTo>
                    <a:pt x="1254" y="614"/>
                  </a:moveTo>
                  <a:cubicBezTo>
                    <a:pt x="1248" y="625"/>
                    <a:pt x="1253" y="587"/>
                    <a:pt x="1254" y="581"/>
                  </a:cubicBezTo>
                  <a:cubicBezTo>
                    <a:pt x="1258" y="583"/>
                    <a:pt x="1259" y="586"/>
                    <a:pt x="1260" y="592"/>
                  </a:cubicBezTo>
                  <a:cubicBezTo>
                    <a:pt x="1260" y="600"/>
                    <a:pt x="1250" y="603"/>
                    <a:pt x="1254" y="614"/>
                  </a:cubicBezTo>
                  <a:close/>
                  <a:moveTo>
                    <a:pt x="1227" y="148"/>
                  </a:moveTo>
                  <a:cubicBezTo>
                    <a:pt x="1225" y="149"/>
                    <a:pt x="1225" y="147"/>
                    <a:pt x="1225" y="145"/>
                  </a:cubicBezTo>
                  <a:cubicBezTo>
                    <a:pt x="1225" y="142"/>
                    <a:pt x="1225" y="140"/>
                    <a:pt x="1225" y="137"/>
                  </a:cubicBezTo>
                  <a:cubicBezTo>
                    <a:pt x="1233" y="134"/>
                    <a:pt x="1234" y="141"/>
                    <a:pt x="1241" y="141"/>
                  </a:cubicBezTo>
                  <a:cubicBezTo>
                    <a:pt x="1239" y="145"/>
                    <a:pt x="1235" y="145"/>
                    <a:pt x="1235" y="152"/>
                  </a:cubicBezTo>
                  <a:cubicBezTo>
                    <a:pt x="1233" y="152"/>
                    <a:pt x="1230" y="136"/>
                    <a:pt x="1227" y="148"/>
                  </a:cubicBezTo>
                  <a:close/>
                  <a:moveTo>
                    <a:pt x="1230" y="588"/>
                  </a:moveTo>
                  <a:cubicBezTo>
                    <a:pt x="1229" y="580"/>
                    <a:pt x="1230" y="574"/>
                    <a:pt x="1233" y="570"/>
                  </a:cubicBezTo>
                  <a:cubicBezTo>
                    <a:pt x="1235" y="572"/>
                    <a:pt x="1237" y="574"/>
                    <a:pt x="1238" y="570"/>
                  </a:cubicBezTo>
                  <a:cubicBezTo>
                    <a:pt x="1244" y="574"/>
                    <a:pt x="1234" y="587"/>
                    <a:pt x="1238" y="599"/>
                  </a:cubicBezTo>
                  <a:cubicBezTo>
                    <a:pt x="1232" y="601"/>
                    <a:pt x="1240" y="583"/>
                    <a:pt x="1230" y="588"/>
                  </a:cubicBezTo>
                  <a:close/>
                  <a:moveTo>
                    <a:pt x="1238" y="1273"/>
                  </a:moveTo>
                  <a:cubicBezTo>
                    <a:pt x="1246" y="1259"/>
                    <a:pt x="1247" y="1284"/>
                    <a:pt x="1238" y="1273"/>
                  </a:cubicBezTo>
                  <a:close/>
                  <a:moveTo>
                    <a:pt x="1254" y="1239"/>
                  </a:moveTo>
                  <a:cubicBezTo>
                    <a:pt x="1257" y="1241"/>
                    <a:pt x="1260" y="1244"/>
                    <a:pt x="1260" y="1250"/>
                  </a:cubicBezTo>
                  <a:cubicBezTo>
                    <a:pt x="1256" y="1249"/>
                    <a:pt x="1254" y="1246"/>
                    <a:pt x="1254" y="1239"/>
                  </a:cubicBezTo>
                  <a:close/>
                  <a:moveTo>
                    <a:pt x="1260" y="1235"/>
                  </a:moveTo>
                  <a:cubicBezTo>
                    <a:pt x="1251" y="1233"/>
                    <a:pt x="1246" y="1228"/>
                    <a:pt x="1238" y="1225"/>
                  </a:cubicBezTo>
                  <a:cubicBezTo>
                    <a:pt x="1238" y="1215"/>
                    <a:pt x="1247" y="1223"/>
                    <a:pt x="1249" y="1225"/>
                  </a:cubicBezTo>
                  <a:cubicBezTo>
                    <a:pt x="1251" y="1224"/>
                    <a:pt x="1251" y="1220"/>
                    <a:pt x="1251" y="1217"/>
                  </a:cubicBezTo>
                  <a:cubicBezTo>
                    <a:pt x="1260" y="1215"/>
                    <a:pt x="1260" y="1225"/>
                    <a:pt x="1260" y="1235"/>
                  </a:cubicBezTo>
                  <a:close/>
                  <a:moveTo>
                    <a:pt x="1260" y="193"/>
                  </a:moveTo>
                  <a:cubicBezTo>
                    <a:pt x="1265" y="183"/>
                    <a:pt x="1269" y="196"/>
                    <a:pt x="1276" y="189"/>
                  </a:cubicBezTo>
                  <a:cubicBezTo>
                    <a:pt x="1278" y="203"/>
                    <a:pt x="1261" y="196"/>
                    <a:pt x="1260" y="193"/>
                  </a:cubicBezTo>
                  <a:close/>
                  <a:moveTo>
                    <a:pt x="1270" y="1261"/>
                  </a:moveTo>
                  <a:cubicBezTo>
                    <a:pt x="1274" y="1262"/>
                    <a:pt x="1271" y="1273"/>
                    <a:pt x="1276" y="1273"/>
                  </a:cubicBezTo>
                  <a:cubicBezTo>
                    <a:pt x="1274" y="1282"/>
                    <a:pt x="1268" y="1269"/>
                    <a:pt x="1270" y="1261"/>
                  </a:cubicBezTo>
                  <a:close/>
                  <a:moveTo>
                    <a:pt x="1284" y="1232"/>
                  </a:moveTo>
                  <a:cubicBezTo>
                    <a:pt x="1281" y="1228"/>
                    <a:pt x="1274" y="1231"/>
                    <a:pt x="1276" y="1221"/>
                  </a:cubicBezTo>
                  <a:cubicBezTo>
                    <a:pt x="1282" y="1220"/>
                    <a:pt x="1284" y="1224"/>
                    <a:pt x="1284" y="1232"/>
                  </a:cubicBezTo>
                  <a:close/>
                  <a:moveTo>
                    <a:pt x="1286" y="603"/>
                  </a:moveTo>
                  <a:cubicBezTo>
                    <a:pt x="1277" y="603"/>
                    <a:pt x="1292" y="591"/>
                    <a:pt x="1284" y="592"/>
                  </a:cubicBezTo>
                  <a:cubicBezTo>
                    <a:pt x="1290" y="581"/>
                    <a:pt x="1289" y="597"/>
                    <a:pt x="1286" y="603"/>
                  </a:cubicBezTo>
                  <a:close/>
                  <a:moveTo>
                    <a:pt x="1292" y="585"/>
                  </a:moveTo>
                  <a:cubicBezTo>
                    <a:pt x="1285" y="584"/>
                    <a:pt x="1286" y="572"/>
                    <a:pt x="1286" y="562"/>
                  </a:cubicBezTo>
                  <a:cubicBezTo>
                    <a:pt x="1296" y="559"/>
                    <a:pt x="1290" y="577"/>
                    <a:pt x="1292" y="585"/>
                  </a:cubicBezTo>
                  <a:close/>
                  <a:moveTo>
                    <a:pt x="1292" y="152"/>
                  </a:moveTo>
                  <a:cubicBezTo>
                    <a:pt x="1283" y="149"/>
                    <a:pt x="1317" y="141"/>
                    <a:pt x="1313" y="156"/>
                  </a:cubicBezTo>
                  <a:cubicBezTo>
                    <a:pt x="1309" y="150"/>
                    <a:pt x="1300" y="152"/>
                    <a:pt x="1292" y="152"/>
                  </a:cubicBezTo>
                  <a:close/>
                  <a:moveTo>
                    <a:pt x="1316" y="170"/>
                  </a:moveTo>
                  <a:cubicBezTo>
                    <a:pt x="1315" y="175"/>
                    <a:pt x="1313" y="178"/>
                    <a:pt x="1308" y="178"/>
                  </a:cubicBezTo>
                  <a:cubicBezTo>
                    <a:pt x="1309" y="173"/>
                    <a:pt x="1311" y="170"/>
                    <a:pt x="1316" y="170"/>
                  </a:cubicBezTo>
                  <a:close/>
                  <a:moveTo>
                    <a:pt x="1294" y="603"/>
                  </a:moveTo>
                  <a:cubicBezTo>
                    <a:pt x="1297" y="600"/>
                    <a:pt x="1297" y="595"/>
                    <a:pt x="1297" y="588"/>
                  </a:cubicBezTo>
                  <a:cubicBezTo>
                    <a:pt x="1305" y="589"/>
                    <a:pt x="1302" y="604"/>
                    <a:pt x="1294" y="603"/>
                  </a:cubicBezTo>
                  <a:close/>
                  <a:moveTo>
                    <a:pt x="1305" y="577"/>
                  </a:moveTo>
                  <a:cubicBezTo>
                    <a:pt x="1303" y="585"/>
                    <a:pt x="1304" y="585"/>
                    <a:pt x="1303" y="577"/>
                  </a:cubicBezTo>
                  <a:cubicBezTo>
                    <a:pt x="1303" y="569"/>
                    <a:pt x="1306" y="562"/>
                    <a:pt x="1308" y="555"/>
                  </a:cubicBezTo>
                  <a:cubicBezTo>
                    <a:pt x="1312" y="552"/>
                    <a:pt x="1308" y="570"/>
                    <a:pt x="1305" y="577"/>
                  </a:cubicBezTo>
                  <a:close/>
                  <a:moveTo>
                    <a:pt x="1300" y="200"/>
                  </a:moveTo>
                  <a:cubicBezTo>
                    <a:pt x="1301" y="192"/>
                    <a:pt x="1313" y="198"/>
                    <a:pt x="1319" y="196"/>
                  </a:cubicBezTo>
                  <a:cubicBezTo>
                    <a:pt x="1317" y="202"/>
                    <a:pt x="1315" y="206"/>
                    <a:pt x="1313" y="211"/>
                  </a:cubicBezTo>
                  <a:cubicBezTo>
                    <a:pt x="1306" y="211"/>
                    <a:pt x="1310" y="195"/>
                    <a:pt x="1300" y="200"/>
                  </a:cubicBezTo>
                  <a:close/>
                  <a:moveTo>
                    <a:pt x="1324" y="603"/>
                  </a:moveTo>
                  <a:cubicBezTo>
                    <a:pt x="1322" y="601"/>
                    <a:pt x="1317" y="597"/>
                    <a:pt x="1316" y="603"/>
                  </a:cubicBezTo>
                  <a:cubicBezTo>
                    <a:pt x="1313" y="602"/>
                    <a:pt x="1314" y="599"/>
                    <a:pt x="1316" y="599"/>
                  </a:cubicBezTo>
                  <a:cubicBezTo>
                    <a:pt x="1316" y="595"/>
                    <a:pt x="1315" y="593"/>
                    <a:pt x="1313" y="592"/>
                  </a:cubicBezTo>
                  <a:cubicBezTo>
                    <a:pt x="1316" y="582"/>
                    <a:pt x="1328" y="592"/>
                    <a:pt x="1324" y="603"/>
                  </a:cubicBezTo>
                  <a:close/>
                  <a:moveTo>
                    <a:pt x="1327" y="607"/>
                  </a:moveTo>
                  <a:cubicBezTo>
                    <a:pt x="1330" y="608"/>
                    <a:pt x="1329" y="614"/>
                    <a:pt x="1332" y="614"/>
                  </a:cubicBezTo>
                  <a:cubicBezTo>
                    <a:pt x="1331" y="624"/>
                    <a:pt x="1324" y="614"/>
                    <a:pt x="1327" y="607"/>
                  </a:cubicBezTo>
                  <a:close/>
                  <a:moveTo>
                    <a:pt x="1329" y="1235"/>
                  </a:moveTo>
                  <a:cubicBezTo>
                    <a:pt x="1329" y="1232"/>
                    <a:pt x="1329" y="1228"/>
                    <a:pt x="1329" y="1225"/>
                  </a:cubicBezTo>
                  <a:cubicBezTo>
                    <a:pt x="1337" y="1219"/>
                    <a:pt x="1337" y="1241"/>
                    <a:pt x="1329" y="1235"/>
                  </a:cubicBezTo>
                  <a:close/>
                  <a:moveTo>
                    <a:pt x="1329" y="555"/>
                  </a:moveTo>
                  <a:cubicBezTo>
                    <a:pt x="1329" y="551"/>
                    <a:pt x="1337" y="542"/>
                    <a:pt x="1338" y="551"/>
                  </a:cubicBezTo>
                  <a:cubicBezTo>
                    <a:pt x="1337" y="555"/>
                    <a:pt x="1339" y="555"/>
                    <a:pt x="1340" y="555"/>
                  </a:cubicBezTo>
                  <a:cubicBezTo>
                    <a:pt x="1338" y="566"/>
                    <a:pt x="1334" y="552"/>
                    <a:pt x="1329" y="555"/>
                  </a:cubicBezTo>
                  <a:close/>
                  <a:moveTo>
                    <a:pt x="1348" y="1232"/>
                  </a:moveTo>
                  <a:cubicBezTo>
                    <a:pt x="1348" y="1236"/>
                    <a:pt x="1349" y="1238"/>
                    <a:pt x="1351" y="1239"/>
                  </a:cubicBezTo>
                  <a:cubicBezTo>
                    <a:pt x="1346" y="1252"/>
                    <a:pt x="1347" y="1229"/>
                    <a:pt x="1338" y="1235"/>
                  </a:cubicBezTo>
                  <a:cubicBezTo>
                    <a:pt x="1338" y="1226"/>
                    <a:pt x="1347" y="1228"/>
                    <a:pt x="1354" y="1228"/>
                  </a:cubicBezTo>
                  <a:cubicBezTo>
                    <a:pt x="1354" y="1232"/>
                    <a:pt x="1350" y="1231"/>
                    <a:pt x="1348" y="1232"/>
                  </a:cubicBezTo>
                  <a:close/>
                  <a:moveTo>
                    <a:pt x="1628" y="326"/>
                  </a:moveTo>
                  <a:cubicBezTo>
                    <a:pt x="1627" y="327"/>
                    <a:pt x="1624" y="337"/>
                    <a:pt x="1623" y="337"/>
                  </a:cubicBezTo>
                  <a:cubicBezTo>
                    <a:pt x="1619" y="338"/>
                    <a:pt x="1619" y="324"/>
                    <a:pt x="1628" y="326"/>
                  </a:cubicBezTo>
                  <a:close/>
                  <a:moveTo>
                    <a:pt x="1628" y="1202"/>
                  </a:moveTo>
                  <a:cubicBezTo>
                    <a:pt x="1625" y="1201"/>
                    <a:pt x="1622" y="1198"/>
                    <a:pt x="1623" y="1191"/>
                  </a:cubicBezTo>
                  <a:cubicBezTo>
                    <a:pt x="1626" y="1193"/>
                    <a:pt x="1628" y="1196"/>
                    <a:pt x="1628" y="1202"/>
                  </a:cubicBezTo>
                  <a:close/>
                  <a:moveTo>
                    <a:pt x="1617" y="1235"/>
                  </a:moveTo>
                  <a:cubicBezTo>
                    <a:pt x="1611" y="1248"/>
                    <a:pt x="1604" y="1225"/>
                    <a:pt x="1617" y="1235"/>
                  </a:cubicBezTo>
                  <a:close/>
                  <a:moveTo>
                    <a:pt x="1609" y="1180"/>
                  </a:moveTo>
                  <a:cubicBezTo>
                    <a:pt x="1607" y="1179"/>
                    <a:pt x="1607" y="1182"/>
                    <a:pt x="1606" y="1184"/>
                  </a:cubicBezTo>
                  <a:cubicBezTo>
                    <a:pt x="1603" y="1183"/>
                    <a:pt x="1604" y="1177"/>
                    <a:pt x="1604" y="1173"/>
                  </a:cubicBezTo>
                  <a:cubicBezTo>
                    <a:pt x="1608" y="1171"/>
                    <a:pt x="1609" y="1176"/>
                    <a:pt x="1609" y="1180"/>
                  </a:cubicBezTo>
                  <a:close/>
                  <a:moveTo>
                    <a:pt x="1604" y="226"/>
                  </a:moveTo>
                  <a:cubicBezTo>
                    <a:pt x="1608" y="225"/>
                    <a:pt x="1608" y="247"/>
                    <a:pt x="1601" y="241"/>
                  </a:cubicBezTo>
                  <a:cubicBezTo>
                    <a:pt x="1600" y="233"/>
                    <a:pt x="1603" y="231"/>
                    <a:pt x="1604" y="226"/>
                  </a:cubicBezTo>
                  <a:close/>
                  <a:moveTo>
                    <a:pt x="1604" y="740"/>
                  </a:moveTo>
                  <a:cubicBezTo>
                    <a:pt x="1603" y="743"/>
                    <a:pt x="1605" y="743"/>
                    <a:pt x="1606" y="744"/>
                  </a:cubicBezTo>
                  <a:cubicBezTo>
                    <a:pt x="1605" y="755"/>
                    <a:pt x="1601" y="740"/>
                    <a:pt x="1596" y="744"/>
                  </a:cubicBezTo>
                  <a:cubicBezTo>
                    <a:pt x="1595" y="739"/>
                    <a:pt x="1603" y="731"/>
                    <a:pt x="1604" y="740"/>
                  </a:cubicBezTo>
                  <a:close/>
                  <a:moveTo>
                    <a:pt x="1593" y="551"/>
                  </a:moveTo>
                  <a:cubicBezTo>
                    <a:pt x="1599" y="553"/>
                    <a:pt x="1595" y="571"/>
                    <a:pt x="1593" y="574"/>
                  </a:cubicBezTo>
                  <a:cubicBezTo>
                    <a:pt x="1585" y="570"/>
                    <a:pt x="1594" y="558"/>
                    <a:pt x="1593" y="551"/>
                  </a:cubicBezTo>
                  <a:close/>
                  <a:moveTo>
                    <a:pt x="1588" y="611"/>
                  </a:moveTo>
                  <a:cubicBezTo>
                    <a:pt x="1589" y="600"/>
                    <a:pt x="1592" y="616"/>
                    <a:pt x="1596" y="614"/>
                  </a:cubicBezTo>
                  <a:cubicBezTo>
                    <a:pt x="1595" y="619"/>
                    <a:pt x="1591" y="617"/>
                    <a:pt x="1588" y="618"/>
                  </a:cubicBezTo>
                  <a:cubicBezTo>
                    <a:pt x="1587" y="615"/>
                    <a:pt x="1589" y="614"/>
                    <a:pt x="1590" y="614"/>
                  </a:cubicBezTo>
                  <a:cubicBezTo>
                    <a:pt x="1591" y="611"/>
                    <a:pt x="1589" y="611"/>
                    <a:pt x="1588" y="611"/>
                  </a:cubicBezTo>
                  <a:close/>
                  <a:moveTo>
                    <a:pt x="1593" y="636"/>
                  </a:moveTo>
                  <a:cubicBezTo>
                    <a:pt x="1593" y="639"/>
                    <a:pt x="1593" y="641"/>
                    <a:pt x="1593" y="644"/>
                  </a:cubicBezTo>
                  <a:cubicBezTo>
                    <a:pt x="1580" y="648"/>
                    <a:pt x="1588" y="624"/>
                    <a:pt x="1593" y="636"/>
                  </a:cubicBezTo>
                  <a:close/>
                  <a:moveTo>
                    <a:pt x="1580" y="577"/>
                  </a:moveTo>
                  <a:cubicBezTo>
                    <a:pt x="1581" y="567"/>
                    <a:pt x="1583" y="586"/>
                    <a:pt x="1582" y="588"/>
                  </a:cubicBezTo>
                  <a:cubicBezTo>
                    <a:pt x="1581" y="596"/>
                    <a:pt x="1577" y="591"/>
                    <a:pt x="1580" y="577"/>
                  </a:cubicBezTo>
                  <a:close/>
                  <a:moveTo>
                    <a:pt x="1577" y="263"/>
                  </a:moveTo>
                  <a:cubicBezTo>
                    <a:pt x="1575" y="274"/>
                    <a:pt x="1571" y="259"/>
                    <a:pt x="1566" y="263"/>
                  </a:cubicBezTo>
                  <a:cubicBezTo>
                    <a:pt x="1566" y="258"/>
                    <a:pt x="1566" y="252"/>
                    <a:pt x="1563" y="252"/>
                  </a:cubicBezTo>
                  <a:cubicBezTo>
                    <a:pt x="1565" y="245"/>
                    <a:pt x="1568" y="251"/>
                    <a:pt x="1569" y="252"/>
                  </a:cubicBezTo>
                  <a:cubicBezTo>
                    <a:pt x="1570" y="252"/>
                    <a:pt x="1573" y="251"/>
                    <a:pt x="1574" y="252"/>
                  </a:cubicBezTo>
                  <a:cubicBezTo>
                    <a:pt x="1574" y="252"/>
                    <a:pt x="1570" y="268"/>
                    <a:pt x="1577" y="263"/>
                  </a:cubicBezTo>
                  <a:close/>
                  <a:moveTo>
                    <a:pt x="1563" y="707"/>
                  </a:moveTo>
                  <a:cubicBezTo>
                    <a:pt x="1561" y="705"/>
                    <a:pt x="1561" y="704"/>
                    <a:pt x="1563" y="703"/>
                  </a:cubicBezTo>
                  <a:cubicBezTo>
                    <a:pt x="1564" y="703"/>
                    <a:pt x="1563" y="700"/>
                    <a:pt x="1563" y="699"/>
                  </a:cubicBezTo>
                  <a:cubicBezTo>
                    <a:pt x="1566" y="696"/>
                    <a:pt x="1570" y="704"/>
                    <a:pt x="1569" y="707"/>
                  </a:cubicBezTo>
                  <a:cubicBezTo>
                    <a:pt x="1567" y="710"/>
                    <a:pt x="1566" y="703"/>
                    <a:pt x="1566" y="703"/>
                  </a:cubicBezTo>
                  <a:cubicBezTo>
                    <a:pt x="1565" y="703"/>
                    <a:pt x="1562" y="706"/>
                    <a:pt x="1563" y="707"/>
                  </a:cubicBezTo>
                  <a:close/>
                  <a:moveTo>
                    <a:pt x="1566" y="640"/>
                  </a:moveTo>
                  <a:cubicBezTo>
                    <a:pt x="1564" y="640"/>
                    <a:pt x="1562" y="635"/>
                    <a:pt x="1558" y="636"/>
                  </a:cubicBezTo>
                  <a:cubicBezTo>
                    <a:pt x="1561" y="630"/>
                    <a:pt x="1569" y="630"/>
                    <a:pt x="1571" y="633"/>
                  </a:cubicBezTo>
                  <a:cubicBezTo>
                    <a:pt x="1573" y="634"/>
                    <a:pt x="1567" y="640"/>
                    <a:pt x="1566" y="640"/>
                  </a:cubicBezTo>
                  <a:close/>
                  <a:moveTo>
                    <a:pt x="1561" y="618"/>
                  </a:moveTo>
                  <a:cubicBezTo>
                    <a:pt x="1569" y="604"/>
                    <a:pt x="1570" y="629"/>
                    <a:pt x="1561" y="618"/>
                  </a:cubicBezTo>
                  <a:close/>
                  <a:moveTo>
                    <a:pt x="1569" y="599"/>
                  </a:moveTo>
                  <a:cubicBezTo>
                    <a:pt x="1569" y="594"/>
                    <a:pt x="1569" y="589"/>
                    <a:pt x="1566" y="588"/>
                  </a:cubicBezTo>
                  <a:cubicBezTo>
                    <a:pt x="1566" y="585"/>
                    <a:pt x="1567" y="585"/>
                    <a:pt x="1569" y="585"/>
                  </a:cubicBezTo>
                  <a:cubicBezTo>
                    <a:pt x="1571" y="585"/>
                    <a:pt x="1572" y="585"/>
                    <a:pt x="1574" y="585"/>
                  </a:cubicBezTo>
                  <a:cubicBezTo>
                    <a:pt x="1571" y="596"/>
                    <a:pt x="1573" y="594"/>
                    <a:pt x="1577" y="603"/>
                  </a:cubicBezTo>
                  <a:cubicBezTo>
                    <a:pt x="1574" y="616"/>
                    <a:pt x="1576" y="593"/>
                    <a:pt x="1569" y="599"/>
                  </a:cubicBezTo>
                  <a:close/>
                  <a:moveTo>
                    <a:pt x="1539" y="196"/>
                  </a:moveTo>
                  <a:cubicBezTo>
                    <a:pt x="1546" y="192"/>
                    <a:pt x="1550" y="207"/>
                    <a:pt x="1553" y="196"/>
                  </a:cubicBezTo>
                  <a:cubicBezTo>
                    <a:pt x="1556" y="198"/>
                    <a:pt x="1553" y="203"/>
                    <a:pt x="1550" y="204"/>
                  </a:cubicBezTo>
                  <a:cubicBezTo>
                    <a:pt x="1555" y="217"/>
                    <a:pt x="1557" y="197"/>
                    <a:pt x="1563" y="200"/>
                  </a:cubicBezTo>
                  <a:cubicBezTo>
                    <a:pt x="1561" y="203"/>
                    <a:pt x="1560" y="208"/>
                    <a:pt x="1561" y="215"/>
                  </a:cubicBezTo>
                  <a:cubicBezTo>
                    <a:pt x="1551" y="218"/>
                    <a:pt x="1548" y="211"/>
                    <a:pt x="1547" y="200"/>
                  </a:cubicBezTo>
                  <a:cubicBezTo>
                    <a:pt x="1537" y="195"/>
                    <a:pt x="1547" y="217"/>
                    <a:pt x="1536" y="211"/>
                  </a:cubicBezTo>
                  <a:cubicBezTo>
                    <a:pt x="1539" y="208"/>
                    <a:pt x="1539" y="203"/>
                    <a:pt x="1539" y="196"/>
                  </a:cubicBezTo>
                  <a:close/>
                  <a:moveTo>
                    <a:pt x="1571" y="222"/>
                  </a:moveTo>
                  <a:cubicBezTo>
                    <a:pt x="1571" y="227"/>
                    <a:pt x="1571" y="233"/>
                    <a:pt x="1574" y="233"/>
                  </a:cubicBezTo>
                  <a:cubicBezTo>
                    <a:pt x="1574" y="237"/>
                    <a:pt x="1571" y="236"/>
                    <a:pt x="1569" y="237"/>
                  </a:cubicBezTo>
                  <a:cubicBezTo>
                    <a:pt x="1566" y="239"/>
                    <a:pt x="1567" y="230"/>
                    <a:pt x="1566" y="230"/>
                  </a:cubicBezTo>
                  <a:cubicBezTo>
                    <a:pt x="1562" y="229"/>
                    <a:pt x="1558" y="234"/>
                    <a:pt x="1553" y="233"/>
                  </a:cubicBezTo>
                  <a:cubicBezTo>
                    <a:pt x="1553" y="233"/>
                    <a:pt x="1552" y="230"/>
                    <a:pt x="1550" y="230"/>
                  </a:cubicBezTo>
                  <a:cubicBezTo>
                    <a:pt x="1546" y="229"/>
                    <a:pt x="1537" y="229"/>
                    <a:pt x="1536" y="218"/>
                  </a:cubicBezTo>
                  <a:cubicBezTo>
                    <a:pt x="1548" y="219"/>
                    <a:pt x="1557" y="224"/>
                    <a:pt x="1571" y="222"/>
                  </a:cubicBezTo>
                  <a:close/>
                  <a:moveTo>
                    <a:pt x="1550" y="1221"/>
                  </a:moveTo>
                  <a:cubicBezTo>
                    <a:pt x="1554" y="1221"/>
                    <a:pt x="1551" y="1232"/>
                    <a:pt x="1555" y="1232"/>
                  </a:cubicBezTo>
                  <a:cubicBezTo>
                    <a:pt x="1554" y="1243"/>
                    <a:pt x="1550" y="1228"/>
                    <a:pt x="1545" y="1232"/>
                  </a:cubicBezTo>
                  <a:cubicBezTo>
                    <a:pt x="1545" y="1226"/>
                    <a:pt x="1545" y="1220"/>
                    <a:pt x="1545" y="1213"/>
                  </a:cubicBezTo>
                  <a:cubicBezTo>
                    <a:pt x="1548" y="1214"/>
                    <a:pt x="1546" y="1220"/>
                    <a:pt x="1550" y="1221"/>
                  </a:cubicBezTo>
                  <a:close/>
                  <a:moveTo>
                    <a:pt x="1528" y="200"/>
                  </a:moveTo>
                  <a:cubicBezTo>
                    <a:pt x="1523" y="202"/>
                    <a:pt x="1523" y="195"/>
                    <a:pt x="1523" y="189"/>
                  </a:cubicBezTo>
                  <a:cubicBezTo>
                    <a:pt x="1520" y="188"/>
                    <a:pt x="1518" y="190"/>
                    <a:pt x="1518" y="193"/>
                  </a:cubicBezTo>
                  <a:cubicBezTo>
                    <a:pt x="1508" y="182"/>
                    <a:pt x="1535" y="183"/>
                    <a:pt x="1528" y="200"/>
                  </a:cubicBezTo>
                  <a:close/>
                  <a:moveTo>
                    <a:pt x="1523" y="259"/>
                  </a:moveTo>
                  <a:cubicBezTo>
                    <a:pt x="1521" y="265"/>
                    <a:pt x="1519" y="271"/>
                    <a:pt x="1512" y="270"/>
                  </a:cubicBezTo>
                  <a:cubicBezTo>
                    <a:pt x="1514" y="263"/>
                    <a:pt x="1513" y="250"/>
                    <a:pt x="1523" y="259"/>
                  </a:cubicBezTo>
                  <a:close/>
                  <a:moveTo>
                    <a:pt x="1483" y="174"/>
                  </a:moveTo>
                  <a:cubicBezTo>
                    <a:pt x="1485" y="174"/>
                    <a:pt x="1486" y="174"/>
                    <a:pt x="1488" y="174"/>
                  </a:cubicBezTo>
                  <a:cubicBezTo>
                    <a:pt x="1489" y="185"/>
                    <a:pt x="1468" y="173"/>
                    <a:pt x="1483" y="174"/>
                  </a:cubicBezTo>
                  <a:close/>
                  <a:moveTo>
                    <a:pt x="1464" y="163"/>
                  </a:moveTo>
                  <a:cubicBezTo>
                    <a:pt x="1464" y="170"/>
                    <a:pt x="1467" y="171"/>
                    <a:pt x="1467" y="178"/>
                  </a:cubicBezTo>
                  <a:cubicBezTo>
                    <a:pt x="1463" y="178"/>
                    <a:pt x="1459" y="178"/>
                    <a:pt x="1456" y="178"/>
                  </a:cubicBezTo>
                  <a:cubicBezTo>
                    <a:pt x="1451" y="171"/>
                    <a:pt x="1460" y="165"/>
                    <a:pt x="1448" y="167"/>
                  </a:cubicBezTo>
                  <a:cubicBezTo>
                    <a:pt x="1440" y="161"/>
                    <a:pt x="1459" y="163"/>
                    <a:pt x="1464" y="163"/>
                  </a:cubicBezTo>
                  <a:close/>
                  <a:moveTo>
                    <a:pt x="1464" y="662"/>
                  </a:moveTo>
                  <a:cubicBezTo>
                    <a:pt x="1467" y="663"/>
                    <a:pt x="1466" y="670"/>
                    <a:pt x="1469" y="670"/>
                  </a:cubicBezTo>
                  <a:cubicBezTo>
                    <a:pt x="1470" y="673"/>
                    <a:pt x="1468" y="673"/>
                    <a:pt x="1467" y="673"/>
                  </a:cubicBezTo>
                  <a:cubicBezTo>
                    <a:pt x="1463" y="681"/>
                    <a:pt x="1467" y="670"/>
                    <a:pt x="1464" y="662"/>
                  </a:cubicBezTo>
                  <a:close/>
                  <a:moveTo>
                    <a:pt x="1445" y="562"/>
                  </a:moveTo>
                  <a:cubicBezTo>
                    <a:pt x="1444" y="561"/>
                    <a:pt x="1442" y="558"/>
                    <a:pt x="1445" y="562"/>
                  </a:cubicBezTo>
                  <a:cubicBezTo>
                    <a:pt x="1452" y="568"/>
                    <a:pt x="1449" y="572"/>
                    <a:pt x="1445" y="585"/>
                  </a:cubicBezTo>
                  <a:cubicBezTo>
                    <a:pt x="1442" y="584"/>
                    <a:pt x="1444" y="581"/>
                    <a:pt x="1445" y="581"/>
                  </a:cubicBezTo>
                  <a:cubicBezTo>
                    <a:pt x="1443" y="574"/>
                    <a:pt x="1440" y="580"/>
                    <a:pt x="1437" y="581"/>
                  </a:cubicBezTo>
                  <a:cubicBezTo>
                    <a:pt x="1431" y="589"/>
                    <a:pt x="1442" y="569"/>
                    <a:pt x="1448" y="570"/>
                  </a:cubicBezTo>
                  <a:cubicBezTo>
                    <a:pt x="1447" y="567"/>
                    <a:pt x="1445" y="566"/>
                    <a:pt x="1445" y="562"/>
                  </a:cubicBezTo>
                  <a:close/>
                  <a:moveTo>
                    <a:pt x="1442" y="1180"/>
                  </a:moveTo>
                  <a:cubicBezTo>
                    <a:pt x="1447" y="1185"/>
                    <a:pt x="1447" y="1195"/>
                    <a:pt x="1445" y="1199"/>
                  </a:cubicBezTo>
                  <a:cubicBezTo>
                    <a:pt x="1445" y="1199"/>
                    <a:pt x="1437" y="1189"/>
                    <a:pt x="1442" y="1180"/>
                  </a:cubicBezTo>
                  <a:close/>
                  <a:moveTo>
                    <a:pt x="1445" y="1228"/>
                  </a:moveTo>
                  <a:cubicBezTo>
                    <a:pt x="1443" y="1227"/>
                    <a:pt x="1443" y="1230"/>
                    <a:pt x="1442" y="1232"/>
                  </a:cubicBezTo>
                  <a:cubicBezTo>
                    <a:pt x="1439" y="1231"/>
                    <a:pt x="1440" y="1225"/>
                    <a:pt x="1440" y="1221"/>
                  </a:cubicBezTo>
                  <a:cubicBezTo>
                    <a:pt x="1444" y="1219"/>
                    <a:pt x="1445" y="1224"/>
                    <a:pt x="1445" y="1228"/>
                  </a:cubicBezTo>
                  <a:close/>
                  <a:moveTo>
                    <a:pt x="1440" y="644"/>
                  </a:moveTo>
                  <a:cubicBezTo>
                    <a:pt x="1444" y="637"/>
                    <a:pt x="1450" y="638"/>
                    <a:pt x="1453" y="640"/>
                  </a:cubicBezTo>
                  <a:cubicBezTo>
                    <a:pt x="1454" y="641"/>
                    <a:pt x="1447" y="651"/>
                    <a:pt x="1440" y="644"/>
                  </a:cubicBezTo>
                  <a:close/>
                  <a:moveTo>
                    <a:pt x="1450" y="270"/>
                  </a:moveTo>
                  <a:cubicBezTo>
                    <a:pt x="1449" y="259"/>
                    <a:pt x="1453" y="257"/>
                    <a:pt x="1453" y="248"/>
                  </a:cubicBezTo>
                  <a:cubicBezTo>
                    <a:pt x="1463" y="245"/>
                    <a:pt x="1456" y="258"/>
                    <a:pt x="1453" y="259"/>
                  </a:cubicBezTo>
                  <a:cubicBezTo>
                    <a:pt x="1455" y="267"/>
                    <a:pt x="1451" y="288"/>
                    <a:pt x="1450" y="270"/>
                  </a:cubicBezTo>
                  <a:close/>
                  <a:moveTo>
                    <a:pt x="1448" y="1210"/>
                  </a:moveTo>
                  <a:cubicBezTo>
                    <a:pt x="1452" y="1209"/>
                    <a:pt x="1452" y="1213"/>
                    <a:pt x="1456" y="1213"/>
                  </a:cubicBezTo>
                  <a:cubicBezTo>
                    <a:pt x="1457" y="1221"/>
                    <a:pt x="1444" y="1219"/>
                    <a:pt x="1448" y="1210"/>
                  </a:cubicBezTo>
                  <a:close/>
                  <a:moveTo>
                    <a:pt x="1450" y="1195"/>
                  </a:moveTo>
                  <a:cubicBezTo>
                    <a:pt x="1450" y="1190"/>
                    <a:pt x="1450" y="1185"/>
                    <a:pt x="1450" y="1180"/>
                  </a:cubicBezTo>
                  <a:cubicBezTo>
                    <a:pt x="1458" y="1173"/>
                    <a:pt x="1456" y="1196"/>
                    <a:pt x="1458" y="1184"/>
                  </a:cubicBezTo>
                  <a:cubicBezTo>
                    <a:pt x="1466" y="1188"/>
                    <a:pt x="1455" y="1196"/>
                    <a:pt x="1450" y="1195"/>
                  </a:cubicBezTo>
                  <a:close/>
                  <a:moveTo>
                    <a:pt x="1418" y="170"/>
                  </a:moveTo>
                  <a:cubicBezTo>
                    <a:pt x="1422" y="178"/>
                    <a:pt x="1402" y="180"/>
                    <a:pt x="1402" y="167"/>
                  </a:cubicBezTo>
                  <a:cubicBezTo>
                    <a:pt x="1405" y="171"/>
                    <a:pt x="1412" y="171"/>
                    <a:pt x="1418" y="170"/>
                  </a:cubicBezTo>
                  <a:close/>
                  <a:moveTo>
                    <a:pt x="1402" y="204"/>
                  </a:moveTo>
                  <a:cubicBezTo>
                    <a:pt x="1406" y="204"/>
                    <a:pt x="1409" y="204"/>
                    <a:pt x="1413" y="204"/>
                  </a:cubicBezTo>
                  <a:cubicBezTo>
                    <a:pt x="1413" y="213"/>
                    <a:pt x="1409" y="215"/>
                    <a:pt x="1407" y="222"/>
                  </a:cubicBezTo>
                  <a:cubicBezTo>
                    <a:pt x="1403" y="219"/>
                    <a:pt x="1402" y="213"/>
                    <a:pt x="1402" y="204"/>
                  </a:cubicBezTo>
                  <a:close/>
                  <a:moveTo>
                    <a:pt x="1413" y="566"/>
                  </a:moveTo>
                  <a:cubicBezTo>
                    <a:pt x="1404" y="581"/>
                    <a:pt x="1403" y="555"/>
                    <a:pt x="1405" y="544"/>
                  </a:cubicBezTo>
                  <a:cubicBezTo>
                    <a:pt x="1408" y="545"/>
                    <a:pt x="1410" y="543"/>
                    <a:pt x="1410" y="540"/>
                  </a:cubicBezTo>
                  <a:cubicBezTo>
                    <a:pt x="1420" y="544"/>
                    <a:pt x="1397" y="565"/>
                    <a:pt x="1413" y="566"/>
                  </a:cubicBezTo>
                  <a:close/>
                  <a:moveTo>
                    <a:pt x="1378" y="207"/>
                  </a:moveTo>
                  <a:cubicBezTo>
                    <a:pt x="1381" y="202"/>
                    <a:pt x="1389" y="204"/>
                    <a:pt x="1397" y="204"/>
                  </a:cubicBezTo>
                  <a:cubicBezTo>
                    <a:pt x="1389" y="213"/>
                    <a:pt x="1403" y="208"/>
                    <a:pt x="1399" y="222"/>
                  </a:cubicBezTo>
                  <a:cubicBezTo>
                    <a:pt x="1397" y="222"/>
                    <a:pt x="1397" y="218"/>
                    <a:pt x="1397" y="215"/>
                  </a:cubicBezTo>
                  <a:cubicBezTo>
                    <a:pt x="1393" y="220"/>
                    <a:pt x="1385" y="218"/>
                    <a:pt x="1378" y="218"/>
                  </a:cubicBezTo>
                  <a:cubicBezTo>
                    <a:pt x="1378" y="215"/>
                    <a:pt x="1378" y="211"/>
                    <a:pt x="1378" y="207"/>
                  </a:cubicBezTo>
                  <a:close/>
                  <a:moveTo>
                    <a:pt x="1359" y="562"/>
                  </a:moveTo>
                  <a:cubicBezTo>
                    <a:pt x="1365" y="561"/>
                    <a:pt x="1364" y="568"/>
                    <a:pt x="1364" y="574"/>
                  </a:cubicBezTo>
                  <a:cubicBezTo>
                    <a:pt x="1362" y="573"/>
                    <a:pt x="1362" y="570"/>
                    <a:pt x="1359" y="570"/>
                  </a:cubicBezTo>
                  <a:cubicBezTo>
                    <a:pt x="1359" y="567"/>
                    <a:pt x="1359" y="565"/>
                    <a:pt x="1359" y="562"/>
                  </a:cubicBezTo>
                  <a:close/>
                  <a:moveTo>
                    <a:pt x="1373" y="618"/>
                  </a:moveTo>
                  <a:cubicBezTo>
                    <a:pt x="1367" y="622"/>
                    <a:pt x="1377" y="595"/>
                    <a:pt x="1370" y="607"/>
                  </a:cubicBezTo>
                  <a:cubicBezTo>
                    <a:pt x="1367" y="607"/>
                    <a:pt x="1368" y="602"/>
                    <a:pt x="1367" y="599"/>
                  </a:cubicBezTo>
                  <a:cubicBezTo>
                    <a:pt x="1369" y="600"/>
                    <a:pt x="1370" y="598"/>
                    <a:pt x="1370" y="596"/>
                  </a:cubicBezTo>
                  <a:cubicBezTo>
                    <a:pt x="1375" y="599"/>
                    <a:pt x="1377" y="612"/>
                    <a:pt x="1373" y="618"/>
                  </a:cubicBezTo>
                  <a:close/>
                  <a:moveTo>
                    <a:pt x="1375" y="629"/>
                  </a:moveTo>
                  <a:cubicBezTo>
                    <a:pt x="1375" y="631"/>
                    <a:pt x="1375" y="634"/>
                    <a:pt x="1375" y="636"/>
                  </a:cubicBezTo>
                  <a:cubicBezTo>
                    <a:pt x="1373" y="636"/>
                    <a:pt x="1372" y="636"/>
                    <a:pt x="1370" y="636"/>
                  </a:cubicBezTo>
                  <a:cubicBezTo>
                    <a:pt x="1370" y="634"/>
                    <a:pt x="1370" y="631"/>
                    <a:pt x="1370" y="629"/>
                  </a:cubicBezTo>
                  <a:cubicBezTo>
                    <a:pt x="1372" y="629"/>
                    <a:pt x="1373" y="629"/>
                    <a:pt x="1375" y="629"/>
                  </a:cubicBezTo>
                  <a:close/>
                  <a:moveTo>
                    <a:pt x="1370" y="1235"/>
                  </a:moveTo>
                  <a:cubicBezTo>
                    <a:pt x="1366" y="1232"/>
                    <a:pt x="1359" y="1233"/>
                    <a:pt x="1362" y="1221"/>
                  </a:cubicBezTo>
                  <a:cubicBezTo>
                    <a:pt x="1364" y="1220"/>
                    <a:pt x="1364" y="1222"/>
                    <a:pt x="1364" y="1225"/>
                  </a:cubicBezTo>
                  <a:cubicBezTo>
                    <a:pt x="1366" y="1228"/>
                    <a:pt x="1371" y="1228"/>
                    <a:pt x="1370" y="1235"/>
                  </a:cubicBezTo>
                  <a:close/>
                  <a:moveTo>
                    <a:pt x="1356" y="1280"/>
                  </a:moveTo>
                  <a:cubicBezTo>
                    <a:pt x="1359" y="1275"/>
                    <a:pt x="1364" y="1273"/>
                    <a:pt x="1364" y="1265"/>
                  </a:cubicBezTo>
                  <a:cubicBezTo>
                    <a:pt x="1371" y="1264"/>
                    <a:pt x="1366" y="1279"/>
                    <a:pt x="1375" y="1276"/>
                  </a:cubicBezTo>
                  <a:cubicBezTo>
                    <a:pt x="1374" y="1285"/>
                    <a:pt x="1362" y="1278"/>
                    <a:pt x="1356" y="1280"/>
                  </a:cubicBezTo>
                  <a:close/>
                  <a:moveTo>
                    <a:pt x="1375" y="1239"/>
                  </a:moveTo>
                  <a:cubicBezTo>
                    <a:pt x="1370" y="1237"/>
                    <a:pt x="1375" y="1233"/>
                    <a:pt x="1375" y="1228"/>
                  </a:cubicBezTo>
                  <a:cubicBezTo>
                    <a:pt x="1380" y="1231"/>
                    <a:pt x="1376" y="1235"/>
                    <a:pt x="1375" y="1239"/>
                  </a:cubicBezTo>
                  <a:close/>
                  <a:moveTo>
                    <a:pt x="1378" y="255"/>
                  </a:moveTo>
                  <a:cubicBezTo>
                    <a:pt x="1369" y="255"/>
                    <a:pt x="1362" y="253"/>
                    <a:pt x="1362" y="241"/>
                  </a:cubicBezTo>
                  <a:cubicBezTo>
                    <a:pt x="1364" y="244"/>
                    <a:pt x="1379" y="249"/>
                    <a:pt x="1380" y="241"/>
                  </a:cubicBezTo>
                  <a:cubicBezTo>
                    <a:pt x="1392" y="245"/>
                    <a:pt x="1369" y="251"/>
                    <a:pt x="1380" y="255"/>
                  </a:cubicBezTo>
                  <a:cubicBezTo>
                    <a:pt x="1380" y="260"/>
                    <a:pt x="1378" y="258"/>
                    <a:pt x="1378" y="255"/>
                  </a:cubicBezTo>
                  <a:close/>
                  <a:moveTo>
                    <a:pt x="1383" y="562"/>
                  </a:moveTo>
                  <a:cubicBezTo>
                    <a:pt x="1380" y="587"/>
                    <a:pt x="1377" y="524"/>
                    <a:pt x="1383" y="562"/>
                  </a:cubicBezTo>
                  <a:close/>
                  <a:moveTo>
                    <a:pt x="1389" y="267"/>
                  </a:moveTo>
                  <a:cubicBezTo>
                    <a:pt x="1379" y="257"/>
                    <a:pt x="1398" y="256"/>
                    <a:pt x="1389" y="248"/>
                  </a:cubicBezTo>
                  <a:cubicBezTo>
                    <a:pt x="1391" y="242"/>
                    <a:pt x="1400" y="244"/>
                    <a:pt x="1405" y="241"/>
                  </a:cubicBezTo>
                  <a:cubicBezTo>
                    <a:pt x="1407" y="244"/>
                    <a:pt x="1406" y="251"/>
                    <a:pt x="1410" y="252"/>
                  </a:cubicBezTo>
                  <a:cubicBezTo>
                    <a:pt x="1409" y="256"/>
                    <a:pt x="1405" y="255"/>
                    <a:pt x="1405" y="252"/>
                  </a:cubicBezTo>
                  <a:cubicBezTo>
                    <a:pt x="1401" y="251"/>
                    <a:pt x="1404" y="261"/>
                    <a:pt x="1402" y="263"/>
                  </a:cubicBezTo>
                  <a:cubicBezTo>
                    <a:pt x="1400" y="266"/>
                    <a:pt x="1391" y="254"/>
                    <a:pt x="1391" y="267"/>
                  </a:cubicBezTo>
                  <a:cubicBezTo>
                    <a:pt x="1396" y="273"/>
                    <a:pt x="1401" y="265"/>
                    <a:pt x="1407" y="274"/>
                  </a:cubicBezTo>
                  <a:cubicBezTo>
                    <a:pt x="1407" y="278"/>
                    <a:pt x="1402" y="277"/>
                    <a:pt x="1402" y="281"/>
                  </a:cubicBezTo>
                  <a:cubicBezTo>
                    <a:pt x="1396" y="270"/>
                    <a:pt x="1400" y="280"/>
                    <a:pt x="1391" y="281"/>
                  </a:cubicBezTo>
                  <a:cubicBezTo>
                    <a:pt x="1399" y="273"/>
                    <a:pt x="1384" y="264"/>
                    <a:pt x="1383" y="278"/>
                  </a:cubicBezTo>
                  <a:cubicBezTo>
                    <a:pt x="1375" y="274"/>
                    <a:pt x="1386" y="268"/>
                    <a:pt x="1389" y="267"/>
                  </a:cubicBezTo>
                  <a:close/>
                  <a:moveTo>
                    <a:pt x="1389" y="555"/>
                  </a:moveTo>
                  <a:cubicBezTo>
                    <a:pt x="1390" y="550"/>
                    <a:pt x="1394" y="548"/>
                    <a:pt x="1399" y="548"/>
                  </a:cubicBezTo>
                  <a:cubicBezTo>
                    <a:pt x="1397" y="554"/>
                    <a:pt x="1393" y="562"/>
                    <a:pt x="1389" y="555"/>
                  </a:cubicBezTo>
                  <a:close/>
                  <a:moveTo>
                    <a:pt x="1399" y="577"/>
                  </a:moveTo>
                  <a:cubicBezTo>
                    <a:pt x="1396" y="576"/>
                    <a:pt x="1394" y="573"/>
                    <a:pt x="1394" y="566"/>
                  </a:cubicBezTo>
                  <a:cubicBezTo>
                    <a:pt x="1397" y="568"/>
                    <a:pt x="1399" y="571"/>
                    <a:pt x="1399" y="577"/>
                  </a:cubicBezTo>
                  <a:close/>
                  <a:moveTo>
                    <a:pt x="1389" y="1280"/>
                  </a:moveTo>
                  <a:cubicBezTo>
                    <a:pt x="1390" y="1280"/>
                    <a:pt x="1392" y="1280"/>
                    <a:pt x="1394" y="1280"/>
                  </a:cubicBezTo>
                  <a:cubicBezTo>
                    <a:pt x="1395" y="1290"/>
                    <a:pt x="1374" y="1279"/>
                    <a:pt x="1389" y="1280"/>
                  </a:cubicBezTo>
                  <a:close/>
                  <a:moveTo>
                    <a:pt x="1394" y="1250"/>
                  </a:moveTo>
                  <a:cubicBezTo>
                    <a:pt x="1391" y="1248"/>
                    <a:pt x="1391" y="1242"/>
                    <a:pt x="1386" y="1243"/>
                  </a:cubicBezTo>
                  <a:cubicBezTo>
                    <a:pt x="1388" y="1240"/>
                    <a:pt x="1390" y="1233"/>
                    <a:pt x="1386" y="1232"/>
                  </a:cubicBezTo>
                  <a:cubicBezTo>
                    <a:pt x="1387" y="1227"/>
                    <a:pt x="1394" y="1231"/>
                    <a:pt x="1394" y="1225"/>
                  </a:cubicBezTo>
                  <a:cubicBezTo>
                    <a:pt x="1400" y="1223"/>
                    <a:pt x="1397" y="1235"/>
                    <a:pt x="1402" y="1235"/>
                  </a:cubicBezTo>
                  <a:cubicBezTo>
                    <a:pt x="1401" y="1243"/>
                    <a:pt x="1390" y="1236"/>
                    <a:pt x="1394" y="1250"/>
                  </a:cubicBezTo>
                  <a:close/>
                  <a:moveTo>
                    <a:pt x="1402" y="577"/>
                  </a:moveTo>
                  <a:cubicBezTo>
                    <a:pt x="1404" y="567"/>
                    <a:pt x="1406" y="583"/>
                    <a:pt x="1410" y="581"/>
                  </a:cubicBezTo>
                  <a:cubicBezTo>
                    <a:pt x="1407" y="593"/>
                    <a:pt x="1405" y="577"/>
                    <a:pt x="1402" y="577"/>
                  </a:cubicBezTo>
                  <a:close/>
                  <a:moveTo>
                    <a:pt x="1405" y="1306"/>
                  </a:moveTo>
                  <a:cubicBezTo>
                    <a:pt x="1405" y="1297"/>
                    <a:pt x="1414" y="1305"/>
                    <a:pt x="1415" y="1306"/>
                  </a:cubicBezTo>
                  <a:cubicBezTo>
                    <a:pt x="1415" y="1315"/>
                    <a:pt x="1406" y="1307"/>
                    <a:pt x="1405" y="1306"/>
                  </a:cubicBezTo>
                  <a:close/>
                  <a:moveTo>
                    <a:pt x="1426" y="1247"/>
                  </a:moveTo>
                  <a:cubicBezTo>
                    <a:pt x="1422" y="1245"/>
                    <a:pt x="1424" y="1235"/>
                    <a:pt x="1415" y="1239"/>
                  </a:cubicBezTo>
                  <a:cubicBezTo>
                    <a:pt x="1415" y="1234"/>
                    <a:pt x="1415" y="1229"/>
                    <a:pt x="1415" y="1225"/>
                  </a:cubicBezTo>
                  <a:cubicBezTo>
                    <a:pt x="1421" y="1226"/>
                    <a:pt x="1420" y="1235"/>
                    <a:pt x="1429" y="1232"/>
                  </a:cubicBezTo>
                  <a:cubicBezTo>
                    <a:pt x="1430" y="1240"/>
                    <a:pt x="1427" y="1242"/>
                    <a:pt x="1426" y="1247"/>
                  </a:cubicBezTo>
                  <a:close/>
                  <a:moveTo>
                    <a:pt x="1421" y="1180"/>
                  </a:moveTo>
                  <a:cubicBezTo>
                    <a:pt x="1421" y="1183"/>
                    <a:pt x="1421" y="1185"/>
                    <a:pt x="1421" y="1187"/>
                  </a:cubicBezTo>
                  <a:cubicBezTo>
                    <a:pt x="1419" y="1187"/>
                    <a:pt x="1417" y="1187"/>
                    <a:pt x="1415" y="1187"/>
                  </a:cubicBezTo>
                  <a:cubicBezTo>
                    <a:pt x="1415" y="1185"/>
                    <a:pt x="1415" y="1183"/>
                    <a:pt x="1415" y="1180"/>
                  </a:cubicBezTo>
                  <a:cubicBezTo>
                    <a:pt x="1417" y="1180"/>
                    <a:pt x="1419" y="1180"/>
                    <a:pt x="1421" y="1180"/>
                  </a:cubicBezTo>
                  <a:close/>
                  <a:moveTo>
                    <a:pt x="1424" y="244"/>
                  </a:moveTo>
                  <a:cubicBezTo>
                    <a:pt x="1425" y="252"/>
                    <a:pt x="1422" y="254"/>
                    <a:pt x="1421" y="259"/>
                  </a:cubicBezTo>
                  <a:cubicBezTo>
                    <a:pt x="1413" y="259"/>
                    <a:pt x="1414" y="242"/>
                    <a:pt x="1424" y="244"/>
                  </a:cubicBezTo>
                  <a:close/>
                  <a:moveTo>
                    <a:pt x="1424" y="1180"/>
                  </a:moveTo>
                  <a:cubicBezTo>
                    <a:pt x="1424" y="1176"/>
                    <a:pt x="1424" y="1173"/>
                    <a:pt x="1424" y="1169"/>
                  </a:cubicBezTo>
                  <a:cubicBezTo>
                    <a:pt x="1431" y="1164"/>
                    <a:pt x="1431" y="1185"/>
                    <a:pt x="1424" y="1180"/>
                  </a:cubicBezTo>
                  <a:close/>
                  <a:moveTo>
                    <a:pt x="1421" y="289"/>
                  </a:moveTo>
                  <a:cubicBezTo>
                    <a:pt x="1420" y="282"/>
                    <a:pt x="1427" y="284"/>
                    <a:pt x="1429" y="281"/>
                  </a:cubicBezTo>
                  <a:cubicBezTo>
                    <a:pt x="1435" y="273"/>
                    <a:pt x="1430" y="288"/>
                    <a:pt x="1421" y="289"/>
                  </a:cubicBezTo>
                  <a:close/>
                  <a:moveTo>
                    <a:pt x="1421" y="270"/>
                  </a:moveTo>
                  <a:cubicBezTo>
                    <a:pt x="1423" y="267"/>
                    <a:pt x="1424" y="262"/>
                    <a:pt x="1424" y="255"/>
                  </a:cubicBezTo>
                  <a:cubicBezTo>
                    <a:pt x="1426" y="255"/>
                    <a:pt x="1429" y="255"/>
                    <a:pt x="1432" y="255"/>
                  </a:cubicBezTo>
                  <a:cubicBezTo>
                    <a:pt x="1428" y="261"/>
                    <a:pt x="1429" y="272"/>
                    <a:pt x="1421" y="270"/>
                  </a:cubicBezTo>
                  <a:close/>
                  <a:moveTo>
                    <a:pt x="1413" y="189"/>
                  </a:moveTo>
                  <a:cubicBezTo>
                    <a:pt x="1413" y="185"/>
                    <a:pt x="1416" y="186"/>
                    <a:pt x="1418" y="185"/>
                  </a:cubicBezTo>
                  <a:cubicBezTo>
                    <a:pt x="1425" y="187"/>
                    <a:pt x="1417" y="168"/>
                    <a:pt x="1426" y="174"/>
                  </a:cubicBezTo>
                  <a:cubicBezTo>
                    <a:pt x="1425" y="177"/>
                    <a:pt x="1423" y="180"/>
                    <a:pt x="1424" y="185"/>
                  </a:cubicBezTo>
                  <a:cubicBezTo>
                    <a:pt x="1436" y="183"/>
                    <a:pt x="1428" y="174"/>
                    <a:pt x="1429" y="159"/>
                  </a:cubicBezTo>
                  <a:cubicBezTo>
                    <a:pt x="1434" y="152"/>
                    <a:pt x="1434" y="162"/>
                    <a:pt x="1442" y="159"/>
                  </a:cubicBezTo>
                  <a:cubicBezTo>
                    <a:pt x="1442" y="165"/>
                    <a:pt x="1434" y="161"/>
                    <a:pt x="1434" y="167"/>
                  </a:cubicBezTo>
                  <a:cubicBezTo>
                    <a:pt x="1434" y="173"/>
                    <a:pt x="1448" y="163"/>
                    <a:pt x="1448" y="178"/>
                  </a:cubicBezTo>
                  <a:cubicBezTo>
                    <a:pt x="1444" y="182"/>
                    <a:pt x="1441" y="182"/>
                    <a:pt x="1440" y="174"/>
                  </a:cubicBezTo>
                  <a:cubicBezTo>
                    <a:pt x="1433" y="179"/>
                    <a:pt x="1431" y="182"/>
                    <a:pt x="1434" y="193"/>
                  </a:cubicBezTo>
                  <a:cubicBezTo>
                    <a:pt x="1426" y="193"/>
                    <a:pt x="1423" y="186"/>
                    <a:pt x="1413" y="189"/>
                  </a:cubicBezTo>
                  <a:close/>
                  <a:moveTo>
                    <a:pt x="1437" y="1295"/>
                  </a:moveTo>
                  <a:cubicBezTo>
                    <a:pt x="1434" y="1294"/>
                    <a:pt x="1435" y="1288"/>
                    <a:pt x="1434" y="1284"/>
                  </a:cubicBezTo>
                  <a:cubicBezTo>
                    <a:pt x="1439" y="1282"/>
                    <a:pt x="1439" y="1286"/>
                    <a:pt x="1440" y="1291"/>
                  </a:cubicBezTo>
                  <a:cubicBezTo>
                    <a:pt x="1437" y="1290"/>
                    <a:pt x="1437" y="1292"/>
                    <a:pt x="1437" y="1295"/>
                  </a:cubicBezTo>
                  <a:close/>
                  <a:moveTo>
                    <a:pt x="1445" y="1273"/>
                  </a:moveTo>
                  <a:cubicBezTo>
                    <a:pt x="1443" y="1273"/>
                    <a:pt x="1442" y="1273"/>
                    <a:pt x="1440" y="1273"/>
                  </a:cubicBezTo>
                  <a:cubicBezTo>
                    <a:pt x="1440" y="1270"/>
                    <a:pt x="1440" y="1268"/>
                    <a:pt x="1440" y="1265"/>
                  </a:cubicBezTo>
                  <a:cubicBezTo>
                    <a:pt x="1442" y="1265"/>
                    <a:pt x="1443" y="1265"/>
                    <a:pt x="1445" y="1265"/>
                  </a:cubicBezTo>
                  <a:cubicBezTo>
                    <a:pt x="1445" y="1268"/>
                    <a:pt x="1445" y="1270"/>
                    <a:pt x="1445" y="1273"/>
                  </a:cubicBezTo>
                  <a:close/>
                  <a:moveTo>
                    <a:pt x="1448" y="1254"/>
                  </a:moveTo>
                  <a:cubicBezTo>
                    <a:pt x="1444" y="1251"/>
                    <a:pt x="1439" y="1249"/>
                    <a:pt x="1440" y="1239"/>
                  </a:cubicBezTo>
                  <a:cubicBezTo>
                    <a:pt x="1444" y="1237"/>
                    <a:pt x="1454" y="1244"/>
                    <a:pt x="1453" y="1235"/>
                  </a:cubicBezTo>
                  <a:cubicBezTo>
                    <a:pt x="1451" y="1232"/>
                    <a:pt x="1447" y="1232"/>
                    <a:pt x="1448" y="1225"/>
                  </a:cubicBezTo>
                  <a:cubicBezTo>
                    <a:pt x="1450" y="1225"/>
                    <a:pt x="1453" y="1225"/>
                    <a:pt x="1456" y="1225"/>
                  </a:cubicBezTo>
                  <a:cubicBezTo>
                    <a:pt x="1452" y="1229"/>
                    <a:pt x="1454" y="1236"/>
                    <a:pt x="1458" y="1239"/>
                  </a:cubicBezTo>
                  <a:cubicBezTo>
                    <a:pt x="1460" y="1251"/>
                    <a:pt x="1445" y="1241"/>
                    <a:pt x="1448" y="1254"/>
                  </a:cubicBezTo>
                  <a:close/>
                  <a:moveTo>
                    <a:pt x="1458" y="1302"/>
                  </a:moveTo>
                  <a:cubicBezTo>
                    <a:pt x="1463" y="1294"/>
                    <a:pt x="1465" y="1305"/>
                    <a:pt x="1472" y="1298"/>
                  </a:cubicBezTo>
                  <a:cubicBezTo>
                    <a:pt x="1475" y="1312"/>
                    <a:pt x="1460" y="1305"/>
                    <a:pt x="1458" y="1302"/>
                  </a:cubicBezTo>
                  <a:close/>
                  <a:moveTo>
                    <a:pt x="1475" y="655"/>
                  </a:moveTo>
                  <a:cubicBezTo>
                    <a:pt x="1472" y="658"/>
                    <a:pt x="1470" y="652"/>
                    <a:pt x="1469" y="651"/>
                  </a:cubicBezTo>
                  <a:cubicBezTo>
                    <a:pt x="1469" y="651"/>
                    <a:pt x="1464" y="644"/>
                    <a:pt x="1467" y="640"/>
                  </a:cubicBezTo>
                  <a:cubicBezTo>
                    <a:pt x="1469" y="637"/>
                    <a:pt x="1469" y="650"/>
                    <a:pt x="1469" y="651"/>
                  </a:cubicBezTo>
                  <a:cubicBezTo>
                    <a:pt x="1469" y="651"/>
                    <a:pt x="1477" y="652"/>
                    <a:pt x="1475" y="655"/>
                  </a:cubicBezTo>
                  <a:close/>
                  <a:moveTo>
                    <a:pt x="1469" y="588"/>
                  </a:moveTo>
                  <a:cubicBezTo>
                    <a:pt x="1473" y="575"/>
                    <a:pt x="1474" y="595"/>
                    <a:pt x="1472" y="596"/>
                  </a:cubicBezTo>
                  <a:cubicBezTo>
                    <a:pt x="1470" y="596"/>
                    <a:pt x="1469" y="591"/>
                    <a:pt x="1469" y="588"/>
                  </a:cubicBezTo>
                  <a:close/>
                  <a:moveTo>
                    <a:pt x="1475" y="285"/>
                  </a:moveTo>
                  <a:cubicBezTo>
                    <a:pt x="1473" y="280"/>
                    <a:pt x="1468" y="276"/>
                    <a:pt x="1469" y="267"/>
                  </a:cubicBezTo>
                  <a:cubicBezTo>
                    <a:pt x="1472" y="267"/>
                    <a:pt x="1475" y="267"/>
                    <a:pt x="1477" y="267"/>
                  </a:cubicBezTo>
                  <a:cubicBezTo>
                    <a:pt x="1472" y="277"/>
                    <a:pt x="1483" y="284"/>
                    <a:pt x="1483" y="281"/>
                  </a:cubicBezTo>
                  <a:cubicBezTo>
                    <a:pt x="1483" y="285"/>
                    <a:pt x="1475" y="285"/>
                    <a:pt x="1477" y="292"/>
                  </a:cubicBezTo>
                  <a:cubicBezTo>
                    <a:pt x="1474" y="293"/>
                    <a:pt x="1476" y="288"/>
                    <a:pt x="1475" y="285"/>
                  </a:cubicBezTo>
                  <a:close/>
                  <a:moveTo>
                    <a:pt x="1480" y="699"/>
                  </a:moveTo>
                  <a:cubicBezTo>
                    <a:pt x="1480" y="695"/>
                    <a:pt x="1479" y="693"/>
                    <a:pt x="1477" y="692"/>
                  </a:cubicBezTo>
                  <a:cubicBezTo>
                    <a:pt x="1478" y="687"/>
                    <a:pt x="1483" y="688"/>
                    <a:pt x="1483" y="692"/>
                  </a:cubicBezTo>
                  <a:cubicBezTo>
                    <a:pt x="1485" y="693"/>
                    <a:pt x="1485" y="690"/>
                    <a:pt x="1485" y="688"/>
                  </a:cubicBezTo>
                  <a:cubicBezTo>
                    <a:pt x="1490" y="687"/>
                    <a:pt x="1486" y="703"/>
                    <a:pt x="1480" y="699"/>
                  </a:cubicBezTo>
                  <a:close/>
                  <a:moveTo>
                    <a:pt x="1493" y="1243"/>
                  </a:moveTo>
                  <a:cubicBezTo>
                    <a:pt x="1482" y="1245"/>
                    <a:pt x="1494" y="1235"/>
                    <a:pt x="1491" y="1225"/>
                  </a:cubicBezTo>
                  <a:cubicBezTo>
                    <a:pt x="1494" y="1226"/>
                    <a:pt x="1497" y="1245"/>
                    <a:pt x="1493" y="1243"/>
                  </a:cubicBezTo>
                  <a:close/>
                  <a:moveTo>
                    <a:pt x="1485" y="566"/>
                  </a:moveTo>
                  <a:cubicBezTo>
                    <a:pt x="1484" y="561"/>
                    <a:pt x="1496" y="557"/>
                    <a:pt x="1488" y="555"/>
                  </a:cubicBezTo>
                  <a:cubicBezTo>
                    <a:pt x="1499" y="541"/>
                    <a:pt x="1484" y="571"/>
                    <a:pt x="1496" y="566"/>
                  </a:cubicBezTo>
                  <a:cubicBezTo>
                    <a:pt x="1494" y="577"/>
                    <a:pt x="1490" y="563"/>
                    <a:pt x="1485" y="566"/>
                  </a:cubicBezTo>
                  <a:close/>
                  <a:moveTo>
                    <a:pt x="1491" y="182"/>
                  </a:moveTo>
                  <a:cubicBezTo>
                    <a:pt x="1491" y="179"/>
                    <a:pt x="1493" y="178"/>
                    <a:pt x="1493" y="174"/>
                  </a:cubicBezTo>
                  <a:cubicBezTo>
                    <a:pt x="1497" y="176"/>
                    <a:pt x="1499" y="179"/>
                    <a:pt x="1499" y="185"/>
                  </a:cubicBezTo>
                  <a:cubicBezTo>
                    <a:pt x="1494" y="186"/>
                    <a:pt x="1494" y="182"/>
                    <a:pt x="1491" y="182"/>
                  </a:cubicBezTo>
                  <a:close/>
                  <a:moveTo>
                    <a:pt x="1499" y="1221"/>
                  </a:moveTo>
                  <a:cubicBezTo>
                    <a:pt x="1494" y="1218"/>
                    <a:pt x="1498" y="1214"/>
                    <a:pt x="1499" y="1210"/>
                  </a:cubicBezTo>
                  <a:cubicBezTo>
                    <a:pt x="1504" y="1212"/>
                    <a:pt x="1499" y="1216"/>
                    <a:pt x="1499" y="1221"/>
                  </a:cubicBezTo>
                  <a:close/>
                  <a:moveTo>
                    <a:pt x="1496" y="170"/>
                  </a:moveTo>
                  <a:cubicBezTo>
                    <a:pt x="1495" y="165"/>
                    <a:pt x="1511" y="165"/>
                    <a:pt x="1504" y="174"/>
                  </a:cubicBezTo>
                  <a:cubicBezTo>
                    <a:pt x="1505" y="173"/>
                    <a:pt x="1496" y="170"/>
                    <a:pt x="1496" y="170"/>
                  </a:cubicBezTo>
                  <a:close/>
                  <a:moveTo>
                    <a:pt x="1504" y="651"/>
                  </a:moveTo>
                  <a:cubicBezTo>
                    <a:pt x="1506" y="648"/>
                    <a:pt x="1507" y="643"/>
                    <a:pt x="1507" y="636"/>
                  </a:cubicBezTo>
                  <a:cubicBezTo>
                    <a:pt x="1510" y="637"/>
                    <a:pt x="1512" y="636"/>
                    <a:pt x="1512" y="633"/>
                  </a:cubicBezTo>
                  <a:cubicBezTo>
                    <a:pt x="1516" y="634"/>
                    <a:pt x="1513" y="639"/>
                    <a:pt x="1510" y="640"/>
                  </a:cubicBezTo>
                  <a:cubicBezTo>
                    <a:pt x="1510" y="648"/>
                    <a:pt x="1509" y="652"/>
                    <a:pt x="1504" y="651"/>
                  </a:cubicBezTo>
                  <a:close/>
                  <a:moveTo>
                    <a:pt x="1515" y="1180"/>
                  </a:moveTo>
                  <a:cubicBezTo>
                    <a:pt x="1512" y="1178"/>
                    <a:pt x="1509" y="1175"/>
                    <a:pt x="1510" y="1169"/>
                  </a:cubicBezTo>
                  <a:cubicBezTo>
                    <a:pt x="1513" y="1171"/>
                    <a:pt x="1515" y="1174"/>
                    <a:pt x="1515" y="1180"/>
                  </a:cubicBezTo>
                  <a:close/>
                  <a:moveTo>
                    <a:pt x="1523" y="1291"/>
                  </a:moveTo>
                  <a:cubicBezTo>
                    <a:pt x="1518" y="1280"/>
                    <a:pt x="1511" y="1294"/>
                    <a:pt x="1510" y="1276"/>
                  </a:cubicBezTo>
                  <a:cubicBezTo>
                    <a:pt x="1522" y="1278"/>
                    <a:pt x="1514" y="1273"/>
                    <a:pt x="1515" y="1261"/>
                  </a:cubicBezTo>
                  <a:cubicBezTo>
                    <a:pt x="1522" y="1259"/>
                    <a:pt x="1520" y="1269"/>
                    <a:pt x="1526" y="1269"/>
                  </a:cubicBezTo>
                  <a:cubicBezTo>
                    <a:pt x="1525" y="1273"/>
                    <a:pt x="1523" y="1271"/>
                    <a:pt x="1523" y="1269"/>
                  </a:cubicBezTo>
                  <a:cubicBezTo>
                    <a:pt x="1520" y="1269"/>
                    <a:pt x="1521" y="1273"/>
                    <a:pt x="1520" y="1276"/>
                  </a:cubicBezTo>
                  <a:cubicBezTo>
                    <a:pt x="1523" y="1287"/>
                    <a:pt x="1532" y="1275"/>
                    <a:pt x="1536" y="1276"/>
                  </a:cubicBezTo>
                  <a:cubicBezTo>
                    <a:pt x="1538" y="1290"/>
                    <a:pt x="1524" y="1281"/>
                    <a:pt x="1523" y="1291"/>
                  </a:cubicBezTo>
                  <a:close/>
                  <a:moveTo>
                    <a:pt x="1534" y="230"/>
                  </a:moveTo>
                  <a:cubicBezTo>
                    <a:pt x="1536" y="230"/>
                    <a:pt x="1537" y="230"/>
                    <a:pt x="1539" y="230"/>
                  </a:cubicBezTo>
                  <a:cubicBezTo>
                    <a:pt x="1540" y="240"/>
                    <a:pt x="1519" y="229"/>
                    <a:pt x="1534" y="230"/>
                  </a:cubicBezTo>
                  <a:close/>
                  <a:moveTo>
                    <a:pt x="1553" y="1291"/>
                  </a:moveTo>
                  <a:cubicBezTo>
                    <a:pt x="1551" y="1291"/>
                    <a:pt x="1549" y="1291"/>
                    <a:pt x="1547" y="1291"/>
                  </a:cubicBezTo>
                  <a:cubicBezTo>
                    <a:pt x="1547" y="1289"/>
                    <a:pt x="1547" y="1286"/>
                    <a:pt x="1547" y="1284"/>
                  </a:cubicBezTo>
                  <a:cubicBezTo>
                    <a:pt x="1549" y="1284"/>
                    <a:pt x="1551" y="1284"/>
                    <a:pt x="1553" y="1284"/>
                  </a:cubicBezTo>
                  <a:cubicBezTo>
                    <a:pt x="1553" y="1286"/>
                    <a:pt x="1553" y="1289"/>
                    <a:pt x="1553" y="1291"/>
                  </a:cubicBezTo>
                  <a:close/>
                  <a:moveTo>
                    <a:pt x="1550" y="1276"/>
                  </a:moveTo>
                  <a:cubicBezTo>
                    <a:pt x="1548" y="1276"/>
                    <a:pt x="1547" y="1273"/>
                    <a:pt x="1545" y="1273"/>
                  </a:cubicBezTo>
                  <a:cubicBezTo>
                    <a:pt x="1545" y="1270"/>
                    <a:pt x="1547" y="1269"/>
                    <a:pt x="1547" y="1265"/>
                  </a:cubicBezTo>
                  <a:cubicBezTo>
                    <a:pt x="1549" y="1266"/>
                    <a:pt x="1550" y="1269"/>
                    <a:pt x="1553" y="1269"/>
                  </a:cubicBezTo>
                  <a:cubicBezTo>
                    <a:pt x="1552" y="1272"/>
                    <a:pt x="1550" y="1273"/>
                    <a:pt x="1550" y="1276"/>
                  </a:cubicBezTo>
                  <a:close/>
                  <a:moveTo>
                    <a:pt x="1555" y="1265"/>
                  </a:moveTo>
                  <a:cubicBezTo>
                    <a:pt x="1550" y="1266"/>
                    <a:pt x="1552" y="1257"/>
                    <a:pt x="1550" y="1254"/>
                  </a:cubicBezTo>
                  <a:cubicBezTo>
                    <a:pt x="1547" y="1251"/>
                    <a:pt x="1547" y="1254"/>
                    <a:pt x="1545" y="1250"/>
                  </a:cubicBezTo>
                  <a:cubicBezTo>
                    <a:pt x="1543" y="1247"/>
                    <a:pt x="1539" y="1246"/>
                    <a:pt x="1539" y="1239"/>
                  </a:cubicBezTo>
                  <a:cubicBezTo>
                    <a:pt x="1549" y="1240"/>
                    <a:pt x="1547" y="1243"/>
                    <a:pt x="1555" y="1239"/>
                  </a:cubicBezTo>
                  <a:cubicBezTo>
                    <a:pt x="1556" y="1250"/>
                    <a:pt x="1555" y="1252"/>
                    <a:pt x="1550" y="1247"/>
                  </a:cubicBezTo>
                  <a:cubicBezTo>
                    <a:pt x="1548" y="1258"/>
                    <a:pt x="1559" y="1251"/>
                    <a:pt x="1555" y="1265"/>
                  </a:cubicBezTo>
                  <a:close/>
                  <a:moveTo>
                    <a:pt x="1547" y="555"/>
                  </a:moveTo>
                  <a:cubicBezTo>
                    <a:pt x="1551" y="562"/>
                    <a:pt x="1556" y="568"/>
                    <a:pt x="1561" y="574"/>
                  </a:cubicBezTo>
                  <a:cubicBezTo>
                    <a:pt x="1558" y="579"/>
                    <a:pt x="1545" y="569"/>
                    <a:pt x="1547" y="555"/>
                  </a:cubicBezTo>
                  <a:close/>
                  <a:moveTo>
                    <a:pt x="1566" y="1243"/>
                  </a:moveTo>
                  <a:cubicBezTo>
                    <a:pt x="1560" y="1244"/>
                    <a:pt x="1563" y="1232"/>
                    <a:pt x="1558" y="1232"/>
                  </a:cubicBezTo>
                  <a:cubicBezTo>
                    <a:pt x="1558" y="1223"/>
                    <a:pt x="1567" y="1231"/>
                    <a:pt x="1569" y="1232"/>
                  </a:cubicBezTo>
                  <a:cubicBezTo>
                    <a:pt x="1567" y="1235"/>
                    <a:pt x="1566" y="1238"/>
                    <a:pt x="1566" y="1243"/>
                  </a:cubicBezTo>
                  <a:close/>
                  <a:moveTo>
                    <a:pt x="1561" y="1199"/>
                  </a:moveTo>
                  <a:cubicBezTo>
                    <a:pt x="1561" y="1195"/>
                    <a:pt x="1561" y="1191"/>
                    <a:pt x="1561" y="1187"/>
                  </a:cubicBezTo>
                  <a:cubicBezTo>
                    <a:pt x="1568" y="1185"/>
                    <a:pt x="1566" y="1195"/>
                    <a:pt x="1571" y="1195"/>
                  </a:cubicBezTo>
                  <a:cubicBezTo>
                    <a:pt x="1571" y="1200"/>
                    <a:pt x="1565" y="1198"/>
                    <a:pt x="1561" y="1199"/>
                  </a:cubicBezTo>
                  <a:close/>
                  <a:moveTo>
                    <a:pt x="1580" y="1250"/>
                  </a:moveTo>
                  <a:cubicBezTo>
                    <a:pt x="1577" y="1246"/>
                    <a:pt x="1570" y="1249"/>
                    <a:pt x="1571" y="1239"/>
                  </a:cubicBezTo>
                  <a:cubicBezTo>
                    <a:pt x="1574" y="1243"/>
                    <a:pt x="1581" y="1240"/>
                    <a:pt x="1580" y="1250"/>
                  </a:cubicBezTo>
                  <a:close/>
                  <a:moveTo>
                    <a:pt x="1577" y="640"/>
                  </a:moveTo>
                  <a:cubicBezTo>
                    <a:pt x="1577" y="638"/>
                    <a:pt x="1577" y="635"/>
                    <a:pt x="1577" y="633"/>
                  </a:cubicBezTo>
                  <a:cubicBezTo>
                    <a:pt x="1579" y="633"/>
                    <a:pt x="1580" y="633"/>
                    <a:pt x="1582" y="633"/>
                  </a:cubicBezTo>
                  <a:cubicBezTo>
                    <a:pt x="1582" y="635"/>
                    <a:pt x="1582" y="638"/>
                    <a:pt x="1582" y="640"/>
                  </a:cubicBezTo>
                  <a:cubicBezTo>
                    <a:pt x="1580" y="640"/>
                    <a:pt x="1579" y="640"/>
                    <a:pt x="1577" y="640"/>
                  </a:cubicBezTo>
                  <a:close/>
                  <a:moveTo>
                    <a:pt x="1598" y="1254"/>
                  </a:moveTo>
                  <a:cubicBezTo>
                    <a:pt x="1593" y="1257"/>
                    <a:pt x="1592" y="1248"/>
                    <a:pt x="1590" y="1247"/>
                  </a:cubicBezTo>
                  <a:cubicBezTo>
                    <a:pt x="1588" y="1246"/>
                    <a:pt x="1585" y="1252"/>
                    <a:pt x="1582" y="1247"/>
                  </a:cubicBezTo>
                  <a:cubicBezTo>
                    <a:pt x="1587" y="1239"/>
                    <a:pt x="1600" y="1236"/>
                    <a:pt x="1598" y="1254"/>
                  </a:cubicBezTo>
                  <a:close/>
                  <a:moveTo>
                    <a:pt x="1633" y="1291"/>
                  </a:moveTo>
                  <a:cubicBezTo>
                    <a:pt x="1625" y="1305"/>
                    <a:pt x="1624" y="1280"/>
                    <a:pt x="1633" y="1291"/>
                  </a:cubicBezTo>
                  <a:close/>
                  <a:moveTo>
                    <a:pt x="1628" y="1313"/>
                  </a:moveTo>
                  <a:cubicBezTo>
                    <a:pt x="1628" y="1308"/>
                    <a:pt x="1628" y="1303"/>
                    <a:pt x="1628" y="1298"/>
                  </a:cubicBezTo>
                  <a:cubicBezTo>
                    <a:pt x="1637" y="1298"/>
                    <a:pt x="1638" y="1316"/>
                    <a:pt x="1628" y="1313"/>
                  </a:cubicBezTo>
                  <a:close/>
                  <a:moveTo>
                    <a:pt x="1625" y="1250"/>
                  </a:moveTo>
                  <a:cubicBezTo>
                    <a:pt x="1617" y="1249"/>
                    <a:pt x="1607" y="1253"/>
                    <a:pt x="1601" y="1247"/>
                  </a:cubicBezTo>
                  <a:cubicBezTo>
                    <a:pt x="1602" y="1236"/>
                    <a:pt x="1609" y="1246"/>
                    <a:pt x="1612" y="1247"/>
                  </a:cubicBezTo>
                  <a:cubicBezTo>
                    <a:pt x="1614" y="1247"/>
                    <a:pt x="1615" y="1242"/>
                    <a:pt x="1617" y="1243"/>
                  </a:cubicBezTo>
                  <a:cubicBezTo>
                    <a:pt x="1618" y="1243"/>
                    <a:pt x="1617" y="1246"/>
                    <a:pt x="1620" y="1247"/>
                  </a:cubicBezTo>
                  <a:cubicBezTo>
                    <a:pt x="1625" y="1247"/>
                    <a:pt x="1629" y="1246"/>
                    <a:pt x="1636" y="1247"/>
                  </a:cubicBezTo>
                  <a:cubicBezTo>
                    <a:pt x="1638" y="1240"/>
                    <a:pt x="1638" y="1251"/>
                    <a:pt x="1641" y="1250"/>
                  </a:cubicBezTo>
                  <a:cubicBezTo>
                    <a:pt x="1639" y="1261"/>
                    <a:pt x="1631" y="1251"/>
                    <a:pt x="1625" y="1250"/>
                  </a:cubicBezTo>
                  <a:close/>
                  <a:moveTo>
                    <a:pt x="1641" y="588"/>
                  </a:moveTo>
                  <a:cubicBezTo>
                    <a:pt x="1641" y="595"/>
                    <a:pt x="1648" y="600"/>
                    <a:pt x="1639" y="599"/>
                  </a:cubicBezTo>
                  <a:cubicBezTo>
                    <a:pt x="1637" y="611"/>
                    <a:pt x="1644" y="611"/>
                    <a:pt x="1639" y="618"/>
                  </a:cubicBezTo>
                  <a:cubicBezTo>
                    <a:pt x="1627" y="611"/>
                    <a:pt x="1643" y="590"/>
                    <a:pt x="1641" y="574"/>
                  </a:cubicBezTo>
                  <a:cubicBezTo>
                    <a:pt x="1638" y="569"/>
                    <a:pt x="1641" y="572"/>
                    <a:pt x="1644" y="574"/>
                  </a:cubicBezTo>
                  <a:cubicBezTo>
                    <a:pt x="1646" y="581"/>
                    <a:pt x="1641" y="583"/>
                    <a:pt x="1641" y="588"/>
                  </a:cubicBezTo>
                  <a:close/>
                  <a:moveTo>
                    <a:pt x="2066" y="156"/>
                  </a:moveTo>
                  <a:cubicBezTo>
                    <a:pt x="2076" y="166"/>
                    <a:pt x="2060" y="179"/>
                    <a:pt x="2066" y="156"/>
                  </a:cubicBezTo>
                  <a:close/>
                  <a:moveTo>
                    <a:pt x="2055" y="562"/>
                  </a:moveTo>
                  <a:cubicBezTo>
                    <a:pt x="2055" y="562"/>
                    <a:pt x="2053" y="563"/>
                    <a:pt x="2053" y="562"/>
                  </a:cubicBezTo>
                  <a:cubicBezTo>
                    <a:pt x="2043" y="552"/>
                    <a:pt x="2062" y="561"/>
                    <a:pt x="2058" y="566"/>
                  </a:cubicBezTo>
                  <a:cubicBezTo>
                    <a:pt x="2057" y="568"/>
                    <a:pt x="2052" y="570"/>
                    <a:pt x="2053" y="566"/>
                  </a:cubicBezTo>
                  <a:cubicBezTo>
                    <a:pt x="2053" y="565"/>
                    <a:pt x="2056" y="566"/>
                    <a:pt x="2055" y="562"/>
                  </a:cubicBezTo>
                  <a:close/>
                  <a:moveTo>
                    <a:pt x="2034" y="296"/>
                  </a:moveTo>
                  <a:cubicBezTo>
                    <a:pt x="2038" y="296"/>
                    <a:pt x="2042" y="312"/>
                    <a:pt x="2042" y="296"/>
                  </a:cubicBezTo>
                  <a:cubicBezTo>
                    <a:pt x="2051" y="297"/>
                    <a:pt x="2042" y="306"/>
                    <a:pt x="2047" y="307"/>
                  </a:cubicBezTo>
                  <a:cubicBezTo>
                    <a:pt x="2047" y="312"/>
                    <a:pt x="2042" y="311"/>
                    <a:pt x="2042" y="307"/>
                  </a:cubicBezTo>
                  <a:cubicBezTo>
                    <a:pt x="2037" y="307"/>
                    <a:pt x="2036" y="312"/>
                    <a:pt x="2031" y="311"/>
                  </a:cubicBezTo>
                  <a:cubicBezTo>
                    <a:pt x="2031" y="304"/>
                    <a:pt x="2035" y="303"/>
                    <a:pt x="2034" y="296"/>
                  </a:cubicBezTo>
                  <a:close/>
                  <a:moveTo>
                    <a:pt x="2039" y="285"/>
                  </a:moveTo>
                  <a:cubicBezTo>
                    <a:pt x="2041" y="274"/>
                    <a:pt x="2045" y="289"/>
                    <a:pt x="2050" y="285"/>
                  </a:cubicBezTo>
                  <a:cubicBezTo>
                    <a:pt x="2050" y="294"/>
                    <a:pt x="2041" y="286"/>
                    <a:pt x="2039" y="285"/>
                  </a:cubicBezTo>
                  <a:close/>
                  <a:moveTo>
                    <a:pt x="2058" y="241"/>
                  </a:moveTo>
                  <a:cubicBezTo>
                    <a:pt x="2051" y="236"/>
                    <a:pt x="2066" y="214"/>
                    <a:pt x="2058" y="241"/>
                  </a:cubicBezTo>
                  <a:close/>
                  <a:moveTo>
                    <a:pt x="2050" y="174"/>
                  </a:moveTo>
                  <a:cubicBezTo>
                    <a:pt x="2060" y="185"/>
                    <a:pt x="2042" y="187"/>
                    <a:pt x="2050" y="174"/>
                  </a:cubicBezTo>
                  <a:close/>
                  <a:moveTo>
                    <a:pt x="2053" y="244"/>
                  </a:moveTo>
                  <a:cubicBezTo>
                    <a:pt x="2061" y="248"/>
                    <a:pt x="2052" y="257"/>
                    <a:pt x="2050" y="259"/>
                  </a:cubicBezTo>
                  <a:cubicBezTo>
                    <a:pt x="2047" y="259"/>
                    <a:pt x="2048" y="255"/>
                    <a:pt x="2047" y="252"/>
                  </a:cubicBezTo>
                  <a:cubicBezTo>
                    <a:pt x="2045" y="251"/>
                    <a:pt x="2045" y="253"/>
                    <a:pt x="2045" y="255"/>
                  </a:cubicBezTo>
                  <a:cubicBezTo>
                    <a:pt x="2042" y="256"/>
                    <a:pt x="2042" y="254"/>
                    <a:pt x="2042" y="252"/>
                  </a:cubicBezTo>
                  <a:cubicBezTo>
                    <a:pt x="2042" y="249"/>
                    <a:pt x="2042" y="247"/>
                    <a:pt x="2042" y="244"/>
                  </a:cubicBezTo>
                  <a:cubicBezTo>
                    <a:pt x="2047" y="241"/>
                    <a:pt x="2051" y="255"/>
                    <a:pt x="2053" y="244"/>
                  </a:cubicBezTo>
                  <a:close/>
                  <a:moveTo>
                    <a:pt x="2037" y="185"/>
                  </a:moveTo>
                  <a:cubicBezTo>
                    <a:pt x="2038" y="185"/>
                    <a:pt x="2040" y="185"/>
                    <a:pt x="2042" y="185"/>
                  </a:cubicBezTo>
                  <a:cubicBezTo>
                    <a:pt x="2042" y="188"/>
                    <a:pt x="2042" y="190"/>
                    <a:pt x="2042" y="193"/>
                  </a:cubicBezTo>
                  <a:cubicBezTo>
                    <a:pt x="2040" y="193"/>
                    <a:pt x="2038" y="193"/>
                    <a:pt x="2037" y="193"/>
                  </a:cubicBezTo>
                  <a:cubicBezTo>
                    <a:pt x="2037" y="190"/>
                    <a:pt x="2037" y="188"/>
                    <a:pt x="2037" y="185"/>
                  </a:cubicBezTo>
                  <a:close/>
                  <a:moveTo>
                    <a:pt x="2031" y="233"/>
                  </a:moveTo>
                  <a:cubicBezTo>
                    <a:pt x="2041" y="232"/>
                    <a:pt x="2035" y="253"/>
                    <a:pt x="2039" y="259"/>
                  </a:cubicBezTo>
                  <a:cubicBezTo>
                    <a:pt x="2029" y="262"/>
                    <a:pt x="2032" y="245"/>
                    <a:pt x="2031" y="233"/>
                  </a:cubicBezTo>
                  <a:close/>
                  <a:moveTo>
                    <a:pt x="2018" y="548"/>
                  </a:moveTo>
                  <a:cubicBezTo>
                    <a:pt x="2030" y="550"/>
                    <a:pt x="2016" y="570"/>
                    <a:pt x="2018" y="548"/>
                  </a:cubicBezTo>
                  <a:close/>
                  <a:moveTo>
                    <a:pt x="2020" y="1180"/>
                  </a:moveTo>
                  <a:cubicBezTo>
                    <a:pt x="2019" y="1187"/>
                    <a:pt x="2016" y="1181"/>
                    <a:pt x="2012" y="1180"/>
                  </a:cubicBezTo>
                  <a:cubicBezTo>
                    <a:pt x="2014" y="1173"/>
                    <a:pt x="2017" y="1180"/>
                    <a:pt x="2020" y="1180"/>
                  </a:cubicBezTo>
                  <a:close/>
                  <a:moveTo>
                    <a:pt x="2010" y="156"/>
                  </a:moveTo>
                  <a:cubicBezTo>
                    <a:pt x="2018" y="150"/>
                    <a:pt x="2018" y="172"/>
                    <a:pt x="2010" y="167"/>
                  </a:cubicBezTo>
                  <a:cubicBezTo>
                    <a:pt x="2010" y="163"/>
                    <a:pt x="2010" y="159"/>
                    <a:pt x="2010" y="156"/>
                  </a:cubicBezTo>
                  <a:close/>
                  <a:moveTo>
                    <a:pt x="2010" y="174"/>
                  </a:moveTo>
                  <a:cubicBezTo>
                    <a:pt x="2011" y="167"/>
                    <a:pt x="2013" y="176"/>
                    <a:pt x="2012" y="182"/>
                  </a:cubicBezTo>
                  <a:cubicBezTo>
                    <a:pt x="2011" y="189"/>
                    <a:pt x="2009" y="179"/>
                    <a:pt x="2010" y="174"/>
                  </a:cubicBezTo>
                  <a:close/>
                  <a:moveTo>
                    <a:pt x="2012" y="559"/>
                  </a:moveTo>
                  <a:cubicBezTo>
                    <a:pt x="2009" y="557"/>
                    <a:pt x="2007" y="554"/>
                    <a:pt x="2007" y="548"/>
                  </a:cubicBezTo>
                  <a:cubicBezTo>
                    <a:pt x="2010" y="549"/>
                    <a:pt x="2013" y="552"/>
                    <a:pt x="2012" y="559"/>
                  </a:cubicBezTo>
                  <a:close/>
                  <a:moveTo>
                    <a:pt x="2007" y="1187"/>
                  </a:moveTo>
                  <a:cubicBezTo>
                    <a:pt x="2019" y="1189"/>
                    <a:pt x="2004" y="1209"/>
                    <a:pt x="2007" y="1187"/>
                  </a:cubicBezTo>
                  <a:close/>
                  <a:moveTo>
                    <a:pt x="1991" y="182"/>
                  </a:moveTo>
                  <a:cubicBezTo>
                    <a:pt x="1995" y="172"/>
                    <a:pt x="2006" y="183"/>
                    <a:pt x="2004" y="193"/>
                  </a:cubicBezTo>
                  <a:cubicBezTo>
                    <a:pt x="1998" y="197"/>
                    <a:pt x="1993" y="182"/>
                    <a:pt x="1991" y="193"/>
                  </a:cubicBezTo>
                  <a:cubicBezTo>
                    <a:pt x="1988" y="192"/>
                    <a:pt x="1989" y="185"/>
                    <a:pt x="1986" y="185"/>
                  </a:cubicBezTo>
                  <a:cubicBezTo>
                    <a:pt x="1985" y="178"/>
                    <a:pt x="2004" y="189"/>
                    <a:pt x="1991" y="182"/>
                  </a:cubicBezTo>
                  <a:close/>
                  <a:moveTo>
                    <a:pt x="1996" y="537"/>
                  </a:moveTo>
                  <a:cubicBezTo>
                    <a:pt x="1995" y="544"/>
                    <a:pt x="1995" y="552"/>
                    <a:pt x="1988" y="551"/>
                  </a:cubicBezTo>
                  <a:cubicBezTo>
                    <a:pt x="1989" y="548"/>
                    <a:pt x="1991" y="545"/>
                    <a:pt x="1994" y="544"/>
                  </a:cubicBezTo>
                  <a:cubicBezTo>
                    <a:pt x="1991" y="539"/>
                    <a:pt x="1991" y="536"/>
                    <a:pt x="1996" y="537"/>
                  </a:cubicBezTo>
                  <a:close/>
                  <a:moveTo>
                    <a:pt x="1996" y="1169"/>
                  </a:moveTo>
                  <a:cubicBezTo>
                    <a:pt x="1999" y="1172"/>
                    <a:pt x="2000" y="1180"/>
                    <a:pt x="1996" y="1187"/>
                  </a:cubicBezTo>
                  <a:cubicBezTo>
                    <a:pt x="1990" y="1187"/>
                    <a:pt x="1995" y="1171"/>
                    <a:pt x="1996" y="1169"/>
                  </a:cubicBezTo>
                  <a:close/>
                  <a:moveTo>
                    <a:pt x="1996" y="211"/>
                  </a:moveTo>
                  <a:cubicBezTo>
                    <a:pt x="1990" y="213"/>
                    <a:pt x="1990" y="204"/>
                    <a:pt x="1983" y="207"/>
                  </a:cubicBezTo>
                  <a:cubicBezTo>
                    <a:pt x="1989" y="197"/>
                    <a:pt x="1991" y="205"/>
                    <a:pt x="1999" y="200"/>
                  </a:cubicBezTo>
                  <a:cubicBezTo>
                    <a:pt x="1998" y="203"/>
                    <a:pt x="1996" y="206"/>
                    <a:pt x="1996" y="211"/>
                  </a:cubicBezTo>
                  <a:close/>
                  <a:moveTo>
                    <a:pt x="1999" y="570"/>
                  </a:moveTo>
                  <a:cubicBezTo>
                    <a:pt x="2011" y="571"/>
                    <a:pt x="1996" y="591"/>
                    <a:pt x="1999" y="570"/>
                  </a:cubicBezTo>
                  <a:close/>
                  <a:moveTo>
                    <a:pt x="1986" y="122"/>
                  </a:moveTo>
                  <a:cubicBezTo>
                    <a:pt x="1988" y="123"/>
                    <a:pt x="1987" y="130"/>
                    <a:pt x="1991" y="130"/>
                  </a:cubicBezTo>
                  <a:cubicBezTo>
                    <a:pt x="1990" y="134"/>
                    <a:pt x="1986" y="132"/>
                    <a:pt x="1986" y="137"/>
                  </a:cubicBezTo>
                  <a:cubicBezTo>
                    <a:pt x="1977" y="135"/>
                    <a:pt x="1988" y="129"/>
                    <a:pt x="1986" y="122"/>
                  </a:cubicBezTo>
                  <a:close/>
                  <a:moveTo>
                    <a:pt x="1977" y="133"/>
                  </a:moveTo>
                  <a:cubicBezTo>
                    <a:pt x="1976" y="133"/>
                    <a:pt x="1974" y="133"/>
                    <a:pt x="1972" y="133"/>
                  </a:cubicBezTo>
                  <a:cubicBezTo>
                    <a:pt x="1973" y="130"/>
                    <a:pt x="1971" y="130"/>
                    <a:pt x="1969" y="130"/>
                  </a:cubicBezTo>
                  <a:cubicBezTo>
                    <a:pt x="1968" y="123"/>
                    <a:pt x="1982" y="124"/>
                    <a:pt x="1977" y="133"/>
                  </a:cubicBezTo>
                  <a:close/>
                  <a:moveTo>
                    <a:pt x="1961" y="133"/>
                  </a:moveTo>
                  <a:cubicBezTo>
                    <a:pt x="1966" y="142"/>
                    <a:pt x="1971" y="147"/>
                    <a:pt x="1980" y="141"/>
                  </a:cubicBezTo>
                  <a:cubicBezTo>
                    <a:pt x="1979" y="144"/>
                    <a:pt x="1978" y="145"/>
                    <a:pt x="1977" y="148"/>
                  </a:cubicBezTo>
                  <a:cubicBezTo>
                    <a:pt x="1977" y="156"/>
                    <a:pt x="1983" y="158"/>
                    <a:pt x="1983" y="163"/>
                  </a:cubicBezTo>
                  <a:cubicBezTo>
                    <a:pt x="1982" y="176"/>
                    <a:pt x="1978" y="182"/>
                    <a:pt x="1972" y="193"/>
                  </a:cubicBezTo>
                  <a:cubicBezTo>
                    <a:pt x="1969" y="192"/>
                    <a:pt x="1972" y="174"/>
                    <a:pt x="1975" y="174"/>
                  </a:cubicBezTo>
                  <a:cubicBezTo>
                    <a:pt x="1979" y="174"/>
                    <a:pt x="1974" y="159"/>
                    <a:pt x="1972" y="152"/>
                  </a:cubicBezTo>
                  <a:cubicBezTo>
                    <a:pt x="1968" y="152"/>
                    <a:pt x="1971" y="159"/>
                    <a:pt x="1969" y="163"/>
                  </a:cubicBezTo>
                  <a:cubicBezTo>
                    <a:pt x="1964" y="176"/>
                    <a:pt x="1972" y="145"/>
                    <a:pt x="1961" y="148"/>
                  </a:cubicBezTo>
                  <a:cubicBezTo>
                    <a:pt x="1961" y="143"/>
                    <a:pt x="1961" y="138"/>
                    <a:pt x="1961" y="133"/>
                  </a:cubicBezTo>
                  <a:close/>
                  <a:moveTo>
                    <a:pt x="1969" y="1232"/>
                  </a:moveTo>
                  <a:cubicBezTo>
                    <a:pt x="1973" y="1227"/>
                    <a:pt x="1971" y="1214"/>
                    <a:pt x="1961" y="1217"/>
                  </a:cubicBezTo>
                  <a:cubicBezTo>
                    <a:pt x="1960" y="1209"/>
                    <a:pt x="1966" y="1212"/>
                    <a:pt x="1967" y="1206"/>
                  </a:cubicBezTo>
                  <a:cubicBezTo>
                    <a:pt x="1967" y="1202"/>
                    <a:pt x="1972" y="1203"/>
                    <a:pt x="1975" y="1202"/>
                  </a:cubicBezTo>
                  <a:cubicBezTo>
                    <a:pt x="1976" y="1211"/>
                    <a:pt x="1974" y="1216"/>
                    <a:pt x="1972" y="1221"/>
                  </a:cubicBezTo>
                  <a:cubicBezTo>
                    <a:pt x="1974" y="1224"/>
                    <a:pt x="1978" y="1234"/>
                    <a:pt x="1969" y="1232"/>
                  </a:cubicBezTo>
                  <a:close/>
                  <a:moveTo>
                    <a:pt x="1964" y="1306"/>
                  </a:moveTo>
                  <a:cubicBezTo>
                    <a:pt x="1963" y="1310"/>
                    <a:pt x="1961" y="1313"/>
                    <a:pt x="1956" y="1313"/>
                  </a:cubicBezTo>
                  <a:cubicBezTo>
                    <a:pt x="1957" y="1309"/>
                    <a:pt x="1959" y="1306"/>
                    <a:pt x="1964" y="1306"/>
                  </a:cubicBezTo>
                  <a:close/>
                  <a:moveTo>
                    <a:pt x="1964" y="207"/>
                  </a:moveTo>
                  <a:cubicBezTo>
                    <a:pt x="1964" y="205"/>
                    <a:pt x="1964" y="202"/>
                    <a:pt x="1964" y="200"/>
                  </a:cubicBezTo>
                  <a:cubicBezTo>
                    <a:pt x="1969" y="199"/>
                    <a:pt x="1972" y="201"/>
                    <a:pt x="1972" y="207"/>
                  </a:cubicBezTo>
                  <a:cubicBezTo>
                    <a:pt x="1969" y="207"/>
                    <a:pt x="1967" y="207"/>
                    <a:pt x="1964" y="207"/>
                  </a:cubicBezTo>
                  <a:close/>
                  <a:moveTo>
                    <a:pt x="1961" y="163"/>
                  </a:moveTo>
                  <a:cubicBezTo>
                    <a:pt x="1969" y="151"/>
                    <a:pt x="1953" y="183"/>
                    <a:pt x="1967" y="178"/>
                  </a:cubicBezTo>
                  <a:cubicBezTo>
                    <a:pt x="1967" y="184"/>
                    <a:pt x="1963" y="186"/>
                    <a:pt x="1964" y="193"/>
                  </a:cubicBezTo>
                  <a:cubicBezTo>
                    <a:pt x="1960" y="187"/>
                    <a:pt x="1956" y="171"/>
                    <a:pt x="1961" y="163"/>
                  </a:cubicBezTo>
                  <a:close/>
                  <a:moveTo>
                    <a:pt x="1940" y="108"/>
                  </a:moveTo>
                  <a:cubicBezTo>
                    <a:pt x="1942" y="108"/>
                    <a:pt x="1945" y="108"/>
                    <a:pt x="1948" y="108"/>
                  </a:cubicBezTo>
                  <a:cubicBezTo>
                    <a:pt x="1945" y="115"/>
                    <a:pt x="1952" y="125"/>
                    <a:pt x="1953" y="115"/>
                  </a:cubicBezTo>
                  <a:cubicBezTo>
                    <a:pt x="1956" y="114"/>
                    <a:pt x="1956" y="116"/>
                    <a:pt x="1956" y="119"/>
                  </a:cubicBezTo>
                  <a:cubicBezTo>
                    <a:pt x="1955" y="122"/>
                    <a:pt x="1957" y="122"/>
                    <a:pt x="1959" y="122"/>
                  </a:cubicBezTo>
                  <a:cubicBezTo>
                    <a:pt x="1959" y="127"/>
                    <a:pt x="1954" y="124"/>
                    <a:pt x="1953" y="126"/>
                  </a:cubicBezTo>
                  <a:cubicBezTo>
                    <a:pt x="1951" y="130"/>
                    <a:pt x="1954" y="139"/>
                    <a:pt x="1951" y="141"/>
                  </a:cubicBezTo>
                  <a:cubicBezTo>
                    <a:pt x="1947" y="138"/>
                    <a:pt x="1945" y="132"/>
                    <a:pt x="1945" y="122"/>
                  </a:cubicBezTo>
                  <a:cubicBezTo>
                    <a:pt x="1943" y="122"/>
                    <a:pt x="1943" y="127"/>
                    <a:pt x="1942" y="130"/>
                  </a:cubicBezTo>
                  <a:cubicBezTo>
                    <a:pt x="1940" y="128"/>
                    <a:pt x="1938" y="126"/>
                    <a:pt x="1934" y="126"/>
                  </a:cubicBezTo>
                  <a:cubicBezTo>
                    <a:pt x="1937" y="121"/>
                    <a:pt x="1937" y="112"/>
                    <a:pt x="1940" y="108"/>
                  </a:cubicBezTo>
                  <a:close/>
                  <a:moveTo>
                    <a:pt x="1937" y="174"/>
                  </a:moveTo>
                  <a:cubicBezTo>
                    <a:pt x="1934" y="161"/>
                    <a:pt x="1954" y="164"/>
                    <a:pt x="1948" y="178"/>
                  </a:cubicBezTo>
                  <a:cubicBezTo>
                    <a:pt x="1943" y="171"/>
                    <a:pt x="1946" y="171"/>
                    <a:pt x="1937" y="174"/>
                  </a:cubicBezTo>
                  <a:close/>
                  <a:moveTo>
                    <a:pt x="1945" y="1095"/>
                  </a:moveTo>
                  <a:cubicBezTo>
                    <a:pt x="1944" y="1100"/>
                    <a:pt x="1942" y="1103"/>
                    <a:pt x="1937" y="1102"/>
                  </a:cubicBezTo>
                  <a:cubicBezTo>
                    <a:pt x="1938" y="1098"/>
                    <a:pt x="1941" y="1095"/>
                    <a:pt x="1945" y="1095"/>
                  </a:cubicBezTo>
                  <a:close/>
                  <a:moveTo>
                    <a:pt x="1942" y="137"/>
                  </a:moveTo>
                  <a:cubicBezTo>
                    <a:pt x="1941" y="142"/>
                    <a:pt x="1939" y="145"/>
                    <a:pt x="1934" y="145"/>
                  </a:cubicBezTo>
                  <a:cubicBezTo>
                    <a:pt x="1936" y="140"/>
                    <a:pt x="1938" y="137"/>
                    <a:pt x="1942" y="137"/>
                  </a:cubicBezTo>
                  <a:close/>
                  <a:moveTo>
                    <a:pt x="1908" y="193"/>
                  </a:moveTo>
                  <a:cubicBezTo>
                    <a:pt x="1910" y="201"/>
                    <a:pt x="1917" y="202"/>
                    <a:pt x="1921" y="207"/>
                  </a:cubicBezTo>
                  <a:cubicBezTo>
                    <a:pt x="1919" y="214"/>
                    <a:pt x="1915" y="210"/>
                    <a:pt x="1916" y="204"/>
                  </a:cubicBezTo>
                  <a:cubicBezTo>
                    <a:pt x="1910" y="205"/>
                    <a:pt x="1909" y="201"/>
                    <a:pt x="1905" y="200"/>
                  </a:cubicBezTo>
                  <a:cubicBezTo>
                    <a:pt x="1901" y="191"/>
                    <a:pt x="1913" y="185"/>
                    <a:pt x="1905" y="182"/>
                  </a:cubicBezTo>
                  <a:cubicBezTo>
                    <a:pt x="1905" y="173"/>
                    <a:pt x="1912" y="183"/>
                    <a:pt x="1913" y="182"/>
                  </a:cubicBezTo>
                  <a:cubicBezTo>
                    <a:pt x="1913" y="181"/>
                    <a:pt x="1913" y="178"/>
                    <a:pt x="1913" y="178"/>
                  </a:cubicBezTo>
                  <a:cubicBezTo>
                    <a:pt x="1919" y="179"/>
                    <a:pt x="1920" y="185"/>
                    <a:pt x="1924" y="193"/>
                  </a:cubicBezTo>
                  <a:cubicBezTo>
                    <a:pt x="1927" y="199"/>
                    <a:pt x="1935" y="201"/>
                    <a:pt x="1932" y="207"/>
                  </a:cubicBezTo>
                  <a:cubicBezTo>
                    <a:pt x="1922" y="210"/>
                    <a:pt x="1920" y="202"/>
                    <a:pt x="1921" y="189"/>
                  </a:cubicBezTo>
                  <a:cubicBezTo>
                    <a:pt x="1915" y="188"/>
                    <a:pt x="1911" y="190"/>
                    <a:pt x="1908" y="193"/>
                  </a:cubicBezTo>
                  <a:close/>
                  <a:moveTo>
                    <a:pt x="1897" y="244"/>
                  </a:moveTo>
                  <a:cubicBezTo>
                    <a:pt x="1897" y="239"/>
                    <a:pt x="1894" y="244"/>
                    <a:pt x="1894" y="244"/>
                  </a:cubicBezTo>
                  <a:cubicBezTo>
                    <a:pt x="1891" y="243"/>
                    <a:pt x="1892" y="235"/>
                    <a:pt x="1886" y="237"/>
                  </a:cubicBezTo>
                  <a:cubicBezTo>
                    <a:pt x="1888" y="231"/>
                    <a:pt x="1895" y="232"/>
                    <a:pt x="1899" y="230"/>
                  </a:cubicBezTo>
                  <a:cubicBezTo>
                    <a:pt x="1899" y="239"/>
                    <a:pt x="1897" y="253"/>
                    <a:pt x="1908" y="248"/>
                  </a:cubicBezTo>
                  <a:cubicBezTo>
                    <a:pt x="1909" y="258"/>
                    <a:pt x="1898" y="252"/>
                    <a:pt x="1897" y="259"/>
                  </a:cubicBezTo>
                  <a:cubicBezTo>
                    <a:pt x="1890" y="258"/>
                    <a:pt x="1900" y="253"/>
                    <a:pt x="1897" y="244"/>
                  </a:cubicBezTo>
                  <a:close/>
                  <a:moveTo>
                    <a:pt x="1908" y="241"/>
                  </a:moveTo>
                  <a:cubicBezTo>
                    <a:pt x="1901" y="240"/>
                    <a:pt x="1901" y="231"/>
                    <a:pt x="1905" y="226"/>
                  </a:cubicBezTo>
                  <a:cubicBezTo>
                    <a:pt x="1911" y="227"/>
                    <a:pt x="1911" y="236"/>
                    <a:pt x="1908" y="241"/>
                  </a:cubicBezTo>
                  <a:close/>
                  <a:moveTo>
                    <a:pt x="1902" y="222"/>
                  </a:moveTo>
                  <a:cubicBezTo>
                    <a:pt x="1904" y="217"/>
                    <a:pt x="1911" y="217"/>
                    <a:pt x="1916" y="215"/>
                  </a:cubicBezTo>
                  <a:cubicBezTo>
                    <a:pt x="1918" y="227"/>
                    <a:pt x="1907" y="221"/>
                    <a:pt x="1902" y="222"/>
                  </a:cubicBezTo>
                  <a:close/>
                  <a:moveTo>
                    <a:pt x="1926" y="189"/>
                  </a:moveTo>
                  <a:cubicBezTo>
                    <a:pt x="1936" y="167"/>
                    <a:pt x="1940" y="211"/>
                    <a:pt x="1926" y="189"/>
                  </a:cubicBezTo>
                  <a:close/>
                  <a:moveTo>
                    <a:pt x="1932" y="211"/>
                  </a:moveTo>
                  <a:cubicBezTo>
                    <a:pt x="1941" y="209"/>
                    <a:pt x="1932" y="228"/>
                    <a:pt x="1929" y="222"/>
                  </a:cubicBezTo>
                  <a:cubicBezTo>
                    <a:pt x="1929" y="222"/>
                    <a:pt x="1931" y="215"/>
                    <a:pt x="1932" y="215"/>
                  </a:cubicBezTo>
                  <a:cubicBezTo>
                    <a:pt x="1932" y="215"/>
                    <a:pt x="1932" y="211"/>
                    <a:pt x="1932" y="211"/>
                  </a:cubicBezTo>
                  <a:close/>
                  <a:moveTo>
                    <a:pt x="1934" y="159"/>
                  </a:moveTo>
                  <a:cubicBezTo>
                    <a:pt x="1934" y="164"/>
                    <a:pt x="1933" y="161"/>
                    <a:pt x="1932" y="163"/>
                  </a:cubicBezTo>
                  <a:cubicBezTo>
                    <a:pt x="1931" y="166"/>
                    <a:pt x="1922" y="176"/>
                    <a:pt x="1932" y="174"/>
                  </a:cubicBezTo>
                  <a:cubicBezTo>
                    <a:pt x="1931" y="178"/>
                    <a:pt x="1927" y="177"/>
                    <a:pt x="1924" y="178"/>
                  </a:cubicBezTo>
                  <a:cubicBezTo>
                    <a:pt x="1924" y="173"/>
                    <a:pt x="1924" y="168"/>
                    <a:pt x="1924" y="163"/>
                  </a:cubicBezTo>
                  <a:cubicBezTo>
                    <a:pt x="1928" y="163"/>
                    <a:pt x="1931" y="164"/>
                    <a:pt x="1932" y="159"/>
                  </a:cubicBezTo>
                  <a:cubicBezTo>
                    <a:pt x="1932" y="155"/>
                    <a:pt x="1935" y="157"/>
                    <a:pt x="1934" y="159"/>
                  </a:cubicBezTo>
                  <a:close/>
                  <a:moveTo>
                    <a:pt x="1921" y="119"/>
                  </a:moveTo>
                  <a:cubicBezTo>
                    <a:pt x="1923" y="120"/>
                    <a:pt x="1926" y="113"/>
                    <a:pt x="1929" y="119"/>
                  </a:cubicBezTo>
                  <a:cubicBezTo>
                    <a:pt x="1930" y="125"/>
                    <a:pt x="1920" y="138"/>
                    <a:pt x="1932" y="137"/>
                  </a:cubicBezTo>
                  <a:cubicBezTo>
                    <a:pt x="1929" y="146"/>
                    <a:pt x="1915" y="158"/>
                    <a:pt x="1921" y="167"/>
                  </a:cubicBezTo>
                  <a:cubicBezTo>
                    <a:pt x="1913" y="177"/>
                    <a:pt x="1913" y="159"/>
                    <a:pt x="1916" y="148"/>
                  </a:cubicBezTo>
                  <a:cubicBezTo>
                    <a:pt x="1918" y="148"/>
                    <a:pt x="1921" y="148"/>
                    <a:pt x="1924" y="148"/>
                  </a:cubicBezTo>
                  <a:cubicBezTo>
                    <a:pt x="1922" y="137"/>
                    <a:pt x="1922" y="141"/>
                    <a:pt x="1924" y="130"/>
                  </a:cubicBezTo>
                  <a:cubicBezTo>
                    <a:pt x="1921" y="129"/>
                    <a:pt x="1919" y="131"/>
                    <a:pt x="1918" y="133"/>
                  </a:cubicBezTo>
                  <a:cubicBezTo>
                    <a:pt x="1912" y="135"/>
                    <a:pt x="1926" y="115"/>
                    <a:pt x="1913" y="119"/>
                  </a:cubicBezTo>
                  <a:cubicBezTo>
                    <a:pt x="1914" y="117"/>
                    <a:pt x="1916" y="110"/>
                    <a:pt x="1918" y="111"/>
                  </a:cubicBezTo>
                  <a:cubicBezTo>
                    <a:pt x="1921" y="112"/>
                    <a:pt x="1920" y="118"/>
                    <a:pt x="1921" y="119"/>
                  </a:cubicBezTo>
                  <a:close/>
                  <a:moveTo>
                    <a:pt x="1913" y="71"/>
                  </a:moveTo>
                  <a:cubicBezTo>
                    <a:pt x="1915" y="71"/>
                    <a:pt x="1917" y="71"/>
                    <a:pt x="1918" y="71"/>
                  </a:cubicBezTo>
                  <a:cubicBezTo>
                    <a:pt x="1918" y="77"/>
                    <a:pt x="1918" y="83"/>
                    <a:pt x="1918" y="89"/>
                  </a:cubicBezTo>
                  <a:cubicBezTo>
                    <a:pt x="1916" y="87"/>
                    <a:pt x="1916" y="81"/>
                    <a:pt x="1910" y="82"/>
                  </a:cubicBezTo>
                  <a:cubicBezTo>
                    <a:pt x="1910" y="76"/>
                    <a:pt x="1913" y="75"/>
                    <a:pt x="1913" y="71"/>
                  </a:cubicBezTo>
                  <a:close/>
                  <a:moveTo>
                    <a:pt x="1897" y="111"/>
                  </a:moveTo>
                  <a:cubicBezTo>
                    <a:pt x="1904" y="113"/>
                    <a:pt x="1909" y="131"/>
                    <a:pt x="1897" y="130"/>
                  </a:cubicBezTo>
                  <a:cubicBezTo>
                    <a:pt x="1897" y="124"/>
                    <a:pt x="1897" y="117"/>
                    <a:pt x="1897" y="111"/>
                  </a:cubicBezTo>
                  <a:close/>
                  <a:moveTo>
                    <a:pt x="1894" y="137"/>
                  </a:moveTo>
                  <a:cubicBezTo>
                    <a:pt x="1891" y="136"/>
                    <a:pt x="1889" y="132"/>
                    <a:pt x="1889" y="126"/>
                  </a:cubicBezTo>
                  <a:cubicBezTo>
                    <a:pt x="1892" y="128"/>
                    <a:pt x="1894" y="131"/>
                    <a:pt x="1894" y="137"/>
                  </a:cubicBezTo>
                  <a:close/>
                  <a:moveTo>
                    <a:pt x="1875" y="126"/>
                  </a:moveTo>
                  <a:cubicBezTo>
                    <a:pt x="1884" y="126"/>
                    <a:pt x="1872" y="118"/>
                    <a:pt x="1873" y="108"/>
                  </a:cubicBezTo>
                  <a:cubicBezTo>
                    <a:pt x="1875" y="110"/>
                    <a:pt x="1879" y="111"/>
                    <a:pt x="1883" y="111"/>
                  </a:cubicBezTo>
                  <a:cubicBezTo>
                    <a:pt x="1883" y="116"/>
                    <a:pt x="1883" y="122"/>
                    <a:pt x="1886" y="122"/>
                  </a:cubicBezTo>
                  <a:cubicBezTo>
                    <a:pt x="1886" y="129"/>
                    <a:pt x="1877" y="125"/>
                    <a:pt x="1875" y="130"/>
                  </a:cubicBezTo>
                  <a:cubicBezTo>
                    <a:pt x="1876" y="137"/>
                    <a:pt x="1875" y="141"/>
                    <a:pt x="1870" y="141"/>
                  </a:cubicBezTo>
                  <a:cubicBezTo>
                    <a:pt x="1874" y="139"/>
                    <a:pt x="1867" y="126"/>
                    <a:pt x="1875" y="126"/>
                  </a:cubicBezTo>
                  <a:close/>
                  <a:moveTo>
                    <a:pt x="1878" y="152"/>
                  </a:moveTo>
                  <a:cubicBezTo>
                    <a:pt x="1879" y="149"/>
                    <a:pt x="1881" y="148"/>
                    <a:pt x="1881" y="145"/>
                  </a:cubicBezTo>
                  <a:cubicBezTo>
                    <a:pt x="1882" y="145"/>
                    <a:pt x="1884" y="145"/>
                    <a:pt x="1886" y="145"/>
                  </a:cubicBezTo>
                  <a:cubicBezTo>
                    <a:pt x="1887" y="152"/>
                    <a:pt x="1882" y="152"/>
                    <a:pt x="1878" y="152"/>
                  </a:cubicBezTo>
                  <a:close/>
                  <a:moveTo>
                    <a:pt x="1838" y="133"/>
                  </a:moveTo>
                  <a:cubicBezTo>
                    <a:pt x="1839" y="126"/>
                    <a:pt x="1841" y="136"/>
                    <a:pt x="1840" y="141"/>
                  </a:cubicBezTo>
                  <a:cubicBezTo>
                    <a:pt x="1839" y="148"/>
                    <a:pt x="1837" y="138"/>
                    <a:pt x="1838" y="133"/>
                  </a:cubicBezTo>
                  <a:close/>
                  <a:moveTo>
                    <a:pt x="1830" y="126"/>
                  </a:moveTo>
                  <a:cubicBezTo>
                    <a:pt x="1822" y="128"/>
                    <a:pt x="1827" y="112"/>
                    <a:pt x="1822" y="111"/>
                  </a:cubicBezTo>
                  <a:cubicBezTo>
                    <a:pt x="1825" y="101"/>
                    <a:pt x="1831" y="117"/>
                    <a:pt x="1830" y="126"/>
                  </a:cubicBezTo>
                  <a:close/>
                  <a:moveTo>
                    <a:pt x="1773" y="122"/>
                  </a:moveTo>
                  <a:cubicBezTo>
                    <a:pt x="1775" y="123"/>
                    <a:pt x="1776" y="126"/>
                    <a:pt x="1778" y="126"/>
                  </a:cubicBezTo>
                  <a:cubicBezTo>
                    <a:pt x="1778" y="129"/>
                    <a:pt x="1776" y="130"/>
                    <a:pt x="1776" y="133"/>
                  </a:cubicBezTo>
                  <a:cubicBezTo>
                    <a:pt x="1774" y="133"/>
                    <a:pt x="1773" y="130"/>
                    <a:pt x="1770" y="130"/>
                  </a:cubicBezTo>
                  <a:cubicBezTo>
                    <a:pt x="1771" y="127"/>
                    <a:pt x="1773" y="126"/>
                    <a:pt x="1773" y="122"/>
                  </a:cubicBezTo>
                  <a:close/>
                  <a:moveTo>
                    <a:pt x="1757" y="96"/>
                  </a:moveTo>
                  <a:cubicBezTo>
                    <a:pt x="1769" y="99"/>
                    <a:pt x="1755" y="119"/>
                    <a:pt x="1757" y="96"/>
                  </a:cubicBezTo>
                  <a:close/>
                  <a:moveTo>
                    <a:pt x="1711" y="163"/>
                  </a:moveTo>
                  <a:cubicBezTo>
                    <a:pt x="1717" y="164"/>
                    <a:pt x="1715" y="146"/>
                    <a:pt x="1709" y="152"/>
                  </a:cubicBezTo>
                  <a:cubicBezTo>
                    <a:pt x="1710" y="149"/>
                    <a:pt x="1711" y="145"/>
                    <a:pt x="1714" y="145"/>
                  </a:cubicBezTo>
                  <a:cubicBezTo>
                    <a:pt x="1723" y="135"/>
                    <a:pt x="1724" y="159"/>
                    <a:pt x="1725" y="137"/>
                  </a:cubicBezTo>
                  <a:cubicBezTo>
                    <a:pt x="1730" y="139"/>
                    <a:pt x="1730" y="148"/>
                    <a:pt x="1738" y="145"/>
                  </a:cubicBezTo>
                  <a:cubicBezTo>
                    <a:pt x="1736" y="155"/>
                    <a:pt x="1742" y="154"/>
                    <a:pt x="1741" y="163"/>
                  </a:cubicBezTo>
                  <a:cubicBezTo>
                    <a:pt x="1749" y="160"/>
                    <a:pt x="1739" y="151"/>
                    <a:pt x="1741" y="145"/>
                  </a:cubicBezTo>
                  <a:cubicBezTo>
                    <a:pt x="1746" y="151"/>
                    <a:pt x="1753" y="132"/>
                    <a:pt x="1760" y="141"/>
                  </a:cubicBezTo>
                  <a:cubicBezTo>
                    <a:pt x="1760" y="141"/>
                    <a:pt x="1760" y="145"/>
                    <a:pt x="1760" y="145"/>
                  </a:cubicBezTo>
                  <a:cubicBezTo>
                    <a:pt x="1761" y="144"/>
                    <a:pt x="1763" y="137"/>
                    <a:pt x="1762" y="137"/>
                  </a:cubicBezTo>
                  <a:cubicBezTo>
                    <a:pt x="1766" y="137"/>
                    <a:pt x="1766" y="147"/>
                    <a:pt x="1768" y="148"/>
                  </a:cubicBezTo>
                  <a:cubicBezTo>
                    <a:pt x="1772" y="151"/>
                    <a:pt x="1773" y="134"/>
                    <a:pt x="1778" y="145"/>
                  </a:cubicBezTo>
                  <a:cubicBezTo>
                    <a:pt x="1787" y="146"/>
                    <a:pt x="1779" y="126"/>
                    <a:pt x="1789" y="130"/>
                  </a:cubicBezTo>
                  <a:cubicBezTo>
                    <a:pt x="1788" y="135"/>
                    <a:pt x="1785" y="139"/>
                    <a:pt x="1784" y="145"/>
                  </a:cubicBezTo>
                  <a:cubicBezTo>
                    <a:pt x="1785" y="152"/>
                    <a:pt x="1794" y="147"/>
                    <a:pt x="1797" y="148"/>
                  </a:cubicBezTo>
                  <a:cubicBezTo>
                    <a:pt x="1797" y="148"/>
                    <a:pt x="1797" y="152"/>
                    <a:pt x="1797" y="152"/>
                  </a:cubicBezTo>
                  <a:cubicBezTo>
                    <a:pt x="1803" y="153"/>
                    <a:pt x="1811" y="148"/>
                    <a:pt x="1816" y="156"/>
                  </a:cubicBezTo>
                  <a:cubicBezTo>
                    <a:pt x="1816" y="156"/>
                    <a:pt x="1816" y="159"/>
                    <a:pt x="1816" y="159"/>
                  </a:cubicBezTo>
                  <a:cubicBezTo>
                    <a:pt x="1824" y="159"/>
                    <a:pt x="1822" y="138"/>
                    <a:pt x="1827" y="159"/>
                  </a:cubicBezTo>
                  <a:cubicBezTo>
                    <a:pt x="1831" y="158"/>
                    <a:pt x="1829" y="150"/>
                    <a:pt x="1830" y="145"/>
                  </a:cubicBezTo>
                  <a:cubicBezTo>
                    <a:pt x="1827" y="141"/>
                    <a:pt x="1824" y="137"/>
                    <a:pt x="1822" y="133"/>
                  </a:cubicBezTo>
                  <a:cubicBezTo>
                    <a:pt x="1821" y="122"/>
                    <a:pt x="1829" y="143"/>
                    <a:pt x="1830" y="130"/>
                  </a:cubicBezTo>
                  <a:cubicBezTo>
                    <a:pt x="1837" y="136"/>
                    <a:pt x="1826" y="166"/>
                    <a:pt x="1843" y="159"/>
                  </a:cubicBezTo>
                  <a:cubicBezTo>
                    <a:pt x="1842" y="162"/>
                    <a:pt x="1840" y="165"/>
                    <a:pt x="1840" y="170"/>
                  </a:cubicBezTo>
                  <a:cubicBezTo>
                    <a:pt x="1832" y="174"/>
                    <a:pt x="1832" y="165"/>
                    <a:pt x="1827" y="163"/>
                  </a:cubicBezTo>
                  <a:cubicBezTo>
                    <a:pt x="1820" y="163"/>
                    <a:pt x="1815" y="167"/>
                    <a:pt x="1811" y="167"/>
                  </a:cubicBezTo>
                  <a:cubicBezTo>
                    <a:pt x="1812" y="167"/>
                    <a:pt x="1808" y="155"/>
                    <a:pt x="1805" y="159"/>
                  </a:cubicBezTo>
                  <a:cubicBezTo>
                    <a:pt x="1803" y="164"/>
                    <a:pt x="1805" y="160"/>
                    <a:pt x="1803" y="159"/>
                  </a:cubicBezTo>
                  <a:cubicBezTo>
                    <a:pt x="1800" y="159"/>
                    <a:pt x="1800" y="163"/>
                    <a:pt x="1800" y="163"/>
                  </a:cubicBezTo>
                  <a:cubicBezTo>
                    <a:pt x="1794" y="162"/>
                    <a:pt x="1793" y="156"/>
                    <a:pt x="1787" y="156"/>
                  </a:cubicBezTo>
                  <a:cubicBezTo>
                    <a:pt x="1787" y="159"/>
                    <a:pt x="1790" y="159"/>
                    <a:pt x="1792" y="159"/>
                  </a:cubicBezTo>
                  <a:cubicBezTo>
                    <a:pt x="1789" y="166"/>
                    <a:pt x="1785" y="170"/>
                    <a:pt x="1784" y="178"/>
                  </a:cubicBezTo>
                  <a:cubicBezTo>
                    <a:pt x="1776" y="175"/>
                    <a:pt x="1787" y="169"/>
                    <a:pt x="1784" y="159"/>
                  </a:cubicBezTo>
                  <a:cubicBezTo>
                    <a:pt x="1781" y="159"/>
                    <a:pt x="1782" y="164"/>
                    <a:pt x="1781" y="167"/>
                  </a:cubicBezTo>
                  <a:cubicBezTo>
                    <a:pt x="1778" y="164"/>
                    <a:pt x="1778" y="158"/>
                    <a:pt x="1773" y="159"/>
                  </a:cubicBezTo>
                  <a:cubicBezTo>
                    <a:pt x="1773" y="156"/>
                    <a:pt x="1773" y="152"/>
                    <a:pt x="1773" y="148"/>
                  </a:cubicBezTo>
                  <a:cubicBezTo>
                    <a:pt x="1770" y="147"/>
                    <a:pt x="1764" y="159"/>
                    <a:pt x="1770" y="159"/>
                  </a:cubicBezTo>
                  <a:cubicBezTo>
                    <a:pt x="1769" y="163"/>
                    <a:pt x="1764" y="163"/>
                    <a:pt x="1765" y="170"/>
                  </a:cubicBezTo>
                  <a:cubicBezTo>
                    <a:pt x="1760" y="164"/>
                    <a:pt x="1762" y="171"/>
                    <a:pt x="1754" y="170"/>
                  </a:cubicBezTo>
                  <a:cubicBezTo>
                    <a:pt x="1754" y="160"/>
                    <a:pt x="1759" y="163"/>
                    <a:pt x="1754" y="156"/>
                  </a:cubicBezTo>
                  <a:cubicBezTo>
                    <a:pt x="1750" y="159"/>
                    <a:pt x="1749" y="165"/>
                    <a:pt x="1749" y="174"/>
                  </a:cubicBezTo>
                  <a:cubicBezTo>
                    <a:pt x="1747" y="172"/>
                    <a:pt x="1744" y="171"/>
                    <a:pt x="1744" y="167"/>
                  </a:cubicBezTo>
                  <a:cubicBezTo>
                    <a:pt x="1741" y="168"/>
                    <a:pt x="1741" y="170"/>
                    <a:pt x="1738" y="170"/>
                  </a:cubicBezTo>
                  <a:cubicBezTo>
                    <a:pt x="1734" y="171"/>
                    <a:pt x="1734" y="167"/>
                    <a:pt x="1730" y="167"/>
                  </a:cubicBezTo>
                  <a:cubicBezTo>
                    <a:pt x="1725" y="166"/>
                    <a:pt x="1722" y="176"/>
                    <a:pt x="1722" y="163"/>
                  </a:cubicBezTo>
                  <a:cubicBezTo>
                    <a:pt x="1717" y="159"/>
                    <a:pt x="1718" y="170"/>
                    <a:pt x="1717" y="170"/>
                  </a:cubicBezTo>
                  <a:cubicBezTo>
                    <a:pt x="1716" y="171"/>
                    <a:pt x="1706" y="163"/>
                    <a:pt x="1698" y="167"/>
                  </a:cubicBezTo>
                  <a:cubicBezTo>
                    <a:pt x="1700" y="155"/>
                    <a:pt x="1695" y="153"/>
                    <a:pt x="1695" y="145"/>
                  </a:cubicBezTo>
                  <a:cubicBezTo>
                    <a:pt x="1704" y="146"/>
                    <a:pt x="1704" y="160"/>
                    <a:pt x="1711" y="163"/>
                  </a:cubicBezTo>
                  <a:close/>
                  <a:moveTo>
                    <a:pt x="1832" y="196"/>
                  </a:moveTo>
                  <a:cubicBezTo>
                    <a:pt x="1824" y="194"/>
                    <a:pt x="1836" y="191"/>
                    <a:pt x="1835" y="185"/>
                  </a:cubicBezTo>
                  <a:cubicBezTo>
                    <a:pt x="1844" y="189"/>
                    <a:pt x="1832" y="193"/>
                    <a:pt x="1832" y="196"/>
                  </a:cubicBezTo>
                  <a:close/>
                  <a:moveTo>
                    <a:pt x="1838" y="1199"/>
                  </a:moveTo>
                  <a:cubicBezTo>
                    <a:pt x="1841" y="1198"/>
                    <a:pt x="1840" y="1202"/>
                    <a:pt x="1840" y="1202"/>
                  </a:cubicBezTo>
                  <a:cubicBezTo>
                    <a:pt x="1843" y="1203"/>
                    <a:pt x="1854" y="1199"/>
                    <a:pt x="1851" y="1210"/>
                  </a:cubicBezTo>
                  <a:cubicBezTo>
                    <a:pt x="1843" y="1212"/>
                    <a:pt x="1841" y="1206"/>
                    <a:pt x="1835" y="1206"/>
                  </a:cubicBezTo>
                  <a:cubicBezTo>
                    <a:pt x="1836" y="1206"/>
                    <a:pt x="1837" y="1199"/>
                    <a:pt x="1838" y="1199"/>
                  </a:cubicBezTo>
                  <a:close/>
                  <a:moveTo>
                    <a:pt x="1784" y="244"/>
                  </a:moveTo>
                  <a:cubicBezTo>
                    <a:pt x="1785" y="239"/>
                    <a:pt x="1792" y="241"/>
                    <a:pt x="1789" y="230"/>
                  </a:cubicBezTo>
                  <a:cubicBezTo>
                    <a:pt x="1792" y="232"/>
                    <a:pt x="1793" y="236"/>
                    <a:pt x="1795" y="241"/>
                  </a:cubicBezTo>
                  <a:cubicBezTo>
                    <a:pt x="1797" y="238"/>
                    <a:pt x="1799" y="234"/>
                    <a:pt x="1800" y="230"/>
                  </a:cubicBezTo>
                  <a:cubicBezTo>
                    <a:pt x="1804" y="231"/>
                    <a:pt x="1802" y="239"/>
                    <a:pt x="1803" y="244"/>
                  </a:cubicBezTo>
                  <a:cubicBezTo>
                    <a:pt x="1807" y="249"/>
                    <a:pt x="1809" y="255"/>
                    <a:pt x="1816" y="255"/>
                  </a:cubicBezTo>
                  <a:cubicBezTo>
                    <a:pt x="1814" y="266"/>
                    <a:pt x="1808" y="250"/>
                    <a:pt x="1800" y="255"/>
                  </a:cubicBezTo>
                  <a:cubicBezTo>
                    <a:pt x="1801" y="238"/>
                    <a:pt x="1795" y="249"/>
                    <a:pt x="1784" y="244"/>
                  </a:cubicBezTo>
                  <a:close/>
                  <a:moveTo>
                    <a:pt x="1805" y="226"/>
                  </a:moveTo>
                  <a:cubicBezTo>
                    <a:pt x="1796" y="232"/>
                    <a:pt x="1804" y="213"/>
                    <a:pt x="1797" y="215"/>
                  </a:cubicBezTo>
                  <a:cubicBezTo>
                    <a:pt x="1800" y="205"/>
                    <a:pt x="1808" y="217"/>
                    <a:pt x="1805" y="226"/>
                  </a:cubicBezTo>
                  <a:close/>
                  <a:moveTo>
                    <a:pt x="1797" y="189"/>
                  </a:moveTo>
                  <a:cubicBezTo>
                    <a:pt x="1800" y="178"/>
                    <a:pt x="1804" y="194"/>
                    <a:pt x="1811" y="189"/>
                  </a:cubicBezTo>
                  <a:cubicBezTo>
                    <a:pt x="1810" y="198"/>
                    <a:pt x="1799" y="191"/>
                    <a:pt x="1797" y="189"/>
                  </a:cubicBezTo>
                  <a:close/>
                  <a:moveTo>
                    <a:pt x="1730" y="1254"/>
                  </a:moveTo>
                  <a:cubicBezTo>
                    <a:pt x="1728" y="1255"/>
                    <a:pt x="1727" y="1258"/>
                    <a:pt x="1725" y="1258"/>
                  </a:cubicBezTo>
                  <a:cubicBezTo>
                    <a:pt x="1720" y="1258"/>
                    <a:pt x="1723" y="1270"/>
                    <a:pt x="1719" y="1273"/>
                  </a:cubicBezTo>
                  <a:cubicBezTo>
                    <a:pt x="1715" y="1265"/>
                    <a:pt x="1716" y="1269"/>
                    <a:pt x="1709" y="1265"/>
                  </a:cubicBezTo>
                  <a:cubicBezTo>
                    <a:pt x="1708" y="1258"/>
                    <a:pt x="1718" y="1265"/>
                    <a:pt x="1719" y="1261"/>
                  </a:cubicBezTo>
                  <a:cubicBezTo>
                    <a:pt x="1720" y="1261"/>
                    <a:pt x="1715" y="1252"/>
                    <a:pt x="1717" y="1250"/>
                  </a:cubicBezTo>
                  <a:cubicBezTo>
                    <a:pt x="1719" y="1248"/>
                    <a:pt x="1730" y="1259"/>
                    <a:pt x="1727" y="1243"/>
                  </a:cubicBezTo>
                  <a:cubicBezTo>
                    <a:pt x="1731" y="1232"/>
                    <a:pt x="1728" y="1261"/>
                    <a:pt x="1738" y="1254"/>
                  </a:cubicBezTo>
                  <a:cubicBezTo>
                    <a:pt x="1748" y="1256"/>
                    <a:pt x="1728" y="1263"/>
                    <a:pt x="1730" y="1254"/>
                  </a:cubicBezTo>
                  <a:close/>
                  <a:moveTo>
                    <a:pt x="1738" y="1265"/>
                  </a:moveTo>
                  <a:cubicBezTo>
                    <a:pt x="1732" y="1277"/>
                    <a:pt x="1725" y="1255"/>
                    <a:pt x="1738" y="1265"/>
                  </a:cubicBezTo>
                  <a:close/>
                  <a:moveTo>
                    <a:pt x="1725" y="1206"/>
                  </a:moveTo>
                  <a:cubicBezTo>
                    <a:pt x="1721" y="1207"/>
                    <a:pt x="1724" y="1217"/>
                    <a:pt x="1719" y="1217"/>
                  </a:cubicBezTo>
                  <a:cubicBezTo>
                    <a:pt x="1720" y="1221"/>
                    <a:pt x="1724" y="1220"/>
                    <a:pt x="1727" y="1221"/>
                  </a:cubicBezTo>
                  <a:cubicBezTo>
                    <a:pt x="1727" y="1226"/>
                    <a:pt x="1727" y="1231"/>
                    <a:pt x="1727" y="1235"/>
                  </a:cubicBezTo>
                  <a:cubicBezTo>
                    <a:pt x="1725" y="1235"/>
                    <a:pt x="1725" y="1231"/>
                    <a:pt x="1725" y="1228"/>
                  </a:cubicBezTo>
                  <a:cubicBezTo>
                    <a:pt x="1724" y="1223"/>
                    <a:pt x="1718" y="1225"/>
                    <a:pt x="1714" y="1225"/>
                  </a:cubicBezTo>
                  <a:cubicBezTo>
                    <a:pt x="1713" y="1216"/>
                    <a:pt x="1715" y="1211"/>
                    <a:pt x="1719" y="1210"/>
                  </a:cubicBezTo>
                  <a:cubicBezTo>
                    <a:pt x="1719" y="1204"/>
                    <a:pt x="1711" y="1208"/>
                    <a:pt x="1711" y="1202"/>
                  </a:cubicBezTo>
                  <a:cubicBezTo>
                    <a:pt x="1709" y="1191"/>
                    <a:pt x="1717" y="1196"/>
                    <a:pt x="1722" y="1195"/>
                  </a:cubicBezTo>
                  <a:cubicBezTo>
                    <a:pt x="1722" y="1192"/>
                    <a:pt x="1722" y="1190"/>
                    <a:pt x="1722" y="1187"/>
                  </a:cubicBezTo>
                  <a:cubicBezTo>
                    <a:pt x="1726" y="1189"/>
                    <a:pt x="1724" y="1197"/>
                    <a:pt x="1725" y="1202"/>
                  </a:cubicBezTo>
                  <a:cubicBezTo>
                    <a:pt x="1733" y="1205"/>
                    <a:pt x="1733" y="1195"/>
                    <a:pt x="1738" y="1202"/>
                  </a:cubicBezTo>
                  <a:cubicBezTo>
                    <a:pt x="1739" y="1210"/>
                    <a:pt x="1729" y="1204"/>
                    <a:pt x="1725" y="1206"/>
                  </a:cubicBezTo>
                  <a:close/>
                  <a:moveTo>
                    <a:pt x="1719" y="577"/>
                  </a:moveTo>
                  <a:cubicBezTo>
                    <a:pt x="1719" y="581"/>
                    <a:pt x="1716" y="580"/>
                    <a:pt x="1714" y="581"/>
                  </a:cubicBezTo>
                  <a:cubicBezTo>
                    <a:pt x="1714" y="578"/>
                    <a:pt x="1713" y="577"/>
                    <a:pt x="1711" y="577"/>
                  </a:cubicBezTo>
                  <a:cubicBezTo>
                    <a:pt x="1712" y="573"/>
                    <a:pt x="1717" y="575"/>
                    <a:pt x="1717" y="570"/>
                  </a:cubicBezTo>
                  <a:cubicBezTo>
                    <a:pt x="1720" y="571"/>
                    <a:pt x="1718" y="574"/>
                    <a:pt x="1717" y="574"/>
                  </a:cubicBezTo>
                  <a:cubicBezTo>
                    <a:pt x="1716" y="577"/>
                    <a:pt x="1718" y="577"/>
                    <a:pt x="1719" y="577"/>
                  </a:cubicBezTo>
                  <a:close/>
                  <a:moveTo>
                    <a:pt x="1722" y="614"/>
                  </a:moveTo>
                  <a:cubicBezTo>
                    <a:pt x="1718" y="616"/>
                    <a:pt x="1717" y="611"/>
                    <a:pt x="1717" y="607"/>
                  </a:cubicBezTo>
                  <a:cubicBezTo>
                    <a:pt x="1711" y="608"/>
                    <a:pt x="1708" y="606"/>
                    <a:pt x="1709" y="599"/>
                  </a:cubicBezTo>
                  <a:cubicBezTo>
                    <a:pt x="1719" y="597"/>
                    <a:pt x="1728" y="606"/>
                    <a:pt x="1722" y="614"/>
                  </a:cubicBezTo>
                  <a:close/>
                  <a:moveTo>
                    <a:pt x="1741" y="559"/>
                  </a:moveTo>
                  <a:cubicBezTo>
                    <a:pt x="1744" y="560"/>
                    <a:pt x="1742" y="562"/>
                    <a:pt x="1741" y="562"/>
                  </a:cubicBezTo>
                  <a:cubicBezTo>
                    <a:pt x="1739" y="576"/>
                    <a:pt x="1754" y="590"/>
                    <a:pt x="1738" y="592"/>
                  </a:cubicBezTo>
                  <a:cubicBezTo>
                    <a:pt x="1739" y="589"/>
                    <a:pt x="1741" y="585"/>
                    <a:pt x="1744" y="585"/>
                  </a:cubicBezTo>
                  <a:cubicBezTo>
                    <a:pt x="1744" y="577"/>
                    <a:pt x="1734" y="583"/>
                    <a:pt x="1730" y="581"/>
                  </a:cubicBezTo>
                  <a:cubicBezTo>
                    <a:pt x="1733" y="573"/>
                    <a:pt x="1738" y="567"/>
                    <a:pt x="1741" y="559"/>
                  </a:cubicBezTo>
                  <a:close/>
                  <a:moveTo>
                    <a:pt x="1738" y="230"/>
                  </a:moveTo>
                  <a:cubicBezTo>
                    <a:pt x="1738" y="227"/>
                    <a:pt x="1738" y="225"/>
                    <a:pt x="1738" y="222"/>
                  </a:cubicBezTo>
                  <a:cubicBezTo>
                    <a:pt x="1744" y="220"/>
                    <a:pt x="1743" y="228"/>
                    <a:pt x="1744" y="233"/>
                  </a:cubicBezTo>
                  <a:cubicBezTo>
                    <a:pt x="1741" y="233"/>
                    <a:pt x="1741" y="230"/>
                    <a:pt x="1738" y="230"/>
                  </a:cubicBezTo>
                  <a:close/>
                  <a:moveTo>
                    <a:pt x="1754" y="222"/>
                  </a:moveTo>
                  <a:cubicBezTo>
                    <a:pt x="1761" y="224"/>
                    <a:pt x="1753" y="246"/>
                    <a:pt x="1762" y="244"/>
                  </a:cubicBezTo>
                  <a:cubicBezTo>
                    <a:pt x="1760" y="263"/>
                    <a:pt x="1753" y="236"/>
                    <a:pt x="1749" y="248"/>
                  </a:cubicBezTo>
                  <a:cubicBezTo>
                    <a:pt x="1742" y="247"/>
                    <a:pt x="1747" y="231"/>
                    <a:pt x="1754" y="237"/>
                  </a:cubicBezTo>
                  <a:cubicBezTo>
                    <a:pt x="1753" y="224"/>
                    <a:pt x="1746" y="231"/>
                    <a:pt x="1754" y="222"/>
                  </a:cubicBezTo>
                  <a:close/>
                  <a:moveTo>
                    <a:pt x="1754" y="204"/>
                  </a:moveTo>
                  <a:cubicBezTo>
                    <a:pt x="1754" y="199"/>
                    <a:pt x="1754" y="194"/>
                    <a:pt x="1754" y="189"/>
                  </a:cubicBezTo>
                  <a:cubicBezTo>
                    <a:pt x="1756" y="189"/>
                    <a:pt x="1758" y="189"/>
                    <a:pt x="1760" y="189"/>
                  </a:cubicBezTo>
                  <a:cubicBezTo>
                    <a:pt x="1760" y="194"/>
                    <a:pt x="1760" y="199"/>
                    <a:pt x="1760" y="204"/>
                  </a:cubicBezTo>
                  <a:cubicBezTo>
                    <a:pt x="1758" y="204"/>
                    <a:pt x="1756" y="204"/>
                    <a:pt x="1754" y="204"/>
                  </a:cubicBezTo>
                  <a:close/>
                  <a:moveTo>
                    <a:pt x="1754" y="618"/>
                  </a:moveTo>
                  <a:cubicBezTo>
                    <a:pt x="1759" y="617"/>
                    <a:pt x="1759" y="621"/>
                    <a:pt x="1762" y="622"/>
                  </a:cubicBezTo>
                  <a:cubicBezTo>
                    <a:pt x="1763" y="629"/>
                    <a:pt x="1750" y="627"/>
                    <a:pt x="1754" y="618"/>
                  </a:cubicBezTo>
                  <a:close/>
                  <a:moveTo>
                    <a:pt x="1741" y="784"/>
                  </a:moveTo>
                  <a:cubicBezTo>
                    <a:pt x="1741" y="785"/>
                    <a:pt x="1743" y="777"/>
                    <a:pt x="1744" y="777"/>
                  </a:cubicBezTo>
                  <a:cubicBezTo>
                    <a:pt x="1744" y="777"/>
                    <a:pt x="1743" y="773"/>
                    <a:pt x="1744" y="773"/>
                  </a:cubicBezTo>
                  <a:cubicBezTo>
                    <a:pt x="1753" y="771"/>
                    <a:pt x="1744" y="790"/>
                    <a:pt x="1741" y="784"/>
                  </a:cubicBezTo>
                  <a:close/>
                  <a:moveTo>
                    <a:pt x="1735" y="640"/>
                  </a:moveTo>
                  <a:cubicBezTo>
                    <a:pt x="1736" y="636"/>
                    <a:pt x="1735" y="634"/>
                    <a:pt x="1733" y="633"/>
                  </a:cubicBezTo>
                  <a:cubicBezTo>
                    <a:pt x="1737" y="619"/>
                    <a:pt x="1737" y="641"/>
                    <a:pt x="1744" y="636"/>
                  </a:cubicBezTo>
                  <a:cubicBezTo>
                    <a:pt x="1743" y="645"/>
                    <a:pt x="1740" y="652"/>
                    <a:pt x="1738" y="659"/>
                  </a:cubicBezTo>
                  <a:cubicBezTo>
                    <a:pt x="1734" y="667"/>
                    <a:pt x="1739" y="635"/>
                    <a:pt x="1735" y="640"/>
                  </a:cubicBezTo>
                  <a:close/>
                  <a:moveTo>
                    <a:pt x="1730" y="603"/>
                  </a:moveTo>
                  <a:cubicBezTo>
                    <a:pt x="1736" y="612"/>
                    <a:pt x="1744" y="596"/>
                    <a:pt x="1744" y="614"/>
                  </a:cubicBezTo>
                  <a:cubicBezTo>
                    <a:pt x="1739" y="611"/>
                    <a:pt x="1729" y="614"/>
                    <a:pt x="1730" y="603"/>
                  </a:cubicBezTo>
                  <a:close/>
                  <a:moveTo>
                    <a:pt x="1733" y="566"/>
                  </a:moveTo>
                  <a:cubicBezTo>
                    <a:pt x="1731" y="568"/>
                    <a:pt x="1727" y="565"/>
                    <a:pt x="1727" y="570"/>
                  </a:cubicBezTo>
                  <a:cubicBezTo>
                    <a:pt x="1723" y="568"/>
                    <a:pt x="1725" y="564"/>
                    <a:pt x="1727" y="562"/>
                  </a:cubicBezTo>
                  <a:cubicBezTo>
                    <a:pt x="1731" y="560"/>
                    <a:pt x="1741" y="559"/>
                    <a:pt x="1733" y="566"/>
                  </a:cubicBezTo>
                  <a:close/>
                  <a:moveTo>
                    <a:pt x="1727" y="688"/>
                  </a:moveTo>
                  <a:cubicBezTo>
                    <a:pt x="1726" y="695"/>
                    <a:pt x="1731" y="711"/>
                    <a:pt x="1722" y="707"/>
                  </a:cubicBezTo>
                  <a:cubicBezTo>
                    <a:pt x="1727" y="700"/>
                    <a:pt x="1722" y="687"/>
                    <a:pt x="1717" y="684"/>
                  </a:cubicBezTo>
                  <a:cubicBezTo>
                    <a:pt x="1721" y="671"/>
                    <a:pt x="1721" y="693"/>
                    <a:pt x="1727" y="688"/>
                  </a:cubicBezTo>
                  <a:close/>
                  <a:moveTo>
                    <a:pt x="1738" y="1165"/>
                  </a:moveTo>
                  <a:cubicBezTo>
                    <a:pt x="1742" y="1168"/>
                    <a:pt x="1743" y="1173"/>
                    <a:pt x="1744" y="1180"/>
                  </a:cubicBezTo>
                  <a:cubicBezTo>
                    <a:pt x="1739" y="1179"/>
                    <a:pt x="1737" y="1174"/>
                    <a:pt x="1738" y="1165"/>
                  </a:cubicBezTo>
                  <a:close/>
                  <a:moveTo>
                    <a:pt x="1757" y="1206"/>
                  </a:moveTo>
                  <a:cubicBezTo>
                    <a:pt x="1750" y="1207"/>
                    <a:pt x="1751" y="1199"/>
                    <a:pt x="1744" y="1202"/>
                  </a:cubicBezTo>
                  <a:cubicBezTo>
                    <a:pt x="1744" y="1191"/>
                    <a:pt x="1760" y="1192"/>
                    <a:pt x="1757" y="1206"/>
                  </a:cubicBezTo>
                  <a:close/>
                  <a:moveTo>
                    <a:pt x="1757" y="1235"/>
                  </a:moveTo>
                  <a:cubicBezTo>
                    <a:pt x="1760" y="1237"/>
                    <a:pt x="1763" y="1240"/>
                    <a:pt x="1762" y="1247"/>
                  </a:cubicBezTo>
                  <a:cubicBezTo>
                    <a:pt x="1753" y="1250"/>
                    <a:pt x="1753" y="1241"/>
                    <a:pt x="1757" y="1235"/>
                  </a:cubicBezTo>
                  <a:close/>
                  <a:moveTo>
                    <a:pt x="1760" y="696"/>
                  </a:moveTo>
                  <a:cubicBezTo>
                    <a:pt x="1764" y="695"/>
                    <a:pt x="1765" y="699"/>
                    <a:pt x="1762" y="699"/>
                  </a:cubicBezTo>
                  <a:cubicBezTo>
                    <a:pt x="1763" y="709"/>
                    <a:pt x="1767" y="711"/>
                    <a:pt x="1762" y="718"/>
                  </a:cubicBezTo>
                  <a:cubicBezTo>
                    <a:pt x="1756" y="717"/>
                    <a:pt x="1761" y="702"/>
                    <a:pt x="1760" y="696"/>
                  </a:cubicBezTo>
                  <a:close/>
                  <a:moveTo>
                    <a:pt x="1706" y="640"/>
                  </a:moveTo>
                  <a:cubicBezTo>
                    <a:pt x="1711" y="640"/>
                    <a:pt x="1705" y="656"/>
                    <a:pt x="1698" y="651"/>
                  </a:cubicBezTo>
                  <a:cubicBezTo>
                    <a:pt x="1698" y="644"/>
                    <a:pt x="1707" y="649"/>
                    <a:pt x="1706" y="640"/>
                  </a:cubicBezTo>
                  <a:close/>
                  <a:moveTo>
                    <a:pt x="1698" y="540"/>
                  </a:moveTo>
                  <a:cubicBezTo>
                    <a:pt x="1699" y="533"/>
                    <a:pt x="1701" y="543"/>
                    <a:pt x="1700" y="548"/>
                  </a:cubicBezTo>
                  <a:cubicBezTo>
                    <a:pt x="1700" y="555"/>
                    <a:pt x="1697" y="545"/>
                    <a:pt x="1698" y="540"/>
                  </a:cubicBezTo>
                  <a:close/>
                  <a:moveTo>
                    <a:pt x="1698" y="200"/>
                  </a:moveTo>
                  <a:cubicBezTo>
                    <a:pt x="1700" y="200"/>
                    <a:pt x="1701" y="200"/>
                    <a:pt x="1703" y="200"/>
                  </a:cubicBezTo>
                  <a:cubicBezTo>
                    <a:pt x="1704" y="210"/>
                    <a:pt x="1683" y="199"/>
                    <a:pt x="1698" y="200"/>
                  </a:cubicBezTo>
                  <a:close/>
                  <a:moveTo>
                    <a:pt x="1684" y="566"/>
                  </a:moveTo>
                  <a:cubicBezTo>
                    <a:pt x="1684" y="560"/>
                    <a:pt x="1699" y="560"/>
                    <a:pt x="1695" y="570"/>
                  </a:cubicBezTo>
                  <a:cubicBezTo>
                    <a:pt x="1690" y="570"/>
                    <a:pt x="1689" y="565"/>
                    <a:pt x="1684" y="566"/>
                  </a:cubicBezTo>
                  <a:close/>
                  <a:moveTo>
                    <a:pt x="1692" y="622"/>
                  </a:moveTo>
                  <a:cubicBezTo>
                    <a:pt x="1692" y="624"/>
                    <a:pt x="1692" y="627"/>
                    <a:pt x="1692" y="629"/>
                  </a:cubicBezTo>
                  <a:cubicBezTo>
                    <a:pt x="1691" y="629"/>
                    <a:pt x="1689" y="629"/>
                    <a:pt x="1687" y="629"/>
                  </a:cubicBezTo>
                  <a:cubicBezTo>
                    <a:pt x="1687" y="627"/>
                    <a:pt x="1687" y="624"/>
                    <a:pt x="1687" y="622"/>
                  </a:cubicBezTo>
                  <a:cubicBezTo>
                    <a:pt x="1689" y="622"/>
                    <a:pt x="1691" y="622"/>
                    <a:pt x="1692" y="622"/>
                  </a:cubicBezTo>
                  <a:close/>
                  <a:moveTo>
                    <a:pt x="1690" y="63"/>
                  </a:moveTo>
                  <a:cubicBezTo>
                    <a:pt x="1699" y="70"/>
                    <a:pt x="1686" y="73"/>
                    <a:pt x="1684" y="71"/>
                  </a:cubicBezTo>
                  <a:cubicBezTo>
                    <a:pt x="1683" y="69"/>
                    <a:pt x="1691" y="66"/>
                    <a:pt x="1690" y="63"/>
                  </a:cubicBezTo>
                  <a:close/>
                  <a:moveTo>
                    <a:pt x="1684" y="1184"/>
                  </a:moveTo>
                  <a:cubicBezTo>
                    <a:pt x="1695" y="1183"/>
                    <a:pt x="1685" y="1187"/>
                    <a:pt x="1687" y="1195"/>
                  </a:cubicBezTo>
                  <a:cubicBezTo>
                    <a:pt x="1699" y="1195"/>
                    <a:pt x="1691" y="1186"/>
                    <a:pt x="1695" y="1180"/>
                  </a:cubicBezTo>
                  <a:cubicBezTo>
                    <a:pt x="1703" y="1180"/>
                    <a:pt x="1693" y="1203"/>
                    <a:pt x="1700" y="1202"/>
                  </a:cubicBezTo>
                  <a:cubicBezTo>
                    <a:pt x="1696" y="1213"/>
                    <a:pt x="1688" y="1197"/>
                    <a:pt x="1679" y="1202"/>
                  </a:cubicBezTo>
                  <a:cubicBezTo>
                    <a:pt x="1680" y="1195"/>
                    <a:pt x="1687" y="1196"/>
                    <a:pt x="1684" y="1184"/>
                  </a:cubicBezTo>
                  <a:close/>
                  <a:moveTo>
                    <a:pt x="1671" y="185"/>
                  </a:moveTo>
                  <a:cubicBezTo>
                    <a:pt x="1677" y="183"/>
                    <a:pt x="1681" y="207"/>
                    <a:pt x="1671" y="204"/>
                  </a:cubicBezTo>
                  <a:cubicBezTo>
                    <a:pt x="1675" y="198"/>
                    <a:pt x="1673" y="192"/>
                    <a:pt x="1666" y="193"/>
                  </a:cubicBezTo>
                  <a:cubicBezTo>
                    <a:pt x="1666" y="189"/>
                    <a:pt x="1671" y="190"/>
                    <a:pt x="1671" y="185"/>
                  </a:cubicBezTo>
                  <a:close/>
                  <a:moveTo>
                    <a:pt x="1668" y="215"/>
                  </a:moveTo>
                  <a:cubicBezTo>
                    <a:pt x="1676" y="215"/>
                    <a:pt x="1674" y="209"/>
                    <a:pt x="1679" y="215"/>
                  </a:cubicBezTo>
                  <a:cubicBezTo>
                    <a:pt x="1678" y="218"/>
                    <a:pt x="1676" y="221"/>
                    <a:pt x="1676" y="226"/>
                  </a:cubicBezTo>
                  <a:cubicBezTo>
                    <a:pt x="1668" y="229"/>
                    <a:pt x="1673" y="214"/>
                    <a:pt x="1666" y="215"/>
                  </a:cubicBezTo>
                  <a:cubicBezTo>
                    <a:pt x="1660" y="212"/>
                    <a:pt x="1668" y="209"/>
                    <a:pt x="1668" y="215"/>
                  </a:cubicBezTo>
                  <a:close/>
                  <a:moveTo>
                    <a:pt x="1668" y="237"/>
                  </a:moveTo>
                  <a:cubicBezTo>
                    <a:pt x="1669" y="234"/>
                    <a:pt x="1671" y="233"/>
                    <a:pt x="1671" y="230"/>
                  </a:cubicBezTo>
                  <a:cubicBezTo>
                    <a:pt x="1674" y="231"/>
                    <a:pt x="1676" y="234"/>
                    <a:pt x="1676" y="241"/>
                  </a:cubicBezTo>
                  <a:cubicBezTo>
                    <a:pt x="1672" y="242"/>
                    <a:pt x="1672" y="237"/>
                    <a:pt x="1668" y="237"/>
                  </a:cubicBezTo>
                  <a:close/>
                  <a:moveTo>
                    <a:pt x="1676" y="692"/>
                  </a:moveTo>
                  <a:cubicBezTo>
                    <a:pt x="1676" y="694"/>
                    <a:pt x="1676" y="697"/>
                    <a:pt x="1676" y="699"/>
                  </a:cubicBezTo>
                  <a:cubicBezTo>
                    <a:pt x="1675" y="699"/>
                    <a:pt x="1673" y="699"/>
                    <a:pt x="1671" y="699"/>
                  </a:cubicBezTo>
                  <a:cubicBezTo>
                    <a:pt x="1671" y="697"/>
                    <a:pt x="1671" y="694"/>
                    <a:pt x="1671" y="692"/>
                  </a:cubicBezTo>
                  <a:cubicBezTo>
                    <a:pt x="1673" y="692"/>
                    <a:pt x="1675" y="692"/>
                    <a:pt x="1676" y="692"/>
                  </a:cubicBezTo>
                  <a:close/>
                  <a:moveTo>
                    <a:pt x="1668" y="648"/>
                  </a:moveTo>
                  <a:cubicBezTo>
                    <a:pt x="1660" y="661"/>
                    <a:pt x="1659" y="636"/>
                    <a:pt x="1668" y="648"/>
                  </a:cubicBezTo>
                  <a:close/>
                  <a:moveTo>
                    <a:pt x="1663" y="1162"/>
                  </a:moveTo>
                  <a:cubicBezTo>
                    <a:pt x="1661" y="1161"/>
                    <a:pt x="1660" y="1163"/>
                    <a:pt x="1660" y="1165"/>
                  </a:cubicBezTo>
                  <a:cubicBezTo>
                    <a:pt x="1657" y="1165"/>
                    <a:pt x="1658" y="1159"/>
                    <a:pt x="1657" y="1154"/>
                  </a:cubicBezTo>
                  <a:cubicBezTo>
                    <a:pt x="1662" y="1153"/>
                    <a:pt x="1663" y="1157"/>
                    <a:pt x="1663" y="1162"/>
                  </a:cubicBezTo>
                  <a:close/>
                  <a:moveTo>
                    <a:pt x="1655" y="233"/>
                  </a:moveTo>
                  <a:cubicBezTo>
                    <a:pt x="1658" y="234"/>
                    <a:pt x="1657" y="241"/>
                    <a:pt x="1660" y="241"/>
                  </a:cubicBezTo>
                  <a:cubicBezTo>
                    <a:pt x="1659" y="251"/>
                    <a:pt x="1652" y="241"/>
                    <a:pt x="1655" y="233"/>
                  </a:cubicBezTo>
                  <a:close/>
                  <a:moveTo>
                    <a:pt x="1671" y="1254"/>
                  </a:moveTo>
                  <a:cubicBezTo>
                    <a:pt x="1670" y="1260"/>
                    <a:pt x="1673" y="1261"/>
                    <a:pt x="1676" y="1261"/>
                  </a:cubicBezTo>
                  <a:cubicBezTo>
                    <a:pt x="1675" y="1272"/>
                    <a:pt x="1668" y="1261"/>
                    <a:pt x="1666" y="1261"/>
                  </a:cubicBezTo>
                  <a:cubicBezTo>
                    <a:pt x="1660" y="1262"/>
                    <a:pt x="1659" y="1268"/>
                    <a:pt x="1652" y="1269"/>
                  </a:cubicBezTo>
                  <a:cubicBezTo>
                    <a:pt x="1652" y="1259"/>
                    <a:pt x="1660" y="1259"/>
                    <a:pt x="1663" y="1254"/>
                  </a:cubicBezTo>
                  <a:cubicBezTo>
                    <a:pt x="1662" y="1250"/>
                    <a:pt x="1658" y="1251"/>
                    <a:pt x="1655" y="1250"/>
                  </a:cubicBezTo>
                  <a:cubicBezTo>
                    <a:pt x="1652" y="1253"/>
                    <a:pt x="1652" y="1259"/>
                    <a:pt x="1647" y="1258"/>
                  </a:cubicBezTo>
                  <a:cubicBezTo>
                    <a:pt x="1643" y="1243"/>
                    <a:pt x="1655" y="1249"/>
                    <a:pt x="1655" y="1239"/>
                  </a:cubicBezTo>
                  <a:cubicBezTo>
                    <a:pt x="1657" y="1239"/>
                    <a:pt x="1657" y="1241"/>
                    <a:pt x="1657" y="1243"/>
                  </a:cubicBezTo>
                  <a:cubicBezTo>
                    <a:pt x="1662" y="1251"/>
                    <a:pt x="1679" y="1244"/>
                    <a:pt x="1684" y="1250"/>
                  </a:cubicBezTo>
                  <a:cubicBezTo>
                    <a:pt x="1683" y="1254"/>
                    <a:pt x="1678" y="1264"/>
                    <a:pt x="1687" y="1261"/>
                  </a:cubicBezTo>
                  <a:cubicBezTo>
                    <a:pt x="1680" y="1282"/>
                    <a:pt x="1683" y="1249"/>
                    <a:pt x="1671" y="1254"/>
                  </a:cubicBezTo>
                  <a:close/>
                  <a:moveTo>
                    <a:pt x="1690" y="1258"/>
                  </a:moveTo>
                  <a:cubicBezTo>
                    <a:pt x="1680" y="1250"/>
                    <a:pt x="1696" y="1247"/>
                    <a:pt x="1698" y="1243"/>
                  </a:cubicBezTo>
                  <a:cubicBezTo>
                    <a:pt x="1700" y="1242"/>
                    <a:pt x="1700" y="1244"/>
                    <a:pt x="1700" y="1247"/>
                  </a:cubicBezTo>
                  <a:cubicBezTo>
                    <a:pt x="1701" y="1252"/>
                    <a:pt x="1707" y="1250"/>
                    <a:pt x="1711" y="1250"/>
                  </a:cubicBezTo>
                  <a:cubicBezTo>
                    <a:pt x="1719" y="1260"/>
                    <a:pt x="1690" y="1248"/>
                    <a:pt x="1690" y="1258"/>
                  </a:cubicBezTo>
                  <a:close/>
                  <a:moveTo>
                    <a:pt x="1700" y="1273"/>
                  </a:moveTo>
                  <a:cubicBezTo>
                    <a:pt x="1697" y="1273"/>
                    <a:pt x="1697" y="1260"/>
                    <a:pt x="1706" y="1261"/>
                  </a:cubicBezTo>
                  <a:cubicBezTo>
                    <a:pt x="1705" y="1263"/>
                    <a:pt x="1702" y="1272"/>
                    <a:pt x="1700" y="1273"/>
                  </a:cubicBezTo>
                  <a:close/>
                  <a:moveTo>
                    <a:pt x="1730" y="1298"/>
                  </a:moveTo>
                  <a:cubicBezTo>
                    <a:pt x="1728" y="1299"/>
                    <a:pt x="1726" y="1312"/>
                    <a:pt x="1717" y="1306"/>
                  </a:cubicBezTo>
                  <a:cubicBezTo>
                    <a:pt x="1716" y="1305"/>
                    <a:pt x="1718" y="1295"/>
                    <a:pt x="1717" y="1295"/>
                  </a:cubicBezTo>
                  <a:cubicBezTo>
                    <a:pt x="1712" y="1293"/>
                    <a:pt x="1709" y="1301"/>
                    <a:pt x="1703" y="1298"/>
                  </a:cubicBezTo>
                  <a:cubicBezTo>
                    <a:pt x="1701" y="1288"/>
                    <a:pt x="1709" y="1291"/>
                    <a:pt x="1709" y="1284"/>
                  </a:cubicBezTo>
                  <a:cubicBezTo>
                    <a:pt x="1711" y="1283"/>
                    <a:pt x="1713" y="1291"/>
                    <a:pt x="1714" y="1291"/>
                  </a:cubicBezTo>
                  <a:cubicBezTo>
                    <a:pt x="1716" y="1292"/>
                    <a:pt x="1720" y="1286"/>
                    <a:pt x="1725" y="1287"/>
                  </a:cubicBezTo>
                  <a:cubicBezTo>
                    <a:pt x="1725" y="1287"/>
                    <a:pt x="1725" y="1295"/>
                    <a:pt x="1725" y="1295"/>
                  </a:cubicBezTo>
                  <a:cubicBezTo>
                    <a:pt x="1727" y="1295"/>
                    <a:pt x="1732" y="1290"/>
                    <a:pt x="1733" y="1287"/>
                  </a:cubicBezTo>
                  <a:cubicBezTo>
                    <a:pt x="1736" y="1290"/>
                    <a:pt x="1738" y="1295"/>
                    <a:pt x="1738" y="1302"/>
                  </a:cubicBezTo>
                  <a:cubicBezTo>
                    <a:pt x="1735" y="1306"/>
                    <a:pt x="1730" y="1298"/>
                    <a:pt x="1730" y="1298"/>
                  </a:cubicBezTo>
                  <a:close/>
                  <a:moveTo>
                    <a:pt x="1735" y="1324"/>
                  </a:moveTo>
                  <a:cubicBezTo>
                    <a:pt x="1733" y="1314"/>
                    <a:pt x="1741" y="1320"/>
                    <a:pt x="1744" y="1317"/>
                  </a:cubicBezTo>
                  <a:cubicBezTo>
                    <a:pt x="1748" y="1311"/>
                    <a:pt x="1745" y="1318"/>
                    <a:pt x="1752" y="1324"/>
                  </a:cubicBezTo>
                  <a:cubicBezTo>
                    <a:pt x="1751" y="1331"/>
                    <a:pt x="1743" y="1320"/>
                    <a:pt x="1735" y="1324"/>
                  </a:cubicBezTo>
                  <a:close/>
                  <a:moveTo>
                    <a:pt x="1752" y="1302"/>
                  </a:moveTo>
                  <a:cubicBezTo>
                    <a:pt x="1750" y="1302"/>
                    <a:pt x="1748" y="1302"/>
                    <a:pt x="1746" y="1302"/>
                  </a:cubicBezTo>
                  <a:cubicBezTo>
                    <a:pt x="1746" y="1300"/>
                    <a:pt x="1746" y="1297"/>
                    <a:pt x="1746" y="1295"/>
                  </a:cubicBezTo>
                  <a:cubicBezTo>
                    <a:pt x="1748" y="1295"/>
                    <a:pt x="1750" y="1295"/>
                    <a:pt x="1752" y="1295"/>
                  </a:cubicBezTo>
                  <a:cubicBezTo>
                    <a:pt x="1752" y="1297"/>
                    <a:pt x="1752" y="1300"/>
                    <a:pt x="1752" y="1302"/>
                  </a:cubicBezTo>
                  <a:close/>
                  <a:moveTo>
                    <a:pt x="1757" y="1269"/>
                  </a:moveTo>
                  <a:cubicBezTo>
                    <a:pt x="1752" y="1270"/>
                    <a:pt x="1754" y="1261"/>
                    <a:pt x="1752" y="1258"/>
                  </a:cubicBezTo>
                  <a:cubicBezTo>
                    <a:pt x="1750" y="1255"/>
                    <a:pt x="1745" y="1256"/>
                    <a:pt x="1744" y="1254"/>
                  </a:cubicBezTo>
                  <a:cubicBezTo>
                    <a:pt x="1741" y="1251"/>
                    <a:pt x="1742" y="1244"/>
                    <a:pt x="1738" y="1243"/>
                  </a:cubicBezTo>
                  <a:cubicBezTo>
                    <a:pt x="1741" y="1233"/>
                    <a:pt x="1749" y="1245"/>
                    <a:pt x="1746" y="1254"/>
                  </a:cubicBezTo>
                  <a:cubicBezTo>
                    <a:pt x="1753" y="1249"/>
                    <a:pt x="1756" y="1252"/>
                    <a:pt x="1762" y="1254"/>
                  </a:cubicBezTo>
                  <a:cubicBezTo>
                    <a:pt x="1762" y="1261"/>
                    <a:pt x="1755" y="1259"/>
                    <a:pt x="1757" y="1269"/>
                  </a:cubicBezTo>
                  <a:close/>
                  <a:moveTo>
                    <a:pt x="1762" y="1269"/>
                  </a:moveTo>
                  <a:cubicBezTo>
                    <a:pt x="1767" y="1261"/>
                    <a:pt x="1772" y="1268"/>
                    <a:pt x="1768" y="1254"/>
                  </a:cubicBezTo>
                  <a:cubicBezTo>
                    <a:pt x="1777" y="1256"/>
                    <a:pt x="1773" y="1273"/>
                    <a:pt x="1762" y="1269"/>
                  </a:cubicBezTo>
                  <a:close/>
                  <a:moveTo>
                    <a:pt x="1773" y="1210"/>
                  </a:moveTo>
                  <a:cubicBezTo>
                    <a:pt x="1771" y="1207"/>
                    <a:pt x="1767" y="1206"/>
                    <a:pt x="1762" y="1206"/>
                  </a:cubicBezTo>
                  <a:cubicBezTo>
                    <a:pt x="1762" y="1199"/>
                    <a:pt x="1777" y="1199"/>
                    <a:pt x="1773" y="1210"/>
                  </a:cubicBezTo>
                  <a:close/>
                  <a:moveTo>
                    <a:pt x="1776" y="241"/>
                  </a:moveTo>
                  <a:cubicBezTo>
                    <a:pt x="1771" y="240"/>
                    <a:pt x="1770" y="245"/>
                    <a:pt x="1765" y="244"/>
                  </a:cubicBezTo>
                  <a:cubicBezTo>
                    <a:pt x="1765" y="241"/>
                    <a:pt x="1765" y="237"/>
                    <a:pt x="1765" y="233"/>
                  </a:cubicBezTo>
                  <a:cubicBezTo>
                    <a:pt x="1768" y="238"/>
                    <a:pt x="1778" y="235"/>
                    <a:pt x="1778" y="244"/>
                  </a:cubicBezTo>
                  <a:cubicBezTo>
                    <a:pt x="1777" y="250"/>
                    <a:pt x="1776" y="245"/>
                    <a:pt x="1776" y="241"/>
                  </a:cubicBezTo>
                  <a:close/>
                  <a:moveTo>
                    <a:pt x="1776" y="1206"/>
                  </a:moveTo>
                  <a:cubicBezTo>
                    <a:pt x="1777" y="1201"/>
                    <a:pt x="1782" y="1203"/>
                    <a:pt x="1787" y="1202"/>
                  </a:cubicBezTo>
                  <a:cubicBezTo>
                    <a:pt x="1787" y="1200"/>
                    <a:pt x="1787" y="1197"/>
                    <a:pt x="1787" y="1195"/>
                  </a:cubicBezTo>
                  <a:cubicBezTo>
                    <a:pt x="1789" y="1194"/>
                    <a:pt x="1789" y="1196"/>
                    <a:pt x="1789" y="1199"/>
                  </a:cubicBezTo>
                  <a:cubicBezTo>
                    <a:pt x="1789" y="1207"/>
                    <a:pt x="1799" y="1200"/>
                    <a:pt x="1803" y="1202"/>
                  </a:cubicBezTo>
                  <a:cubicBezTo>
                    <a:pt x="1805" y="1202"/>
                    <a:pt x="1805" y="1198"/>
                    <a:pt x="1805" y="1195"/>
                  </a:cubicBezTo>
                  <a:cubicBezTo>
                    <a:pt x="1808" y="1197"/>
                    <a:pt x="1810" y="1199"/>
                    <a:pt x="1811" y="1195"/>
                  </a:cubicBezTo>
                  <a:cubicBezTo>
                    <a:pt x="1814" y="1194"/>
                    <a:pt x="1812" y="1201"/>
                    <a:pt x="1813" y="1202"/>
                  </a:cubicBezTo>
                  <a:cubicBezTo>
                    <a:pt x="1817" y="1206"/>
                    <a:pt x="1827" y="1196"/>
                    <a:pt x="1824" y="1210"/>
                  </a:cubicBezTo>
                  <a:cubicBezTo>
                    <a:pt x="1818" y="1204"/>
                    <a:pt x="1813" y="1210"/>
                    <a:pt x="1805" y="1210"/>
                  </a:cubicBezTo>
                  <a:cubicBezTo>
                    <a:pt x="1797" y="1209"/>
                    <a:pt x="1787" y="1203"/>
                    <a:pt x="1776" y="1206"/>
                  </a:cubicBezTo>
                  <a:close/>
                  <a:moveTo>
                    <a:pt x="1797" y="1225"/>
                  </a:moveTo>
                  <a:cubicBezTo>
                    <a:pt x="1805" y="1211"/>
                    <a:pt x="1806" y="1236"/>
                    <a:pt x="1797" y="1225"/>
                  </a:cubicBezTo>
                  <a:close/>
                  <a:moveTo>
                    <a:pt x="1787" y="1276"/>
                  </a:moveTo>
                  <a:cubicBezTo>
                    <a:pt x="1782" y="1273"/>
                    <a:pt x="1780" y="1266"/>
                    <a:pt x="1784" y="1261"/>
                  </a:cubicBezTo>
                  <a:cubicBezTo>
                    <a:pt x="1792" y="1265"/>
                    <a:pt x="1787" y="1267"/>
                    <a:pt x="1787" y="1276"/>
                  </a:cubicBezTo>
                  <a:close/>
                  <a:moveTo>
                    <a:pt x="1778" y="1258"/>
                  </a:moveTo>
                  <a:cubicBezTo>
                    <a:pt x="1779" y="1254"/>
                    <a:pt x="1782" y="1255"/>
                    <a:pt x="1784" y="1254"/>
                  </a:cubicBezTo>
                  <a:cubicBezTo>
                    <a:pt x="1787" y="1254"/>
                    <a:pt x="1789" y="1254"/>
                    <a:pt x="1792" y="1254"/>
                  </a:cubicBezTo>
                  <a:cubicBezTo>
                    <a:pt x="1792" y="1262"/>
                    <a:pt x="1782" y="1256"/>
                    <a:pt x="1778" y="1258"/>
                  </a:cubicBezTo>
                  <a:close/>
                  <a:moveTo>
                    <a:pt x="1800" y="1276"/>
                  </a:moveTo>
                  <a:cubicBezTo>
                    <a:pt x="1795" y="1276"/>
                    <a:pt x="1798" y="1264"/>
                    <a:pt x="1792" y="1265"/>
                  </a:cubicBezTo>
                  <a:cubicBezTo>
                    <a:pt x="1792" y="1261"/>
                    <a:pt x="1797" y="1262"/>
                    <a:pt x="1800" y="1261"/>
                  </a:cubicBezTo>
                  <a:cubicBezTo>
                    <a:pt x="1796" y="1256"/>
                    <a:pt x="1790" y="1252"/>
                    <a:pt x="1792" y="1239"/>
                  </a:cubicBezTo>
                  <a:cubicBezTo>
                    <a:pt x="1802" y="1236"/>
                    <a:pt x="1800" y="1269"/>
                    <a:pt x="1805" y="1261"/>
                  </a:cubicBezTo>
                  <a:cubicBezTo>
                    <a:pt x="1816" y="1270"/>
                    <a:pt x="1796" y="1265"/>
                    <a:pt x="1800" y="1276"/>
                  </a:cubicBezTo>
                  <a:close/>
                  <a:moveTo>
                    <a:pt x="1811" y="1221"/>
                  </a:moveTo>
                  <a:cubicBezTo>
                    <a:pt x="1811" y="1208"/>
                    <a:pt x="1820" y="1229"/>
                    <a:pt x="1819" y="1217"/>
                  </a:cubicBezTo>
                  <a:cubicBezTo>
                    <a:pt x="1820" y="1216"/>
                    <a:pt x="1822" y="1224"/>
                    <a:pt x="1822" y="1225"/>
                  </a:cubicBezTo>
                  <a:cubicBezTo>
                    <a:pt x="1821" y="1225"/>
                    <a:pt x="1816" y="1223"/>
                    <a:pt x="1816" y="1225"/>
                  </a:cubicBezTo>
                  <a:cubicBezTo>
                    <a:pt x="1814" y="1232"/>
                    <a:pt x="1814" y="1235"/>
                    <a:pt x="1813" y="1243"/>
                  </a:cubicBezTo>
                  <a:cubicBezTo>
                    <a:pt x="1801" y="1236"/>
                    <a:pt x="1818" y="1227"/>
                    <a:pt x="1811" y="1221"/>
                  </a:cubicBezTo>
                  <a:close/>
                  <a:moveTo>
                    <a:pt x="1811" y="1254"/>
                  </a:moveTo>
                  <a:cubicBezTo>
                    <a:pt x="1806" y="1252"/>
                    <a:pt x="1814" y="1248"/>
                    <a:pt x="1813" y="1254"/>
                  </a:cubicBezTo>
                  <a:cubicBezTo>
                    <a:pt x="1820" y="1254"/>
                    <a:pt x="1822" y="1247"/>
                    <a:pt x="1827" y="1254"/>
                  </a:cubicBezTo>
                  <a:cubicBezTo>
                    <a:pt x="1825" y="1264"/>
                    <a:pt x="1824" y="1275"/>
                    <a:pt x="1813" y="1273"/>
                  </a:cubicBezTo>
                  <a:cubicBezTo>
                    <a:pt x="1812" y="1267"/>
                    <a:pt x="1817" y="1253"/>
                    <a:pt x="1811" y="1254"/>
                  </a:cubicBezTo>
                  <a:close/>
                  <a:moveTo>
                    <a:pt x="1827" y="1295"/>
                  </a:moveTo>
                  <a:cubicBezTo>
                    <a:pt x="1820" y="1296"/>
                    <a:pt x="1821" y="1288"/>
                    <a:pt x="1813" y="1291"/>
                  </a:cubicBezTo>
                  <a:cubicBezTo>
                    <a:pt x="1813" y="1285"/>
                    <a:pt x="1831" y="1284"/>
                    <a:pt x="1827" y="1295"/>
                  </a:cubicBezTo>
                  <a:close/>
                  <a:moveTo>
                    <a:pt x="1835" y="1306"/>
                  </a:moveTo>
                  <a:cubicBezTo>
                    <a:pt x="1832" y="1305"/>
                    <a:pt x="1833" y="1299"/>
                    <a:pt x="1832" y="1295"/>
                  </a:cubicBezTo>
                  <a:cubicBezTo>
                    <a:pt x="1837" y="1293"/>
                    <a:pt x="1837" y="1298"/>
                    <a:pt x="1838" y="1302"/>
                  </a:cubicBezTo>
                  <a:cubicBezTo>
                    <a:pt x="1835" y="1301"/>
                    <a:pt x="1835" y="1304"/>
                    <a:pt x="1835" y="1306"/>
                  </a:cubicBezTo>
                  <a:close/>
                  <a:moveTo>
                    <a:pt x="1843" y="1269"/>
                  </a:moveTo>
                  <a:cubicBezTo>
                    <a:pt x="1842" y="1282"/>
                    <a:pt x="1831" y="1262"/>
                    <a:pt x="1832" y="1273"/>
                  </a:cubicBezTo>
                  <a:cubicBezTo>
                    <a:pt x="1823" y="1272"/>
                    <a:pt x="1838" y="1260"/>
                    <a:pt x="1830" y="1261"/>
                  </a:cubicBezTo>
                  <a:cubicBezTo>
                    <a:pt x="1829" y="1256"/>
                    <a:pt x="1845" y="1257"/>
                    <a:pt x="1835" y="1250"/>
                  </a:cubicBezTo>
                  <a:cubicBezTo>
                    <a:pt x="1837" y="1245"/>
                    <a:pt x="1839" y="1251"/>
                    <a:pt x="1846" y="1247"/>
                  </a:cubicBezTo>
                  <a:cubicBezTo>
                    <a:pt x="1846" y="1251"/>
                    <a:pt x="1845" y="1253"/>
                    <a:pt x="1843" y="1254"/>
                  </a:cubicBezTo>
                  <a:cubicBezTo>
                    <a:pt x="1843" y="1258"/>
                    <a:pt x="1846" y="1257"/>
                    <a:pt x="1848" y="1258"/>
                  </a:cubicBezTo>
                  <a:cubicBezTo>
                    <a:pt x="1847" y="1262"/>
                    <a:pt x="1828" y="1265"/>
                    <a:pt x="1843" y="1269"/>
                  </a:cubicBezTo>
                  <a:close/>
                  <a:moveTo>
                    <a:pt x="1862" y="1309"/>
                  </a:moveTo>
                  <a:cubicBezTo>
                    <a:pt x="1861" y="1311"/>
                    <a:pt x="1859" y="1300"/>
                    <a:pt x="1856" y="1302"/>
                  </a:cubicBezTo>
                  <a:cubicBezTo>
                    <a:pt x="1861" y="1290"/>
                    <a:pt x="1864" y="1307"/>
                    <a:pt x="1862" y="1309"/>
                  </a:cubicBezTo>
                  <a:close/>
                  <a:moveTo>
                    <a:pt x="1867" y="1273"/>
                  </a:moveTo>
                  <a:cubicBezTo>
                    <a:pt x="1862" y="1276"/>
                    <a:pt x="1856" y="1279"/>
                    <a:pt x="1854" y="1287"/>
                  </a:cubicBezTo>
                  <a:cubicBezTo>
                    <a:pt x="1845" y="1279"/>
                    <a:pt x="1860" y="1274"/>
                    <a:pt x="1859" y="1265"/>
                  </a:cubicBezTo>
                  <a:cubicBezTo>
                    <a:pt x="1859" y="1261"/>
                    <a:pt x="1854" y="1262"/>
                    <a:pt x="1851" y="1261"/>
                  </a:cubicBezTo>
                  <a:cubicBezTo>
                    <a:pt x="1853" y="1256"/>
                    <a:pt x="1857" y="1255"/>
                    <a:pt x="1862" y="1254"/>
                  </a:cubicBezTo>
                  <a:cubicBezTo>
                    <a:pt x="1859" y="1249"/>
                    <a:pt x="1861" y="1248"/>
                    <a:pt x="1862" y="1243"/>
                  </a:cubicBezTo>
                  <a:cubicBezTo>
                    <a:pt x="1868" y="1242"/>
                    <a:pt x="1860" y="1260"/>
                    <a:pt x="1870" y="1254"/>
                  </a:cubicBezTo>
                  <a:cubicBezTo>
                    <a:pt x="1869" y="1259"/>
                    <a:pt x="1866" y="1262"/>
                    <a:pt x="1862" y="1261"/>
                  </a:cubicBezTo>
                  <a:cubicBezTo>
                    <a:pt x="1862" y="1269"/>
                    <a:pt x="1868" y="1262"/>
                    <a:pt x="1867" y="1261"/>
                  </a:cubicBezTo>
                  <a:cubicBezTo>
                    <a:pt x="1870" y="1263"/>
                    <a:pt x="1870" y="1271"/>
                    <a:pt x="1875" y="1269"/>
                  </a:cubicBezTo>
                  <a:cubicBezTo>
                    <a:pt x="1875" y="1273"/>
                    <a:pt x="1870" y="1272"/>
                    <a:pt x="1867" y="1273"/>
                  </a:cubicBezTo>
                  <a:close/>
                  <a:moveTo>
                    <a:pt x="1867" y="1165"/>
                  </a:moveTo>
                  <a:cubicBezTo>
                    <a:pt x="1865" y="1165"/>
                    <a:pt x="1864" y="1165"/>
                    <a:pt x="1862" y="1165"/>
                  </a:cubicBezTo>
                  <a:cubicBezTo>
                    <a:pt x="1862" y="1163"/>
                    <a:pt x="1862" y="1160"/>
                    <a:pt x="1862" y="1158"/>
                  </a:cubicBezTo>
                  <a:cubicBezTo>
                    <a:pt x="1864" y="1158"/>
                    <a:pt x="1865" y="1158"/>
                    <a:pt x="1867" y="1158"/>
                  </a:cubicBezTo>
                  <a:cubicBezTo>
                    <a:pt x="1867" y="1160"/>
                    <a:pt x="1867" y="1163"/>
                    <a:pt x="1867" y="1165"/>
                  </a:cubicBezTo>
                  <a:close/>
                  <a:moveTo>
                    <a:pt x="1873" y="1173"/>
                  </a:moveTo>
                  <a:cubicBezTo>
                    <a:pt x="1873" y="1175"/>
                    <a:pt x="1873" y="1178"/>
                    <a:pt x="1873" y="1180"/>
                  </a:cubicBezTo>
                  <a:cubicBezTo>
                    <a:pt x="1871" y="1180"/>
                    <a:pt x="1869" y="1180"/>
                    <a:pt x="1867" y="1180"/>
                  </a:cubicBezTo>
                  <a:cubicBezTo>
                    <a:pt x="1867" y="1178"/>
                    <a:pt x="1867" y="1175"/>
                    <a:pt x="1867" y="1173"/>
                  </a:cubicBezTo>
                  <a:cubicBezTo>
                    <a:pt x="1869" y="1173"/>
                    <a:pt x="1871" y="1173"/>
                    <a:pt x="1873" y="1173"/>
                  </a:cubicBezTo>
                  <a:close/>
                  <a:moveTo>
                    <a:pt x="1873" y="1191"/>
                  </a:moveTo>
                  <a:cubicBezTo>
                    <a:pt x="1871" y="1197"/>
                    <a:pt x="1870" y="1191"/>
                    <a:pt x="1870" y="1187"/>
                  </a:cubicBezTo>
                  <a:cubicBezTo>
                    <a:pt x="1867" y="1187"/>
                    <a:pt x="1865" y="1188"/>
                    <a:pt x="1865" y="1191"/>
                  </a:cubicBezTo>
                  <a:cubicBezTo>
                    <a:pt x="1854" y="1184"/>
                    <a:pt x="1875" y="1179"/>
                    <a:pt x="1873" y="1191"/>
                  </a:cubicBezTo>
                  <a:close/>
                  <a:moveTo>
                    <a:pt x="1867" y="1210"/>
                  </a:moveTo>
                  <a:cubicBezTo>
                    <a:pt x="1866" y="1192"/>
                    <a:pt x="1879" y="1201"/>
                    <a:pt x="1878" y="1213"/>
                  </a:cubicBezTo>
                  <a:cubicBezTo>
                    <a:pt x="1876" y="1211"/>
                    <a:pt x="1872" y="1209"/>
                    <a:pt x="1867" y="1210"/>
                  </a:cubicBezTo>
                  <a:close/>
                  <a:moveTo>
                    <a:pt x="1873" y="174"/>
                  </a:moveTo>
                  <a:cubicBezTo>
                    <a:pt x="1868" y="183"/>
                    <a:pt x="1863" y="171"/>
                    <a:pt x="1859" y="170"/>
                  </a:cubicBezTo>
                  <a:cubicBezTo>
                    <a:pt x="1858" y="170"/>
                    <a:pt x="1854" y="170"/>
                    <a:pt x="1854" y="170"/>
                  </a:cubicBezTo>
                  <a:cubicBezTo>
                    <a:pt x="1850" y="176"/>
                    <a:pt x="1856" y="179"/>
                    <a:pt x="1846" y="174"/>
                  </a:cubicBezTo>
                  <a:cubicBezTo>
                    <a:pt x="1843" y="185"/>
                    <a:pt x="1852" y="181"/>
                    <a:pt x="1856" y="182"/>
                  </a:cubicBezTo>
                  <a:cubicBezTo>
                    <a:pt x="1856" y="188"/>
                    <a:pt x="1848" y="184"/>
                    <a:pt x="1848" y="193"/>
                  </a:cubicBezTo>
                  <a:cubicBezTo>
                    <a:pt x="1851" y="203"/>
                    <a:pt x="1856" y="187"/>
                    <a:pt x="1859" y="196"/>
                  </a:cubicBezTo>
                  <a:cubicBezTo>
                    <a:pt x="1864" y="199"/>
                    <a:pt x="1856" y="202"/>
                    <a:pt x="1856" y="196"/>
                  </a:cubicBezTo>
                  <a:cubicBezTo>
                    <a:pt x="1854" y="196"/>
                    <a:pt x="1854" y="201"/>
                    <a:pt x="1854" y="204"/>
                  </a:cubicBezTo>
                  <a:cubicBezTo>
                    <a:pt x="1848" y="205"/>
                    <a:pt x="1847" y="201"/>
                    <a:pt x="1843" y="200"/>
                  </a:cubicBezTo>
                  <a:cubicBezTo>
                    <a:pt x="1842" y="208"/>
                    <a:pt x="1844" y="214"/>
                    <a:pt x="1848" y="215"/>
                  </a:cubicBezTo>
                  <a:cubicBezTo>
                    <a:pt x="1842" y="227"/>
                    <a:pt x="1839" y="204"/>
                    <a:pt x="1838" y="196"/>
                  </a:cubicBezTo>
                  <a:cubicBezTo>
                    <a:pt x="1847" y="195"/>
                    <a:pt x="1846" y="185"/>
                    <a:pt x="1840" y="178"/>
                  </a:cubicBezTo>
                  <a:cubicBezTo>
                    <a:pt x="1840" y="171"/>
                    <a:pt x="1848" y="173"/>
                    <a:pt x="1846" y="163"/>
                  </a:cubicBezTo>
                  <a:cubicBezTo>
                    <a:pt x="1855" y="164"/>
                    <a:pt x="1863" y="162"/>
                    <a:pt x="1870" y="159"/>
                  </a:cubicBezTo>
                  <a:cubicBezTo>
                    <a:pt x="1869" y="162"/>
                    <a:pt x="1867" y="163"/>
                    <a:pt x="1867" y="167"/>
                  </a:cubicBezTo>
                  <a:cubicBezTo>
                    <a:pt x="1871" y="170"/>
                    <a:pt x="1875" y="163"/>
                    <a:pt x="1875" y="163"/>
                  </a:cubicBezTo>
                  <a:cubicBezTo>
                    <a:pt x="1879" y="164"/>
                    <a:pt x="1876" y="169"/>
                    <a:pt x="1878" y="170"/>
                  </a:cubicBezTo>
                  <a:cubicBezTo>
                    <a:pt x="1882" y="174"/>
                    <a:pt x="1889" y="167"/>
                    <a:pt x="1883" y="167"/>
                  </a:cubicBezTo>
                  <a:cubicBezTo>
                    <a:pt x="1883" y="167"/>
                    <a:pt x="1885" y="161"/>
                    <a:pt x="1886" y="163"/>
                  </a:cubicBezTo>
                  <a:cubicBezTo>
                    <a:pt x="1888" y="166"/>
                    <a:pt x="1891" y="166"/>
                    <a:pt x="1891" y="170"/>
                  </a:cubicBezTo>
                  <a:cubicBezTo>
                    <a:pt x="1897" y="170"/>
                    <a:pt x="1888" y="161"/>
                    <a:pt x="1891" y="152"/>
                  </a:cubicBezTo>
                  <a:cubicBezTo>
                    <a:pt x="1902" y="153"/>
                    <a:pt x="1896" y="131"/>
                    <a:pt x="1908" y="133"/>
                  </a:cubicBezTo>
                  <a:cubicBezTo>
                    <a:pt x="1903" y="144"/>
                    <a:pt x="1891" y="164"/>
                    <a:pt x="1902" y="174"/>
                  </a:cubicBezTo>
                  <a:cubicBezTo>
                    <a:pt x="1897" y="182"/>
                    <a:pt x="1893" y="205"/>
                    <a:pt x="1902" y="211"/>
                  </a:cubicBezTo>
                  <a:cubicBezTo>
                    <a:pt x="1900" y="218"/>
                    <a:pt x="1893" y="224"/>
                    <a:pt x="1889" y="218"/>
                  </a:cubicBezTo>
                  <a:cubicBezTo>
                    <a:pt x="1890" y="211"/>
                    <a:pt x="1893" y="211"/>
                    <a:pt x="1897" y="215"/>
                  </a:cubicBezTo>
                  <a:cubicBezTo>
                    <a:pt x="1892" y="209"/>
                    <a:pt x="1897" y="189"/>
                    <a:pt x="1886" y="193"/>
                  </a:cubicBezTo>
                  <a:cubicBezTo>
                    <a:pt x="1887" y="188"/>
                    <a:pt x="1891" y="190"/>
                    <a:pt x="1894" y="189"/>
                  </a:cubicBezTo>
                  <a:cubicBezTo>
                    <a:pt x="1891" y="177"/>
                    <a:pt x="1886" y="188"/>
                    <a:pt x="1881" y="178"/>
                  </a:cubicBezTo>
                  <a:cubicBezTo>
                    <a:pt x="1878" y="179"/>
                    <a:pt x="1879" y="182"/>
                    <a:pt x="1881" y="182"/>
                  </a:cubicBezTo>
                  <a:cubicBezTo>
                    <a:pt x="1880" y="191"/>
                    <a:pt x="1870" y="182"/>
                    <a:pt x="1873" y="174"/>
                  </a:cubicBezTo>
                  <a:close/>
                  <a:moveTo>
                    <a:pt x="1899" y="1317"/>
                  </a:moveTo>
                  <a:cubicBezTo>
                    <a:pt x="1889" y="1322"/>
                    <a:pt x="1899" y="1300"/>
                    <a:pt x="1889" y="1306"/>
                  </a:cubicBezTo>
                  <a:cubicBezTo>
                    <a:pt x="1890" y="1301"/>
                    <a:pt x="1895" y="1303"/>
                    <a:pt x="1899" y="1302"/>
                  </a:cubicBezTo>
                  <a:cubicBezTo>
                    <a:pt x="1899" y="1307"/>
                    <a:pt x="1899" y="1312"/>
                    <a:pt x="1899" y="1317"/>
                  </a:cubicBezTo>
                  <a:close/>
                  <a:moveTo>
                    <a:pt x="1937" y="1258"/>
                  </a:moveTo>
                  <a:cubicBezTo>
                    <a:pt x="1935" y="1258"/>
                    <a:pt x="1935" y="1253"/>
                    <a:pt x="1934" y="1250"/>
                  </a:cubicBezTo>
                  <a:cubicBezTo>
                    <a:pt x="1928" y="1251"/>
                    <a:pt x="1934" y="1262"/>
                    <a:pt x="1934" y="1261"/>
                  </a:cubicBezTo>
                  <a:cubicBezTo>
                    <a:pt x="1934" y="1269"/>
                    <a:pt x="1927" y="1263"/>
                    <a:pt x="1932" y="1276"/>
                  </a:cubicBezTo>
                  <a:cubicBezTo>
                    <a:pt x="1924" y="1279"/>
                    <a:pt x="1925" y="1271"/>
                    <a:pt x="1918" y="1273"/>
                  </a:cubicBezTo>
                  <a:cubicBezTo>
                    <a:pt x="1919" y="1268"/>
                    <a:pt x="1923" y="1269"/>
                    <a:pt x="1926" y="1269"/>
                  </a:cubicBezTo>
                  <a:cubicBezTo>
                    <a:pt x="1924" y="1260"/>
                    <a:pt x="1913" y="1260"/>
                    <a:pt x="1913" y="1273"/>
                  </a:cubicBezTo>
                  <a:cubicBezTo>
                    <a:pt x="1907" y="1275"/>
                    <a:pt x="1909" y="1265"/>
                    <a:pt x="1905" y="1265"/>
                  </a:cubicBezTo>
                  <a:cubicBezTo>
                    <a:pt x="1902" y="1266"/>
                    <a:pt x="1903" y="1269"/>
                    <a:pt x="1905" y="1269"/>
                  </a:cubicBezTo>
                  <a:cubicBezTo>
                    <a:pt x="1904" y="1279"/>
                    <a:pt x="1886" y="1266"/>
                    <a:pt x="1886" y="1276"/>
                  </a:cubicBezTo>
                  <a:cubicBezTo>
                    <a:pt x="1882" y="1275"/>
                    <a:pt x="1885" y="1265"/>
                    <a:pt x="1881" y="1265"/>
                  </a:cubicBezTo>
                  <a:cubicBezTo>
                    <a:pt x="1880" y="1258"/>
                    <a:pt x="1886" y="1261"/>
                    <a:pt x="1889" y="1258"/>
                  </a:cubicBezTo>
                  <a:cubicBezTo>
                    <a:pt x="1890" y="1256"/>
                    <a:pt x="1890" y="1242"/>
                    <a:pt x="1897" y="1247"/>
                  </a:cubicBezTo>
                  <a:cubicBezTo>
                    <a:pt x="1897" y="1257"/>
                    <a:pt x="1891" y="1260"/>
                    <a:pt x="1886" y="1265"/>
                  </a:cubicBezTo>
                  <a:cubicBezTo>
                    <a:pt x="1886" y="1273"/>
                    <a:pt x="1896" y="1267"/>
                    <a:pt x="1899" y="1269"/>
                  </a:cubicBezTo>
                  <a:cubicBezTo>
                    <a:pt x="1899" y="1265"/>
                    <a:pt x="1896" y="1266"/>
                    <a:pt x="1894" y="1265"/>
                  </a:cubicBezTo>
                  <a:cubicBezTo>
                    <a:pt x="1894" y="1262"/>
                    <a:pt x="1897" y="1262"/>
                    <a:pt x="1899" y="1261"/>
                  </a:cubicBezTo>
                  <a:cubicBezTo>
                    <a:pt x="1898" y="1254"/>
                    <a:pt x="1901" y="1252"/>
                    <a:pt x="1902" y="1247"/>
                  </a:cubicBezTo>
                  <a:cubicBezTo>
                    <a:pt x="1906" y="1247"/>
                    <a:pt x="1903" y="1258"/>
                    <a:pt x="1908" y="1258"/>
                  </a:cubicBezTo>
                  <a:cubicBezTo>
                    <a:pt x="1912" y="1258"/>
                    <a:pt x="1910" y="1230"/>
                    <a:pt x="1913" y="1250"/>
                  </a:cubicBezTo>
                  <a:cubicBezTo>
                    <a:pt x="1915" y="1255"/>
                    <a:pt x="1919" y="1257"/>
                    <a:pt x="1924" y="1258"/>
                  </a:cubicBezTo>
                  <a:cubicBezTo>
                    <a:pt x="1928" y="1254"/>
                    <a:pt x="1929" y="1246"/>
                    <a:pt x="1937" y="1247"/>
                  </a:cubicBezTo>
                  <a:cubicBezTo>
                    <a:pt x="1937" y="1250"/>
                    <a:pt x="1937" y="1254"/>
                    <a:pt x="1937" y="1258"/>
                  </a:cubicBezTo>
                  <a:close/>
                  <a:moveTo>
                    <a:pt x="1945" y="1217"/>
                  </a:moveTo>
                  <a:cubicBezTo>
                    <a:pt x="1942" y="1212"/>
                    <a:pt x="1944" y="1218"/>
                    <a:pt x="1940" y="1217"/>
                  </a:cubicBezTo>
                  <a:cubicBezTo>
                    <a:pt x="1937" y="1217"/>
                    <a:pt x="1934" y="1210"/>
                    <a:pt x="1932" y="1221"/>
                  </a:cubicBezTo>
                  <a:cubicBezTo>
                    <a:pt x="1929" y="1221"/>
                    <a:pt x="1930" y="1216"/>
                    <a:pt x="1929" y="1213"/>
                  </a:cubicBezTo>
                  <a:cubicBezTo>
                    <a:pt x="1925" y="1213"/>
                    <a:pt x="1920" y="1213"/>
                    <a:pt x="1916" y="1213"/>
                  </a:cubicBezTo>
                  <a:cubicBezTo>
                    <a:pt x="1913" y="1216"/>
                    <a:pt x="1913" y="1222"/>
                    <a:pt x="1908" y="1221"/>
                  </a:cubicBezTo>
                  <a:cubicBezTo>
                    <a:pt x="1912" y="1208"/>
                    <a:pt x="1900" y="1217"/>
                    <a:pt x="1894" y="1213"/>
                  </a:cubicBezTo>
                  <a:cubicBezTo>
                    <a:pt x="1892" y="1212"/>
                    <a:pt x="1892" y="1205"/>
                    <a:pt x="1889" y="1206"/>
                  </a:cubicBezTo>
                  <a:cubicBezTo>
                    <a:pt x="1887" y="1196"/>
                    <a:pt x="1901" y="1209"/>
                    <a:pt x="1899" y="1199"/>
                  </a:cubicBezTo>
                  <a:cubicBezTo>
                    <a:pt x="1901" y="1206"/>
                    <a:pt x="1914" y="1198"/>
                    <a:pt x="1916" y="1206"/>
                  </a:cubicBezTo>
                  <a:cubicBezTo>
                    <a:pt x="1919" y="1198"/>
                    <a:pt x="1927" y="1201"/>
                    <a:pt x="1942" y="1202"/>
                  </a:cubicBezTo>
                  <a:cubicBezTo>
                    <a:pt x="1943" y="1202"/>
                    <a:pt x="1942" y="1206"/>
                    <a:pt x="1942" y="1206"/>
                  </a:cubicBezTo>
                  <a:cubicBezTo>
                    <a:pt x="1945" y="1207"/>
                    <a:pt x="1945" y="1205"/>
                    <a:pt x="1945" y="1202"/>
                  </a:cubicBezTo>
                  <a:cubicBezTo>
                    <a:pt x="1948" y="1203"/>
                    <a:pt x="1947" y="1206"/>
                    <a:pt x="1945" y="1206"/>
                  </a:cubicBezTo>
                  <a:cubicBezTo>
                    <a:pt x="1945" y="1210"/>
                    <a:pt x="1946" y="1214"/>
                    <a:pt x="1948" y="1213"/>
                  </a:cubicBezTo>
                  <a:cubicBezTo>
                    <a:pt x="1951" y="1213"/>
                    <a:pt x="1953" y="1206"/>
                    <a:pt x="1959" y="1213"/>
                  </a:cubicBezTo>
                  <a:cubicBezTo>
                    <a:pt x="1962" y="1218"/>
                    <a:pt x="1947" y="1220"/>
                    <a:pt x="1945" y="1217"/>
                  </a:cubicBezTo>
                  <a:close/>
                  <a:moveTo>
                    <a:pt x="1967" y="1339"/>
                  </a:moveTo>
                  <a:cubicBezTo>
                    <a:pt x="1959" y="1342"/>
                    <a:pt x="1961" y="1332"/>
                    <a:pt x="1956" y="1332"/>
                  </a:cubicBezTo>
                  <a:cubicBezTo>
                    <a:pt x="1958" y="1327"/>
                    <a:pt x="1962" y="1325"/>
                    <a:pt x="1967" y="1324"/>
                  </a:cubicBezTo>
                  <a:cubicBezTo>
                    <a:pt x="1967" y="1329"/>
                    <a:pt x="1967" y="1334"/>
                    <a:pt x="1967" y="1339"/>
                  </a:cubicBezTo>
                  <a:close/>
                  <a:moveTo>
                    <a:pt x="1969" y="1269"/>
                  </a:moveTo>
                  <a:cubicBezTo>
                    <a:pt x="1970" y="1266"/>
                    <a:pt x="1968" y="1265"/>
                    <a:pt x="1967" y="1265"/>
                  </a:cubicBezTo>
                  <a:cubicBezTo>
                    <a:pt x="1967" y="1262"/>
                    <a:pt x="1970" y="1262"/>
                    <a:pt x="1972" y="1261"/>
                  </a:cubicBezTo>
                  <a:cubicBezTo>
                    <a:pt x="1967" y="1253"/>
                    <a:pt x="1973" y="1257"/>
                    <a:pt x="1975" y="1250"/>
                  </a:cubicBezTo>
                  <a:cubicBezTo>
                    <a:pt x="1983" y="1254"/>
                    <a:pt x="1971" y="1260"/>
                    <a:pt x="1975" y="1269"/>
                  </a:cubicBezTo>
                  <a:cubicBezTo>
                    <a:pt x="1973" y="1269"/>
                    <a:pt x="1971" y="1269"/>
                    <a:pt x="1969" y="1269"/>
                  </a:cubicBezTo>
                  <a:close/>
                  <a:moveTo>
                    <a:pt x="1977" y="1306"/>
                  </a:moveTo>
                  <a:cubicBezTo>
                    <a:pt x="1984" y="1296"/>
                    <a:pt x="1986" y="1310"/>
                    <a:pt x="1994" y="1309"/>
                  </a:cubicBezTo>
                  <a:cubicBezTo>
                    <a:pt x="1994" y="1315"/>
                    <a:pt x="1974" y="1318"/>
                    <a:pt x="1977" y="1306"/>
                  </a:cubicBezTo>
                  <a:close/>
                  <a:moveTo>
                    <a:pt x="1980" y="1232"/>
                  </a:moveTo>
                  <a:cubicBezTo>
                    <a:pt x="1981" y="1225"/>
                    <a:pt x="1985" y="1223"/>
                    <a:pt x="1991" y="1225"/>
                  </a:cubicBezTo>
                  <a:cubicBezTo>
                    <a:pt x="1989" y="1229"/>
                    <a:pt x="1985" y="1231"/>
                    <a:pt x="1980" y="1232"/>
                  </a:cubicBezTo>
                  <a:close/>
                  <a:moveTo>
                    <a:pt x="2015" y="1269"/>
                  </a:moveTo>
                  <a:cubicBezTo>
                    <a:pt x="2004" y="1271"/>
                    <a:pt x="2007" y="1255"/>
                    <a:pt x="2007" y="1243"/>
                  </a:cubicBezTo>
                  <a:cubicBezTo>
                    <a:pt x="2010" y="1245"/>
                    <a:pt x="2010" y="1252"/>
                    <a:pt x="2015" y="1250"/>
                  </a:cubicBezTo>
                  <a:cubicBezTo>
                    <a:pt x="2015" y="1257"/>
                    <a:pt x="2015" y="1263"/>
                    <a:pt x="2015" y="1269"/>
                  </a:cubicBezTo>
                  <a:close/>
                  <a:moveTo>
                    <a:pt x="2020" y="1261"/>
                  </a:moveTo>
                  <a:cubicBezTo>
                    <a:pt x="2028" y="1259"/>
                    <a:pt x="2019" y="1279"/>
                    <a:pt x="2026" y="1276"/>
                  </a:cubicBezTo>
                  <a:cubicBezTo>
                    <a:pt x="2021" y="1289"/>
                    <a:pt x="2019" y="1269"/>
                    <a:pt x="2020" y="1261"/>
                  </a:cubicBezTo>
                  <a:close/>
                  <a:moveTo>
                    <a:pt x="2026" y="1217"/>
                  </a:moveTo>
                  <a:cubicBezTo>
                    <a:pt x="2026" y="1217"/>
                    <a:pt x="2022" y="1221"/>
                    <a:pt x="2023" y="1221"/>
                  </a:cubicBezTo>
                  <a:cubicBezTo>
                    <a:pt x="2021" y="1221"/>
                    <a:pt x="2018" y="1213"/>
                    <a:pt x="2018" y="1213"/>
                  </a:cubicBezTo>
                  <a:cubicBezTo>
                    <a:pt x="2014" y="1214"/>
                    <a:pt x="2013" y="1220"/>
                    <a:pt x="2010" y="1221"/>
                  </a:cubicBezTo>
                  <a:cubicBezTo>
                    <a:pt x="2001" y="1223"/>
                    <a:pt x="1995" y="1212"/>
                    <a:pt x="1988" y="1221"/>
                  </a:cubicBezTo>
                  <a:cubicBezTo>
                    <a:pt x="1985" y="1222"/>
                    <a:pt x="1979" y="1210"/>
                    <a:pt x="1986" y="1210"/>
                  </a:cubicBezTo>
                  <a:cubicBezTo>
                    <a:pt x="1985" y="1206"/>
                    <a:pt x="1982" y="1207"/>
                    <a:pt x="1980" y="1206"/>
                  </a:cubicBezTo>
                  <a:cubicBezTo>
                    <a:pt x="1981" y="1198"/>
                    <a:pt x="1996" y="1201"/>
                    <a:pt x="1991" y="1213"/>
                  </a:cubicBezTo>
                  <a:cubicBezTo>
                    <a:pt x="1994" y="1213"/>
                    <a:pt x="1994" y="1202"/>
                    <a:pt x="1991" y="1202"/>
                  </a:cubicBezTo>
                  <a:cubicBezTo>
                    <a:pt x="1991" y="1198"/>
                    <a:pt x="1996" y="1199"/>
                    <a:pt x="1999" y="1199"/>
                  </a:cubicBezTo>
                  <a:cubicBezTo>
                    <a:pt x="1999" y="1202"/>
                    <a:pt x="1999" y="1206"/>
                    <a:pt x="1999" y="1210"/>
                  </a:cubicBezTo>
                  <a:cubicBezTo>
                    <a:pt x="2009" y="1209"/>
                    <a:pt x="2004" y="1201"/>
                    <a:pt x="2012" y="1206"/>
                  </a:cubicBezTo>
                  <a:cubicBezTo>
                    <a:pt x="2013" y="1206"/>
                    <a:pt x="2017" y="1205"/>
                    <a:pt x="2018" y="1206"/>
                  </a:cubicBezTo>
                  <a:cubicBezTo>
                    <a:pt x="2018" y="1206"/>
                    <a:pt x="2019" y="1212"/>
                    <a:pt x="2020" y="1210"/>
                  </a:cubicBezTo>
                  <a:cubicBezTo>
                    <a:pt x="2025" y="1204"/>
                    <a:pt x="2023" y="1215"/>
                    <a:pt x="2031" y="1213"/>
                  </a:cubicBezTo>
                  <a:cubicBezTo>
                    <a:pt x="2031" y="1217"/>
                    <a:pt x="2028" y="1216"/>
                    <a:pt x="2026" y="1217"/>
                  </a:cubicBezTo>
                  <a:close/>
                  <a:moveTo>
                    <a:pt x="2031" y="588"/>
                  </a:moveTo>
                  <a:cubicBezTo>
                    <a:pt x="2033" y="585"/>
                    <a:pt x="2034" y="580"/>
                    <a:pt x="2034" y="574"/>
                  </a:cubicBezTo>
                  <a:cubicBezTo>
                    <a:pt x="2039" y="572"/>
                    <a:pt x="2039" y="594"/>
                    <a:pt x="2031" y="588"/>
                  </a:cubicBezTo>
                  <a:close/>
                  <a:moveTo>
                    <a:pt x="2039" y="1210"/>
                  </a:moveTo>
                  <a:cubicBezTo>
                    <a:pt x="2044" y="1209"/>
                    <a:pt x="2044" y="1213"/>
                    <a:pt x="2047" y="1213"/>
                  </a:cubicBezTo>
                  <a:cubicBezTo>
                    <a:pt x="2046" y="1218"/>
                    <a:pt x="2042" y="1220"/>
                    <a:pt x="2037" y="1221"/>
                  </a:cubicBezTo>
                  <a:cubicBezTo>
                    <a:pt x="2038" y="1218"/>
                    <a:pt x="2039" y="1215"/>
                    <a:pt x="2039" y="1210"/>
                  </a:cubicBezTo>
                  <a:close/>
                  <a:moveTo>
                    <a:pt x="2039" y="1306"/>
                  </a:moveTo>
                  <a:cubicBezTo>
                    <a:pt x="2042" y="1309"/>
                    <a:pt x="2045" y="1310"/>
                    <a:pt x="2050" y="1309"/>
                  </a:cubicBezTo>
                  <a:cubicBezTo>
                    <a:pt x="2051" y="1316"/>
                    <a:pt x="2035" y="1316"/>
                    <a:pt x="2039" y="1306"/>
                  </a:cubicBezTo>
                  <a:close/>
                  <a:moveTo>
                    <a:pt x="2050" y="1269"/>
                  </a:moveTo>
                  <a:cubicBezTo>
                    <a:pt x="2048" y="1268"/>
                    <a:pt x="2048" y="1270"/>
                    <a:pt x="2047" y="1273"/>
                  </a:cubicBezTo>
                  <a:cubicBezTo>
                    <a:pt x="2044" y="1272"/>
                    <a:pt x="2045" y="1266"/>
                    <a:pt x="2045" y="1261"/>
                  </a:cubicBezTo>
                  <a:cubicBezTo>
                    <a:pt x="2048" y="1263"/>
                    <a:pt x="2049" y="1268"/>
                    <a:pt x="2053" y="1269"/>
                  </a:cubicBezTo>
                  <a:cubicBezTo>
                    <a:pt x="2052" y="1273"/>
                    <a:pt x="2050" y="1271"/>
                    <a:pt x="2050" y="1269"/>
                  </a:cubicBezTo>
                  <a:close/>
                  <a:moveTo>
                    <a:pt x="2064" y="1213"/>
                  </a:moveTo>
                  <a:cubicBezTo>
                    <a:pt x="2061" y="1219"/>
                    <a:pt x="2057" y="1221"/>
                    <a:pt x="2050" y="1221"/>
                  </a:cubicBezTo>
                  <a:cubicBezTo>
                    <a:pt x="2050" y="1214"/>
                    <a:pt x="2059" y="1218"/>
                    <a:pt x="2058" y="1210"/>
                  </a:cubicBezTo>
                  <a:cubicBezTo>
                    <a:pt x="2058" y="1206"/>
                    <a:pt x="2055" y="1207"/>
                    <a:pt x="2053" y="1206"/>
                  </a:cubicBezTo>
                  <a:cubicBezTo>
                    <a:pt x="2054" y="1201"/>
                    <a:pt x="2059" y="1203"/>
                    <a:pt x="2064" y="1202"/>
                  </a:cubicBezTo>
                  <a:cubicBezTo>
                    <a:pt x="2064" y="1209"/>
                    <a:pt x="2059" y="1212"/>
                    <a:pt x="2064" y="1213"/>
                  </a:cubicBezTo>
                  <a:close/>
                  <a:moveTo>
                    <a:pt x="2055" y="1195"/>
                  </a:moveTo>
                  <a:cubicBezTo>
                    <a:pt x="2055" y="1191"/>
                    <a:pt x="2055" y="1187"/>
                    <a:pt x="2055" y="1184"/>
                  </a:cubicBezTo>
                  <a:cubicBezTo>
                    <a:pt x="2060" y="1180"/>
                    <a:pt x="2064" y="1195"/>
                    <a:pt x="2066" y="1184"/>
                  </a:cubicBezTo>
                  <a:cubicBezTo>
                    <a:pt x="2072" y="1186"/>
                    <a:pt x="2063" y="1198"/>
                    <a:pt x="2055" y="1195"/>
                  </a:cubicBezTo>
                  <a:close/>
                  <a:moveTo>
                    <a:pt x="2069" y="204"/>
                  </a:moveTo>
                  <a:cubicBezTo>
                    <a:pt x="2065" y="208"/>
                    <a:pt x="2064" y="215"/>
                    <a:pt x="2058" y="207"/>
                  </a:cubicBezTo>
                  <a:cubicBezTo>
                    <a:pt x="2062" y="202"/>
                    <a:pt x="2071" y="196"/>
                    <a:pt x="2072" y="207"/>
                  </a:cubicBezTo>
                  <a:cubicBezTo>
                    <a:pt x="2070" y="213"/>
                    <a:pt x="2069" y="208"/>
                    <a:pt x="2069" y="204"/>
                  </a:cubicBezTo>
                  <a:close/>
                  <a:moveTo>
                    <a:pt x="2074" y="182"/>
                  </a:moveTo>
                  <a:cubicBezTo>
                    <a:pt x="2069" y="181"/>
                    <a:pt x="2074" y="174"/>
                    <a:pt x="2074" y="174"/>
                  </a:cubicBezTo>
                  <a:cubicBezTo>
                    <a:pt x="2074" y="170"/>
                    <a:pt x="2069" y="164"/>
                    <a:pt x="2074" y="159"/>
                  </a:cubicBezTo>
                  <a:cubicBezTo>
                    <a:pt x="2082" y="163"/>
                    <a:pt x="2073" y="175"/>
                    <a:pt x="2074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</p:grpSp>
      <p:sp>
        <p:nvSpPr>
          <p:cNvPr id="112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792107" y="4627227"/>
            <a:ext cx="4232424" cy="749300"/>
          </a:xfrm>
        </p:spPr>
        <p:txBody>
          <a:bodyPr/>
          <a:lstStyle>
            <a:lvl1pPr>
              <a:defRPr>
                <a:solidFill>
                  <a:srgbClr val="832149"/>
                </a:solidFill>
              </a:defRPr>
            </a:lvl1pPr>
            <a:lvl2pPr>
              <a:defRPr>
                <a:solidFill>
                  <a:srgbClr val="832149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  <a:endParaRPr lang="en-AU"/>
          </a:p>
        </p:txBody>
      </p:sp>
      <p:sp>
        <p:nvSpPr>
          <p:cNvPr id="113" name="Title 4124"/>
          <p:cNvSpPr>
            <a:spLocks noGrp="1"/>
          </p:cNvSpPr>
          <p:nvPr>
            <p:ph type="title"/>
          </p:nvPr>
        </p:nvSpPr>
        <p:spPr>
          <a:xfrm>
            <a:off x="5735264" y="1927683"/>
            <a:ext cx="5486400" cy="2603500"/>
          </a:xfrm>
        </p:spPr>
        <p:txBody>
          <a:bodyPr/>
          <a:lstStyle>
            <a:lvl1pPr>
              <a:defRPr sz="7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9137058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splash">
    <p:bg>
      <p:bgPr>
        <a:solidFill>
          <a:srgbClr val="442E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" name="Group 110"/>
          <p:cNvGrpSpPr/>
          <p:nvPr userDrawn="1"/>
        </p:nvGrpSpPr>
        <p:grpSpPr>
          <a:xfrm>
            <a:off x="3388559" y="1687629"/>
            <a:ext cx="8814356" cy="4310435"/>
            <a:chOff x="2541419" y="1687628"/>
            <a:chExt cx="6610767" cy="4310435"/>
          </a:xfrm>
          <a:solidFill>
            <a:schemeClr val="accent4"/>
          </a:solidFill>
        </p:grpSpPr>
        <p:sp>
          <p:nvSpPr>
            <p:cNvPr id="145" name="Freeform 7"/>
            <p:cNvSpPr>
              <a:spLocks/>
            </p:cNvSpPr>
            <p:nvPr userDrawn="1"/>
          </p:nvSpPr>
          <p:spPr bwMode="auto">
            <a:xfrm>
              <a:off x="3782953" y="1707783"/>
              <a:ext cx="34935" cy="79275"/>
            </a:xfrm>
            <a:custGeom>
              <a:avLst/>
              <a:gdLst>
                <a:gd name="T0" fmla="*/ 11 w 11"/>
                <a:gd name="T1" fmla="*/ 13 h 25"/>
                <a:gd name="T2" fmla="*/ 11 w 11"/>
                <a:gd name="T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25">
                  <a:moveTo>
                    <a:pt x="11" y="13"/>
                  </a:moveTo>
                  <a:cubicBezTo>
                    <a:pt x="0" y="0"/>
                    <a:pt x="4" y="25"/>
                    <a:pt x="1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6" name="Freeform 8"/>
            <p:cNvSpPr>
              <a:spLocks/>
            </p:cNvSpPr>
            <p:nvPr userDrawn="1"/>
          </p:nvSpPr>
          <p:spPr bwMode="auto">
            <a:xfrm>
              <a:off x="4782630" y="1722563"/>
              <a:ext cx="30904" cy="67183"/>
            </a:xfrm>
            <a:custGeom>
              <a:avLst/>
              <a:gdLst>
                <a:gd name="T0" fmla="*/ 10 w 10"/>
                <a:gd name="T1" fmla="*/ 11 h 21"/>
                <a:gd name="T2" fmla="*/ 0 w 10"/>
                <a:gd name="T3" fmla="*/ 11 h 21"/>
                <a:gd name="T4" fmla="*/ 10 w 10"/>
                <a:gd name="T5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1">
                  <a:moveTo>
                    <a:pt x="10" y="11"/>
                  </a:moveTo>
                  <a:cubicBezTo>
                    <a:pt x="5" y="15"/>
                    <a:pt x="1" y="0"/>
                    <a:pt x="0" y="11"/>
                  </a:cubicBezTo>
                  <a:cubicBezTo>
                    <a:pt x="1" y="13"/>
                    <a:pt x="10" y="21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7" name="Freeform 9"/>
            <p:cNvSpPr>
              <a:spLocks/>
            </p:cNvSpPr>
            <p:nvPr userDrawn="1"/>
          </p:nvSpPr>
          <p:spPr bwMode="auto">
            <a:xfrm>
              <a:off x="8294936" y="1770934"/>
              <a:ext cx="34935" cy="51059"/>
            </a:xfrm>
            <a:custGeom>
              <a:avLst/>
              <a:gdLst>
                <a:gd name="T0" fmla="*/ 3 w 11"/>
                <a:gd name="T1" fmla="*/ 0 h 16"/>
                <a:gd name="T2" fmla="*/ 0 w 11"/>
                <a:gd name="T3" fmla="*/ 15 h 16"/>
                <a:gd name="T4" fmla="*/ 3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3" y="0"/>
                  </a:moveTo>
                  <a:cubicBezTo>
                    <a:pt x="4" y="7"/>
                    <a:pt x="0" y="8"/>
                    <a:pt x="0" y="15"/>
                  </a:cubicBezTo>
                  <a:cubicBezTo>
                    <a:pt x="8" y="16"/>
                    <a:pt x="11" y="1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8" name="Freeform 10"/>
            <p:cNvSpPr>
              <a:spLocks/>
            </p:cNvSpPr>
            <p:nvPr userDrawn="1"/>
          </p:nvSpPr>
          <p:spPr bwMode="auto">
            <a:xfrm>
              <a:off x="8345995" y="1783027"/>
              <a:ext cx="18811" cy="57777"/>
            </a:xfrm>
            <a:custGeom>
              <a:avLst/>
              <a:gdLst>
                <a:gd name="T0" fmla="*/ 6 w 6"/>
                <a:gd name="T1" fmla="*/ 18 h 18"/>
                <a:gd name="T2" fmla="*/ 1 w 6"/>
                <a:gd name="T3" fmla="*/ 0 h 18"/>
                <a:gd name="T4" fmla="*/ 6 w 6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8">
                  <a:moveTo>
                    <a:pt x="6" y="18"/>
                  </a:moveTo>
                  <a:cubicBezTo>
                    <a:pt x="6" y="9"/>
                    <a:pt x="5" y="3"/>
                    <a:pt x="1" y="0"/>
                  </a:cubicBezTo>
                  <a:cubicBezTo>
                    <a:pt x="0" y="9"/>
                    <a:pt x="0" y="18"/>
                    <a:pt x="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49" name="Freeform 11"/>
            <p:cNvSpPr>
              <a:spLocks/>
            </p:cNvSpPr>
            <p:nvPr userDrawn="1"/>
          </p:nvSpPr>
          <p:spPr bwMode="auto">
            <a:xfrm>
              <a:off x="8921078" y="1783027"/>
              <a:ext cx="79275" cy="123616"/>
            </a:xfrm>
            <a:custGeom>
              <a:avLst/>
              <a:gdLst>
                <a:gd name="T0" fmla="*/ 5 w 25"/>
                <a:gd name="T1" fmla="*/ 33 h 39"/>
                <a:gd name="T2" fmla="*/ 10 w 25"/>
                <a:gd name="T3" fmla="*/ 37 h 39"/>
                <a:gd name="T4" fmla="*/ 13 w 25"/>
                <a:gd name="T5" fmla="*/ 33 h 39"/>
                <a:gd name="T6" fmla="*/ 19 w 25"/>
                <a:gd name="T7" fmla="*/ 26 h 39"/>
                <a:gd name="T8" fmla="*/ 24 w 25"/>
                <a:gd name="T9" fmla="*/ 18 h 39"/>
                <a:gd name="T10" fmla="*/ 16 w 25"/>
                <a:gd name="T11" fmla="*/ 0 h 39"/>
                <a:gd name="T12" fmla="*/ 2 w 25"/>
                <a:gd name="T13" fmla="*/ 15 h 39"/>
                <a:gd name="T14" fmla="*/ 13 w 25"/>
                <a:gd name="T15" fmla="*/ 11 h 39"/>
                <a:gd name="T16" fmla="*/ 10 w 25"/>
                <a:gd name="T17" fmla="*/ 30 h 39"/>
                <a:gd name="T18" fmla="*/ 0 w 25"/>
                <a:gd name="T19" fmla="*/ 26 h 39"/>
                <a:gd name="T20" fmla="*/ 2 w 25"/>
                <a:gd name="T21" fmla="*/ 37 h 39"/>
                <a:gd name="T22" fmla="*/ 5 w 25"/>
                <a:gd name="T23" fmla="*/ 3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39">
                  <a:moveTo>
                    <a:pt x="5" y="33"/>
                  </a:moveTo>
                  <a:cubicBezTo>
                    <a:pt x="8" y="32"/>
                    <a:pt x="9" y="38"/>
                    <a:pt x="10" y="37"/>
                  </a:cubicBezTo>
                  <a:cubicBezTo>
                    <a:pt x="12" y="36"/>
                    <a:pt x="10" y="33"/>
                    <a:pt x="13" y="33"/>
                  </a:cubicBezTo>
                  <a:cubicBezTo>
                    <a:pt x="17" y="33"/>
                    <a:pt x="16" y="26"/>
                    <a:pt x="19" y="26"/>
                  </a:cubicBezTo>
                  <a:cubicBezTo>
                    <a:pt x="22" y="25"/>
                    <a:pt x="21" y="20"/>
                    <a:pt x="24" y="18"/>
                  </a:cubicBezTo>
                  <a:cubicBezTo>
                    <a:pt x="25" y="8"/>
                    <a:pt x="19" y="6"/>
                    <a:pt x="16" y="0"/>
                  </a:cubicBezTo>
                  <a:cubicBezTo>
                    <a:pt x="10" y="3"/>
                    <a:pt x="0" y="0"/>
                    <a:pt x="2" y="15"/>
                  </a:cubicBezTo>
                  <a:cubicBezTo>
                    <a:pt x="9" y="20"/>
                    <a:pt x="11" y="0"/>
                    <a:pt x="13" y="11"/>
                  </a:cubicBezTo>
                  <a:cubicBezTo>
                    <a:pt x="14" y="21"/>
                    <a:pt x="3" y="20"/>
                    <a:pt x="10" y="30"/>
                  </a:cubicBezTo>
                  <a:cubicBezTo>
                    <a:pt x="5" y="23"/>
                    <a:pt x="5" y="32"/>
                    <a:pt x="0" y="26"/>
                  </a:cubicBezTo>
                  <a:cubicBezTo>
                    <a:pt x="0" y="30"/>
                    <a:pt x="0" y="35"/>
                    <a:pt x="2" y="37"/>
                  </a:cubicBezTo>
                  <a:cubicBezTo>
                    <a:pt x="5" y="39"/>
                    <a:pt x="5" y="33"/>
                    <a:pt x="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0" name="Freeform 12"/>
            <p:cNvSpPr>
              <a:spLocks/>
            </p:cNvSpPr>
            <p:nvPr userDrawn="1"/>
          </p:nvSpPr>
          <p:spPr bwMode="auto">
            <a:xfrm>
              <a:off x="8399741" y="1817962"/>
              <a:ext cx="16124" cy="22842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3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1" name="Freeform 13"/>
            <p:cNvSpPr>
              <a:spLocks/>
            </p:cNvSpPr>
            <p:nvPr userDrawn="1"/>
          </p:nvSpPr>
          <p:spPr bwMode="auto">
            <a:xfrm>
              <a:off x="7350349" y="1840804"/>
              <a:ext cx="14780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2" name="Freeform 14"/>
            <p:cNvSpPr>
              <a:spLocks/>
            </p:cNvSpPr>
            <p:nvPr userDrawn="1"/>
          </p:nvSpPr>
          <p:spPr bwMode="auto">
            <a:xfrm>
              <a:off x="8534106" y="1840804"/>
              <a:ext cx="28217" cy="72557"/>
            </a:xfrm>
            <a:custGeom>
              <a:avLst/>
              <a:gdLst>
                <a:gd name="T0" fmla="*/ 9 w 9"/>
                <a:gd name="T1" fmla="*/ 23 h 23"/>
                <a:gd name="T2" fmla="*/ 3 w 9"/>
                <a:gd name="T3" fmla="*/ 0 h 23"/>
                <a:gd name="T4" fmla="*/ 9 w 9"/>
                <a:gd name="T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3">
                  <a:moveTo>
                    <a:pt x="9" y="23"/>
                  </a:moveTo>
                  <a:cubicBezTo>
                    <a:pt x="6" y="16"/>
                    <a:pt x="8" y="4"/>
                    <a:pt x="3" y="0"/>
                  </a:cubicBezTo>
                  <a:cubicBezTo>
                    <a:pt x="0" y="5"/>
                    <a:pt x="1" y="23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3" name="Freeform 15"/>
            <p:cNvSpPr>
              <a:spLocks/>
            </p:cNvSpPr>
            <p:nvPr userDrawn="1"/>
          </p:nvSpPr>
          <p:spPr bwMode="auto">
            <a:xfrm>
              <a:off x="8986917" y="1831399"/>
              <a:ext cx="38966" cy="104805"/>
            </a:xfrm>
            <a:custGeom>
              <a:avLst/>
              <a:gdLst>
                <a:gd name="T0" fmla="*/ 3 w 12"/>
                <a:gd name="T1" fmla="*/ 33 h 33"/>
                <a:gd name="T2" fmla="*/ 8 w 12"/>
                <a:gd name="T3" fmla="*/ 33 h 33"/>
                <a:gd name="T4" fmla="*/ 11 w 12"/>
                <a:gd name="T5" fmla="*/ 29 h 33"/>
                <a:gd name="T6" fmla="*/ 6 w 12"/>
                <a:gd name="T7" fmla="*/ 18 h 33"/>
                <a:gd name="T8" fmla="*/ 3 w 12"/>
                <a:gd name="T9" fmla="*/ 3 h 33"/>
                <a:gd name="T10" fmla="*/ 3 w 12"/>
                <a:gd name="T1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33">
                  <a:moveTo>
                    <a:pt x="3" y="33"/>
                  </a:moveTo>
                  <a:cubicBezTo>
                    <a:pt x="5" y="33"/>
                    <a:pt x="7" y="33"/>
                    <a:pt x="8" y="33"/>
                  </a:cubicBezTo>
                  <a:cubicBezTo>
                    <a:pt x="9" y="31"/>
                    <a:pt x="9" y="29"/>
                    <a:pt x="11" y="29"/>
                  </a:cubicBezTo>
                  <a:cubicBezTo>
                    <a:pt x="12" y="22"/>
                    <a:pt x="7" y="22"/>
                    <a:pt x="6" y="18"/>
                  </a:cubicBezTo>
                  <a:cubicBezTo>
                    <a:pt x="8" y="15"/>
                    <a:pt x="12" y="0"/>
                    <a:pt x="3" y="3"/>
                  </a:cubicBezTo>
                  <a:cubicBezTo>
                    <a:pt x="0" y="17"/>
                    <a:pt x="1" y="24"/>
                    <a:pt x="3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4" name="Freeform 16"/>
            <p:cNvSpPr>
              <a:spLocks/>
            </p:cNvSpPr>
            <p:nvPr userDrawn="1"/>
          </p:nvSpPr>
          <p:spPr bwMode="auto">
            <a:xfrm>
              <a:off x="8476329" y="1887832"/>
              <a:ext cx="60464" cy="83306"/>
            </a:xfrm>
            <a:custGeom>
              <a:avLst/>
              <a:gdLst>
                <a:gd name="T0" fmla="*/ 11 w 19"/>
                <a:gd name="T1" fmla="*/ 26 h 26"/>
                <a:gd name="T2" fmla="*/ 19 w 19"/>
                <a:gd name="T3" fmla="*/ 15 h 26"/>
                <a:gd name="T4" fmla="*/ 19 w 19"/>
                <a:gd name="T5" fmla="*/ 0 h 26"/>
                <a:gd name="T6" fmla="*/ 11 w 19"/>
                <a:gd name="T7" fmla="*/ 0 h 26"/>
                <a:gd name="T8" fmla="*/ 11 w 19"/>
                <a:gd name="T9" fmla="*/ 15 h 26"/>
                <a:gd name="T10" fmla="*/ 11 w 19"/>
                <a:gd name="T1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6">
                  <a:moveTo>
                    <a:pt x="11" y="26"/>
                  </a:moveTo>
                  <a:cubicBezTo>
                    <a:pt x="14" y="23"/>
                    <a:pt x="11" y="12"/>
                    <a:pt x="19" y="15"/>
                  </a:cubicBezTo>
                  <a:cubicBezTo>
                    <a:pt x="19" y="10"/>
                    <a:pt x="19" y="5"/>
                    <a:pt x="19" y="0"/>
                  </a:cubicBezTo>
                  <a:cubicBezTo>
                    <a:pt x="16" y="0"/>
                    <a:pt x="13" y="0"/>
                    <a:pt x="11" y="0"/>
                  </a:cubicBezTo>
                  <a:cubicBezTo>
                    <a:pt x="7" y="10"/>
                    <a:pt x="11" y="11"/>
                    <a:pt x="11" y="15"/>
                  </a:cubicBezTo>
                  <a:cubicBezTo>
                    <a:pt x="10" y="17"/>
                    <a:pt x="0" y="23"/>
                    <a:pt x="11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5" name="Freeform 17"/>
            <p:cNvSpPr>
              <a:spLocks/>
            </p:cNvSpPr>
            <p:nvPr userDrawn="1"/>
          </p:nvSpPr>
          <p:spPr bwMode="auto">
            <a:xfrm>
              <a:off x="8771933" y="1885145"/>
              <a:ext cx="37622" cy="81963"/>
            </a:xfrm>
            <a:custGeom>
              <a:avLst/>
              <a:gdLst>
                <a:gd name="T0" fmla="*/ 12 w 12"/>
                <a:gd name="T1" fmla="*/ 23 h 26"/>
                <a:gd name="T2" fmla="*/ 1 w 12"/>
                <a:gd name="T3" fmla="*/ 1 h 26"/>
                <a:gd name="T4" fmla="*/ 6 w 12"/>
                <a:gd name="T5" fmla="*/ 16 h 26"/>
                <a:gd name="T6" fmla="*/ 12 w 12"/>
                <a:gd name="T7" fmla="*/ 2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12" y="23"/>
                  </a:moveTo>
                  <a:cubicBezTo>
                    <a:pt x="9" y="15"/>
                    <a:pt x="11" y="0"/>
                    <a:pt x="1" y="1"/>
                  </a:cubicBezTo>
                  <a:cubicBezTo>
                    <a:pt x="0" y="7"/>
                    <a:pt x="5" y="12"/>
                    <a:pt x="6" y="16"/>
                  </a:cubicBezTo>
                  <a:cubicBezTo>
                    <a:pt x="8" y="19"/>
                    <a:pt x="6" y="26"/>
                    <a:pt x="1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6" name="Freeform 18"/>
            <p:cNvSpPr>
              <a:spLocks/>
            </p:cNvSpPr>
            <p:nvPr userDrawn="1"/>
          </p:nvSpPr>
          <p:spPr bwMode="auto">
            <a:xfrm>
              <a:off x="4985522" y="1901268"/>
              <a:ext cx="18811" cy="21498"/>
            </a:xfrm>
            <a:custGeom>
              <a:avLst/>
              <a:gdLst>
                <a:gd name="T0" fmla="*/ 0 w 6"/>
                <a:gd name="T1" fmla="*/ 7 h 7"/>
                <a:gd name="T2" fmla="*/ 6 w 6"/>
                <a:gd name="T3" fmla="*/ 7 h 7"/>
                <a:gd name="T4" fmla="*/ 6 w 6"/>
                <a:gd name="T5" fmla="*/ 0 h 7"/>
                <a:gd name="T6" fmla="*/ 0 w 6"/>
                <a:gd name="T7" fmla="*/ 0 h 7"/>
                <a:gd name="T8" fmla="*/ 0 w 6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7"/>
                  </a:moveTo>
                  <a:cubicBezTo>
                    <a:pt x="2" y="7"/>
                    <a:pt x="4" y="7"/>
                    <a:pt x="6" y="7"/>
                  </a:cubicBezTo>
                  <a:cubicBezTo>
                    <a:pt x="6" y="5"/>
                    <a:pt x="6" y="2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7" name="Freeform 19"/>
            <p:cNvSpPr>
              <a:spLocks/>
            </p:cNvSpPr>
            <p:nvPr userDrawn="1"/>
          </p:nvSpPr>
          <p:spPr bwMode="auto">
            <a:xfrm>
              <a:off x="7707760" y="1901268"/>
              <a:ext cx="16124" cy="21498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4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8" name="Freeform 20"/>
            <p:cNvSpPr>
              <a:spLocks/>
            </p:cNvSpPr>
            <p:nvPr userDrawn="1"/>
          </p:nvSpPr>
          <p:spPr bwMode="auto">
            <a:xfrm>
              <a:off x="5395336" y="1910674"/>
              <a:ext cx="44341" cy="44341"/>
            </a:xfrm>
            <a:custGeom>
              <a:avLst/>
              <a:gdLst>
                <a:gd name="T0" fmla="*/ 0 w 14"/>
                <a:gd name="T1" fmla="*/ 8 h 14"/>
                <a:gd name="T2" fmla="*/ 14 w 14"/>
                <a:gd name="T3" fmla="*/ 4 h 14"/>
                <a:gd name="T4" fmla="*/ 0 w 14"/>
                <a:gd name="T5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0" y="8"/>
                  </a:moveTo>
                  <a:cubicBezTo>
                    <a:pt x="4" y="14"/>
                    <a:pt x="11" y="11"/>
                    <a:pt x="14" y="4"/>
                  </a:cubicBezTo>
                  <a:cubicBezTo>
                    <a:pt x="10" y="6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59" name="Freeform 21"/>
            <p:cNvSpPr>
              <a:spLocks/>
            </p:cNvSpPr>
            <p:nvPr userDrawn="1"/>
          </p:nvSpPr>
          <p:spPr bwMode="auto">
            <a:xfrm>
              <a:off x="7086993" y="1910674"/>
              <a:ext cx="37622" cy="85994"/>
            </a:xfrm>
            <a:custGeom>
              <a:avLst/>
              <a:gdLst>
                <a:gd name="T0" fmla="*/ 2 w 12"/>
                <a:gd name="T1" fmla="*/ 4 h 27"/>
                <a:gd name="T2" fmla="*/ 0 w 12"/>
                <a:gd name="T3" fmla="*/ 19 h 27"/>
                <a:gd name="T4" fmla="*/ 2 w 12"/>
                <a:gd name="T5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7">
                  <a:moveTo>
                    <a:pt x="2" y="4"/>
                  </a:moveTo>
                  <a:cubicBezTo>
                    <a:pt x="2" y="11"/>
                    <a:pt x="2" y="16"/>
                    <a:pt x="0" y="19"/>
                  </a:cubicBezTo>
                  <a:cubicBezTo>
                    <a:pt x="10" y="27"/>
                    <a:pt x="12" y="0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0" name="Freeform 22"/>
            <p:cNvSpPr>
              <a:spLocks/>
            </p:cNvSpPr>
            <p:nvPr userDrawn="1"/>
          </p:nvSpPr>
          <p:spPr bwMode="auto">
            <a:xfrm>
              <a:off x="8844490" y="1906643"/>
              <a:ext cx="22842" cy="69870"/>
            </a:xfrm>
            <a:custGeom>
              <a:avLst/>
              <a:gdLst>
                <a:gd name="T0" fmla="*/ 0 w 7"/>
                <a:gd name="T1" fmla="*/ 5 h 22"/>
                <a:gd name="T2" fmla="*/ 0 w 7"/>
                <a:gd name="T3" fmla="*/ 16 h 22"/>
                <a:gd name="T4" fmla="*/ 0 w 7"/>
                <a:gd name="T5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2">
                  <a:moveTo>
                    <a:pt x="0" y="5"/>
                  </a:moveTo>
                  <a:cubicBezTo>
                    <a:pt x="0" y="9"/>
                    <a:pt x="0" y="13"/>
                    <a:pt x="0" y="16"/>
                  </a:cubicBezTo>
                  <a:cubicBezTo>
                    <a:pt x="7" y="22"/>
                    <a:pt x="7" y="0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1" name="Freeform 23"/>
            <p:cNvSpPr>
              <a:spLocks/>
            </p:cNvSpPr>
            <p:nvPr userDrawn="1"/>
          </p:nvSpPr>
          <p:spPr bwMode="auto">
            <a:xfrm>
              <a:off x="5778276" y="1906643"/>
              <a:ext cx="34935" cy="79275"/>
            </a:xfrm>
            <a:custGeom>
              <a:avLst/>
              <a:gdLst>
                <a:gd name="T0" fmla="*/ 11 w 11"/>
                <a:gd name="T1" fmla="*/ 13 h 25"/>
                <a:gd name="T2" fmla="*/ 11 w 11"/>
                <a:gd name="T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25">
                  <a:moveTo>
                    <a:pt x="11" y="13"/>
                  </a:moveTo>
                  <a:cubicBezTo>
                    <a:pt x="0" y="0"/>
                    <a:pt x="5" y="25"/>
                    <a:pt x="1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2" name="Freeform 24"/>
            <p:cNvSpPr>
              <a:spLocks/>
            </p:cNvSpPr>
            <p:nvPr userDrawn="1"/>
          </p:nvSpPr>
          <p:spPr bwMode="auto">
            <a:xfrm>
              <a:off x="5870988" y="1926798"/>
              <a:ext cx="47028" cy="30904"/>
            </a:xfrm>
            <a:custGeom>
              <a:avLst/>
              <a:gdLst>
                <a:gd name="T0" fmla="*/ 9 w 15"/>
                <a:gd name="T1" fmla="*/ 10 h 10"/>
                <a:gd name="T2" fmla="*/ 14 w 15"/>
                <a:gd name="T3" fmla="*/ 3 h 10"/>
                <a:gd name="T4" fmla="*/ 9 w 15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9" y="10"/>
                  </a:moveTo>
                  <a:cubicBezTo>
                    <a:pt x="8" y="7"/>
                    <a:pt x="15" y="5"/>
                    <a:pt x="14" y="3"/>
                  </a:cubicBezTo>
                  <a:cubicBezTo>
                    <a:pt x="12" y="0"/>
                    <a:pt x="0" y="4"/>
                    <a:pt x="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3" name="Freeform 25"/>
            <p:cNvSpPr>
              <a:spLocks/>
            </p:cNvSpPr>
            <p:nvPr userDrawn="1"/>
          </p:nvSpPr>
          <p:spPr bwMode="auto">
            <a:xfrm>
              <a:off x="6940535" y="1932172"/>
              <a:ext cx="25529" cy="38966"/>
            </a:xfrm>
            <a:custGeom>
              <a:avLst/>
              <a:gdLst>
                <a:gd name="T0" fmla="*/ 8 w 8"/>
                <a:gd name="T1" fmla="*/ 5 h 12"/>
                <a:gd name="T2" fmla="*/ 0 w 8"/>
                <a:gd name="T3" fmla="*/ 1 h 12"/>
                <a:gd name="T4" fmla="*/ 0 w 8"/>
                <a:gd name="T5" fmla="*/ 12 h 12"/>
                <a:gd name="T6" fmla="*/ 5 w 8"/>
                <a:gd name="T7" fmla="*/ 12 h 12"/>
                <a:gd name="T8" fmla="*/ 8 w 8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8" y="5"/>
                  </a:moveTo>
                  <a:cubicBezTo>
                    <a:pt x="5" y="4"/>
                    <a:pt x="4" y="0"/>
                    <a:pt x="0" y="1"/>
                  </a:cubicBezTo>
                  <a:cubicBezTo>
                    <a:pt x="0" y="5"/>
                    <a:pt x="0" y="8"/>
                    <a:pt x="0" y="12"/>
                  </a:cubicBezTo>
                  <a:cubicBezTo>
                    <a:pt x="2" y="12"/>
                    <a:pt x="3" y="12"/>
                    <a:pt x="5" y="12"/>
                  </a:cubicBezTo>
                  <a:cubicBezTo>
                    <a:pt x="5" y="8"/>
                    <a:pt x="7" y="8"/>
                    <a:pt x="8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4" name="Freeform 26"/>
            <p:cNvSpPr>
              <a:spLocks/>
            </p:cNvSpPr>
            <p:nvPr userDrawn="1"/>
          </p:nvSpPr>
          <p:spPr bwMode="auto">
            <a:xfrm>
              <a:off x="5959669" y="1938891"/>
              <a:ext cx="37622" cy="44341"/>
            </a:xfrm>
            <a:custGeom>
              <a:avLst/>
              <a:gdLst>
                <a:gd name="T0" fmla="*/ 10 w 12"/>
                <a:gd name="T1" fmla="*/ 3 h 14"/>
                <a:gd name="T2" fmla="*/ 2 w 12"/>
                <a:gd name="T3" fmla="*/ 6 h 14"/>
                <a:gd name="T4" fmla="*/ 10 w 12"/>
                <a:gd name="T5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4">
                  <a:moveTo>
                    <a:pt x="10" y="3"/>
                  </a:moveTo>
                  <a:cubicBezTo>
                    <a:pt x="8" y="0"/>
                    <a:pt x="3" y="5"/>
                    <a:pt x="2" y="6"/>
                  </a:cubicBezTo>
                  <a:cubicBezTo>
                    <a:pt x="0" y="14"/>
                    <a:pt x="12" y="5"/>
                    <a:pt x="1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5" name="Freeform 27"/>
            <p:cNvSpPr>
              <a:spLocks/>
            </p:cNvSpPr>
            <p:nvPr userDrawn="1"/>
          </p:nvSpPr>
          <p:spPr bwMode="auto">
            <a:xfrm>
              <a:off x="6343954" y="1948296"/>
              <a:ext cx="16124" cy="22842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0 h 7"/>
                <a:gd name="T4" fmla="*/ 0 w 5"/>
                <a:gd name="T5" fmla="*/ 7 h 7"/>
                <a:gd name="T6" fmla="*/ 5 w 5"/>
                <a:gd name="T7" fmla="*/ 7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6" name="Freeform 28"/>
            <p:cNvSpPr>
              <a:spLocks/>
            </p:cNvSpPr>
            <p:nvPr userDrawn="1"/>
          </p:nvSpPr>
          <p:spPr bwMode="auto">
            <a:xfrm>
              <a:off x="8902267" y="1948296"/>
              <a:ext cx="18811" cy="22842"/>
            </a:xfrm>
            <a:custGeom>
              <a:avLst/>
              <a:gdLst>
                <a:gd name="T0" fmla="*/ 6 w 6"/>
                <a:gd name="T1" fmla="*/ 0 h 7"/>
                <a:gd name="T2" fmla="*/ 0 w 6"/>
                <a:gd name="T3" fmla="*/ 0 h 7"/>
                <a:gd name="T4" fmla="*/ 0 w 6"/>
                <a:gd name="T5" fmla="*/ 7 h 7"/>
                <a:gd name="T6" fmla="*/ 6 w 6"/>
                <a:gd name="T7" fmla="*/ 7 h 7"/>
                <a:gd name="T8" fmla="*/ 6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7"/>
                    <a:pt x="4" y="7"/>
                    <a:pt x="6" y="7"/>
                  </a:cubicBezTo>
                  <a:cubicBezTo>
                    <a:pt x="6" y="5"/>
                    <a:pt x="6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7" name="Freeform 29"/>
            <p:cNvSpPr>
              <a:spLocks/>
            </p:cNvSpPr>
            <p:nvPr userDrawn="1"/>
          </p:nvSpPr>
          <p:spPr bwMode="auto">
            <a:xfrm>
              <a:off x="8986917" y="1948296"/>
              <a:ext cx="29560" cy="37622"/>
            </a:xfrm>
            <a:custGeom>
              <a:avLst/>
              <a:gdLst>
                <a:gd name="T0" fmla="*/ 8 w 9"/>
                <a:gd name="T1" fmla="*/ 11 h 12"/>
                <a:gd name="T2" fmla="*/ 3 w 9"/>
                <a:gd name="T3" fmla="*/ 0 h 12"/>
                <a:gd name="T4" fmla="*/ 0 w 9"/>
                <a:gd name="T5" fmla="*/ 7 h 12"/>
                <a:gd name="T6" fmla="*/ 8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11"/>
                  </a:moveTo>
                  <a:cubicBezTo>
                    <a:pt x="9" y="4"/>
                    <a:pt x="6" y="1"/>
                    <a:pt x="3" y="0"/>
                  </a:cubicBezTo>
                  <a:cubicBezTo>
                    <a:pt x="3" y="3"/>
                    <a:pt x="1" y="4"/>
                    <a:pt x="0" y="7"/>
                  </a:cubicBezTo>
                  <a:cubicBezTo>
                    <a:pt x="4" y="7"/>
                    <a:pt x="4" y="12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8" name="Freeform 30"/>
            <p:cNvSpPr>
              <a:spLocks/>
            </p:cNvSpPr>
            <p:nvPr userDrawn="1"/>
          </p:nvSpPr>
          <p:spPr bwMode="auto">
            <a:xfrm>
              <a:off x="9037976" y="1938891"/>
              <a:ext cx="32248" cy="44341"/>
            </a:xfrm>
            <a:custGeom>
              <a:avLst/>
              <a:gdLst>
                <a:gd name="T0" fmla="*/ 0 w 10"/>
                <a:gd name="T1" fmla="*/ 10 h 14"/>
                <a:gd name="T2" fmla="*/ 8 w 10"/>
                <a:gd name="T3" fmla="*/ 14 h 14"/>
                <a:gd name="T4" fmla="*/ 0 w 10"/>
                <a:gd name="T5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4">
                  <a:moveTo>
                    <a:pt x="0" y="10"/>
                  </a:moveTo>
                  <a:cubicBezTo>
                    <a:pt x="4" y="10"/>
                    <a:pt x="6" y="12"/>
                    <a:pt x="8" y="14"/>
                  </a:cubicBezTo>
                  <a:cubicBezTo>
                    <a:pt x="10" y="2"/>
                    <a:pt x="1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69" name="Freeform 31"/>
            <p:cNvSpPr>
              <a:spLocks/>
            </p:cNvSpPr>
            <p:nvPr userDrawn="1"/>
          </p:nvSpPr>
          <p:spPr bwMode="auto">
            <a:xfrm>
              <a:off x="6521316" y="1983231"/>
              <a:ext cx="48371" cy="51059"/>
            </a:xfrm>
            <a:custGeom>
              <a:avLst/>
              <a:gdLst>
                <a:gd name="T0" fmla="*/ 6 w 15"/>
                <a:gd name="T1" fmla="*/ 11 h 16"/>
                <a:gd name="T2" fmla="*/ 3 w 15"/>
                <a:gd name="T3" fmla="*/ 15 h 16"/>
                <a:gd name="T4" fmla="*/ 14 w 15"/>
                <a:gd name="T5" fmla="*/ 0 h 16"/>
                <a:gd name="T6" fmla="*/ 0 w 15"/>
                <a:gd name="T7" fmla="*/ 7 h 16"/>
                <a:gd name="T8" fmla="*/ 6 w 15"/>
                <a:gd name="T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6" y="11"/>
                  </a:moveTo>
                  <a:cubicBezTo>
                    <a:pt x="4" y="11"/>
                    <a:pt x="2" y="11"/>
                    <a:pt x="3" y="15"/>
                  </a:cubicBezTo>
                  <a:cubicBezTo>
                    <a:pt x="11" y="16"/>
                    <a:pt x="15" y="11"/>
                    <a:pt x="14" y="0"/>
                  </a:cubicBezTo>
                  <a:cubicBezTo>
                    <a:pt x="9" y="2"/>
                    <a:pt x="2" y="2"/>
                    <a:pt x="0" y="7"/>
                  </a:cubicBezTo>
                  <a:cubicBezTo>
                    <a:pt x="2" y="8"/>
                    <a:pt x="5" y="7"/>
                    <a:pt x="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0" name="Freeform 32"/>
            <p:cNvSpPr>
              <a:spLocks/>
            </p:cNvSpPr>
            <p:nvPr userDrawn="1"/>
          </p:nvSpPr>
          <p:spPr bwMode="auto">
            <a:xfrm>
              <a:off x="7397377" y="1973826"/>
              <a:ext cx="51059" cy="37622"/>
            </a:xfrm>
            <a:custGeom>
              <a:avLst/>
              <a:gdLst>
                <a:gd name="T0" fmla="*/ 12 w 16"/>
                <a:gd name="T1" fmla="*/ 10 h 12"/>
                <a:gd name="T2" fmla="*/ 1 w 16"/>
                <a:gd name="T3" fmla="*/ 6 h 12"/>
                <a:gd name="T4" fmla="*/ 12 w 16"/>
                <a:gd name="T5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2" y="10"/>
                  </a:moveTo>
                  <a:cubicBezTo>
                    <a:pt x="16" y="0"/>
                    <a:pt x="0" y="0"/>
                    <a:pt x="1" y="6"/>
                  </a:cubicBezTo>
                  <a:cubicBezTo>
                    <a:pt x="5" y="8"/>
                    <a:pt x="6" y="12"/>
                    <a:pt x="1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1" name="Freeform 33"/>
            <p:cNvSpPr>
              <a:spLocks/>
            </p:cNvSpPr>
            <p:nvPr userDrawn="1"/>
          </p:nvSpPr>
          <p:spPr bwMode="auto">
            <a:xfrm>
              <a:off x="7508900" y="1983231"/>
              <a:ext cx="40310" cy="37622"/>
            </a:xfrm>
            <a:custGeom>
              <a:avLst/>
              <a:gdLst>
                <a:gd name="T0" fmla="*/ 12 w 13"/>
                <a:gd name="T1" fmla="*/ 11 h 12"/>
                <a:gd name="T2" fmla="*/ 1 w 13"/>
                <a:gd name="T3" fmla="*/ 0 h 12"/>
                <a:gd name="T4" fmla="*/ 12 w 13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2" y="11"/>
                  </a:moveTo>
                  <a:cubicBezTo>
                    <a:pt x="13" y="1"/>
                    <a:pt x="6" y="1"/>
                    <a:pt x="1" y="0"/>
                  </a:cubicBezTo>
                  <a:cubicBezTo>
                    <a:pt x="0" y="9"/>
                    <a:pt x="5" y="12"/>
                    <a:pt x="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2" name="Freeform 34"/>
            <p:cNvSpPr>
              <a:spLocks/>
            </p:cNvSpPr>
            <p:nvPr userDrawn="1"/>
          </p:nvSpPr>
          <p:spPr bwMode="auto">
            <a:xfrm>
              <a:off x="6061787" y="1989949"/>
              <a:ext cx="24186" cy="28217"/>
            </a:xfrm>
            <a:custGeom>
              <a:avLst/>
              <a:gdLst>
                <a:gd name="T0" fmla="*/ 0 w 8"/>
                <a:gd name="T1" fmla="*/ 1 h 9"/>
                <a:gd name="T2" fmla="*/ 0 w 8"/>
                <a:gd name="T3" fmla="*/ 9 h 9"/>
                <a:gd name="T4" fmla="*/ 8 w 8"/>
                <a:gd name="T5" fmla="*/ 9 h 9"/>
                <a:gd name="T6" fmla="*/ 0 w 8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3" y="9"/>
                    <a:pt x="5" y="9"/>
                    <a:pt x="8" y="9"/>
                  </a:cubicBezTo>
                  <a:cubicBezTo>
                    <a:pt x="8" y="2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3" name="Freeform 35"/>
            <p:cNvSpPr>
              <a:spLocks/>
            </p:cNvSpPr>
            <p:nvPr userDrawn="1"/>
          </p:nvSpPr>
          <p:spPr bwMode="auto">
            <a:xfrm>
              <a:off x="6290208" y="1976513"/>
              <a:ext cx="60464" cy="69870"/>
            </a:xfrm>
            <a:custGeom>
              <a:avLst/>
              <a:gdLst>
                <a:gd name="T0" fmla="*/ 19 w 19"/>
                <a:gd name="T1" fmla="*/ 13 h 22"/>
                <a:gd name="T2" fmla="*/ 0 w 19"/>
                <a:gd name="T3" fmla="*/ 13 h 22"/>
                <a:gd name="T4" fmla="*/ 19 w 19"/>
                <a:gd name="T5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22">
                  <a:moveTo>
                    <a:pt x="19" y="13"/>
                  </a:moveTo>
                  <a:cubicBezTo>
                    <a:pt x="13" y="11"/>
                    <a:pt x="2" y="0"/>
                    <a:pt x="0" y="13"/>
                  </a:cubicBezTo>
                  <a:cubicBezTo>
                    <a:pt x="9" y="8"/>
                    <a:pt x="17" y="22"/>
                    <a:pt x="19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4" name="Freeform 36"/>
            <p:cNvSpPr>
              <a:spLocks/>
            </p:cNvSpPr>
            <p:nvPr userDrawn="1"/>
          </p:nvSpPr>
          <p:spPr bwMode="auto">
            <a:xfrm>
              <a:off x="6632839" y="1980544"/>
              <a:ext cx="72557" cy="72557"/>
            </a:xfrm>
            <a:custGeom>
              <a:avLst/>
              <a:gdLst>
                <a:gd name="T0" fmla="*/ 14 w 23"/>
                <a:gd name="T1" fmla="*/ 23 h 23"/>
                <a:gd name="T2" fmla="*/ 14 w 23"/>
                <a:gd name="T3" fmla="*/ 4 h 23"/>
                <a:gd name="T4" fmla="*/ 3 w 23"/>
                <a:gd name="T5" fmla="*/ 4 h 23"/>
                <a:gd name="T6" fmla="*/ 0 w 23"/>
                <a:gd name="T7" fmla="*/ 16 h 23"/>
                <a:gd name="T8" fmla="*/ 14 w 23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4" y="23"/>
                  </a:moveTo>
                  <a:cubicBezTo>
                    <a:pt x="15" y="16"/>
                    <a:pt x="23" y="7"/>
                    <a:pt x="14" y="4"/>
                  </a:cubicBezTo>
                  <a:cubicBezTo>
                    <a:pt x="13" y="22"/>
                    <a:pt x="10" y="0"/>
                    <a:pt x="3" y="4"/>
                  </a:cubicBezTo>
                  <a:cubicBezTo>
                    <a:pt x="3" y="10"/>
                    <a:pt x="1" y="13"/>
                    <a:pt x="0" y="16"/>
                  </a:cubicBezTo>
                  <a:cubicBezTo>
                    <a:pt x="9" y="12"/>
                    <a:pt x="8" y="21"/>
                    <a:pt x="14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5" name="Freeform 37"/>
            <p:cNvSpPr>
              <a:spLocks/>
            </p:cNvSpPr>
            <p:nvPr userDrawn="1"/>
          </p:nvSpPr>
          <p:spPr bwMode="auto">
            <a:xfrm>
              <a:off x="8397054" y="1989949"/>
              <a:ext cx="32248" cy="51059"/>
            </a:xfrm>
            <a:custGeom>
              <a:avLst/>
              <a:gdLst>
                <a:gd name="T0" fmla="*/ 1 w 10"/>
                <a:gd name="T1" fmla="*/ 1 h 16"/>
                <a:gd name="T2" fmla="*/ 9 w 10"/>
                <a:gd name="T3" fmla="*/ 16 h 16"/>
                <a:gd name="T4" fmla="*/ 1 w 10"/>
                <a:gd name="T5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6">
                  <a:moveTo>
                    <a:pt x="1" y="1"/>
                  </a:moveTo>
                  <a:cubicBezTo>
                    <a:pt x="0" y="11"/>
                    <a:pt x="5" y="13"/>
                    <a:pt x="9" y="16"/>
                  </a:cubicBezTo>
                  <a:cubicBezTo>
                    <a:pt x="10" y="7"/>
                    <a:pt x="8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6" name="Freeform 38"/>
            <p:cNvSpPr>
              <a:spLocks/>
            </p:cNvSpPr>
            <p:nvPr userDrawn="1"/>
          </p:nvSpPr>
          <p:spPr bwMode="auto">
            <a:xfrm>
              <a:off x="7178362" y="2002042"/>
              <a:ext cx="76588" cy="83306"/>
            </a:xfrm>
            <a:custGeom>
              <a:avLst/>
              <a:gdLst>
                <a:gd name="T0" fmla="*/ 14 w 24"/>
                <a:gd name="T1" fmla="*/ 16 h 26"/>
                <a:gd name="T2" fmla="*/ 24 w 24"/>
                <a:gd name="T3" fmla="*/ 16 h 26"/>
                <a:gd name="T4" fmla="*/ 16 w 24"/>
                <a:gd name="T5" fmla="*/ 16 h 26"/>
                <a:gd name="T6" fmla="*/ 11 w 24"/>
                <a:gd name="T7" fmla="*/ 5 h 26"/>
                <a:gd name="T8" fmla="*/ 6 w 24"/>
                <a:gd name="T9" fmla="*/ 5 h 26"/>
                <a:gd name="T10" fmla="*/ 0 w 24"/>
                <a:gd name="T11" fmla="*/ 20 h 26"/>
                <a:gd name="T12" fmla="*/ 14 w 24"/>
                <a:gd name="T13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6">
                  <a:moveTo>
                    <a:pt x="14" y="16"/>
                  </a:moveTo>
                  <a:cubicBezTo>
                    <a:pt x="16" y="22"/>
                    <a:pt x="24" y="26"/>
                    <a:pt x="24" y="16"/>
                  </a:cubicBezTo>
                  <a:cubicBezTo>
                    <a:pt x="22" y="16"/>
                    <a:pt x="19" y="16"/>
                    <a:pt x="16" y="16"/>
                  </a:cubicBezTo>
                  <a:cubicBezTo>
                    <a:pt x="17" y="9"/>
                    <a:pt x="13" y="9"/>
                    <a:pt x="11" y="5"/>
                  </a:cubicBezTo>
                  <a:cubicBezTo>
                    <a:pt x="11" y="1"/>
                    <a:pt x="6" y="0"/>
                    <a:pt x="6" y="5"/>
                  </a:cubicBezTo>
                  <a:cubicBezTo>
                    <a:pt x="14" y="10"/>
                    <a:pt x="1" y="15"/>
                    <a:pt x="0" y="20"/>
                  </a:cubicBezTo>
                  <a:cubicBezTo>
                    <a:pt x="6" y="21"/>
                    <a:pt x="11" y="19"/>
                    <a:pt x="1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7" name="Freeform 39"/>
            <p:cNvSpPr>
              <a:spLocks/>
            </p:cNvSpPr>
            <p:nvPr userDrawn="1"/>
          </p:nvSpPr>
          <p:spPr bwMode="auto">
            <a:xfrm>
              <a:off x="6733613" y="2018166"/>
              <a:ext cx="25529" cy="22842"/>
            </a:xfrm>
            <a:custGeom>
              <a:avLst/>
              <a:gdLst>
                <a:gd name="T0" fmla="*/ 8 w 8"/>
                <a:gd name="T1" fmla="*/ 0 h 7"/>
                <a:gd name="T2" fmla="*/ 0 w 8"/>
                <a:gd name="T3" fmla="*/ 7 h 7"/>
                <a:gd name="T4" fmla="*/ 8 w 8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7">
                  <a:moveTo>
                    <a:pt x="8" y="0"/>
                  </a:moveTo>
                  <a:cubicBezTo>
                    <a:pt x="4" y="0"/>
                    <a:pt x="2" y="3"/>
                    <a:pt x="0" y="7"/>
                  </a:cubicBezTo>
                  <a:cubicBezTo>
                    <a:pt x="5" y="7"/>
                    <a:pt x="7" y="4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8" name="Freeform 40"/>
            <p:cNvSpPr>
              <a:spLocks/>
            </p:cNvSpPr>
            <p:nvPr userDrawn="1"/>
          </p:nvSpPr>
          <p:spPr bwMode="auto">
            <a:xfrm>
              <a:off x="8993635" y="2015479"/>
              <a:ext cx="28217" cy="44341"/>
            </a:xfrm>
            <a:custGeom>
              <a:avLst/>
              <a:gdLst>
                <a:gd name="T0" fmla="*/ 9 w 9"/>
                <a:gd name="T1" fmla="*/ 1 h 14"/>
                <a:gd name="T2" fmla="*/ 1 w 9"/>
                <a:gd name="T3" fmla="*/ 12 h 14"/>
                <a:gd name="T4" fmla="*/ 9 w 9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9" y="1"/>
                  </a:moveTo>
                  <a:cubicBezTo>
                    <a:pt x="3" y="0"/>
                    <a:pt x="0" y="4"/>
                    <a:pt x="1" y="12"/>
                  </a:cubicBezTo>
                  <a:cubicBezTo>
                    <a:pt x="8" y="14"/>
                    <a:pt x="6" y="4"/>
                    <a:pt x="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79" name="Freeform 41"/>
            <p:cNvSpPr>
              <a:spLocks/>
            </p:cNvSpPr>
            <p:nvPr userDrawn="1"/>
          </p:nvSpPr>
          <p:spPr bwMode="auto">
            <a:xfrm>
              <a:off x="6949941" y="2027572"/>
              <a:ext cx="56433" cy="95399"/>
            </a:xfrm>
            <a:custGeom>
              <a:avLst/>
              <a:gdLst>
                <a:gd name="T0" fmla="*/ 13 w 18"/>
                <a:gd name="T1" fmla="*/ 26 h 30"/>
                <a:gd name="T2" fmla="*/ 8 w 18"/>
                <a:gd name="T3" fmla="*/ 19 h 30"/>
                <a:gd name="T4" fmla="*/ 16 w 18"/>
                <a:gd name="T5" fmla="*/ 1 h 30"/>
                <a:gd name="T6" fmla="*/ 0 w 18"/>
                <a:gd name="T7" fmla="*/ 15 h 30"/>
                <a:gd name="T8" fmla="*/ 13 w 18"/>
                <a:gd name="T9" fmla="*/ 2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30">
                  <a:moveTo>
                    <a:pt x="13" y="26"/>
                  </a:moveTo>
                  <a:cubicBezTo>
                    <a:pt x="14" y="9"/>
                    <a:pt x="11" y="13"/>
                    <a:pt x="8" y="19"/>
                  </a:cubicBezTo>
                  <a:cubicBezTo>
                    <a:pt x="5" y="5"/>
                    <a:pt x="18" y="13"/>
                    <a:pt x="16" y="1"/>
                  </a:cubicBezTo>
                  <a:cubicBezTo>
                    <a:pt x="7" y="0"/>
                    <a:pt x="5" y="10"/>
                    <a:pt x="0" y="15"/>
                  </a:cubicBezTo>
                  <a:cubicBezTo>
                    <a:pt x="9" y="13"/>
                    <a:pt x="3" y="30"/>
                    <a:pt x="13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0" name="Freeform 42"/>
            <p:cNvSpPr>
              <a:spLocks/>
            </p:cNvSpPr>
            <p:nvPr userDrawn="1"/>
          </p:nvSpPr>
          <p:spPr bwMode="auto">
            <a:xfrm>
              <a:off x="7061464" y="2020853"/>
              <a:ext cx="40310" cy="60464"/>
            </a:xfrm>
            <a:custGeom>
              <a:avLst/>
              <a:gdLst>
                <a:gd name="T0" fmla="*/ 13 w 13"/>
                <a:gd name="T1" fmla="*/ 6 h 19"/>
                <a:gd name="T2" fmla="*/ 0 w 13"/>
                <a:gd name="T3" fmla="*/ 10 h 19"/>
                <a:gd name="T4" fmla="*/ 13 w 13"/>
                <a:gd name="T5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9">
                  <a:moveTo>
                    <a:pt x="13" y="6"/>
                  </a:moveTo>
                  <a:cubicBezTo>
                    <a:pt x="7" y="4"/>
                    <a:pt x="3" y="0"/>
                    <a:pt x="0" y="10"/>
                  </a:cubicBezTo>
                  <a:cubicBezTo>
                    <a:pt x="8" y="8"/>
                    <a:pt x="11" y="19"/>
                    <a:pt x="1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1" name="Freeform 43"/>
            <p:cNvSpPr>
              <a:spLocks/>
            </p:cNvSpPr>
            <p:nvPr userDrawn="1"/>
          </p:nvSpPr>
          <p:spPr bwMode="auto">
            <a:xfrm>
              <a:off x="7250919" y="2041008"/>
              <a:ext cx="67183" cy="49715"/>
            </a:xfrm>
            <a:custGeom>
              <a:avLst/>
              <a:gdLst>
                <a:gd name="T0" fmla="*/ 9 w 21"/>
                <a:gd name="T1" fmla="*/ 0 h 16"/>
                <a:gd name="T2" fmla="*/ 4 w 21"/>
                <a:gd name="T3" fmla="*/ 0 h 16"/>
                <a:gd name="T4" fmla="*/ 9 w 2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6">
                  <a:moveTo>
                    <a:pt x="9" y="0"/>
                  </a:moveTo>
                  <a:cubicBezTo>
                    <a:pt x="9" y="5"/>
                    <a:pt x="6" y="2"/>
                    <a:pt x="4" y="0"/>
                  </a:cubicBezTo>
                  <a:cubicBezTo>
                    <a:pt x="0" y="16"/>
                    <a:pt x="21" y="4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2" name="Freeform 44"/>
            <p:cNvSpPr>
              <a:spLocks/>
            </p:cNvSpPr>
            <p:nvPr userDrawn="1"/>
          </p:nvSpPr>
          <p:spPr bwMode="auto">
            <a:xfrm>
              <a:off x="7324820" y="2034290"/>
              <a:ext cx="44341" cy="88681"/>
            </a:xfrm>
            <a:custGeom>
              <a:avLst/>
              <a:gdLst>
                <a:gd name="T0" fmla="*/ 8 w 14"/>
                <a:gd name="T1" fmla="*/ 28 h 28"/>
                <a:gd name="T2" fmla="*/ 13 w 14"/>
                <a:gd name="T3" fmla="*/ 21 h 28"/>
                <a:gd name="T4" fmla="*/ 5 w 14"/>
                <a:gd name="T5" fmla="*/ 2 h 28"/>
                <a:gd name="T6" fmla="*/ 8 w 14"/>
                <a:gd name="T7" fmla="*/ 17 h 28"/>
                <a:gd name="T8" fmla="*/ 8 w 14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8">
                  <a:moveTo>
                    <a:pt x="8" y="28"/>
                  </a:moveTo>
                  <a:cubicBezTo>
                    <a:pt x="8" y="23"/>
                    <a:pt x="13" y="25"/>
                    <a:pt x="13" y="21"/>
                  </a:cubicBezTo>
                  <a:cubicBezTo>
                    <a:pt x="7" y="19"/>
                    <a:pt x="14" y="0"/>
                    <a:pt x="5" y="2"/>
                  </a:cubicBezTo>
                  <a:cubicBezTo>
                    <a:pt x="0" y="10"/>
                    <a:pt x="6" y="9"/>
                    <a:pt x="8" y="17"/>
                  </a:cubicBezTo>
                  <a:cubicBezTo>
                    <a:pt x="4" y="17"/>
                    <a:pt x="5" y="27"/>
                    <a:pt x="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3" name="Freeform 45"/>
            <p:cNvSpPr>
              <a:spLocks/>
            </p:cNvSpPr>
            <p:nvPr userDrawn="1"/>
          </p:nvSpPr>
          <p:spPr bwMode="auto">
            <a:xfrm>
              <a:off x="7504869" y="2041008"/>
              <a:ext cx="51059" cy="116898"/>
            </a:xfrm>
            <a:custGeom>
              <a:avLst/>
              <a:gdLst>
                <a:gd name="T0" fmla="*/ 7 w 16"/>
                <a:gd name="T1" fmla="*/ 0 h 37"/>
                <a:gd name="T2" fmla="*/ 5 w 16"/>
                <a:gd name="T3" fmla="*/ 15 h 37"/>
                <a:gd name="T4" fmla="*/ 10 w 16"/>
                <a:gd name="T5" fmla="*/ 22 h 37"/>
                <a:gd name="T6" fmla="*/ 5 w 16"/>
                <a:gd name="T7" fmla="*/ 37 h 37"/>
                <a:gd name="T8" fmla="*/ 16 w 16"/>
                <a:gd name="T9" fmla="*/ 30 h 37"/>
                <a:gd name="T10" fmla="*/ 13 w 16"/>
                <a:gd name="T11" fmla="*/ 22 h 37"/>
                <a:gd name="T12" fmla="*/ 7 w 16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37">
                  <a:moveTo>
                    <a:pt x="7" y="0"/>
                  </a:moveTo>
                  <a:cubicBezTo>
                    <a:pt x="2" y="10"/>
                    <a:pt x="8" y="10"/>
                    <a:pt x="5" y="15"/>
                  </a:cubicBezTo>
                  <a:cubicBezTo>
                    <a:pt x="3" y="17"/>
                    <a:pt x="10" y="21"/>
                    <a:pt x="10" y="22"/>
                  </a:cubicBezTo>
                  <a:cubicBezTo>
                    <a:pt x="10" y="25"/>
                    <a:pt x="0" y="30"/>
                    <a:pt x="5" y="37"/>
                  </a:cubicBezTo>
                  <a:cubicBezTo>
                    <a:pt x="10" y="37"/>
                    <a:pt x="14" y="35"/>
                    <a:pt x="16" y="30"/>
                  </a:cubicBezTo>
                  <a:cubicBezTo>
                    <a:pt x="9" y="30"/>
                    <a:pt x="12" y="28"/>
                    <a:pt x="13" y="22"/>
                  </a:cubicBezTo>
                  <a:cubicBezTo>
                    <a:pt x="14" y="14"/>
                    <a:pt x="9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4" name="Freeform 46"/>
            <p:cNvSpPr>
              <a:spLocks/>
            </p:cNvSpPr>
            <p:nvPr userDrawn="1"/>
          </p:nvSpPr>
          <p:spPr bwMode="auto">
            <a:xfrm>
              <a:off x="6753768" y="2046383"/>
              <a:ext cx="37622" cy="57777"/>
            </a:xfrm>
            <a:custGeom>
              <a:avLst/>
              <a:gdLst>
                <a:gd name="T0" fmla="*/ 2 w 12"/>
                <a:gd name="T1" fmla="*/ 6 h 18"/>
                <a:gd name="T2" fmla="*/ 0 w 12"/>
                <a:gd name="T3" fmla="*/ 13 h 18"/>
                <a:gd name="T4" fmla="*/ 2 w 12"/>
                <a:gd name="T5" fmla="*/ 2 h 18"/>
                <a:gd name="T6" fmla="*/ 2 w 12"/>
                <a:gd name="T7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8">
                  <a:moveTo>
                    <a:pt x="2" y="6"/>
                  </a:moveTo>
                  <a:cubicBezTo>
                    <a:pt x="2" y="6"/>
                    <a:pt x="0" y="13"/>
                    <a:pt x="0" y="13"/>
                  </a:cubicBezTo>
                  <a:cubicBezTo>
                    <a:pt x="3" y="18"/>
                    <a:pt x="12" y="0"/>
                    <a:pt x="2" y="2"/>
                  </a:cubicBezTo>
                  <a:cubicBezTo>
                    <a:pt x="2" y="2"/>
                    <a:pt x="3" y="5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5" name="Freeform 47"/>
            <p:cNvSpPr>
              <a:spLocks/>
            </p:cNvSpPr>
            <p:nvPr userDrawn="1"/>
          </p:nvSpPr>
          <p:spPr bwMode="auto">
            <a:xfrm>
              <a:off x="6171966" y="2071912"/>
              <a:ext cx="48371" cy="29560"/>
            </a:xfrm>
            <a:custGeom>
              <a:avLst/>
              <a:gdLst>
                <a:gd name="T0" fmla="*/ 8 w 15"/>
                <a:gd name="T1" fmla="*/ 1 h 9"/>
                <a:gd name="T2" fmla="*/ 0 w 15"/>
                <a:gd name="T3" fmla="*/ 5 h 9"/>
                <a:gd name="T4" fmla="*/ 8 w 15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8" y="1"/>
                  </a:moveTo>
                  <a:cubicBezTo>
                    <a:pt x="6" y="0"/>
                    <a:pt x="0" y="2"/>
                    <a:pt x="0" y="5"/>
                  </a:cubicBezTo>
                  <a:cubicBezTo>
                    <a:pt x="0" y="9"/>
                    <a:pt x="15" y="7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6" name="Freeform 48"/>
            <p:cNvSpPr>
              <a:spLocks/>
            </p:cNvSpPr>
            <p:nvPr userDrawn="1"/>
          </p:nvSpPr>
          <p:spPr bwMode="auto">
            <a:xfrm>
              <a:off x="7054746" y="2075943"/>
              <a:ext cx="34935" cy="34935"/>
            </a:xfrm>
            <a:custGeom>
              <a:avLst/>
              <a:gdLst>
                <a:gd name="T0" fmla="*/ 10 w 11"/>
                <a:gd name="T1" fmla="*/ 11 h 11"/>
                <a:gd name="T2" fmla="*/ 2 w 11"/>
                <a:gd name="T3" fmla="*/ 0 h 11"/>
                <a:gd name="T4" fmla="*/ 10 w 11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1">
                  <a:moveTo>
                    <a:pt x="10" y="11"/>
                  </a:moveTo>
                  <a:cubicBezTo>
                    <a:pt x="11" y="1"/>
                    <a:pt x="4" y="4"/>
                    <a:pt x="2" y="0"/>
                  </a:cubicBezTo>
                  <a:cubicBezTo>
                    <a:pt x="0" y="10"/>
                    <a:pt x="7" y="8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7" name="Freeform 49"/>
            <p:cNvSpPr>
              <a:spLocks/>
            </p:cNvSpPr>
            <p:nvPr userDrawn="1"/>
          </p:nvSpPr>
          <p:spPr bwMode="auto">
            <a:xfrm>
              <a:off x="7111179" y="2075943"/>
              <a:ext cx="48371" cy="72557"/>
            </a:xfrm>
            <a:custGeom>
              <a:avLst/>
              <a:gdLst>
                <a:gd name="T0" fmla="*/ 2 w 15"/>
                <a:gd name="T1" fmla="*/ 0 h 23"/>
                <a:gd name="T2" fmla="*/ 2 w 15"/>
                <a:gd name="T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3">
                  <a:moveTo>
                    <a:pt x="2" y="0"/>
                  </a:moveTo>
                  <a:cubicBezTo>
                    <a:pt x="0" y="23"/>
                    <a:pt x="15" y="3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8" name="Freeform 50"/>
            <p:cNvSpPr>
              <a:spLocks/>
            </p:cNvSpPr>
            <p:nvPr userDrawn="1"/>
          </p:nvSpPr>
          <p:spPr bwMode="auto">
            <a:xfrm>
              <a:off x="7143427" y="2088036"/>
              <a:ext cx="28217" cy="37622"/>
            </a:xfrm>
            <a:custGeom>
              <a:avLst/>
              <a:gdLst>
                <a:gd name="T0" fmla="*/ 8 w 9"/>
                <a:gd name="T1" fmla="*/ 11 h 12"/>
                <a:gd name="T2" fmla="*/ 3 w 9"/>
                <a:gd name="T3" fmla="*/ 0 h 12"/>
                <a:gd name="T4" fmla="*/ 0 w 9"/>
                <a:gd name="T5" fmla="*/ 7 h 12"/>
                <a:gd name="T6" fmla="*/ 8 w 9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8" y="11"/>
                  </a:moveTo>
                  <a:cubicBezTo>
                    <a:pt x="9" y="5"/>
                    <a:pt x="6" y="2"/>
                    <a:pt x="3" y="0"/>
                  </a:cubicBezTo>
                  <a:cubicBezTo>
                    <a:pt x="3" y="4"/>
                    <a:pt x="1" y="4"/>
                    <a:pt x="0" y="7"/>
                  </a:cubicBezTo>
                  <a:cubicBezTo>
                    <a:pt x="4" y="8"/>
                    <a:pt x="4" y="12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89" name="Freeform 51"/>
            <p:cNvSpPr>
              <a:spLocks/>
            </p:cNvSpPr>
            <p:nvPr userDrawn="1"/>
          </p:nvSpPr>
          <p:spPr bwMode="auto">
            <a:xfrm>
              <a:off x="6765860" y="2097442"/>
              <a:ext cx="41653" cy="38966"/>
            </a:xfrm>
            <a:custGeom>
              <a:avLst/>
              <a:gdLst>
                <a:gd name="T0" fmla="*/ 12 w 13"/>
                <a:gd name="T1" fmla="*/ 4 h 12"/>
                <a:gd name="T2" fmla="*/ 4 w 13"/>
                <a:gd name="T3" fmla="*/ 1 h 12"/>
                <a:gd name="T4" fmla="*/ 12 w 13"/>
                <a:gd name="T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2" y="4"/>
                  </a:moveTo>
                  <a:cubicBezTo>
                    <a:pt x="8" y="4"/>
                    <a:pt x="8" y="0"/>
                    <a:pt x="4" y="1"/>
                  </a:cubicBezTo>
                  <a:cubicBezTo>
                    <a:pt x="0" y="10"/>
                    <a:pt x="13" y="12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0" name="Freeform 52"/>
            <p:cNvSpPr>
              <a:spLocks/>
            </p:cNvSpPr>
            <p:nvPr userDrawn="1"/>
          </p:nvSpPr>
          <p:spPr bwMode="auto">
            <a:xfrm>
              <a:off x="7400064" y="2148500"/>
              <a:ext cx="32248" cy="34935"/>
            </a:xfrm>
            <a:custGeom>
              <a:avLst/>
              <a:gdLst>
                <a:gd name="T0" fmla="*/ 8 w 10"/>
                <a:gd name="T1" fmla="*/ 11 h 11"/>
                <a:gd name="T2" fmla="*/ 0 w 10"/>
                <a:gd name="T3" fmla="*/ 0 h 11"/>
                <a:gd name="T4" fmla="*/ 8 w 10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8" y="11"/>
                  </a:moveTo>
                  <a:cubicBezTo>
                    <a:pt x="10" y="1"/>
                    <a:pt x="3" y="3"/>
                    <a:pt x="0" y="0"/>
                  </a:cubicBezTo>
                  <a:cubicBezTo>
                    <a:pt x="0" y="8"/>
                    <a:pt x="2" y="11"/>
                    <a:pt x="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1" name="Freeform 53"/>
            <p:cNvSpPr>
              <a:spLocks/>
            </p:cNvSpPr>
            <p:nvPr userDrawn="1"/>
          </p:nvSpPr>
          <p:spPr bwMode="auto">
            <a:xfrm>
              <a:off x="7674169" y="2155219"/>
              <a:ext cx="37622" cy="37622"/>
            </a:xfrm>
            <a:custGeom>
              <a:avLst/>
              <a:gdLst>
                <a:gd name="T0" fmla="*/ 6 w 12"/>
                <a:gd name="T1" fmla="*/ 12 h 12"/>
                <a:gd name="T2" fmla="*/ 11 w 12"/>
                <a:gd name="T3" fmla="*/ 1 h 12"/>
                <a:gd name="T4" fmla="*/ 0 w 12"/>
                <a:gd name="T5" fmla="*/ 5 h 12"/>
                <a:gd name="T6" fmla="*/ 6 w 12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6" y="7"/>
                    <a:pt x="12" y="9"/>
                    <a:pt x="11" y="1"/>
                  </a:cubicBezTo>
                  <a:cubicBezTo>
                    <a:pt x="7" y="2"/>
                    <a:pt x="1" y="0"/>
                    <a:pt x="0" y="5"/>
                  </a:cubicBezTo>
                  <a:cubicBezTo>
                    <a:pt x="4" y="5"/>
                    <a:pt x="3" y="11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2" name="Freeform 54"/>
            <p:cNvSpPr>
              <a:spLocks/>
            </p:cNvSpPr>
            <p:nvPr userDrawn="1"/>
          </p:nvSpPr>
          <p:spPr bwMode="auto">
            <a:xfrm>
              <a:off x="7991271" y="2157906"/>
              <a:ext cx="56433" cy="47028"/>
            </a:xfrm>
            <a:custGeom>
              <a:avLst/>
              <a:gdLst>
                <a:gd name="T0" fmla="*/ 13 w 18"/>
                <a:gd name="T1" fmla="*/ 15 h 15"/>
                <a:gd name="T2" fmla="*/ 18 w 18"/>
                <a:gd name="T3" fmla="*/ 4 h 15"/>
                <a:gd name="T4" fmla="*/ 0 w 18"/>
                <a:gd name="T5" fmla="*/ 11 h 15"/>
                <a:gd name="T6" fmla="*/ 13 w 18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13" y="15"/>
                  </a:moveTo>
                  <a:cubicBezTo>
                    <a:pt x="12" y="8"/>
                    <a:pt x="17" y="8"/>
                    <a:pt x="18" y="4"/>
                  </a:cubicBezTo>
                  <a:cubicBezTo>
                    <a:pt x="15" y="0"/>
                    <a:pt x="1" y="2"/>
                    <a:pt x="0" y="11"/>
                  </a:cubicBezTo>
                  <a:cubicBezTo>
                    <a:pt x="11" y="9"/>
                    <a:pt x="9" y="8"/>
                    <a:pt x="13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3" name="Freeform 55"/>
            <p:cNvSpPr>
              <a:spLocks/>
            </p:cNvSpPr>
            <p:nvPr userDrawn="1"/>
          </p:nvSpPr>
          <p:spPr bwMode="auto">
            <a:xfrm>
              <a:off x="7359755" y="2190154"/>
              <a:ext cx="14780" cy="37622"/>
            </a:xfrm>
            <a:custGeom>
              <a:avLst/>
              <a:gdLst>
                <a:gd name="T0" fmla="*/ 0 w 5"/>
                <a:gd name="T1" fmla="*/ 1 h 12"/>
                <a:gd name="T2" fmla="*/ 0 w 5"/>
                <a:gd name="T3" fmla="*/ 9 h 12"/>
                <a:gd name="T4" fmla="*/ 5 w 5"/>
                <a:gd name="T5" fmla="*/ 12 h 12"/>
                <a:gd name="T6" fmla="*/ 0 w 5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2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3" y="12"/>
                    <a:pt x="5" y="12"/>
                  </a:cubicBezTo>
                  <a:cubicBezTo>
                    <a:pt x="5" y="7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4" name="Freeform 56"/>
            <p:cNvSpPr>
              <a:spLocks/>
            </p:cNvSpPr>
            <p:nvPr userDrawn="1"/>
          </p:nvSpPr>
          <p:spPr bwMode="auto">
            <a:xfrm>
              <a:off x="7742695" y="2202246"/>
              <a:ext cx="25529" cy="51059"/>
            </a:xfrm>
            <a:custGeom>
              <a:avLst/>
              <a:gdLst>
                <a:gd name="T0" fmla="*/ 0 w 8"/>
                <a:gd name="T1" fmla="*/ 1 h 16"/>
                <a:gd name="T2" fmla="*/ 5 w 8"/>
                <a:gd name="T3" fmla="*/ 16 h 16"/>
                <a:gd name="T4" fmla="*/ 8 w 8"/>
                <a:gd name="T5" fmla="*/ 5 h 16"/>
                <a:gd name="T6" fmla="*/ 0 w 8"/>
                <a:gd name="T7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6">
                  <a:moveTo>
                    <a:pt x="0" y="1"/>
                  </a:moveTo>
                  <a:cubicBezTo>
                    <a:pt x="0" y="8"/>
                    <a:pt x="1" y="13"/>
                    <a:pt x="5" y="16"/>
                  </a:cubicBezTo>
                  <a:cubicBezTo>
                    <a:pt x="5" y="11"/>
                    <a:pt x="6" y="8"/>
                    <a:pt x="8" y="5"/>
                  </a:cubicBezTo>
                  <a:cubicBezTo>
                    <a:pt x="4" y="5"/>
                    <a:pt x="4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5" name="Freeform 57"/>
            <p:cNvSpPr>
              <a:spLocks/>
            </p:cNvSpPr>
            <p:nvPr userDrawn="1"/>
          </p:nvSpPr>
          <p:spPr bwMode="auto">
            <a:xfrm>
              <a:off x="7698355" y="2225089"/>
              <a:ext cx="34935" cy="63152"/>
            </a:xfrm>
            <a:custGeom>
              <a:avLst/>
              <a:gdLst>
                <a:gd name="T0" fmla="*/ 0 w 11"/>
                <a:gd name="T1" fmla="*/ 9 h 20"/>
                <a:gd name="T2" fmla="*/ 11 w 11"/>
                <a:gd name="T3" fmla="*/ 9 h 20"/>
                <a:gd name="T4" fmla="*/ 0 w 11"/>
                <a:gd name="T5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0">
                  <a:moveTo>
                    <a:pt x="0" y="9"/>
                  </a:moveTo>
                  <a:cubicBezTo>
                    <a:pt x="5" y="5"/>
                    <a:pt x="9" y="20"/>
                    <a:pt x="11" y="9"/>
                  </a:cubicBezTo>
                  <a:cubicBezTo>
                    <a:pt x="9" y="8"/>
                    <a:pt x="1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6" name="Freeform 58"/>
            <p:cNvSpPr>
              <a:spLocks/>
            </p:cNvSpPr>
            <p:nvPr userDrawn="1"/>
          </p:nvSpPr>
          <p:spPr bwMode="auto">
            <a:xfrm>
              <a:off x="7749414" y="2329893"/>
              <a:ext cx="18811" cy="40310"/>
            </a:xfrm>
            <a:custGeom>
              <a:avLst/>
              <a:gdLst>
                <a:gd name="T0" fmla="*/ 0 w 6"/>
                <a:gd name="T1" fmla="*/ 2 h 13"/>
                <a:gd name="T2" fmla="*/ 0 w 6"/>
                <a:gd name="T3" fmla="*/ 9 h 13"/>
                <a:gd name="T4" fmla="*/ 6 w 6"/>
                <a:gd name="T5" fmla="*/ 13 h 13"/>
                <a:gd name="T6" fmla="*/ 0 w 6"/>
                <a:gd name="T7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3">
                  <a:moveTo>
                    <a:pt x="0" y="2"/>
                  </a:moveTo>
                  <a:cubicBezTo>
                    <a:pt x="0" y="4"/>
                    <a:pt x="0" y="7"/>
                    <a:pt x="0" y="9"/>
                  </a:cubicBezTo>
                  <a:cubicBezTo>
                    <a:pt x="3" y="9"/>
                    <a:pt x="4" y="12"/>
                    <a:pt x="6" y="13"/>
                  </a:cubicBezTo>
                  <a:cubicBezTo>
                    <a:pt x="5" y="7"/>
                    <a:pt x="6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7" name="Freeform 59"/>
            <p:cNvSpPr>
              <a:spLocks/>
            </p:cNvSpPr>
            <p:nvPr userDrawn="1"/>
          </p:nvSpPr>
          <p:spPr bwMode="auto">
            <a:xfrm>
              <a:off x="6892164" y="2354079"/>
              <a:ext cx="67183" cy="38966"/>
            </a:xfrm>
            <a:custGeom>
              <a:avLst/>
              <a:gdLst>
                <a:gd name="T0" fmla="*/ 20 w 21"/>
                <a:gd name="T1" fmla="*/ 1 h 12"/>
                <a:gd name="T2" fmla="*/ 15 w 21"/>
                <a:gd name="T3" fmla="*/ 1 h 12"/>
                <a:gd name="T4" fmla="*/ 20 w 21"/>
                <a:gd name="T5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2">
                  <a:moveTo>
                    <a:pt x="20" y="1"/>
                  </a:moveTo>
                  <a:cubicBezTo>
                    <a:pt x="18" y="1"/>
                    <a:pt x="17" y="1"/>
                    <a:pt x="15" y="1"/>
                  </a:cubicBezTo>
                  <a:cubicBezTo>
                    <a:pt x="0" y="0"/>
                    <a:pt x="21" y="12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8" name="Freeform 60"/>
            <p:cNvSpPr>
              <a:spLocks/>
            </p:cNvSpPr>
            <p:nvPr userDrawn="1"/>
          </p:nvSpPr>
          <p:spPr bwMode="auto">
            <a:xfrm>
              <a:off x="2995573" y="2386327"/>
              <a:ext cx="18811" cy="67183"/>
            </a:xfrm>
            <a:custGeom>
              <a:avLst/>
              <a:gdLst>
                <a:gd name="T0" fmla="*/ 3 w 6"/>
                <a:gd name="T1" fmla="*/ 21 h 21"/>
                <a:gd name="T2" fmla="*/ 1 w 6"/>
                <a:gd name="T3" fmla="*/ 13 h 21"/>
                <a:gd name="T4" fmla="*/ 3 w 6"/>
                <a:gd name="T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1">
                  <a:moveTo>
                    <a:pt x="3" y="21"/>
                  </a:moveTo>
                  <a:cubicBezTo>
                    <a:pt x="6" y="20"/>
                    <a:pt x="5" y="0"/>
                    <a:pt x="1" y="13"/>
                  </a:cubicBezTo>
                  <a:cubicBezTo>
                    <a:pt x="0" y="16"/>
                    <a:pt x="2" y="21"/>
                    <a:pt x="3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99" name="Freeform 61"/>
            <p:cNvSpPr>
              <a:spLocks/>
            </p:cNvSpPr>
            <p:nvPr userDrawn="1"/>
          </p:nvSpPr>
          <p:spPr bwMode="auto">
            <a:xfrm>
              <a:off x="2970044" y="2423949"/>
              <a:ext cx="18811" cy="38966"/>
            </a:xfrm>
            <a:custGeom>
              <a:avLst/>
              <a:gdLst>
                <a:gd name="T0" fmla="*/ 3 w 6"/>
                <a:gd name="T1" fmla="*/ 12 h 12"/>
                <a:gd name="T2" fmla="*/ 6 w 6"/>
                <a:gd name="T3" fmla="*/ 9 h 12"/>
                <a:gd name="T4" fmla="*/ 0 w 6"/>
                <a:gd name="T5" fmla="*/ 1 h 12"/>
                <a:gd name="T6" fmla="*/ 3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3" y="12"/>
                  </a:moveTo>
                  <a:cubicBezTo>
                    <a:pt x="3" y="10"/>
                    <a:pt x="4" y="8"/>
                    <a:pt x="6" y="9"/>
                  </a:cubicBezTo>
                  <a:cubicBezTo>
                    <a:pt x="6" y="4"/>
                    <a:pt x="5" y="0"/>
                    <a:pt x="0" y="1"/>
                  </a:cubicBezTo>
                  <a:cubicBezTo>
                    <a:pt x="1" y="6"/>
                    <a:pt x="0" y="12"/>
                    <a:pt x="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0" name="Freeform 62"/>
            <p:cNvSpPr>
              <a:spLocks/>
            </p:cNvSpPr>
            <p:nvPr userDrawn="1"/>
          </p:nvSpPr>
          <p:spPr bwMode="auto">
            <a:xfrm>
              <a:off x="3023790" y="2440073"/>
              <a:ext cx="41653" cy="38966"/>
            </a:xfrm>
            <a:custGeom>
              <a:avLst/>
              <a:gdLst>
                <a:gd name="T0" fmla="*/ 13 w 13"/>
                <a:gd name="T1" fmla="*/ 4 h 12"/>
                <a:gd name="T2" fmla="*/ 2 w 13"/>
                <a:gd name="T3" fmla="*/ 11 h 12"/>
                <a:gd name="T4" fmla="*/ 13 w 13"/>
                <a:gd name="T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4"/>
                  </a:moveTo>
                  <a:cubicBezTo>
                    <a:pt x="8" y="5"/>
                    <a:pt x="0" y="0"/>
                    <a:pt x="2" y="11"/>
                  </a:cubicBezTo>
                  <a:cubicBezTo>
                    <a:pt x="9" y="12"/>
                    <a:pt x="13" y="10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1" name="Freeform 63"/>
            <p:cNvSpPr>
              <a:spLocks/>
            </p:cNvSpPr>
            <p:nvPr userDrawn="1"/>
          </p:nvSpPr>
          <p:spPr bwMode="auto">
            <a:xfrm>
              <a:off x="3792359" y="3484090"/>
              <a:ext cx="28217" cy="64495"/>
            </a:xfrm>
            <a:custGeom>
              <a:avLst/>
              <a:gdLst>
                <a:gd name="T0" fmla="*/ 8 w 9"/>
                <a:gd name="T1" fmla="*/ 19 h 20"/>
                <a:gd name="T2" fmla="*/ 0 w 9"/>
                <a:gd name="T3" fmla="*/ 0 h 20"/>
                <a:gd name="T4" fmla="*/ 8 w 9"/>
                <a:gd name="T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0">
                  <a:moveTo>
                    <a:pt x="8" y="19"/>
                  </a:moveTo>
                  <a:cubicBezTo>
                    <a:pt x="9" y="7"/>
                    <a:pt x="4" y="4"/>
                    <a:pt x="0" y="0"/>
                  </a:cubicBezTo>
                  <a:cubicBezTo>
                    <a:pt x="2" y="7"/>
                    <a:pt x="0" y="20"/>
                    <a:pt x="8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2" name="Freeform 64"/>
            <p:cNvSpPr>
              <a:spLocks/>
            </p:cNvSpPr>
            <p:nvPr userDrawn="1"/>
          </p:nvSpPr>
          <p:spPr bwMode="auto">
            <a:xfrm>
              <a:off x="3338205" y="3532462"/>
              <a:ext cx="47028" cy="75245"/>
            </a:xfrm>
            <a:custGeom>
              <a:avLst/>
              <a:gdLst>
                <a:gd name="T0" fmla="*/ 6 w 15"/>
                <a:gd name="T1" fmla="*/ 0 h 24"/>
                <a:gd name="T2" fmla="*/ 6 w 15"/>
                <a:gd name="T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4">
                  <a:moveTo>
                    <a:pt x="6" y="0"/>
                  </a:moveTo>
                  <a:cubicBezTo>
                    <a:pt x="0" y="24"/>
                    <a:pt x="15" y="1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3" name="Freeform 65"/>
            <p:cNvSpPr>
              <a:spLocks/>
            </p:cNvSpPr>
            <p:nvPr userDrawn="1"/>
          </p:nvSpPr>
          <p:spPr bwMode="auto">
            <a:xfrm>
              <a:off x="3748018" y="3523056"/>
              <a:ext cx="37622" cy="81963"/>
            </a:xfrm>
            <a:custGeom>
              <a:avLst/>
              <a:gdLst>
                <a:gd name="T0" fmla="*/ 3 w 12"/>
                <a:gd name="T1" fmla="*/ 3 h 26"/>
                <a:gd name="T2" fmla="*/ 0 w 12"/>
                <a:gd name="T3" fmla="*/ 25 h 26"/>
                <a:gd name="T4" fmla="*/ 6 w 12"/>
                <a:gd name="T5" fmla="*/ 14 h 26"/>
                <a:gd name="T6" fmla="*/ 3 w 12"/>
                <a:gd name="T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3" y="3"/>
                  </a:moveTo>
                  <a:cubicBezTo>
                    <a:pt x="5" y="14"/>
                    <a:pt x="0" y="16"/>
                    <a:pt x="0" y="25"/>
                  </a:cubicBezTo>
                  <a:cubicBezTo>
                    <a:pt x="7" y="26"/>
                    <a:pt x="4" y="21"/>
                    <a:pt x="6" y="14"/>
                  </a:cubicBezTo>
                  <a:cubicBezTo>
                    <a:pt x="7" y="9"/>
                    <a:pt x="12" y="0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4" name="Freeform 66"/>
            <p:cNvSpPr>
              <a:spLocks/>
            </p:cNvSpPr>
            <p:nvPr userDrawn="1"/>
          </p:nvSpPr>
          <p:spPr bwMode="auto">
            <a:xfrm>
              <a:off x="2998261" y="3574115"/>
              <a:ext cx="32248" cy="63152"/>
            </a:xfrm>
            <a:custGeom>
              <a:avLst/>
              <a:gdLst>
                <a:gd name="T0" fmla="*/ 0 w 10"/>
                <a:gd name="T1" fmla="*/ 9 h 20"/>
                <a:gd name="T2" fmla="*/ 10 w 10"/>
                <a:gd name="T3" fmla="*/ 9 h 20"/>
                <a:gd name="T4" fmla="*/ 0 w 10"/>
                <a:gd name="T5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9"/>
                  </a:moveTo>
                  <a:cubicBezTo>
                    <a:pt x="5" y="6"/>
                    <a:pt x="9" y="20"/>
                    <a:pt x="10" y="9"/>
                  </a:cubicBezTo>
                  <a:cubicBezTo>
                    <a:pt x="9" y="8"/>
                    <a:pt x="0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5" name="Freeform 67"/>
            <p:cNvSpPr>
              <a:spLocks/>
            </p:cNvSpPr>
            <p:nvPr userDrawn="1"/>
          </p:nvSpPr>
          <p:spPr bwMode="auto">
            <a:xfrm>
              <a:off x="3151437" y="3672202"/>
              <a:ext cx="44341" cy="69870"/>
            </a:xfrm>
            <a:custGeom>
              <a:avLst/>
              <a:gdLst>
                <a:gd name="T0" fmla="*/ 3 w 14"/>
                <a:gd name="T1" fmla="*/ 0 h 22"/>
                <a:gd name="T2" fmla="*/ 3 w 14"/>
                <a:gd name="T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22">
                  <a:moveTo>
                    <a:pt x="3" y="0"/>
                  </a:moveTo>
                  <a:cubicBezTo>
                    <a:pt x="0" y="22"/>
                    <a:pt x="14" y="2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6" name="Freeform 68"/>
            <p:cNvSpPr>
              <a:spLocks/>
            </p:cNvSpPr>
            <p:nvPr userDrawn="1"/>
          </p:nvSpPr>
          <p:spPr bwMode="auto">
            <a:xfrm>
              <a:off x="3140688" y="3872406"/>
              <a:ext cx="20155" cy="24186"/>
            </a:xfrm>
            <a:custGeom>
              <a:avLst/>
              <a:gdLst>
                <a:gd name="T0" fmla="*/ 6 w 6"/>
                <a:gd name="T1" fmla="*/ 0 h 8"/>
                <a:gd name="T2" fmla="*/ 0 w 6"/>
                <a:gd name="T3" fmla="*/ 0 h 8"/>
                <a:gd name="T4" fmla="*/ 0 w 6"/>
                <a:gd name="T5" fmla="*/ 8 h 8"/>
                <a:gd name="T6" fmla="*/ 6 w 6"/>
                <a:gd name="T7" fmla="*/ 8 h 8"/>
                <a:gd name="T8" fmla="*/ 6 w 6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6" y="8"/>
                  </a:cubicBezTo>
                  <a:cubicBezTo>
                    <a:pt x="6" y="5"/>
                    <a:pt x="6" y="3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7" name="Freeform 69"/>
            <p:cNvSpPr>
              <a:spLocks/>
            </p:cNvSpPr>
            <p:nvPr userDrawn="1"/>
          </p:nvSpPr>
          <p:spPr bwMode="auto">
            <a:xfrm>
              <a:off x="3081567" y="3919434"/>
              <a:ext cx="72557" cy="116898"/>
            </a:xfrm>
            <a:custGeom>
              <a:avLst/>
              <a:gdLst>
                <a:gd name="T0" fmla="*/ 11 w 23"/>
                <a:gd name="T1" fmla="*/ 4 h 37"/>
                <a:gd name="T2" fmla="*/ 3 w 23"/>
                <a:gd name="T3" fmla="*/ 0 h 37"/>
                <a:gd name="T4" fmla="*/ 3 w 23"/>
                <a:gd name="T5" fmla="*/ 33 h 37"/>
                <a:gd name="T6" fmla="*/ 22 w 23"/>
                <a:gd name="T7" fmla="*/ 26 h 37"/>
                <a:gd name="T8" fmla="*/ 17 w 23"/>
                <a:gd name="T9" fmla="*/ 15 h 37"/>
                <a:gd name="T10" fmla="*/ 14 w 23"/>
                <a:gd name="T11" fmla="*/ 4 h 37"/>
                <a:gd name="T12" fmla="*/ 6 w 23"/>
                <a:gd name="T13" fmla="*/ 11 h 37"/>
                <a:gd name="T14" fmla="*/ 11 w 23"/>
                <a:gd name="T15" fmla="*/ 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7">
                  <a:moveTo>
                    <a:pt x="11" y="4"/>
                  </a:moveTo>
                  <a:cubicBezTo>
                    <a:pt x="8" y="4"/>
                    <a:pt x="5" y="2"/>
                    <a:pt x="3" y="0"/>
                  </a:cubicBezTo>
                  <a:cubicBezTo>
                    <a:pt x="2" y="17"/>
                    <a:pt x="0" y="18"/>
                    <a:pt x="3" y="33"/>
                  </a:cubicBezTo>
                  <a:cubicBezTo>
                    <a:pt x="14" y="37"/>
                    <a:pt x="10" y="20"/>
                    <a:pt x="22" y="26"/>
                  </a:cubicBezTo>
                  <a:cubicBezTo>
                    <a:pt x="23" y="18"/>
                    <a:pt x="18" y="19"/>
                    <a:pt x="17" y="15"/>
                  </a:cubicBezTo>
                  <a:cubicBezTo>
                    <a:pt x="16" y="13"/>
                    <a:pt x="22" y="4"/>
                    <a:pt x="14" y="4"/>
                  </a:cubicBezTo>
                  <a:cubicBezTo>
                    <a:pt x="16" y="11"/>
                    <a:pt x="7" y="20"/>
                    <a:pt x="6" y="11"/>
                  </a:cubicBezTo>
                  <a:cubicBezTo>
                    <a:pt x="9" y="11"/>
                    <a:pt x="12" y="10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8" name="Freeform 70"/>
            <p:cNvSpPr>
              <a:spLocks/>
            </p:cNvSpPr>
            <p:nvPr userDrawn="1"/>
          </p:nvSpPr>
          <p:spPr bwMode="auto">
            <a:xfrm>
              <a:off x="3058725" y="3912715"/>
              <a:ext cx="32248" cy="60464"/>
            </a:xfrm>
            <a:custGeom>
              <a:avLst/>
              <a:gdLst>
                <a:gd name="T0" fmla="*/ 0 w 10"/>
                <a:gd name="T1" fmla="*/ 9 h 19"/>
                <a:gd name="T2" fmla="*/ 7 w 10"/>
                <a:gd name="T3" fmla="*/ 17 h 19"/>
                <a:gd name="T4" fmla="*/ 0 w 10"/>
                <a:gd name="T5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9">
                  <a:moveTo>
                    <a:pt x="0" y="9"/>
                  </a:moveTo>
                  <a:cubicBezTo>
                    <a:pt x="4" y="10"/>
                    <a:pt x="2" y="19"/>
                    <a:pt x="7" y="17"/>
                  </a:cubicBezTo>
                  <a:cubicBezTo>
                    <a:pt x="10" y="9"/>
                    <a:pt x="1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09" name="Freeform 71"/>
            <p:cNvSpPr>
              <a:spLocks/>
            </p:cNvSpPr>
            <p:nvPr userDrawn="1"/>
          </p:nvSpPr>
          <p:spPr bwMode="auto">
            <a:xfrm>
              <a:off x="3125908" y="4049768"/>
              <a:ext cx="75245" cy="126303"/>
            </a:xfrm>
            <a:custGeom>
              <a:avLst/>
              <a:gdLst>
                <a:gd name="T0" fmla="*/ 0 w 24"/>
                <a:gd name="T1" fmla="*/ 29 h 40"/>
                <a:gd name="T2" fmla="*/ 19 w 24"/>
                <a:gd name="T3" fmla="*/ 22 h 40"/>
                <a:gd name="T4" fmla="*/ 21 w 24"/>
                <a:gd name="T5" fmla="*/ 40 h 40"/>
                <a:gd name="T6" fmla="*/ 24 w 24"/>
                <a:gd name="T7" fmla="*/ 18 h 40"/>
                <a:gd name="T8" fmla="*/ 16 w 24"/>
                <a:gd name="T9" fmla="*/ 0 h 40"/>
                <a:gd name="T10" fmla="*/ 13 w 24"/>
                <a:gd name="T11" fmla="*/ 18 h 40"/>
                <a:gd name="T12" fmla="*/ 0 w 24"/>
                <a:gd name="T13" fmla="*/ 2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0">
                  <a:moveTo>
                    <a:pt x="0" y="29"/>
                  </a:moveTo>
                  <a:cubicBezTo>
                    <a:pt x="8" y="30"/>
                    <a:pt x="8" y="18"/>
                    <a:pt x="19" y="22"/>
                  </a:cubicBezTo>
                  <a:cubicBezTo>
                    <a:pt x="15" y="27"/>
                    <a:pt x="17" y="37"/>
                    <a:pt x="21" y="40"/>
                  </a:cubicBezTo>
                  <a:cubicBezTo>
                    <a:pt x="21" y="31"/>
                    <a:pt x="21" y="23"/>
                    <a:pt x="24" y="18"/>
                  </a:cubicBezTo>
                  <a:cubicBezTo>
                    <a:pt x="16" y="20"/>
                    <a:pt x="22" y="1"/>
                    <a:pt x="16" y="0"/>
                  </a:cubicBezTo>
                  <a:cubicBezTo>
                    <a:pt x="12" y="8"/>
                    <a:pt x="10" y="7"/>
                    <a:pt x="13" y="18"/>
                  </a:cubicBezTo>
                  <a:cubicBezTo>
                    <a:pt x="5" y="16"/>
                    <a:pt x="2" y="23"/>
                    <a:pt x="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0" name="Freeform 72"/>
            <p:cNvSpPr>
              <a:spLocks/>
            </p:cNvSpPr>
            <p:nvPr userDrawn="1"/>
          </p:nvSpPr>
          <p:spPr bwMode="auto">
            <a:xfrm>
              <a:off x="2792682" y="4059173"/>
              <a:ext cx="14780" cy="47028"/>
            </a:xfrm>
            <a:custGeom>
              <a:avLst/>
              <a:gdLst>
                <a:gd name="T0" fmla="*/ 5 w 5"/>
                <a:gd name="T1" fmla="*/ 15 h 15"/>
                <a:gd name="T2" fmla="*/ 5 w 5"/>
                <a:gd name="T3" fmla="*/ 0 h 15"/>
                <a:gd name="T4" fmla="*/ 0 w 5"/>
                <a:gd name="T5" fmla="*/ 0 h 15"/>
                <a:gd name="T6" fmla="*/ 0 w 5"/>
                <a:gd name="T7" fmla="*/ 15 h 15"/>
                <a:gd name="T8" fmla="*/ 5 w 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5">
                  <a:moveTo>
                    <a:pt x="5" y="15"/>
                  </a:moveTo>
                  <a:cubicBezTo>
                    <a:pt x="5" y="10"/>
                    <a:pt x="5" y="5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5"/>
                    <a:pt x="0" y="10"/>
                    <a:pt x="0" y="15"/>
                  </a:cubicBezTo>
                  <a:cubicBezTo>
                    <a:pt x="2" y="15"/>
                    <a:pt x="4" y="15"/>
                    <a:pt x="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1" name="Freeform 73"/>
            <p:cNvSpPr>
              <a:spLocks/>
            </p:cNvSpPr>
            <p:nvPr userDrawn="1"/>
          </p:nvSpPr>
          <p:spPr bwMode="auto">
            <a:xfrm>
              <a:off x="2823586" y="4059173"/>
              <a:ext cx="44341" cy="72557"/>
            </a:xfrm>
            <a:custGeom>
              <a:avLst/>
              <a:gdLst>
                <a:gd name="T0" fmla="*/ 9 w 14"/>
                <a:gd name="T1" fmla="*/ 23 h 23"/>
                <a:gd name="T2" fmla="*/ 14 w 14"/>
                <a:gd name="T3" fmla="*/ 8 h 23"/>
                <a:gd name="T4" fmla="*/ 4 w 14"/>
                <a:gd name="T5" fmla="*/ 0 h 23"/>
                <a:gd name="T6" fmla="*/ 9 w 14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3">
                  <a:moveTo>
                    <a:pt x="9" y="23"/>
                  </a:moveTo>
                  <a:cubicBezTo>
                    <a:pt x="10" y="17"/>
                    <a:pt x="13" y="13"/>
                    <a:pt x="14" y="8"/>
                  </a:cubicBezTo>
                  <a:cubicBezTo>
                    <a:pt x="10" y="6"/>
                    <a:pt x="7" y="2"/>
                    <a:pt x="4" y="0"/>
                  </a:cubicBezTo>
                  <a:cubicBezTo>
                    <a:pt x="9" y="11"/>
                    <a:pt x="0" y="19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2" name="Freeform 74"/>
            <p:cNvSpPr>
              <a:spLocks/>
            </p:cNvSpPr>
            <p:nvPr userDrawn="1"/>
          </p:nvSpPr>
          <p:spPr bwMode="auto">
            <a:xfrm>
              <a:off x="2867927" y="4084703"/>
              <a:ext cx="51059" cy="60464"/>
            </a:xfrm>
            <a:custGeom>
              <a:avLst/>
              <a:gdLst>
                <a:gd name="T0" fmla="*/ 16 w 16"/>
                <a:gd name="T1" fmla="*/ 18 h 19"/>
                <a:gd name="T2" fmla="*/ 3 w 16"/>
                <a:gd name="T3" fmla="*/ 0 h 19"/>
                <a:gd name="T4" fmla="*/ 0 w 16"/>
                <a:gd name="T5" fmla="*/ 15 h 19"/>
                <a:gd name="T6" fmla="*/ 16 w 16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9">
                  <a:moveTo>
                    <a:pt x="16" y="18"/>
                  </a:moveTo>
                  <a:cubicBezTo>
                    <a:pt x="15" y="8"/>
                    <a:pt x="11" y="1"/>
                    <a:pt x="3" y="0"/>
                  </a:cubicBezTo>
                  <a:cubicBezTo>
                    <a:pt x="5" y="12"/>
                    <a:pt x="5" y="7"/>
                    <a:pt x="0" y="15"/>
                  </a:cubicBezTo>
                  <a:cubicBezTo>
                    <a:pt x="3" y="19"/>
                    <a:pt x="10" y="19"/>
                    <a:pt x="1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3" name="Freeform 75"/>
            <p:cNvSpPr>
              <a:spLocks/>
            </p:cNvSpPr>
            <p:nvPr userDrawn="1"/>
          </p:nvSpPr>
          <p:spPr bwMode="auto">
            <a:xfrm>
              <a:off x="3090973" y="4084703"/>
              <a:ext cx="65839" cy="56433"/>
            </a:xfrm>
            <a:custGeom>
              <a:avLst/>
              <a:gdLst>
                <a:gd name="T0" fmla="*/ 8 w 21"/>
                <a:gd name="T1" fmla="*/ 0 h 18"/>
                <a:gd name="T2" fmla="*/ 0 w 21"/>
                <a:gd name="T3" fmla="*/ 7 h 18"/>
                <a:gd name="T4" fmla="*/ 6 w 21"/>
                <a:gd name="T5" fmla="*/ 18 h 18"/>
                <a:gd name="T6" fmla="*/ 8 w 21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8">
                  <a:moveTo>
                    <a:pt x="8" y="0"/>
                  </a:moveTo>
                  <a:cubicBezTo>
                    <a:pt x="8" y="5"/>
                    <a:pt x="2" y="4"/>
                    <a:pt x="0" y="7"/>
                  </a:cubicBezTo>
                  <a:cubicBezTo>
                    <a:pt x="0" y="14"/>
                    <a:pt x="2" y="17"/>
                    <a:pt x="6" y="18"/>
                  </a:cubicBezTo>
                  <a:cubicBezTo>
                    <a:pt x="5" y="7"/>
                    <a:pt x="21" y="6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4" name="Freeform 76"/>
            <p:cNvSpPr>
              <a:spLocks/>
            </p:cNvSpPr>
            <p:nvPr userDrawn="1"/>
          </p:nvSpPr>
          <p:spPr bwMode="auto">
            <a:xfrm>
              <a:off x="2937796" y="4112919"/>
              <a:ext cx="73901" cy="102118"/>
            </a:xfrm>
            <a:custGeom>
              <a:avLst/>
              <a:gdLst>
                <a:gd name="T0" fmla="*/ 0 w 23"/>
                <a:gd name="T1" fmla="*/ 2 h 32"/>
                <a:gd name="T2" fmla="*/ 0 w 23"/>
                <a:gd name="T3" fmla="*/ 17 h 32"/>
                <a:gd name="T4" fmla="*/ 16 w 23"/>
                <a:gd name="T5" fmla="*/ 13 h 32"/>
                <a:gd name="T6" fmla="*/ 10 w 23"/>
                <a:gd name="T7" fmla="*/ 31 h 32"/>
                <a:gd name="T8" fmla="*/ 19 w 23"/>
                <a:gd name="T9" fmla="*/ 6 h 32"/>
                <a:gd name="T10" fmla="*/ 0 w 23"/>
                <a:gd name="T11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32">
                  <a:moveTo>
                    <a:pt x="0" y="2"/>
                  </a:moveTo>
                  <a:cubicBezTo>
                    <a:pt x="0" y="7"/>
                    <a:pt x="0" y="12"/>
                    <a:pt x="0" y="17"/>
                  </a:cubicBezTo>
                  <a:cubicBezTo>
                    <a:pt x="8" y="21"/>
                    <a:pt x="14" y="4"/>
                    <a:pt x="16" y="13"/>
                  </a:cubicBezTo>
                  <a:cubicBezTo>
                    <a:pt x="9" y="20"/>
                    <a:pt x="13" y="19"/>
                    <a:pt x="10" y="31"/>
                  </a:cubicBezTo>
                  <a:cubicBezTo>
                    <a:pt x="20" y="32"/>
                    <a:pt x="23" y="12"/>
                    <a:pt x="19" y="6"/>
                  </a:cubicBezTo>
                  <a:cubicBezTo>
                    <a:pt x="9" y="9"/>
                    <a:pt x="8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5" name="Freeform 77"/>
            <p:cNvSpPr>
              <a:spLocks/>
            </p:cNvSpPr>
            <p:nvPr userDrawn="1"/>
          </p:nvSpPr>
          <p:spPr bwMode="auto">
            <a:xfrm>
              <a:off x="2814181" y="4115607"/>
              <a:ext cx="79275" cy="51059"/>
            </a:xfrm>
            <a:custGeom>
              <a:avLst/>
              <a:gdLst>
                <a:gd name="T0" fmla="*/ 12 w 25"/>
                <a:gd name="T1" fmla="*/ 16 h 16"/>
                <a:gd name="T2" fmla="*/ 20 w 25"/>
                <a:gd name="T3" fmla="*/ 16 h 16"/>
                <a:gd name="T4" fmla="*/ 12 w 25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16">
                  <a:moveTo>
                    <a:pt x="12" y="16"/>
                  </a:moveTo>
                  <a:cubicBezTo>
                    <a:pt x="13" y="10"/>
                    <a:pt x="18" y="13"/>
                    <a:pt x="20" y="16"/>
                  </a:cubicBezTo>
                  <a:cubicBezTo>
                    <a:pt x="25" y="0"/>
                    <a:pt x="0" y="10"/>
                    <a:pt x="1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6" name="Freeform 78"/>
            <p:cNvSpPr>
              <a:spLocks/>
            </p:cNvSpPr>
            <p:nvPr userDrawn="1"/>
          </p:nvSpPr>
          <p:spPr bwMode="auto">
            <a:xfrm>
              <a:off x="3033196" y="4138449"/>
              <a:ext cx="32248" cy="67183"/>
            </a:xfrm>
            <a:custGeom>
              <a:avLst/>
              <a:gdLst>
                <a:gd name="T0" fmla="*/ 5 w 10"/>
                <a:gd name="T1" fmla="*/ 20 h 21"/>
                <a:gd name="T2" fmla="*/ 10 w 10"/>
                <a:gd name="T3" fmla="*/ 1 h 21"/>
                <a:gd name="T4" fmla="*/ 5 w 10"/>
                <a:gd name="T5" fmla="*/ 1 h 21"/>
                <a:gd name="T6" fmla="*/ 5 w 10"/>
                <a:gd name="T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1">
                  <a:moveTo>
                    <a:pt x="5" y="20"/>
                  </a:moveTo>
                  <a:cubicBezTo>
                    <a:pt x="8" y="15"/>
                    <a:pt x="7" y="6"/>
                    <a:pt x="10" y="1"/>
                  </a:cubicBezTo>
                  <a:cubicBezTo>
                    <a:pt x="8" y="1"/>
                    <a:pt x="7" y="1"/>
                    <a:pt x="5" y="1"/>
                  </a:cubicBezTo>
                  <a:cubicBezTo>
                    <a:pt x="0" y="0"/>
                    <a:pt x="0" y="21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7" name="Freeform 79"/>
            <p:cNvSpPr>
              <a:spLocks/>
            </p:cNvSpPr>
            <p:nvPr userDrawn="1"/>
          </p:nvSpPr>
          <p:spPr bwMode="auto">
            <a:xfrm>
              <a:off x="3004979" y="4176071"/>
              <a:ext cx="28217" cy="34935"/>
            </a:xfrm>
            <a:custGeom>
              <a:avLst/>
              <a:gdLst>
                <a:gd name="T0" fmla="*/ 8 w 9"/>
                <a:gd name="T1" fmla="*/ 8 h 11"/>
                <a:gd name="T2" fmla="*/ 3 w 9"/>
                <a:gd name="T3" fmla="*/ 0 h 11"/>
                <a:gd name="T4" fmla="*/ 0 w 9"/>
                <a:gd name="T5" fmla="*/ 11 h 11"/>
                <a:gd name="T6" fmla="*/ 6 w 9"/>
                <a:gd name="T7" fmla="*/ 11 h 11"/>
                <a:gd name="T8" fmla="*/ 8 w 9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8" y="8"/>
                  </a:moveTo>
                  <a:cubicBezTo>
                    <a:pt x="5" y="8"/>
                    <a:pt x="6" y="1"/>
                    <a:pt x="3" y="0"/>
                  </a:cubicBezTo>
                  <a:cubicBezTo>
                    <a:pt x="3" y="5"/>
                    <a:pt x="0" y="6"/>
                    <a:pt x="0" y="11"/>
                  </a:cubicBezTo>
                  <a:cubicBezTo>
                    <a:pt x="2" y="11"/>
                    <a:pt x="4" y="11"/>
                    <a:pt x="6" y="11"/>
                  </a:cubicBezTo>
                  <a:cubicBezTo>
                    <a:pt x="7" y="11"/>
                    <a:pt x="9" y="11"/>
                    <a:pt x="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8" name="Freeform 80"/>
            <p:cNvSpPr>
              <a:spLocks/>
            </p:cNvSpPr>
            <p:nvPr userDrawn="1"/>
          </p:nvSpPr>
          <p:spPr bwMode="auto">
            <a:xfrm>
              <a:off x="3624403" y="4215037"/>
              <a:ext cx="40310" cy="40310"/>
            </a:xfrm>
            <a:custGeom>
              <a:avLst/>
              <a:gdLst>
                <a:gd name="T0" fmla="*/ 2 w 13"/>
                <a:gd name="T1" fmla="*/ 11 h 13"/>
                <a:gd name="T2" fmla="*/ 12 w 13"/>
                <a:gd name="T3" fmla="*/ 7 h 13"/>
                <a:gd name="T4" fmla="*/ 2 w 13"/>
                <a:gd name="T5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2" y="11"/>
                  </a:moveTo>
                  <a:cubicBezTo>
                    <a:pt x="3" y="13"/>
                    <a:pt x="13" y="10"/>
                    <a:pt x="12" y="7"/>
                  </a:cubicBezTo>
                  <a:cubicBezTo>
                    <a:pt x="9" y="0"/>
                    <a:pt x="0" y="9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19" name="Freeform 81"/>
            <p:cNvSpPr>
              <a:spLocks/>
            </p:cNvSpPr>
            <p:nvPr userDrawn="1"/>
          </p:nvSpPr>
          <p:spPr bwMode="auto">
            <a:xfrm>
              <a:off x="2792682" y="4205631"/>
              <a:ext cx="34935" cy="79275"/>
            </a:xfrm>
            <a:custGeom>
              <a:avLst/>
              <a:gdLst>
                <a:gd name="T0" fmla="*/ 8 w 11"/>
                <a:gd name="T1" fmla="*/ 25 h 25"/>
                <a:gd name="T2" fmla="*/ 11 w 11"/>
                <a:gd name="T3" fmla="*/ 17 h 25"/>
                <a:gd name="T4" fmla="*/ 0 w 11"/>
                <a:gd name="T5" fmla="*/ 14 h 25"/>
                <a:gd name="T6" fmla="*/ 3 w 11"/>
                <a:gd name="T7" fmla="*/ 25 h 25"/>
                <a:gd name="T8" fmla="*/ 8 w 11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5">
                  <a:moveTo>
                    <a:pt x="8" y="25"/>
                  </a:moveTo>
                  <a:cubicBezTo>
                    <a:pt x="8" y="21"/>
                    <a:pt x="10" y="20"/>
                    <a:pt x="11" y="17"/>
                  </a:cubicBezTo>
                  <a:cubicBezTo>
                    <a:pt x="4" y="22"/>
                    <a:pt x="4" y="0"/>
                    <a:pt x="0" y="14"/>
                  </a:cubicBezTo>
                  <a:cubicBezTo>
                    <a:pt x="3" y="14"/>
                    <a:pt x="3" y="19"/>
                    <a:pt x="3" y="25"/>
                  </a:cubicBezTo>
                  <a:cubicBezTo>
                    <a:pt x="5" y="25"/>
                    <a:pt x="6" y="25"/>
                    <a:pt x="8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0" name="Freeform 82"/>
            <p:cNvSpPr>
              <a:spLocks/>
            </p:cNvSpPr>
            <p:nvPr userDrawn="1"/>
          </p:nvSpPr>
          <p:spPr bwMode="auto">
            <a:xfrm>
              <a:off x="2960639" y="4236535"/>
              <a:ext cx="30904" cy="48371"/>
            </a:xfrm>
            <a:custGeom>
              <a:avLst/>
              <a:gdLst>
                <a:gd name="T0" fmla="*/ 1 w 10"/>
                <a:gd name="T1" fmla="*/ 4 h 15"/>
                <a:gd name="T2" fmla="*/ 6 w 10"/>
                <a:gd name="T3" fmla="*/ 15 h 15"/>
                <a:gd name="T4" fmla="*/ 9 w 10"/>
                <a:gd name="T5" fmla="*/ 0 h 15"/>
                <a:gd name="T6" fmla="*/ 3 w 10"/>
                <a:gd name="T7" fmla="*/ 0 h 15"/>
                <a:gd name="T8" fmla="*/ 1 w 10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1" y="4"/>
                  </a:moveTo>
                  <a:cubicBezTo>
                    <a:pt x="5" y="4"/>
                    <a:pt x="2" y="14"/>
                    <a:pt x="6" y="15"/>
                  </a:cubicBezTo>
                  <a:cubicBezTo>
                    <a:pt x="7" y="10"/>
                    <a:pt x="10" y="8"/>
                    <a:pt x="9" y="0"/>
                  </a:cubicBezTo>
                  <a:cubicBezTo>
                    <a:pt x="7" y="0"/>
                    <a:pt x="5" y="0"/>
                    <a:pt x="3" y="0"/>
                  </a:cubicBezTo>
                  <a:cubicBezTo>
                    <a:pt x="2" y="0"/>
                    <a:pt x="0" y="0"/>
                    <a:pt x="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1" name="Freeform 83"/>
            <p:cNvSpPr>
              <a:spLocks/>
            </p:cNvSpPr>
            <p:nvPr userDrawn="1"/>
          </p:nvSpPr>
          <p:spPr bwMode="auto">
            <a:xfrm>
              <a:off x="2998261" y="4227130"/>
              <a:ext cx="41653" cy="67183"/>
            </a:xfrm>
            <a:custGeom>
              <a:avLst/>
              <a:gdLst>
                <a:gd name="T0" fmla="*/ 0 w 13"/>
                <a:gd name="T1" fmla="*/ 10 h 21"/>
                <a:gd name="T2" fmla="*/ 13 w 13"/>
                <a:gd name="T3" fmla="*/ 10 h 21"/>
                <a:gd name="T4" fmla="*/ 0 w 13"/>
                <a:gd name="T5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1">
                  <a:moveTo>
                    <a:pt x="0" y="10"/>
                  </a:moveTo>
                  <a:cubicBezTo>
                    <a:pt x="6" y="5"/>
                    <a:pt x="11" y="21"/>
                    <a:pt x="13" y="10"/>
                  </a:cubicBezTo>
                  <a:cubicBezTo>
                    <a:pt x="8" y="5"/>
                    <a:pt x="4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2" name="Freeform 84"/>
            <p:cNvSpPr>
              <a:spLocks/>
            </p:cNvSpPr>
            <p:nvPr userDrawn="1"/>
          </p:nvSpPr>
          <p:spPr bwMode="auto">
            <a:xfrm>
              <a:off x="2802088" y="4249972"/>
              <a:ext cx="85994" cy="114210"/>
            </a:xfrm>
            <a:custGeom>
              <a:avLst/>
              <a:gdLst>
                <a:gd name="T0" fmla="*/ 11 w 27"/>
                <a:gd name="T1" fmla="*/ 33 h 36"/>
                <a:gd name="T2" fmla="*/ 21 w 27"/>
                <a:gd name="T3" fmla="*/ 33 h 36"/>
                <a:gd name="T4" fmla="*/ 21 w 27"/>
                <a:gd name="T5" fmla="*/ 0 h 36"/>
                <a:gd name="T6" fmla="*/ 13 w 27"/>
                <a:gd name="T7" fmla="*/ 0 h 36"/>
                <a:gd name="T8" fmla="*/ 11 w 27"/>
                <a:gd name="T9" fmla="*/ 11 h 36"/>
                <a:gd name="T10" fmla="*/ 11 w 27"/>
                <a:gd name="T11" fmla="*/ 3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36">
                  <a:moveTo>
                    <a:pt x="11" y="33"/>
                  </a:moveTo>
                  <a:cubicBezTo>
                    <a:pt x="12" y="22"/>
                    <a:pt x="16" y="36"/>
                    <a:pt x="21" y="33"/>
                  </a:cubicBezTo>
                  <a:cubicBezTo>
                    <a:pt x="17" y="21"/>
                    <a:pt x="20" y="13"/>
                    <a:pt x="21" y="0"/>
                  </a:cubicBezTo>
                  <a:cubicBezTo>
                    <a:pt x="19" y="0"/>
                    <a:pt x="16" y="0"/>
                    <a:pt x="13" y="0"/>
                  </a:cubicBezTo>
                  <a:cubicBezTo>
                    <a:pt x="13" y="5"/>
                    <a:pt x="12" y="8"/>
                    <a:pt x="11" y="11"/>
                  </a:cubicBezTo>
                  <a:cubicBezTo>
                    <a:pt x="27" y="13"/>
                    <a:pt x="0" y="27"/>
                    <a:pt x="11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3" name="Freeform 85"/>
            <p:cNvSpPr>
              <a:spLocks/>
            </p:cNvSpPr>
            <p:nvPr userDrawn="1"/>
          </p:nvSpPr>
          <p:spPr bwMode="auto">
            <a:xfrm>
              <a:off x="2867927" y="4255347"/>
              <a:ext cx="55090" cy="64495"/>
            </a:xfrm>
            <a:custGeom>
              <a:avLst/>
              <a:gdLst>
                <a:gd name="T0" fmla="*/ 8 w 17"/>
                <a:gd name="T1" fmla="*/ 9 h 20"/>
                <a:gd name="T2" fmla="*/ 6 w 17"/>
                <a:gd name="T3" fmla="*/ 9 h 20"/>
                <a:gd name="T4" fmla="*/ 3 w 17"/>
                <a:gd name="T5" fmla="*/ 1 h 20"/>
                <a:gd name="T6" fmla="*/ 0 w 17"/>
                <a:gd name="T7" fmla="*/ 16 h 20"/>
                <a:gd name="T8" fmla="*/ 16 w 17"/>
                <a:gd name="T9" fmla="*/ 20 h 20"/>
                <a:gd name="T10" fmla="*/ 8 w 17"/>
                <a:gd name="T11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20">
                  <a:moveTo>
                    <a:pt x="8" y="9"/>
                  </a:moveTo>
                  <a:cubicBezTo>
                    <a:pt x="6" y="10"/>
                    <a:pt x="9" y="13"/>
                    <a:pt x="6" y="9"/>
                  </a:cubicBezTo>
                  <a:cubicBezTo>
                    <a:pt x="4" y="7"/>
                    <a:pt x="6" y="0"/>
                    <a:pt x="3" y="1"/>
                  </a:cubicBezTo>
                  <a:cubicBezTo>
                    <a:pt x="3" y="8"/>
                    <a:pt x="2" y="13"/>
                    <a:pt x="0" y="16"/>
                  </a:cubicBezTo>
                  <a:cubicBezTo>
                    <a:pt x="9" y="13"/>
                    <a:pt x="10" y="20"/>
                    <a:pt x="16" y="20"/>
                  </a:cubicBezTo>
                  <a:cubicBezTo>
                    <a:pt x="17" y="10"/>
                    <a:pt x="12" y="7"/>
                    <a:pt x="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4" name="Freeform 86"/>
            <p:cNvSpPr>
              <a:spLocks/>
            </p:cNvSpPr>
            <p:nvPr userDrawn="1"/>
          </p:nvSpPr>
          <p:spPr bwMode="auto">
            <a:xfrm>
              <a:off x="3081567" y="4243254"/>
              <a:ext cx="25529" cy="69870"/>
            </a:xfrm>
            <a:custGeom>
              <a:avLst/>
              <a:gdLst>
                <a:gd name="T0" fmla="*/ 0 w 8"/>
                <a:gd name="T1" fmla="*/ 13 h 22"/>
                <a:gd name="T2" fmla="*/ 6 w 8"/>
                <a:gd name="T3" fmla="*/ 20 h 22"/>
                <a:gd name="T4" fmla="*/ 0 w 8"/>
                <a:gd name="T5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2">
                  <a:moveTo>
                    <a:pt x="0" y="13"/>
                  </a:moveTo>
                  <a:cubicBezTo>
                    <a:pt x="3" y="11"/>
                    <a:pt x="5" y="22"/>
                    <a:pt x="6" y="20"/>
                  </a:cubicBezTo>
                  <a:cubicBezTo>
                    <a:pt x="8" y="17"/>
                    <a:pt x="5" y="0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5" name="Freeform 87"/>
            <p:cNvSpPr>
              <a:spLocks/>
            </p:cNvSpPr>
            <p:nvPr userDrawn="1"/>
          </p:nvSpPr>
          <p:spPr bwMode="auto">
            <a:xfrm>
              <a:off x="2928391" y="4284907"/>
              <a:ext cx="69870" cy="116898"/>
            </a:xfrm>
            <a:custGeom>
              <a:avLst/>
              <a:gdLst>
                <a:gd name="T0" fmla="*/ 6 w 22"/>
                <a:gd name="T1" fmla="*/ 26 h 37"/>
                <a:gd name="T2" fmla="*/ 13 w 22"/>
                <a:gd name="T3" fmla="*/ 37 h 37"/>
                <a:gd name="T4" fmla="*/ 22 w 22"/>
                <a:gd name="T5" fmla="*/ 29 h 37"/>
                <a:gd name="T6" fmla="*/ 6 w 22"/>
                <a:gd name="T7" fmla="*/ 11 h 37"/>
                <a:gd name="T8" fmla="*/ 16 w 22"/>
                <a:gd name="T9" fmla="*/ 18 h 37"/>
                <a:gd name="T10" fmla="*/ 19 w 22"/>
                <a:gd name="T11" fmla="*/ 7 h 37"/>
                <a:gd name="T12" fmla="*/ 8 w 22"/>
                <a:gd name="T13" fmla="*/ 0 h 37"/>
                <a:gd name="T14" fmla="*/ 0 w 22"/>
                <a:gd name="T15" fmla="*/ 11 h 37"/>
                <a:gd name="T16" fmla="*/ 6 w 22"/>
                <a:gd name="T17" fmla="*/ 2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37">
                  <a:moveTo>
                    <a:pt x="6" y="26"/>
                  </a:moveTo>
                  <a:cubicBezTo>
                    <a:pt x="8" y="30"/>
                    <a:pt x="12" y="34"/>
                    <a:pt x="13" y="37"/>
                  </a:cubicBezTo>
                  <a:cubicBezTo>
                    <a:pt x="14" y="31"/>
                    <a:pt x="21" y="35"/>
                    <a:pt x="22" y="29"/>
                  </a:cubicBezTo>
                  <a:cubicBezTo>
                    <a:pt x="17" y="23"/>
                    <a:pt x="5" y="25"/>
                    <a:pt x="6" y="11"/>
                  </a:cubicBezTo>
                  <a:cubicBezTo>
                    <a:pt x="11" y="11"/>
                    <a:pt x="9" y="21"/>
                    <a:pt x="16" y="18"/>
                  </a:cubicBezTo>
                  <a:cubicBezTo>
                    <a:pt x="16" y="13"/>
                    <a:pt x="18" y="10"/>
                    <a:pt x="19" y="7"/>
                  </a:cubicBezTo>
                  <a:cubicBezTo>
                    <a:pt x="12" y="10"/>
                    <a:pt x="13" y="0"/>
                    <a:pt x="8" y="0"/>
                  </a:cubicBezTo>
                  <a:cubicBezTo>
                    <a:pt x="7" y="5"/>
                    <a:pt x="4" y="9"/>
                    <a:pt x="0" y="11"/>
                  </a:cubicBezTo>
                  <a:cubicBezTo>
                    <a:pt x="0" y="17"/>
                    <a:pt x="3" y="22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6" name="Freeform 88"/>
            <p:cNvSpPr>
              <a:spLocks/>
            </p:cNvSpPr>
            <p:nvPr userDrawn="1"/>
          </p:nvSpPr>
          <p:spPr bwMode="auto">
            <a:xfrm>
              <a:off x="3061412" y="4319842"/>
              <a:ext cx="29560" cy="44341"/>
            </a:xfrm>
            <a:custGeom>
              <a:avLst/>
              <a:gdLst>
                <a:gd name="T0" fmla="*/ 9 w 9"/>
                <a:gd name="T1" fmla="*/ 11 h 14"/>
                <a:gd name="T2" fmla="*/ 4 w 9"/>
                <a:gd name="T3" fmla="*/ 0 h 14"/>
                <a:gd name="T4" fmla="*/ 9 w 9"/>
                <a:gd name="T5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9" y="11"/>
                  </a:moveTo>
                  <a:cubicBezTo>
                    <a:pt x="9" y="4"/>
                    <a:pt x="7" y="1"/>
                    <a:pt x="4" y="0"/>
                  </a:cubicBezTo>
                  <a:cubicBezTo>
                    <a:pt x="0" y="5"/>
                    <a:pt x="0" y="14"/>
                    <a:pt x="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7" name="Freeform 89"/>
            <p:cNvSpPr>
              <a:spLocks/>
            </p:cNvSpPr>
            <p:nvPr userDrawn="1"/>
          </p:nvSpPr>
          <p:spPr bwMode="auto">
            <a:xfrm>
              <a:off x="2988855" y="4329247"/>
              <a:ext cx="16124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8" name="Freeform 90"/>
            <p:cNvSpPr>
              <a:spLocks/>
            </p:cNvSpPr>
            <p:nvPr userDrawn="1"/>
          </p:nvSpPr>
          <p:spPr bwMode="auto">
            <a:xfrm>
              <a:off x="3072162" y="4389712"/>
              <a:ext cx="30904" cy="56433"/>
            </a:xfrm>
            <a:custGeom>
              <a:avLst/>
              <a:gdLst>
                <a:gd name="T0" fmla="*/ 3 w 10"/>
                <a:gd name="T1" fmla="*/ 18 h 18"/>
                <a:gd name="T2" fmla="*/ 1 w 10"/>
                <a:gd name="T3" fmla="*/ 4 h 18"/>
                <a:gd name="T4" fmla="*/ 3 w 10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3" y="18"/>
                  </a:moveTo>
                  <a:cubicBezTo>
                    <a:pt x="5" y="16"/>
                    <a:pt x="10" y="0"/>
                    <a:pt x="1" y="4"/>
                  </a:cubicBezTo>
                  <a:cubicBezTo>
                    <a:pt x="1" y="9"/>
                    <a:pt x="0" y="17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29" name="Freeform 91"/>
            <p:cNvSpPr>
              <a:spLocks/>
            </p:cNvSpPr>
            <p:nvPr userDrawn="1"/>
          </p:nvSpPr>
          <p:spPr bwMode="auto">
            <a:xfrm>
              <a:off x="3131282" y="4401805"/>
              <a:ext cx="22842" cy="44341"/>
            </a:xfrm>
            <a:custGeom>
              <a:avLst/>
              <a:gdLst>
                <a:gd name="T0" fmla="*/ 6 w 7"/>
                <a:gd name="T1" fmla="*/ 14 h 14"/>
                <a:gd name="T2" fmla="*/ 1 w 7"/>
                <a:gd name="T3" fmla="*/ 0 h 14"/>
                <a:gd name="T4" fmla="*/ 6 w 7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6" y="14"/>
                  </a:moveTo>
                  <a:cubicBezTo>
                    <a:pt x="7" y="6"/>
                    <a:pt x="5" y="1"/>
                    <a:pt x="1" y="0"/>
                  </a:cubicBezTo>
                  <a:cubicBezTo>
                    <a:pt x="0" y="8"/>
                    <a:pt x="1" y="14"/>
                    <a:pt x="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0" name="Freeform 92"/>
            <p:cNvSpPr>
              <a:spLocks/>
            </p:cNvSpPr>
            <p:nvPr userDrawn="1"/>
          </p:nvSpPr>
          <p:spPr bwMode="auto">
            <a:xfrm>
              <a:off x="2807462" y="4378963"/>
              <a:ext cx="45684" cy="115554"/>
            </a:xfrm>
            <a:custGeom>
              <a:avLst/>
              <a:gdLst>
                <a:gd name="T0" fmla="*/ 14 w 14"/>
                <a:gd name="T1" fmla="*/ 18 h 36"/>
                <a:gd name="T2" fmla="*/ 11 w 14"/>
                <a:gd name="T3" fmla="*/ 14 h 36"/>
                <a:gd name="T4" fmla="*/ 14 w 14"/>
                <a:gd name="T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36">
                  <a:moveTo>
                    <a:pt x="14" y="18"/>
                  </a:moveTo>
                  <a:cubicBezTo>
                    <a:pt x="11" y="19"/>
                    <a:pt x="12" y="15"/>
                    <a:pt x="11" y="14"/>
                  </a:cubicBezTo>
                  <a:cubicBezTo>
                    <a:pt x="0" y="0"/>
                    <a:pt x="4" y="36"/>
                    <a:pt x="1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1" name="Freeform 93"/>
            <p:cNvSpPr>
              <a:spLocks/>
            </p:cNvSpPr>
            <p:nvPr userDrawn="1"/>
          </p:nvSpPr>
          <p:spPr bwMode="auto">
            <a:xfrm>
              <a:off x="2923016" y="4439427"/>
              <a:ext cx="81963" cy="83306"/>
            </a:xfrm>
            <a:custGeom>
              <a:avLst/>
              <a:gdLst>
                <a:gd name="T0" fmla="*/ 18 w 26"/>
                <a:gd name="T1" fmla="*/ 21 h 26"/>
                <a:gd name="T2" fmla="*/ 24 w 26"/>
                <a:gd name="T3" fmla="*/ 2 h 26"/>
                <a:gd name="T4" fmla="*/ 8 w 26"/>
                <a:gd name="T5" fmla="*/ 17 h 26"/>
                <a:gd name="T6" fmla="*/ 18 w 26"/>
                <a:gd name="T7" fmla="*/ 2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6">
                  <a:moveTo>
                    <a:pt x="18" y="21"/>
                  </a:moveTo>
                  <a:cubicBezTo>
                    <a:pt x="14" y="7"/>
                    <a:pt x="26" y="14"/>
                    <a:pt x="24" y="2"/>
                  </a:cubicBezTo>
                  <a:cubicBezTo>
                    <a:pt x="15" y="0"/>
                    <a:pt x="0" y="9"/>
                    <a:pt x="8" y="17"/>
                  </a:cubicBezTo>
                  <a:cubicBezTo>
                    <a:pt x="10" y="6"/>
                    <a:pt x="12" y="26"/>
                    <a:pt x="18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2" name="Freeform 94"/>
            <p:cNvSpPr>
              <a:spLocks/>
            </p:cNvSpPr>
            <p:nvPr userDrawn="1"/>
          </p:nvSpPr>
          <p:spPr bwMode="auto">
            <a:xfrm>
              <a:off x="3252211" y="4446145"/>
              <a:ext cx="34935" cy="85994"/>
            </a:xfrm>
            <a:custGeom>
              <a:avLst/>
              <a:gdLst>
                <a:gd name="T0" fmla="*/ 11 w 11"/>
                <a:gd name="T1" fmla="*/ 23 h 27"/>
                <a:gd name="T2" fmla="*/ 3 w 11"/>
                <a:gd name="T3" fmla="*/ 0 h 27"/>
                <a:gd name="T4" fmla="*/ 11 w 11"/>
                <a:gd name="T5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7">
                  <a:moveTo>
                    <a:pt x="11" y="23"/>
                  </a:moveTo>
                  <a:cubicBezTo>
                    <a:pt x="10" y="13"/>
                    <a:pt x="7" y="6"/>
                    <a:pt x="3" y="0"/>
                  </a:cubicBezTo>
                  <a:cubicBezTo>
                    <a:pt x="1" y="4"/>
                    <a:pt x="0" y="27"/>
                    <a:pt x="1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3" name="Freeform 95"/>
            <p:cNvSpPr>
              <a:spLocks/>
            </p:cNvSpPr>
            <p:nvPr userDrawn="1"/>
          </p:nvSpPr>
          <p:spPr bwMode="auto">
            <a:xfrm>
              <a:off x="2827617" y="4483767"/>
              <a:ext cx="28217" cy="22842"/>
            </a:xfrm>
            <a:custGeom>
              <a:avLst/>
              <a:gdLst>
                <a:gd name="T0" fmla="*/ 3 w 9"/>
                <a:gd name="T1" fmla="*/ 0 h 7"/>
                <a:gd name="T2" fmla="*/ 0 w 9"/>
                <a:gd name="T3" fmla="*/ 7 h 7"/>
                <a:gd name="T4" fmla="*/ 8 w 9"/>
                <a:gd name="T5" fmla="*/ 0 h 7"/>
                <a:gd name="T6" fmla="*/ 3 w 9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3" y="0"/>
                  </a:moveTo>
                  <a:cubicBezTo>
                    <a:pt x="3" y="3"/>
                    <a:pt x="0" y="4"/>
                    <a:pt x="0" y="7"/>
                  </a:cubicBezTo>
                  <a:cubicBezTo>
                    <a:pt x="4" y="7"/>
                    <a:pt x="9" y="7"/>
                    <a:pt x="8" y="0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4" name="Freeform 96"/>
            <p:cNvSpPr>
              <a:spLocks/>
            </p:cNvSpPr>
            <p:nvPr userDrawn="1"/>
          </p:nvSpPr>
          <p:spPr bwMode="auto">
            <a:xfrm>
              <a:off x="3109784" y="4483767"/>
              <a:ext cx="47028" cy="69870"/>
            </a:xfrm>
            <a:custGeom>
              <a:avLst/>
              <a:gdLst>
                <a:gd name="T0" fmla="*/ 8 w 15"/>
                <a:gd name="T1" fmla="*/ 22 h 22"/>
                <a:gd name="T2" fmla="*/ 13 w 15"/>
                <a:gd name="T3" fmla="*/ 22 h 22"/>
                <a:gd name="T4" fmla="*/ 8 w 15"/>
                <a:gd name="T5" fmla="*/ 7 h 22"/>
                <a:gd name="T6" fmla="*/ 8 w 15"/>
                <a:gd name="T7" fmla="*/ 0 h 22"/>
                <a:gd name="T8" fmla="*/ 8 w 15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2">
                  <a:moveTo>
                    <a:pt x="8" y="22"/>
                  </a:moveTo>
                  <a:cubicBezTo>
                    <a:pt x="8" y="17"/>
                    <a:pt x="11" y="19"/>
                    <a:pt x="13" y="22"/>
                  </a:cubicBezTo>
                  <a:cubicBezTo>
                    <a:pt x="15" y="12"/>
                    <a:pt x="8" y="14"/>
                    <a:pt x="8" y="7"/>
                  </a:cubicBezTo>
                  <a:cubicBezTo>
                    <a:pt x="10" y="7"/>
                    <a:pt x="11" y="0"/>
                    <a:pt x="8" y="0"/>
                  </a:cubicBezTo>
                  <a:cubicBezTo>
                    <a:pt x="4" y="8"/>
                    <a:pt x="0" y="16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5" name="Freeform 97"/>
            <p:cNvSpPr>
              <a:spLocks/>
            </p:cNvSpPr>
            <p:nvPr userDrawn="1"/>
          </p:nvSpPr>
          <p:spPr bwMode="auto">
            <a:xfrm>
              <a:off x="3151437" y="4481080"/>
              <a:ext cx="24186" cy="44341"/>
            </a:xfrm>
            <a:custGeom>
              <a:avLst/>
              <a:gdLst>
                <a:gd name="T0" fmla="*/ 8 w 8"/>
                <a:gd name="T1" fmla="*/ 1 h 14"/>
                <a:gd name="T2" fmla="*/ 0 w 8"/>
                <a:gd name="T3" fmla="*/ 12 h 14"/>
                <a:gd name="T4" fmla="*/ 8 w 8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4">
                  <a:moveTo>
                    <a:pt x="8" y="1"/>
                  </a:moveTo>
                  <a:cubicBezTo>
                    <a:pt x="2" y="0"/>
                    <a:pt x="0" y="4"/>
                    <a:pt x="0" y="12"/>
                  </a:cubicBezTo>
                  <a:cubicBezTo>
                    <a:pt x="7" y="14"/>
                    <a:pt x="5" y="4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6" name="Freeform 98"/>
            <p:cNvSpPr>
              <a:spLocks/>
            </p:cNvSpPr>
            <p:nvPr userDrawn="1"/>
          </p:nvSpPr>
          <p:spPr bwMode="auto">
            <a:xfrm>
              <a:off x="3217276" y="4513328"/>
              <a:ext cx="25529" cy="69870"/>
            </a:xfrm>
            <a:custGeom>
              <a:avLst/>
              <a:gdLst>
                <a:gd name="T0" fmla="*/ 3 w 8"/>
                <a:gd name="T1" fmla="*/ 2 h 22"/>
                <a:gd name="T2" fmla="*/ 1 w 8"/>
                <a:gd name="T3" fmla="*/ 16 h 22"/>
                <a:gd name="T4" fmla="*/ 3 w 8"/>
                <a:gd name="T5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2">
                  <a:moveTo>
                    <a:pt x="3" y="2"/>
                  </a:moveTo>
                  <a:cubicBezTo>
                    <a:pt x="4" y="9"/>
                    <a:pt x="0" y="10"/>
                    <a:pt x="1" y="16"/>
                  </a:cubicBezTo>
                  <a:cubicBezTo>
                    <a:pt x="8" y="22"/>
                    <a:pt x="8" y="0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7" name="Freeform 99"/>
            <p:cNvSpPr>
              <a:spLocks/>
            </p:cNvSpPr>
            <p:nvPr userDrawn="1"/>
          </p:nvSpPr>
          <p:spPr bwMode="auto">
            <a:xfrm>
              <a:off x="3252211" y="4499891"/>
              <a:ext cx="16124" cy="67183"/>
            </a:xfrm>
            <a:custGeom>
              <a:avLst/>
              <a:gdLst>
                <a:gd name="T0" fmla="*/ 3 w 5"/>
                <a:gd name="T1" fmla="*/ 20 h 21"/>
                <a:gd name="T2" fmla="*/ 0 w 5"/>
                <a:gd name="T3" fmla="*/ 13 h 21"/>
                <a:gd name="T4" fmla="*/ 3 w 5"/>
                <a:gd name="T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1">
                  <a:moveTo>
                    <a:pt x="3" y="20"/>
                  </a:moveTo>
                  <a:cubicBezTo>
                    <a:pt x="5" y="20"/>
                    <a:pt x="4" y="0"/>
                    <a:pt x="0" y="13"/>
                  </a:cubicBezTo>
                  <a:cubicBezTo>
                    <a:pt x="0" y="15"/>
                    <a:pt x="1" y="21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8" name="Freeform 100"/>
            <p:cNvSpPr>
              <a:spLocks/>
            </p:cNvSpPr>
            <p:nvPr userDrawn="1"/>
          </p:nvSpPr>
          <p:spPr bwMode="auto">
            <a:xfrm>
              <a:off x="2704001" y="4563043"/>
              <a:ext cx="40310" cy="102118"/>
            </a:xfrm>
            <a:custGeom>
              <a:avLst/>
              <a:gdLst>
                <a:gd name="T0" fmla="*/ 4 w 13"/>
                <a:gd name="T1" fmla="*/ 0 h 32"/>
                <a:gd name="T2" fmla="*/ 1 w 13"/>
                <a:gd name="T3" fmla="*/ 8 h 32"/>
                <a:gd name="T4" fmla="*/ 4 w 13"/>
                <a:gd name="T5" fmla="*/ 19 h 32"/>
                <a:gd name="T6" fmla="*/ 4 w 13"/>
                <a:gd name="T7" fmla="*/ 26 h 32"/>
                <a:gd name="T8" fmla="*/ 9 w 13"/>
                <a:gd name="T9" fmla="*/ 26 h 32"/>
                <a:gd name="T10" fmla="*/ 4 w 13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32">
                  <a:moveTo>
                    <a:pt x="4" y="0"/>
                  </a:moveTo>
                  <a:cubicBezTo>
                    <a:pt x="3" y="3"/>
                    <a:pt x="4" y="8"/>
                    <a:pt x="1" y="8"/>
                  </a:cubicBezTo>
                  <a:cubicBezTo>
                    <a:pt x="0" y="13"/>
                    <a:pt x="4" y="16"/>
                    <a:pt x="4" y="19"/>
                  </a:cubicBezTo>
                  <a:cubicBezTo>
                    <a:pt x="5" y="25"/>
                    <a:pt x="1" y="22"/>
                    <a:pt x="4" y="26"/>
                  </a:cubicBezTo>
                  <a:cubicBezTo>
                    <a:pt x="5" y="28"/>
                    <a:pt x="8" y="32"/>
                    <a:pt x="9" y="26"/>
                  </a:cubicBezTo>
                  <a:cubicBezTo>
                    <a:pt x="3" y="19"/>
                    <a:pt x="13" y="7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39" name="Freeform 101"/>
            <p:cNvSpPr>
              <a:spLocks/>
            </p:cNvSpPr>
            <p:nvPr userDrawn="1"/>
          </p:nvSpPr>
          <p:spPr bwMode="auto">
            <a:xfrm>
              <a:off x="3074849" y="4563043"/>
              <a:ext cx="16124" cy="25529"/>
            </a:xfrm>
            <a:custGeom>
              <a:avLst/>
              <a:gdLst>
                <a:gd name="T0" fmla="*/ 0 w 5"/>
                <a:gd name="T1" fmla="*/ 8 h 8"/>
                <a:gd name="T2" fmla="*/ 5 w 5"/>
                <a:gd name="T3" fmla="*/ 8 h 8"/>
                <a:gd name="T4" fmla="*/ 5 w 5"/>
                <a:gd name="T5" fmla="*/ 0 h 8"/>
                <a:gd name="T6" fmla="*/ 0 w 5"/>
                <a:gd name="T7" fmla="*/ 0 h 8"/>
                <a:gd name="T8" fmla="*/ 0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0" y="8"/>
                  </a:moveTo>
                  <a:cubicBezTo>
                    <a:pt x="2" y="8"/>
                    <a:pt x="3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0" name="Freeform 102"/>
            <p:cNvSpPr>
              <a:spLocks/>
            </p:cNvSpPr>
            <p:nvPr userDrawn="1"/>
          </p:nvSpPr>
          <p:spPr bwMode="auto">
            <a:xfrm>
              <a:off x="3335517" y="4563043"/>
              <a:ext cx="59121" cy="64495"/>
            </a:xfrm>
            <a:custGeom>
              <a:avLst/>
              <a:gdLst>
                <a:gd name="T0" fmla="*/ 12 w 19"/>
                <a:gd name="T1" fmla="*/ 0 h 20"/>
                <a:gd name="T2" fmla="*/ 4 w 19"/>
                <a:gd name="T3" fmla="*/ 15 h 20"/>
                <a:gd name="T4" fmla="*/ 12 w 19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20">
                  <a:moveTo>
                    <a:pt x="12" y="0"/>
                  </a:moveTo>
                  <a:cubicBezTo>
                    <a:pt x="11" y="8"/>
                    <a:pt x="0" y="1"/>
                    <a:pt x="4" y="15"/>
                  </a:cubicBezTo>
                  <a:cubicBezTo>
                    <a:pt x="12" y="20"/>
                    <a:pt x="19" y="5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1" name="Freeform 103"/>
            <p:cNvSpPr>
              <a:spLocks/>
            </p:cNvSpPr>
            <p:nvPr userDrawn="1"/>
          </p:nvSpPr>
          <p:spPr bwMode="auto">
            <a:xfrm>
              <a:off x="3240118" y="4588572"/>
              <a:ext cx="30904" cy="64495"/>
            </a:xfrm>
            <a:custGeom>
              <a:avLst/>
              <a:gdLst>
                <a:gd name="T0" fmla="*/ 4 w 10"/>
                <a:gd name="T1" fmla="*/ 0 h 20"/>
                <a:gd name="T2" fmla="*/ 10 w 10"/>
                <a:gd name="T3" fmla="*/ 11 h 20"/>
                <a:gd name="T4" fmla="*/ 4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4" y="0"/>
                  </a:moveTo>
                  <a:cubicBezTo>
                    <a:pt x="0" y="8"/>
                    <a:pt x="5" y="20"/>
                    <a:pt x="10" y="11"/>
                  </a:cubicBezTo>
                  <a:cubicBezTo>
                    <a:pt x="5" y="11"/>
                    <a:pt x="8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2" name="Freeform 104"/>
            <p:cNvSpPr>
              <a:spLocks/>
            </p:cNvSpPr>
            <p:nvPr userDrawn="1"/>
          </p:nvSpPr>
          <p:spPr bwMode="auto">
            <a:xfrm>
              <a:off x="2998261" y="4585885"/>
              <a:ext cx="60464" cy="47028"/>
            </a:xfrm>
            <a:custGeom>
              <a:avLst/>
              <a:gdLst>
                <a:gd name="T0" fmla="*/ 19 w 19"/>
                <a:gd name="T1" fmla="*/ 5 h 15"/>
                <a:gd name="T2" fmla="*/ 0 w 19"/>
                <a:gd name="T3" fmla="*/ 8 h 15"/>
                <a:gd name="T4" fmla="*/ 10 w 19"/>
                <a:gd name="T5" fmla="*/ 8 h 15"/>
                <a:gd name="T6" fmla="*/ 16 w 19"/>
                <a:gd name="T7" fmla="*/ 12 h 15"/>
                <a:gd name="T8" fmla="*/ 19 w 19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19" y="5"/>
                  </a:moveTo>
                  <a:cubicBezTo>
                    <a:pt x="13" y="7"/>
                    <a:pt x="1" y="0"/>
                    <a:pt x="0" y="8"/>
                  </a:cubicBezTo>
                  <a:cubicBezTo>
                    <a:pt x="3" y="15"/>
                    <a:pt x="7" y="9"/>
                    <a:pt x="10" y="8"/>
                  </a:cubicBezTo>
                  <a:cubicBezTo>
                    <a:pt x="11" y="8"/>
                    <a:pt x="12" y="14"/>
                    <a:pt x="16" y="12"/>
                  </a:cubicBezTo>
                  <a:cubicBezTo>
                    <a:pt x="17" y="11"/>
                    <a:pt x="17" y="5"/>
                    <a:pt x="19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3" name="Freeform 105"/>
            <p:cNvSpPr>
              <a:spLocks/>
            </p:cNvSpPr>
            <p:nvPr userDrawn="1"/>
          </p:nvSpPr>
          <p:spPr bwMode="auto">
            <a:xfrm>
              <a:off x="3284459" y="4604696"/>
              <a:ext cx="25529" cy="76588"/>
            </a:xfrm>
            <a:custGeom>
              <a:avLst/>
              <a:gdLst>
                <a:gd name="T0" fmla="*/ 1 w 8"/>
                <a:gd name="T1" fmla="*/ 6 h 24"/>
                <a:gd name="T2" fmla="*/ 1 w 8"/>
                <a:gd name="T3" fmla="*/ 21 h 24"/>
                <a:gd name="T4" fmla="*/ 4 w 8"/>
                <a:gd name="T5" fmla="*/ 6 h 24"/>
                <a:gd name="T6" fmla="*/ 6 w 8"/>
                <a:gd name="T7" fmla="*/ 2 h 24"/>
                <a:gd name="T8" fmla="*/ 1 w 8"/>
                <a:gd name="T9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4">
                  <a:moveTo>
                    <a:pt x="1" y="6"/>
                  </a:moveTo>
                  <a:cubicBezTo>
                    <a:pt x="1" y="8"/>
                    <a:pt x="0" y="19"/>
                    <a:pt x="1" y="21"/>
                  </a:cubicBezTo>
                  <a:cubicBezTo>
                    <a:pt x="3" y="24"/>
                    <a:pt x="4" y="9"/>
                    <a:pt x="4" y="6"/>
                  </a:cubicBezTo>
                  <a:cubicBezTo>
                    <a:pt x="4" y="6"/>
                    <a:pt x="8" y="5"/>
                    <a:pt x="6" y="2"/>
                  </a:cubicBezTo>
                  <a:cubicBezTo>
                    <a:pt x="5" y="0"/>
                    <a:pt x="1" y="5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4" name="Freeform 106"/>
            <p:cNvSpPr>
              <a:spLocks/>
            </p:cNvSpPr>
            <p:nvPr userDrawn="1"/>
          </p:nvSpPr>
          <p:spPr bwMode="auto">
            <a:xfrm>
              <a:off x="3131282" y="4623507"/>
              <a:ext cx="41653" cy="34935"/>
            </a:xfrm>
            <a:custGeom>
              <a:avLst/>
              <a:gdLst>
                <a:gd name="T0" fmla="*/ 3 w 13"/>
                <a:gd name="T1" fmla="*/ 11 h 11"/>
                <a:gd name="T2" fmla="*/ 9 w 13"/>
                <a:gd name="T3" fmla="*/ 11 h 11"/>
                <a:gd name="T4" fmla="*/ 1 w 13"/>
                <a:gd name="T5" fmla="*/ 7 h 11"/>
                <a:gd name="T6" fmla="*/ 3 w 13"/>
                <a:gd name="T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3" y="11"/>
                  </a:moveTo>
                  <a:cubicBezTo>
                    <a:pt x="5" y="11"/>
                    <a:pt x="7" y="11"/>
                    <a:pt x="9" y="11"/>
                  </a:cubicBezTo>
                  <a:cubicBezTo>
                    <a:pt x="13" y="2"/>
                    <a:pt x="0" y="0"/>
                    <a:pt x="1" y="7"/>
                  </a:cubicBezTo>
                  <a:cubicBezTo>
                    <a:pt x="2" y="8"/>
                    <a:pt x="4" y="8"/>
                    <a:pt x="3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5" name="Freeform 107"/>
            <p:cNvSpPr>
              <a:spLocks/>
            </p:cNvSpPr>
            <p:nvPr userDrawn="1"/>
          </p:nvSpPr>
          <p:spPr bwMode="auto">
            <a:xfrm>
              <a:off x="3433604" y="4636944"/>
              <a:ext cx="16124" cy="21498"/>
            </a:xfrm>
            <a:custGeom>
              <a:avLst/>
              <a:gdLst>
                <a:gd name="T0" fmla="*/ 0 w 5"/>
                <a:gd name="T1" fmla="*/ 7 h 7"/>
                <a:gd name="T2" fmla="*/ 5 w 5"/>
                <a:gd name="T3" fmla="*/ 7 h 7"/>
                <a:gd name="T4" fmla="*/ 5 w 5"/>
                <a:gd name="T5" fmla="*/ 0 h 7"/>
                <a:gd name="T6" fmla="*/ 0 w 5"/>
                <a:gd name="T7" fmla="*/ 0 h 7"/>
                <a:gd name="T8" fmla="*/ 0 w 5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0" y="7"/>
                  </a:moveTo>
                  <a:cubicBezTo>
                    <a:pt x="2" y="7"/>
                    <a:pt x="3" y="7"/>
                    <a:pt x="5" y="7"/>
                  </a:cubicBezTo>
                  <a:cubicBezTo>
                    <a:pt x="5" y="5"/>
                    <a:pt x="5" y="2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6" name="Freeform 108"/>
            <p:cNvSpPr>
              <a:spLocks/>
            </p:cNvSpPr>
            <p:nvPr userDrawn="1"/>
          </p:nvSpPr>
          <p:spPr bwMode="auto">
            <a:xfrm>
              <a:off x="2923016" y="4646349"/>
              <a:ext cx="49715" cy="95399"/>
            </a:xfrm>
            <a:custGeom>
              <a:avLst/>
              <a:gdLst>
                <a:gd name="T0" fmla="*/ 5 w 16"/>
                <a:gd name="T1" fmla="*/ 0 h 30"/>
                <a:gd name="T2" fmla="*/ 13 w 16"/>
                <a:gd name="T3" fmla="*/ 30 h 30"/>
                <a:gd name="T4" fmla="*/ 8 w 16"/>
                <a:gd name="T5" fmla="*/ 4 h 30"/>
                <a:gd name="T6" fmla="*/ 5 w 16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0">
                  <a:moveTo>
                    <a:pt x="5" y="0"/>
                  </a:moveTo>
                  <a:cubicBezTo>
                    <a:pt x="0" y="17"/>
                    <a:pt x="7" y="19"/>
                    <a:pt x="13" y="30"/>
                  </a:cubicBezTo>
                  <a:cubicBezTo>
                    <a:pt x="16" y="15"/>
                    <a:pt x="7" y="15"/>
                    <a:pt x="8" y="4"/>
                  </a:cubicBezTo>
                  <a:cubicBezTo>
                    <a:pt x="7" y="2"/>
                    <a:pt x="7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7" name="Freeform 109"/>
            <p:cNvSpPr>
              <a:spLocks/>
            </p:cNvSpPr>
            <p:nvPr userDrawn="1"/>
          </p:nvSpPr>
          <p:spPr bwMode="auto">
            <a:xfrm>
              <a:off x="3100378" y="4646349"/>
              <a:ext cx="16124" cy="25529"/>
            </a:xfrm>
            <a:custGeom>
              <a:avLst/>
              <a:gdLst>
                <a:gd name="T0" fmla="*/ 5 w 5"/>
                <a:gd name="T1" fmla="*/ 0 h 8"/>
                <a:gd name="T2" fmla="*/ 0 w 5"/>
                <a:gd name="T3" fmla="*/ 0 h 8"/>
                <a:gd name="T4" fmla="*/ 0 w 5"/>
                <a:gd name="T5" fmla="*/ 8 h 8"/>
                <a:gd name="T6" fmla="*/ 5 w 5"/>
                <a:gd name="T7" fmla="*/ 8 h 8"/>
                <a:gd name="T8" fmla="*/ 5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" y="8"/>
                    <a:pt x="4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8" name="Freeform 110"/>
            <p:cNvSpPr>
              <a:spLocks/>
            </p:cNvSpPr>
            <p:nvPr userDrawn="1"/>
          </p:nvSpPr>
          <p:spPr bwMode="auto">
            <a:xfrm>
              <a:off x="3201152" y="4627538"/>
              <a:ext cx="34935" cy="65839"/>
            </a:xfrm>
            <a:custGeom>
              <a:avLst/>
              <a:gdLst>
                <a:gd name="T0" fmla="*/ 0 w 11"/>
                <a:gd name="T1" fmla="*/ 10 h 21"/>
                <a:gd name="T2" fmla="*/ 8 w 11"/>
                <a:gd name="T3" fmla="*/ 21 h 21"/>
                <a:gd name="T4" fmla="*/ 0 w 11"/>
                <a:gd name="T5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1">
                  <a:moveTo>
                    <a:pt x="0" y="10"/>
                  </a:moveTo>
                  <a:cubicBezTo>
                    <a:pt x="6" y="9"/>
                    <a:pt x="3" y="21"/>
                    <a:pt x="8" y="21"/>
                  </a:cubicBezTo>
                  <a:cubicBezTo>
                    <a:pt x="11" y="12"/>
                    <a:pt x="3" y="0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49" name="Freeform 111"/>
            <p:cNvSpPr>
              <a:spLocks/>
            </p:cNvSpPr>
            <p:nvPr userDrawn="1"/>
          </p:nvSpPr>
          <p:spPr bwMode="auto">
            <a:xfrm>
              <a:off x="2893456" y="4671879"/>
              <a:ext cx="18811" cy="44341"/>
            </a:xfrm>
            <a:custGeom>
              <a:avLst/>
              <a:gdLst>
                <a:gd name="T0" fmla="*/ 0 w 6"/>
                <a:gd name="T1" fmla="*/ 14 h 14"/>
                <a:gd name="T2" fmla="*/ 6 w 6"/>
                <a:gd name="T3" fmla="*/ 14 h 14"/>
                <a:gd name="T4" fmla="*/ 6 w 6"/>
                <a:gd name="T5" fmla="*/ 0 h 14"/>
                <a:gd name="T6" fmla="*/ 0 w 6"/>
                <a:gd name="T7" fmla="*/ 0 h 14"/>
                <a:gd name="T8" fmla="*/ 0 w 6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2" y="14"/>
                    <a:pt x="4" y="14"/>
                    <a:pt x="6" y="14"/>
                  </a:cubicBezTo>
                  <a:cubicBezTo>
                    <a:pt x="6" y="10"/>
                    <a:pt x="6" y="5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0" name="Freeform 112"/>
            <p:cNvSpPr>
              <a:spLocks/>
            </p:cNvSpPr>
            <p:nvPr userDrawn="1"/>
          </p:nvSpPr>
          <p:spPr bwMode="auto">
            <a:xfrm>
              <a:off x="3370452" y="4671879"/>
              <a:ext cx="21498" cy="44341"/>
            </a:xfrm>
            <a:custGeom>
              <a:avLst/>
              <a:gdLst>
                <a:gd name="T0" fmla="*/ 1 w 7"/>
                <a:gd name="T1" fmla="*/ 0 h 14"/>
                <a:gd name="T2" fmla="*/ 4 w 7"/>
                <a:gd name="T3" fmla="*/ 14 h 14"/>
                <a:gd name="T4" fmla="*/ 1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1" y="0"/>
                  </a:moveTo>
                  <a:cubicBezTo>
                    <a:pt x="1" y="5"/>
                    <a:pt x="0" y="13"/>
                    <a:pt x="4" y="14"/>
                  </a:cubicBezTo>
                  <a:cubicBezTo>
                    <a:pt x="7" y="10"/>
                    <a:pt x="7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1" name="Freeform 113"/>
            <p:cNvSpPr>
              <a:spLocks/>
            </p:cNvSpPr>
            <p:nvPr userDrawn="1"/>
          </p:nvSpPr>
          <p:spPr bwMode="auto">
            <a:xfrm>
              <a:off x="3280428" y="4681284"/>
              <a:ext cx="32248" cy="34935"/>
            </a:xfrm>
            <a:custGeom>
              <a:avLst/>
              <a:gdLst>
                <a:gd name="T0" fmla="*/ 5 w 10"/>
                <a:gd name="T1" fmla="*/ 0 h 11"/>
                <a:gd name="T2" fmla="*/ 5 w 10"/>
                <a:gd name="T3" fmla="*/ 11 h 11"/>
                <a:gd name="T4" fmla="*/ 5 w 10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5" y="0"/>
                  </a:moveTo>
                  <a:cubicBezTo>
                    <a:pt x="4" y="5"/>
                    <a:pt x="0" y="9"/>
                    <a:pt x="5" y="11"/>
                  </a:cubicBezTo>
                  <a:cubicBezTo>
                    <a:pt x="5" y="7"/>
                    <a:pt x="10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2" name="Freeform 114"/>
            <p:cNvSpPr>
              <a:spLocks/>
            </p:cNvSpPr>
            <p:nvPr userDrawn="1"/>
          </p:nvSpPr>
          <p:spPr bwMode="auto">
            <a:xfrm>
              <a:off x="3410762" y="4690690"/>
              <a:ext cx="29560" cy="79275"/>
            </a:xfrm>
            <a:custGeom>
              <a:avLst/>
              <a:gdLst>
                <a:gd name="T0" fmla="*/ 1 w 9"/>
                <a:gd name="T1" fmla="*/ 20 h 25"/>
                <a:gd name="T2" fmla="*/ 4 w 9"/>
                <a:gd name="T3" fmla="*/ 1 h 25"/>
                <a:gd name="T4" fmla="*/ 1 w 9"/>
                <a:gd name="T5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5">
                  <a:moveTo>
                    <a:pt x="1" y="20"/>
                  </a:moveTo>
                  <a:cubicBezTo>
                    <a:pt x="9" y="25"/>
                    <a:pt x="8" y="0"/>
                    <a:pt x="4" y="1"/>
                  </a:cubicBezTo>
                  <a:cubicBezTo>
                    <a:pt x="6" y="12"/>
                    <a:pt x="0" y="11"/>
                    <a:pt x="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3" name="Freeform 115"/>
            <p:cNvSpPr>
              <a:spLocks/>
            </p:cNvSpPr>
            <p:nvPr userDrawn="1"/>
          </p:nvSpPr>
          <p:spPr bwMode="auto">
            <a:xfrm>
              <a:off x="3468539" y="4712188"/>
              <a:ext cx="25529" cy="29560"/>
            </a:xfrm>
            <a:custGeom>
              <a:avLst/>
              <a:gdLst>
                <a:gd name="T0" fmla="*/ 0 w 8"/>
                <a:gd name="T1" fmla="*/ 1 h 9"/>
                <a:gd name="T2" fmla="*/ 0 w 8"/>
                <a:gd name="T3" fmla="*/ 9 h 9"/>
                <a:gd name="T4" fmla="*/ 8 w 8"/>
                <a:gd name="T5" fmla="*/ 9 h 9"/>
                <a:gd name="T6" fmla="*/ 0 w 8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9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5" y="9"/>
                    <a:pt x="8" y="9"/>
                  </a:cubicBezTo>
                  <a:cubicBezTo>
                    <a:pt x="8" y="2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4" name="Freeform 116"/>
            <p:cNvSpPr>
              <a:spLocks/>
            </p:cNvSpPr>
            <p:nvPr userDrawn="1"/>
          </p:nvSpPr>
          <p:spPr bwMode="auto">
            <a:xfrm>
              <a:off x="3135313" y="4737718"/>
              <a:ext cx="51059" cy="57777"/>
            </a:xfrm>
            <a:custGeom>
              <a:avLst/>
              <a:gdLst>
                <a:gd name="T0" fmla="*/ 0 w 16"/>
                <a:gd name="T1" fmla="*/ 8 h 18"/>
                <a:gd name="T2" fmla="*/ 13 w 16"/>
                <a:gd name="T3" fmla="*/ 16 h 18"/>
                <a:gd name="T4" fmla="*/ 16 w 16"/>
                <a:gd name="T5" fmla="*/ 5 h 18"/>
                <a:gd name="T6" fmla="*/ 0 w 16"/>
                <a:gd name="T7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8">
                  <a:moveTo>
                    <a:pt x="0" y="8"/>
                  </a:moveTo>
                  <a:cubicBezTo>
                    <a:pt x="8" y="6"/>
                    <a:pt x="5" y="18"/>
                    <a:pt x="13" y="16"/>
                  </a:cubicBezTo>
                  <a:cubicBezTo>
                    <a:pt x="13" y="11"/>
                    <a:pt x="14" y="8"/>
                    <a:pt x="16" y="5"/>
                  </a:cubicBezTo>
                  <a:cubicBezTo>
                    <a:pt x="11" y="7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5" name="Freeform 117"/>
            <p:cNvSpPr>
              <a:spLocks/>
            </p:cNvSpPr>
            <p:nvPr userDrawn="1"/>
          </p:nvSpPr>
          <p:spPr bwMode="auto">
            <a:xfrm>
              <a:off x="3379858" y="4776684"/>
              <a:ext cx="47028" cy="65839"/>
            </a:xfrm>
            <a:custGeom>
              <a:avLst/>
              <a:gdLst>
                <a:gd name="T0" fmla="*/ 3 w 15"/>
                <a:gd name="T1" fmla="*/ 0 h 21"/>
                <a:gd name="T2" fmla="*/ 3 w 15"/>
                <a:gd name="T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1">
                  <a:moveTo>
                    <a:pt x="3" y="0"/>
                  </a:moveTo>
                  <a:cubicBezTo>
                    <a:pt x="0" y="21"/>
                    <a:pt x="15" y="2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6" name="Freeform 118"/>
            <p:cNvSpPr>
              <a:spLocks/>
            </p:cNvSpPr>
            <p:nvPr userDrawn="1"/>
          </p:nvSpPr>
          <p:spPr bwMode="auto">
            <a:xfrm>
              <a:off x="3452415" y="4798182"/>
              <a:ext cx="32248" cy="79275"/>
            </a:xfrm>
            <a:custGeom>
              <a:avLst/>
              <a:gdLst>
                <a:gd name="T0" fmla="*/ 5 w 10"/>
                <a:gd name="T1" fmla="*/ 0 h 25"/>
                <a:gd name="T2" fmla="*/ 2 w 10"/>
                <a:gd name="T3" fmla="*/ 19 h 25"/>
                <a:gd name="T4" fmla="*/ 5 w 10"/>
                <a:gd name="T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5">
                  <a:moveTo>
                    <a:pt x="5" y="0"/>
                  </a:moveTo>
                  <a:cubicBezTo>
                    <a:pt x="6" y="9"/>
                    <a:pt x="0" y="8"/>
                    <a:pt x="2" y="19"/>
                  </a:cubicBezTo>
                  <a:cubicBezTo>
                    <a:pt x="10" y="25"/>
                    <a:pt x="9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7" name="Freeform 119"/>
            <p:cNvSpPr>
              <a:spLocks/>
            </p:cNvSpPr>
            <p:nvPr userDrawn="1"/>
          </p:nvSpPr>
          <p:spPr bwMode="auto">
            <a:xfrm>
              <a:off x="3357016" y="4807588"/>
              <a:ext cx="104805" cy="69870"/>
            </a:xfrm>
            <a:custGeom>
              <a:avLst/>
              <a:gdLst>
                <a:gd name="T0" fmla="*/ 2 w 33"/>
                <a:gd name="T1" fmla="*/ 5 h 22"/>
                <a:gd name="T2" fmla="*/ 16 w 33"/>
                <a:gd name="T3" fmla="*/ 12 h 22"/>
                <a:gd name="T4" fmla="*/ 24 w 33"/>
                <a:gd name="T5" fmla="*/ 20 h 22"/>
                <a:gd name="T6" fmla="*/ 2 w 33"/>
                <a:gd name="T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22">
                  <a:moveTo>
                    <a:pt x="2" y="5"/>
                  </a:moveTo>
                  <a:cubicBezTo>
                    <a:pt x="0" y="17"/>
                    <a:pt x="11" y="10"/>
                    <a:pt x="16" y="12"/>
                  </a:cubicBezTo>
                  <a:cubicBezTo>
                    <a:pt x="18" y="13"/>
                    <a:pt x="18" y="22"/>
                    <a:pt x="24" y="20"/>
                  </a:cubicBezTo>
                  <a:cubicBezTo>
                    <a:pt x="33" y="6"/>
                    <a:pt x="7" y="0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8" name="Freeform 120"/>
            <p:cNvSpPr>
              <a:spLocks/>
            </p:cNvSpPr>
            <p:nvPr userDrawn="1"/>
          </p:nvSpPr>
          <p:spPr bwMode="auto">
            <a:xfrm>
              <a:off x="3484663" y="4802213"/>
              <a:ext cx="84650" cy="107492"/>
            </a:xfrm>
            <a:custGeom>
              <a:avLst/>
              <a:gdLst>
                <a:gd name="T0" fmla="*/ 16 w 27"/>
                <a:gd name="T1" fmla="*/ 14 h 34"/>
                <a:gd name="T2" fmla="*/ 21 w 27"/>
                <a:gd name="T3" fmla="*/ 3 h 34"/>
                <a:gd name="T4" fmla="*/ 11 w 27"/>
                <a:gd name="T5" fmla="*/ 18 h 34"/>
                <a:gd name="T6" fmla="*/ 5 w 27"/>
                <a:gd name="T7" fmla="*/ 22 h 34"/>
                <a:gd name="T8" fmla="*/ 21 w 27"/>
                <a:gd name="T9" fmla="*/ 22 h 34"/>
                <a:gd name="T10" fmla="*/ 27 w 27"/>
                <a:gd name="T11" fmla="*/ 33 h 34"/>
                <a:gd name="T12" fmla="*/ 27 w 27"/>
                <a:gd name="T13" fmla="*/ 18 h 34"/>
                <a:gd name="T14" fmla="*/ 16 w 27"/>
                <a:gd name="T15" fmla="*/ 1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34">
                  <a:moveTo>
                    <a:pt x="16" y="14"/>
                  </a:moveTo>
                  <a:cubicBezTo>
                    <a:pt x="21" y="15"/>
                    <a:pt x="22" y="10"/>
                    <a:pt x="21" y="3"/>
                  </a:cubicBezTo>
                  <a:cubicBezTo>
                    <a:pt x="12" y="0"/>
                    <a:pt x="17" y="17"/>
                    <a:pt x="11" y="18"/>
                  </a:cubicBezTo>
                  <a:cubicBezTo>
                    <a:pt x="7" y="18"/>
                    <a:pt x="0" y="19"/>
                    <a:pt x="5" y="22"/>
                  </a:cubicBezTo>
                  <a:cubicBezTo>
                    <a:pt x="14" y="20"/>
                    <a:pt x="16" y="30"/>
                    <a:pt x="21" y="22"/>
                  </a:cubicBezTo>
                  <a:cubicBezTo>
                    <a:pt x="22" y="27"/>
                    <a:pt x="21" y="34"/>
                    <a:pt x="27" y="33"/>
                  </a:cubicBezTo>
                  <a:cubicBezTo>
                    <a:pt x="27" y="28"/>
                    <a:pt x="27" y="23"/>
                    <a:pt x="27" y="18"/>
                  </a:cubicBezTo>
                  <a:cubicBezTo>
                    <a:pt x="23" y="9"/>
                    <a:pt x="19" y="25"/>
                    <a:pt x="1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59" name="Freeform 121"/>
            <p:cNvSpPr>
              <a:spLocks/>
            </p:cNvSpPr>
            <p:nvPr userDrawn="1"/>
          </p:nvSpPr>
          <p:spPr bwMode="auto">
            <a:xfrm>
              <a:off x="3585437" y="4823711"/>
              <a:ext cx="34935" cy="53746"/>
            </a:xfrm>
            <a:custGeom>
              <a:avLst/>
              <a:gdLst>
                <a:gd name="T0" fmla="*/ 0 w 11"/>
                <a:gd name="T1" fmla="*/ 0 h 17"/>
                <a:gd name="T2" fmla="*/ 3 w 11"/>
                <a:gd name="T3" fmla="*/ 7 h 17"/>
                <a:gd name="T4" fmla="*/ 11 w 11"/>
                <a:gd name="T5" fmla="*/ 15 h 17"/>
                <a:gd name="T6" fmla="*/ 0 w 11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7">
                  <a:moveTo>
                    <a:pt x="0" y="0"/>
                  </a:moveTo>
                  <a:cubicBezTo>
                    <a:pt x="1" y="3"/>
                    <a:pt x="0" y="7"/>
                    <a:pt x="3" y="7"/>
                  </a:cubicBezTo>
                  <a:cubicBezTo>
                    <a:pt x="7" y="7"/>
                    <a:pt x="5" y="17"/>
                    <a:pt x="11" y="15"/>
                  </a:cubicBezTo>
                  <a:cubicBezTo>
                    <a:pt x="11" y="5"/>
                    <a:pt x="7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0" name="Freeform 122"/>
            <p:cNvSpPr>
              <a:spLocks/>
            </p:cNvSpPr>
            <p:nvPr userDrawn="1"/>
          </p:nvSpPr>
          <p:spPr bwMode="auto">
            <a:xfrm>
              <a:off x="3569313" y="4849241"/>
              <a:ext cx="41653" cy="57777"/>
            </a:xfrm>
            <a:custGeom>
              <a:avLst/>
              <a:gdLst>
                <a:gd name="T0" fmla="*/ 2 w 13"/>
                <a:gd name="T1" fmla="*/ 3 h 18"/>
                <a:gd name="T2" fmla="*/ 13 w 13"/>
                <a:gd name="T3" fmla="*/ 10 h 18"/>
                <a:gd name="T4" fmla="*/ 2 w 13"/>
                <a:gd name="T5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2" y="3"/>
                  </a:moveTo>
                  <a:cubicBezTo>
                    <a:pt x="0" y="11"/>
                    <a:pt x="12" y="18"/>
                    <a:pt x="13" y="10"/>
                  </a:cubicBezTo>
                  <a:cubicBezTo>
                    <a:pt x="8" y="10"/>
                    <a:pt x="10" y="0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1" name="Freeform 123"/>
            <p:cNvSpPr>
              <a:spLocks/>
            </p:cNvSpPr>
            <p:nvPr userDrawn="1"/>
          </p:nvSpPr>
          <p:spPr bwMode="auto">
            <a:xfrm>
              <a:off x="3692929" y="4881488"/>
              <a:ext cx="22842" cy="47028"/>
            </a:xfrm>
            <a:custGeom>
              <a:avLst/>
              <a:gdLst>
                <a:gd name="T0" fmla="*/ 1 w 7"/>
                <a:gd name="T1" fmla="*/ 0 h 15"/>
                <a:gd name="T2" fmla="*/ 4 w 7"/>
                <a:gd name="T3" fmla="*/ 15 h 15"/>
                <a:gd name="T4" fmla="*/ 1 w 7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5">
                  <a:moveTo>
                    <a:pt x="1" y="0"/>
                  </a:moveTo>
                  <a:cubicBezTo>
                    <a:pt x="2" y="6"/>
                    <a:pt x="0" y="14"/>
                    <a:pt x="4" y="15"/>
                  </a:cubicBezTo>
                  <a:cubicBezTo>
                    <a:pt x="7" y="10"/>
                    <a:pt x="7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2" name="Freeform 124"/>
            <p:cNvSpPr>
              <a:spLocks/>
            </p:cNvSpPr>
            <p:nvPr userDrawn="1"/>
          </p:nvSpPr>
          <p:spPr bwMode="auto">
            <a:xfrm>
              <a:off x="6318424" y="5769642"/>
              <a:ext cx="16124" cy="37622"/>
            </a:xfrm>
            <a:custGeom>
              <a:avLst/>
              <a:gdLst>
                <a:gd name="T0" fmla="*/ 0 w 5"/>
                <a:gd name="T1" fmla="*/ 1 h 12"/>
                <a:gd name="T2" fmla="*/ 0 w 5"/>
                <a:gd name="T3" fmla="*/ 9 h 12"/>
                <a:gd name="T4" fmla="*/ 5 w 5"/>
                <a:gd name="T5" fmla="*/ 12 h 12"/>
                <a:gd name="T6" fmla="*/ 0 w 5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2">
                  <a:moveTo>
                    <a:pt x="0" y="1"/>
                  </a:move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3" y="12"/>
                    <a:pt x="5" y="12"/>
                  </a:cubicBezTo>
                  <a:cubicBezTo>
                    <a:pt x="5" y="7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3" name="Freeform 125"/>
            <p:cNvSpPr>
              <a:spLocks/>
            </p:cNvSpPr>
            <p:nvPr userDrawn="1"/>
          </p:nvSpPr>
          <p:spPr bwMode="auto">
            <a:xfrm>
              <a:off x="6753768" y="5832794"/>
              <a:ext cx="47028" cy="69870"/>
            </a:xfrm>
            <a:custGeom>
              <a:avLst/>
              <a:gdLst>
                <a:gd name="T0" fmla="*/ 2 w 15"/>
                <a:gd name="T1" fmla="*/ 0 h 22"/>
                <a:gd name="T2" fmla="*/ 2 w 15"/>
                <a:gd name="T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5" h="22">
                  <a:moveTo>
                    <a:pt x="2" y="0"/>
                  </a:moveTo>
                  <a:cubicBezTo>
                    <a:pt x="0" y="22"/>
                    <a:pt x="15" y="2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4" name="Freeform 126"/>
            <p:cNvSpPr>
              <a:spLocks/>
            </p:cNvSpPr>
            <p:nvPr userDrawn="1"/>
          </p:nvSpPr>
          <p:spPr bwMode="auto">
            <a:xfrm>
              <a:off x="7911995" y="5820701"/>
              <a:ext cx="47028" cy="126303"/>
            </a:xfrm>
            <a:custGeom>
              <a:avLst/>
              <a:gdLst>
                <a:gd name="T0" fmla="*/ 0 w 15"/>
                <a:gd name="T1" fmla="*/ 30 h 40"/>
                <a:gd name="T2" fmla="*/ 11 w 15"/>
                <a:gd name="T3" fmla="*/ 37 h 40"/>
                <a:gd name="T4" fmla="*/ 6 w 15"/>
                <a:gd name="T5" fmla="*/ 26 h 40"/>
                <a:gd name="T6" fmla="*/ 8 w 15"/>
                <a:gd name="T7" fmla="*/ 15 h 40"/>
                <a:gd name="T8" fmla="*/ 14 w 15"/>
                <a:gd name="T9" fmla="*/ 11 h 40"/>
                <a:gd name="T10" fmla="*/ 0 w 15"/>
                <a:gd name="T11" fmla="*/ 3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40">
                  <a:moveTo>
                    <a:pt x="0" y="30"/>
                  </a:moveTo>
                  <a:cubicBezTo>
                    <a:pt x="6" y="30"/>
                    <a:pt x="4" y="40"/>
                    <a:pt x="11" y="37"/>
                  </a:cubicBezTo>
                  <a:cubicBezTo>
                    <a:pt x="12" y="30"/>
                    <a:pt x="8" y="30"/>
                    <a:pt x="6" y="26"/>
                  </a:cubicBezTo>
                  <a:cubicBezTo>
                    <a:pt x="10" y="27"/>
                    <a:pt x="7" y="18"/>
                    <a:pt x="8" y="15"/>
                  </a:cubicBezTo>
                  <a:cubicBezTo>
                    <a:pt x="10" y="13"/>
                    <a:pt x="15" y="16"/>
                    <a:pt x="14" y="11"/>
                  </a:cubicBezTo>
                  <a:cubicBezTo>
                    <a:pt x="5" y="0"/>
                    <a:pt x="2" y="19"/>
                    <a:pt x="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5" name="Freeform 127"/>
            <p:cNvSpPr>
              <a:spLocks/>
            </p:cNvSpPr>
            <p:nvPr userDrawn="1"/>
          </p:nvSpPr>
          <p:spPr bwMode="auto">
            <a:xfrm>
              <a:off x="6912318" y="5846230"/>
              <a:ext cx="40310" cy="34935"/>
            </a:xfrm>
            <a:custGeom>
              <a:avLst/>
              <a:gdLst>
                <a:gd name="T0" fmla="*/ 1 w 13"/>
                <a:gd name="T1" fmla="*/ 7 h 11"/>
                <a:gd name="T2" fmla="*/ 3 w 13"/>
                <a:gd name="T3" fmla="*/ 11 h 11"/>
                <a:gd name="T4" fmla="*/ 9 w 13"/>
                <a:gd name="T5" fmla="*/ 11 h 11"/>
                <a:gd name="T6" fmla="*/ 1 w 13"/>
                <a:gd name="T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1" y="7"/>
                  </a:moveTo>
                  <a:cubicBezTo>
                    <a:pt x="2" y="7"/>
                    <a:pt x="4" y="7"/>
                    <a:pt x="3" y="11"/>
                  </a:cubicBezTo>
                  <a:cubicBezTo>
                    <a:pt x="5" y="11"/>
                    <a:pt x="7" y="11"/>
                    <a:pt x="9" y="11"/>
                  </a:cubicBezTo>
                  <a:cubicBezTo>
                    <a:pt x="13" y="2"/>
                    <a:pt x="0" y="0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6" name="Freeform 128"/>
            <p:cNvSpPr>
              <a:spLocks/>
            </p:cNvSpPr>
            <p:nvPr userDrawn="1"/>
          </p:nvSpPr>
          <p:spPr bwMode="auto">
            <a:xfrm>
              <a:off x="7280479" y="5839512"/>
              <a:ext cx="56433" cy="67183"/>
            </a:xfrm>
            <a:custGeom>
              <a:avLst/>
              <a:gdLst>
                <a:gd name="T0" fmla="*/ 0 w 18"/>
                <a:gd name="T1" fmla="*/ 13 h 21"/>
                <a:gd name="T2" fmla="*/ 14 w 18"/>
                <a:gd name="T3" fmla="*/ 20 h 21"/>
                <a:gd name="T4" fmla="*/ 0 w 18"/>
                <a:gd name="T5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cubicBezTo>
                    <a:pt x="6" y="14"/>
                    <a:pt x="7" y="21"/>
                    <a:pt x="14" y="20"/>
                  </a:cubicBezTo>
                  <a:cubicBezTo>
                    <a:pt x="18" y="4"/>
                    <a:pt x="2" y="0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7" name="Freeform 129"/>
            <p:cNvSpPr>
              <a:spLocks/>
            </p:cNvSpPr>
            <p:nvPr userDrawn="1"/>
          </p:nvSpPr>
          <p:spPr bwMode="auto">
            <a:xfrm>
              <a:off x="7365129" y="5855636"/>
              <a:ext cx="41653" cy="34935"/>
            </a:xfrm>
            <a:custGeom>
              <a:avLst/>
              <a:gdLst>
                <a:gd name="T0" fmla="*/ 0 w 13"/>
                <a:gd name="T1" fmla="*/ 8 h 11"/>
                <a:gd name="T2" fmla="*/ 6 w 13"/>
                <a:gd name="T3" fmla="*/ 11 h 11"/>
                <a:gd name="T4" fmla="*/ 0 w 13"/>
                <a:gd name="T5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8"/>
                  </a:moveTo>
                  <a:cubicBezTo>
                    <a:pt x="3" y="8"/>
                    <a:pt x="4" y="11"/>
                    <a:pt x="6" y="11"/>
                  </a:cubicBezTo>
                  <a:cubicBezTo>
                    <a:pt x="13" y="4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8" name="Freeform 130"/>
            <p:cNvSpPr>
              <a:spLocks/>
            </p:cNvSpPr>
            <p:nvPr userDrawn="1"/>
          </p:nvSpPr>
          <p:spPr bwMode="auto">
            <a:xfrm>
              <a:off x="8921078" y="1980544"/>
              <a:ext cx="72557" cy="142427"/>
            </a:xfrm>
            <a:custGeom>
              <a:avLst/>
              <a:gdLst>
                <a:gd name="T0" fmla="*/ 21 w 23"/>
                <a:gd name="T1" fmla="*/ 30 h 45"/>
                <a:gd name="T2" fmla="*/ 16 w 23"/>
                <a:gd name="T3" fmla="*/ 8 h 45"/>
                <a:gd name="T4" fmla="*/ 2 w 23"/>
                <a:gd name="T5" fmla="*/ 4 h 45"/>
                <a:gd name="T6" fmla="*/ 13 w 23"/>
                <a:gd name="T7" fmla="*/ 19 h 45"/>
                <a:gd name="T8" fmla="*/ 13 w 23"/>
                <a:gd name="T9" fmla="*/ 30 h 45"/>
                <a:gd name="T10" fmla="*/ 5 w 23"/>
                <a:gd name="T11" fmla="*/ 23 h 45"/>
                <a:gd name="T12" fmla="*/ 16 w 23"/>
                <a:gd name="T13" fmla="*/ 45 h 45"/>
                <a:gd name="T14" fmla="*/ 21 w 23"/>
                <a:gd name="T15" fmla="*/ 3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45">
                  <a:moveTo>
                    <a:pt x="21" y="30"/>
                  </a:moveTo>
                  <a:cubicBezTo>
                    <a:pt x="23" y="21"/>
                    <a:pt x="18" y="10"/>
                    <a:pt x="16" y="8"/>
                  </a:cubicBezTo>
                  <a:cubicBezTo>
                    <a:pt x="12" y="20"/>
                    <a:pt x="9" y="0"/>
                    <a:pt x="2" y="4"/>
                  </a:cubicBezTo>
                  <a:cubicBezTo>
                    <a:pt x="0" y="17"/>
                    <a:pt x="12" y="11"/>
                    <a:pt x="13" y="19"/>
                  </a:cubicBezTo>
                  <a:cubicBezTo>
                    <a:pt x="14" y="24"/>
                    <a:pt x="18" y="28"/>
                    <a:pt x="13" y="30"/>
                  </a:cubicBezTo>
                  <a:cubicBezTo>
                    <a:pt x="9" y="30"/>
                    <a:pt x="11" y="21"/>
                    <a:pt x="5" y="23"/>
                  </a:cubicBezTo>
                  <a:cubicBezTo>
                    <a:pt x="6" y="35"/>
                    <a:pt x="7" y="45"/>
                    <a:pt x="16" y="45"/>
                  </a:cubicBezTo>
                  <a:cubicBezTo>
                    <a:pt x="11" y="36"/>
                    <a:pt x="22" y="26"/>
                    <a:pt x="2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69" name="Freeform 131"/>
            <p:cNvSpPr>
              <a:spLocks/>
            </p:cNvSpPr>
            <p:nvPr userDrawn="1"/>
          </p:nvSpPr>
          <p:spPr bwMode="auto">
            <a:xfrm>
              <a:off x="2601884" y="2917069"/>
              <a:ext cx="72557" cy="154520"/>
            </a:xfrm>
            <a:custGeom>
              <a:avLst/>
              <a:gdLst>
                <a:gd name="T0" fmla="*/ 17 w 23"/>
                <a:gd name="T1" fmla="*/ 31 h 49"/>
                <a:gd name="T2" fmla="*/ 12 w 23"/>
                <a:gd name="T3" fmla="*/ 46 h 49"/>
                <a:gd name="T4" fmla="*/ 17 w 23"/>
                <a:gd name="T5" fmla="*/ 35 h 49"/>
                <a:gd name="T6" fmla="*/ 22 w 23"/>
                <a:gd name="T7" fmla="*/ 28 h 49"/>
                <a:gd name="T8" fmla="*/ 17 w 23"/>
                <a:gd name="T9" fmla="*/ 16 h 49"/>
                <a:gd name="T10" fmla="*/ 12 w 23"/>
                <a:gd name="T11" fmla="*/ 2 h 49"/>
                <a:gd name="T12" fmla="*/ 4 w 23"/>
                <a:gd name="T13" fmla="*/ 9 h 49"/>
                <a:gd name="T14" fmla="*/ 1 w 23"/>
                <a:gd name="T15" fmla="*/ 13 h 49"/>
                <a:gd name="T16" fmla="*/ 9 w 23"/>
                <a:gd name="T17" fmla="*/ 20 h 49"/>
                <a:gd name="T18" fmla="*/ 1 w 23"/>
                <a:gd name="T19" fmla="*/ 20 h 49"/>
                <a:gd name="T20" fmla="*/ 6 w 23"/>
                <a:gd name="T21" fmla="*/ 28 h 49"/>
                <a:gd name="T22" fmla="*/ 17 w 23"/>
                <a:gd name="T23" fmla="*/ 3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9">
                  <a:moveTo>
                    <a:pt x="17" y="31"/>
                  </a:moveTo>
                  <a:cubicBezTo>
                    <a:pt x="13" y="34"/>
                    <a:pt x="12" y="39"/>
                    <a:pt x="12" y="46"/>
                  </a:cubicBezTo>
                  <a:cubicBezTo>
                    <a:pt x="19" y="49"/>
                    <a:pt x="15" y="40"/>
                    <a:pt x="17" y="35"/>
                  </a:cubicBezTo>
                  <a:cubicBezTo>
                    <a:pt x="18" y="32"/>
                    <a:pt x="23" y="32"/>
                    <a:pt x="22" y="28"/>
                  </a:cubicBezTo>
                  <a:cubicBezTo>
                    <a:pt x="15" y="29"/>
                    <a:pt x="19" y="22"/>
                    <a:pt x="17" y="16"/>
                  </a:cubicBezTo>
                  <a:cubicBezTo>
                    <a:pt x="16" y="13"/>
                    <a:pt x="7" y="9"/>
                    <a:pt x="12" y="2"/>
                  </a:cubicBezTo>
                  <a:cubicBezTo>
                    <a:pt x="6" y="0"/>
                    <a:pt x="6" y="7"/>
                    <a:pt x="4" y="9"/>
                  </a:cubicBezTo>
                  <a:cubicBezTo>
                    <a:pt x="2" y="9"/>
                    <a:pt x="0" y="10"/>
                    <a:pt x="1" y="13"/>
                  </a:cubicBezTo>
                  <a:cubicBezTo>
                    <a:pt x="5" y="13"/>
                    <a:pt x="10" y="12"/>
                    <a:pt x="9" y="20"/>
                  </a:cubicBezTo>
                  <a:cubicBezTo>
                    <a:pt x="6" y="20"/>
                    <a:pt x="3" y="14"/>
                    <a:pt x="1" y="20"/>
                  </a:cubicBezTo>
                  <a:cubicBezTo>
                    <a:pt x="4" y="21"/>
                    <a:pt x="5" y="24"/>
                    <a:pt x="6" y="28"/>
                  </a:cubicBezTo>
                  <a:cubicBezTo>
                    <a:pt x="13" y="27"/>
                    <a:pt x="15" y="21"/>
                    <a:pt x="1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0" name="Freeform 132"/>
            <p:cNvSpPr>
              <a:spLocks/>
            </p:cNvSpPr>
            <p:nvPr userDrawn="1"/>
          </p:nvSpPr>
          <p:spPr bwMode="auto">
            <a:xfrm>
              <a:off x="4563615" y="1735999"/>
              <a:ext cx="37622" cy="47028"/>
            </a:xfrm>
            <a:custGeom>
              <a:avLst/>
              <a:gdLst>
                <a:gd name="T0" fmla="*/ 12 w 12"/>
                <a:gd name="T1" fmla="*/ 0 h 15"/>
                <a:gd name="T2" fmla="*/ 1 w 12"/>
                <a:gd name="T3" fmla="*/ 4 h 15"/>
                <a:gd name="T4" fmla="*/ 12 w 12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5">
                  <a:moveTo>
                    <a:pt x="12" y="0"/>
                  </a:moveTo>
                  <a:cubicBezTo>
                    <a:pt x="7" y="3"/>
                    <a:pt x="0" y="1"/>
                    <a:pt x="1" y="4"/>
                  </a:cubicBezTo>
                  <a:cubicBezTo>
                    <a:pt x="3" y="6"/>
                    <a:pt x="12" y="15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1" name="Freeform 133"/>
            <p:cNvSpPr>
              <a:spLocks/>
            </p:cNvSpPr>
            <p:nvPr userDrawn="1"/>
          </p:nvSpPr>
          <p:spPr bwMode="auto">
            <a:xfrm>
              <a:off x="7891841" y="1729281"/>
              <a:ext cx="99430" cy="76588"/>
            </a:xfrm>
            <a:custGeom>
              <a:avLst/>
              <a:gdLst>
                <a:gd name="T0" fmla="*/ 28 w 31"/>
                <a:gd name="T1" fmla="*/ 17 h 24"/>
                <a:gd name="T2" fmla="*/ 28 w 31"/>
                <a:gd name="T3" fmla="*/ 2 h 24"/>
                <a:gd name="T4" fmla="*/ 20 w 31"/>
                <a:gd name="T5" fmla="*/ 13 h 24"/>
                <a:gd name="T6" fmla="*/ 12 w 31"/>
                <a:gd name="T7" fmla="*/ 2 h 24"/>
                <a:gd name="T8" fmla="*/ 1 w 31"/>
                <a:gd name="T9" fmla="*/ 6 h 24"/>
                <a:gd name="T10" fmla="*/ 4 w 31"/>
                <a:gd name="T11" fmla="*/ 21 h 24"/>
                <a:gd name="T12" fmla="*/ 28 w 31"/>
                <a:gd name="T13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4">
                  <a:moveTo>
                    <a:pt x="28" y="17"/>
                  </a:moveTo>
                  <a:cubicBezTo>
                    <a:pt x="28" y="12"/>
                    <a:pt x="28" y="7"/>
                    <a:pt x="28" y="2"/>
                  </a:cubicBezTo>
                  <a:cubicBezTo>
                    <a:pt x="17" y="0"/>
                    <a:pt x="31" y="12"/>
                    <a:pt x="20" y="13"/>
                  </a:cubicBezTo>
                  <a:cubicBezTo>
                    <a:pt x="17" y="10"/>
                    <a:pt x="19" y="0"/>
                    <a:pt x="12" y="2"/>
                  </a:cubicBezTo>
                  <a:cubicBezTo>
                    <a:pt x="12" y="24"/>
                    <a:pt x="11" y="1"/>
                    <a:pt x="1" y="6"/>
                  </a:cubicBezTo>
                  <a:cubicBezTo>
                    <a:pt x="0" y="13"/>
                    <a:pt x="4" y="14"/>
                    <a:pt x="4" y="21"/>
                  </a:cubicBezTo>
                  <a:cubicBezTo>
                    <a:pt x="16" y="17"/>
                    <a:pt x="20" y="11"/>
                    <a:pt x="2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2" name="Freeform 134"/>
            <p:cNvSpPr>
              <a:spLocks/>
            </p:cNvSpPr>
            <p:nvPr userDrawn="1"/>
          </p:nvSpPr>
          <p:spPr bwMode="auto">
            <a:xfrm>
              <a:off x="8168633" y="1726594"/>
              <a:ext cx="104805" cy="110179"/>
            </a:xfrm>
            <a:custGeom>
              <a:avLst/>
              <a:gdLst>
                <a:gd name="T0" fmla="*/ 5 w 33"/>
                <a:gd name="T1" fmla="*/ 18 h 35"/>
                <a:gd name="T2" fmla="*/ 32 w 33"/>
                <a:gd name="T3" fmla="*/ 10 h 35"/>
                <a:gd name="T4" fmla="*/ 24 w 33"/>
                <a:gd name="T5" fmla="*/ 18 h 35"/>
                <a:gd name="T6" fmla="*/ 0 w 33"/>
                <a:gd name="T7" fmla="*/ 7 h 35"/>
                <a:gd name="T8" fmla="*/ 5 w 33"/>
                <a:gd name="T9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5">
                  <a:moveTo>
                    <a:pt x="5" y="18"/>
                  </a:moveTo>
                  <a:cubicBezTo>
                    <a:pt x="10" y="7"/>
                    <a:pt x="33" y="35"/>
                    <a:pt x="32" y="10"/>
                  </a:cubicBezTo>
                  <a:cubicBezTo>
                    <a:pt x="27" y="9"/>
                    <a:pt x="27" y="15"/>
                    <a:pt x="24" y="18"/>
                  </a:cubicBezTo>
                  <a:cubicBezTo>
                    <a:pt x="17" y="9"/>
                    <a:pt x="4" y="0"/>
                    <a:pt x="0" y="7"/>
                  </a:cubicBezTo>
                  <a:cubicBezTo>
                    <a:pt x="5" y="7"/>
                    <a:pt x="2" y="17"/>
                    <a:pt x="5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3" name="Freeform 135"/>
            <p:cNvSpPr>
              <a:spLocks/>
            </p:cNvSpPr>
            <p:nvPr userDrawn="1"/>
          </p:nvSpPr>
          <p:spPr bwMode="auto">
            <a:xfrm>
              <a:off x="4878030" y="1748092"/>
              <a:ext cx="79275" cy="48371"/>
            </a:xfrm>
            <a:custGeom>
              <a:avLst/>
              <a:gdLst>
                <a:gd name="T0" fmla="*/ 18 w 25"/>
                <a:gd name="T1" fmla="*/ 3 h 15"/>
                <a:gd name="T2" fmla="*/ 5 w 25"/>
                <a:gd name="T3" fmla="*/ 0 h 15"/>
                <a:gd name="T4" fmla="*/ 13 w 25"/>
                <a:gd name="T5" fmla="*/ 11 h 15"/>
                <a:gd name="T6" fmla="*/ 18 w 25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5">
                  <a:moveTo>
                    <a:pt x="18" y="3"/>
                  </a:moveTo>
                  <a:cubicBezTo>
                    <a:pt x="16" y="14"/>
                    <a:pt x="9" y="0"/>
                    <a:pt x="5" y="0"/>
                  </a:cubicBezTo>
                  <a:cubicBezTo>
                    <a:pt x="0" y="13"/>
                    <a:pt x="14" y="2"/>
                    <a:pt x="13" y="11"/>
                  </a:cubicBezTo>
                  <a:cubicBezTo>
                    <a:pt x="18" y="15"/>
                    <a:pt x="25" y="5"/>
                    <a:pt x="1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4" name="Freeform 136"/>
            <p:cNvSpPr>
              <a:spLocks/>
            </p:cNvSpPr>
            <p:nvPr userDrawn="1"/>
          </p:nvSpPr>
          <p:spPr bwMode="auto">
            <a:xfrm>
              <a:off x="4804129" y="1773622"/>
              <a:ext cx="146458" cy="73901"/>
            </a:xfrm>
            <a:custGeom>
              <a:avLst/>
              <a:gdLst>
                <a:gd name="T0" fmla="*/ 3 w 46"/>
                <a:gd name="T1" fmla="*/ 18 h 23"/>
                <a:gd name="T2" fmla="*/ 14 w 46"/>
                <a:gd name="T3" fmla="*/ 18 h 23"/>
                <a:gd name="T4" fmla="*/ 33 w 46"/>
                <a:gd name="T5" fmla="*/ 15 h 23"/>
                <a:gd name="T6" fmla="*/ 33 w 46"/>
                <a:gd name="T7" fmla="*/ 14 h 23"/>
                <a:gd name="T8" fmla="*/ 33 w 46"/>
                <a:gd name="T9" fmla="*/ 15 h 23"/>
                <a:gd name="T10" fmla="*/ 44 w 46"/>
                <a:gd name="T11" fmla="*/ 14 h 23"/>
                <a:gd name="T12" fmla="*/ 36 w 46"/>
                <a:gd name="T13" fmla="*/ 3 h 23"/>
                <a:gd name="T14" fmla="*/ 3 w 46"/>
                <a:gd name="T15" fmla="*/ 7 h 23"/>
                <a:gd name="T16" fmla="*/ 3 w 46"/>
                <a:gd name="T17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23">
                  <a:moveTo>
                    <a:pt x="3" y="18"/>
                  </a:moveTo>
                  <a:cubicBezTo>
                    <a:pt x="11" y="16"/>
                    <a:pt x="11" y="13"/>
                    <a:pt x="14" y="18"/>
                  </a:cubicBezTo>
                  <a:cubicBezTo>
                    <a:pt x="17" y="23"/>
                    <a:pt x="30" y="17"/>
                    <a:pt x="33" y="15"/>
                  </a:cubicBezTo>
                  <a:cubicBezTo>
                    <a:pt x="32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5"/>
                  </a:cubicBezTo>
                  <a:cubicBezTo>
                    <a:pt x="34" y="17"/>
                    <a:pt x="46" y="22"/>
                    <a:pt x="44" y="14"/>
                  </a:cubicBezTo>
                  <a:cubicBezTo>
                    <a:pt x="41" y="10"/>
                    <a:pt x="34" y="13"/>
                    <a:pt x="36" y="3"/>
                  </a:cubicBezTo>
                  <a:cubicBezTo>
                    <a:pt x="29" y="14"/>
                    <a:pt x="7" y="0"/>
                    <a:pt x="3" y="7"/>
                  </a:cubicBezTo>
                  <a:cubicBezTo>
                    <a:pt x="16" y="8"/>
                    <a:pt x="0" y="8"/>
                    <a:pt x="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5" name="Freeform 137"/>
            <p:cNvSpPr>
              <a:spLocks/>
            </p:cNvSpPr>
            <p:nvPr userDrawn="1"/>
          </p:nvSpPr>
          <p:spPr bwMode="auto">
            <a:xfrm>
              <a:off x="4953274" y="1726594"/>
              <a:ext cx="486402" cy="151833"/>
            </a:xfrm>
            <a:custGeom>
              <a:avLst/>
              <a:gdLst>
                <a:gd name="T0" fmla="*/ 7 w 153"/>
                <a:gd name="T1" fmla="*/ 25 h 48"/>
                <a:gd name="T2" fmla="*/ 13 w 153"/>
                <a:gd name="T3" fmla="*/ 22 h 48"/>
                <a:gd name="T4" fmla="*/ 32 w 153"/>
                <a:gd name="T5" fmla="*/ 29 h 48"/>
                <a:gd name="T6" fmla="*/ 37 w 153"/>
                <a:gd name="T7" fmla="*/ 33 h 48"/>
                <a:gd name="T8" fmla="*/ 37 w 153"/>
                <a:gd name="T9" fmla="*/ 36 h 48"/>
                <a:gd name="T10" fmla="*/ 69 w 153"/>
                <a:gd name="T11" fmla="*/ 40 h 48"/>
                <a:gd name="T12" fmla="*/ 94 w 153"/>
                <a:gd name="T13" fmla="*/ 40 h 48"/>
                <a:gd name="T14" fmla="*/ 104 w 153"/>
                <a:gd name="T15" fmla="*/ 36 h 48"/>
                <a:gd name="T16" fmla="*/ 115 w 153"/>
                <a:gd name="T17" fmla="*/ 36 h 48"/>
                <a:gd name="T18" fmla="*/ 115 w 153"/>
                <a:gd name="T19" fmla="*/ 33 h 48"/>
                <a:gd name="T20" fmla="*/ 123 w 153"/>
                <a:gd name="T21" fmla="*/ 36 h 48"/>
                <a:gd name="T22" fmla="*/ 115 w 153"/>
                <a:gd name="T23" fmla="*/ 40 h 48"/>
                <a:gd name="T24" fmla="*/ 131 w 153"/>
                <a:gd name="T25" fmla="*/ 36 h 48"/>
                <a:gd name="T26" fmla="*/ 139 w 153"/>
                <a:gd name="T27" fmla="*/ 40 h 48"/>
                <a:gd name="T28" fmla="*/ 150 w 153"/>
                <a:gd name="T29" fmla="*/ 40 h 48"/>
                <a:gd name="T30" fmla="*/ 153 w 153"/>
                <a:gd name="T31" fmla="*/ 33 h 48"/>
                <a:gd name="T32" fmla="*/ 142 w 153"/>
                <a:gd name="T33" fmla="*/ 33 h 48"/>
                <a:gd name="T34" fmla="*/ 145 w 153"/>
                <a:gd name="T35" fmla="*/ 22 h 48"/>
                <a:gd name="T36" fmla="*/ 126 w 153"/>
                <a:gd name="T37" fmla="*/ 33 h 48"/>
                <a:gd name="T38" fmla="*/ 131 w 153"/>
                <a:gd name="T39" fmla="*/ 18 h 48"/>
                <a:gd name="T40" fmla="*/ 118 w 153"/>
                <a:gd name="T41" fmla="*/ 22 h 48"/>
                <a:gd name="T42" fmla="*/ 118 w 153"/>
                <a:gd name="T43" fmla="*/ 25 h 48"/>
                <a:gd name="T44" fmla="*/ 112 w 153"/>
                <a:gd name="T45" fmla="*/ 18 h 48"/>
                <a:gd name="T46" fmla="*/ 107 w 153"/>
                <a:gd name="T47" fmla="*/ 25 h 48"/>
                <a:gd name="T48" fmla="*/ 104 w 153"/>
                <a:gd name="T49" fmla="*/ 18 h 48"/>
                <a:gd name="T50" fmla="*/ 102 w 153"/>
                <a:gd name="T51" fmla="*/ 25 h 48"/>
                <a:gd name="T52" fmla="*/ 102 w 153"/>
                <a:gd name="T53" fmla="*/ 18 h 48"/>
                <a:gd name="T54" fmla="*/ 88 w 153"/>
                <a:gd name="T55" fmla="*/ 29 h 48"/>
                <a:gd name="T56" fmla="*/ 91 w 153"/>
                <a:gd name="T57" fmla="*/ 10 h 48"/>
                <a:gd name="T58" fmla="*/ 72 w 153"/>
                <a:gd name="T59" fmla="*/ 18 h 48"/>
                <a:gd name="T60" fmla="*/ 75 w 153"/>
                <a:gd name="T61" fmla="*/ 18 h 48"/>
                <a:gd name="T62" fmla="*/ 83 w 153"/>
                <a:gd name="T63" fmla="*/ 14 h 48"/>
                <a:gd name="T64" fmla="*/ 85 w 153"/>
                <a:gd name="T65" fmla="*/ 25 h 48"/>
                <a:gd name="T66" fmla="*/ 32 w 153"/>
                <a:gd name="T67" fmla="*/ 25 h 48"/>
                <a:gd name="T68" fmla="*/ 24 w 153"/>
                <a:gd name="T69" fmla="*/ 18 h 48"/>
                <a:gd name="T70" fmla="*/ 21 w 153"/>
                <a:gd name="T71" fmla="*/ 10 h 48"/>
                <a:gd name="T72" fmla="*/ 13 w 153"/>
                <a:gd name="T73" fmla="*/ 18 h 48"/>
                <a:gd name="T74" fmla="*/ 7 w 153"/>
                <a:gd name="T75" fmla="*/ 2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3" h="48">
                  <a:moveTo>
                    <a:pt x="7" y="25"/>
                  </a:moveTo>
                  <a:cubicBezTo>
                    <a:pt x="8" y="22"/>
                    <a:pt x="10" y="21"/>
                    <a:pt x="13" y="22"/>
                  </a:cubicBezTo>
                  <a:cubicBezTo>
                    <a:pt x="12" y="34"/>
                    <a:pt x="27" y="35"/>
                    <a:pt x="32" y="29"/>
                  </a:cubicBezTo>
                  <a:cubicBezTo>
                    <a:pt x="29" y="39"/>
                    <a:pt x="37" y="33"/>
                    <a:pt x="37" y="33"/>
                  </a:cubicBezTo>
                  <a:cubicBezTo>
                    <a:pt x="37" y="33"/>
                    <a:pt x="37" y="36"/>
                    <a:pt x="37" y="36"/>
                  </a:cubicBezTo>
                  <a:cubicBezTo>
                    <a:pt x="46" y="38"/>
                    <a:pt x="64" y="39"/>
                    <a:pt x="69" y="40"/>
                  </a:cubicBezTo>
                  <a:cubicBezTo>
                    <a:pt x="84" y="43"/>
                    <a:pt x="84" y="41"/>
                    <a:pt x="94" y="40"/>
                  </a:cubicBezTo>
                  <a:cubicBezTo>
                    <a:pt x="99" y="39"/>
                    <a:pt x="101" y="40"/>
                    <a:pt x="104" y="36"/>
                  </a:cubicBezTo>
                  <a:cubicBezTo>
                    <a:pt x="106" y="35"/>
                    <a:pt x="113" y="37"/>
                    <a:pt x="115" y="36"/>
                  </a:cubicBezTo>
                  <a:cubicBezTo>
                    <a:pt x="115" y="36"/>
                    <a:pt x="115" y="33"/>
                    <a:pt x="115" y="33"/>
                  </a:cubicBezTo>
                  <a:cubicBezTo>
                    <a:pt x="116" y="31"/>
                    <a:pt x="124" y="34"/>
                    <a:pt x="123" y="36"/>
                  </a:cubicBezTo>
                  <a:cubicBezTo>
                    <a:pt x="120" y="37"/>
                    <a:pt x="115" y="36"/>
                    <a:pt x="115" y="40"/>
                  </a:cubicBezTo>
                  <a:cubicBezTo>
                    <a:pt x="121" y="48"/>
                    <a:pt x="126" y="39"/>
                    <a:pt x="131" y="36"/>
                  </a:cubicBezTo>
                  <a:cubicBezTo>
                    <a:pt x="136" y="43"/>
                    <a:pt x="136" y="36"/>
                    <a:pt x="139" y="40"/>
                  </a:cubicBezTo>
                  <a:cubicBezTo>
                    <a:pt x="141" y="43"/>
                    <a:pt x="148" y="38"/>
                    <a:pt x="150" y="40"/>
                  </a:cubicBezTo>
                  <a:cubicBezTo>
                    <a:pt x="151" y="37"/>
                    <a:pt x="150" y="33"/>
                    <a:pt x="153" y="33"/>
                  </a:cubicBezTo>
                  <a:cubicBezTo>
                    <a:pt x="148" y="26"/>
                    <a:pt x="149" y="33"/>
                    <a:pt x="142" y="33"/>
                  </a:cubicBezTo>
                  <a:cubicBezTo>
                    <a:pt x="137" y="24"/>
                    <a:pt x="143" y="29"/>
                    <a:pt x="145" y="22"/>
                  </a:cubicBezTo>
                  <a:cubicBezTo>
                    <a:pt x="135" y="18"/>
                    <a:pt x="130" y="40"/>
                    <a:pt x="126" y="33"/>
                  </a:cubicBezTo>
                  <a:cubicBezTo>
                    <a:pt x="122" y="21"/>
                    <a:pt x="134" y="30"/>
                    <a:pt x="131" y="18"/>
                  </a:cubicBezTo>
                  <a:cubicBezTo>
                    <a:pt x="123" y="19"/>
                    <a:pt x="121" y="15"/>
                    <a:pt x="118" y="22"/>
                  </a:cubicBezTo>
                  <a:cubicBezTo>
                    <a:pt x="118" y="22"/>
                    <a:pt x="122" y="24"/>
                    <a:pt x="118" y="25"/>
                  </a:cubicBezTo>
                  <a:cubicBezTo>
                    <a:pt x="118" y="25"/>
                    <a:pt x="114" y="17"/>
                    <a:pt x="112" y="18"/>
                  </a:cubicBezTo>
                  <a:cubicBezTo>
                    <a:pt x="111" y="18"/>
                    <a:pt x="112" y="30"/>
                    <a:pt x="107" y="25"/>
                  </a:cubicBezTo>
                  <a:cubicBezTo>
                    <a:pt x="106" y="22"/>
                    <a:pt x="107" y="18"/>
                    <a:pt x="104" y="18"/>
                  </a:cubicBezTo>
                  <a:cubicBezTo>
                    <a:pt x="104" y="20"/>
                    <a:pt x="104" y="26"/>
                    <a:pt x="102" y="25"/>
                  </a:cubicBezTo>
                  <a:cubicBezTo>
                    <a:pt x="101" y="25"/>
                    <a:pt x="102" y="18"/>
                    <a:pt x="102" y="18"/>
                  </a:cubicBezTo>
                  <a:cubicBezTo>
                    <a:pt x="96" y="14"/>
                    <a:pt x="96" y="25"/>
                    <a:pt x="88" y="29"/>
                  </a:cubicBezTo>
                  <a:cubicBezTo>
                    <a:pt x="89" y="25"/>
                    <a:pt x="99" y="15"/>
                    <a:pt x="91" y="10"/>
                  </a:cubicBezTo>
                  <a:cubicBezTo>
                    <a:pt x="87" y="22"/>
                    <a:pt x="73" y="0"/>
                    <a:pt x="72" y="18"/>
                  </a:cubicBezTo>
                  <a:cubicBezTo>
                    <a:pt x="75" y="19"/>
                    <a:pt x="78" y="22"/>
                    <a:pt x="75" y="18"/>
                  </a:cubicBezTo>
                  <a:cubicBezTo>
                    <a:pt x="75" y="14"/>
                    <a:pt x="79" y="14"/>
                    <a:pt x="83" y="14"/>
                  </a:cubicBezTo>
                  <a:cubicBezTo>
                    <a:pt x="83" y="19"/>
                    <a:pt x="84" y="22"/>
                    <a:pt x="85" y="25"/>
                  </a:cubicBezTo>
                  <a:cubicBezTo>
                    <a:pt x="61" y="26"/>
                    <a:pt x="50" y="22"/>
                    <a:pt x="32" y="25"/>
                  </a:cubicBezTo>
                  <a:cubicBezTo>
                    <a:pt x="28" y="24"/>
                    <a:pt x="27" y="19"/>
                    <a:pt x="24" y="18"/>
                  </a:cubicBezTo>
                  <a:cubicBezTo>
                    <a:pt x="23" y="24"/>
                    <a:pt x="20" y="18"/>
                    <a:pt x="21" y="10"/>
                  </a:cubicBezTo>
                  <a:cubicBezTo>
                    <a:pt x="16" y="9"/>
                    <a:pt x="16" y="15"/>
                    <a:pt x="13" y="18"/>
                  </a:cubicBezTo>
                  <a:cubicBezTo>
                    <a:pt x="14" y="8"/>
                    <a:pt x="0" y="26"/>
                    <a:pt x="7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6" name="Freeform 138"/>
            <p:cNvSpPr>
              <a:spLocks/>
            </p:cNvSpPr>
            <p:nvPr userDrawn="1"/>
          </p:nvSpPr>
          <p:spPr bwMode="auto">
            <a:xfrm>
              <a:off x="5439676" y="1792433"/>
              <a:ext cx="116898" cy="67183"/>
            </a:xfrm>
            <a:custGeom>
              <a:avLst/>
              <a:gdLst>
                <a:gd name="T0" fmla="*/ 24 w 37"/>
                <a:gd name="T1" fmla="*/ 15 h 21"/>
                <a:gd name="T2" fmla="*/ 35 w 37"/>
                <a:gd name="T3" fmla="*/ 19 h 21"/>
                <a:gd name="T4" fmla="*/ 37 w 37"/>
                <a:gd name="T5" fmla="*/ 4 h 21"/>
                <a:gd name="T6" fmla="*/ 16 w 37"/>
                <a:gd name="T7" fmla="*/ 12 h 21"/>
                <a:gd name="T8" fmla="*/ 10 w 37"/>
                <a:gd name="T9" fmla="*/ 8 h 21"/>
                <a:gd name="T10" fmla="*/ 8 w 37"/>
                <a:gd name="T11" fmla="*/ 12 h 21"/>
                <a:gd name="T12" fmla="*/ 0 w 37"/>
                <a:gd name="T13" fmla="*/ 12 h 21"/>
                <a:gd name="T14" fmla="*/ 0 w 37"/>
                <a:gd name="T15" fmla="*/ 19 h 21"/>
                <a:gd name="T16" fmla="*/ 24 w 37"/>
                <a:gd name="T1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21">
                  <a:moveTo>
                    <a:pt x="24" y="15"/>
                  </a:moveTo>
                  <a:cubicBezTo>
                    <a:pt x="28" y="16"/>
                    <a:pt x="29" y="21"/>
                    <a:pt x="35" y="19"/>
                  </a:cubicBezTo>
                  <a:cubicBezTo>
                    <a:pt x="34" y="13"/>
                    <a:pt x="35" y="8"/>
                    <a:pt x="37" y="4"/>
                  </a:cubicBezTo>
                  <a:cubicBezTo>
                    <a:pt x="27" y="0"/>
                    <a:pt x="22" y="10"/>
                    <a:pt x="16" y="12"/>
                  </a:cubicBezTo>
                  <a:cubicBezTo>
                    <a:pt x="13" y="12"/>
                    <a:pt x="13" y="8"/>
                    <a:pt x="10" y="8"/>
                  </a:cubicBezTo>
                  <a:cubicBezTo>
                    <a:pt x="11" y="8"/>
                    <a:pt x="9" y="11"/>
                    <a:pt x="8" y="12"/>
                  </a:cubicBezTo>
                  <a:cubicBezTo>
                    <a:pt x="7" y="12"/>
                    <a:pt x="0" y="12"/>
                    <a:pt x="0" y="12"/>
                  </a:cubicBezTo>
                  <a:cubicBezTo>
                    <a:pt x="0" y="12"/>
                    <a:pt x="0" y="19"/>
                    <a:pt x="0" y="19"/>
                  </a:cubicBezTo>
                  <a:cubicBezTo>
                    <a:pt x="7" y="19"/>
                    <a:pt x="15" y="14"/>
                    <a:pt x="2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7" name="Freeform 139"/>
            <p:cNvSpPr>
              <a:spLocks/>
            </p:cNvSpPr>
            <p:nvPr userDrawn="1"/>
          </p:nvSpPr>
          <p:spPr bwMode="auto">
            <a:xfrm>
              <a:off x="9003041" y="1796464"/>
              <a:ext cx="149145" cy="139740"/>
            </a:xfrm>
            <a:custGeom>
              <a:avLst/>
              <a:gdLst>
                <a:gd name="T0" fmla="*/ 36 w 47"/>
                <a:gd name="T1" fmla="*/ 11 h 44"/>
                <a:gd name="T2" fmla="*/ 36 w 47"/>
                <a:gd name="T3" fmla="*/ 3 h 44"/>
                <a:gd name="T4" fmla="*/ 25 w 47"/>
                <a:gd name="T5" fmla="*/ 0 h 44"/>
                <a:gd name="T6" fmla="*/ 22 w 47"/>
                <a:gd name="T7" fmla="*/ 18 h 44"/>
                <a:gd name="T8" fmla="*/ 9 w 47"/>
                <a:gd name="T9" fmla="*/ 18 h 44"/>
                <a:gd name="T10" fmla="*/ 6 w 47"/>
                <a:gd name="T11" fmla="*/ 18 h 44"/>
                <a:gd name="T12" fmla="*/ 14 w 47"/>
                <a:gd name="T13" fmla="*/ 44 h 44"/>
                <a:gd name="T14" fmla="*/ 19 w 47"/>
                <a:gd name="T15" fmla="*/ 26 h 44"/>
                <a:gd name="T16" fmla="*/ 30 w 47"/>
                <a:gd name="T17" fmla="*/ 29 h 44"/>
                <a:gd name="T18" fmla="*/ 46 w 47"/>
                <a:gd name="T19" fmla="*/ 18 h 44"/>
                <a:gd name="T20" fmla="*/ 36 w 47"/>
                <a:gd name="T21" fmla="*/ 1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44">
                  <a:moveTo>
                    <a:pt x="36" y="11"/>
                  </a:moveTo>
                  <a:cubicBezTo>
                    <a:pt x="35" y="9"/>
                    <a:pt x="36" y="4"/>
                    <a:pt x="36" y="3"/>
                  </a:cubicBezTo>
                  <a:cubicBezTo>
                    <a:pt x="33" y="0"/>
                    <a:pt x="26" y="5"/>
                    <a:pt x="25" y="0"/>
                  </a:cubicBezTo>
                  <a:cubicBezTo>
                    <a:pt x="17" y="6"/>
                    <a:pt x="28" y="18"/>
                    <a:pt x="22" y="18"/>
                  </a:cubicBezTo>
                  <a:cubicBezTo>
                    <a:pt x="22" y="10"/>
                    <a:pt x="15" y="23"/>
                    <a:pt x="9" y="18"/>
                  </a:cubicBezTo>
                  <a:cubicBezTo>
                    <a:pt x="9" y="16"/>
                    <a:pt x="7" y="14"/>
                    <a:pt x="6" y="18"/>
                  </a:cubicBezTo>
                  <a:cubicBezTo>
                    <a:pt x="18" y="21"/>
                    <a:pt x="0" y="42"/>
                    <a:pt x="14" y="44"/>
                  </a:cubicBezTo>
                  <a:cubicBezTo>
                    <a:pt x="19" y="44"/>
                    <a:pt x="9" y="25"/>
                    <a:pt x="19" y="26"/>
                  </a:cubicBezTo>
                  <a:cubicBezTo>
                    <a:pt x="20" y="31"/>
                    <a:pt x="26" y="29"/>
                    <a:pt x="30" y="29"/>
                  </a:cubicBezTo>
                  <a:cubicBezTo>
                    <a:pt x="26" y="14"/>
                    <a:pt x="47" y="29"/>
                    <a:pt x="46" y="18"/>
                  </a:cubicBezTo>
                  <a:cubicBezTo>
                    <a:pt x="44" y="16"/>
                    <a:pt x="36" y="15"/>
                    <a:pt x="3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8" name="Freeform 140"/>
            <p:cNvSpPr>
              <a:spLocks/>
            </p:cNvSpPr>
            <p:nvPr userDrawn="1"/>
          </p:nvSpPr>
          <p:spPr bwMode="auto">
            <a:xfrm>
              <a:off x="5772902" y="1805869"/>
              <a:ext cx="40310" cy="41653"/>
            </a:xfrm>
            <a:custGeom>
              <a:avLst/>
              <a:gdLst>
                <a:gd name="T0" fmla="*/ 13 w 13"/>
                <a:gd name="T1" fmla="*/ 4 h 13"/>
                <a:gd name="T2" fmla="*/ 0 w 13"/>
                <a:gd name="T3" fmla="*/ 4 h 13"/>
                <a:gd name="T4" fmla="*/ 13 w 13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13" y="4"/>
                  </a:moveTo>
                  <a:cubicBezTo>
                    <a:pt x="8" y="2"/>
                    <a:pt x="0" y="0"/>
                    <a:pt x="0" y="4"/>
                  </a:cubicBezTo>
                  <a:cubicBezTo>
                    <a:pt x="1" y="6"/>
                    <a:pt x="12" y="13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79" name="Freeform 141"/>
            <p:cNvSpPr>
              <a:spLocks/>
            </p:cNvSpPr>
            <p:nvPr userDrawn="1"/>
          </p:nvSpPr>
          <p:spPr bwMode="auto">
            <a:xfrm>
              <a:off x="8429301" y="1770934"/>
              <a:ext cx="30904" cy="104805"/>
            </a:xfrm>
            <a:custGeom>
              <a:avLst/>
              <a:gdLst>
                <a:gd name="T0" fmla="*/ 10 w 10"/>
                <a:gd name="T1" fmla="*/ 30 h 33"/>
                <a:gd name="T2" fmla="*/ 4 w 10"/>
                <a:gd name="T3" fmla="*/ 19 h 33"/>
                <a:gd name="T4" fmla="*/ 10 w 10"/>
                <a:gd name="T5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33">
                  <a:moveTo>
                    <a:pt x="10" y="30"/>
                  </a:moveTo>
                  <a:cubicBezTo>
                    <a:pt x="10" y="22"/>
                    <a:pt x="6" y="22"/>
                    <a:pt x="4" y="19"/>
                  </a:cubicBezTo>
                  <a:cubicBezTo>
                    <a:pt x="0" y="0"/>
                    <a:pt x="1" y="33"/>
                    <a:pt x="1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0" name="Freeform 142"/>
            <p:cNvSpPr>
              <a:spLocks/>
            </p:cNvSpPr>
            <p:nvPr userDrawn="1"/>
          </p:nvSpPr>
          <p:spPr bwMode="auto">
            <a:xfrm>
              <a:off x="8485735" y="1817962"/>
              <a:ext cx="25529" cy="67183"/>
            </a:xfrm>
            <a:custGeom>
              <a:avLst/>
              <a:gdLst>
                <a:gd name="T0" fmla="*/ 5 w 8"/>
                <a:gd name="T1" fmla="*/ 7 h 21"/>
                <a:gd name="T2" fmla="*/ 8 w 8"/>
                <a:gd name="T3" fmla="*/ 0 h 21"/>
                <a:gd name="T4" fmla="*/ 2 w 8"/>
                <a:gd name="T5" fmla="*/ 7 h 21"/>
                <a:gd name="T6" fmla="*/ 5 w 8"/>
                <a:gd name="T7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1">
                  <a:moveTo>
                    <a:pt x="5" y="7"/>
                  </a:moveTo>
                  <a:cubicBezTo>
                    <a:pt x="7" y="7"/>
                    <a:pt x="8" y="4"/>
                    <a:pt x="8" y="0"/>
                  </a:cubicBezTo>
                  <a:cubicBezTo>
                    <a:pt x="4" y="0"/>
                    <a:pt x="5" y="6"/>
                    <a:pt x="2" y="7"/>
                  </a:cubicBezTo>
                  <a:cubicBezTo>
                    <a:pt x="0" y="21"/>
                    <a:pt x="7" y="21"/>
                    <a:pt x="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1" name="Freeform 143"/>
            <p:cNvSpPr>
              <a:spLocks/>
            </p:cNvSpPr>
            <p:nvPr userDrawn="1"/>
          </p:nvSpPr>
          <p:spPr bwMode="auto">
            <a:xfrm>
              <a:off x="8651004" y="1817962"/>
              <a:ext cx="142427" cy="139740"/>
            </a:xfrm>
            <a:custGeom>
              <a:avLst/>
              <a:gdLst>
                <a:gd name="T0" fmla="*/ 9 w 45"/>
                <a:gd name="T1" fmla="*/ 37 h 44"/>
                <a:gd name="T2" fmla="*/ 20 w 45"/>
                <a:gd name="T3" fmla="*/ 33 h 44"/>
                <a:gd name="T4" fmla="*/ 17 w 45"/>
                <a:gd name="T5" fmla="*/ 30 h 44"/>
                <a:gd name="T6" fmla="*/ 31 w 45"/>
                <a:gd name="T7" fmla="*/ 30 h 44"/>
                <a:gd name="T8" fmla="*/ 36 w 45"/>
                <a:gd name="T9" fmla="*/ 44 h 44"/>
                <a:gd name="T10" fmla="*/ 36 w 45"/>
                <a:gd name="T11" fmla="*/ 0 h 44"/>
                <a:gd name="T12" fmla="*/ 17 w 45"/>
                <a:gd name="T13" fmla="*/ 22 h 44"/>
                <a:gd name="T14" fmla="*/ 1 w 45"/>
                <a:gd name="T15" fmla="*/ 19 h 44"/>
                <a:gd name="T16" fmla="*/ 9 w 45"/>
                <a:gd name="T17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44">
                  <a:moveTo>
                    <a:pt x="9" y="37"/>
                  </a:moveTo>
                  <a:cubicBezTo>
                    <a:pt x="10" y="24"/>
                    <a:pt x="21" y="44"/>
                    <a:pt x="20" y="33"/>
                  </a:cubicBezTo>
                  <a:cubicBezTo>
                    <a:pt x="19" y="33"/>
                    <a:pt x="17" y="33"/>
                    <a:pt x="17" y="30"/>
                  </a:cubicBezTo>
                  <a:cubicBezTo>
                    <a:pt x="20" y="19"/>
                    <a:pt x="26" y="32"/>
                    <a:pt x="31" y="30"/>
                  </a:cubicBezTo>
                  <a:cubicBezTo>
                    <a:pt x="30" y="38"/>
                    <a:pt x="32" y="43"/>
                    <a:pt x="36" y="44"/>
                  </a:cubicBezTo>
                  <a:cubicBezTo>
                    <a:pt x="29" y="30"/>
                    <a:pt x="45" y="15"/>
                    <a:pt x="36" y="0"/>
                  </a:cubicBezTo>
                  <a:cubicBezTo>
                    <a:pt x="26" y="1"/>
                    <a:pt x="24" y="15"/>
                    <a:pt x="17" y="22"/>
                  </a:cubicBezTo>
                  <a:cubicBezTo>
                    <a:pt x="8" y="21"/>
                    <a:pt x="11" y="12"/>
                    <a:pt x="1" y="19"/>
                  </a:cubicBezTo>
                  <a:cubicBezTo>
                    <a:pt x="0" y="30"/>
                    <a:pt x="5" y="34"/>
                    <a:pt x="9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2" name="Freeform 144"/>
            <p:cNvSpPr>
              <a:spLocks/>
            </p:cNvSpPr>
            <p:nvPr userDrawn="1"/>
          </p:nvSpPr>
          <p:spPr bwMode="auto">
            <a:xfrm>
              <a:off x="5568667" y="1917392"/>
              <a:ext cx="48371" cy="30904"/>
            </a:xfrm>
            <a:custGeom>
              <a:avLst/>
              <a:gdLst>
                <a:gd name="T0" fmla="*/ 10 w 15"/>
                <a:gd name="T1" fmla="*/ 6 h 10"/>
                <a:gd name="T2" fmla="*/ 15 w 15"/>
                <a:gd name="T3" fmla="*/ 10 h 10"/>
                <a:gd name="T4" fmla="*/ 10 w 15"/>
                <a:gd name="T5" fmla="*/ 2 h 10"/>
                <a:gd name="T6" fmla="*/ 10 w 15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0">
                  <a:moveTo>
                    <a:pt x="10" y="6"/>
                  </a:moveTo>
                  <a:cubicBezTo>
                    <a:pt x="10" y="9"/>
                    <a:pt x="12" y="10"/>
                    <a:pt x="15" y="10"/>
                  </a:cubicBezTo>
                  <a:cubicBezTo>
                    <a:pt x="15" y="5"/>
                    <a:pt x="10" y="6"/>
                    <a:pt x="10" y="2"/>
                  </a:cubicBezTo>
                  <a:cubicBezTo>
                    <a:pt x="0" y="0"/>
                    <a:pt x="0" y="9"/>
                    <a:pt x="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3" name="Freeform 145"/>
            <p:cNvSpPr>
              <a:spLocks/>
            </p:cNvSpPr>
            <p:nvPr userDrawn="1"/>
          </p:nvSpPr>
          <p:spPr bwMode="auto">
            <a:xfrm>
              <a:off x="6854541" y="1948296"/>
              <a:ext cx="92712" cy="158551"/>
            </a:xfrm>
            <a:custGeom>
              <a:avLst/>
              <a:gdLst>
                <a:gd name="T0" fmla="*/ 14 w 29"/>
                <a:gd name="T1" fmla="*/ 40 h 50"/>
                <a:gd name="T2" fmla="*/ 5 w 29"/>
                <a:gd name="T3" fmla="*/ 33 h 50"/>
                <a:gd name="T4" fmla="*/ 27 w 29"/>
                <a:gd name="T5" fmla="*/ 37 h 50"/>
                <a:gd name="T6" fmla="*/ 19 w 29"/>
                <a:gd name="T7" fmla="*/ 22 h 50"/>
                <a:gd name="T8" fmla="*/ 19 w 29"/>
                <a:gd name="T9" fmla="*/ 7 h 50"/>
                <a:gd name="T10" fmla="*/ 5 w 29"/>
                <a:gd name="T11" fmla="*/ 0 h 50"/>
                <a:gd name="T12" fmla="*/ 3 w 29"/>
                <a:gd name="T13" fmla="*/ 14 h 50"/>
                <a:gd name="T14" fmla="*/ 11 w 29"/>
                <a:gd name="T15" fmla="*/ 26 h 50"/>
                <a:gd name="T16" fmla="*/ 3 w 29"/>
                <a:gd name="T17" fmla="*/ 18 h 50"/>
                <a:gd name="T18" fmla="*/ 14 w 29"/>
                <a:gd name="T19" fmla="*/ 4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50">
                  <a:moveTo>
                    <a:pt x="14" y="40"/>
                  </a:moveTo>
                  <a:cubicBezTo>
                    <a:pt x="10" y="39"/>
                    <a:pt x="7" y="36"/>
                    <a:pt x="5" y="33"/>
                  </a:cubicBezTo>
                  <a:cubicBezTo>
                    <a:pt x="13" y="30"/>
                    <a:pt x="19" y="29"/>
                    <a:pt x="27" y="37"/>
                  </a:cubicBezTo>
                  <a:cubicBezTo>
                    <a:pt x="29" y="25"/>
                    <a:pt x="20" y="29"/>
                    <a:pt x="19" y="22"/>
                  </a:cubicBezTo>
                  <a:cubicBezTo>
                    <a:pt x="19" y="17"/>
                    <a:pt x="19" y="12"/>
                    <a:pt x="19" y="7"/>
                  </a:cubicBezTo>
                  <a:cubicBezTo>
                    <a:pt x="10" y="10"/>
                    <a:pt x="11" y="1"/>
                    <a:pt x="5" y="0"/>
                  </a:cubicBezTo>
                  <a:cubicBezTo>
                    <a:pt x="6" y="6"/>
                    <a:pt x="5" y="11"/>
                    <a:pt x="3" y="14"/>
                  </a:cubicBezTo>
                  <a:cubicBezTo>
                    <a:pt x="10" y="12"/>
                    <a:pt x="12" y="16"/>
                    <a:pt x="11" y="26"/>
                  </a:cubicBezTo>
                  <a:cubicBezTo>
                    <a:pt x="7" y="25"/>
                    <a:pt x="6" y="19"/>
                    <a:pt x="3" y="18"/>
                  </a:cubicBezTo>
                  <a:cubicBezTo>
                    <a:pt x="0" y="32"/>
                    <a:pt x="8" y="50"/>
                    <a:pt x="14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4" name="Freeform 146"/>
            <p:cNvSpPr>
              <a:spLocks/>
            </p:cNvSpPr>
            <p:nvPr userDrawn="1"/>
          </p:nvSpPr>
          <p:spPr bwMode="auto">
            <a:xfrm>
              <a:off x="6385607" y="1989949"/>
              <a:ext cx="56433" cy="47028"/>
            </a:xfrm>
            <a:custGeom>
              <a:avLst/>
              <a:gdLst>
                <a:gd name="T0" fmla="*/ 6 w 18"/>
                <a:gd name="T1" fmla="*/ 13 h 15"/>
                <a:gd name="T2" fmla="*/ 14 w 18"/>
                <a:gd name="T3" fmla="*/ 1 h 15"/>
                <a:gd name="T4" fmla="*/ 6 w 18"/>
                <a:gd name="T5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5">
                  <a:moveTo>
                    <a:pt x="6" y="13"/>
                  </a:moveTo>
                  <a:cubicBezTo>
                    <a:pt x="4" y="4"/>
                    <a:pt x="18" y="15"/>
                    <a:pt x="14" y="1"/>
                  </a:cubicBezTo>
                  <a:cubicBezTo>
                    <a:pt x="8" y="0"/>
                    <a:pt x="0" y="11"/>
                    <a:pt x="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5" name="Freeform 147"/>
            <p:cNvSpPr>
              <a:spLocks/>
            </p:cNvSpPr>
            <p:nvPr userDrawn="1"/>
          </p:nvSpPr>
          <p:spPr bwMode="auto">
            <a:xfrm>
              <a:off x="7387971" y="2204934"/>
              <a:ext cx="47028" cy="48371"/>
            </a:xfrm>
            <a:custGeom>
              <a:avLst/>
              <a:gdLst>
                <a:gd name="T0" fmla="*/ 15 w 15"/>
                <a:gd name="T1" fmla="*/ 0 h 15"/>
                <a:gd name="T2" fmla="*/ 1 w 15"/>
                <a:gd name="T3" fmla="*/ 0 h 15"/>
                <a:gd name="T4" fmla="*/ 15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5" y="0"/>
                  </a:moveTo>
                  <a:cubicBezTo>
                    <a:pt x="8" y="0"/>
                    <a:pt x="7" y="7"/>
                    <a:pt x="1" y="0"/>
                  </a:cubicBezTo>
                  <a:cubicBezTo>
                    <a:pt x="0" y="15"/>
                    <a:pt x="14" y="5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6" name="Freeform 148"/>
            <p:cNvSpPr>
              <a:spLocks/>
            </p:cNvSpPr>
            <p:nvPr userDrawn="1"/>
          </p:nvSpPr>
          <p:spPr bwMode="auto">
            <a:xfrm>
              <a:off x="3808483" y="3544555"/>
              <a:ext cx="44341" cy="57777"/>
            </a:xfrm>
            <a:custGeom>
              <a:avLst/>
              <a:gdLst>
                <a:gd name="T0" fmla="*/ 11 w 14"/>
                <a:gd name="T1" fmla="*/ 3 h 18"/>
                <a:gd name="T2" fmla="*/ 13 w 14"/>
                <a:gd name="T3" fmla="*/ 0 h 18"/>
                <a:gd name="T4" fmla="*/ 0 w 14"/>
                <a:gd name="T5" fmla="*/ 14 h 18"/>
                <a:gd name="T6" fmla="*/ 11 w 14"/>
                <a:gd name="T7" fmla="*/ 18 h 18"/>
                <a:gd name="T8" fmla="*/ 11 w 14"/>
                <a:gd name="T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8">
                  <a:moveTo>
                    <a:pt x="11" y="3"/>
                  </a:moveTo>
                  <a:cubicBezTo>
                    <a:pt x="11" y="7"/>
                    <a:pt x="14" y="6"/>
                    <a:pt x="13" y="0"/>
                  </a:cubicBezTo>
                  <a:cubicBezTo>
                    <a:pt x="7" y="2"/>
                    <a:pt x="0" y="3"/>
                    <a:pt x="0" y="14"/>
                  </a:cubicBezTo>
                  <a:cubicBezTo>
                    <a:pt x="5" y="14"/>
                    <a:pt x="8" y="15"/>
                    <a:pt x="11" y="18"/>
                  </a:cubicBezTo>
                  <a:cubicBezTo>
                    <a:pt x="13" y="11"/>
                    <a:pt x="3" y="6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7" name="Freeform 149"/>
            <p:cNvSpPr>
              <a:spLocks/>
            </p:cNvSpPr>
            <p:nvPr userDrawn="1"/>
          </p:nvSpPr>
          <p:spPr bwMode="auto">
            <a:xfrm>
              <a:off x="2630100" y="3649360"/>
              <a:ext cx="79275" cy="48371"/>
            </a:xfrm>
            <a:custGeom>
              <a:avLst/>
              <a:gdLst>
                <a:gd name="T0" fmla="*/ 5 w 25"/>
                <a:gd name="T1" fmla="*/ 11 h 15"/>
                <a:gd name="T2" fmla="*/ 0 w 25"/>
                <a:gd name="T3" fmla="*/ 7 h 15"/>
                <a:gd name="T4" fmla="*/ 5 w 25"/>
                <a:gd name="T5" fmla="*/ 15 h 15"/>
                <a:gd name="T6" fmla="*/ 5 w 25"/>
                <a:gd name="T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5">
                  <a:moveTo>
                    <a:pt x="5" y="11"/>
                  </a:moveTo>
                  <a:cubicBezTo>
                    <a:pt x="4" y="10"/>
                    <a:pt x="2" y="0"/>
                    <a:pt x="0" y="7"/>
                  </a:cubicBezTo>
                  <a:cubicBezTo>
                    <a:pt x="3" y="8"/>
                    <a:pt x="4" y="11"/>
                    <a:pt x="5" y="15"/>
                  </a:cubicBezTo>
                  <a:cubicBezTo>
                    <a:pt x="25" y="12"/>
                    <a:pt x="12" y="15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8" name="Freeform 150"/>
            <p:cNvSpPr>
              <a:spLocks/>
            </p:cNvSpPr>
            <p:nvPr userDrawn="1"/>
          </p:nvSpPr>
          <p:spPr bwMode="auto">
            <a:xfrm>
              <a:off x="3074849" y="4150542"/>
              <a:ext cx="44341" cy="108836"/>
            </a:xfrm>
            <a:custGeom>
              <a:avLst/>
              <a:gdLst>
                <a:gd name="T0" fmla="*/ 5 w 14"/>
                <a:gd name="T1" fmla="*/ 27 h 34"/>
                <a:gd name="T2" fmla="*/ 2 w 14"/>
                <a:gd name="T3" fmla="*/ 19 h 34"/>
                <a:gd name="T4" fmla="*/ 11 w 14"/>
                <a:gd name="T5" fmla="*/ 19 h 34"/>
                <a:gd name="T6" fmla="*/ 8 w 14"/>
                <a:gd name="T7" fmla="*/ 1 h 34"/>
                <a:gd name="T8" fmla="*/ 2 w 14"/>
                <a:gd name="T9" fmla="*/ 5 h 34"/>
                <a:gd name="T10" fmla="*/ 0 w 14"/>
                <a:gd name="T11" fmla="*/ 23 h 34"/>
                <a:gd name="T12" fmla="*/ 5 w 14"/>
                <a:gd name="T1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34">
                  <a:moveTo>
                    <a:pt x="5" y="27"/>
                  </a:moveTo>
                  <a:cubicBezTo>
                    <a:pt x="5" y="23"/>
                    <a:pt x="3" y="22"/>
                    <a:pt x="2" y="19"/>
                  </a:cubicBezTo>
                  <a:cubicBezTo>
                    <a:pt x="5" y="19"/>
                    <a:pt x="8" y="19"/>
                    <a:pt x="11" y="19"/>
                  </a:cubicBezTo>
                  <a:cubicBezTo>
                    <a:pt x="9" y="14"/>
                    <a:pt x="14" y="0"/>
                    <a:pt x="8" y="1"/>
                  </a:cubicBezTo>
                  <a:cubicBezTo>
                    <a:pt x="7" y="4"/>
                    <a:pt x="6" y="5"/>
                    <a:pt x="2" y="5"/>
                  </a:cubicBezTo>
                  <a:cubicBezTo>
                    <a:pt x="3" y="13"/>
                    <a:pt x="2" y="19"/>
                    <a:pt x="0" y="23"/>
                  </a:cubicBezTo>
                  <a:cubicBezTo>
                    <a:pt x="4" y="23"/>
                    <a:pt x="3" y="34"/>
                    <a:pt x="5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89" name="Freeform 151"/>
            <p:cNvSpPr>
              <a:spLocks/>
            </p:cNvSpPr>
            <p:nvPr userDrawn="1"/>
          </p:nvSpPr>
          <p:spPr bwMode="auto">
            <a:xfrm>
              <a:off x="3096347" y="4173384"/>
              <a:ext cx="67183" cy="85994"/>
            </a:xfrm>
            <a:custGeom>
              <a:avLst/>
              <a:gdLst>
                <a:gd name="T0" fmla="*/ 12 w 21"/>
                <a:gd name="T1" fmla="*/ 1 h 27"/>
                <a:gd name="T2" fmla="*/ 6 w 21"/>
                <a:gd name="T3" fmla="*/ 9 h 27"/>
                <a:gd name="T4" fmla="*/ 6 w 21"/>
                <a:gd name="T5" fmla="*/ 16 h 27"/>
                <a:gd name="T6" fmla="*/ 1 w 21"/>
                <a:gd name="T7" fmla="*/ 20 h 27"/>
                <a:gd name="T8" fmla="*/ 9 w 21"/>
                <a:gd name="T9" fmla="*/ 16 h 27"/>
                <a:gd name="T10" fmla="*/ 20 w 21"/>
                <a:gd name="T11" fmla="*/ 16 h 27"/>
                <a:gd name="T12" fmla="*/ 12 w 21"/>
                <a:gd name="T13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7">
                  <a:moveTo>
                    <a:pt x="12" y="1"/>
                  </a:moveTo>
                  <a:cubicBezTo>
                    <a:pt x="14" y="9"/>
                    <a:pt x="8" y="6"/>
                    <a:pt x="6" y="9"/>
                  </a:cubicBezTo>
                  <a:cubicBezTo>
                    <a:pt x="5" y="10"/>
                    <a:pt x="7" y="15"/>
                    <a:pt x="6" y="16"/>
                  </a:cubicBezTo>
                  <a:cubicBezTo>
                    <a:pt x="5" y="18"/>
                    <a:pt x="0" y="15"/>
                    <a:pt x="1" y="20"/>
                  </a:cubicBezTo>
                  <a:cubicBezTo>
                    <a:pt x="7" y="27"/>
                    <a:pt x="4" y="19"/>
                    <a:pt x="9" y="16"/>
                  </a:cubicBezTo>
                  <a:cubicBezTo>
                    <a:pt x="13" y="16"/>
                    <a:pt x="16" y="16"/>
                    <a:pt x="20" y="16"/>
                  </a:cubicBezTo>
                  <a:cubicBezTo>
                    <a:pt x="21" y="7"/>
                    <a:pt x="19" y="0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0" name="Freeform 152"/>
            <p:cNvSpPr>
              <a:spLocks/>
            </p:cNvSpPr>
            <p:nvPr userDrawn="1"/>
          </p:nvSpPr>
          <p:spPr bwMode="auto">
            <a:xfrm>
              <a:off x="2874645" y="4319842"/>
              <a:ext cx="44341" cy="100774"/>
            </a:xfrm>
            <a:custGeom>
              <a:avLst/>
              <a:gdLst>
                <a:gd name="T0" fmla="*/ 12 w 14"/>
                <a:gd name="T1" fmla="*/ 3 h 32"/>
                <a:gd name="T2" fmla="*/ 6 w 14"/>
                <a:gd name="T3" fmla="*/ 18 h 32"/>
                <a:gd name="T4" fmla="*/ 9 w 14"/>
                <a:gd name="T5" fmla="*/ 15 h 32"/>
                <a:gd name="T6" fmla="*/ 12 w 14"/>
                <a:gd name="T7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2">
                  <a:moveTo>
                    <a:pt x="12" y="3"/>
                  </a:moveTo>
                  <a:cubicBezTo>
                    <a:pt x="5" y="0"/>
                    <a:pt x="0" y="16"/>
                    <a:pt x="6" y="18"/>
                  </a:cubicBezTo>
                  <a:cubicBezTo>
                    <a:pt x="7" y="16"/>
                    <a:pt x="7" y="14"/>
                    <a:pt x="9" y="15"/>
                  </a:cubicBezTo>
                  <a:cubicBezTo>
                    <a:pt x="14" y="32"/>
                    <a:pt x="7" y="7"/>
                    <a:pt x="1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1" name="Freeform 153"/>
            <p:cNvSpPr>
              <a:spLocks/>
            </p:cNvSpPr>
            <p:nvPr userDrawn="1"/>
          </p:nvSpPr>
          <p:spPr bwMode="auto">
            <a:xfrm>
              <a:off x="2767153" y="4376275"/>
              <a:ext cx="60464" cy="48371"/>
            </a:xfrm>
            <a:custGeom>
              <a:avLst/>
              <a:gdLst>
                <a:gd name="T0" fmla="*/ 5 w 19"/>
                <a:gd name="T1" fmla="*/ 11 h 15"/>
                <a:gd name="T2" fmla="*/ 0 w 19"/>
                <a:gd name="T3" fmla="*/ 15 h 15"/>
                <a:gd name="T4" fmla="*/ 11 w 19"/>
                <a:gd name="T5" fmla="*/ 15 h 15"/>
                <a:gd name="T6" fmla="*/ 16 w 19"/>
                <a:gd name="T7" fmla="*/ 0 h 15"/>
                <a:gd name="T8" fmla="*/ 5 w 19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5" y="11"/>
                  </a:moveTo>
                  <a:cubicBezTo>
                    <a:pt x="7" y="10"/>
                    <a:pt x="0" y="7"/>
                    <a:pt x="0" y="15"/>
                  </a:cubicBezTo>
                  <a:cubicBezTo>
                    <a:pt x="4" y="15"/>
                    <a:pt x="7" y="15"/>
                    <a:pt x="11" y="15"/>
                  </a:cubicBezTo>
                  <a:cubicBezTo>
                    <a:pt x="8" y="3"/>
                    <a:pt x="19" y="12"/>
                    <a:pt x="16" y="0"/>
                  </a:cubicBezTo>
                  <a:cubicBezTo>
                    <a:pt x="9" y="2"/>
                    <a:pt x="10" y="7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2" name="Freeform 154"/>
            <p:cNvSpPr>
              <a:spLocks/>
            </p:cNvSpPr>
            <p:nvPr userDrawn="1"/>
          </p:nvSpPr>
          <p:spPr bwMode="auto">
            <a:xfrm>
              <a:off x="2842397" y="4360151"/>
              <a:ext cx="92712" cy="155864"/>
            </a:xfrm>
            <a:custGeom>
              <a:avLst/>
              <a:gdLst>
                <a:gd name="T0" fmla="*/ 16 w 29"/>
                <a:gd name="T1" fmla="*/ 27 h 49"/>
                <a:gd name="T2" fmla="*/ 11 w 29"/>
                <a:gd name="T3" fmla="*/ 13 h 49"/>
                <a:gd name="T4" fmla="*/ 0 w 29"/>
                <a:gd name="T5" fmla="*/ 13 h 49"/>
                <a:gd name="T6" fmla="*/ 8 w 29"/>
                <a:gd name="T7" fmla="*/ 31 h 49"/>
                <a:gd name="T8" fmla="*/ 6 w 29"/>
                <a:gd name="T9" fmla="*/ 46 h 49"/>
                <a:gd name="T10" fmla="*/ 14 w 29"/>
                <a:gd name="T11" fmla="*/ 31 h 49"/>
                <a:gd name="T12" fmla="*/ 24 w 29"/>
                <a:gd name="T13" fmla="*/ 27 h 49"/>
                <a:gd name="T14" fmla="*/ 27 w 29"/>
                <a:gd name="T15" fmla="*/ 31 h 49"/>
                <a:gd name="T16" fmla="*/ 16 w 29"/>
                <a:gd name="T17" fmla="*/ 2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49">
                  <a:moveTo>
                    <a:pt x="16" y="27"/>
                  </a:moveTo>
                  <a:cubicBezTo>
                    <a:pt x="11" y="21"/>
                    <a:pt x="14" y="16"/>
                    <a:pt x="11" y="13"/>
                  </a:cubicBezTo>
                  <a:cubicBezTo>
                    <a:pt x="9" y="27"/>
                    <a:pt x="1" y="0"/>
                    <a:pt x="0" y="13"/>
                  </a:cubicBezTo>
                  <a:cubicBezTo>
                    <a:pt x="4" y="17"/>
                    <a:pt x="4" y="27"/>
                    <a:pt x="8" y="31"/>
                  </a:cubicBezTo>
                  <a:cubicBezTo>
                    <a:pt x="9" y="38"/>
                    <a:pt x="8" y="43"/>
                    <a:pt x="6" y="46"/>
                  </a:cubicBezTo>
                  <a:cubicBezTo>
                    <a:pt x="18" y="49"/>
                    <a:pt x="9" y="32"/>
                    <a:pt x="14" y="31"/>
                  </a:cubicBezTo>
                  <a:cubicBezTo>
                    <a:pt x="19" y="39"/>
                    <a:pt x="21" y="32"/>
                    <a:pt x="24" y="27"/>
                  </a:cubicBezTo>
                  <a:cubicBezTo>
                    <a:pt x="25" y="30"/>
                    <a:pt x="25" y="32"/>
                    <a:pt x="27" y="31"/>
                  </a:cubicBezTo>
                  <a:cubicBezTo>
                    <a:pt x="29" y="18"/>
                    <a:pt x="18" y="25"/>
                    <a:pt x="1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3" name="Freeform 155"/>
            <p:cNvSpPr>
              <a:spLocks/>
            </p:cNvSpPr>
            <p:nvPr userDrawn="1"/>
          </p:nvSpPr>
          <p:spPr bwMode="auto">
            <a:xfrm>
              <a:off x="3156812" y="4385681"/>
              <a:ext cx="57777" cy="216328"/>
            </a:xfrm>
            <a:custGeom>
              <a:avLst/>
              <a:gdLst>
                <a:gd name="T0" fmla="*/ 11 w 18"/>
                <a:gd name="T1" fmla="*/ 12 h 68"/>
                <a:gd name="T2" fmla="*/ 1 w 18"/>
                <a:gd name="T3" fmla="*/ 12 h 68"/>
                <a:gd name="T4" fmla="*/ 3 w 18"/>
                <a:gd name="T5" fmla="*/ 16 h 68"/>
                <a:gd name="T6" fmla="*/ 1 w 18"/>
                <a:gd name="T7" fmla="*/ 27 h 68"/>
                <a:gd name="T8" fmla="*/ 9 w 18"/>
                <a:gd name="T9" fmla="*/ 19 h 68"/>
                <a:gd name="T10" fmla="*/ 11 w 18"/>
                <a:gd name="T11" fmla="*/ 38 h 68"/>
                <a:gd name="T12" fmla="*/ 6 w 18"/>
                <a:gd name="T13" fmla="*/ 60 h 68"/>
                <a:gd name="T14" fmla="*/ 6 w 18"/>
                <a:gd name="T15" fmla="*/ 68 h 68"/>
                <a:gd name="T16" fmla="*/ 14 w 18"/>
                <a:gd name="T17" fmla="*/ 56 h 68"/>
                <a:gd name="T18" fmla="*/ 14 w 18"/>
                <a:gd name="T19" fmla="*/ 34 h 68"/>
                <a:gd name="T20" fmla="*/ 11 w 18"/>
                <a:gd name="T21" fmla="*/ 1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68">
                  <a:moveTo>
                    <a:pt x="11" y="12"/>
                  </a:moveTo>
                  <a:cubicBezTo>
                    <a:pt x="9" y="26"/>
                    <a:pt x="2" y="0"/>
                    <a:pt x="1" y="12"/>
                  </a:cubicBezTo>
                  <a:cubicBezTo>
                    <a:pt x="2" y="12"/>
                    <a:pt x="4" y="13"/>
                    <a:pt x="3" y="16"/>
                  </a:cubicBezTo>
                  <a:cubicBezTo>
                    <a:pt x="3" y="20"/>
                    <a:pt x="0" y="21"/>
                    <a:pt x="1" y="27"/>
                  </a:cubicBezTo>
                  <a:cubicBezTo>
                    <a:pt x="6" y="28"/>
                    <a:pt x="6" y="22"/>
                    <a:pt x="9" y="19"/>
                  </a:cubicBezTo>
                  <a:cubicBezTo>
                    <a:pt x="8" y="28"/>
                    <a:pt x="9" y="34"/>
                    <a:pt x="11" y="38"/>
                  </a:cubicBezTo>
                  <a:cubicBezTo>
                    <a:pt x="5" y="38"/>
                    <a:pt x="6" y="50"/>
                    <a:pt x="6" y="60"/>
                  </a:cubicBezTo>
                  <a:cubicBezTo>
                    <a:pt x="6" y="64"/>
                    <a:pt x="2" y="66"/>
                    <a:pt x="6" y="68"/>
                  </a:cubicBezTo>
                  <a:cubicBezTo>
                    <a:pt x="9" y="64"/>
                    <a:pt x="11" y="60"/>
                    <a:pt x="14" y="56"/>
                  </a:cubicBezTo>
                  <a:cubicBezTo>
                    <a:pt x="12" y="46"/>
                    <a:pt x="12" y="45"/>
                    <a:pt x="14" y="34"/>
                  </a:cubicBezTo>
                  <a:cubicBezTo>
                    <a:pt x="9" y="25"/>
                    <a:pt x="18" y="19"/>
                    <a:pt x="1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4" name="Freeform 156"/>
            <p:cNvSpPr>
              <a:spLocks/>
            </p:cNvSpPr>
            <p:nvPr userDrawn="1"/>
          </p:nvSpPr>
          <p:spPr bwMode="auto">
            <a:xfrm>
              <a:off x="2709376" y="4439427"/>
              <a:ext cx="57777" cy="118241"/>
            </a:xfrm>
            <a:custGeom>
              <a:avLst/>
              <a:gdLst>
                <a:gd name="T0" fmla="*/ 7 w 18"/>
                <a:gd name="T1" fmla="*/ 2 h 37"/>
                <a:gd name="T2" fmla="*/ 2 w 18"/>
                <a:gd name="T3" fmla="*/ 17 h 37"/>
                <a:gd name="T4" fmla="*/ 10 w 18"/>
                <a:gd name="T5" fmla="*/ 32 h 37"/>
                <a:gd name="T6" fmla="*/ 13 w 18"/>
                <a:gd name="T7" fmla="*/ 36 h 37"/>
                <a:gd name="T8" fmla="*/ 15 w 18"/>
                <a:gd name="T9" fmla="*/ 17 h 37"/>
                <a:gd name="T10" fmla="*/ 15 w 18"/>
                <a:gd name="T11" fmla="*/ 10 h 37"/>
                <a:gd name="T12" fmla="*/ 18 w 18"/>
                <a:gd name="T13" fmla="*/ 10 h 37"/>
                <a:gd name="T14" fmla="*/ 7 w 18"/>
                <a:gd name="T15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37">
                  <a:moveTo>
                    <a:pt x="7" y="2"/>
                  </a:moveTo>
                  <a:cubicBezTo>
                    <a:pt x="11" y="12"/>
                    <a:pt x="11" y="28"/>
                    <a:pt x="2" y="17"/>
                  </a:cubicBezTo>
                  <a:cubicBezTo>
                    <a:pt x="0" y="29"/>
                    <a:pt x="11" y="22"/>
                    <a:pt x="10" y="32"/>
                  </a:cubicBezTo>
                  <a:cubicBezTo>
                    <a:pt x="7" y="32"/>
                    <a:pt x="8" y="37"/>
                    <a:pt x="13" y="36"/>
                  </a:cubicBezTo>
                  <a:cubicBezTo>
                    <a:pt x="12" y="27"/>
                    <a:pt x="13" y="21"/>
                    <a:pt x="15" y="17"/>
                  </a:cubicBezTo>
                  <a:cubicBezTo>
                    <a:pt x="13" y="17"/>
                    <a:pt x="12" y="11"/>
                    <a:pt x="15" y="10"/>
                  </a:cubicBezTo>
                  <a:cubicBezTo>
                    <a:pt x="15" y="12"/>
                    <a:pt x="18" y="14"/>
                    <a:pt x="18" y="10"/>
                  </a:cubicBezTo>
                  <a:cubicBezTo>
                    <a:pt x="13" y="10"/>
                    <a:pt x="15" y="0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5" name="Freeform 157"/>
            <p:cNvSpPr>
              <a:spLocks/>
            </p:cNvSpPr>
            <p:nvPr userDrawn="1"/>
          </p:nvSpPr>
          <p:spPr bwMode="auto">
            <a:xfrm>
              <a:off x="3214589" y="4446145"/>
              <a:ext cx="30904" cy="60464"/>
            </a:xfrm>
            <a:custGeom>
              <a:avLst/>
              <a:gdLst>
                <a:gd name="T0" fmla="*/ 10 w 10"/>
                <a:gd name="T1" fmla="*/ 15 h 19"/>
                <a:gd name="T2" fmla="*/ 2 w 10"/>
                <a:gd name="T3" fmla="*/ 0 h 19"/>
                <a:gd name="T4" fmla="*/ 2 w 10"/>
                <a:gd name="T5" fmla="*/ 19 h 19"/>
                <a:gd name="T6" fmla="*/ 7 w 10"/>
                <a:gd name="T7" fmla="*/ 19 h 19"/>
                <a:gd name="T8" fmla="*/ 10 w 10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9">
                  <a:moveTo>
                    <a:pt x="10" y="15"/>
                  </a:moveTo>
                  <a:cubicBezTo>
                    <a:pt x="2" y="17"/>
                    <a:pt x="7" y="1"/>
                    <a:pt x="2" y="0"/>
                  </a:cubicBezTo>
                  <a:cubicBezTo>
                    <a:pt x="0" y="12"/>
                    <a:pt x="7" y="12"/>
                    <a:pt x="2" y="19"/>
                  </a:cubicBezTo>
                  <a:cubicBezTo>
                    <a:pt x="3" y="19"/>
                    <a:pt x="5" y="19"/>
                    <a:pt x="7" y="19"/>
                  </a:cubicBezTo>
                  <a:cubicBezTo>
                    <a:pt x="9" y="19"/>
                    <a:pt x="10" y="18"/>
                    <a:pt x="1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6" name="Freeform 158"/>
            <p:cNvSpPr>
              <a:spLocks/>
            </p:cNvSpPr>
            <p:nvPr userDrawn="1"/>
          </p:nvSpPr>
          <p:spPr bwMode="auto">
            <a:xfrm>
              <a:off x="2998261" y="4427334"/>
              <a:ext cx="92712" cy="100774"/>
            </a:xfrm>
            <a:custGeom>
              <a:avLst/>
              <a:gdLst>
                <a:gd name="T0" fmla="*/ 21 w 29"/>
                <a:gd name="T1" fmla="*/ 25 h 32"/>
                <a:gd name="T2" fmla="*/ 2 w 29"/>
                <a:gd name="T3" fmla="*/ 14 h 32"/>
                <a:gd name="T4" fmla="*/ 5 w 29"/>
                <a:gd name="T5" fmla="*/ 21 h 32"/>
                <a:gd name="T6" fmla="*/ 0 w 29"/>
                <a:gd name="T7" fmla="*/ 25 h 32"/>
                <a:gd name="T8" fmla="*/ 13 w 29"/>
                <a:gd name="T9" fmla="*/ 18 h 32"/>
                <a:gd name="T10" fmla="*/ 16 w 29"/>
                <a:gd name="T11" fmla="*/ 32 h 32"/>
                <a:gd name="T12" fmla="*/ 29 w 29"/>
                <a:gd name="T13" fmla="*/ 32 h 32"/>
                <a:gd name="T14" fmla="*/ 29 w 29"/>
                <a:gd name="T15" fmla="*/ 14 h 32"/>
                <a:gd name="T16" fmla="*/ 19 w 29"/>
                <a:gd name="T17" fmla="*/ 10 h 32"/>
                <a:gd name="T18" fmla="*/ 21 w 29"/>
                <a:gd name="T19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2">
                  <a:moveTo>
                    <a:pt x="21" y="25"/>
                  </a:moveTo>
                  <a:cubicBezTo>
                    <a:pt x="15" y="24"/>
                    <a:pt x="11" y="0"/>
                    <a:pt x="2" y="14"/>
                  </a:cubicBezTo>
                  <a:cubicBezTo>
                    <a:pt x="4" y="15"/>
                    <a:pt x="5" y="17"/>
                    <a:pt x="5" y="21"/>
                  </a:cubicBezTo>
                  <a:cubicBezTo>
                    <a:pt x="3" y="22"/>
                    <a:pt x="0" y="21"/>
                    <a:pt x="0" y="25"/>
                  </a:cubicBezTo>
                  <a:cubicBezTo>
                    <a:pt x="9" y="21"/>
                    <a:pt x="8" y="26"/>
                    <a:pt x="13" y="18"/>
                  </a:cubicBezTo>
                  <a:cubicBezTo>
                    <a:pt x="13" y="24"/>
                    <a:pt x="14" y="29"/>
                    <a:pt x="16" y="32"/>
                  </a:cubicBezTo>
                  <a:cubicBezTo>
                    <a:pt x="22" y="32"/>
                    <a:pt x="24" y="25"/>
                    <a:pt x="29" y="32"/>
                  </a:cubicBezTo>
                  <a:cubicBezTo>
                    <a:pt x="29" y="26"/>
                    <a:pt x="29" y="20"/>
                    <a:pt x="29" y="14"/>
                  </a:cubicBezTo>
                  <a:cubicBezTo>
                    <a:pt x="25" y="14"/>
                    <a:pt x="21" y="13"/>
                    <a:pt x="19" y="10"/>
                  </a:cubicBezTo>
                  <a:cubicBezTo>
                    <a:pt x="15" y="19"/>
                    <a:pt x="29" y="22"/>
                    <a:pt x="21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7" name="Freeform 159"/>
            <p:cNvSpPr>
              <a:spLocks/>
            </p:cNvSpPr>
            <p:nvPr userDrawn="1"/>
          </p:nvSpPr>
          <p:spPr bwMode="auto">
            <a:xfrm>
              <a:off x="2970044" y="4494517"/>
              <a:ext cx="53746" cy="84650"/>
            </a:xfrm>
            <a:custGeom>
              <a:avLst/>
              <a:gdLst>
                <a:gd name="T0" fmla="*/ 9 w 17"/>
                <a:gd name="T1" fmla="*/ 19 h 27"/>
                <a:gd name="T2" fmla="*/ 17 w 17"/>
                <a:gd name="T3" fmla="*/ 19 h 27"/>
                <a:gd name="T4" fmla="*/ 9 w 17"/>
                <a:gd name="T5" fmla="*/ 15 h 27"/>
                <a:gd name="T6" fmla="*/ 0 w 17"/>
                <a:gd name="T7" fmla="*/ 19 h 27"/>
                <a:gd name="T8" fmla="*/ 9 w 17"/>
                <a:gd name="T9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7">
                  <a:moveTo>
                    <a:pt x="9" y="19"/>
                  </a:moveTo>
                  <a:cubicBezTo>
                    <a:pt x="9" y="27"/>
                    <a:pt x="16" y="27"/>
                    <a:pt x="17" y="19"/>
                  </a:cubicBezTo>
                  <a:cubicBezTo>
                    <a:pt x="12" y="16"/>
                    <a:pt x="3" y="0"/>
                    <a:pt x="9" y="15"/>
                  </a:cubicBezTo>
                  <a:cubicBezTo>
                    <a:pt x="5" y="16"/>
                    <a:pt x="1" y="14"/>
                    <a:pt x="0" y="19"/>
                  </a:cubicBezTo>
                  <a:cubicBezTo>
                    <a:pt x="4" y="20"/>
                    <a:pt x="5" y="23"/>
                    <a:pt x="9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8" name="Freeform 160"/>
            <p:cNvSpPr>
              <a:spLocks/>
            </p:cNvSpPr>
            <p:nvPr userDrawn="1"/>
          </p:nvSpPr>
          <p:spPr bwMode="auto">
            <a:xfrm>
              <a:off x="2979450" y="4636944"/>
              <a:ext cx="57777" cy="126303"/>
            </a:xfrm>
            <a:custGeom>
              <a:avLst/>
              <a:gdLst>
                <a:gd name="T0" fmla="*/ 8 w 18"/>
                <a:gd name="T1" fmla="*/ 25 h 40"/>
                <a:gd name="T2" fmla="*/ 6 w 18"/>
                <a:gd name="T3" fmla="*/ 0 h 40"/>
                <a:gd name="T4" fmla="*/ 0 w 18"/>
                <a:gd name="T5" fmla="*/ 18 h 40"/>
                <a:gd name="T6" fmla="*/ 6 w 18"/>
                <a:gd name="T7" fmla="*/ 40 h 40"/>
                <a:gd name="T8" fmla="*/ 14 w 18"/>
                <a:gd name="T9" fmla="*/ 40 h 40"/>
                <a:gd name="T10" fmla="*/ 8 w 18"/>
                <a:gd name="T11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0">
                  <a:moveTo>
                    <a:pt x="8" y="25"/>
                  </a:moveTo>
                  <a:cubicBezTo>
                    <a:pt x="7" y="19"/>
                    <a:pt x="14" y="6"/>
                    <a:pt x="6" y="0"/>
                  </a:cubicBezTo>
                  <a:cubicBezTo>
                    <a:pt x="3" y="12"/>
                    <a:pt x="14" y="21"/>
                    <a:pt x="0" y="18"/>
                  </a:cubicBezTo>
                  <a:cubicBezTo>
                    <a:pt x="1" y="31"/>
                    <a:pt x="12" y="25"/>
                    <a:pt x="6" y="40"/>
                  </a:cubicBezTo>
                  <a:cubicBezTo>
                    <a:pt x="8" y="40"/>
                    <a:pt x="11" y="40"/>
                    <a:pt x="14" y="40"/>
                  </a:cubicBezTo>
                  <a:cubicBezTo>
                    <a:pt x="18" y="31"/>
                    <a:pt x="9" y="32"/>
                    <a:pt x="8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299" name="Freeform 161"/>
            <p:cNvSpPr>
              <a:spLocks/>
            </p:cNvSpPr>
            <p:nvPr userDrawn="1"/>
          </p:nvSpPr>
          <p:spPr bwMode="auto">
            <a:xfrm>
              <a:off x="3046632" y="4667848"/>
              <a:ext cx="91368" cy="118241"/>
            </a:xfrm>
            <a:custGeom>
              <a:avLst/>
              <a:gdLst>
                <a:gd name="T0" fmla="*/ 25 w 29"/>
                <a:gd name="T1" fmla="*/ 19 h 37"/>
                <a:gd name="T2" fmla="*/ 9 w 29"/>
                <a:gd name="T3" fmla="*/ 15 h 37"/>
                <a:gd name="T4" fmla="*/ 1 w 29"/>
                <a:gd name="T5" fmla="*/ 23 h 37"/>
                <a:gd name="T6" fmla="*/ 11 w 29"/>
                <a:gd name="T7" fmla="*/ 34 h 37"/>
                <a:gd name="T8" fmla="*/ 17 w 29"/>
                <a:gd name="T9" fmla="*/ 27 h 37"/>
                <a:gd name="T10" fmla="*/ 25 w 29"/>
                <a:gd name="T11" fmla="*/ 30 h 37"/>
                <a:gd name="T12" fmla="*/ 25 w 29"/>
                <a:gd name="T13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37">
                  <a:moveTo>
                    <a:pt x="25" y="19"/>
                  </a:moveTo>
                  <a:cubicBezTo>
                    <a:pt x="19" y="36"/>
                    <a:pt x="14" y="0"/>
                    <a:pt x="9" y="15"/>
                  </a:cubicBezTo>
                  <a:cubicBezTo>
                    <a:pt x="17" y="23"/>
                    <a:pt x="0" y="9"/>
                    <a:pt x="1" y="23"/>
                  </a:cubicBezTo>
                  <a:cubicBezTo>
                    <a:pt x="8" y="22"/>
                    <a:pt x="3" y="37"/>
                    <a:pt x="11" y="34"/>
                  </a:cubicBezTo>
                  <a:cubicBezTo>
                    <a:pt x="15" y="34"/>
                    <a:pt x="14" y="28"/>
                    <a:pt x="17" y="27"/>
                  </a:cubicBezTo>
                  <a:cubicBezTo>
                    <a:pt x="17" y="31"/>
                    <a:pt x="21" y="31"/>
                    <a:pt x="25" y="30"/>
                  </a:cubicBezTo>
                  <a:cubicBezTo>
                    <a:pt x="24" y="24"/>
                    <a:pt x="29" y="21"/>
                    <a:pt x="2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0" name="Freeform 162"/>
            <p:cNvSpPr>
              <a:spLocks/>
            </p:cNvSpPr>
            <p:nvPr userDrawn="1"/>
          </p:nvSpPr>
          <p:spPr bwMode="auto">
            <a:xfrm>
              <a:off x="3191747" y="4753841"/>
              <a:ext cx="79275" cy="67183"/>
            </a:xfrm>
            <a:custGeom>
              <a:avLst/>
              <a:gdLst>
                <a:gd name="T0" fmla="*/ 0 w 25"/>
                <a:gd name="T1" fmla="*/ 11 h 21"/>
                <a:gd name="T2" fmla="*/ 14 w 25"/>
                <a:gd name="T3" fmla="*/ 18 h 21"/>
                <a:gd name="T4" fmla="*/ 25 w 25"/>
                <a:gd name="T5" fmla="*/ 7 h 21"/>
                <a:gd name="T6" fmla="*/ 14 w 25"/>
                <a:gd name="T7" fmla="*/ 11 h 21"/>
                <a:gd name="T8" fmla="*/ 0 w 25"/>
                <a:gd name="T9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1">
                  <a:moveTo>
                    <a:pt x="0" y="11"/>
                  </a:moveTo>
                  <a:cubicBezTo>
                    <a:pt x="9" y="8"/>
                    <a:pt x="6" y="21"/>
                    <a:pt x="14" y="18"/>
                  </a:cubicBezTo>
                  <a:cubicBezTo>
                    <a:pt x="18" y="14"/>
                    <a:pt x="22" y="12"/>
                    <a:pt x="25" y="7"/>
                  </a:cubicBezTo>
                  <a:cubicBezTo>
                    <a:pt x="20" y="7"/>
                    <a:pt x="19" y="11"/>
                    <a:pt x="14" y="11"/>
                  </a:cubicBezTo>
                  <a:cubicBezTo>
                    <a:pt x="11" y="11"/>
                    <a:pt x="2" y="0"/>
                    <a:pt x="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1" name="Freeform 163"/>
            <p:cNvSpPr>
              <a:spLocks/>
            </p:cNvSpPr>
            <p:nvPr userDrawn="1"/>
          </p:nvSpPr>
          <p:spPr bwMode="auto">
            <a:xfrm>
              <a:off x="3030508" y="3239546"/>
              <a:ext cx="69870" cy="64495"/>
            </a:xfrm>
            <a:custGeom>
              <a:avLst/>
              <a:gdLst>
                <a:gd name="T0" fmla="*/ 19 w 22"/>
                <a:gd name="T1" fmla="*/ 0 h 20"/>
                <a:gd name="T2" fmla="*/ 3 w 22"/>
                <a:gd name="T3" fmla="*/ 0 h 20"/>
                <a:gd name="T4" fmla="*/ 0 w 22"/>
                <a:gd name="T5" fmla="*/ 11 h 20"/>
                <a:gd name="T6" fmla="*/ 22 w 22"/>
                <a:gd name="T7" fmla="*/ 18 h 20"/>
                <a:gd name="T8" fmla="*/ 19 w 22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0">
                  <a:moveTo>
                    <a:pt x="19" y="0"/>
                  </a:moveTo>
                  <a:cubicBezTo>
                    <a:pt x="14" y="0"/>
                    <a:pt x="9" y="0"/>
                    <a:pt x="3" y="0"/>
                  </a:cubicBezTo>
                  <a:cubicBezTo>
                    <a:pt x="3" y="5"/>
                    <a:pt x="2" y="8"/>
                    <a:pt x="0" y="11"/>
                  </a:cubicBezTo>
                  <a:cubicBezTo>
                    <a:pt x="6" y="15"/>
                    <a:pt x="11" y="20"/>
                    <a:pt x="22" y="18"/>
                  </a:cubicBezTo>
                  <a:cubicBezTo>
                    <a:pt x="21" y="5"/>
                    <a:pt x="15" y="13"/>
                    <a:pt x="1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2" name="Freeform 164"/>
            <p:cNvSpPr>
              <a:spLocks/>
            </p:cNvSpPr>
            <p:nvPr userDrawn="1"/>
          </p:nvSpPr>
          <p:spPr bwMode="auto">
            <a:xfrm>
              <a:off x="3116502" y="4325216"/>
              <a:ext cx="44341" cy="64495"/>
            </a:xfrm>
            <a:custGeom>
              <a:avLst/>
              <a:gdLst>
                <a:gd name="T0" fmla="*/ 6 w 14"/>
                <a:gd name="T1" fmla="*/ 1 h 20"/>
                <a:gd name="T2" fmla="*/ 3 w 14"/>
                <a:gd name="T3" fmla="*/ 20 h 20"/>
                <a:gd name="T4" fmla="*/ 14 w 14"/>
                <a:gd name="T5" fmla="*/ 20 h 20"/>
                <a:gd name="T6" fmla="*/ 6 w 14"/>
                <a:gd name="T7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0">
                  <a:moveTo>
                    <a:pt x="6" y="1"/>
                  </a:moveTo>
                  <a:cubicBezTo>
                    <a:pt x="0" y="9"/>
                    <a:pt x="8" y="13"/>
                    <a:pt x="3" y="20"/>
                  </a:cubicBezTo>
                  <a:cubicBezTo>
                    <a:pt x="7" y="20"/>
                    <a:pt x="10" y="20"/>
                    <a:pt x="14" y="20"/>
                  </a:cubicBezTo>
                  <a:cubicBezTo>
                    <a:pt x="14" y="9"/>
                    <a:pt x="14" y="0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3" name="Freeform 165"/>
            <p:cNvSpPr>
              <a:spLocks/>
            </p:cNvSpPr>
            <p:nvPr userDrawn="1"/>
          </p:nvSpPr>
          <p:spPr bwMode="auto">
            <a:xfrm>
              <a:off x="7714479" y="2323175"/>
              <a:ext cx="4031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4" name="Freeform 166"/>
            <p:cNvSpPr>
              <a:spLocks/>
            </p:cNvSpPr>
            <p:nvPr userDrawn="1"/>
          </p:nvSpPr>
          <p:spPr bwMode="auto">
            <a:xfrm>
              <a:off x="2783277" y="4115607"/>
              <a:ext cx="56433" cy="51059"/>
            </a:xfrm>
            <a:custGeom>
              <a:avLst/>
              <a:gdLst>
                <a:gd name="T0" fmla="*/ 11 w 18"/>
                <a:gd name="T1" fmla="*/ 8 h 16"/>
                <a:gd name="T2" fmla="*/ 14 w 18"/>
                <a:gd name="T3" fmla="*/ 16 h 16"/>
                <a:gd name="T4" fmla="*/ 6 w 18"/>
                <a:gd name="T5" fmla="*/ 5 h 16"/>
                <a:gd name="T6" fmla="*/ 6 w 18"/>
                <a:gd name="T7" fmla="*/ 1 h 16"/>
                <a:gd name="T8" fmla="*/ 0 w 18"/>
                <a:gd name="T9" fmla="*/ 1 h 16"/>
                <a:gd name="T10" fmla="*/ 11 w 18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6">
                  <a:moveTo>
                    <a:pt x="11" y="8"/>
                  </a:moveTo>
                  <a:cubicBezTo>
                    <a:pt x="12" y="11"/>
                    <a:pt x="11" y="16"/>
                    <a:pt x="14" y="16"/>
                  </a:cubicBezTo>
                  <a:cubicBezTo>
                    <a:pt x="18" y="2"/>
                    <a:pt x="9" y="7"/>
                    <a:pt x="6" y="5"/>
                  </a:cubicBezTo>
                  <a:cubicBezTo>
                    <a:pt x="5" y="4"/>
                    <a:pt x="6" y="1"/>
                    <a:pt x="6" y="1"/>
                  </a:cubicBezTo>
                  <a:cubicBezTo>
                    <a:pt x="5" y="0"/>
                    <a:pt x="1" y="2"/>
                    <a:pt x="0" y="1"/>
                  </a:cubicBezTo>
                  <a:cubicBezTo>
                    <a:pt x="2" y="6"/>
                    <a:pt x="6" y="8"/>
                    <a:pt x="1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5" name="Freeform 167"/>
            <p:cNvSpPr>
              <a:spLocks/>
            </p:cNvSpPr>
            <p:nvPr userDrawn="1"/>
          </p:nvSpPr>
          <p:spPr bwMode="auto">
            <a:xfrm>
              <a:off x="3414793" y="2509943"/>
              <a:ext cx="2687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306" name="Freeform 168"/>
            <p:cNvSpPr>
              <a:spLocks noEditPoints="1"/>
            </p:cNvSpPr>
            <p:nvPr userDrawn="1"/>
          </p:nvSpPr>
          <p:spPr bwMode="auto">
            <a:xfrm>
              <a:off x="2541419" y="1687628"/>
              <a:ext cx="6608080" cy="4310435"/>
            </a:xfrm>
            <a:custGeom>
              <a:avLst/>
              <a:gdLst>
                <a:gd name="T0" fmla="*/ 1924 w 2082"/>
                <a:gd name="T1" fmla="*/ 100 h 1358"/>
                <a:gd name="T2" fmla="*/ 1692 w 2082"/>
                <a:gd name="T3" fmla="*/ 41 h 1358"/>
                <a:gd name="T4" fmla="*/ 1606 w 2082"/>
                <a:gd name="T5" fmla="*/ 174 h 1358"/>
                <a:gd name="T6" fmla="*/ 1364 w 2082"/>
                <a:gd name="T7" fmla="*/ 145 h 1358"/>
                <a:gd name="T8" fmla="*/ 1063 w 2082"/>
                <a:gd name="T9" fmla="*/ 100 h 1358"/>
                <a:gd name="T10" fmla="*/ 738 w 2082"/>
                <a:gd name="T11" fmla="*/ 78 h 1358"/>
                <a:gd name="T12" fmla="*/ 356 w 2082"/>
                <a:gd name="T13" fmla="*/ 22 h 1358"/>
                <a:gd name="T14" fmla="*/ 17 w 2082"/>
                <a:gd name="T15" fmla="*/ 333 h 1358"/>
                <a:gd name="T16" fmla="*/ 36 w 2082"/>
                <a:gd name="T17" fmla="*/ 751 h 1358"/>
                <a:gd name="T18" fmla="*/ 176 w 2082"/>
                <a:gd name="T19" fmla="*/ 662 h 1358"/>
                <a:gd name="T20" fmla="*/ 243 w 2082"/>
                <a:gd name="T21" fmla="*/ 884 h 1358"/>
                <a:gd name="T22" fmla="*/ 698 w 2082"/>
                <a:gd name="T23" fmla="*/ 1210 h 1358"/>
                <a:gd name="T24" fmla="*/ 1101 w 2082"/>
                <a:gd name="T25" fmla="*/ 1287 h 1358"/>
                <a:gd name="T26" fmla="*/ 1480 w 2082"/>
                <a:gd name="T27" fmla="*/ 1317 h 1358"/>
                <a:gd name="T28" fmla="*/ 1881 w 2082"/>
                <a:gd name="T29" fmla="*/ 1350 h 1358"/>
                <a:gd name="T30" fmla="*/ 189 w 2082"/>
                <a:gd name="T31" fmla="*/ 644 h 1358"/>
                <a:gd name="T32" fmla="*/ 146 w 2082"/>
                <a:gd name="T33" fmla="*/ 403 h 1358"/>
                <a:gd name="T34" fmla="*/ 111 w 2082"/>
                <a:gd name="T35" fmla="*/ 599 h 1358"/>
                <a:gd name="T36" fmla="*/ 135 w 2082"/>
                <a:gd name="T37" fmla="*/ 485 h 1358"/>
                <a:gd name="T38" fmla="*/ 165 w 2082"/>
                <a:gd name="T39" fmla="*/ 267 h 1358"/>
                <a:gd name="T40" fmla="*/ 74 w 2082"/>
                <a:gd name="T41" fmla="*/ 218 h 1358"/>
                <a:gd name="T42" fmla="*/ 130 w 2082"/>
                <a:gd name="T43" fmla="*/ 659 h 1358"/>
                <a:gd name="T44" fmla="*/ 157 w 2082"/>
                <a:gd name="T45" fmla="*/ 448 h 1358"/>
                <a:gd name="T46" fmla="*/ 447 w 2082"/>
                <a:gd name="T47" fmla="*/ 648 h 1358"/>
                <a:gd name="T48" fmla="*/ 353 w 2082"/>
                <a:gd name="T49" fmla="*/ 755 h 1358"/>
                <a:gd name="T50" fmla="*/ 267 w 2082"/>
                <a:gd name="T51" fmla="*/ 537 h 1358"/>
                <a:gd name="T52" fmla="*/ 246 w 2082"/>
                <a:gd name="T53" fmla="*/ 448 h 1358"/>
                <a:gd name="T54" fmla="*/ 386 w 2082"/>
                <a:gd name="T55" fmla="*/ 307 h 1358"/>
                <a:gd name="T56" fmla="*/ 375 w 2082"/>
                <a:gd name="T57" fmla="*/ 311 h 1358"/>
                <a:gd name="T58" fmla="*/ 321 w 2082"/>
                <a:gd name="T59" fmla="*/ 570 h 1358"/>
                <a:gd name="T60" fmla="*/ 316 w 2082"/>
                <a:gd name="T61" fmla="*/ 385 h 1358"/>
                <a:gd name="T62" fmla="*/ 294 w 2082"/>
                <a:gd name="T63" fmla="*/ 699 h 1358"/>
                <a:gd name="T64" fmla="*/ 351 w 2082"/>
                <a:gd name="T65" fmla="*/ 651 h 1358"/>
                <a:gd name="T66" fmla="*/ 412 w 2082"/>
                <a:gd name="T67" fmla="*/ 614 h 1358"/>
                <a:gd name="T68" fmla="*/ 353 w 2082"/>
                <a:gd name="T69" fmla="*/ 307 h 1358"/>
                <a:gd name="T70" fmla="*/ 275 w 2082"/>
                <a:gd name="T71" fmla="*/ 178 h 1358"/>
                <a:gd name="T72" fmla="*/ 230 w 2082"/>
                <a:gd name="T73" fmla="*/ 163 h 1358"/>
                <a:gd name="T74" fmla="*/ 254 w 2082"/>
                <a:gd name="T75" fmla="*/ 670 h 1358"/>
                <a:gd name="T76" fmla="*/ 308 w 2082"/>
                <a:gd name="T77" fmla="*/ 762 h 1358"/>
                <a:gd name="T78" fmla="*/ 496 w 2082"/>
                <a:gd name="T79" fmla="*/ 807 h 1358"/>
                <a:gd name="T80" fmla="*/ 918 w 2082"/>
                <a:gd name="T81" fmla="*/ 1235 h 1358"/>
                <a:gd name="T82" fmla="*/ 1176 w 2082"/>
                <a:gd name="T83" fmla="*/ 1217 h 1358"/>
                <a:gd name="T84" fmla="*/ 1260 w 2082"/>
                <a:gd name="T85" fmla="*/ 237 h 1358"/>
                <a:gd name="T86" fmla="*/ 1319 w 2082"/>
                <a:gd name="T87" fmla="*/ 196 h 1358"/>
                <a:gd name="T88" fmla="*/ 1566 w 2082"/>
                <a:gd name="T89" fmla="*/ 263 h 1358"/>
                <a:gd name="T90" fmla="*/ 1448 w 2082"/>
                <a:gd name="T91" fmla="*/ 167 h 1358"/>
                <a:gd name="T92" fmla="*/ 1367 w 2082"/>
                <a:gd name="T93" fmla="*/ 599 h 1358"/>
                <a:gd name="T94" fmla="*/ 1415 w 2082"/>
                <a:gd name="T95" fmla="*/ 1306 h 1358"/>
                <a:gd name="T96" fmla="*/ 1467 w 2082"/>
                <a:gd name="T97" fmla="*/ 640 h 1358"/>
                <a:gd name="T98" fmla="*/ 1553 w 2082"/>
                <a:gd name="T99" fmla="*/ 1291 h 1358"/>
                <a:gd name="T100" fmla="*/ 2055 w 2082"/>
                <a:gd name="T101" fmla="*/ 562 h 1358"/>
                <a:gd name="T102" fmla="*/ 1996 w 2082"/>
                <a:gd name="T103" fmla="*/ 537 h 1358"/>
                <a:gd name="T104" fmla="*/ 1948 w 2082"/>
                <a:gd name="T105" fmla="*/ 178 h 1358"/>
                <a:gd name="T106" fmla="*/ 1918 w 2082"/>
                <a:gd name="T107" fmla="*/ 71 h 1358"/>
                <a:gd name="T108" fmla="*/ 1840 w 2082"/>
                <a:gd name="T109" fmla="*/ 170 h 1358"/>
                <a:gd name="T110" fmla="*/ 1738 w 2082"/>
                <a:gd name="T111" fmla="*/ 1265 h 1358"/>
                <a:gd name="T112" fmla="*/ 1730 w 2082"/>
                <a:gd name="T113" fmla="*/ 603 h 1358"/>
                <a:gd name="T114" fmla="*/ 1666 w 2082"/>
                <a:gd name="T115" fmla="*/ 215 h 1358"/>
                <a:gd name="T116" fmla="*/ 1746 w 2082"/>
                <a:gd name="T117" fmla="*/ 1295 h 1358"/>
                <a:gd name="T118" fmla="*/ 1811 w 2082"/>
                <a:gd name="T119" fmla="*/ 1254 h 1358"/>
                <a:gd name="T120" fmla="*/ 1848 w 2082"/>
                <a:gd name="T121" fmla="*/ 215 h 1358"/>
                <a:gd name="T122" fmla="*/ 1899 w 2082"/>
                <a:gd name="T123" fmla="*/ 1199 h 1358"/>
                <a:gd name="T124" fmla="*/ 2039 w 2082"/>
                <a:gd name="T125" fmla="*/ 1306 h 1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82" h="1358">
                  <a:moveTo>
                    <a:pt x="2050" y="100"/>
                  </a:moveTo>
                  <a:cubicBezTo>
                    <a:pt x="2048" y="103"/>
                    <a:pt x="2053" y="115"/>
                    <a:pt x="2045" y="119"/>
                  </a:cubicBezTo>
                  <a:cubicBezTo>
                    <a:pt x="2041" y="120"/>
                    <a:pt x="2037" y="118"/>
                    <a:pt x="2034" y="119"/>
                  </a:cubicBezTo>
                  <a:cubicBezTo>
                    <a:pt x="2032" y="131"/>
                    <a:pt x="2045" y="123"/>
                    <a:pt x="2042" y="137"/>
                  </a:cubicBezTo>
                  <a:cubicBezTo>
                    <a:pt x="2047" y="138"/>
                    <a:pt x="2047" y="132"/>
                    <a:pt x="2050" y="130"/>
                  </a:cubicBezTo>
                  <a:cubicBezTo>
                    <a:pt x="2050" y="133"/>
                    <a:pt x="2050" y="137"/>
                    <a:pt x="2050" y="141"/>
                  </a:cubicBezTo>
                  <a:cubicBezTo>
                    <a:pt x="2057" y="143"/>
                    <a:pt x="2071" y="136"/>
                    <a:pt x="2074" y="145"/>
                  </a:cubicBezTo>
                  <a:cubicBezTo>
                    <a:pt x="2074" y="147"/>
                    <a:pt x="2074" y="152"/>
                    <a:pt x="2072" y="152"/>
                  </a:cubicBezTo>
                  <a:cubicBezTo>
                    <a:pt x="2067" y="151"/>
                    <a:pt x="2062" y="141"/>
                    <a:pt x="2058" y="145"/>
                  </a:cubicBezTo>
                  <a:cubicBezTo>
                    <a:pt x="2057" y="146"/>
                    <a:pt x="2059" y="153"/>
                    <a:pt x="2055" y="152"/>
                  </a:cubicBezTo>
                  <a:cubicBezTo>
                    <a:pt x="2053" y="144"/>
                    <a:pt x="2049" y="139"/>
                    <a:pt x="2039" y="141"/>
                  </a:cubicBezTo>
                  <a:cubicBezTo>
                    <a:pt x="2041" y="153"/>
                    <a:pt x="2037" y="158"/>
                    <a:pt x="2037" y="167"/>
                  </a:cubicBezTo>
                  <a:cubicBezTo>
                    <a:pt x="2048" y="170"/>
                    <a:pt x="2047" y="157"/>
                    <a:pt x="2053" y="152"/>
                  </a:cubicBezTo>
                  <a:cubicBezTo>
                    <a:pt x="2050" y="162"/>
                    <a:pt x="2057" y="162"/>
                    <a:pt x="2055" y="170"/>
                  </a:cubicBezTo>
                  <a:cubicBezTo>
                    <a:pt x="2059" y="171"/>
                    <a:pt x="2062" y="171"/>
                    <a:pt x="2061" y="178"/>
                  </a:cubicBezTo>
                  <a:cubicBezTo>
                    <a:pt x="2057" y="172"/>
                    <a:pt x="2050" y="170"/>
                    <a:pt x="2045" y="167"/>
                  </a:cubicBezTo>
                  <a:cubicBezTo>
                    <a:pt x="2042" y="172"/>
                    <a:pt x="2043" y="181"/>
                    <a:pt x="2034" y="178"/>
                  </a:cubicBezTo>
                  <a:cubicBezTo>
                    <a:pt x="2038" y="165"/>
                    <a:pt x="2033" y="151"/>
                    <a:pt x="2037" y="137"/>
                  </a:cubicBezTo>
                  <a:cubicBezTo>
                    <a:pt x="2032" y="137"/>
                    <a:pt x="2034" y="128"/>
                    <a:pt x="2029" y="130"/>
                  </a:cubicBezTo>
                  <a:cubicBezTo>
                    <a:pt x="2028" y="137"/>
                    <a:pt x="2032" y="137"/>
                    <a:pt x="2034" y="141"/>
                  </a:cubicBezTo>
                  <a:cubicBezTo>
                    <a:pt x="2028" y="144"/>
                    <a:pt x="2032" y="154"/>
                    <a:pt x="2031" y="159"/>
                  </a:cubicBezTo>
                  <a:cubicBezTo>
                    <a:pt x="2031" y="160"/>
                    <a:pt x="2029" y="160"/>
                    <a:pt x="2029" y="163"/>
                  </a:cubicBezTo>
                  <a:cubicBezTo>
                    <a:pt x="2028" y="168"/>
                    <a:pt x="2028" y="171"/>
                    <a:pt x="2026" y="174"/>
                  </a:cubicBezTo>
                  <a:cubicBezTo>
                    <a:pt x="2023" y="180"/>
                    <a:pt x="2024" y="190"/>
                    <a:pt x="2020" y="193"/>
                  </a:cubicBezTo>
                  <a:cubicBezTo>
                    <a:pt x="2013" y="185"/>
                    <a:pt x="2023" y="171"/>
                    <a:pt x="2026" y="167"/>
                  </a:cubicBezTo>
                  <a:cubicBezTo>
                    <a:pt x="2027" y="155"/>
                    <a:pt x="2019" y="157"/>
                    <a:pt x="2018" y="148"/>
                  </a:cubicBezTo>
                  <a:cubicBezTo>
                    <a:pt x="2021" y="148"/>
                    <a:pt x="2022" y="153"/>
                    <a:pt x="2026" y="152"/>
                  </a:cubicBezTo>
                  <a:cubicBezTo>
                    <a:pt x="2029" y="152"/>
                    <a:pt x="2029" y="142"/>
                    <a:pt x="2026" y="141"/>
                  </a:cubicBezTo>
                  <a:cubicBezTo>
                    <a:pt x="2026" y="156"/>
                    <a:pt x="2022" y="141"/>
                    <a:pt x="2020" y="137"/>
                  </a:cubicBezTo>
                  <a:cubicBezTo>
                    <a:pt x="2012" y="140"/>
                    <a:pt x="2015" y="140"/>
                    <a:pt x="2007" y="137"/>
                  </a:cubicBezTo>
                  <a:cubicBezTo>
                    <a:pt x="2000" y="144"/>
                    <a:pt x="2009" y="172"/>
                    <a:pt x="2002" y="178"/>
                  </a:cubicBezTo>
                  <a:cubicBezTo>
                    <a:pt x="1999" y="168"/>
                    <a:pt x="1995" y="172"/>
                    <a:pt x="1999" y="167"/>
                  </a:cubicBezTo>
                  <a:cubicBezTo>
                    <a:pt x="2001" y="164"/>
                    <a:pt x="1990" y="162"/>
                    <a:pt x="1991" y="159"/>
                  </a:cubicBezTo>
                  <a:cubicBezTo>
                    <a:pt x="1990" y="153"/>
                    <a:pt x="1995" y="150"/>
                    <a:pt x="1991" y="148"/>
                  </a:cubicBezTo>
                  <a:cubicBezTo>
                    <a:pt x="1991" y="150"/>
                    <a:pt x="1989" y="152"/>
                    <a:pt x="1988" y="148"/>
                  </a:cubicBezTo>
                  <a:cubicBezTo>
                    <a:pt x="1994" y="147"/>
                    <a:pt x="1995" y="141"/>
                    <a:pt x="1999" y="137"/>
                  </a:cubicBezTo>
                  <a:cubicBezTo>
                    <a:pt x="2000" y="143"/>
                    <a:pt x="2002" y="136"/>
                    <a:pt x="2007" y="137"/>
                  </a:cubicBezTo>
                  <a:cubicBezTo>
                    <a:pt x="2009" y="134"/>
                    <a:pt x="2008" y="129"/>
                    <a:pt x="2010" y="126"/>
                  </a:cubicBezTo>
                  <a:cubicBezTo>
                    <a:pt x="2010" y="126"/>
                    <a:pt x="2012" y="126"/>
                    <a:pt x="2012" y="126"/>
                  </a:cubicBezTo>
                  <a:cubicBezTo>
                    <a:pt x="2013" y="121"/>
                    <a:pt x="2010" y="118"/>
                    <a:pt x="2010" y="115"/>
                  </a:cubicBezTo>
                  <a:cubicBezTo>
                    <a:pt x="2010" y="115"/>
                    <a:pt x="2013" y="114"/>
                    <a:pt x="2012" y="111"/>
                  </a:cubicBezTo>
                  <a:cubicBezTo>
                    <a:pt x="2012" y="111"/>
                    <a:pt x="2007" y="109"/>
                    <a:pt x="2007" y="108"/>
                  </a:cubicBezTo>
                  <a:cubicBezTo>
                    <a:pt x="2007" y="113"/>
                    <a:pt x="2007" y="120"/>
                    <a:pt x="2002" y="119"/>
                  </a:cubicBezTo>
                  <a:cubicBezTo>
                    <a:pt x="2001" y="112"/>
                    <a:pt x="2005" y="111"/>
                    <a:pt x="2004" y="104"/>
                  </a:cubicBezTo>
                  <a:cubicBezTo>
                    <a:pt x="2001" y="104"/>
                    <a:pt x="1998" y="106"/>
                    <a:pt x="1996" y="108"/>
                  </a:cubicBezTo>
                  <a:cubicBezTo>
                    <a:pt x="2003" y="102"/>
                    <a:pt x="1993" y="95"/>
                    <a:pt x="1988" y="96"/>
                  </a:cubicBezTo>
                  <a:cubicBezTo>
                    <a:pt x="1985" y="98"/>
                    <a:pt x="1986" y="102"/>
                    <a:pt x="1983" y="104"/>
                  </a:cubicBezTo>
                  <a:cubicBezTo>
                    <a:pt x="1983" y="99"/>
                    <a:pt x="1984" y="96"/>
                    <a:pt x="1986" y="93"/>
                  </a:cubicBezTo>
                  <a:cubicBezTo>
                    <a:pt x="1982" y="93"/>
                    <a:pt x="1978" y="93"/>
                    <a:pt x="1975" y="93"/>
                  </a:cubicBezTo>
                  <a:cubicBezTo>
                    <a:pt x="1974" y="97"/>
                    <a:pt x="1975" y="103"/>
                    <a:pt x="1972" y="104"/>
                  </a:cubicBezTo>
                  <a:cubicBezTo>
                    <a:pt x="1969" y="104"/>
                    <a:pt x="1970" y="97"/>
                    <a:pt x="1967" y="96"/>
                  </a:cubicBezTo>
                  <a:cubicBezTo>
                    <a:pt x="1967" y="97"/>
                    <a:pt x="1960" y="104"/>
                    <a:pt x="1956" y="100"/>
                  </a:cubicBezTo>
                  <a:cubicBezTo>
                    <a:pt x="1955" y="90"/>
                    <a:pt x="1948" y="87"/>
                    <a:pt x="1940" y="85"/>
                  </a:cubicBezTo>
                  <a:cubicBezTo>
                    <a:pt x="1939" y="93"/>
                    <a:pt x="1943" y="93"/>
                    <a:pt x="1945" y="96"/>
                  </a:cubicBezTo>
                  <a:cubicBezTo>
                    <a:pt x="1936" y="90"/>
                    <a:pt x="1937" y="97"/>
                    <a:pt x="1932" y="104"/>
                  </a:cubicBezTo>
                  <a:cubicBezTo>
                    <a:pt x="1930" y="93"/>
                    <a:pt x="1936" y="93"/>
                    <a:pt x="1934" y="82"/>
                  </a:cubicBezTo>
                  <a:cubicBezTo>
                    <a:pt x="1924" y="83"/>
                    <a:pt x="1936" y="98"/>
                    <a:pt x="1924" y="100"/>
                  </a:cubicBezTo>
                  <a:cubicBezTo>
                    <a:pt x="1928" y="88"/>
                    <a:pt x="1922" y="81"/>
                    <a:pt x="1924" y="63"/>
                  </a:cubicBezTo>
                  <a:cubicBezTo>
                    <a:pt x="1920" y="64"/>
                    <a:pt x="1915" y="60"/>
                    <a:pt x="1916" y="56"/>
                  </a:cubicBezTo>
                  <a:cubicBezTo>
                    <a:pt x="1916" y="56"/>
                    <a:pt x="1920" y="54"/>
                    <a:pt x="1918" y="52"/>
                  </a:cubicBezTo>
                  <a:cubicBezTo>
                    <a:pt x="1914" y="48"/>
                    <a:pt x="1902" y="50"/>
                    <a:pt x="1905" y="52"/>
                  </a:cubicBezTo>
                  <a:cubicBezTo>
                    <a:pt x="1908" y="54"/>
                    <a:pt x="1910" y="57"/>
                    <a:pt x="1910" y="63"/>
                  </a:cubicBezTo>
                  <a:cubicBezTo>
                    <a:pt x="1905" y="59"/>
                    <a:pt x="1897" y="69"/>
                    <a:pt x="1905" y="71"/>
                  </a:cubicBezTo>
                  <a:cubicBezTo>
                    <a:pt x="1905" y="67"/>
                    <a:pt x="1910" y="66"/>
                    <a:pt x="1910" y="71"/>
                  </a:cubicBezTo>
                  <a:cubicBezTo>
                    <a:pt x="1909" y="76"/>
                    <a:pt x="1906" y="80"/>
                    <a:pt x="1902" y="82"/>
                  </a:cubicBezTo>
                  <a:cubicBezTo>
                    <a:pt x="1896" y="73"/>
                    <a:pt x="1893" y="76"/>
                    <a:pt x="1886" y="82"/>
                  </a:cubicBezTo>
                  <a:cubicBezTo>
                    <a:pt x="1884" y="95"/>
                    <a:pt x="1889" y="100"/>
                    <a:pt x="1891" y="108"/>
                  </a:cubicBezTo>
                  <a:cubicBezTo>
                    <a:pt x="1888" y="112"/>
                    <a:pt x="1881" y="109"/>
                    <a:pt x="1878" y="104"/>
                  </a:cubicBezTo>
                  <a:cubicBezTo>
                    <a:pt x="1881" y="102"/>
                    <a:pt x="1884" y="99"/>
                    <a:pt x="1883" y="93"/>
                  </a:cubicBezTo>
                  <a:cubicBezTo>
                    <a:pt x="1877" y="93"/>
                    <a:pt x="1875" y="100"/>
                    <a:pt x="1873" y="89"/>
                  </a:cubicBezTo>
                  <a:cubicBezTo>
                    <a:pt x="1871" y="83"/>
                    <a:pt x="1876" y="67"/>
                    <a:pt x="1870" y="67"/>
                  </a:cubicBezTo>
                  <a:cubicBezTo>
                    <a:pt x="1870" y="84"/>
                    <a:pt x="1861" y="97"/>
                    <a:pt x="1862" y="111"/>
                  </a:cubicBezTo>
                  <a:cubicBezTo>
                    <a:pt x="1862" y="119"/>
                    <a:pt x="1874" y="123"/>
                    <a:pt x="1865" y="130"/>
                  </a:cubicBezTo>
                  <a:cubicBezTo>
                    <a:pt x="1854" y="127"/>
                    <a:pt x="1867" y="117"/>
                    <a:pt x="1856" y="115"/>
                  </a:cubicBezTo>
                  <a:cubicBezTo>
                    <a:pt x="1852" y="121"/>
                    <a:pt x="1857" y="147"/>
                    <a:pt x="1848" y="156"/>
                  </a:cubicBezTo>
                  <a:cubicBezTo>
                    <a:pt x="1850" y="144"/>
                    <a:pt x="1844" y="145"/>
                    <a:pt x="1846" y="133"/>
                  </a:cubicBezTo>
                  <a:cubicBezTo>
                    <a:pt x="1855" y="137"/>
                    <a:pt x="1850" y="122"/>
                    <a:pt x="1851" y="115"/>
                  </a:cubicBezTo>
                  <a:cubicBezTo>
                    <a:pt x="1842" y="117"/>
                    <a:pt x="1840" y="91"/>
                    <a:pt x="1846" y="85"/>
                  </a:cubicBezTo>
                  <a:cubicBezTo>
                    <a:pt x="1849" y="86"/>
                    <a:pt x="1852" y="105"/>
                    <a:pt x="1856" y="93"/>
                  </a:cubicBezTo>
                  <a:cubicBezTo>
                    <a:pt x="1850" y="85"/>
                    <a:pt x="1863" y="96"/>
                    <a:pt x="1865" y="89"/>
                  </a:cubicBezTo>
                  <a:cubicBezTo>
                    <a:pt x="1865" y="79"/>
                    <a:pt x="1863" y="68"/>
                    <a:pt x="1867" y="63"/>
                  </a:cubicBezTo>
                  <a:cubicBezTo>
                    <a:pt x="1862" y="62"/>
                    <a:pt x="1861" y="67"/>
                    <a:pt x="1856" y="67"/>
                  </a:cubicBezTo>
                  <a:cubicBezTo>
                    <a:pt x="1853" y="67"/>
                    <a:pt x="1852" y="59"/>
                    <a:pt x="1848" y="60"/>
                  </a:cubicBezTo>
                  <a:cubicBezTo>
                    <a:pt x="1847" y="60"/>
                    <a:pt x="1847" y="65"/>
                    <a:pt x="1843" y="63"/>
                  </a:cubicBezTo>
                  <a:cubicBezTo>
                    <a:pt x="1843" y="63"/>
                    <a:pt x="1843" y="57"/>
                    <a:pt x="1843" y="56"/>
                  </a:cubicBezTo>
                  <a:cubicBezTo>
                    <a:pt x="1837" y="57"/>
                    <a:pt x="1832" y="60"/>
                    <a:pt x="1827" y="63"/>
                  </a:cubicBezTo>
                  <a:cubicBezTo>
                    <a:pt x="1827" y="57"/>
                    <a:pt x="1827" y="50"/>
                    <a:pt x="1822" y="52"/>
                  </a:cubicBezTo>
                  <a:cubicBezTo>
                    <a:pt x="1821" y="56"/>
                    <a:pt x="1822" y="63"/>
                    <a:pt x="1819" y="63"/>
                  </a:cubicBezTo>
                  <a:cubicBezTo>
                    <a:pt x="1817" y="57"/>
                    <a:pt x="1816" y="65"/>
                    <a:pt x="1813" y="67"/>
                  </a:cubicBezTo>
                  <a:cubicBezTo>
                    <a:pt x="1810" y="55"/>
                    <a:pt x="1818" y="58"/>
                    <a:pt x="1819" y="52"/>
                  </a:cubicBezTo>
                  <a:cubicBezTo>
                    <a:pt x="1810" y="55"/>
                    <a:pt x="1813" y="55"/>
                    <a:pt x="1808" y="48"/>
                  </a:cubicBezTo>
                  <a:cubicBezTo>
                    <a:pt x="1809" y="54"/>
                    <a:pt x="1798" y="61"/>
                    <a:pt x="1797" y="52"/>
                  </a:cubicBezTo>
                  <a:cubicBezTo>
                    <a:pt x="1796" y="44"/>
                    <a:pt x="1808" y="57"/>
                    <a:pt x="1800" y="48"/>
                  </a:cubicBezTo>
                  <a:cubicBezTo>
                    <a:pt x="1798" y="36"/>
                    <a:pt x="1792" y="64"/>
                    <a:pt x="1792" y="48"/>
                  </a:cubicBezTo>
                  <a:cubicBezTo>
                    <a:pt x="1792" y="43"/>
                    <a:pt x="1783" y="41"/>
                    <a:pt x="1778" y="41"/>
                  </a:cubicBezTo>
                  <a:cubicBezTo>
                    <a:pt x="1778" y="45"/>
                    <a:pt x="1779" y="51"/>
                    <a:pt x="1776" y="52"/>
                  </a:cubicBezTo>
                  <a:cubicBezTo>
                    <a:pt x="1778" y="34"/>
                    <a:pt x="1767" y="40"/>
                    <a:pt x="1765" y="41"/>
                  </a:cubicBezTo>
                  <a:cubicBezTo>
                    <a:pt x="1756" y="44"/>
                    <a:pt x="1758" y="34"/>
                    <a:pt x="1752" y="37"/>
                  </a:cubicBezTo>
                  <a:cubicBezTo>
                    <a:pt x="1750" y="38"/>
                    <a:pt x="1752" y="46"/>
                    <a:pt x="1749" y="45"/>
                  </a:cubicBezTo>
                  <a:cubicBezTo>
                    <a:pt x="1748" y="40"/>
                    <a:pt x="1749" y="34"/>
                    <a:pt x="1746" y="34"/>
                  </a:cubicBezTo>
                  <a:cubicBezTo>
                    <a:pt x="1744" y="42"/>
                    <a:pt x="1729" y="44"/>
                    <a:pt x="1727" y="30"/>
                  </a:cubicBezTo>
                  <a:cubicBezTo>
                    <a:pt x="1728" y="24"/>
                    <a:pt x="1734" y="27"/>
                    <a:pt x="1735" y="22"/>
                  </a:cubicBezTo>
                  <a:cubicBezTo>
                    <a:pt x="1735" y="23"/>
                    <a:pt x="1731" y="19"/>
                    <a:pt x="1735" y="19"/>
                  </a:cubicBezTo>
                  <a:cubicBezTo>
                    <a:pt x="1741" y="16"/>
                    <a:pt x="1741" y="27"/>
                    <a:pt x="1744" y="26"/>
                  </a:cubicBezTo>
                  <a:cubicBezTo>
                    <a:pt x="1744" y="26"/>
                    <a:pt x="1749" y="14"/>
                    <a:pt x="1749" y="22"/>
                  </a:cubicBezTo>
                  <a:cubicBezTo>
                    <a:pt x="1749" y="28"/>
                    <a:pt x="1755" y="27"/>
                    <a:pt x="1757" y="30"/>
                  </a:cubicBezTo>
                  <a:cubicBezTo>
                    <a:pt x="1757" y="26"/>
                    <a:pt x="1757" y="19"/>
                    <a:pt x="1760" y="19"/>
                  </a:cubicBezTo>
                  <a:cubicBezTo>
                    <a:pt x="1759" y="25"/>
                    <a:pt x="1763" y="29"/>
                    <a:pt x="1765" y="22"/>
                  </a:cubicBezTo>
                  <a:cubicBezTo>
                    <a:pt x="1751" y="5"/>
                    <a:pt x="1742" y="19"/>
                    <a:pt x="1725" y="11"/>
                  </a:cubicBezTo>
                  <a:cubicBezTo>
                    <a:pt x="1719" y="18"/>
                    <a:pt x="1724" y="25"/>
                    <a:pt x="1725" y="34"/>
                  </a:cubicBezTo>
                  <a:cubicBezTo>
                    <a:pt x="1716" y="39"/>
                    <a:pt x="1713" y="35"/>
                    <a:pt x="1703" y="34"/>
                  </a:cubicBezTo>
                  <a:cubicBezTo>
                    <a:pt x="1703" y="37"/>
                    <a:pt x="1703" y="40"/>
                    <a:pt x="1700" y="41"/>
                  </a:cubicBezTo>
                  <a:cubicBezTo>
                    <a:pt x="1698" y="42"/>
                    <a:pt x="1698" y="38"/>
                    <a:pt x="1698" y="37"/>
                  </a:cubicBezTo>
                  <a:cubicBezTo>
                    <a:pt x="1695" y="36"/>
                    <a:pt x="1694" y="41"/>
                    <a:pt x="1692" y="41"/>
                  </a:cubicBezTo>
                  <a:cubicBezTo>
                    <a:pt x="1693" y="41"/>
                    <a:pt x="1691" y="38"/>
                    <a:pt x="1690" y="37"/>
                  </a:cubicBezTo>
                  <a:cubicBezTo>
                    <a:pt x="1687" y="36"/>
                    <a:pt x="1684" y="38"/>
                    <a:pt x="1682" y="37"/>
                  </a:cubicBezTo>
                  <a:cubicBezTo>
                    <a:pt x="1681" y="40"/>
                    <a:pt x="1682" y="45"/>
                    <a:pt x="1679" y="45"/>
                  </a:cubicBezTo>
                  <a:cubicBezTo>
                    <a:pt x="1676" y="36"/>
                    <a:pt x="1666" y="51"/>
                    <a:pt x="1666" y="34"/>
                  </a:cubicBezTo>
                  <a:cubicBezTo>
                    <a:pt x="1670" y="34"/>
                    <a:pt x="1675" y="34"/>
                    <a:pt x="1679" y="34"/>
                  </a:cubicBezTo>
                  <a:cubicBezTo>
                    <a:pt x="1680" y="18"/>
                    <a:pt x="1672" y="29"/>
                    <a:pt x="1671" y="22"/>
                  </a:cubicBezTo>
                  <a:cubicBezTo>
                    <a:pt x="1673" y="22"/>
                    <a:pt x="1674" y="22"/>
                    <a:pt x="1674" y="19"/>
                  </a:cubicBezTo>
                  <a:cubicBezTo>
                    <a:pt x="1665" y="23"/>
                    <a:pt x="1657" y="20"/>
                    <a:pt x="1652" y="22"/>
                  </a:cubicBezTo>
                  <a:cubicBezTo>
                    <a:pt x="1651" y="23"/>
                    <a:pt x="1648" y="29"/>
                    <a:pt x="1647" y="30"/>
                  </a:cubicBezTo>
                  <a:cubicBezTo>
                    <a:pt x="1644" y="32"/>
                    <a:pt x="1641" y="30"/>
                    <a:pt x="1639" y="34"/>
                  </a:cubicBezTo>
                  <a:cubicBezTo>
                    <a:pt x="1636" y="38"/>
                    <a:pt x="1638" y="46"/>
                    <a:pt x="1636" y="52"/>
                  </a:cubicBezTo>
                  <a:cubicBezTo>
                    <a:pt x="1635" y="55"/>
                    <a:pt x="1629" y="55"/>
                    <a:pt x="1628" y="60"/>
                  </a:cubicBezTo>
                  <a:cubicBezTo>
                    <a:pt x="1640" y="53"/>
                    <a:pt x="1641" y="69"/>
                    <a:pt x="1644" y="71"/>
                  </a:cubicBezTo>
                  <a:cubicBezTo>
                    <a:pt x="1649" y="73"/>
                    <a:pt x="1655" y="66"/>
                    <a:pt x="1660" y="74"/>
                  </a:cubicBezTo>
                  <a:cubicBezTo>
                    <a:pt x="1647" y="75"/>
                    <a:pt x="1648" y="95"/>
                    <a:pt x="1633" y="93"/>
                  </a:cubicBezTo>
                  <a:cubicBezTo>
                    <a:pt x="1633" y="98"/>
                    <a:pt x="1633" y="103"/>
                    <a:pt x="1633" y="108"/>
                  </a:cubicBezTo>
                  <a:cubicBezTo>
                    <a:pt x="1637" y="108"/>
                    <a:pt x="1643" y="106"/>
                    <a:pt x="1644" y="111"/>
                  </a:cubicBezTo>
                  <a:cubicBezTo>
                    <a:pt x="1644" y="115"/>
                    <a:pt x="1646" y="116"/>
                    <a:pt x="1647" y="119"/>
                  </a:cubicBezTo>
                  <a:cubicBezTo>
                    <a:pt x="1642" y="122"/>
                    <a:pt x="1637" y="125"/>
                    <a:pt x="1631" y="126"/>
                  </a:cubicBezTo>
                  <a:cubicBezTo>
                    <a:pt x="1629" y="139"/>
                    <a:pt x="1641" y="132"/>
                    <a:pt x="1641" y="141"/>
                  </a:cubicBezTo>
                  <a:cubicBezTo>
                    <a:pt x="1649" y="136"/>
                    <a:pt x="1647" y="141"/>
                    <a:pt x="1652" y="141"/>
                  </a:cubicBezTo>
                  <a:cubicBezTo>
                    <a:pt x="1652" y="141"/>
                    <a:pt x="1653" y="138"/>
                    <a:pt x="1655" y="137"/>
                  </a:cubicBezTo>
                  <a:cubicBezTo>
                    <a:pt x="1657" y="137"/>
                    <a:pt x="1660" y="138"/>
                    <a:pt x="1660" y="141"/>
                  </a:cubicBezTo>
                  <a:cubicBezTo>
                    <a:pt x="1654" y="143"/>
                    <a:pt x="1646" y="144"/>
                    <a:pt x="1647" y="156"/>
                  </a:cubicBezTo>
                  <a:cubicBezTo>
                    <a:pt x="1654" y="158"/>
                    <a:pt x="1664" y="145"/>
                    <a:pt x="1668" y="156"/>
                  </a:cubicBezTo>
                  <a:cubicBezTo>
                    <a:pt x="1657" y="155"/>
                    <a:pt x="1652" y="162"/>
                    <a:pt x="1652" y="178"/>
                  </a:cubicBezTo>
                  <a:cubicBezTo>
                    <a:pt x="1663" y="184"/>
                    <a:pt x="1653" y="162"/>
                    <a:pt x="1660" y="163"/>
                  </a:cubicBezTo>
                  <a:cubicBezTo>
                    <a:pt x="1666" y="165"/>
                    <a:pt x="1678" y="158"/>
                    <a:pt x="1679" y="167"/>
                  </a:cubicBezTo>
                  <a:cubicBezTo>
                    <a:pt x="1678" y="179"/>
                    <a:pt x="1663" y="178"/>
                    <a:pt x="1663" y="185"/>
                  </a:cubicBezTo>
                  <a:cubicBezTo>
                    <a:pt x="1662" y="195"/>
                    <a:pt x="1655" y="189"/>
                    <a:pt x="1655" y="196"/>
                  </a:cubicBezTo>
                  <a:cubicBezTo>
                    <a:pt x="1661" y="199"/>
                    <a:pt x="1656" y="217"/>
                    <a:pt x="1657" y="226"/>
                  </a:cubicBezTo>
                  <a:cubicBezTo>
                    <a:pt x="1644" y="218"/>
                    <a:pt x="1654" y="243"/>
                    <a:pt x="1647" y="244"/>
                  </a:cubicBezTo>
                  <a:cubicBezTo>
                    <a:pt x="1648" y="231"/>
                    <a:pt x="1642" y="234"/>
                    <a:pt x="1641" y="230"/>
                  </a:cubicBezTo>
                  <a:cubicBezTo>
                    <a:pt x="1641" y="229"/>
                    <a:pt x="1646" y="230"/>
                    <a:pt x="1647" y="230"/>
                  </a:cubicBezTo>
                  <a:cubicBezTo>
                    <a:pt x="1648" y="228"/>
                    <a:pt x="1643" y="223"/>
                    <a:pt x="1644" y="222"/>
                  </a:cubicBezTo>
                  <a:cubicBezTo>
                    <a:pt x="1643" y="209"/>
                    <a:pt x="1637" y="235"/>
                    <a:pt x="1636" y="222"/>
                  </a:cubicBezTo>
                  <a:cubicBezTo>
                    <a:pt x="1636" y="208"/>
                    <a:pt x="1640" y="201"/>
                    <a:pt x="1644" y="193"/>
                  </a:cubicBezTo>
                  <a:cubicBezTo>
                    <a:pt x="1642" y="193"/>
                    <a:pt x="1640" y="192"/>
                    <a:pt x="1639" y="193"/>
                  </a:cubicBezTo>
                  <a:cubicBezTo>
                    <a:pt x="1635" y="194"/>
                    <a:pt x="1637" y="196"/>
                    <a:pt x="1636" y="200"/>
                  </a:cubicBezTo>
                  <a:cubicBezTo>
                    <a:pt x="1636" y="200"/>
                    <a:pt x="1633" y="200"/>
                    <a:pt x="1633" y="200"/>
                  </a:cubicBezTo>
                  <a:cubicBezTo>
                    <a:pt x="1632" y="203"/>
                    <a:pt x="1634" y="211"/>
                    <a:pt x="1633" y="215"/>
                  </a:cubicBezTo>
                  <a:cubicBezTo>
                    <a:pt x="1633" y="219"/>
                    <a:pt x="1630" y="220"/>
                    <a:pt x="1631" y="226"/>
                  </a:cubicBezTo>
                  <a:cubicBezTo>
                    <a:pt x="1631" y="231"/>
                    <a:pt x="1635" y="233"/>
                    <a:pt x="1633" y="241"/>
                  </a:cubicBezTo>
                  <a:cubicBezTo>
                    <a:pt x="1628" y="234"/>
                    <a:pt x="1627" y="240"/>
                    <a:pt x="1620" y="241"/>
                  </a:cubicBezTo>
                  <a:cubicBezTo>
                    <a:pt x="1620" y="231"/>
                    <a:pt x="1608" y="237"/>
                    <a:pt x="1612" y="222"/>
                  </a:cubicBezTo>
                  <a:cubicBezTo>
                    <a:pt x="1615" y="223"/>
                    <a:pt x="1617" y="227"/>
                    <a:pt x="1623" y="226"/>
                  </a:cubicBezTo>
                  <a:cubicBezTo>
                    <a:pt x="1622" y="215"/>
                    <a:pt x="1623" y="213"/>
                    <a:pt x="1628" y="218"/>
                  </a:cubicBezTo>
                  <a:cubicBezTo>
                    <a:pt x="1625" y="212"/>
                    <a:pt x="1629" y="201"/>
                    <a:pt x="1630" y="200"/>
                  </a:cubicBezTo>
                  <a:cubicBezTo>
                    <a:pt x="1629" y="199"/>
                    <a:pt x="1624" y="199"/>
                    <a:pt x="1625" y="196"/>
                  </a:cubicBezTo>
                  <a:cubicBezTo>
                    <a:pt x="1627" y="193"/>
                    <a:pt x="1637" y="199"/>
                    <a:pt x="1633" y="189"/>
                  </a:cubicBezTo>
                  <a:cubicBezTo>
                    <a:pt x="1629" y="189"/>
                    <a:pt x="1624" y="189"/>
                    <a:pt x="1620" y="189"/>
                  </a:cubicBezTo>
                  <a:cubicBezTo>
                    <a:pt x="1620" y="202"/>
                    <a:pt x="1621" y="215"/>
                    <a:pt x="1614" y="218"/>
                  </a:cubicBezTo>
                  <a:cubicBezTo>
                    <a:pt x="1614" y="211"/>
                    <a:pt x="1607" y="224"/>
                    <a:pt x="1606" y="211"/>
                  </a:cubicBezTo>
                  <a:cubicBezTo>
                    <a:pt x="1612" y="210"/>
                    <a:pt x="1618" y="210"/>
                    <a:pt x="1617" y="200"/>
                  </a:cubicBezTo>
                  <a:cubicBezTo>
                    <a:pt x="1612" y="198"/>
                    <a:pt x="1601" y="205"/>
                    <a:pt x="1601" y="196"/>
                  </a:cubicBezTo>
                  <a:cubicBezTo>
                    <a:pt x="1602" y="191"/>
                    <a:pt x="1605" y="189"/>
                    <a:pt x="1604" y="182"/>
                  </a:cubicBezTo>
                  <a:cubicBezTo>
                    <a:pt x="1590" y="179"/>
                    <a:pt x="1607" y="180"/>
                    <a:pt x="1606" y="174"/>
                  </a:cubicBezTo>
                  <a:cubicBezTo>
                    <a:pt x="1603" y="174"/>
                    <a:pt x="1599" y="175"/>
                    <a:pt x="1598" y="170"/>
                  </a:cubicBezTo>
                  <a:cubicBezTo>
                    <a:pt x="1610" y="173"/>
                    <a:pt x="1596" y="163"/>
                    <a:pt x="1604" y="163"/>
                  </a:cubicBezTo>
                  <a:cubicBezTo>
                    <a:pt x="1606" y="176"/>
                    <a:pt x="1618" y="182"/>
                    <a:pt x="1612" y="196"/>
                  </a:cubicBezTo>
                  <a:cubicBezTo>
                    <a:pt x="1622" y="199"/>
                    <a:pt x="1615" y="179"/>
                    <a:pt x="1617" y="170"/>
                  </a:cubicBezTo>
                  <a:cubicBezTo>
                    <a:pt x="1618" y="169"/>
                    <a:pt x="1624" y="171"/>
                    <a:pt x="1623" y="167"/>
                  </a:cubicBezTo>
                  <a:cubicBezTo>
                    <a:pt x="1621" y="167"/>
                    <a:pt x="1619" y="166"/>
                    <a:pt x="1620" y="163"/>
                  </a:cubicBezTo>
                  <a:cubicBezTo>
                    <a:pt x="1617" y="163"/>
                    <a:pt x="1617" y="160"/>
                    <a:pt x="1614" y="159"/>
                  </a:cubicBezTo>
                  <a:cubicBezTo>
                    <a:pt x="1613" y="164"/>
                    <a:pt x="1612" y="168"/>
                    <a:pt x="1609" y="170"/>
                  </a:cubicBezTo>
                  <a:cubicBezTo>
                    <a:pt x="1614" y="153"/>
                    <a:pt x="1602" y="159"/>
                    <a:pt x="1598" y="152"/>
                  </a:cubicBezTo>
                  <a:cubicBezTo>
                    <a:pt x="1598" y="147"/>
                    <a:pt x="1614" y="147"/>
                    <a:pt x="1604" y="141"/>
                  </a:cubicBezTo>
                  <a:cubicBezTo>
                    <a:pt x="1602" y="152"/>
                    <a:pt x="1600" y="135"/>
                    <a:pt x="1596" y="137"/>
                  </a:cubicBezTo>
                  <a:cubicBezTo>
                    <a:pt x="1596" y="143"/>
                    <a:pt x="1588" y="139"/>
                    <a:pt x="1588" y="145"/>
                  </a:cubicBezTo>
                  <a:cubicBezTo>
                    <a:pt x="1590" y="148"/>
                    <a:pt x="1597" y="146"/>
                    <a:pt x="1596" y="156"/>
                  </a:cubicBezTo>
                  <a:cubicBezTo>
                    <a:pt x="1579" y="151"/>
                    <a:pt x="1596" y="170"/>
                    <a:pt x="1588" y="174"/>
                  </a:cubicBezTo>
                  <a:cubicBezTo>
                    <a:pt x="1584" y="174"/>
                    <a:pt x="1582" y="168"/>
                    <a:pt x="1580" y="174"/>
                  </a:cubicBezTo>
                  <a:cubicBezTo>
                    <a:pt x="1591" y="170"/>
                    <a:pt x="1585" y="192"/>
                    <a:pt x="1585" y="193"/>
                  </a:cubicBezTo>
                  <a:cubicBezTo>
                    <a:pt x="1585" y="194"/>
                    <a:pt x="1592" y="192"/>
                    <a:pt x="1590" y="196"/>
                  </a:cubicBezTo>
                  <a:cubicBezTo>
                    <a:pt x="1583" y="199"/>
                    <a:pt x="1588" y="217"/>
                    <a:pt x="1580" y="218"/>
                  </a:cubicBezTo>
                  <a:cubicBezTo>
                    <a:pt x="1574" y="217"/>
                    <a:pt x="1574" y="208"/>
                    <a:pt x="1569" y="207"/>
                  </a:cubicBezTo>
                  <a:cubicBezTo>
                    <a:pt x="1568" y="210"/>
                    <a:pt x="1569" y="215"/>
                    <a:pt x="1566" y="215"/>
                  </a:cubicBezTo>
                  <a:cubicBezTo>
                    <a:pt x="1564" y="204"/>
                    <a:pt x="1570" y="205"/>
                    <a:pt x="1569" y="196"/>
                  </a:cubicBezTo>
                  <a:cubicBezTo>
                    <a:pt x="1564" y="198"/>
                    <a:pt x="1560" y="183"/>
                    <a:pt x="1566" y="182"/>
                  </a:cubicBezTo>
                  <a:cubicBezTo>
                    <a:pt x="1566" y="188"/>
                    <a:pt x="1569" y="190"/>
                    <a:pt x="1574" y="189"/>
                  </a:cubicBezTo>
                  <a:cubicBezTo>
                    <a:pt x="1573" y="199"/>
                    <a:pt x="1575" y="205"/>
                    <a:pt x="1582" y="204"/>
                  </a:cubicBezTo>
                  <a:cubicBezTo>
                    <a:pt x="1581" y="191"/>
                    <a:pt x="1575" y="199"/>
                    <a:pt x="1580" y="185"/>
                  </a:cubicBezTo>
                  <a:cubicBezTo>
                    <a:pt x="1568" y="190"/>
                    <a:pt x="1575" y="170"/>
                    <a:pt x="1569" y="167"/>
                  </a:cubicBezTo>
                  <a:cubicBezTo>
                    <a:pt x="1565" y="181"/>
                    <a:pt x="1568" y="156"/>
                    <a:pt x="1563" y="159"/>
                  </a:cubicBezTo>
                  <a:cubicBezTo>
                    <a:pt x="1558" y="172"/>
                    <a:pt x="1554" y="153"/>
                    <a:pt x="1547" y="156"/>
                  </a:cubicBezTo>
                  <a:cubicBezTo>
                    <a:pt x="1550" y="161"/>
                    <a:pt x="1548" y="171"/>
                    <a:pt x="1550" y="174"/>
                  </a:cubicBezTo>
                  <a:cubicBezTo>
                    <a:pt x="1552" y="177"/>
                    <a:pt x="1557" y="177"/>
                    <a:pt x="1558" y="182"/>
                  </a:cubicBezTo>
                  <a:cubicBezTo>
                    <a:pt x="1554" y="182"/>
                    <a:pt x="1553" y="188"/>
                    <a:pt x="1550" y="189"/>
                  </a:cubicBezTo>
                  <a:cubicBezTo>
                    <a:pt x="1547" y="176"/>
                    <a:pt x="1530" y="182"/>
                    <a:pt x="1523" y="174"/>
                  </a:cubicBezTo>
                  <a:cubicBezTo>
                    <a:pt x="1522" y="177"/>
                    <a:pt x="1521" y="178"/>
                    <a:pt x="1518" y="178"/>
                  </a:cubicBezTo>
                  <a:cubicBezTo>
                    <a:pt x="1518" y="166"/>
                    <a:pt x="1510" y="187"/>
                    <a:pt x="1510" y="174"/>
                  </a:cubicBezTo>
                  <a:cubicBezTo>
                    <a:pt x="1510" y="169"/>
                    <a:pt x="1514" y="168"/>
                    <a:pt x="1515" y="163"/>
                  </a:cubicBezTo>
                  <a:cubicBezTo>
                    <a:pt x="1504" y="168"/>
                    <a:pt x="1506" y="156"/>
                    <a:pt x="1502" y="152"/>
                  </a:cubicBezTo>
                  <a:cubicBezTo>
                    <a:pt x="1501" y="156"/>
                    <a:pt x="1501" y="161"/>
                    <a:pt x="1496" y="159"/>
                  </a:cubicBezTo>
                  <a:cubicBezTo>
                    <a:pt x="1498" y="156"/>
                    <a:pt x="1502" y="146"/>
                    <a:pt x="1493" y="148"/>
                  </a:cubicBezTo>
                  <a:cubicBezTo>
                    <a:pt x="1485" y="147"/>
                    <a:pt x="1500" y="159"/>
                    <a:pt x="1491" y="159"/>
                  </a:cubicBezTo>
                  <a:cubicBezTo>
                    <a:pt x="1489" y="154"/>
                    <a:pt x="1487" y="150"/>
                    <a:pt x="1483" y="148"/>
                  </a:cubicBezTo>
                  <a:cubicBezTo>
                    <a:pt x="1483" y="164"/>
                    <a:pt x="1458" y="151"/>
                    <a:pt x="1450" y="156"/>
                  </a:cubicBezTo>
                  <a:cubicBezTo>
                    <a:pt x="1450" y="152"/>
                    <a:pt x="1450" y="148"/>
                    <a:pt x="1450" y="145"/>
                  </a:cubicBezTo>
                  <a:cubicBezTo>
                    <a:pt x="1445" y="143"/>
                    <a:pt x="1445" y="151"/>
                    <a:pt x="1442" y="152"/>
                  </a:cubicBezTo>
                  <a:cubicBezTo>
                    <a:pt x="1438" y="154"/>
                    <a:pt x="1433" y="151"/>
                    <a:pt x="1429" y="152"/>
                  </a:cubicBezTo>
                  <a:cubicBezTo>
                    <a:pt x="1428" y="150"/>
                    <a:pt x="1430" y="142"/>
                    <a:pt x="1429" y="141"/>
                  </a:cubicBezTo>
                  <a:cubicBezTo>
                    <a:pt x="1425" y="137"/>
                    <a:pt x="1406" y="140"/>
                    <a:pt x="1391" y="137"/>
                  </a:cubicBezTo>
                  <a:cubicBezTo>
                    <a:pt x="1388" y="137"/>
                    <a:pt x="1388" y="134"/>
                    <a:pt x="1383" y="133"/>
                  </a:cubicBezTo>
                  <a:cubicBezTo>
                    <a:pt x="1375" y="133"/>
                    <a:pt x="1377" y="140"/>
                    <a:pt x="1373" y="133"/>
                  </a:cubicBezTo>
                  <a:cubicBezTo>
                    <a:pt x="1370" y="130"/>
                    <a:pt x="1351" y="133"/>
                    <a:pt x="1354" y="137"/>
                  </a:cubicBezTo>
                  <a:cubicBezTo>
                    <a:pt x="1355" y="144"/>
                    <a:pt x="1366" y="137"/>
                    <a:pt x="1367" y="145"/>
                  </a:cubicBezTo>
                  <a:cubicBezTo>
                    <a:pt x="1362" y="152"/>
                    <a:pt x="1368" y="161"/>
                    <a:pt x="1367" y="163"/>
                  </a:cubicBezTo>
                  <a:cubicBezTo>
                    <a:pt x="1367" y="164"/>
                    <a:pt x="1362" y="162"/>
                    <a:pt x="1362" y="163"/>
                  </a:cubicBezTo>
                  <a:cubicBezTo>
                    <a:pt x="1361" y="164"/>
                    <a:pt x="1362" y="170"/>
                    <a:pt x="1362" y="170"/>
                  </a:cubicBezTo>
                  <a:cubicBezTo>
                    <a:pt x="1359" y="172"/>
                    <a:pt x="1354" y="170"/>
                    <a:pt x="1354" y="167"/>
                  </a:cubicBezTo>
                  <a:cubicBezTo>
                    <a:pt x="1357" y="166"/>
                    <a:pt x="1360" y="166"/>
                    <a:pt x="1359" y="159"/>
                  </a:cubicBezTo>
                  <a:cubicBezTo>
                    <a:pt x="1352" y="162"/>
                    <a:pt x="1349" y="158"/>
                    <a:pt x="1351" y="148"/>
                  </a:cubicBezTo>
                  <a:cubicBezTo>
                    <a:pt x="1354" y="153"/>
                    <a:pt x="1364" y="154"/>
                    <a:pt x="1364" y="145"/>
                  </a:cubicBezTo>
                  <a:cubicBezTo>
                    <a:pt x="1352" y="148"/>
                    <a:pt x="1351" y="136"/>
                    <a:pt x="1346" y="130"/>
                  </a:cubicBezTo>
                  <a:cubicBezTo>
                    <a:pt x="1345" y="135"/>
                    <a:pt x="1347" y="138"/>
                    <a:pt x="1348" y="141"/>
                  </a:cubicBezTo>
                  <a:cubicBezTo>
                    <a:pt x="1345" y="141"/>
                    <a:pt x="1342" y="143"/>
                    <a:pt x="1340" y="145"/>
                  </a:cubicBezTo>
                  <a:cubicBezTo>
                    <a:pt x="1339" y="140"/>
                    <a:pt x="1332" y="144"/>
                    <a:pt x="1329" y="141"/>
                  </a:cubicBezTo>
                  <a:cubicBezTo>
                    <a:pt x="1328" y="139"/>
                    <a:pt x="1330" y="132"/>
                    <a:pt x="1327" y="133"/>
                  </a:cubicBezTo>
                  <a:cubicBezTo>
                    <a:pt x="1322" y="151"/>
                    <a:pt x="1306" y="131"/>
                    <a:pt x="1297" y="141"/>
                  </a:cubicBezTo>
                  <a:cubicBezTo>
                    <a:pt x="1297" y="136"/>
                    <a:pt x="1298" y="133"/>
                    <a:pt x="1300" y="130"/>
                  </a:cubicBezTo>
                  <a:cubicBezTo>
                    <a:pt x="1291" y="132"/>
                    <a:pt x="1293" y="117"/>
                    <a:pt x="1286" y="126"/>
                  </a:cubicBezTo>
                  <a:cubicBezTo>
                    <a:pt x="1287" y="121"/>
                    <a:pt x="1285" y="118"/>
                    <a:pt x="1284" y="115"/>
                  </a:cubicBezTo>
                  <a:cubicBezTo>
                    <a:pt x="1283" y="112"/>
                    <a:pt x="1284" y="108"/>
                    <a:pt x="1281" y="108"/>
                  </a:cubicBezTo>
                  <a:cubicBezTo>
                    <a:pt x="1281" y="117"/>
                    <a:pt x="1280" y="123"/>
                    <a:pt x="1276" y="126"/>
                  </a:cubicBezTo>
                  <a:cubicBezTo>
                    <a:pt x="1268" y="131"/>
                    <a:pt x="1262" y="116"/>
                    <a:pt x="1260" y="126"/>
                  </a:cubicBezTo>
                  <a:cubicBezTo>
                    <a:pt x="1262" y="127"/>
                    <a:pt x="1263" y="129"/>
                    <a:pt x="1262" y="133"/>
                  </a:cubicBezTo>
                  <a:cubicBezTo>
                    <a:pt x="1255" y="133"/>
                    <a:pt x="1248" y="133"/>
                    <a:pt x="1241" y="133"/>
                  </a:cubicBezTo>
                  <a:cubicBezTo>
                    <a:pt x="1248" y="120"/>
                    <a:pt x="1234" y="134"/>
                    <a:pt x="1225" y="130"/>
                  </a:cubicBezTo>
                  <a:cubicBezTo>
                    <a:pt x="1225" y="109"/>
                    <a:pt x="1222" y="127"/>
                    <a:pt x="1219" y="126"/>
                  </a:cubicBezTo>
                  <a:cubicBezTo>
                    <a:pt x="1217" y="125"/>
                    <a:pt x="1220" y="119"/>
                    <a:pt x="1217" y="119"/>
                  </a:cubicBezTo>
                  <a:cubicBezTo>
                    <a:pt x="1216" y="119"/>
                    <a:pt x="1216" y="126"/>
                    <a:pt x="1214" y="126"/>
                  </a:cubicBezTo>
                  <a:cubicBezTo>
                    <a:pt x="1213" y="126"/>
                    <a:pt x="1211" y="117"/>
                    <a:pt x="1208" y="119"/>
                  </a:cubicBezTo>
                  <a:cubicBezTo>
                    <a:pt x="1208" y="122"/>
                    <a:pt x="1208" y="126"/>
                    <a:pt x="1206" y="126"/>
                  </a:cubicBezTo>
                  <a:cubicBezTo>
                    <a:pt x="1205" y="122"/>
                    <a:pt x="1206" y="116"/>
                    <a:pt x="1203" y="115"/>
                  </a:cubicBezTo>
                  <a:cubicBezTo>
                    <a:pt x="1197" y="120"/>
                    <a:pt x="1207" y="124"/>
                    <a:pt x="1200" y="126"/>
                  </a:cubicBezTo>
                  <a:cubicBezTo>
                    <a:pt x="1197" y="125"/>
                    <a:pt x="1197" y="120"/>
                    <a:pt x="1198" y="115"/>
                  </a:cubicBezTo>
                  <a:cubicBezTo>
                    <a:pt x="1190" y="116"/>
                    <a:pt x="1179" y="112"/>
                    <a:pt x="1179" y="122"/>
                  </a:cubicBezTo>
                  <a:cubicBezTo>
                    <a:pt x="1182" y="123"/>
                    <a:pt x="1187" y="122"/>
                    <a:pt x="1187" y="126"/>
                  </a:cubicBezTo>
                  <a:cubicBezTo>
                    <a:pt x="1182" y="126"/>
                    <a:pt x="1178" y="126"/>
                    <a:pt x="1173" y="126"/>
                  </a:cubicBezTo>
                  <a:cubicBezTo>
                    <a:pt x="1170" y="121"/>
                    <a:pt x="1172" y="105"/>
                    <a:pt x="1165" y="115"/>
                  </a:cubicBezTo>
                  <a:cubicBezTo>
                    <a:pt x="1169" y="103"/>
                    <a:pt x="1161" y="106"/>
                    <a:pt x="1160" y="100"/>
                  </a:cubicBezTo>
                  <a:cubicBezTo>
                    <a:pt x="1164" y="100"/>
                    <a:pt x="1170" y="101"/>
                    <a:pt x="1171" y="96"/>
                  </a:cubicBezTo>
                  <a:cubicBezTo>
                    <a:pt x="1163" y="97"/>
                    <a:pt x="1168" y="78"/>
                    <a:pt x="1160" y="78"/>
                  </a:cubicBezTo>
                  <a:cubicBezTo>
                    <a:pt x="1157" y="87"/>
                    <a:pt x="1168" y="93"/>
                    <a:pt x="1160" y="96"/>
                  </a:cubicBezTo>
                  <a:cubicBezTo>
                    <a:pt x="1158" y="94"/>
                    <a:pt x="1145" y="88"/>
                    <a:pt x="1144" y="96"/>
                  </a:cubicBezTo>
                  <a:cubicBezTo>
                    <a:pt x="1147" y="100"/>
                    <a:pt x="1151" y="101"/>
                    <a:pt x="1157" y="100"/>
                  </a:cubicBezTo>
                  <a:cubicBezTo>
                    <a:pt x="1161" y="105"/>
                    <a:pt x="1161" y="118"/>
                    <a:pt x="1155" y="119"/>
                  </a:cubicBezTo>
                  <a:cubicBezTo>
                    <a:pt x="1154" y="112"/>
                    <a:pt x="1145" y="98"/>
                    <a:pt x="1141" y="108"/>
                  </a:cubicBezTo>
                  <a:cubicBezTo>
                    <a:pt x="1144" y="109"/>
                    <a:pt x="1145" y="112"/>
                    <a:pt x="1147" y="115"/>
                  </a:cubicBezTo>
                  <a:cubicBezTo>
                    <a:pt x="1149" y="118"/>
                    <a:pt x="1152" y="119"/>
                    <a:pt x="1155" y="122"/>
                  </a:cubicBezTo>
                  <a:cubicBezTo>
                    <a:pt x="1156" y="123"/>
                    <a:pt x="1154" y="128"/>
                    <a:pt x="1155" y="130"/>
                  </a:cubicBezTo>
                  <a:cubicBezTo>
                    <a:pt x="1156" y="132"/>
                    <a:pt x="1161" y="129"/>
                    <a:pt x="1160" y="133"/>
                  </a:cubicBezTo>
                  <a:cubicBezTo>
                    <a:pt x="1155" y="134"/>
                    <a:pt x="1162" y="140"/>
                    <a:pt x="1157" y="141"/>
                  </a:cubicBezTo>
                  <a:cubicBezTo>
                    <a:pt x="1151" y="135"/>
                    <a:pt x="1147" y="142"/>
                    <a:pt x="1144" y="137"/>
                  </a:cubicBezTo>
                  <a:cubicBezTo>
                    <a:pt x="1140" y="131"/>
                    <a:pt x="1131" y="142"/>
                    <a:pt x="1131" y="141"/>
                  </a:cubicBezTo>
                  <a:cubicBezTo>
                    <a:pt x="1134" y="132"/>
                    <a:pt x="1120" y="129"/>
                    <a:pt x="1128" y="126"/>
                  </a:cubicBezTo>
                  <a:cubicBezTo>
                    <a:pt x="1134" y="127"/>
                    <a:pt x="1139" y="134"/>
                    <a:pt x="1141" y="122"/>
                  </a:cubicBezTo>
                  <a:cubicBezTo>
                    <a:pt x="1134" y="123"/>
                    <a:pt x="1132" y="117"/>
                    <a:pt x="1133" y="108"/>
                  </a:cubicBezTo>
                  <a:cubicBezTo>
                    <a:pt x="1124" y="111"/>
                    <a:pt x="1113" y="109"/>
                    <a:pt x="1098" y="104"/>
                  </a:cubicBezTo>
                  <a:cubicBezTo>
                    <a:pt x="1092" y="109"/>
                    <a:pt x="1102" y="113"/>
                    <a:pt x="1096" y="115"/>
                  </a:cubicBezTo>
                  <a:cubicBezTo>
                    <a:pt x="1091" y="115"/>
                    <a:pt x="1086" y="114"/>
                    <a:pt x="1087" y="122"/>
                  </a:cubicBezTo>
                  <a:cubicBezTo>
                    <a:pt x="1097" y="123"/>
                    <a:pt x="1095" y="117"/>
                    <a:pt x="1098" y="122"/>
                  </a:cubicBezTo>
                  <a:cubicBezTo>
                    <a:pt x="1099" y="123"/>
                    <a:pt x="1103" y="122"/>
                    <a:pt x="1104" y="122"/>
                  </a:cubicBezTo>
                  <a:cubicBezTo>
                    <a:pt x="1109" y="123"/>
                    <a:pt x="1123" y="119"/>
                    <a:pt x="1122" y="130"/>
                  </a:cubicBezTo>
                  <a:cubicBezTo>
                    <a:pt x="1119" y="130"/>
                    <a:pt x="1120" y="136"/>
                    <a:pt x="1117" y="137"/>
                  </a:cubicBezTo>
                  <a:cubicBezTo>
                    <a:pt x="1117" y="135"/>
                    <a:pt x="1117" y="132"/>
                    <a:pt x="1117" y="130"/>
                  </a:cubicBezTo>
                  <a:cubicBezTo>
                    <a:pt x="1104" y="125"/>
                    <a:pt x="1081" y="135"/>
                    <a:pt x="1085" y="108"/>
                  </a:cubicBezTo>
                  <a:cubicBezTo>
                    <a:pt x="1079" y="105"/>
                    <a:pt x="1073" y="95"/>
                    <a:pt x="1071" y="108"/>
                  </a:cubicBezTo>
                  <a:cubicBezTo>
                    <a:pt x="1076" y="105"/>
                    <a:pt x="1083" y="115"/>
                    <a:pt x="1077" y="115"/>
                  </a:cubicBezTo>
                  <a:cubicBezTo>
                    <a:pt x="1069" y="112"/>
                    <a:pt x="1070" y="101"/>
                    <a:pt x="1063" y="100"/>
                  </a:cubicBezTo>
                  <a:cubicBezTo>
                    <a:pt x="1063" y="100"/>
                    <a:pt x="1063" y="106"/>
                    <a:pt x="1061" y="104"/>
                  </a:cubicBezTo>
                  <a:cubicBezTo>
                    <a:pt x="1059" y="103"/>
                    <a:pt x="1060" y="94"/>
                    <a:pt x="1058" y="93"/>
                  </a:cubicBezTo>
                  <a:cubicBezTo>
                    <a:pt x="1055" y="91"/>
                    <a:pt x="1050" y="94"/>
                    <a:pt x="1047" y="93"/>
                  </a:cubicBezTo>
                  <a:cubicBezTo>
                    <a:pt x="1048" y="102"/>
                    <a:pt x="1043" y="104"/>
                    <a:pt x="1039" y="108"/>
                  </a:cubicBezTo>
                  <a:cubicBezTo>
                    <a:pt x="1041" y="93"/>
                    <a:pt x="1031" y="110"/>
                    <a:pt x="1028" y="111"/>
                  </a:cubicBezTo>
                  <a:cubicBezTo>
                    <a:pt x="1028" y="111"/>
                    <a:pt x="1029" y="104"/>
                    <a:pt x="1028" y="104"/>
                  </a:cubicBezTo>
                  <a:cubicBezTo>
                    <a:pt x="1025" y="99"/>
                    <a:pt x="1017" y="111"/>
                    <a:pt x="1020" y="115"/>
                  </a:cubicBezTo>
                  <a:cubicBezTo>
                    <a:pt x="1031" y="116"/>
                    <a:pt x="1046" y="111"/>
                    <a:pt x="1050" y="122"/>
                  </a:cubicBezTo>
                  <a:cubicBezTo>
                    <a:pt x="1039" y="118"/>
                    <a:pt x="1033" y="124"/>
                    <a:pt x="1018" y="122"/>
                  </a:cubicBezTo>
                  <a:cubicBezTo>
                    <a:pt x="1015" y="105"/>
                    <a:pt x="1020" y="94"/>
                    <a:pt x="1012" y="89"/>
                  </a:cubicBezTo>
                  <a:cubicBezTo>
                    <a:pt x="1008" y="103"/>
                    <a:pt x="1014" y="113"/>
                    <a:pt x="1009" y="119"/>
                  </a:cubicBezTo>
                  <a:cubicBezTo>
                    <a:pt x="1007" y="114"/>
                    <a:pt x="1008" y="111"/>
                    <a:pt x="1007" y="104"/>
                  </a:cubicBezTo>
                  <a:cubicBezTo>
                    <a:pt x="1006" y="101"/>
                    <a:pt x="1004" y="101"/>
                    <a:pt x="1004" y="100"/>
                  </a:cubicBezTo>
                  <a:cubicBezTo>
                    <a:pt x="1003" y="97"/>
                    <a:pt x="1007" y="95"/>
                    <a:pt x="1007" y="93"/>
                  </a:cubicBezTo>
                  <a:cubicBezTo>
                    <a:pt x="1006" y="90"/>
                    <a:pt x="999" y="89"/>
                    <a:pt x="1001" y="82"/>
                  </a:cubicBezTo>
                  <a:cubicBezTo>
                    <a:pt x="1005" y="81"/>
                    <a:pt x="1009" y="82"/>
                    <a:pt x="1009" y="78"/>
                  </a:cubicBezTo>
                  <a:cubicBezTo>
                    <a:pt x="1006" y="78"/>
                    <a:pt x="1002" y="78"/>
                    <a:pt x="999" y="78"/>
                  </a:cubicBezTo>
                  <a:cubicBezTo>
                    <a:pt x="999" y="84"/>
                    <a:pt x="998" y="89"/>
                    <a:pt x="996" y="93"/>
                  </a:cubicBezTo>
                  <a:cubicBezTo>
                    <a:pt x="998" y="94"/>
                    <a:pt x="1008" y="103"/>
                    <a:pt x="1001" y="104"/>
                  </a:cubicBezTo>
                  <a:cubicBezTo>
                    <a:pt x="993" y="107"/>
                    <a:pt x="998" y="92"/>
                    <a:pt x="991" y="93"/>
                  </a:cubicBezTo>
                  <a:cubicBezTo>
                    <a:pt x="982" y="104"/>
                    <a:pt x="968" y="88"/>
                    <a:pt x="966" y="96"/>
                  </a:cubicBezTo>
                  <a:cubicBezTo>
                    <a:pt x="970" y="98"/>
                    <a:pt x="972" y="100"/>
                    <a:pt x="975" y="104"/>
                  </a:cubicBezTo>
                  <a:cubicBezTo>
                    <a:pt x="972" y="107"/>
                    <a:pt x="974" y="111"/>
                    <a:pt x="972" y="122"/>
                  </a:cubicBezTo>
                  <a:cubicBezTo>
                    <a:pt x="970" y="124"/>
                    <a:pt x="959" y="131"/>
                    <a:pt x="958" y="122"/>
                  </a:cubicBezTo>
                  <a:cubicBezTo>
                    <a:pt x="958" y="115"/>
                    <a:pt x="962" y="115"/>
                    <a:pt x="964" y="111"/>
                  </a:cubicBezTo>
                  <a:cubicBezTo>
                    <a:pt x="959" y="110"/>
                    <a:pt x="965" y="105"/>
                    <a:pt x="961" y="104"/>
                  </a:cubicBezTo>
                  <a:cubicBezTo>
                    <a:pt x="959" y="113"/>
                    <a:pt x="952" y="91"/>
                    <a:pt x="950" y="108"/>
                  </a:cubicBezTo>
                  <a:cubicBezTo>
                    <a:pt x="952" y="108"/>
                    <a:pt x="956" y="108"/>
                    <a:pt x="956" y="111"/>
                  </a:cubicBezTo>
                  <a:cubicBezTo>
                    <a:pt x="951" y="111"/>
                    <a:pt x="947" y="109"/>
                    <a:pt x="945" y="104"/>
                  </a:cubicBezTo>
                  <a:cubicBezTo>
                    <a:pt x="947" y="95"/>
                    <a:pt x="949" y="87"/>
                    <a:pt x="940" y="85"/>
                  </a:cubicBezTo>
                  <a:cubicBezTo>
                    <a:pt x="937" y="99"/>
                    <a:pt x="947" y="108"/>
                    <a:pt x="937" y="111"/>
                  </a:cubicBezTo>
                  <a:cubicBezTo>
                    <a:pt x="935" y="94"/>
                    <a:pt x="924" y="96"/>
                    <a:pt x="918" y="108"/>
                  </a:cubicBezTo>
                  <a:cubicBezTo>
                    <a:pt x="917" y="99"/>
                    <a:pt x="919" y="93"/>
                    <a:pt x="921" y="89"/>
                  </a:cubicBezTo>
                  <a:cubicBezTo>
                    <a:pt x="912" y="83"/>
                    <a:pt x="904" y="87"/>
                    <a:pt x="894" y="89"/>
                  </a:cubicBezTo>
                  <a:cubicBezTo>
                    <a:pt x="890" y="84"/>
                    <a:pt x="890" y="75"/>
                    <a:pt x="894" y="71"/>
                  </a:cubicBezTo>
                  <a:cubicBezTo>
                    <a:pt x="890" y="71"/>
                    <a:pt x="887" y="71"/>
                    <a:pt x="883" y="71"/>
                  </a:cubicBezTo>
                  <a:cubicBezTo>
                    <a:pt x="881" y="82"/>
                    <a:pt x="892" y="75"/>
                    <a:pt x="889" y="89"/>
                  </a:cubicBezTo>
                  <a:cubicBezTo>
                    <a:pt x="875" y="87"/>
                    <a:pt x="875" y="90"/>
                    <a:pt x="867" y="82"/>
                  </a:cubicBezTo>
                  <a:cubicBezTo>
                    <a:pt x="865" y="94"/>
                    <a:pt x="858" y="80"/>
                    <a:pt x="856" y="82"/>
                  </a:cubicBezTo>
                  <a:cubicBezTo>
                    <a:pt x="854" y="83"/>
                    <a:pt x="856" y="95"/>
                    <a:pt x="851" y="93"/>
                  </a:cubicBezTo>
                  <a:cubicBezTo>
                    <a:pt x="853" y="81"/>
                    <a:pt x="847" y="81"/>
                    <a:pt x="843" y="78"/>
                  </a:cubicBezTo>
                  <a:cubicBezTo>
                    <a:pt x="841" y="96"/>
                    <a:pt x="839" y="103"/>
                    <a:pt x="843" y="115"/>
                  </a:cubicBezTo>
                  <a:cubicBezTo>
                    <a:pt x="838" y="115"/>
                    <a:pt x="834" y="115"/>
                    <a:pt x="829" y="115"/>
                  </a:cubicBezTo>
                  <a:cubicBezTo>
                    <a:pt x="829" y="109"/>
                    <a:pt x="829" y="103"/>
                    <a:pt x="827" y="100"/>
                  </a:cubicBezTo>
                  <a:cubicBezTo>
                    <a:pt x="829" y="94"/>
                    <a:pt x="840" y="101"/>
                    <a:pt x="837" y="89"/>
                  </a:cubicBezTo>
                  <a:cubicBezTo>
                    <a:pt x="830" y="90"/>
                    <a:pt x="826" y="88"/>
                    <a:pt x="827" y="78"/>
                  </a:cubicBezTo>
                  <a:cubicBezTo>
                    <a:pt x="818" y="75"/>
                    <a:pt x="823" y="91"/>
                    <a:pt x="813" y="85"/>
                  </a:cubicBezTo>
                  <a:cubicBezTo>
                    <a:pt x="817" y="72"/>
                    <a:pt x="806" y="62"/>
                    <a:pt x="802" y="71"/>
                  </a:cubicBezTo>
                  <a:cubicBezTo>
                    <a:pt x="808" y="70"/>
                    <a:pt x="811" y="74"/>
                    <a:pt x="810" y="82"/>
                  </a:cubicBezTo>
                  <a:cubicBezTo>
                    <a:pt x="807" y="85"/>
                    <a:pt x="801" y="85"/>
                    <a:pt x="797" y="89"/>
                  </a:cubicBezTo>
                  <a:cubicBezTo>
                    <a:pt x="797" y="82"/>
                    <a:pt x="797" y="74"/>
                    <a:pt x="797" y="67"/>
                  </a:cubicBezTo>
                  <a:cubicBezTo>
                    <a:pt x="784" y="67"/>
                    <a:pt x="795" y="82"/>
                    <a:pt x="789" y="85"/>
                  </a:cubicBezTo>
                  <a:cubicBezTo>
                    <a:pt x="776" y="81"/>
                    <a:pt x="771" y="88"/>
                    <a:pt x="765" y="78"/>
                  </a:cubicBezTo>
                  <a:cubicBezTo>
                    <a:pt x="758" y="79"/>
                    <a:pt x="755" y="84"/>
                    <a:pt x="746" y="82"/>
                  </a:cubicBezTo>
                  <a:cubicBezTo>
                    <a:pt x="746" y="78"/>
                    <a:pt x="744" y="77"/>
                    <a:pt x="743" y="74"/>
                  </a:cubicBezTo>
                  <a:cubicBezTo>
                    <a:pt x="744" y="70"/>
                    <a:pt x="747" y="67"/>
                    <a:pt x="741" y="67"/>
                  </a:cubicBezTo>
                  <a:cubicBezTo>
                    <a:pt x="732" y="66"/>
                    <a:pt x="747" y="78"/>
                    <a:pt x="738" y="78"/>
                  </a:cubicBezTo>
                  <a:cubicBezTo>
                    <a:pt x="733" y="78"/>
                    <a:pt x="736" y="66"/>
                    <a:pt x="730" y="67"/>
                  </a:cubicBezTo>
                  <a:cubicBezTo>
                    <a:pt x="729" y="71"/>
                    <a:pt x="727" y="73"/>
                    <a:pt x="724" y="74"/>
                  </a:cubicBezTo>
                  <a:cubicBezTo>
                    <a:pt x="718" y="57"/>
                    <a:pt x="687" y="71"/>
                    <a:pt x="681" y="52"/>
                  </a:cubicBezTo>
                  <a:cubicBezTo>
                    <a:pt x="691" y="55"/>
                    <a:pt x="692" y="44"/>
                    <a:pt x="700" y="45"/>
                  </a:cubicBezTo>
                  <a:cubicBezTo>
                    <a:pt x="700" y="48"/>
                    <a:pt x="700" y="52"/>
                    <a:pt x="700" y="56"/>
                  </a:cubicBezTo>
                  <a:cubicBezTo>
                    <a:pt x="707" y="55"/>
                    <a:pt x="710" y="49"/>
                    <a:pt x="714" y="45"/>
                  </a:cubicBezTo>
                  <a:cubicBezTo>
                    <a:pt x="710" y="41"/>
                    <a:pt x="707" y="34"/>
                    <a:pt x="703" y="30"/>
                  </a:cubicBezTo>
                  <a:cubicBezTo>
                    <a:pt x="702" y="34"/>
                    <a:pt x="700" y="38"/>
                    <a:pt x="698" y="41"/>
                  </a:cubicBezTo>
                  <a:cubicBezTo>
                    <a:pt x="697" y="31"/>
                    <a:pt x="693" y="46"/>
                    <a:pt x="687" y="41"/>
                  </a:cubicBezTo>
                  <a:cubicBezTo>
                    <a:pt x="687" y="35"/>
                    <a:pt x="680" y="38"/>
                    <a:pt x="681" y="30"/>
                  </a:cubicBezTo>
                  <a:cubicBezTo>
                    <a:pt x="673" y="25"/>
                    <a:pt x="679" y="42"/>
                    <a:pt x="671" y="37"/>
                  </a:cubicBezTo>
                  <a:cubicBezTo>
                    <a:pt x="667" y="38"/>
                    <a:pt x="668" y="30"/>
                    <a:pt x="665" y="30"/>
                  </a:cubicBezTo>
                  <a:cubicBezTo>
                    <a:pt x="664" y="30"/>
                    <a:pt x="664" y="36"/>
                    <a:pt x="660" y="34"/>
                  </a:cubicBezTo>
                  <a:cubicBezTo>
                    <a:pt x="659" y="33"/>
                    <a:pt x="660" y="27"/>
                    <a:pt x="660" y="26"/>
                  </a:cubicBezTo>
                  <a:cubicBezTo>
                    <a:pt x="646" y="29"/>
                    <a:pt x="636" y="25"/>
                    <a:pt x="630" y="15"/>
                  </a:cubicBezTo>
                  <a:cubicBezTo>
                    <a:pt x="631" y="22"/>
                    <a:pt x="627" y="22"/>
                    <a:pt x="625" y="26"/>
                  </a:cubicBezTo>
                  <a:cubicBezTo>
                    <a:pt x="626" y="26"/>
                    <a:pt x="628" y="29"/>
                    <a:pt x="625" y="30"/>
                  </a:cubicBezTo>
                  <a:cubicBezTo>
                    <a:pt x="625" y="26"/>
                    <a:pt x="621" y="24"/>
                    <a:pt x="625" y="22"/>
                  </a:cubicBezTo>
                  <a:cubicBezTo>
                    <a:pt x="626" y="18"/>
                    <a:pt x="629" y="15"/>
                    <a:pt x="622" y="15"/>
                  </a:cubicBezTo>
                  <a:cubicBezTo>
                    <a:pt x="618" y="15"/>
                    <a:pt x="621" y="25"/>
                    <a:pt x="617" y="26"/>
                  </a:cubicBezTo>
                  <a:cubicBezTo>
                    <a:pt x="608" y="12"/>
                    <a:pt x="600" y="36"/>
                    <a:pt x="593" y="34"/>
                  </a:cubicBezTo>
                  <a:cubicBezTo>
                    <a:pt x="591" y="33"/>
                    <a:pt x="590" y="22"/>
                    <a:pt x="587" y="22"/>
                  </a:cubicBezTo>
                  <a:cubicBezTo>
                    <a:pt x="587" y="28"/>
                    <a:pt x="588" y="36"/>
                    <a:pt x="585" y="37"/>
                  </a:cubicBezTo>
                  <a:cubicBezTo>
                    <a:pt x="584" y="33"/>
                    <a:pt x="580" y="33"/>
                    <a:pt x="577" y="34"/>
                  </a:cubicBezTo>
                  <a:cubicBezTo>
                    <a:pt x="578" y="24"/>
                    <a:pt x="571" y="26"/>
                    <a:pt x="568" y="22"/>
                  </a:cubicBezTo>
                  <a:cubicBezTo>
                    <a:pt x="568" y="26"/>
                    <a:pt x="566" y="27"/>
                    <a:pt x="566" y="30"/>
                  </a:cubicBezTo>
                  <a:cubicBezTo>
                    <a:pt x="566" y="34"/>
                    <a:pt x="570" y="36"/>
                    <a:pt x="566" y="37"/>
                  </a:cubicBezTo>
                  <a:cubicBezTo>
                    <a:pt x="565" y="32"/>
                    <a:pt x="562" y="30"/>
                    <a:pt x="563" y="22"/>
                  </a:cubicBezTo>
                  <a:cubicBezTo>
                    <a:pt x="557" y="30"/>
                    <a:pt x="548" y="16"/>
                    <a:pt x="542" y="26"/>
                  </a:cubicBezTo>
                  <a:cubicBezTo>
                    <a:pt x="544" y="30"/>
                    <a:pt x="547" y="34"/>
                    <a:pt x="550" y="37"/>
                  </a:cubicBezTo>
                  <a:cubicBezTo>
                    <a:pt x="541" y="38"/>
                    <a:pt x="542" y="26"/>
                    <a:pt x="531" y="30"/>
                  </a:cubicBezTo>
                  <a:cubicBezTo>
                    <a:pt x="528" y="24"/>
                    <a:pt x="527" y="18"/>
                    <a:pt x="520" y="19"/>
                  </a:cubicBezTo>
                  <a:cubicBezTo>
                    <a:pt x="519" y="16"/>
                    <a:pt x="520" y="12"/>
                    <a:pt x="517" y="11"/>
                  </a:cubicBezTo>
                  <a:cubicBezTo>
                    <a:pt x="519" y="29"/>
                    <a:pt x="509" y="18"/>
                    <a:pt x="515" y="26"/>
                  </a:cubicBezTo>
                  <a:cubicBezTo>
                    <a:pt x="516" y="28"/>
                    <a:pt x="517" y="34"/>
                    <a:pt x="515" y="34"/>
                  </a:cubicBezTo>
                  <a:cubicBezTo>
                    <a:pt x="510" y="32"/>
                    <a:pt x="513" y="19"/>
                    <a:pt x="504" y="22"/>
                  </a:cubicBezTo>
                  <a:cubicBezTo>
                    <a:pt x="501" y="29"/>
                    <a:pt x="512" y="35"/>
                    <a:pt x="504" y="37"/>
                  </a:cubicBezTo>
                  <a:cubicBezTo>
                    <a:pt x="500" y="33"/>
                    <a:pt x="503" y="19"/>
                    <a:pt x="496" y="19"/>
                  </a:cubicBezTo>
                  <a:cubicBezTo>
                    <a:pt x="497" y="29"/>
                    <a:pt x="486" y="10"/>
                    <a:pt x="485" y="22"/>
                  </a:cubicBezTo>
                  <a:cubicBezTo>
                    <a:pt x="489" y="25"/>
                    <a:pt x="492" y="28"/>
                    <a:pt x="493" y="34"/>
                  </a:cubicBezTo>
                  <a:cubicBezTo>
                    <a:pt x="487" y="29"/>
                    <a:pt x="483" y="43"/>
                    <a:pt x="482" y="34"/>
                  </a:cubicBezTo>
                  <a:cubicBezTo>
                    <a:pt x="482" y="29"/>
                    <a:pt x="487" y="30"/>
                    <a:pt x="488" y="26"/>
                  </a:cubicBezTo>
                  <a:cubicBezTo>
                    <a:pt x="488" y="26"/>
                    <a:pt x="482" y="22"/>
                    <a:pt x="482" y="19"/>
                  </a:cubicBezTo>
                  <a:cubicBezTo>
                    <a:pt x="483" y="17"/>
                    <a:pt x="489" y="15"/>
                    <a:pt x="488" y="11"/>
                  </a:cubicBezTo>
                  <a:cubicBezTo>
                    <a:pt x="479" y="8"/>
                    <a:pt x="484" y="24"/>
                    <a:pt x="477" y="22"/>
                  </a:cubicBezTo>
                  <a:cubicBezTo>
                    <a:pt x="467" y="27"/>
                    <a:pt x="462" y="15"/>
                    <a:pt x="458" y="22"/>
                  </a:cubicBezTo>
                  <a:cubicBezTo>
                    <a:pt x="459" y="22"/>
                    <a:pt x="462" y="26"/>
                    <a:pt x="458" y="26"/>
                  </a:cubicBezTo>
                  <a:cubicBezTo>
                    <a:pt x="459" y="16"/>
                    <a:pt x="441" y="31"/>
                    <a:pt x="445" y="15"/>
                  </a:cubicBezTo>
                  <a:cubicBezTo>
                    <a:pt x="440" y="14"/>
                    <a:pt x="439" y="20"/>
                    <a:pt x="437" y="22"/>
                  </a:cubicBezTo>
                  <a:cubicBezTo>
                    <a:pt x="435" y="18"/>
                    <a:pt x="434" y="14"/>
                    <a:pt x="431" y="11"/>
                  </a:cubicBezTo>
                  <a:cubicBezTo>
                    <a:pt x="425" y="29"/>
                    <a:pt x="405" y="19"/>
                    <a:pt x="399" y="30"/>
                  </a:cubicBezTo>
                  <a:cubicBezTo>
                    <a:pt x="397" y="25"/>
                    <a:pt x="393" y="23"/>
                    <a:pt x="388" y="22"/>
                  </a:cubicBezTo>
                  <a:cubicBezTo>
                    <a:pt x="388" y="18"/>
                    <a:pt x="388" y="14"/>
                    <a:pt x="383" y="15"/>
                  </a:cubicBezTo>
                  <a:cubicBezTo>
                    <a:pt x="378" y="18"/>
                    <a:pt x="379" y="29"/>
                    <a:pt x="372" y="30"/>
                  </a:cubicBezTo>
                  <a:cubicBezTo>
                    <a:pt x="372" y="26"/>
                    <a:pt x="370" y="26"/>
                    <a:pt x="367" y="26"/>
                  </a:cubicBezTo>
                  <a:cubicBezTo>
                    <a:pt x="364" y="26"/>
                    <a:pt x="365" y="23"/>
                    <a:pt x="364" y="22"/>
                  </a:cubicBezTo>
                  <a:cubicBezTo>
                    <a:pt x="362" y="21"/>
                    <a:pt x="359" y="23"/>
                    <a:pt x="356" y="22"/>
                  </a:cubicBezTo>
                  <a:cubicBezTo>
                    <a:pt x="354" y="22"/>
                    <a:pt x="352" y="19"/>
                    <a:pt x="351" y="19"/>
                  </a:cubicBezTo>
                  <a:cubicBezTo>
                    <a:pt x="349" y="19"/>
                    <a:pt x="348" y="30"/>
                    <a:pt x="343" y="26"/>
                  </a:cubicBezTo>
                  <a:cubicBezTo>
                    <a:pt x="342" y="21"/>
                    <a:pt x="344" y="13"/>
                    <a:pt x="340" y="11"/>
                  </a:cubicBezTo>
                  <a:cubicBezTo>
                    <a:pt x="339" y="14"/>
                    <a:pt x="340" y="19"/>
                    <a:pt x="337" y="19"/>
                  </a:cubicBezTo>
                  <a:cubicBezTo>
                    <a:pt x="333" y="23"/>
                    <a:pt x="333" y="20"/>
                    <a:pt x="329" y="19"/>
                  </a:cubicBezTo>
                  <a:cubicBezTo>
                    <a:pt x="324" y="17"/>
                    <a:pt x="321" y="23"/>
                    <a:pt x="318" y="22"/>
                  </a:cubicBezTo>
                  <a:cubicBezTo>
                    <a:pt x="317" y="22"/>
                    <a:pt x="317" y="18"/>
                    <a:pt x="313" y="19"/>
                  </a:cubicBezTo>
                  <a:cubicBezTo>
                    <a:pt x="311" y="19"/>
                    <a:pt x="312" y="23"/>
                    <a:pt x="308" y="22"/>
                  </a:cubicBezTo>
                  <a:cubicBezTo>
                    <a:pt x="307" y="22"/>
                    <a:pt x="303" y="15"/>
                    <a:pt x="302" y="15"/>
                  </a:cubicBezTo>
                  <a:cubicBezTo>
                    <a:pt x="288" y="21"/>
                    <a:pt x="275" y="26"/>
                    <a:pt x="265" y="15"/>
                  </a:cubicBezTo>
                  <a:cubicBezTo>
                    <a:pt x="265" y="21"/>
                    <a:pt x="253" y="23"/>
                    <a:pt x="251" y="22"/>
                  </a:cubicBezTo>
                  <a:cubicBezTo>
                    <a:pt x="249" y="22"/>
                    <a:pt x="249" y="19"/>
                    <a:pt x="249" y="19"/>
                  </a:cubicBezTo>
                  <a:cubicBezTo>
                    <a:pt x="243" y="18"/>
                    <a:pt x="234" y="31"/>
                    <a:pt x="235" y="15"/>
                  </a:cubicBezTo>
                  <a:cubicBezTo>
                    <a:pt x="225" y="18"/>
                    <a:pt x="215" y="19"/>
                    <a:pt x="205" y="22"/>
                  </a:cubicBezTo>
                  <a:cubicBezTo>
                    <a:pt x="202" y="22"/>
                    <a:pt x="201" y="18"/>
                    <a:pt x="200" y="15"/>
                  </a:cubicBezTo>
                  <a:cubicBezTo>
                    <a:pt x="195" y="12"/>
                    <a:pt x="195" y="21"/>
                    <a:pt x="189" y="22"/>
                  </a:cubicBezTo>
                  <a:cubicBezTo>
                    <a:pt x="189" y="22"/>
                    <a:pt x="187" y="18"/>
                    <a:pt x="184" y="19"/>
                  </a:cubicBezTo>
                  <a:cubicBezTo>
                    <a:pt x="184" y="19"/>
                    <a:pt x="184" y="22"/>
                    <a:pt x="184" y="22"/>
                  </a:cubicBezTo>
                  <a:cubicBezTo>
                    <a:pt x="182" y="25"/>
                    <a:pt x="166" y="23"/>
                    <a:pt x="165" y="22"/>
                  </a:cubicBezTo>
                  <a:cubicBezTo>
                    <a:pt x="161" y="21"/>
                    <a:pt x="162" y="19"/>
                    <a:pt x="160" y="22"/>
                  </a:cubicBezTo>
                  <a:cubicBezTo>
                    <a:pt x="158" y="26"/>
                    <a:pt x="145" y="22"/>
                    <a:pt x="144" y="22"/>
                  </a:cubicBezTo>
                  <a:cubicBezTo>
                    <a:pt x="140" y="24"/>
                    <a:pt x="140" y="26"/>
                    <a:pt x="138" y="22"/>
                  </a:cubicBezTo>
                  <a:cubicBezTo>
                    <a:pt x="138" y="22"/>
                    <a:pt x="134" y="23"/>
                    <a:pt x="133" y="22"/>
                  </a:cubicBezTo>
                  <a:cubicBezTo>
                    <a:pt x="123" y="21"/>
                    <a:pt x="120" y="19"/>
                    <a:pt x="114" y="19"/>
                  </a:cubicBezTo>
                  <a:cubicBezTo>
                    <a:pt x="110" y="18"/>
                    <a:pt x="111" y="23"/>
                    <a:pt x="109" y="19"/>
                  </a:cubicBezTo>
                  <a:cubicBezTo>
                    <a:pt x="108" y="18"/>
                    <a:pt x="104" y="19"/>
                    <a:pt x="103" y="19"/>
                  </a:cubicBezTo>
                  <a:cubicBezTo>
                    <a:pt x="99" y="17"/>
                    <a:pt x="97" y="16"/>
                    <a:pt x="95" y="19"/>
                  </a:cubicBezTo>
                  <a:cubicBezTo>
                    <a:pt x="95" y="19"/>
                    <a:pt x="91" y="19"/>
                    <a:pt x="90" y="19"/>
                  </a:cubicBezTo>
                  <a:cubicBezTo>
                    <a:pt x="80" y="19"/>
                    <a:pt x="79" y="14"/>
                    <a:pt x="76" y="19"/>
                  </a:cubicBezTo>
                  <a:cubicBezTo>
                    <a:pt x="74" y="23"/>
                    <a:pt x="64" y="15"/>
                    <a:pt x="63" y="15"/>
                  </a:cubicBezTo>
                  <a:cubicBezTo>
                    <a:pt x="55" y="13"/>
                    <a:pt x="48" y="12"/>
                    <a:pt x="39" y="11"/>
                  </a:cubicBezTo>
                  <a:cubicBezTo>
                    <a:pt x="39" y="7"/>
                    <a:pt x="42" y="6"/>
                    <a:pt x="41" y="0"/>
                  </a:cubicBezTo>
                  <a:cubicBezTo>
                    <a:pt x="28" y="7"/>
                    <a:pt x="16" y="24"/>
                    <a:pt x="12" y="37"/>
                  </a:cubicBezTo>
                  <a:cubicBezTo>
                    <a:pt x="11" y="39"/>
                    <a:pt x="9" y="43"/>
                    <a:pt x="9" y="45"/>
                  </a:cubicBezTo>
                  <a:cubicBezTo>
                    <a:pt x="9" y="48"/>
                    <a:pt x="7" y="47"/>
                    <a:pt x="7" y="48"/>
                  </a:cubicBezTo>
                  <a:cubicBezTo>
                    <a:pt x="4" y="56"/>
                    <a:pt x="5" y="69"/>
                    <a:pt x="4" y="78"/>
                  </a:cubicBezTo>
                  <a:cubicBezTo>
                    <a:pt x="4" y="78"/>
                    <a:pt x="2" y="79"/>
                    <a:pt x="1" y="82"/>
                  </a:cubicBezTo>
                  <a:cubicBezTo>
                    <a:pt x="0" y="85"/>
                    <a:pt x="2" y="89"/>
                    <a:pt x="1" y="93"/>
                  </a:cubicBezTo>
                  <a:cubicBezTo>
                    <a:pt x="18" y="99"/>
                    <a:pt x="3" y="124"/>
                    <a:pt x="4" y="141"/>
                  </a:cubicBezTo>
                  <a:cubicBezTo>
                    <a:pt x="9" y="138"/>
                    <a:pt x="8" y="146"/>
                    <a:pt x="9" y="148"/>
                  </a:cubicBezTo>
                  <a:cubicBezTo>
                    <a:pt x="12" y="151"/>
                    <a:pt x="18" y="149"/>
                    <a:pt x="17" y="156"/>
                  </a:cubicBezTo>
                  <a:cubicBezTo>
                    <a:pt x="15" y="156"/>
                    <a:pt x="14" y="156"/>
                    <a:pt x="12" y="156"/>
                  </a:cubicBezTo>
                  <a:cubicBezTo>
                    <a:pt x="15" y="172"/>
                    <a:pt x="3" y="168"/>
                    <a:pt x="4" y="182"/>
                  </a:cubicBezTo>
                  <a:cubicBezTo>
                    <a:pt x="7" y="182"/>
                    <a:pt x="11" y="181"/>
                    <a:pt x="12" y="185"/>
                  </a:cubicBezTo>
                  <a:cubicBezTo>
                    <a:pt x="13" y="199"/>
                    <a:pt x="19" y="203"/>
                    <a:pt x="15" y="215"/>
                  </a:cubicBezTo>
                  <a:cubicBezTo>
                    <a:pt x="20" y="212"/>
                    <a:pt x="18" y="220"/>
                    <a:pt x="20" y="222"/>
                  </a:cubicBezTo>
                  <a:cubicBezTo>
                    <a:pt x="21" y="224"/>
                    <a:pt x="26" y="222"/>
                    <a:pt x="25" y="226"/>
                  </a:cubicBezTo>
                  <a:cubicBezTo>
                    <a:pt x="25" y="232"/>
                    <a:pt x="26" y="237"/>
                    <a:pt x="28" y="241"/>
                  </a:cubicBezTo>
                  <a:cubicBezTo>
                    <a:pt x="25" y="241"/>
                    <a:pt x="23" y="241"/>
                    <a:pt x="20" y="241"/>
                  </a:cubicBezTo>
                  <a:cubicBezTo>
                    <a:pt x="23" y="252"/>
                    <a:pt x="22" y="255"/>
                    <a:pt x="17" y="263"/>
                  </a:cubicBezTo>
                  <a:cubicBezTo>
                    <a:pt x="22" y="264"/>
                    <a:pt x="24" y="257"/>
                    <a:pt x="25" y="263"/>
                  </a:cubicBezTo>
                  <a:cubicBezTo>
                    <a:pt x="24" y="268"/>
                    <a:pt x="20" y="270"/>
                    <a:pt x="15" y="270"/>
                  </a:cubicBezTo>
                  <a:cubicBezTo>
                    <a:pt x="12" y="282"/>
                    <a:pt x="22" y="278"/>
                    <a:pt x="23" y="285"/>
                  </a:cubicBezTo>
                  <a:cubicBezTo>
                    <a:pt x="14" y="288"/>
                    <a:pt x="18" y="297"/>
                    <a:pt x="15" y="300"/>
                  </a:cubicBezTo>
                  <a:cubicBezTo>
                    <a:pt x="7" y="310"/>
                    <a:pt x="12" y="294"/>
                    <a:pt x="7" y="292"/>
                  </a:cubicBezTo>
                  <a:cubicBezTo>
                    <a:pt x="1" y="306"/>
                    <a:pt x="12" y="313"/>
                    <a:pt x="15" y="322"/>
                  </a:cubicBezTo>
                  <a:cubicBezTo>
                    <a:pt x="16" y="325"/>
                    <a:pt x="9" y="334"/>
                    <a:pt x="17" y="333"/>
                  </a:cubicBezTo>
                  <a:cubicBezTo>
                    <a:pt x="18" y="329"/>
                    <a:pt x="17" y="323"/>
                    <a:pt x="20" y="322"/>
                  </a:cubicBezTo>
                  <a:cubicBezTo>
                    <a:pt x="19" y="334"/>
                    <a:pt x="25" y="335"/>
                    <a:pt x="23" y="348"/>
                  </a:cubicBezTo>
                  <a:cubicBezTo>
                    <a:pt x="22" y="352"/>
                    <a:pt x="6" y="352"/>
                    <a:pt x="15" y="355"/>
                  </a:cubicBezTo>
                  <a:cubicBezTo>
                    <a:pt x="23" y="357"/>
                    <a:pt x="26" y="347"/>
                    <a:pt x="28" y="359"/>
                  </a:cubicBezTo>
                  <a:cubicBezTo>
                    <a:pt x="25" y="358"/>
                    <a:pt x="23" y="353"/>
                    <a:pt x="23" y="363"/>
                  </a:cubicBezTo>
                  <a:cubicBezTo>
                    <a:pt x="31" y="367"/>
                    <a:pt x="29" y="357"/>
                    <a:pt x="33" y="355"/>
                  </a:cubicBezTo>
                  <a:cubicBezTo>
                    <a:pt x="34" y="363"/>
                    <a:pt x="43" y="359"/>
                    <a:pt x="44" y="366"/>
                  </a:cubicBezTo>
                  <a:cubicBezTo>
                    <a:pt x="39" y="374"/>
                    <a:pt x="45" y="374"/>
                    <a:pt x="47" y="381"/>
                  </a:cubicBezTo>
                  <a:cubicBezTo>
                    <a:pt x="43" y="380"/>
                    <a:pt x="42" y="377"/>
                    <a:pt x="39" y="381"/>
                  </a:cubicBezTo>
                  <a:cubicBezTo>
                    <a:pt x="41" y="369"/>
                    <a:pt x="33" y="376"/>
                    <a:pt x="33" y="381"/>
                  </a:cubicBezTo>
                  <a:cubicBezTo>
                    <a:pt x="40" y="382"/>
                    <a:pt x="43" y="388"/>
                    <a:pt x="47" y="392"/>
                  </a:cubicBezTo>
                  <a:cubicBezTo>
                    <a:pt x="42" y="392"/>
                    <a:pt x="38" y="392"/>
                    <a:pt x="33" y="392"/>
                  </a:cubicBezTo>
                  <a:cubicBezTo>
                    <a:pt x="31" y="404"/>
                    <a:pt x="41" y="399"/>
                    <a:pt x="39" y="411"/>
                  </a:cubicBezTo>
                  <a:cubicBezTo>
                    <a:pt x="45" y="416"/>
                    <a:pt x="50" y="400"/>
                    <a:pt x="52" y="411"/>
                  </a:cubicBezTo>
                  <a:cubicBezTo>
                    <a:pt x="49" y="411"/>
                    <a:pt x="46" y="412"/>
                    <a:pt x="47" y="418"/>
                  </a:cubicBezTo>
                  <a:cubicBezTo>
                    <a:pt x="47" y="423"/>
                    <a:pt x="51" y="422"/>
                    <a:pt x="52" y="426"/>
                  </a:cubicBezTo>
                  <a:cubicBezTo>
                    <a:pt x="46" y="425"/>
                    <a:pt x="42" y="427"/>
                    <a:pt x="41" y="433"/>
                  </a:cubicBezTo>
                  <a:cubicBezTo>
                    <a:pt x="45" y="434"/>
                    <a:pt x="44" y="439"/>
                    <a:pt x="44" y="444"/>
                  </a:cubicBezTo>
                  <a:cubicBezTo>
                    <a:pt x="52" y="450"/>
                    <a:pt x="56" y="439"/>
                    <a:pt x="58" y="455"/>
                  </a:cubicBezTo>
                  <a:cubicBezTo>
                    <a:pt x="48" y="458"/>
                    <a:pt x="46" y="451"/>
                    <a:pt x="41" y="448"/>
                  </a:cubicBezTo>
                  <a:cubicBezTo>
                    <a:pt x="45" y="457"/>
                    <a:pt x="31" y="459"/>
                    <a:pt x="39" y="463"/>
                  </a:cubicBezTo>
                  <a:cubicBezTo>
                    <a:pt x="39" y="458"/>
                    <a:pt x="46" y="458"/>
                    <a:pt x="47" y="463"/>
                  </a:cubicBezTo>
                  <a:cubicBezTo>
                    <a:pt x="36" y="459"/>
                    <a:pt x="51" y="487"/>
                    <a:pt x="36" y="485"/>
                  </a:cubicBezTo>
                  <a:cubicBezTo>
                    <a:pt x="38" y="499"/>
                    <a:pt x="44" y="506"/>
                    <a:pt x="47" y="518"/>
                  </a:cubicBezTo>
                  <a:cubicBezTo>
                    <a:pt x="39" y="526"/>
                    <a:pt x="47" y="532"/>
                    <a:pt x="39" y="537"/>
                  </a:cubicBezTo>
                  <a:cubicBezTo>
                    <a:pt x="40" y="534"/>
                    <a:pt x="36" y="533"/>
                    <a:pt x="36" y="533"/>
                  </a:cubicBezTo>
                  <a:cubicBezTo>
                    <a:pt x="36" y="530"/>
                    <a:pt x="39" y="528"/>
                    <a:pt x="39" y="529"/>
                  </a:cubicBezTo>
                  <a:cubicBezTo>
                    <a:pt x="38" y="525"/>
                    <a:pt x="36" y="520"/>
                    <a:pt x="36" y="518"/>
                  </a:cubicBezTo>
                  <a:cubicBezTo>
                    <a:pt x="36" y="518"/>
                    <a:pt x="41" y="517"/>
                    <a:pt x="41" y="514"/>
                  </a:cubicBezTo>
                  <a:cubicBezTo>
                    <a:pt x="42" y="511"/>
                    <a:pt x="37" y="508"/>
                    <a:pt x="36" y="507"/>
                  </a:cubicBezTo>
                  <a:cubicBezTo>
                    <a:pt x="31" y="519"/>
                    <a:pt x="41" y="530"/>
                    <a:pt x="28" y="533"/>
                  </a:cubicBezTo>
                  <a:cubicBezTo>
                    <a:pt x="28" y="539"/>
                    <a:pt x="28" y="545"/>
                    <a:pt x="28" y="551"/>
                  </a:cubicBezTo>
                  <a:cubicBezTo>
                    <a:pt x="38" y="557"/>
                    <a:pt x="29" y="535"/>
                    <a:pt x="39" y="540"/>
                  </a:cubicBezTo>
                  <a:cubicBezTo>
                    <a:pt x="34" y="547"/>
                    <a:pt x="38" y="550"/>
                    <a:pt x="39" y="559"/>
                  </a:cubicBezTo>
                  <a:cubicBezTo>
                    <a:pt x="37" y="560"/>
                    <a:pt x="34" y="559"/>
                    <a:pt x="33" y="562"/>
                  </a:cubicBezTo>
                  <a:cubicBezTo>
                    <a:pt x="37" y="572"/>
                    <a:pt x="41" y="556"/>
                    <a:pt x="44" y="566"/>
                  </a:cubicBezTo>
                  <a:cubicBezTo>
                    <a:pt x="39" y="564"/>
                    <a:pt x="36" y="583"/>
                    <a:pt x="41" y="585"/>
                  </a:cubicBezTo>
                  <a:cubicBezTo>
                    <a:pt x="45" y="579"/>
                    <a:pt x="46" y="569"/>
                    <a:pt x="52" y="566"/>
                  </a:cubicBezTo>
                  <a:cubicBezTo>
                    <a:pt x="57" y="573"/>
                    <a:pt x="50" y="579"/>
                    <a:pt x="47" y="585"/>
                  </a:cubicBezTo>
                  <a:cubicBezTo>
                    <a:pt x="44" y="585"/>
                    <a:pt x="44" y="588"/>
                    <a:pt x="41" y="588"/>
                  </a:cubicBezTo>
                  <a:cubicBezTo>
                    <a:pt x="35" y="593"/>
                    <a:pt x="31" y="579"/>
                    <a:pt x="31" y="588"/>
                  </a:cubicBezTo>
                  <a:cubicBezTo>
                    <a:pt x="34" y="598"/>
                    <a:pt x="52" y="589"/>
                    <a:pt x="49" y="607"/>
                  </a:cubicBezTo>
                  <a:cubicBezTo>
                    <a:pt x="46" y="602"/>
                    <a:pt x="38" y="604"/>
                    <a:pt x="39" y="614"/>
                  </a:cubicBezTo>
                  <a:cubicBezTo>
                    <a:pt x="49" y="609"/>
                    <a:pt x="45" y="622"/>
                    <a:pt x="47" y="625"/>
                  </a:cubicBezTo>
                  <a:cubicBezTo>
                    <a:pt x="48" y="627"/>
                    <a:pt x="53" y="625"/>
                    <a:pt x="52" y="629"/>
                  </a:cubicBezTo>
                  <a:cubicBezTo>
                    <a:pt x="50" y="649"/>
                    <a:pt x="39" y="636"/>
                    <a:pt x="33" y="648"/>
                  </a:cubicBezTo>
                  <a:cubicBezTo>
                    <a:pt x="42" y="647"/>
                    <a:pt x="35" y="663"/>
                    <a:pt x="36" y="670"/>
                  </a:cubicBezTo>
                  <a:cubicBezTo>
                    <a:pt x="36" y="670"/>
                    <a:pt x="41" y="671"/>
                    <a:pt x="41" y="673"/>
                  </a:cubicBezTo>
                  <a:cubicBezTo>
                    <a:pt x="42" y="678"/>
                    <a:pt x="37" y="679"/>
                    <a:pt x="39" y="684"/>
                  </a:cubicBezTo>
                  <a:cubicBezTo>
                    <a:pt x="41" y="685"/>
                    <a:pt x="42" y="688"/>
                    <a:pt x="41" y="692"/>
                  </a:cubicBezTo>
                  <a:cubicBezTo>
                    <a:pt x="46" y="692"/>
                    <a:pt x="51" y="691"/>
                    <a:pt x="49" y="699"/>
                  </a:cubicBezTo>
                  <a:cubicBezTo>
                    <a:pt x="46" y="699"/>
                    <a:pt x="46" y="695"/>
                    <a:pt x="41" y="696"/>
                  </a:cubicBezTo>
                  <a:cubicBezTo>
                    <a:pt x="45" y="707"/>
                    <a:pt x="37" y="705"/>
                    <a:pt x="36" y="710"/>
                  </a:cubicBezTo>
                  <a:cubicBezTo>
                    <a:pt x="40" y="712"/>
                    <a:pt x="43" y="716"/>
                    <a:pt x="44" y="721"/>
                  </a:cubicBezTo>
                  <a:cubicBezTo>
                    <a:pt x="39" y="722"/>
                    <a:pt x="36" y="721"/>
                    <a:pt x="33" y="718"/>
                  </a:cubicBezTo>
                  <a:cubicBezTo>
                    <a:pt x="31" y="730"/>
                    <a:pt x="36" y="732"/>
                    <a:pt x="39" y="736"/>
                  </a:cubicBezTo>
                  <a:cubicBezTo>
                    <a:pt x="31" y="730"/>
                    <a:pt x="31" y="752"/>
                    <a:pt x="36" y="751"/>
                  </a:cubicBezTo>
                  <a:cubicBezTo>
                    <a:pt x="38" y="733"/>
                    <a:pt x="37" y="755"/>
                    <a:pt x="41" y="755"/>
                  </a:cubicBezTo>
                  <a:cubicBezTo>
                    <a:pt x="40" y="748"/>
                    <a:pt x="49" y="736"/>
                    <a:pt x="49" y="744"/>
                  </a:cubicBezTo>
                  <a:cubicBezTo>
                    <a:pt x="49" y="751"/>
                    <a:pt x="42" y="748"/>
                    <a:pt x="44" y="759"/>
                  </a:cubicBezTo>
                  <a:cubicBezTo>
                    <a:pt x="47" y="757"/>
                    <a:pt x="53" y="769"/>
                    <a:pt x="47" y="770"/>
                  </a:cubicBezTo>
                  <a:cubicBezTo>
                    <a:pt x="50" y="760"/>
                    <a:pt x="38" y="753"/>
                    <a:pt x="36" y="762"/>
                  </a:cubicBezTo>
                  <a:cubicBezTo>
                    <a:pt x="42" y="763"/>
                    <a:pt x="42" y="772"/>
                    <a:pt x="39" y="777"/>
                  </a:cubicBezTo>
                  <a:cubicBezTo>
                    <a:pt x="44" y="781"/>
                    <a:pt x="48" y="766"/>
                    <a:pt x="49" y="777"/>
                  </a:cubicBezTo>
                  <a:cubicBezTo>
                    <a:pt x="51" y="791"/>
                    <a:pt x="38" y="783"/>
                    <a:pt x="36" y="792"/>
                  </a:cubicBezTo>
                  <a:cubicBezTo>
                    <a:pt x="39" y="792"/>
                    <a:pt x="39" y="798"/>
                    <a:pt x="39" y="803"/>
                  </a:cubicBezTo>
                  <a:cubicBezTo>
                    <a:pt x="44" y="807"/>
                    <a:pt x="50" y="809"/>
                    <a:pt x="52" y="818"/>
                  </a:cubicBezTo>
                  <a:cubicBezTo>
                    <a:pt x="48" y="814"/>
                    <a:pt x="46" y="814"/>
                    <a:pt x="44" y="821"/>
                  </a:cubicBezTo>
                  <a:cubicBezTo>
                    <a:pt x="46" y="828"/>
                    <a:pt x="57" y="821"/>
                    <a:pt x="58" y="829"/>
                  </a:cubicBezTo>
                  <a:cubicBezTo>
                    <a:pt x="58" y="837"/>
                    <a:pt x="57" y="843"/>
                    <a:pt x="52" y="844"/>
                  </a:cubicBezTo>
                  <a:cubicBezTo>
                    <a:pt x="52" y="839"/>
                    <a:pt x="56" y="838"/>
                    <a:pt x="55" y="832"/>
                  </a:cubicBezTo>
                  <a:cubicBezTo>
                    <a:pt x="47" y="831"/>
                    <a:pt x="49" y="839"/>
                    <a:pt x="44" y="840"/>
                  </a:cubicBezTo>
                  <a:cubicBezTo>
                    <a:pt x="45" y="840"/>
                    <a:pt x="42" y="833"/>
                    <a:pt x="41" y="832"/>
                  </a:cubicBezTo>
                  <a:cubicBezTo>
                    <a:pt x="39" y="831"/>
                    <a:pt x="37" y="838"/>
                    <a:pt x="36" y="840"/>
                  </a:cubicBezTo>
                  <a:cubicBezTo>
                    <a:pt x="39" y="841"/>
                    <a:pt x="42" y="845"/>
                    <a:pt x="41" y="851"/>
                  </a:cubicBezTo>
                  <a:cubicBezTo>
                    <a:pt x="45" y="852"/>
                    <a:pt x="49" y="845"/>
                    <a:pt x="49" y="851"/>
                  </a:cubicBezTo>
                  <a:cubicBezTo>
                    <a:pt x="49" y="852"/>
                    <a:pt x="47" y="858"/>
                    <a:pt x="47" y="858"/>
                  </a:cubicBezTo>
                  <a:cubicBezTo>
                    <a:pt x="55" y="864"/>
                    <a:pt x="56" y="859"/>
                    <a:pt x="63" y="858"/>
                  </a:cubicBezTo>
                  <a:cubicBezTo>
                    <a:pt x="62" y="864"/>
                    <a:pt x="67" y="868"/>
                    <a:pt x="68" y="862"/>
                  </a:cubicBezTo>
                  <a:cubicBezTo>
                    <a:pt x="64" y="862"/>
                    <a:pt x="73" y="838"/>
                    <a:pt x="66" y="832"/>
                  </a:cubicBezTo>
                  <a:cubicBezTo>
                    <a:pt x="76" y="835"/>
                    <a:pt x="67" y="801"/>
                    <a:pt x="79" y="818"/>
                  </a:cubicBezTo>
                  <a:cubicBezTo>
                    <a:pt x="81" y="807"/>
                    <a:pt x="75" y="808"/>
                    <a:pt x="76" y="799"/>
                  </a:cubicBezTo>
                  <a:cubicBezTo>
                    <a:pt x="70" y="800"/>
                    <a:pt x="66" y="798"/>
                    <a:pt x="66" y="792"/>
                  </a:cubicBezTo>
                  <a:cubicBezTo>
                    <a:pt x="71" y="792"/>
                    <a:pt x="65" y="787"/>
                    <a:pt x="66" y="784"/>
                  </a:cubicBezTo>
                  <a:cubicBezTo>
                    <a:pt x="66" y="783"/>
                    <a:pt x="71" y="785"/>
                    <a:pt x="71" y="784"/>
                  </a:cubicBezTo>
                  <a:cubicBezTo>
                    <a:pt x="73" y="780"/>
                    <a:pt x="69" y="763"/>
                    <a:pt x="76" y="766"/>
                  </a:cubicBezTo>
                  <a:cubicBezTo>
                    <a:pt x="70" y="760"/>
                    <a:pt x="77" y="755"/>
                    <a:pt x="76" y="751"/>
                  </a:cubicBezTo>
                  <a:cubicBezTo>
                    <a:pt x="76" y="749"/>
                    <a:pt x="64" y="739"/>
                    <a:pt x="74" y="736"/>
                  </a:cubicBezTo>
                  <a:cubicBezTo>
                    <a:pt x="77" y="741"/>
                    <a:pt x="86" y="739"/>
                    <a:pt x="90" y="744"/>
                  </a:cubicBezTo>
                  <a:cubicBezTo>
                    <a:pt x="88" y="735"/>
                    <a:pt x="86" y="726"/>
                    <a:pt x="95" y="725"/>
                  </a:cubicBezTo>
                  <a:cubicBezTo>
                    <a:pt x="92" y="739"/>
                    <a:pt x="100" y="756"/>
                    <a:pt x="106" y="744"/>
                  </a:cubicBezTo>
                  <a:cubicBezTo>
                    <a:pt x="102" y="741"/>
                    <a:pt x="101" y="739"/>
                    <a:pt x="103" y="736"/>
                  </a:cubicBezTo>
                  <a:cubicBezTo>
                    <a:pt x="104" y="736"/>
                    <a:pt x="96" y="719"/>
                    <a:pt x="103" y="721"/>
                  </a:cubicBezTo>
                  <a:cubicBezTo>
                    <a:pt x="107" y="735"/>
                    <a:pt x="113" y="734"/>
                    <a:pt x="109" y="751"/>
                  </a:cubicBezTo>
                  <a:cubicBezTo>
                    <a:pt x="113" y="751"/>
                    <a:pt x="117" y="752"/>
                    <a:pt x="119" y="755"/>
                  </a:cubicBezTo>
                  <a:cubicBezTo>
                    <a:pt x="119" y="746"/>
                    <a:pt x="114" y="739"/>
                    <a:pt x="122" y="736"/>
                  </a:cubicBezTo>
                  <a:cubicBezTo>
                    <a:pt x="122" y="752"/>
                    <a:pt x="124" y="745"/>
                    <a:pt x="128" y="740"/>
                  </a:cubicBezTo>
                  <a:cubicBezTo>
                    <a:pt x="125" y="764"/>
                    <a:pt x="138" y="764"/>
                    <a:pt x="149" y="770"/>
                  </a:cubicBezTo>
                  <a:cubicBezTo>
                    <a:pt x="149" y="765"/>
                    <a:pt x="150" y="761"/>
                    <a:pt x="154" y="762"/>
                  </a:cubicBezTo>
                  <a:cubicBezTo>
                    <a:pt x="155" y="758"/>
                    <a:pt x="155" y="753"/>
                    <a:pt x="160" y="755"/>
                  </a:cubicBezTo>
                  <a:cubicBezTo>
                    <a:pt x="163" y="767"/>
                    <a:pt x="151" y="758"/>
                    <a:pt x="154" y="770"/>
                  </a:cubicBezTo>
                  <a:cubicBezTo>
                    <a:pt x="158" y="769"/>
                    <a:pt x="164" y="771"/>
                    <a:pt x="165" y="766"/>
                  </a:cubicBezTo>
                  <a:cubicBezTo>
                    <a:pt x="161" y="766"/>
                    <a:pt x="165" y="762"/>
                    <a:pt x="165" y="762"/>
                  </a:cubicBezTo>
                  <a:cubicBezTo>
                    <a:pt x="165" y="760"/>
                    <a:pt x="162" y="756"/>
                    <a:pt x="163" y="755"/>
                  </a:cubicBezTo>
                  <a:cubicBezTo>
                    <a:pt x="163" y="751"/>
                    <a:pt x="168" y="752"/>
                    <a:pt x="168" y="744"/>
                  </a:cubicBezTo>
                  <a:cubicBezTo>
                    <a:pt x="168" y="744"/>
                    <a:pt x="165" y="744"/>
                    <a:pt x="165" y="744"/>
                  </a:cubicBezTo>
                  <a:cubicBezTo>
                    <a:pt x="163" y="741"/>
                    <a:pt x="161" y="721"/>
                    <a:pt x="168" y="729"/>
                  </a:cubicBezTo>
                  <a:cubicBezTo>
                    <a:pt x="169" y="715"/>
                    <a:pt x="157" y="719"/>
                    <a:pt x="160" y="703"/>
                  </a:cubicBezTo>
                  <a:cubicBezTo>
                    <a:pt x="166" y="702"/>
                    <a:pt x="171" y="699"/>
                    <a:pt x="176" y="696"/>
                  </a:cubicBezTo>
                  <a:cubicBezTo>
                    <a:pt x="176" y="691"/>
                    <a:pt x="176" y="686"/>
                    <a:pt x="176" y="681"/>
                  </a:cubicBezTo>
                  <a:cubicBezTo>
                    <a:pt x="165" y="683"/>
                    <a:pt x="174" y="672"/>
                    <a:pt x="173" y="670"/>
                  </a:cubicBezTo>
                  <a:cubicBezTo>
                    <a:pt x="173" y="667"/>
                    <a:pt x="168" y="666"/>
                    <a:pt x="168" y="662"/>
                  </a:cubicBezTo>
                  <a:cubicBezTo>
                    <a:pt x="167" y="658"/>
                    <a:pt x="168" y="652"/>
                    <a:pt x="170" y="651"/>
                  </a:cubicBezTo>
                  <a:cubicBezTo>
                    <a:pt x="174" y="653"/>
                    <a:pt x="173" y="659"/>
                    <a:pt x="176" y="662"/>
                  </a:cubicBezTo>
                  <a:cubicBezTo>
                    <a:pt x="175" y="661"/>
                    <a:pt x="177" y="658"/>
                    <a:pt x="178" y="658"/>
                  </a:cubicBezTo>
                  <a:cubicBezTo>
                    <a:pt x="177" y="659"/>
                    <a:pt x="188" y="675"/>
                    <a:pt x="187" y="662"/>
                  </a:cubicBezTo>
                  <a:cubicBezTo>
                    <a:pt x="184" y="661"/>
                    <a:pt x="183" y="655"/>
                    <a:pt x="181" y="651"/>
                  </a:cubicBezTo>
                  <a:cubicBezTo>
                    <a:pt x="177" y="641"/>
                    <a:pt x="184" y="646"/>
                    <a:pt x="181" y="636"/>
                  </a:cubicBezTo>
                  <a:cubicBezTo>
                    <a:pt x="181" y="634"/>
                    <a:pt x="176" y="634"/>
                    <a:pt x="176" y="629"/>
                  </a:cubicBezTo>
                  <a:cubicBezTo>
                    <a:pt x="176" y="629"/>
                    <a:pt x="181" y="626"/>
                    <a:pt x="181" y="625"/>
                  </a:cubicBezTo>
                  <a:cubicBezTo>
                    <a:pt x="184" y="619"/>
                    <a:pt x="180" y="610"/>
                    <a:pt x="184" y="607"/>
                  </a:cubicBezTo>
                  <a:cubicBezTo>
                    <a:pt x="177" y="609"/>
                    <a:pt x="174" y="605"/>
                    <a:pt x="176" y="596"/>
                  </a:cubicBezTo>
                  <a:cubicBezTo>
                    <a:pt x="181" y="595"/>
                    <a:pt x="182" y="600"/>
                    <a:pt x="187" y="599"/>
                  </a:cubicBezTo>
                  <a:cubicBezTo>
                    <a:pt x="187" y="597"/>
                    <a:pt x="187" y="592"/>
                    <a:pt x="189" y="592"/>
                  </a:cubicBezTo>
                  <a:cubicBezTo>
                    <a:pt x="189" y="597"/>
                    <a:pt x="190" y="606"/>
                    <a:pt x="192" y="599"/>
                  </a:cubicBezTo>
                  <a:cubicBezTo>
                    <a:pt x="191" y="591"/>
                    <a:pt x="193" y="586"/>
                    <a:pt x="197" y="585"/>
                  </a:cubicBezTo>
                  <a:cubicBezTo>
                    <a:pt x="195" y="598"/>
                    <a:pt x="197" y="594"/>
                    <a:pt x="195" y="607"/>
                  </a:cubicBezTo>
                  <a:cubicBezTo>
                    <a:pt x="202" y="604"/>
                    <a:pt x="193" y="624"/>
                    <a:pt x="200" y="622"/>
                  </a:cubicBezTo>
                  <a:cubicBezTo>
                    <a:pt x="206" y="611"/>
                    <a:pt x="195" y="608"/>
                    <a:pt x="200" y="603"/>
                  </a:cubicBezTo>
                  <a:cubicBezTo>
                    <a:pt x="208" y="613"/>
                    <a:pt x="210" y="635"/>
                    <a:pt x="200" y="644"/>
                  </a:cubicBezTo>
                  <a:cubicBezTo>
                    <a:pt x="197" y="640"/>
                    <a:pt x="191" y="640"/>
                    <a:pt x="184" y="640"/>
                  </a:cubicBezTo>
                  <a:cubicBezTo>
                    <a:pt x="185" y="650"/>
                    <a:pt x="187" y="658"/>
                    <a:pt x="192" y="662"/>
                  </a:cubicBezTo>
                  <a:cubicBezTo>
                    <a:pt x="187" y="664"/>
                    <a:pt x="193" y="667"/>
                    <a:pt x="192" y="673"/>
                  </a:cubicBezTo>
                  <a:cubicBezTo>
                    <a:pt x="185" y="673"/>
                    <a:pt x="184" y="666"/>
                    <a:pt x="181" y="677"/>
                  </a:cubicBezTo>
                  <a:cubicBezTo>
                    <a:pt x="188" y="675"/>
                    <a:pt x="175" y="694"/>
                    <a:pt x="184" y="696"/>
                  </a:cubicBezTo>
                  <a:cubicBezTo>
                    <a:pt x="188" y="691"/>
                    <a:pt x="184" y="676"/>
                    <a:pt x="195" y="681"/>
                  </a:cubicBezTo>
                  <a:cubicBezTo>
                    <a:pt x="194" y="668"/>
                    <a:pt x="199" y="665"/>
                    <a:pt x="203" y="659"/>
                  </a:cubicBezTo>
                  <a:cubicBezTo>
                    <a:pt x="207" y="661"/>
                    <a:pt x="202" y="677"/>
                    <a:pt x="211" y="673"/>
                  </a:cubicBezTo>
                  <a:cubicBezTo>
                    <a:pt x="212" y="667"/>
                    <a:pt x="207" y="664"/>
                    <a:pt x="211" y="662"/>
                  </a:cubicBezTo>
                  <a:cubicBezTo>
                    <a:pt x="213" y="663"/>
                    <a:pt x="216" y="662"/>
                    <a:pt x="216" y="666"/>
                  </a:cubicBezTo>
                  <a:cubicBezTo>
                    <a:pt x="212" y="668"/>
                    <a:pt x="216" y="680"/>
                    <a:pt x="211" y="681"/>
                  </a:cubicBezTo>
                  <a:cubicBezTo>
                    <a:pt x="205" y="679"/>
                    <a:pt x="206" y="670"/>
                    <a:pt x="200" y="677"/>
                  </a:cubicBezTo>
                  <a:cubicBezTo>
                    <a:pt x="199" y="691"/>
                    <a:pt x="201" y="701"/>
                    <a:pt x="205" y="707"/>
                  </a:cubicBezTo>
                  <a:cubicBezTo>
                    <a:pt x="199" y="706"/>
                    <a:pt x="197" y="700"/>
                    <a:pt x="195" y="710"/>
                  </a:cubicBezTo>
                  <a:cubicBezTo>
                    <a:pt x="202" y="714"/>
                    <a:pt x="191" y="722"/>
                    <a:pt x="195" y="733"/>
                  </a:cubicBezTo>
                  <a:cubicBezTo>
                    <a:pt x="200" y="736"/>
                    <a:pt x="204" y="722"/>
                    <a:pt x="205" y="733"/>
                  </a:cubicBezTo>
                  <a:cubicBezTo>
                    <a:pt x="200" y="731"/>
                    <a:pt x="200" y="738"/>
                    <a:pt x="197" y="740"/>
                  </a:cubicBezTo>
                  <a:cubicBezTo>
                    <a:pt x="196" y="740"/>
                    <a:pt x="194" y="741"/>
                    <a:pt x="195" y="744"/>
                  </a:cubicBezTo>
                  <a:cubicBezTo>
                    <a:pt x="203" y="747"/>
                    <a:pt x="208" y="728"/>
                    <a:pt x="211" y="736"/>
                  </a:cubicBezTo>
                  <a:cubicBezTo>
                    <a:pt x="204" y="742"/>
                    <a:pt x="210" y="762"/>
                    <a:pt x="211" y="770"/>
                  </a:cubicBezTo>
                  <a:cubicBezTo>
                    <a:pt x="211" y="779"/>
                    <a:pt x="211" y="789"/>
                    <a:pt x="211" y="799"/>
                  </a:cubicBezTo>
                  <a:cubicBezTo>
                    <a:pt x="201" y="797"/>
                    <a:pt x="199" y="806"/>
                    <a:pt x="189" y="803"/>
                  </a:cubicBezTo>
                  <a:cubicBezTo>
                    <a:pt x="188" y="817"/>
                    <a:pt x="206" y="804"/>
                    <a:pt x="200" y="825"/>
                  </a:cubicBezTo>
                  <a:cubicBezTo>
                    <a:pt x="209" y="826"/>
                    <a:pt x="206" y="811"/>
                    <a:pt x="214" y="810"/>
                  </a:cubicBezTo>
                  <a:cubicBezTo>
                    <a:pt x="218" y="823"/>
                    <a:pt x="214" y="823"/>
                    <a:pt x="214" y="840"/>
                  </a:cubicBezTo>
                  <a:cubicBezTo>
                    <a:pt x="208" y="837"/>
                    <a:pt x="203" y="852"/>
                    <a:pt x="208" y="851"/>
                  </a:cubicBezTo>
                  <a:cubicBezTo>
                    <a:pt x="209" y="847"/>
                    <a:pt x="212" y="847"/>
                    <a:pt x="216" y="847"/>
                  </a:cubicBezTo>
                  <a:cubicBezTo>
                    <a:pt x="210" y="855"/>
                    <a:pt x="219" y="859"/>
                    <a:pt x="214" y="866"/>
                  </a:cubicBezTo>
                  <a:cubicBezTo>
                    <a:pt x="223" y="869"/>
                    <a:pt x="216" y="849"/>
                    <a:pt x="224" y="851"/>
                  </a:cubicBezTo>
                  <a:cubicBezTo>
                    <a:pt x="227" y="854"/>
                    <a:pt x="225" y="865"/>
                    <a:pt x="232" y="862"/>
                  </a:cubicBezTo>
                  <a:cubicBezTo>
                    <a:pt x="229" y="850"/>
                    <a:pt x="241" y="859"/>
                    <a:pt x="238" y="847"/>
                  </a:cubicBezTo>
                  <a:cubicBezTo>
                    <a:pt x="229" y="843"/>
                    <a:pt x="236" y="859"/>
                    <a:pt x="227" y="855"/>
                  </a:cubicBezTo>
                  <a:cubicBezTo>
                    <a:pt x="231" y="840"/>
                    <a:pt x="220" y="847"/>
                    <a:pt x="219" y="840"/>
                  </a:cubicBezTo>
                  <a:cubicBezTo>
                    <a:pt x="222" y="837"/>
                    <a:pt x="226" y="835"/>
                    <a:pt x="232" y="836"/>
                  </a:cubicBezTo>
                  <a:cubicBezTo>
                    <a:pt x="233" y="831"/>
                    <a:pt x="231" y="822"/>
                    <a:pt x="235" y="821"/>
                  </a:cubicBezTo>
                  <a:cubicBezTo>
                    <a:pt x="239" y="830"/>
                    <a:pt x="243" y="815"/>
                    <a:pt x="246" y="825"/>
                  </a:cubicBezTo>
                  <a:cubicBezTo>
                    <a:pt x="242" y="834"/>
                    <a:pt x="247" y="832"/>
                    <a:pt x="243" y="836"/>
                  </a:cubicBezTo>
                  <a:cubicBezTo>
                    <a:pt x="242" y="837"/>
                    <a:pt x="243" y="842"/>
                    <a:pt x="243" y="844"/>
                  </a:cubicBezTo>
                  <a:cubicBezTo>
                    <a:pt x="240" y="853"/>
                    <a:pt x="245" y="849"/>
                    <a:pt x="243" y="858"/>
                  </a:cubicBezTo>
                  <a:cubicBezTo>
                    <a:pt x="243" y="861"/>
                    <a:pt x="235" y="862"/>
                    <a:pt x="238" y="869"/>
                  </a:cubicBezTo>
                  <a:cubicBezTo>
                    <a:pt x="241" y="872"/>
                    <a:pt x="243" y="877"/>
                    <a:pt x="243" y="884"/>
                  </a:cubicBezTo>
                  <a:cubicBezTo>
                    <a:pt x="240" y="885"/>
                    <a:pt x="239" y="879"/>
                    <a:pt x="238" y="884"/>
                  </a:cubicBezTo>
                  <a:cubicBezTo>
                    <a:pt x="241" y="885"/>
                    <a:pt x="241" y="890"/>
                    <a:pt x="240" y="895"/>
                  </a:cubicBezTo>
                  <a:cubicBezTo>
                    <a:pt x="237" y="896"/>
                    <a:pt x="233" y="895"/>
                    <a:pt x="232" y="899"/>
                  </a:cubicBezTo>
                  <a:cubicBezTo>
                    <a:pt x="238" y="898"/>
                    <a:pt x="234" y="912"/>
                    <a:pt x="235" y="918"/>
                  </a:cubicBezTo>
                  <a:cubicBezTo>
                    <a:pt x="245" y="916"/>
                    <a:pt x="249" y="907"/>
                    <a:pt x="251" y="895"/>
                  </a:cubicBezTo>
                  <a:cubicBezTo>
                    <a:pt x="249" y="894"/>
                    <a:pt x="246" y="895"/>
                    <a:pt x="246" y="892"/>
                  </a:cubicBezTo>
                  <a:cubicBezTo>
                    <a:pt x="254" y="879"/>
                    <a:pt x="238" y="856"/>
                    <a:pt x="254" y="855"/>
                  </a:cubicBezTo>
                  <a:cubicBezTo>
                    <a:pt x="255" y="866"/>
                    <a:pt x="249" y="868"/>
                    <a:pt x="251" y="881"/>
                  </a:cubicBezTo>
                  <a:cubicBezTo>
                    <a:pt x="256" y="879"/>
                    <a:pt x="257" y="886"/>
                    <a:pt x="259" y="888"/>
                  </a:cubicBezTo>
                  <a:cubicBezTo>
                    <a:pt x="265" y="875"/>
                    <a:pt x="267" y="899"/>
                    <a:pt x="273" y="899"/>
                  </a:cubicBezTo>
                  <a:cubicBezTo>
                    <a:pt x="273" y="895"/>
                    <a:pt x="277" y="894"/>
                    <a:pt x="278" y="899"/>
                  </a:cubicBezTo>
                  <a:cubicBezTo>
                    <a:pt x="283" y="911"/>
                    <a:pt x="268" y="914"/>
                    <a:pt x="275" y="918"/>
                  </a:cubicBezTo>
                  <a:cubicBezTo>
                    <a:pt x="276" y="909"/>
                    <a:pt x="287" y="916"/>
                    <a:pt x="292" y="914"/>
                  </a:cubicBezTo>
                  <a:cubicBezTo>
                    <a:pt x="291" y="919"/>
                    <a:pt x="293" y="922"/>
                    <a:pt x="294" y="925"/>
                  </a:cubicBezTo>
                  <a:cubicBezTo>
                    <a:pt x="304" y="925"/>
                    <a:pt x="310" y="931"/>
                    <a:pt x="313" y="940"/>
                  </a:cubicBezTo>
                  <a:cubicBezTo>
                    <a:pt x="312" y="940"/>
                    <a:pt x="310" y="943"/>
                    <a:pt x="313" y="943"/>
                  </a:cubicBezTo>
                  <a:cubicBezTo>
                    <a:pt x="314" y="937"/>
                    <a:pt x="319" y="941"/>
                    <a:pt x="321" y="943"/>
                  </a:cubicBezTo>
                  <a:cubicBezTo>
                    <a:pt x="323" y="945"/>
                    <a:pt x="325" y="946"/>
                    <a:pt x="326" y="947"/>
                  </a:cubicBezTo>
                  <a:cubicBezTo>
                    <a:pt x="329" y="949"/>
                    <a:pt x="332" y="954"/>
                    <a:pt x="335" y="954"/>
                  </a:cubicBezTo>
                  <a:cubicBezTo>
                    <a:pt x="334" y="954"/>
                    <a:pt x="335" y="948"/>
                    <a:pt x="337" y="951"/>
                  </a:cubicBezTo>
                  <a:cubicBezTo>
                    <a:pt x="339" y="953"/>
                    <a:pt x="336" y="958"/>
                    <a:pt x="340" y="958"/>
                  </a:cubicBezTo>
                  <a:cubicBezTo>
                    <a:pt x="344" y="959"/>
                    <a:pt x="345" y="969"/>
                    <a:pt x="345" y="973"/>
                  </a:cubicBezTo>
                  <a:cubicBezTo>
                    <a:pt x="364" y="976"/>
                    <a:pt x="367" y="1002"/>
                    <a:pt x="388" y="1003"/>
                  </a:cubicBezTo>
                  <a:cubicBezTo>
                    <a:pt x="391" y="1008"/>
                    <a:pt x="394" y="1015"/>
                    <a:pt x="396" y="1017"/>
                  </a:cubicBezTo>
                  <a:cubicBezTo>
                    <a:pt x="400" y="1021"/>
                    <a:pt x="406" y="1018"/>
                    <a:pt x="410" y="1021"/>
                  </a:cubicBezTo>
                  <a:cubicBezTo>
                    <a:pt x="411" y="1022"/>
                    <a:pt x="411" y="1028"/>
                    <a:pt x="412" y="1028"/>
                  </a:cubicBezTo>
                  <a:cubicBezTo>
                    <a:pt x="415" y="1030"/>
                    <a:pt x="418" y="1028"/>
                    <a:pt x="421" y="1028"/>
                  </a:cubicBezTo>
                  <a:cubicBezTo>
                    <a:pt x="421" y="1029"/>
                    <a:pt x="420" y="1032"/>
                    <a:pt x="421" y="1032"/>
                  </a:cubicBezTo>
                  <a:cubicBezTo>
                    <a:pt x="421" y="1033"/>
                    <a:pt x="428" y="1035"/>
                    <a:pt x="429" y="1036"/>
                  </a:cubicBezTo>
                  <a:cubicBezTo>
                    <a:pt x="433" y="1040"/>
                    <a:pt x="436" y="1038"/>
                    <a:pt x="442" y="1040"/>
                  </a:cubicBezTo>
                  <a:cubicBezTo>
                    <a:pt x="442" y="1040"/>
                    <a:pt x="443" y="1043"/>
                    <a:pt x="445" y="1043"/>
                  </a:cubicBezTo>
                  <a:cubicBezTo>
                    <a:pt x="448" y="1044"/>
                    <a:pt x="450" y="1046"/>
                    <a:pt x="453" y="1047"/>
                  </a:cubicBezTo>
                  <a:cubicBezTo>
                    <a:pt x="460" y="1049"/>
                    <a:pt x="461" y="1051"/>
                    <a:pt x="464" y="1058"/>
                  </a:cubicBezTo>
                  <a:cubicBezTo>
                    <a:pt x="469" y="1058"/>
                    <a:pt x="474" y="1058"/>
                    <a:pt x="480" y="1058"/>
                  </a:cubicBezTo>
                  <a:cubicBezTo>
                    <a:pt x="480" y="1065"/>
                    <a:pt x="481" y="1064"/>
                    <a:pt x="485" y="1065"/>
                  </a:cubicBezTo>
                  <a:cubicBezTo>
                    <a:pt x="486" y="1066"/>
                    <a:pt x="489" y="1069"/>
                    <a:pt x="488" y="1069"/>
                  </a:cubicBezTo>
                  <a:cubicBezTo>
                    <a:pt x="491" y="1069"/>
                    <a:pt x="495" y="1065"/>
                    <a:pt x="496" y="1065"/>
                  </a:cubicBezTo>
                  <a:cubicBezTo>
                    <a:pt x="496" y="1066"/>
                    <a:pt x="495" y="1072"/>
                    <a:pt x="496" y="1073"/>
                  </a:cubicBezTo>
                  <a:cubicBezTo>
                    <a:pt x="497" y="1074"/>
                    <a:pt x="500" y="1072"/>
                    <a:pt x="501" y="1073"/>
                  </a:cubicBezTo>
                  <a:cubicBezTo>
                    <a:pt x="502" y="1073"/>
                    <a:pt x="505" y="1077"/>
                    <a:pt x="504" y="1077"/>
                  </a:cubicBezTo>
                  <a:cubicBezTo>
                    <a:pt x="507" y="1077"/>
                    <a:pt x="511" y="1072"/>
                    <a:pt x="512" y="1073"/>
                  </a:cubicBezTo>
                  <a:cubicBezTo>
                    <a:pt x="514" y="1074"/>
                    <a:pt x="515" y="1082"/>
                    <a:pt x="517" y="1084"/>
                  </a:cubicBezTo>
                  <a:cubicBezTo>
                    <a:pt x="526" y="1087"/>
                    <a:pt x="523" y="1074"/>
                    <a:pt x="531" y="1077"/>
                  </a:cubicBezTo>
                  <a:cubicBezTo>
                    <a:pt x="532" y="1087"/>
                    <a:pt x="545" y="1082"/>
                    <a:pt x="542" y="1099"/>
                  </a:cubicBezTo>
                  <a:cubicBezTo>
                    <a:pt x="550" y="1098"/>
                    <a:pt x="553" y="1105"/>
                    <a:pt x="563" y="1102"/>
                  </a:cubicBezTo>
                  <a:cubicBezTo>
                    <a:pt x="565" y="1112"/>
                    <a:pt x="571" y="1117"/>
                    <a:pt x="574" y="1125"/>
                  </a:cubicBezTo>
                  <a:cubicBezTo>
                    <a:pt x="576" y="1129"/>
                    <a:pt x="574" y="1129"/>
                    <a:pt x="577" y="1132"/>
                  </a:cubicBezTo>
                  <a:cubicBezTo>
                    <a:pt x="577" y="1133"/>
                    <a:pt x="576" y="1138"/>
                    <a:pt x="577" y="1139"/>
                  </a:cubicBezTo>
                  <a:cubicBezTo>
                    <a:pt x="577" y="1140"/>
                    <a:pt x="579" y="1139"/>
                    <a:pt x="579" y="1139"/>
                  </a:cubicBezTo>
                  <a:cubicBezTo>
                    <a:pt x="580" y="1140"/>
                    <a:pt x="579" y="1145"/>
                    <a:pt x="579" y="1147"/>
                  </a:cubicBezTo>
                  <a:cubicBezTo>
                    <a:pt x="580" y="1148"/>
                    <a:pt x="584" y="1149"/>
                    <a:pt x="585" y="1151"/>
                  </a:cubicBezTo>
                  <a:cubicBezTo>
                    <a:pt x="586" y="1154"/>
                    <a:pt x="585" y="1159"/>
                    <a:pt x="587" y="1162"/>
                  </a:cubicBezTo>
                  <a:cubicBezTo>
                    <a:pt x="589" y="1165"/>
                    <a:pt x="593" y="1163"/>
                    <a:pt x="595" y="1165"/>
                  </a:cubicBezTo>
                  <a:cubicBezTo>
                    <a:pt x="599" y="1169"/>
                    <a:pt x="603" y="1175"/>
                    <a:pt x="606" y="1180"/>
                  </a:cubicBezTo>
                  <a:cubicBezTo>
                    <a:pt x="611" y="1186"/>
                    <a:pt x="614" y="1193"/>
                    <a:pt x="617" y="1199"/>
                  </a:cubicBezTo>
                  <a:cubicBezTo>
                    <a:pt x="634" y="1201"/>
                    <a:pt x="644" y="1194"/>
                    <a:pt x="660" y="1195"/>
                  </a:cubicBezTo>
                  <a:cubicBezTo>
                    <a:pt x="670" y="1210"/>
                    <a:pt x="684" y="1205"/>
                    <a:pt x="698" y="1210"/>
                  </a:cubicBezTo>
                  <a:cubicBezTo>
                    <a:pt x="699" y="1210"/>
                    <a:pt x="702" y="1216"/>
                    <a:pt x="703" y="1217"/>
                  </a:cubicBezTo>
                  <a:cubicBezTo>
                    <a:pt x="706" y="1218"/>
                    <a:pt x="710" y="1216"/>
                    <a:pt x="714" y="1217"/>
                  </a:cubicBezTo>
                  <a:cubicBezTo>
                    <a:pt x="714" y="1217"/>
                    <a:pt x="714" y="1220"/>
                    <a:pt x="716" y="1221"/>
                  </a:cubicBezTo>
                  <a:cubicBezTo>
                    <a:pt x="720" y="1222"/>
                    <a:pt x="722" y="1222"/>
                    <a:pt x="724" y="1225"/>
                  </a:cubicBezTo>
                  <a:cubicBezTo>
                    <a:pt x="730" y="1230"/>
                    <a:pt x="736" y="1226"/>
                    <a:pt x="743" y="1228"/>
                  </a:cubicBezTo>
                  <a:cubicBezTo>
                    <a:pt x="744" y="1228"/>
                    <a:pt x="747" y="1235"/>
                    <a:pt x="749" y="1235"/>
                  </a:cubicBezTo>
                  <a:cubicBezTo>
                    <a:pt x="752" y="1237"/>
                    <a:pt x="755" y="1232"/>
                    <a:pt x="757" y="1232"/>
                  </a:cubicBezTo>
                  <a:cubicBezTo>
                    <a:pt x="756" y="1232"/>
                    <a:pt x="758" y="1235"/>
                    <a:pt x="759" y="1235"/>
                  </a:cubicBezTo>
                  <a:cubicBezTo>
                    <a:pt x="763" y="1237"/>
                    <a:pt x="765" y="1238"/>
                    <a:pt x="767" y="1239"/>
                  </a:cubicBezTo>
                  <a:cubicBezTo>
                    <a:pt x="775" y="1242"/>
                    <a:pt x="773" y="1245"/>
                    <a:pt x="778" y="1247"/>
                  </a:cubicBezTo>
                  <a:cubicBezTo>
                    <a:pt x="777" y="1246"/>
                    <a:pt x="780" y="1243"/>
                    <a:pt x="781" y="1243"/>
                  </a:cubicBezTo>
                  <a:cubicBezTo>
                    <a:pt x="784" y="1242"/>
                    <a:pt x="788" y="1245"/>
                    <a:pt x="789" y="1247"/>
                  </a:cubicBezTo>
                  <a:cubicBezTo>
                    <a:pt x="795" y="1255"/>
                    <a:pt x="799" y="1246"/>
                    <a:pt x="805" y="1247"/>
                  </a:cubicBezTo>
                  <a:cubicBezTo>
                    <a:pt x="805" y="1247"/>
                    <a:pt x="806" y="1250"/>
                    <a:pt x="808" y="1250"/>
                  </a:cubicBezTo>
                  <a:cubicBezTo>
                    <a:pt x="809" y="1251"/>
                    <a:pt x="812" y="1250"/>
                    <a:pt x="813" y="1250"/>
                  </a:cubicBezTo>
                  <a:cubicBezTo>
                    <a:pt x="813" y="1251"/>
                    <a:pt x="813" y="1254"/>
                    <a:pt x="813" y="1254"/>
                  </a:cubicBezTo>
                  <a:cubicBezTo>
                    <a:pt x="817" y="1256"/>
                    <a:pt x="823" y="1255"/>
                    <a:pt x="827" y="1258"/>
                  </a:cubicBezTo>
                  <a:cubicBezTo>
                    <a:pt x="827" y="1255"/>
                    <a:pt x="827" y="1250"/>
                    <a:pt x="829" y="1250"/>
                  </a:cubicBezTo>
                  <a:cubicBezTo>
                    <a:pt x="835" y="1258"/>
                    <a:pt x="835" y="1249"/>
                    <a:pt x="840" y="1247"/>
                  </a:cubicBezTo>
                  <a:cubicBezTo>
                    <a:pt x="840" y="1252"/>
                    <a:pt x="840" y="1257"/>
                    <a:pt x="840" y="1261"/>
                  </a:cubicBezTo>
                  <a:cubicBezTo>
                    <a:pt x="845" y="1263"/>
                    <a:pt x="845" y="1256"/>
                    <a:pt x="848" y="1254"/>
                  </a:cubicBezTo>
                  <a:cubicBezTo>
                    <a:pt x="849" y="1258"/>
                    <a:pt x="851" y="1260"/>
                    <a:pt x="854" y="1261"/>
                  </a:cubicBezTo>
                  <a:cubicBezTo>
                    <a:pt x="854" y="1257"/>
                    <a:pt x="853" y="1251"/>
                    <a:pt x="856" y="1250"/>
                  </a:cubicBezTo>
                  <a:cubicBezTo>
                    <a:pt x="864" y="1260"/>
                    <a:pt x="866" y="1254"/>
                    <a:pt x="878" y="1258"/>
                  </a:cubicBezTo>
                  <a:cubicBezTo>
                    <a:pt x="878" y="1262"/>
                    <a:pt x="878" y="1266"/>
                    <a:pt x="883" y="1265"/>
                  </a:cubicBezTo>
                  <a:cubicBezTo>
                    <a:pt x="884" y="1253"/>
                    <a:pt x="888" y="1263"/>
                    <a:pt x="897" y="1258"/>
                  </a:cubicBezTo>
                  <a:cubicBezTo>
                    <a:pt x="896" y="1264"/>
                    <a:pt x="899" y="1267"/>
                    <a:pt x="902" y="1269"/>
                  </a:cubicBezTo>
                  <a:cubicBezTo>
                    <a:pt x="904" y="1263"/>
                    <a:pt x="905" y="1269"/>
                    <a:pt x="907" y="1265"/>
                  </a:cubicBezTo>
                  <a:cubicBezTo>
                    <a:pt x="911" y="1260"/>
                    <a:pt x="921" y="1269"/>
                    <a:pt x="921" y="1269"/>
                  </a:cubicBezTo>
                  <a:cubicBezTo>
                    <a:pt x="923" y="1268"/>
                    <a:pt x="926" y="1255"/>
                    <a:pt x="931" y="1261"/>
                  </a:cubicBezTo>
                  <a:cubicBezTo>
                    <a:pt x="930" y="1276"/>
                    <a:pt x="940" y="1266"/>
                    <a:pt x="945" y="1265"/>
                  </a:cubicBezTo>
                  <a:cubicBezTo>
                    <a:pt x="948" y="1265"/>
                    <a:pt x="949" y="1269"/>
                    <a:pt x="953" y="1269"/>
                  </a:cubicBezTo>
                  <a:cubicBezTo>
                    <a:pt x="952" y="1269"/>
                    <a:pt x="955" y="1265"/>
                    <a:pt x="956" y="1265"/>
                  </a:cubicBezTo>
                  <a:cubicBezTo>
                    <a:pt x="968" y="1258"/>
                    <a:pt x="952" y="1267"/>
                    <a:pt x="953" y="1258"/>
                  </a:cubicBezTo>
                  <a:cubicBezTo>
                    <a:pt x="957" y="1258"/>
                    <a:pt x="959" y="1256"/>
                    <a:pt x="961" y="1254"/>
                  </a:cubicBezTo>
                  <a:cubicBezTo>
                    <a:pt x="966" y="1259"/>
                    <a:pt x="961" y="1276"/>
                    <a:pt x="969" y="1276"/>
                  </a:cubicBezTo>
                  <a:cubicBezTo>
                    <a:pt x="968" y="1266"/>
                    <a:pt x="984" y="1279"/>
                    <a:pt x="983" y="1269"/>
                  </a:cubicBezTo>
                  <a:cubicBezTo>
                    <a:pt x="980" y="1268"/>
                    <a:pt x="978" y="1265"/>
                    <a:pt x="977" y="1261"/>
                  </a:cubicBezTo>
                  <a:cubicBezTo>
                    <a:pt x="990" y="1261"/>
                    <a:pt x="987" y="1259"/>
                    <a:pt x="999" y="1254"/>
                  </a:cubicBezTo>
                  <a:cubicBezTo>
                    <a:pt x="999" y="1260"/>
                    <a:pt x="998" y="1268"/>
                    <a:pt x="1001" y="1269"/>
                  </a:cubicBezTo>
                  <a:cubicBezTo>
                    <a:pt x="1002" y="1264"/>
                    <a:pt x="1002" y="1260"/>
                    <a:pt x="1007" y="1261"/>
                  </a:cubicBezTo>
                  <a:cubicBezTo>
                    <a:pt x="1007" y="1269"/>
                    <a:pt x="999" y="1266"/>
                    <a:pt x="1001" y="1276"/>
                  </a:cubicBezTo>
                  <a:cubicBezTo>
                    <a:pt x="1010" y="1279"/>
                    <a:pt x="1007" y="1267"/>
                    <a:pt x="1012" y="1265"/>
                  </a:cubicBezTo>
                  <a:cubicBezTo>
                    <a:pt x="1016" y="1264"/>
                    <a:pt x="1016" y="1272"/>
                    <a:pt x="1018" y="1273"/>
                  </a:cubicBezTo>
                  <a:cubicBezTo>
                    <a:pt x="1023" y="1275"/>
                    <a:pt x="1027" y="1266"/>
                    <a:pt x="1031" y="1269"/>
                  </a:cubicBezTo>
                  <a:cubicBezTo>
                    <a:pt x="1037" y="1273"/>
                    <a:pt x="1028" y="1282"/>
                    <a:pt x="1034" y="1280"/>
                  </a:cubicBezTo>
                  <a:cubicBezTo>
                    <a:pt x="1036" y="1279"/>
                    <a:pt x="1040" y="1267"/>
                    <a:pt x="1042" y="1265"/>
                  </a:cubicBezTo>
                  <a:cubicBezTo>
                    <a:pt x="1037" y="1264"/>
                    <a:pt x="1035" y="1271"/>
                    <a:pt x="1034" y="1265"/>
                  </a:cubicBezTo>
                  <a:cubicBezTo>
                    <a:pt x="1037" y="1255"/>
                    <a:pt x="1046" y="1268"/>
                    <a:pt x="1050" y="1269"/>
                  </a:cubicBezTo>
                  <a:cubicBezTo>
                    <a:pt x="1050" y="1254"/>
                    <a:pt x="1054" y="1269"/>
                    <a:pt x="1058" y="1269"/>
                  </a:cubicBezTo>
                  <a:cubicBezTo>
                    <a:pt x="1059" y="1269"/>
                    <a:pt x="1059" y="1263"/>
                    <a:pt x="1063" y="1265"/>
                  </a:cubicBezTo>
                  <a:cubicBezTo>
                    <a:pt x="1063" y="1265"/>
                    <a:pt x="1066" y="1269"/>
                    <a:pt x="1066" y="1269"/>
                  </a:cubicBezTo>
                  <a:cubicBezTo>
                    <a:pt x="1072" y="1275"/>
                    <a:pt x="1069" y="1268"/>
                    <a:pt x="1077" y="1269"/>
                  </a:cubicBezTo>
                  <a:cubicBezTo>
                    <a:pt x="1071" y="1277"/>
                    <a:pt x="1078" y="1277"/>
                    <a:pt x="1082" y="1273"/>
                  </a:cubicBezTo>
                  <a:cubicBezTo>
                    <a:pt x="1080" y="1284"/>
                    <a:pt x="1086" y="1284"/>
                    <a:pt x="1090" y="1287"/>
                  </a:cubicBezTo>
                  <a:cubicBezTo>
                    <a:pt x="1090" y="1281"/>
                    <a:pt x="1092" y="1278"/>
                    <a:pt x="1096" y="1276"/>
                  </a:cubicBezTo>
                  <a:cubicBezTo>
                    <a:pt x="1096" y="1282"/>
                    <a:pt x="1095" y="1289"/>
                    <a:pt x="1101" y="1287"/>
                  </a:cubicBezTo>
                  <a:cubicBezTo>
                    <a:pt x="1101" y="1281"/>
                    <a:pt x="1100" y="1276"/>
                    <a:pt x="1098" y="1273"/>
                  </a:cubicBezTo>
                  <a:cubicBezTo>
                    <a:pt x="1102" y="1273"/>
                    <a:pt x="1104" y="1271"/>
                    <a:pt x="1106" y="1269"/>
                  </a:cubicBezTo>
                  <a:cubicBezTo>
                    <a:pt x="1109" y="1274"/>
                    <a:pt x="1110" y="1284"/>
                    <a:pt x="1114" y="1287"/>
                  </a:cubicBezTo>
                  <a:cubicBezTo>
                    <a:pt x="1119" y="1280"/>
                    <a:pt x="1115" y="1278"/>
                    <a:pt x="1114" y="1269"/>
                  </a:cubicBezTo>
                  <a:cubicBezTo>
                    <a:pt x="1117" y="1275"/>
                    <a:pt x="1124" y="1269"/>
                    <a:pt x="1128" y="1273"/>
                  </a:cubicBezTo>
                  <a:cubicBezTo>
                    <a:pt x="1130" y="1274"/>
                    <a:pt x="1128" y="1285"/>
                    <a:pt x="1133" y="1284"/>
                  </a:cubicBezTo>
                  <a:cubicBezTo>
                    <a:pt x="1134" y="1279"/>
                    <a:pt x="1133" y="1273"/>
                    <a:pt x="1136" y="1273"/>
                  </a:cubicBezTo>
                  <a:cubicBezTo>
                    <a:pt x="1136" y="1277"/>
                    <a:pt x="1140" y="1277"/>
                    <a:pt x="1144" y="1276"/>
                  </a:cubicBezTo>
                  <a:cubicBezTo>
                    <a:pt x="1143" y="1284"/>
                    <a:pt x="1148" y="1284"/>
                    <a:pt x="1149" y="1287"/>
                  </a:cubicBezTo>
                  <a:cubicBezTo>
                    <a:pt x="1147" y="1288"/>
                    <a:pt x="1146" y="1290"/>
                    <a:pt x="1147" y="1295"/>
                  </a:cubicBezTo>
                  <a:cubicBezTo>
                    <a:pt x="1157" y="1295"/>
                    <a:pt x="1158" y="1280"/>
                    <a:pt x="1163" y="1273"/>
                  </a:cubicBezTo>
                  <a:cubicBezTo>
                    <a:pt x="1166" y="1273"/>
                    <a:pt x="1170" y="1273"/>
                    <a:pt x="1173" y="1273"/>
                  </a:cubicBezTo>
                  <a:cubicBezTo>
                    <a:pt x="1173" y="1282"/>
                    <a:pt x="1174" y="1288"/>
                    <a:pt x="1181" y="1287"/>
                  </a:cubicBezTo>
                  <a:cubicBezTo>
                    <a:pt x="1182" y="1282"/>
                    <a:pt x="1181" y="1274"/>
                    <a:pt x="1184" y="1273"/>
                  </a:cubicBezTo>
                  <a:cubicBezTo>
                    <a:pt x="1184" y="1277"/>
                    <a:pt x="1188" y="1274"/>
                    <a:pt x="1190" y="1276"/>
                  </a:cubicBezTo>
                  <a:cubicBezTo>
                    <a:pt x="1190" y="1277"/>
                    <a:pt x="1189" y="1283"/>
                    <a:pt x="1190" y="1284"/>
                  </a:cubicBezTo>
                  <a:cubicBezTo>
                    <a:pt x="1195" y="1287"/>
                    <a:pt x="1202" y="1281"/>
                    <a:pt x="1208" y="1280"/>
                  </a:cubicBezTo>
                  <a:cubicBezTo>
                    <a:pt x="1218" y="1287"/>
                    <a:pt x="1208" y="1278"/>
                    <a:pt x="1214" y="1276"/>
                  </a:cubicBezTo>
                  <a:cubicBezTo>
                    <a:pt x="1221" y="1282"/>
                    <a:pt x="1207" y="1306"/>
                    <a:pt x="1222" y="1306"/>
                  </a:cubicBezTo>
                  <a:cubicBezTo>
                    <a:pt x="1223" y="1300"/>
                    <a:pt x="1219" y="1287"/>
                    <a:pt x="1225" y="1287"/>
                  </a:cubicBezTo>
                  <a:cubicBezTo>
                    <a:pt x="1229" y="1301"/>
                    <a:pt x="1233" y="1282"/>
                    <a:pt x="1235" y="1280"/>
                  </a:cubicBezTo>
                  <a:cubicBezTo>
                    <a:pt x="1236" y="1281"/>
                    <a:pt x="1234" y="1290"/>
                    <a:pt x="1235" y="1291"/>
                  </a:cubicBezTo>
                  <a:cubicBezTo>
                    <a:pt x="1244" y="1297"/>
                    <a:pt x="1256" y="1287"/>
                    <a:pt x="1249" y="1306"/>
                  </a:cubicBezTo>
                  <a:cubicBezTo>
                    <a:pt x="1262" y="1313"/>
                    <a:pt x="1253" y="1289"/>
                    <a:pt x="1260" y="1287"/>
                  </a:cubicBezTo>
                  <a:cubicBezTo>
                    <a:pt x="1260" y="1291"/>
                    <a:pt x="1260" y="1295"/>
                    <a:pt x="1260" y="1298"/>
                  </a:cubicBezTo>
                  <a:cubicBezTo>
                    <a:pt x="1268" y="1302"/>
                    <a:pt x="1263" y="1286"/>
                    <a:pt x="1270" y="1287"/>
                  </a:cubicBezTo>
                  <a:cubicBezTo>
                    <a:pt x="1275" y="1289"/>
                    <a:pt x="1277" y="1282"/>
                    <a:pt x="1278" y="1287"/>
                  </a:cubicBezTo>
                  <a:cubicBezTo>
                    <a:pt x="1276" y="1292"/>
                    <a:pt x="1275" y="1297"/>
                    <a:pt x="1276" y="1306"/>
                  </a:cubicBezTo>
                  <a:cubicBezTo>
                    <a:pt x="1285" y="1306"/>
                    <a:pt x="1280" y="1287"/>
                    <a:pt x="1289" y="1287"/>
                  </a:cubicBezTo>
                  <a:cubicBezTo>
                    <a:pt x="1289" y="1294"/>
                    <a:pt x="1291" y="1300"/>
                    <a:pt x="1294" y="1302"/>
                  </a:cubicBezTo>
                  <a:cubicBezTo>
                    <a:pt x="1296" y="1295"/>
                    <a:pt x="1295" y="1286"/>
                    <a:pt x="1303" y="1287"/>
                  </a:cubicBezTo>
                  <a:cubicBezTo>
                    <a:pt x="1304" y="1295"/>
                    <a:pt x="1299" y="1312"/>
                    <a:pt x="1305" y="1313"/>
                  </a:cubicBezTo>
                  <a:cubicBezTo>
                    <a:pt x="1309" y="1311"/>
                    <a:pt x="1306" y="1299"/>
                    <a:pt x="1311" y="1298"/>
                  </a:cubicBezTo>
                  <a:cubicBezTo>
                    <a:pt x="1316" y="1300"/>
                    <a:pt x="1316" y="1293"/>
                    <a:pt x="1319" y="1291"/>
                  </a:cubicBezTo>
                  <a:cubicBezTo>
                    <a:pt x="1322" y="1291"/>
                    <a:pt x="1325" y="1289"/>
                    <a:pt x="1327" y="1287"/>
                  </a:cubicBezTo>
                  <a:cubicBezTo>
                    <a:pt x="1328" y="1296"/>
                    <a:pt x="1319" y="1291"/>
                    <a:pt x="1319" y="1298"/>
                  </a:cubicBezTo>
                  <a:cubicBezTo>
                    <a:pt x="1326" y="1309"/>
                    <a:pt x="1327" y="1291"/>
                    <a:pt x="1338" y="1295"/>
                  </a:cubicBezTo>
                  <a:cubicBezTo>
                    <a:pt x="1342" y="1297"/>
                    <a:pt x="1337" y="1312"/>
                    <a:pt x="1343" y="1313"/>
                  </a:cubicBezTo>
                  <a:cubicBezTo>
                    <a:pt x="1353" y="1295"/>
                    <a:pt x="1338" y="1295"/>
                    <a:pt x="1338" y="1284"/>
                  </a:cubicBezTo>
                  <a:cubicBezTo>
                    <a:pt x="1345" y="1284"/>
                    <a:pt x="1350" y="1288"/>
                    <a:pt x="1348" y="1302"/>
                  </a:cubicBezTo>
                  <a:cubicBezTo>
                    <a:pt x="1352" y="1302"/>
                    <a:pt x="1355" y="1302"/>
                    <a:pt x="1359" y="1302"/>
                  </a:cubicBezTo>
                  <a:cubicBezTo>
                    <a:pt x="1359" y="1290"/>
                    <a:pt x="1353" y="1284"/>
                    <a:pt x="1364" y="1284"/>
                  </a:cubicBezTo>
                  <a:cubicBezTo>
                    <a:pt x="1363" y="1297"/>
                    <a:pt x="1367" y="1305"/>
                    <a:pt x="1375" y="1306"/>
                  </a:cubicBezTo>
                  <a:cubicBezTo>
                    <a:pt x="1376" y="1300"/>
                    <a:pt x="1374" y="1292"/>
                    <a:pt x="1378" y="1291"/>
                  </a:cubicBezTo>
                  <a:cubicBezTo>
                    <a:pt x="1383" y="1292"/>
                    <a:pt x="1380" y="1300"/>
                    <a:pt x="1383" y="1295"/>
                  </a:cubicBezTo>
                  <a:cubicBezTo>
                    <a:pt x="1385" y="1292"/>
                    <a:pt x="1388" y="1292"/>
                    <a:pt x="1391" y="1291"/>
                  </a:cubicBezTo>
                  <a:cubicBezTo>
                    <a:pt x="1387" y="1304"/>
                    <a:pt x="1400" y="1293"/>
                    <a:pt x="1399" y="1302"/>
                  </a:cubicBezTo>
                  <a:cubicBezTo>
                    <a:pt x="1398" y="1309"/>
                    <a:pt x="1389" y="1305"/>
                    <a:pt x="1391" y="1317"/>
                  </a:cubicBezTo>
                  <a:cubicBezTo>
                    <a:pt x="1399" y="1320"/>
                    <a:pt x="1397" y="1310"/>
                    <a:pt x="1402" y="1309"/>
                  </a:cubicBezTo>
                  <a:cubicBezTo>
                    <a:pt x="1403" y="1314"/>
                    <a:pt x="1406" y="1314"/>
                    <a:pt x="1410" y="1313"/>
                  </a:cubicBezTo>
                  <a:cubicBezTo>
                    <a:pt x="1411" y="1318"/>
                    <a:pt x="1414" y="1321"/>
                    <a:pt x="1418" y="1321"/>
                  </a:cubicBezTo>
                  <a:cubicBezTo>
                    <a:pt x="1422" y="1307"/>
                    <a:pt x="1414" y="1301"/>
                    <a:pt x="1424" y="1295"/>
                  </a:cubicBezTo>
                  <a:cubicBezTo>
                    <a:pt x="1423" y="1303"/>
                    <a:pt x="1424" y="1309"/>
                    <a:pt x="1426" y="1313"/>
                  </a:cubicBezTo>
                  <a:cubicBezTo>
                    <a:pt x="1441" y="1318"/>
                    <a:pt x="1443" y="1304"/>
                    <a:pt x="1450" y="1298"/>
                  </a:cubicBezTo>
                  <a:cubicBezTo>
                    <a:pt x="1449" y="1312"/>
                    <a:pt x="1447" y="1315"/>
                    <a:pt x="1456" y="1321"/>
                  </a:cubicBezTo>
                  <a:cubicBezTo>
                    <a:pt x="1456" y="1313"/>
                    <a:pt x="1463" y="1313"/>
                    <a:pt x="1469" y="1313"/>
                  </a:cubicBezTo>
                  <a:cubicBezTo>
                    <a:pt x="1465" y="1324"/>
                    <a:pt x="1481" y="1323"/>
                    <a:pt x="1480" y="1317"/>
                  </a:cubicBezTo>
                  <a:cubicBezTo>
                    <a:pt x="1471" y="1314"/>
                    <a:pt x="1477" y="1305"/>
                    <a:pt x="1480" y="1302"/>
                  </a:cubicBezTo>
                  <a:cubicBezTo>
                    <a:pt x="1483" y="1299"/>
                    <a:pt x="1487" y="1307"/>
                    <a:pt x="1491" y="1306"/>
                  </a:cubicBezTo>
                  <a:cubicBezTo>
                    <a:pt x="1492" y="1305"/>
                    <a:pt x="1493" y="1298"/>
                    <a:pt x="1496" y="1298"/>
                  </a:cubicBezTo>
                  <a:cubicBezTo>
                    <a:pt x="1497" y="1298"/>
                    <a:pt x="1496" y="1305"/>
                    <a:pt x="1496" y="1306"/>
                  </a:cubicBezTo>
                  <a:cubicBezTo>
                    <a:pt x="1498" y="1309"/>
                    <a:pt x="1507" y="1304"/>
                    <a:pt x="1510" y="1306"/>
                  </a:cubicBezTo>
                  <a:cubicBezTo>
                    <a:pt x="1511" y="1313"/>
                    <a:pt x="1511" y="1322"/>
                    <a:pt x="1518" y="1321"/>
                  </a:cubicBezTo>
                  <a:cubicBezTo>
                    <a:pt x="1520" y="1309"/>
                    <a:pt x="1513" y="1309"/>
                    <a:pt x="1512" y="1302"/>
                  </a:cubicBezTo>
                  <a:cubicBezTo>
                    <a:pt x="1520" y="1305"/>
                    <a:pt x="1519" y="1297"/>
                    <a:pt x="1526" y="1298"/>
                  </a:cubicBezTo>
                  <a:cubicBezTo>
                    <a:pt x="1525" y="1309"/>
                    <a:pt x="1536" y="1302"/>
                    <a:pt x="1536" y="1309"/>
                  </a:cubicBezTo>
                  <a:cubicBezTo>
                    <a:pt x="1536" y="1316"/>
                    <a:pt x="1537" y="1321"/>
                    <a:pt x="1539" y="1324"/>
                  </a:cubicBezTo>
                  <a:cubicBezTo>
                    <a:pt x="1548" y="1321"/>
                    <a:pt x="1551" y="1313"/>
                    <a:pt x="1558" y="1324"/>
                  </a:cubicBezTo>
                  <a:cubicBezTo>
                    <a:pt x="1558" y="1321"/>
                    <a:pt x="1560" y="1320"/>
                    <a:pt x="1561" y="1317"/>
                  </a:cubicBezTo>
                  <a:cubicBezTo>
                    <a:pt x="1561" y="1313"/>
                    <a:pt x="1557" y="1311"/>
                    <a:pt x="1561" y="1309"/>
                  </a:cubicBezTo>
                  <a:cubicBezTo>
                    <a:pt x="1569" y="1304"/>
                    <a:pt x="1570" y="1313"/>
                    <a:pt x="1577" y="1306"/>
                  </a:cubicBezTo>
                  <a:cubicBezTo>
                    <a:pt x="1582" y="1313"/>
                    <a:pt x="1575" y="1313"/>
                    <a:pt x="1577" y="1324"/>
                  </a:cubicBezTo>
                  <a:cubicBezTo>
                    <a:pt x="1582" y="1325"/>
                    <a:pt x="1582" y="1319"/>
                    <a:pt x="1585" y="1317"/>
                  </a:cubicBezTo>
                  <a:cubicBezTo>
                    <a:pt x="1590" y="1317"/>
                    <a:pt x="1588" y="1307"/>
                    <a:pt x="1596" y="1309"/>
                  </a:cubicBezTo>
                  <a:cubicBezTo>
                    <a:pt x="1596" y="1331"/>
                    <a:pt x="1611" y="1299"/>
                    <a:pt x="1612" y="1309"/>
                  </a:cubicBezTo>
                  <a:cubicBezTo>
                    <a:pt x="1611" y="1317"/>
                    <a:pt x="1606" y="1319"/>
                    <a:pt x="1606" y="1328"/>
                  </a:cubicBezTo>
                  <a:cubicBezTo>
                    <a:pt x="1616" y="1329"/>
                    <a:pt x="1616" y="1317"/>
                    <a:pt x="1625" y="1317"/>
                  </a:cubicBezTo>
                  <a:cubicBezTo>
                    <a:pt x="1625" y="1322"/>
                    <a:pt x="1630" y="1320"/>
                    <a:pt x="1631" y="1324"/>
                  </a:cubicBezTo>
                  <a:cubicBezTo>
                    <a:pt x="1622" y="1328"/>
                    <a:pt x="1628" y="1333"/>
                    <a:pt x="1631" y="1339"/>
                  </a:cubicBezTo>
                  <a:cubicBezTo>
                    <a:pt x="1636" y="1339"/>
                    <a:pt x="1644" y="1332"/>
                    <a:pt x="1644" y="1332"/>
                  </a:cubicBezTo>
                  <a:cubicBezTo>
                    <a:pt x="1644" y="1332"/>
                    <a:pt x="1644" y="1339"/>
                    <a:pt x="1644" y="1339"/>
                  </a:cubicBezTo>
                  <a:cubicBezTo>
                    <a:pt x="1652" y="1336"/>
                    <a:pt x="1652" y="1336"/>
                    <a:pt x="1660" y="1324"/>
                  </a:cubicBezTo>
                  <a:cubicBezTo>
                    <a:pt x="1661" y="1329"/>
                    <a:pt x="1661" y="1333"/>
                    <a:pt x="1666" y="1332"/>
                  </a:cubicBezTo>
                  <a:cubicBezTo>
                    <a:pt x="1666" y="1327"/>
                    <a:pt x="1666" y="1323"/>
                    <a:pt x="1671" y="1324"/>
                  </a:cubicBezTo>
                  <a:cubicBezTo>
                    <a:pt x="1672" y="1320"/>
                    <a:pt x="1674" y="1316"/>
                    <a:pt x="1676" y="1313"/>
                  </a:cubicBezTo>
                  <a:cubicBezTo>
                    <a:pt x="1678" y="1320"/>
                    <a:pt x="1673" y="1336"/>
                    <a:pt x="1682" y="1332"/>
                  </a:cubicBezTo>
                  <a:cubicBezTo>
                    <a:pt x="1680" y="1318"/>
                    <a:pt x="1684" y="1312"/>
                    <a:pt x="1687" y="1306"/>
                  </a:cubicBezTo>
                  <a:cubicBezTo>
                    <a:pt x="1684" y="1304"/>
                    <a:pt x="1681" y="1302"/>
                    <a:pt x="1679" y="1298"/>
                  </a:cubicBezTo>
                  <a:cubicBezTo>
                    <a:pt x="1691" y="1301"/>
                    <a:pt x="1683" y="1284"/>
                    <a:pt x="1687" y="1284"/>
                  </a:cubicBezTo>
                  <a:cubicBezTo>
                    <a:pt x="1691" y="1285"/>
                    <a:pt x="1692" y="1288"/>
                    <a:pt x="1695" y="1284"/>
                  </a:cubicBezTo>
                  <a:cubicBezTo>
                    <a:pt x="1695" y="1290"/>
                    <a:pt x="1696" y="1295"/>
                    <a:pt x="1698" y="1298"/>
                  </a:cubicBezTo>
                  <a:cubicBezTo>
                    <a:pt x="1693" y="1298"/>
                    <a:pt x="1691" y="1301"/>
                    <a:pt x="1690" y="1306"/>
                  </a:cubicBezTo>
                  <a:cubicBezTo>
                    <a:pt x="1698" y="1306"/>
                    <a:pt x="1706" y="1306"/>
                    <a:pt x="1714" y="1306"/>
                  </a:cubicBezTo>
                  <a:cubicBezTo>
                    <a:pt x="1719" y="1315"/>
                    <a:pt x="1719" y="1332"/>
                    <a:pt x="1725" y="1339"/>
                  </a:cubicBezTo>
                  <a:cubicBezTo>
                    <a:pt x="1735" y="1342"/>
                    <a:pt x="1735" y="1331"/>
                    <a:pt x="1744" y="1332"/>
                  </a:cubicBezTo>
                  <a:cubicBezTo>
                    <a:pt x="1744" y="1337"/>
                    <a:pt x="1742" y="1340"/>
                    <a:pt x="1741" y="1343"/>
                  </a:cubicBezTo>
                  <a:cubicBezTo>
                    <a:pt x="1751" y="1347"/>
                    <a:pt x="1749" y="1334"/>
                    <a:pt x="1757" y="1335"/>
                  </a:cubicBezTo>
                  <a:cubicBezTo>
                    <a:pt x="1759" y="1342"/>
                    <a:pt x="1766" y="1342"/>
                    <a:pt x="1770" y="1347"/>
                  </a:cubicBezTo>
                  <a:cubicBezTo>
                    <a:pt x="1776" y="1344"/>
                    <a:pt x="1770" y="1326"/>
                    <a:pt x="1776" y="1324"/>
                  </a:cubicBezTo>
                  <a:cubicBezTo>
                    <a:pt x="1776" y="1330"/>
                    <a:pt x="1775" y="1338"/>
                    <a:pt x="1778" y="1339"/>
                  </a:cubicBezTo>
                  <a:cubicBezTo>
                    <a:pt x="1780" y="1335"/>
                    <a:pt x="1782" y="1332"/>
                    <a:pt x="1787" y="1332"/>
                  </a:cubicBezTo>
                  <a:cubicBezTo>
                    <a:pt x="1792" y="1337"/>
                    <a:pt x="1802" y="1326"/>
                    <a:pt x="1811" y="1324"/>
                  </a:cubicBezTo>
                  <a:cubicBezTo>
                    <a:pt x="1811" y="1329"/>
                    <a:pt x="1811" y="1334"/>
                    <a:pt x="1811" y="1339"/>
                  </a:cubicBezTo>
                  <a:cubicBezTo>
                    <a:pt x="1813" y="1339"/>
                    <a:pt x="1816" y="1339"/>
                    <a:pt x="1819" y="1339"/>
                  </a:cubicBezTo>
                  <a:cubicBezTo>
                    <a:pt x="1826" y="1334"/>
                    <a:pt x="1813" y="1320"/>
                    <a:pt x="1819" y="1317"/>
                  </a:cubicBezTo>
                  <a:cubicBezTo>
                    <a:pt x="1824" y="1321"/>
                    <a:pt x="1828" y="1327"/>
                    <a:pt x="1832" y="1332"/>
                  </a:cubicBezTo>
                  <a:cubicBezTo>
                    <a:pt x="1832" y="1337"/>
                    <a:pt x="1828" y="1335"/>
                    <a:pt x="1827" y="1339"/>
                  </a:cubicBezTo>
                  <a:cubicBezTo>
                    <a:pt x="1832" y="1342"/>
                    <a:pt x="1835" y="1348"/>
                    <a:pt x="1840" y="1350"/>
                  </a:cubicBezTo>
                  <a:cubicBezTo>
                    <a:pt x="1840" y="1339"/>
                    <a:pt x="1850" y="1346"/>
                    <a:pt x="1854" y="1343"/>
                  </a:cubicBezTo>
                  <a:cubicBezTo>
                    <a:pt x="1855" y="1342"/>
                    <a:pt x="1858" y="1337"/>
                    <a:pt x="1859" y="1335"/>
                  </a:cubicBezTo>
                  <a:cubicBezTo>
                    <a:pt x="1861" y="1333"/>
                    <a:pt x="1861" y="1328"/>
                    <a:pt x="1865" y="1328"/>
                  </a:cubicBezTo>
                  <a:cubicBezTo>
                    <a:pt x="1864" y="1337"/>
                    <a:pt x="1859" y="1340"/>
                    <a:pt x="1867" y="1343"/>
                  </a:cubicBezTo>
                  <a:cubicBezTo>
                    <a:pt x="1867" y="1334"/>
                    <a:pt x="1869" y="1327"/>
                    <a:pt x="1873" y="1324"/>
                  </a:cubicBezTo>
                  <a:cubicBezTo>
                    <a:pt x="1877" y="1331"/>
                    <a:pt x="1874" y="1347"/>
                    <a:pt x="1881" y="1350"/>
                  </a:cubicBezTo>
                  <a:cubicBezTo>
                    <a:pt x="1877" y="1329"/>
                    <a:pt x="1890" y="1349"/>
                    <a:pt x="1891" y="1339"/>
                  </a:cubicBezTo>
                  <a:cubicBezTo>
                    <a:pt x="1888" y="1338"/>
                    <a:pt x="1887" y="1335"/>
                    <a:pt x="1886" y="1332"/>
                  </a:cubicBezTo>
                  <a:cubicBezTo>
                    <a:pt x="1891" y="1332"/>
                    <a:pt x="1894" y="1331"/>
                    <a:pt x="1897" y="1328"/>
                  </a:cubicBezTo>
                  <a:cubicBezTo>
                    <a:pt x="1899" y="1340"/>
                    <a:pt x="1899" y="1336"/>
                    <a:pt x="1894" y="1343"/>
                  </a:cubicBezTo>
                  <a:cubicBezTo>
                    <a:pt x="1904" y="1347"/>
                    <a:pt x="1902" y="1334"/>
                    <a:pt x="1910" y="1335"/>
                  </a:cubicBezTo>
                  <a:cubicBezTo>
                    <a:pt x="1904" y="1343"/>
                    <a:pt x="1911" y="1347"/>
                    <a:pt x="1913" y="1354"/>
                  </a:cubicBezTo>
                  <a:cubicBezTo>
                    <a:pt x="1917" y="1354"/>
                    <a:pt x="1919" y="1352"/>
                    <a:pt x="1921" y="1350"/>
                  </a:cubicBezTo>
                  <a:cubicBezTo>
                    <a:pt x="1921" y="1344"/>
                    <a:pt x="1928" y="1348"/>
                    <a:pt x="1929" y="1343"/>
                  </a:cubicBezTo>
                  <a:cubicBezTo>
                    <a:pt x="1925" y="1343"/>
                    <a:pt x="1929" y="1340"/>
                    <a:pt x="1929" y="1339"/>
                  </a:cubicBezTo>
                  <a:cubicBezTo>
                    <a:pt x="1929" y="1334"/>
                    <a:pt x="1928" y="1331"/>
                    <a:pt x="1926" y="1328"/>
                  </a:cubicBezTo>
                  <a:cubicBezTo>
                    <a:pt x="1930" y="1329"/>
                    <a:pt x="1936" y="1327"/>
                    <a:pt x="1937" y="1332"/>
                  </a:cubicBezTo>
                  <a:cubicBezTo>
                    <a:pt x="1934" y="1332"/>
                    <a:pt x="1931" y="1333"/>
                    <a:pt x="1932" y="1339"/>
                  </a:cubicBezTo>
                  <a:cubicBezTo>
                    <a:pt x="1938" y="1348"/>
                    <a:pt x="1939" y="1333"/>
                    <a:pt x="1945" y="1332"/>
                  </a:cubicBezTo>
                  <a:cubicBezTo>
                    <a:pt x="1949" y="1336"/>
                    <a:pt x="1946" y="1350"/>
                    <a:pt x="1953" y="1350"/>
                  </a:cubicBezTo>
                  <a:cubicBezTo>
                    <a:pt x="1954" y="1346"/>
                    <a:pt x="1953" y="1340"/>
                    <a:pt x="1956" y="1339"/>
                  </a:cubicBezTo>
                  <a:cubicBezTo>
                    <a:pt x="1956" y="1344"/>
                    <a:pt x="1961" y="1343"/>
                    <a:pt x="1961" y="1347"/>
                  </a:cubicBezTo>
                  <a:cubicBezTo>
                    <a:pt x="1962" y="1351"/>
                    <a:pt x="1965" y="1354"/>
                    <a:pt x="1969" y="1354"/>
                  </a:cubicBezTo>
                  <a:cubicBezTo>
                    <a:pt x="1973" y="1353"/>
                    <a:pt x="1973" y="1349"/>
                    <a:pt x="1975" y="1347"/>
                  </a:cubicBezTo>
                  <a:cubicBezTo>
                    <a:pt x="1975" y="1345"/>
                    <a:pt x="1980" y="1339"/>
                    <a:pt x="1980" y="1339"/>
                  </a:cubicBezTo>
                  <a:cubicBezTo>
                    <a:pt x="1982" y="1333"/>
                    <a:pt x="1976" y="1330"/>
                    <a:pt x="1980" y="1328"/>
                  </a:cubicBezTo>
                  <a:cubicBezTo>
                    <a:pt x="1988" y="1331"/>
                    <a:pt x="1984" y="1349"/>
                    <a:pt x="1994" y="1350"/>
                  </a:cubicBezTo>
                  <a:cubicBezTo>
                    <a:pt x="1995" y="1345"/>
                    <a:pt x="1998" y="1341"/>
                    <a:pt x="2002" y="1339"/>
                  </a:cubicBezTo>
                  <a:cubicBezTo>
                    <a:pt x="2002" y="1334"/>
                    <a:pt x="2001" y="1325"/>
                    <a:pt x="2004" y="1324"/>
                  </a:cubicBezTo>
                  <a:cubicBezTo>
                    <a:pt x="2008" y="1326"/>
                    <a:pt x="2010" y="1329"/>
                    <a:pt x="2010" y="1335"/>
                  </a:cubicBezTo>
                  <a:cubicBezTo>
                    <a:pt x="2018" y="1342"/>
                    <a:pt x="2021" y="1322"/>
                    <a:pt x="2023" y="1332"/>
                  </a:cubicBezTo>
                  <a:cubicBezTo>
                    <a:pt x="2019" y="1335"/>
                    <a:pt x="2019" y="1344"/>
                    <a:pt x="2018" y="1350"/>
                  </a:cubicBezTo>
                  <a:cubicBezTo>
                    <a:pt x="2025" y="1351"/>
                    <a:pt x="2029" y="1357"/>
                    <a:pt x="2037" y="1358"/>
                  </a:cubicBezTo>
                  <a:cubicBezTo>
                    <a:pt x="2046" y="1349"/>
                    <a:pt x="2032" y="1329"/>
                    <a:pt x="2037" y="1328"/>
                  </a:cubicBezTo>
                  <a:cubicBezTo>
                    <a:pt x="2047" y="1331"/>
                    <a:pt x="2040" y="1341"/>
                    <a:pt x="2045" y="1347"/>
                  </a:cubicBezTo>
                  <a:cubicBezTo>
                    <a:pt x="2046" y="1342"/>
                    <a:pt x="2048" y="1338"/>
                    <a:pt x="2050" y="1335"/>
                  </a:cubicBezTo>
                  <a:cubicBezTo>
                    <a:pt x="2057" y="1340"/>
                    <a:pt x="2043" y="1351"/>
                    <a:pt x="2055" y="1350"/>
                  </a:cubicBezTo>
                  <a:cubicBezTo>
                    <a:pt x="2056" y="1345"/>
                    <a:pt x="2075" y="1337"/>
                    <a:pt x="2079" y="1335"/>
                  </a:cubicBezTo>
                  <a:cubicBezTo>
                    <a:pt x="2079" y="68"/>
                    <a:pt x="2079" y="68"/>
                    <a:pt x="2079" y="68"/>
                  </a:cubicBezTo>
                  <a:cubicBezTo>
                    <a:pt x="2079" y="68"/>
                    <a:pt x="2061" y="100"/>
                    <a:pt x="2061" y="100"/>
                  </a:cubicBezTo>
                  <a:cubicBezTo>
                    <a:pt x="2059" y="102"/>
                    <a:pt x="2052" y="98"/>
                    <a:pt x="2050" y="100"/>
                  </a:cubicBezTo>
                  <a:close/>
                  <a:moveTo>
                    <a:pt x="28" y="300"/>
                  </a:moveTo>
                  <a:cubicBezTo>
                    <a:pt x="24" y="315"/>
                    <a:pt x="23" y="298"/>
                    <a:pt x="17" y="296"/>
                  </a:cubicBezTo>
                  <a:cubicBezTo>
                    <a:pt x="22" y="283"/>
                    <a:pt x="21" y="305"/>
                    <a:pt x="28" y="300"/>
                  </a:cubicBezTo>
                  <a:close/>
                  <a:moveTo>
                    <a:pt x="17" y="318"/>
                  </a:moveTo>
                  <a:cubicBezTo>
                    <a:pt x="15" y="316"/>
                    <a:pt x="24" y="315"/>
                    <a:pt x="25" y="315"/>
                  </a:cubicBezTo>
                  <a:cubicBezTo>
                    <a:pt x="25" y="315"/>
                    <a:pt x="25" y="311"/>
                    <a:pt x="25" y="311"/>
                  </a:cubicBezTo>
                  <a:cubicBezTo>
                    <a:pt x="35" y="313"/>
                    <a:pt x="21" y="323"/>
                    <a:pt x="17" y="318"/>
                  </a:cubicBezTo>
                  <a:close/>
                  <a:moveTo>
                    <a:pt x="31" y="311"/>
                  </a:moveTo>
                  <a:cubicBezTo>
                    <a:pt x="32" y="307"/>
                    <a:pt x="43" y="299"/>
                    <a:pt x="36" y="296"/>
                  </a:cubicBezTo>
                  <a:cubicBezTo>
                    <a:pt x="44" y="282"/>
                    <a:pt x="44" y="321"/>
                    <a:pt x="31" y="311"/>
                  </a:cubicBezTo>
                  <a:close/>
                  <a:moveTo>
                    <a:pt x="39" y="352"/>
                  </a:moveTo>
                  <a:cubicBezTo>
                    <a:pt x="40" y="347"/>
                    <a:pt x="42" y="344"/>
                    <a:pt x="47" y="344"/>
                  </a:cubicBezTo>
                  <a:cubicBezTo>
                    <a:pt x="46" y="349"/>
                    <a:pt x="43" y="352"/>
                    <a:pt x="39" y="352"/>
                  </a:cubicBezTo>
                  <a:close/>
                  <a:moveTo>
                    <a:pt x="41" y="215"/>
                  </a:moveTo>
                  <a:cubicBezTo>
                    <a:pt x="45" y="216"/>
                    <a:pt x="47" y="220"/>
                    <a:pt x="47" y="226"/>
                  </a:cubicBezTo>
                  <a:cubicBezTo>
                    <a:pt x="44" y="224"/>
                    <a:pt x="41" y="221"/>
                    <a:pt x="41" y="215"/>
                  </a:cubicBezTo>
                  <a:close/>
                  <a:moveTo>
                    <a:pt x="41" y="677"/>
                  </a:moveTo>
                  <a:cubicBezTo>
                    <a:pt x="43" y="675"/>
                    <a:pt x="49" y="681"/>
                    <a:pt x="49" y="681"/>
                  </a:cubicBezTo>
                  <a:cubicBezTo>
                    <a:pt x="53" y="694"/>
                    <a:pt x="36" y="684"/>
                    <a:pt x="41" y="677"/>
                  </a:cubicBezTo>
                  <a:close/>
                  <a:moveTo>
                    <a:pt x="189" y="644"/>
                  </a:moveTo>
                  <a:cubicBezTo>
                    <a:pt x="194" y="643"/>
                    <a:pt x="194" y="647"/>
                    <a:pt x="197" y="648"/>
                  </a:cubicBezTo>
                  <a:cubicBezTo>
                    <a:pt x="198" y="655"/>
                    <a:pt x="185" y="653"/>
                    <a:pt x="189" y="644"/>
                  </a:cubicBezTo>
                  <a:close/>
                  <a:moveTo>
                    <a:pt x="192" y="337"/>
                  </a:moveTo>
                  <a:cubicBezTo>
                    <a:pt x="191" y="343"/>
                    <a:pt x="184" y="340"/>
                    <a:pt x="187" y="352"/>
                  </a:cubicBezTo>
                  <a:cubicBezTo>
                    <a:pt x="180" y="351"/>
                    <a:pt x="180" y="342"/>
                    <a:pt x="184" y="337"/>
                  </a:cubicBezTo>
                  <a:cubicBezTo>
                    <a:pt x="176" y="325"/>
                    <a:pt x="165" y="336"/>
                    <a:pt x="154" y="329"/>
                  </a:cubicBezTo>
                  <a:cubicBezTo>
                    <a:pt x="156" y="332"/>
                    <a:pt x="157" y="335"/>
                    <a:pt x="157" y="341"/>
                  </a:cubicBezTo>
                  <a:cubicBezTo>
                    <a:pt x="165" y="336"/>
                    <a:pt x="169" y="339"/>
                    <a:pt x="170" y="352"/>
                  </a:cubicBezTo>
                  <a:cubicBezTo>
                    <a:pt x="167" y="350"/>
                    <a:pt x="166" y="345"/>
                    <a:pt x="163" y="344"/>
                  </a:cubicBezTo>
                  <a:cubicBezTo>
                    <a:pt x="161" y="352"/>
                    <a:pt x="168" y="350"/>
                    <a:pt x="168" y="355"/>
                  </a:cubicBezTo>
                  <a:cubicBezTo>
                    <a:pt x="171" y="356"/>
                    <a:pt x="170" y="363"/>
                    <a:pt x="173" y="363"/>
                  </a:cubicBezTo>
                  <a:cubicBezTo>
                    <a:pt x="172" y="371"/>
                    <a:pt x="158" y="362"/>
                    <a:pt x="160" y="374"/>
                  </a:cubicBezTo>
                  <a:cubicBezTo>
                    <a:pt x="156" y="373"/>
                    <a:pt x="158" y="365"/>
                    <a:pt x="157" y="359"/>
                  </a:cubicBezTo>
                  <a:cubicBezTo>
                    <a:pt x="161" y="359"/>
                    <a:pt x="164" y="359"/>
                    <a:pt x="168" y="359"/>
                  </a:cubicBezTo>
                  <a:cubicBezTo>
                    <a:pt x="168" y="353"/>
                    <a:pt x="162" y="358"/>
                    <a:pt x="160" y="355"/>
                  </a:cubicBezTo>
                  <a:cubicBezTo>
                    <a:pt x="157" y="353"/>
                    <a:pt x="162" y="337"/>
                    <a:pt x="152" y="344"/>
                  </a:cubicBezTo>
                  <a:cubicBezTo>
                    <a:pt x="153" y="331"/>
                    <a:pt x="149" y="325"/>
                    <a:pt x="144" y="322"/>
                  </a:cubicBezTo>
                  <a:cubicBezTo>
                    <a:pt x="144" y="318"/>
                    <a:pt x="149" y="320"/>
                    <a:pt x="149" y="315"/>
                  </a:cubicBezTo>
                  <a:cubicBezTo>
                    <a:pt x="149" y="307"/>
                    <a:pt x="139" y="313"/>
                    <a:pt x="135" y="311"/>
                  </a:cubicBezTo>
                  <a:cubicBezTo>
                    <a:pt x="135" y="318"/>
                    <a:pt x="139" y="319"/>
                    <a:pt x="138" y="326"/>
                  </a:cubicBezTo>
                  <a:cubicBezTo>
                    <a:pt x="136" y="323"/>
                    <a:pt x="131" y="320"/>
                    <a:pt x="130" y="326"/>
                  </a:cubicBezTo>
                  <a:cubicBezTo>
                    <a:pt x="123" y="323"/>
                    <a:pt x="135" y="316"/>
                    <a:pt x="133" y="307"/>
                  </a:cubicBezTo>
                  <a:cubicBezTo>
                    <a:pt x="144" y="301"/>
                    <a:pt x="153" y="317"/>
                    <a:pt x="154" y="311"/>
                  </a:cubicBezTo>
                  <a:cubicBezTo>
                    <a:pt x="163" y="315"/>
                    <a:pt x="151" y="321"/>
                    <a:pt x="152" y="326"/>
                  </a:cubicBezTo>
                  <a:cubicBezTo>
                    <a:pt x="160" y="328"/>
                    <a:pt x="160" y="319"/>
                    <a:pt x="168" y="322"/>
                  </a:cubicBezTo>
                  <a:cubicBezTo>
                    <a:pt x="171" y="316"/>
                    <a:pt x="163" y="315"/>
                    <a:pt x="163" y="315"/>
                  </a:cubicBezTo>
                  <a:cubicBezTo>
                    <a:pt x="162" y="309"/>
                    <a:pt x="171" y="313"/>
                    <a:pt x="170" y="307"/>
                  </a:cubicBezTo>
                  <a:cubicBezTo>
                    <a:pt x="171" y="297"/>
                    <a:pt x="154" y="310"/>
                    <a:pt x="154" y="300"/>
                  </a:cubicBezTo>
                  <a:cubicBezTo>
                    <a:pt x="151" y="298"/>
                    <a:pt x="140" y="304"/>
                    <a:pt x="141" y="296"/>
                  </a:cubicBezTo>
                  <a:cubicBezTo>
                    <a:pt x="145" y="296"/>
                    <a:pt x="150" y="296"/>
                    <a:pt x="154" y="296"/>
                  </a:cubicBezTo>
                  <a:cubicBezTo>
                    <a:pt x="159" y="296"/>
                    <a:pt x="160" y="301"/>
                    <a:pt x="165" y="300"/>
                  </a:cubicBezTo>
                  <a:cubicBezTo>
                    <a:pt x="169" y="298"/>
                    <a:pt x="165" y="297"/>
                    <a:pt x="165" y="292"/>
                  </a:cubicBezTo>
                  <a:cubicBezTo>
                    <a:pt x="168" y="293"/>
                    <a:pt x="170" y="292"/>
                    <a:pt x="170" y="289"/>
                  </a:cubicBezTo>
                  <a:cubicBezTo>
                    <a:pt x="176" y="289"/>
                    <a:pt x="171" y="297"/>
                    <a:pt x="170" y="296"/>
                  </a:cubicBezTo>
                  <a:cubicBezTo>
                    <a:pt x="173" y="308"/>
                    <a:pt x="177" y="297"/>
                    <a:pt x="187" y="304"/>
                  </a:cubicBezTo>
                  <a:cubicBezTo>
                    <a:pt x="186" y="309"/>
                    <a:pt x="180" y="307"/>
                    <a:pt x="176" y="307"/>
                  </a:cubicBezTo>
                  <a:cubicBezTo>
                    <a:pt x="172" y="310"/>
                    <a:pt x="172" y="319"/>
                    <a:pt x="170" y="326"/>
                  </a:cubicBezTo>
                  <a:cubicBezTo>
                    <a:pt x="181" y="328"/>
                    <a:pt x="179" y="301"/>
                    <a:pt x="189" y="315"/>
                  </a:cubicBezTo>
                  <a:cubicBezTo>
                    <a:pt x="191" y="320"/>
                    <a:pt x="182" y="316"/>
                    <a:pt x="181" y="318"/>
                  </a:cubicBezTo>
                  <a:cubicBezTo>
                    <a:pt x="180" y="323"/>
                    <a:pt x="188" y="320"/>
                    <a:pt x="189" y="322"/>
                  </a:cubicBezTo>
                  <a:cubicBezTo>
                    <a:pt x="192" y="325"/>
                    <a:pt x="187" y="338"/>
                    <a:pt x="192" y="337"/>
                  </a:cubicBezTo>
                  <a:close/>
                  <a:moveTo>
                    <a:pt x="189" y="422"/>
                  </a:moveTo>
                  <a:cubicBezTo>
                    <a:pt x="190" y="425"/>
                    <a:pt x="178" y="426"/>
                    <a:pt x="173" y="422"/>
                  </a:cubicBezTo>
                  <a:cubicBezTo>
                    <a:pt x="171" y="420"/>
                    <a:pt x="181" y="416"/>
                    <a:pt x="181" y="418"/>
                  </a:cubicBezTo>
                  <a:cubicBezTo>
                    <a:pt x="180" y="412"/>
                    <a:pt x="176" y="418"/>
                    <a:pt x="173" y="415"/>
                  </a:cubicBezTo>
                  <a:cubicBezTo>
                    <a:pt x="173" y="414"/>
                    <a:pt x="172" y="408"/>
                    <a:pt x="170" y="411"/>
                  </a:cubicBezTo>
                  <a:cubicBezTo>
                    <a:pt x="170" y="411"/>
                    <a:pt x="170" y="415"/>
                    <a:pt x="170" y="415"/>
                  </a:cubicBezTo>
                  <a:cubicBezTo>
                    <a:pt x="168" y="414"/>
                    <a:pt x="166" y="412"/>
                    <a:pt x="163" y="411"/>
                  </a:cubicBezTo>
                  <a:cubicBezTo>
                    <a:pt x="159" y="410"/>
                    <a:pt x="157" y="407"/>
                    <a:pt x="154" y="407"/>
                  </a:cubicBezTo>
                  <a:cubicBezTo>
                    <a:pt x="152" y="407"/>
                    <a:pt x="151" y="414"/>
                    <a:pt x="152" y="415"/>
                  </a:cubicBezTo>
                  <a:cubicBezTo>
                    <a:pt x="148" y="414"/>
                    <a:pt x="151" y="409"/>
                    <a:pt x="149" y="407"/>
                  </a:cubicBezTo>
                  <a:cubicBezTo>
                    <a:pt x="146" y="405"/>
                    <a:pt x="137" y="416"/>
                    <a:pt x="138" y="403"/>
                  </a:cubicBezTo>
                  <a:cubicBezTo>
                    <a:pt x="131" y="406"/>
                    <a:pt x="134" y="405"/>
                    <a:pt x="128" y="403"/>
                  </a:cubicBezTo>
                  <a:cubicBezTo>
                    <a:pt x="123" y="402"/>
                    <a:pt x="113" y="406"/>
                    <a:pt x="117" y="396"/>
                  </a:cubicBezTo>
                  <a:cubicBezTo>
                    <a:pt x="124" y="396"/>
                    <a:pt x="122" y="402"/>
                    <a:pt x="128" y="396"/>
                  </a:cubicBezTo>
                  <a:cubicBezTo>
                    <a:pt x="127" y="392"/>
                    <a:pt x="123" y="393"/>
                    <a:pt x="119" y="392"/>
                  </a:cubicBezTo>
                  <a:cubicBezTo>
                    <a:pt x="123" y="376"/>
                    <a:pt x="130" y="393"/>
                    <a:pt x="133" y="400"/>
                  </a:cubicBezTo>
                  <a:cubicBezTo>
                    <a:pt x="137" y="403"/>
                    <a:pt x="141" y="396"/>
                    <a:pt x="141" y="396"/>
                  </a:cubicBezTo>
                  <a:cubicBezTo>
                    <a:pt x="144" y="396"/>
                    <a:pt x="145" y="403"/>
                    <a:pt x="146" y="403"/>
                  </a:cubicBezTo>
                  <a:cubicBezTo>
                    <a:pt x="147" y="404"/>
                    <a:pt x="158" y="393"/>
                    <a:pt x="160" y="403"/>
                  </a:cubicBezTo>
                  <a:cubicBezTo>
                    <a:pt x="162" y="403"/>
                    <a:pt x="162" y="400"/>
                    <a:pt x="165" y="400"/>
                  </a:cubicBezTo>
                  <a:cubicBezTo>
                    <a:pt x="162" y="396"/>
                    <a:pt x="164" y="386"/>
                    <a:pt x="157" y="389"/>
                  </a:cubicBezTo>
                  <a:cubicBezTo>
                    <a:pt x="159" y="385"/>
                    <a:pt x="163" y="385"/>
                    <a:pt x="163" y="378"/>
                  </a:cubicBezTo>
                  <a:cubicBezTo>
                    <a:pt x="167" y="378"/>
                    <a:pt x="171" y="378"/>
                    <a:pt x="176" y="378"/>
                  </a:cubicBezTo>
                  <a:cubicBezTo>
                    <a:pt x="176" y="386"/>
                    <a:pt x="174" y="389"/>
                    <a:pt x="168" y="389"/>
                  </a:cubicBezTo>
                  <a:cubicBezTo>
                    <a:pt x="167" y="398"/>
                    <a:pt x="173" y="397"/>
                    <a:pt x="170" y="407"/>
                  </a:cubicBezTo>
                  <a:cubicBezTo>
                    <a:pt x="174" y="408"/>
                    <a:pt x="175" y="406"/>
                    <a:pt x="176" y="403"/>
                  </a:cubicBezTo>
                  <a:cubicBezTo>
                    <a:pt x="183" y="412"/>
                    <a:pt x="183" y="408"/>
                    <a:pt x="192" y="411"/>
                  </a:cubicBezTo>
                  <a:cubicBezTo>
                    <a:pt x="192" y="414"/>
                    <a:pt x="189" y="414"/>
                    <a:pt x="187" y="415"/>
                  </a:cubicBezTo>
                  <a:cubicBezTo>
                    <a:pt x="186" y="419"/>
                    <a:pt x="187" y="421"/>
                    <a:pt x="189" y="422"/>
                  </a:cubicBezTo>
                  <a:close/>
                  <a:moveTo>
                    <a:pt x="168" y="440"/>
                  </a:moveTo>
                  <a:cubicBezTo>
                    <a:pt x="169" y="447"/>
                    <a:pt x="153" y="447"/>
                    <a:pt x="157" y="437"/>
                  </a:cubicBezTo>
                  <a:cubicBezTo>
                    <a:pt x="162" y="436"/>
                    <a:pt x="163" y="441"/>
                    <a:pt x="168" y="440"/>
                  </a:cubicBezTo>
                  <a:close/>
                  <a:moveTo>
                    <a:pt x="152" y="444"/>
                  </a:moveTo>
                  <a:cubicBezTo>
                    <a:pt x="149" y="438"/>
                    <a:pt x="142" y="443"/>
                    <a:pt x="138" y="440"/>
                  </a:cubicBezTo>
                  <a:cubicBezTo>
                    <a:pt x="136" y="439"/>
                    <a:pt x="137" y="433"/>
                    <a:pt x="133" y="433"/>
                  </a:cubicBezTo>
                  <a:cubicBezTo>
                    <a:pt x="130" y="433"/>
                    <a:pt x="131" y="428"/>
                    <a:pt x="130" y="426"/>
                  </a:cubicBezTo>
                  <a:cubicBezTo>
                    <a:pt x="127" y="426"/>
                    <a:pt x="128" y="432"/>
                    <a:pt x="128" y="437"/>
                  </a:cubicBezTo>
                  <a:cubicBezTo>
                    <a:pt x="122" y="435"/>
                    <a:pt x="116" y="435"/>
                    <a:pt x="117" y="426"/>
                  </a:cubicBezTo>
                  <a:cubicBezTo>
                    <a:pt x="109" y="425"/>
                    <a:pt x="111" y="432"/>
                    <a:pt x="106" y="426"/>
                  </a:cubicBezTo>
                  <a:cubicBezTo>
                    <a:pt x="109" y="409"/>
                    <a:pt x="114" y="425"/>
                    <a:pt x="119" y="426"/>
                  </a:cubicBezTo>
                  <a:cubicBezTo>
                    <a:pt x="124" y="426"/>
                    <a:pt x="125" y="421"/>
                    <a:pt x="130" y="422"/>
                  </a:cubicBezTo>
                  <a:cubicBezTo>
                    <a:pt x="133" y="430"/>
                    <a:pt x="138" y="435"/>
                    <a:pt x="146" y="437"/>
                  </a:cubicBezTo>
                  <a:cubicBezTo>
                    <a:pt x="153" y="438"/>
                    <a:pt x="145" y="420"/>
                    <a:pt x="154" y="426"/>
                  </a:cubicBezTo>
                  <a:cubicBezTo>
                    <a:pt x="157" y="430"/>
                    <a:pt x="157" y="433"/>
                    <a:pt x="152" y="433"/>
                  </a:cubicBezTo>
                  <a:cubicBezTo>
                    <a:pt x="155" y="438"/>
                    <a:pt x="153" y="439"/>
                    <a:pt x="152" y="444"/>
                  </a:cubicBezTo>
                  <a:close/>
                  <a:moveTo>
                    <a:pt x="141" y="518"/>
                  </a:moveTo>
                  <a:cubicBezTo>
                    <a:pt x="138" y="525"/>
                    <a:pt x="131" y="526"/>
                    <a:pt x="128" y="533"/>
                  </a:cubicBezTo>
                  <a:cubicBezTo>
                    <a:pt x="122" y="531"/>
                    <a:pt x="125" y="519"/>
                    <a:pt x="117" y="522"/>
                  </a:cubicBezTo>
                  <a:cubicBezTo>
                    <a:pt x="116" y="515"/>
                    <a:pt x="129" y="516"/>
                    <a:pt x="125" y="525"/>
                  </a:cubicBezTo>
                  <a:cubicBezTo>
                    <a:pt x="131" y="526"/>
                    <a:pt x="133" y="522"/>
                    <a:pt x="133" y="514"/>
                  </a:cubicBezTo>
                  <a:cubicBezTo>
                    <a:pt x="132" y="510"/>
                    <a:pt x="118" y="506"/>
                    <a:pt x="119" y="511"/>
                  </a:cubicBezTo>
                  <a:cubicBezTo>
                    <a:pt x="111" y="508"/>
                    <a:pt x="122" y="503"/>
                    <a:pt x="119" y="496"/>
                  </a:cubicBezTo>
                  <a:cubicBezTo>
                    <a:pt x="123" y="501"/>
                    <a:pt x="131" y="500"/>
                    <a:pt x="138" y="500"/>
                  </a:cubicBezTo>
                  <a:cubicBezTo>
                    <a:pt x="143" y="509"/>
                    <a:pt x="135" y="513"/>
                    <a:pt x="141" y="518"/>
                  </a:cubicBezTo>
                  <a:close/>
                  <a:moveTo>
                    <a:pt x="133" y="559"/>
                  </a:moveTo>
                  <a:cubicBezTo>
                    <a:pt x="135" y="545"/>
                    <a:pt x="145" y="579"/>
                    <a:pt x="133" y="574"/>
                  </a:cubicBezTo>
                  <a:cubicBezTo>
                    <a:pt x="129" y="565"/>
                    <a:pt x="140" y="560"/>
                    <a:pt x="133" y="559"/>
                  </a:cubicBezTo>
                  <a:close/>
                  <a:moveTo>
                    <a:pt x="130" y="533"/>
                  </a:moveTo>
                  <a:cubicBezTo>
                    <a:pt x="138" y="534"/>
                    <a:pt x="136" y="547"/>
                    <a:pt x="141" y="551"/>
                  </a:cubicBezTo>
                  <a:cubicBezTo>
                    <a:pt x="138" y="559"/>
                    <a:pt x="130" y="542"/>
                    <a:pt x="130" y="533"/>
                  </a:cubicBezTo>
                  <a:close/>
                  <a:moveTo>
                    <a:pt x="125" y="540"/>
                  </a:moveTo>
                  <a:cubicBezTo>
                    <a:pt x="123" y="539"/>
                    <a:pt x="118" y="542"/>
                    <a:pt x="117" y="540"/>
                  </a:cubicBezTo>
                  <a:cubicBezTo>
                    <a:pt x="112" y="531"/>
                    <a:pt x="134" y="538"/>
                    <a:pt x="128" y="548"/>
                  </a:cubicBezTo>
                  <a:cubicBezTo>
                    <a:pt x="126" y="550"/>
                    <a:pt x="125" y="540"/>
                    <a:pt x="125" y="540"/>
                  </a:cubicBezTo>
                  <a:close/>
                  <a:moveTo>
                    <a:pt x="125" y="574"/>
                  </a:moveTo>
                  <a:cubicBezTo>
                    <a:pt x="123" y="574"/>
                    <a:pt x="121" y="568"/>
                    <a:pt x="122" y="566"/>
                  </a:cubicBezTo>
                  <a:cubicBezTo>
                    <a:pt x="126" y="553"/>
                    <a:pt x="127" y="573"/>
                    <a:pt x="125" y="574"/>
                  </a:cubicBezTo>
                  <a:close/>
                  <a:moveTo>
                    <a:pt x="125" y="611"/>
                  </a:moveTo>
                  <a:cubicBezTo>
                    <a:pt x="124" y="615"/>
                    <a:pt x="122" y="613"/>
                    <a:pt x="122" y="611"/>
                  </a:cubicBezTo>
                  <a:cubicBezTo>
                    <a:pt x="120" y="612"/>
                    <a:pt x="117" y="614"/>
                    <a:pt x="117" y="618"/>
                  </a:cubicBezTo>
                  <a:cubicBezTo>
                    <a:pt x="110" y="616"/>
                    <a:pt x="116" y="604"/>
                    <a:pt x="122" y="607"/>
                  </a:cubicBezTo>
                  <a:cubicBezTo>
                    <a:pt x="122" y="610"/>
                    <a:pt x="123" y="610"/>
                    <a:pt x="125" y="611"/>
                  </a:cubicBezTo>
                  <a:close/>
                  <a:moveTo>
                    <a:pt x="111" y="599"/>
                  </a:moveTo>
                  <a:cubicBezTo>
                    <a:pt x="112" y="592"/>
                    <a:pt x="123" y="600"/>
                    <a:pt x="125" y="603"/>
                  </a:cubicBezTo>
                  <a:cubicBezTo>
                    <a:pt x="133" y="608"/>
                    <a:pt x="114" y="602"/>
                    <a:pt x="111" y="599"/>
                  </a:cubicBezTo>
                  <a:close/>
                  <a:moveTo>
                    <a:pt x="93" y="592"/>
                  </a:moveTo>
                  <a:cubicBezTo>
                    <a:pt x="95" y="592"/>
                    <a:pt x="95" y="597"/>
                    <a:pt x="95" y="599"/>
                  </a:cubicBezTo>
                  <a:cubicBezTo>
                    <a:pt x="97" y="594"/>
                    <a:pt x="106" y="599"/>
                    <a:pt x="106" y="592"/>
                  </a:cubicBezTo>
                  <a:cubicBezTo>
                    <a:pt x="109" y="593"/>
                    <a:pt x="109" y="599"/>
                    <a:pt x="106" y="599"/>
                  </a:cubicBezTo>
                  <a:cubicBezTo>
                    <a:pt x="99" y="598"/>
                    <a:pt x="104" y="614"/>
                    <a:pt x="95" y="611"/>
                  </a:cubicBezTo>
                  <a:cubicBezTo>
                    <a:pt x="96" y="602"/>
                    <a:pt x="90" y="603"/>
                    <a:pt x="93" y="592"/>
                  </a:cubicBezTo>
                  <a:close/>
                  <a:moveTo>
                    <a:pt x="93" y="389"/>
                  </a:moveTo>
                  <a:cubicBezTo>
                    <a:pt x="100" y="389"/>
                    <a:pt x="98" y="404"/>
                    <a:pt x="90" y="403"/>
                  </a:cubicBezTo>
                  <a:cubicBezTo>
                    <a:pt x="92" y="400"/>
                    <a:pt x="93" y="395"/>
                    <a:pt x="93" y="389"/>
                  </a:cubicBezTo>
                  <a:close/>
                  <a:moveTo>
                    <a:pt x="87" y="315"/>
                  </a:moveTo>
                  <a:cubicBezTo>
                    <a:pt x="87" y="312"/>
                    <a:pt x="87" y="310"/>
                    <a:pt x="87" y="307"/>
                  </a:cubicBezTo>
                  <a:cubicBezTo>
                    <a:pt x="89" y="308"/>
                    <a:pt x="90" y="306"/>
                    <a:pt x="90" y="304"/>
                  </a:cubicBezTo>
                  <a:cubicBezTo>
                    <a:pt x="95" y="302"/>
                    <a:pt x="94" y="320"/>
                    <a:pt x="87" y="315"/>
                  </a:cubicBezTo>
                  <a:close/>
                  <a:moveTo>
                    <a:pt x="122" y="352"/>
                  </a:moveTo>
                  <a:cubicBezTo>
                    <a:pt x="119" y="355"/>
                    <a:pt x="115" y="357"/>
                    <a:pt x="109" y="355"/>
                  </a:cubicBezTo>
                  <a:cubicBezTo>
                    <a:pt x="109" y="353"/>
                    <a:pt x="109" y="350"/>
                    <a:pt x="109" y="348"/>
                  </a:cubicBezTo>
                  <a:cubicBezTo>
                    <a:pt x="111" y="349"/>
                    <a:pt x="111" y="346"/>
                    <a:pt x="111" y="344"/>
                  </a:cubicBezTo>
                  <a:cubicBezTo>
                    <a:pt x="114" y="345"/>
                    <a:pt x="113" y="352"/>
                    <a:pt x="117" y="352"/>
                  </a:cubicBezTo>
                  <a:cubicBezTo>
                    <a:pt x="119" y="352"/>
                    <a:pt x="119" y="350"/>
                    <a:pt x="119" y="348"/>
                  </a:cubicBezTo>
                  <a:cubicBezTo>
                    <a:pt x="121" y="342"/>
                    <a:pt x="122" y="348"/>
                    <a:pt x="122" y="352"/>
                  </a:cubicBezTo>
                  <a:close/>
                  <a:moveTo>
                    <a:pt x="125" y="381"/>
                  </a:moveTo>
                  <a:cubicBezTo>
                    <a:pt x="115" y="380"/>
                    <a:pt x="118" y="372"/>
                    <a:pt x="119" y="363"/>
                  </a:cubicBezTo>
                  <a:cubicBezTo>
                    <a:pt x="123" y="366"/>
                    <a:pt x="123" y="375"/>
                    <a:pt x="125" y="381"/>
                  </a:cubicBezTo>
                  <a:close/>
                  <a:moveTo>
                    <a:pt x="106" y="318"/>
                  </a:moveTo>
                  <a:cubicBezTo>
                    <a:pt x="109" y="315"/>
                    <a:pt x="107" y="305"/>
                    <a:pt x="114" y="307"/>
                  </a:cubicBezTo>
                  <a:cubicBezTo>
                    <a:pt x="115" y="315"/>
                    <a:pt x="112" y="319"/>
                    <a:pt x="106" y="318"/>
                  </a:cubicBezTo>
                  <a:close/>
                  <a:moveTo>
                    <a:pt x="109" y="363"/>
                  </a:moveTo>
                  <a:cubicBezTo>
                    <a:pt x="110" y="369"/>
                    <a:pt x="117" y="366"/>
                    <a:pt x="114" y="378"/>
                  </a:cubicBezTo>
                  <a:cubicBezTo>
                    <a:pt x="102" y="376"/>
                    <a:pt x="110" y="370"/>
                    <a:pt x="106" y="359"/>
                  </a:cubicBezTo>
                  <a:cubicBezTo>
                    <a:pt x="108" y="358"/>
                    <a:pt x="109" y="360"/>
                    <a:pt x="109" y="363"/>
                  </a:cubicBezTo>
                  <a:close/>
                  <a:moveTo>
                    <a:pt x="114" y="407"/>
                  </a:moveTo>
                  <a:cubicBezTo>
                    <a:pt x="110" y="407"/>
                    <a:pt x="105" y="407"/>
                    <a:pt x="101" y="407"/>
                  </a:cubicBezTo>
                  <a:cubicBezTo>
                    <a:pt x="103" y="394"/>
                    <a:pt x="101" y="398"/>
                    <a:pt x="103" y="385"/>
                  </a:cubicBezTo>
                  <a:cubicBezTo>
                    <a:pt x="106" y="386"/>
                    <a:pt x="106" y="392"/>
                    <a:pt x="106" y="396"/>
                  </a:cubicBezTo>
                  <a:cubicBezTo>
                    <a:pt x="112" y="397"/>
                    <a:pt x="104" y="379"/>
                    <a:pt x="114" y="385"/>
                  </a:cubicBezTo>
                  <a:cubicBezTo>
                    <a:pt x="109" y="392"/>
                    <a:pt x="113" y="398"/>
                    <a:pt x="114" y="407"/>
                  </a:cubicBezTo>
                  <a:close/>
                  <a:moveTo>
                    <a:pt x="106" y="352"/>
                  </a:moveTo>
                  <a:cubicBezTo>
                    <a:pt x="102" y="368"/>
                    <a:pt x="95" y="334"/>
                    <a:pt x="106" y="341"/>
                  </a:cubicBezTo>
                  <a:cubicBezTo>
                    <a:pt x="104" y="344"/>
                    <a:pt x="102" y="351"/>
                    <a:pt x="106" y="352"/>
                  </a:cubicBezTo>
                  <a:close/>
                  <a:moveTo>
                    <a:pt x="103" y="433"/>
                  </a:moveTo>
                  <a:cubicBezTo>
                    <a:pt x="104" y="439"/>
                    <a:pt x="107" y="443"/>
                    <a:pt x="103" y="448"/>
                  </a:cubicBezTo>
                  <a:cubicBezTo>
                    <a:pt x="98" y="444"/>
                    <a:pt x="100" y="435"/>
                    <a:pt x="98" y="429"/>
                  </a:cubicBezTo>
                  <a:cubicBezTo>
                    <a:pt x="96" y="425"/>
                    <a:pt x="92" y="426"/>
                    <a:pt x="93" y="418"/>
                  </a:cubicBezTo>
                  <a:cubicBezTo>
                    <a:pt x="96" y="419"/>
                    <a:pt x="97" y="417"/>
                    <a:pt x="98" y="415"/>
                  </a:cubicBezTo>
                  <a:cubicBezTo>
                    <a:pt x="102" y="417"/>
                    <a:pt x="102" y="426"/>
                    <a:pt x="103" y="433"/>
                  </a:cubicBezTo>
                  <a:close/>
                  <a:moveTo>
                    <a:pt x="109" y="440"/>
                  </a:moveTo>
                  <a:cubicBezTo>
                    <a:pt x="111" y="440"/>
                    <a:pt x="114" y="440"/>
                    <a:pt x="117" y="440"/>
                  </a:cubicBezTo>
                  <a:cubicBezTo>
                    <a:pt x="117" y="447"/>
                    <a:pt x="112" y="455"/>
                    <a:pt x="114" y="459"/>
                  </a:cubicBezTo>
                  <a:cubicBezTo>
                    <a:pt x="115" y="461"/>
                    <a:pt x="117" y="456"/>
                    <a:pt x="117" y="455"/>
                  </a:cubicBezTo>
                  <a:cubicBezTo>
                    <a:pt x="117" y="454"/>
                    <a:pt x="121" y="457"/>
                    <a:pt x="119" y="459"/>
                  </a:cubicBezTo>
                  <a:cubicBezTo>
                    <a:pt x="115" y="464"/>
                    <a:pt x="120" y="463"/>
                    <a:pt x="117" y="474"/>
                  </a:cubicBezTo>
                  <a:cubicBezTo>
                    <a:pt x="111" y="475"/>
                    <a:pt x="108" y="473"/>
                    <a:pt x="109" y="466"/>
                  </a:cubicBezTo>
                  <a:cubicBezTo>
                    <a:pt x="104" y="468"/>
                    <a:pt x="106" y="478"/>
                    <a:pt x="98" y="474"/>
                  </a:cubicBezTo>
                  <a:cubicBezTo>
                    <a:pt x="103" y="465"/>
                    <a:pt x="104" y="463"/>
                    <a:pt x="95" y="459"/>
                  </a:cubicBezTo>
                  <a:cubicBezTo>
                    <a:pt x="96" y="456"/>
                    <a:pt x="104" y="448"/>
                    <a:pt x="103" y="455"/>
                  </a:cubicBezTo>
                  <a:cubicBezTo>
                    <a:pt x="112" y="452"/>
                    <a:pt x="104" y="447"/>
                    <a:pt x="109" y="440"/>
                  </a:cubicBezTo>
                  <a:close/>
                  <a:moveTo>
                    <a:pt x="135" y="485"/>
                  </a:moveTo>
                  <a:cubicBezTo>
                    <a:pt x="138" y="498"/>
                    <a:pt x="121" y="492"/>
                    <a:pt x="119" y="489"/>
                  </a:cubicBezTo>
                  <a:cubicBezTo>
                    <a:pt x="121" y="484"/>
                    <a:pt x="130" y="491"/>
                    <a:pt x="135" y="485"/>
                  </a:cubicBezTo>
                  <a:close/>
                  <a:moveTo>
                    <a:pt x="128" y="463"/>
                  </a:moveTo>
                  <a:cubicBezTo>
                    <a:pt x="128" y="456"/>
                    <a:pt x="134" y="461"/>
                    <a:pt x="135" y="452"/>
                  </a:cubicBezTo>
                  <a:cubicBezTo>
                    <a:pt x="139" y="452"/>
                    <a:pt x="137" y="455"/>
                    <a:pt x="135" y="455"/>
                  </a:cubicBezTo>
                  <a:cubicBezTo>
                    <a:pt x="133" y="469"/>
                    <a:pt x="135" y="473"/>
                    <a:pt x="133" y="481"/>
                  </a:cubicBezTo>
                  <a:cubicBezTo>
                    <a:pt x="127" y="482"/>
                    <a:pt x="123" y="480"/>
                    <a:pt x="122" y="474"/>
                  </a:cubicBezTo>
                  <a:cubicBezTo>
                    <a:pt x="121" y="466"/>
                    <a:pt x="127" y="468"/>
                    <a:pt x="128" y="463"/>
                  </a:cubicBezTo>
                  <a:close/>
                  <a:moveTo>
                    <a:pt x="111" y="507"/>
                  </a:moveTo>
                  <a:cubicBezTo>
                    <a:pt x="106" y="509"/>
                    <a:pt x="104" y="504"/>
                    <a:pt x="101" y="503"/>
                  </a:cubicBezTo>
                  <a:cubicBezTo>
                    <a:pt x="101" y="499"/>
                    <a:pt x="106" y="500"/>
                    <a:pt x="109" y="500"/>
                  </a:cubicBezTo>
                  <a:cubicBezTo>
                    <a:pt x="109" y="495"/>
                    <a:pt x="109" y="490"/>
                    <a:pt x="109" y="485"/>
                  </a:cubicBezTo>
                  <a:cubicBezTo>
                    <a:pt x="113" y="473"/>
                    <a:pt x="111" y="501"/>
                    <a:pt x="111" y="507"/>
                  </a:cubicBezTo>
                  <a:close/>
                  <a:moveTo>
                    <a:pt x="109" y="544"/>
                  </a:moveTo>
                  <a:cubicBezTo>
                    <a:pt x="103" y="544"/>
                    <a:pt x="105" y="534"/>
                    <a:pt x="98" y="537"/>
                  </a:cubicBezTo>
                  <a:cubicBezTo>
                    <a:pt x="90" y="526"/>
                    <a:pt x="110" y="542"/>
                    <a:pt x="109" y="533"/>
                  </a:cubicBezTo>
                  <a:cubicBezTo>
                    <a:pt x="113" y="534"/>
                    <a:pt x="108" y="538"/>
                    <a:pt x="109" y="544"/>
                  </a:cubicBezTo>
                  <a:close/>
                  <a:moveTo>
                    <a:pt x="101" y="585"/>
                  </a:moveTo>
                  <a:cubicBezTo>
                    <a:pt x="98" y="596"/>
                    <a:pt x="98" y="574"/>
                    <a:pt x="93" y="577"/>
                  </a:cubicBezTo>
                  <a:cubicBezTo>
                    <a:pt x="95" y="566"/>
                    <a:pt x="100" y="581"/>
                    <a:pt x="101" y="585"/>
                  </a:cubicBezTo>
                  <a:close/>
                  <a:moveTo>
                    <a:pt x="93" y="492"/>
                  </a:moveTo>
                  <a:cubicBezTo>
                    <a:pt x="101" y="479"/>
                    <a:pt x="102" y="503"/>
                    <a:pt x="93" y="492"/>
                  </a:cubicBezTo>
                  <a:close/>
                  <a:moveTo>
                    <a:pt x="111" y="607"/>
                  </a:moveTo>
                  <a:cubicBezTo>
                    <a:pt x="110" y="611"/>
                    <a:pt x="108" y="614"/>
                    <a:pt x="103" y="614"/>
                  </a:cubicBezTo>
                  <a:cubicBezTo>
                    <a:pt x="104" y="610"/>
                    <a:pt x="107" y="607"/>
                    <a:pt x="111" y="607"/>
                  </a:cubicBezTo>
                  <a:close/>
                  <a:moveTo>
                    <a:pt x="106" y="581"/>
                  </a:moveTo>
                  <a:cubicBezTo>
                    <a:pt x="106" y="577"/>
                    <a:pt x="111" y="578"/>
                    <a:pt x="114" y="577"/>
                  </a:cubicBezTo>
                  <a:cubicBezTo>
                    <a:pt x="114" y="567"/>
                    <a:pt x="110" y="570"/>
                    <a:pt x="114" y="562"/>
                  </a:cubicBezTo>
                  <a:cubicBezTo>
                    <a:pt x="123" y="565"/>
                    <a:pt x="111" y="586"/>
                    <a:pt x="117" y="585"/>
                  </a:cubicBezTo>
                  <a:cubicBezTo>
                    <a:pt x="114" y="596"/>
                    <a:pt x="108" y="583"/>
                    <a:pt x="106" y="581"/>
                  </a:cubicBezTo>
                  <a:close/>
                  <a:moveTo>
                    <a:pt x="128" y="352"/>
                  </a:moveTo>
                  <a:cubicBezTo>
                    <a:pt x="130" y="348"/>
                    <a:pt x="128" y="338"/>
                    <a:pt x="135" y="341"/>
                  </a:cubicBezTo>
                  <a:cubicBezTo>
                    <a:pt x="133" y="344"/>
                    <a:pt x="135" y="354"/>
                    <a:pt x="128" y="352"/>
                  </a:cubicBezTo>
                  <a:close/>
                  <a:moveTo>
                    <a:pt x="135" y="355"/>
                  </a:moveTo>
                  <a:cubicBezTo>
                    <a:pt x="135" y="358"/>
                    <a:pt x="135" y="360"/>
                    <a:pt x="135" y="363"/>
                  </a:cubicBezTo>
                  <a:cubicBezTo>
                    <a:pt x="134" y="363"/>
                    <a:pt x="132" y="363"/>
                    <a:pt x="130" y="363"/>
                  </a:cubicBezTo>
                  <a:cubicBezTo>
                    <a:pt x="130" y="360"/>
                    <a:pt x="130" y="358"/>
                    <a:pt x="130" y="355"/>
                  </a:cubicBezTo>
                  <a:cubicBezTo>
                    <a:pt x="132" y="355"/>
                    <a:pt x="134" y="355"/>
                    <a:pt x="135" y="355"/>
                  </a:cubicBezTo>
                  <a:close/>
                  <a:moveTo>
                    <a:pt x="141" y="333"/>
                  </a:moveTo>
                  <a:cubicBezTo>
                    <a:pt x="147" y="335"/>
                    <a:pt x="143" y="353"/>
                    <a:pt x="141" y="355"/>
                  </a:cubicBezTo>
                  <a:cubicBezTo>
                    <a:pt x="133" y="351"/>
                    <a:pt x="144" y="343"/>
                    <a:pt x="141" y="333"/>
                  </a:cubicBezTo>
                  <a:close/>
                  <a:moveTo>
                    <a:pt x="138" y="363"/>
                  </a:moveTo>
                  <a:cubicBezTo>
                    <a:pt x="139" y="358"/>
                    <a:pt x="143" y="360"/>
                    <a:pt x="146" y="359"/>
                  </a:cubicBezTo>
                  <a:cubicBezTo>
                    <a:pt x="149" y="359"/>
                    <a:pt x="148" y="355"/>
                    <a:pt x="149" y="352"/>
                  </a:cubicBezTo>
                  <a:cubicBezTo>
                    <a:pt x="155" y="350"/>
                    <a:pt x="154" y="357"/>
                    <a:pt x="154" y="363"/>
                  </a:cubicBezTo>
                  <a:cubicBezTo>
                    <a:pt x="150" y="370"/>
                    <a:pt x="148" y="360"/>
                    <a:pt x="138" y="363"/>
                  </a:cubicBezTo>
                  <a:close/>
                  <a:moveTo>
                    <a:pt x="149" y="378"/>
                  </a:moveTo>
                  <a:cubicBezTo>
                    <a:pt x="161" y="379"/>
                    <a:pt x="146" y="399"/>
                    <a:pt x="149" y="378"/>
                  </a:cubicBezTo>
                  <a:close/>
                  <a:moveTo>
                    <a:pt x="184" y="389"/>
                  </a:moveTo>
                  <a:cubicBezTo>
                    <a:pt x="185" y="396"/>
                    <a:pt x="172" y="394"/>
                    <a:pt x="176" y="385"/>
                  </a:cubicBezTo>
                  <a:cubicBezTo>
                    <a:pt x="180" y="384"/>
                    <a:pt x="181" y="388"/>
                    <a:pt x="184" y="389"/>
                  </a:cubicBezTo>
                  <a:close/>
                  <a:moveTo>
                    <a:pt x="160" y="263"/>
                  </a:moveTo>
                  <a:cubicBezTo>
                    <a:pt x="157" y="263"/>
                    <a:pt x="147" y="266"/>
                    <a:pt x="146" y="259"/>
                  </a:cubicBezTo>
                  <a:cubicBezTo>
                    <a:pt x="146" y="256"/>
                    <a:pt x="147" y="252"/>
                    <a:pt x="149" y="252"/>
                  </a:cubicBezTo>
                  <a:cubicBezTo>
                    <a:pt x="150" y="252"/>
                    <a:pt x="151" y="259"/>
                    <a:pt x="152" y="259"/>
                  </a:cubicBezTo>
                  <a:cubicBezTo>
                    <a:pt x="158" y="261"/>
                    <a:pt x="162" y="258"/>
                    <a:pt x="168" y="259"/>
                  </a:cubicBezTo>
                  <a:cubicBezTo>
                    <a:pt x="167" y="260"/>
                    <a:pt x="166" y="266"/>
                    <a:pt x="165" y="267"/>
                  </a:cubicBezTo>
                  <a:cubicBezTo>
                    <a:pt x="161" y="269"/>
                    <a:pt x="161" y="263"/>
                    <a:pt x="160" y="263"/>
                  </a:cubicBezTo>
                  <a:close/>
                  <a:moveTo>
                    <a:pt x="149" y="278"/>
                  </a:moveTo>
                  <a:cubicBezTo>
                    <a:pt x="148" y="276"/>
                    <a:pt x="156" y="267"/>
                    <a:pt x="160" y="274"/>
                  </a:cubicBezTo>
                  <a:cubicBezTo>
                    <a:pt x="161" y="277"/>
                    <a:pt x="151" y="280"/>
                    <a:pt x="149" y="278"/>
                  </a:cubicBezTo>
                  <a:close/>
                  <a:moveTo>
                    <a:pt x="189" y="263"/>
                  </a:moveTo>
                  <a:cubicBezTo>
                    <a:pt x="187" y="266"/>
                    <a:pt x="188" y="273"/>
                    <a:pt x="184" y="274"/>
                  </a:cubicBezTo>
                  <a:cubicBezTo>
                    <a:pt x="185" y="280"/>
                    <a:pt x="192" y="277"/>
                    <a:pt x="189" y="289"/>
                  </a:cubicBezTo>
                  <a:cubicBezTo>
                    <a:pt x="181" y="292"/>
                    <a:pt x="186" y="276"/>
                    <a:pt x="176" y="281"/>
                  </a:cubicBezTo>
                  <a:cubicBezTo>
                    <a:pt x="177" y="277"/>
                    <a:pt x="179" y="274"/>
                    <a:pt x="184" y="274"/>
                  </a:cubicBezTo>
                  <a:cubicBezTo>
                    <a:pt x="183" y="267"/>
                    <a:pt x="185" y="262"/>
                    <a:pt x="189" y="263"/>
                  </a:cubicBezTo>
                  <a:close/>
                  <a:moveTo>
                    <a:pt x="176" y="267"/>
                  </a:moveTo>
                  <a:cubicBezTo>
                    <a:pt x="176" y="264"/>
                    <a:pt x="179" y="263"/>
                    <a:pt x="179" y="259"/>
                  </a:cubicBezTo>
                  <a:cubicBezTo>
                    <a:pt x="178" y="256"/>
                    <a:pt x="175" y="256"/>
                    <a:pt x="173" y="255"/>
                  </a:cubicBezTo>
                  <a:cubicBezTo>
                    <a:pt x="174" y="251"/>
                    <a:pt x="178" y="250"/>
                    <a:pt x="179" y="244"/>
                  </a:cubicBezTo>
                  <a:cubicBezTo>
                    <a:pt x="187" y="245"/>
                    <a:pt x="184" y="267"/>
                    <a:pt x="176" y="267"/>
                  </a:cubicBezTo>
                  <a:close/>
                  <a:moveTo>
                    <a:pt x="176" y="170"/>
                  </a:moveTo>
                  <a:cubicBezTo>
                    <a:pt x="173" y="183"/>
                    <a:pt x="171" y="172"/>
                    <a:pt x="163" y="174"/>
                  </a:cubicBezTo>
                  <a:cubicBezTo>
                    <a:pt x="165" y="168"/>
                    <a:pt x="172" y="165"/>
                    <a:pt x="176" y="170"/>
                  </a:cubicBezTo>
                  <a:close/>
                  <a:moveTo>
                    <a:pt x="90" y="226"/>
                  </a:moveTo>
                  <a:cubicBezTo>
                    <a:pt x="90" y="223"/>
                    <a:pt x="90" y="221"/>
                    <a:pt x="90" y="218"/>
                  </a:cubicBezTo>
                  <a:cubicBezTo>
                    <a:pt x="98" y="225"/>
                    <a:pt x="99" y="216"/>
                    <a:pt x="111" y="218"/>
                  </a:cubicBezTo>
                  <a:cubicBezTo>
                    <a:pt x="117" y="219"/>
                    <a:pt x="117" y="225"/>
                    <a:pt x="125" y="222"/>
                  </a:cubicBezTo>
                  <a:cubicBezTo>
                    <a:pt x="128" y="221"/>
                    <a:pt x="135" y="218"/>
                    <a:pt x="141" y="226"/>
                  </a:cubicBezTo>
                  <a:cubicBezTo>
                    <a:pt x="142" y="228"/>
                    <a:pt x="158" y="224"/>
                    <a:pt x="165" y="226"/>
                  </a:cubicBezTo>
                  <a:cubicBezTo>
                    <a:pt x="171" y="227"/>
                    <a:pt x="184" y="227"/>
                    <a:pt x="181" y="241"/>
                  </a:cubicBezTo>
                  <a:cubicBezTo>
                    <a:pt x="178" y="240"/>
                    <a:pt x="180" y="233"/>
                    <a:pt x="176" y="233"/>
                  </a:cubicBezTo>
                  <a:cubicBezTo>
                    <a:pt x="172" y="234"/>
                    <a:pt x="174" y="243"/>
                    <a:pt x="173" y="248"/>
                  </a:cubicBezTo>
                  <a:cubicBezTo>
                    <a:pt x="163" y="239"/>
                    <a:pt x="175" y="252"/>
                    <a:pt x="168" y="255"/>
                  </a:cubicBezTo>
                  <a:cubicBezTo>
                    <a:pt x="160" y="259"/>
                    <a:pt x="166" y="248"/>
                    <a:pt x="165" y="248"/>
                  </a:cubicBezTo>
                  <a:cubicBezTo>
                    <a:pt x="164" y="247"/>
                    <a:pt x="158" y="255"/>
                    <a:pt x="154" y="252"/>
                  </a:cubicBezTo>
                  <a:cubicBezTo>
                    <a:pt x="154" y="246"/>
                    <a:pt x="146" y="250"/>
                    <a:pt x="146" y="244"/>
                  </a:cubicBezTo>
                  <a:cubicBezTo>
                    <a:pt x="144" y="247"/>
                    <a:pt x="142" y="251"/>
                    <a:pt x="141" y="255"/>
                  </a:cubicBezTo>
                  <a:cubicBezTo>
                    <a:pt x="132" y="249"/>
                    <a:pt x="129" y="242"/>
                    <a:pt x="133" y="226"/>
                  </a:cubicBezTo>
                  <a:cubicBezTo>
                    <a:pt x="131" y="226"/>
                    <a:pt x="129" y="226"/>
                    <a:pt x="128" y="226"/>
                  </a:cubicBezTo>
                  <a:cubicBezTo>
                    <a:pt x="124" y="227"/>
                    <a:pt x="125" y="233"/>
                    <a:pt x="128" y="233"/>
                  </a:cubicBezTo>
                  <a:cubicBezTo>
                    <a:pt x="127" y="237"/>
                    <a:pt x="124" y="236"/>
                    <a:pt x="122" y="237"/>
                  </a:cubicBezTo>
                  <a:cubicBezTo>
                    <a:pt x="125" y="249"/>
                    <a:pt x="122" y="245"/>
                    <a:pt x="122" y="259"/>
                  </a:cubicBezTo>
                  <a:cubicBezTo>
                    <a:pt x="118" y="256"/>
                    <a:pt x="118" y="247"/>
                    <a:pt x="117" y="241"/>
                  </a:cubicBezTo>
                  <a:cubicBezTo>
                    <a:pt x="112" y="242"/>
                    <a:pt x="110" y="249"/>
                    <a:pt x="103" y="248"/>
                  </a:cubicBezTo>
                  <a:cubicBezTo>
                    <a:pt x="101" y="231"/>
                    <a:pt x="108" y="240"/>
                    <a:pt x="114" y="241"/>
                  </a:cubicBezTo>
                  <a:cubicBezTo>
                    <a:pt x="116" y="231"/>
                    <a:pt x="109" y="234"/>
                    <a:pt x="106" y="230"/>
                  </a:cubicBezTo>
                  <a:cubicBezTo>
                    <a:pt x="99" y="228"/>
                    <a:pt x="103" y="243"/>
                    <a:pt x="98" y="244"/>
                  </a:cubicBezTo>
                  <a:cubicBezTo>
                    <a:pt x="84" y="246"/>
                    <a:pt x="104" y="223"/>
                    <a:pt x="87" y="230"/>
                  </a:cubicBezTo>
                  <a:cubicBezTo>
                    <a:pt x="87" y="226"/>
                    <a:pt x="88" y="226"/>
                    <a:pt x="90" y="226"/>
                  </a:cubicBezTo>
                  <a:close/>
                  <a:moveTo>
                    <a:pt x="58" y="407"/>
                  </a:moveTo>
                  <a:cubicBezTo>
                    <a:pt x="67" y="405"/>
                    <a:pt x="58" y="424"/>
                    <a:pt x="55" y="418"/>
                  </a:cubicBezTo>
                  <a:cubicBezTo>
                    <a:pt x="55" y="418"/>
                    <a:pt x="57" y="411"/>
                    <a:pt x="58" y="411"/>
                  </a:cubicBezTo>
                  <a:cubicBezTo>
                    <a:pt x="58" y="411"/>
                    <a:pt x="57" y="407"/>
                    <a:pt x="58" y="407"/>
                  </a:cubicBezTo>
                  <a:close/>
                  <a:moveTo>
                    <a:pt x="55" y="433"/>
                  </a:moveTo>
                  <a:cubicBezTo>
                    <a:pt x="54" y="425"/>
                    <a:pt x="59" y="426"/>
                    <a:pt x="63" y="426"/>
                  </a:cubicBezTo>
                  <a:cubicBezTo>
                    <a:pt x="62" y="430"/>
                    <a:pt x="60" y="433"/>
                    <a:pt x="55" y="433"/>
                  </a:cubicBezTo>
                  <a:close/>
                  <a:moveTo>
                    <a:pt x="60" y="655"/>
                  </a:moveTo>
                  <a:cubicBezTo>
                    <a:pt x="60" y="649"/>
                    <a:pt x="60" y="643"/>
                    <a:pt x="60" y="636"/>
                  </a:cubicBezTo>
                  <a:cubicBezTo>
                    <a:pt x="69" y="631"/>
                    <a:pt x="69" y="661"/>
                    <a:pt x="60" y="655"/>
                  </a:cubicBezTo>
                  <a:close/>
                  <a:moveTo>
                    <a:pt x="71" y="244"/>
                  </a:moveTo>
                  <a:cubicBezTo>
                    <a:pt x="75" y="239"/>
                    <a:pt x="75" y="230"/>
                    <a:pt x="66" y="233"/>
                  </a:cubicBezTo>
                  <a:cubicBezTo>
                    <a:pt x="68" y="228"/>
                    <a:pt x="73" y="226"/>
                    <a:pt x="74" y="218"/>
                  </a:cubicBezTo>
                  <a:cubicBezTo>
                    <a:pt x="77" y="218"/>
                    <a:pt x="75" y="224"/>
                    <a:pt x="76" y="226"/>
                  </a:cubicBezTo>
                  <a:cubicBezTo>
                    <a:pt x="80" y="233"/>
                    <a:pt x="89" y="230"/>
                    <a:pt x="90" y="241"/>
                  </a:cubicBezTo>
                  <a:cubicBezTo>
                    <a:pt x="88" y="233"/>
                    <a:pt x="80" y="243"/>
                    <a:pt x="79" y="237"/>
                  </a:cubicBezTo>
                  <a:cubicBezTo>
                    <a:pt x="76" y="239"/>
                    <a:pt x="76" y="246"/>
                    <a:pt x="71" y="244"/>
                  </a:cubicBezTo>
                  <a:close/>
                  <a:moveTo>
                    <a:pt x="93" y="721"/>
                  </a:moveTo>
                  <a:cubicBezTo>
                    <a:pt x="93" y="712"/>
                    <a:pt x="87" y="712"/>
                    <a:pt x="82" y="710"/>
                  </a:cubicBezTo>
                  <a:cubicBezTo>
                    <a:pt x="83" y="703"/>
                    <a:pt x="92" y="707"/>
                    <a:pt x="90" y="696"/>
                  </a:cubicBezTo>
                  <a:cubicBezTo>
                    <a:pt x="93" y="700"/>
                    <a:pt x="99" y="700"/>
                    <a:pt x="106" y="699"/>
                  </a:cubicBezTo>
                  <a:cubicBezTo>
                    <a:pt x="106" y="714"/>
                    <a:pt x="102" y="721"/>
                    <a:pt x="93" y="721"/>
                  </a:cubicBezTo>
                  <a:close/>
                  <a:moveTo>
                    <a:pt x="106" y="692"/>
                  </a:moveTo>
                  <a:cubicBezTo>
                    <a:pt x="104" y="692"/>
                    <a:pt x="102" y="692"/>
                    <a:pt x="101" y="692"/>
                  </a:cubicBezTo>
                  <a:cubicBezTo>
                    <a:pt x="101" y="689"/>
                    <a:pt x="101" y="687"/>
                    <a:pt x="101" y="684"/>
                  </a:cubicBezTo>
                  <a:cubicBezTo>
                    <a:pt x="102" y="684"/>
                    <a:pt x="104" y="684"/>
                    <a:pt x="106" y="684"/>
                  </a:cubicBezTo>
                  <a:cubicBezTo>
                    <a:pt x="106" y="687"/>
                    <a:pt x="106" y="689"/>
                    <a:pt x="106" y="692"/>
                  </a:cubicBezTo>
                  <a:close/>
                  <a:moveTo>
                    <a:pt x="109" y="677"/>
                  </a:moveTo>
                  <a:cubicBezTo>
                    <a:pt x="101" y="677"/>
                    <a:pt x="98" y="669"/>
                    <a:pt x="93" y="666"/>
                  </a:cubicBezTo>
                  <a:cubicBezTo>
                    <a:pt x="92" y="672"/>
                    <a:pt x="95" y="673"/>
                    <a:pt x="98" y="673"/>
                  </a:cubicBezTo>
                  <a:cubicBezTo>
                    <a:pt x="95" y="685"/>
                    <a:pt x="86" y="673"/>
                    <a:pt x="90" y="662"/>
                  </a:cubicBezTo>
                  <a:cubicBezTo>
                    <a:pt x="82" y="663"/>
                    <a:pt x="83" y="678"/>
                    <a:pt x="79" y="655"/>
                  </a:cubicBezTo>
                  <a:cubicBezTo>
                    <a:pt x="87" y="665"/>
                    <a:pt x="97" y="649"/>
                    <a:pt x="101" y="662"/>
                  </a:cubicBezTo>
                  <a:cubicBezTo>
                    <a:pt x="103" y="662"/>
                    <a:pt x="103" y="659"/>
                    <a:pt x="106" y="659"/>
                  </a:cubicBezTo>
                  <a:cubicBezTo>
                    <a:pt x="106" y="652"/>
                    <a:pt x="97" y="656"/>
                    <a:pt x="95" y="651"/>
                  </a:cubicBezTo>
                  <a:cubicBezTo>
                    <a:pt x="97" y="649"/>
                    <a:pt x="106" y="640"/>
                    <a:pt x="98" y="636"/>
                  </a:cubicBezTo>
                  <a:cubicBezTo>
                    <a:pt x="96" y="634"/>
                    <a:pt x="105" y="634"/>
                    <a:pt x="106" y="636"/>
                  </a:cubicBezTo>
                  <a:cubicBezTo>
                    <a:pt x="107" y="637"/>
                    <a:pt x="105" y="643"/>
                    <a:pt x="106" y="644"/>
                  </a:cubicBezTo>
                  <a:cubicBezTo>
                    <a:pt x="108" y="645"/>
                    <a:pt x="112" y="643"/>
                    <a:pt x="114" y="644"/>
                  </a:cubicBezTo>
                  <a:cubicBezTo>
                    <a:pt x="115" y="648"/>
                    <a:pt x="109" y="646"/>
                    <a:pt x="109" y="648"/>
                  </a:cubicBezTo>
                  <a:cubicBezTo>
                    <a:pt x="106" y="657"/>
                    <a:pt x="115" y="669"/>
                    <a:pt x="109" y="677"/>
                  </a:cubicBezTo>
                  <a:close/>
                  <a:moveTo>
                    <a:pt x="163" y="736"/>
                  </a:moveTo>
                  <a:cubicBezTo>
                    <a:pt x="160" y="749"/>
                    <a:pt x="157" y="732"/>
                    <a:pt x="154" y="733"/>
                  </a:cubicBezTo>
                  <a:cubicBezTo>
                    <a:pt x="150" y="739"/>
                    <a:pt x="155" y="742"/>
                    <a:pt x="152" y="755"/>
                  </a:cubicBezTo>
                  <a:cubicBezTo>
                    <a:pt x="149" y="755"/>
                    <a:pt x="150" y="750"/>
                    <a:pt x="149" y="747"/>
                  </a:cubicBezTo>
                  <a:cubicBezTo>
                    <a:pt x="149" y="739"/>
                    <a:pt x="144" y="737"/>
                    <a:pt x="146" y="725"/>
                  </a:cubicBezTo>
                  <a:cubicBezTo>
                    <a:pt x="149" y="726"/>
                    <a:pt x="151" y="724"/>
                    <a:pt x="152" y="721"/>
                  </a:cubicBezTo>
                  <a:cubicBezTo>
                    <a:pt x="156" y="726"/>
                    <a:pt x="158" y="732"/>
                    <a:pt x="163" y="736"/>
                  </a:cubicBezTo>
                  <a:close/>
                  <a:moveTo>
                    <a:pt x="173" y="688"/>
                  </a:moveTo>
                  <a:cubicBezTo>
                    <a:pt x="172" y="693"/>
                    <a:pt x="170" y="696"/>
                    <a:pt x="165" y="696"/>
                  </a:cubicBezTo>
                  <a:cubicBezTo>
                    <a:pt x="159" y="695"/>
                    <a:pt x="161" y="690"/>
                    <a:pt x="157" y="688"/>
                  </a:cubicBezTo>
                  <a:cubicBezTo>
                    <a:pt x="153" y="690"/>
                    <a:pt x="158" y="693"/>
                    <a:pt x="157" y="699"/>
                  </a:cubicBezTo>
                  <a:cubicBezTo>
                    <a:pt x="148" y="700"/>
                    <a:pt x="151" y="685"/>
                    <a:pt x="144" y="684"/>
                  </a:cubicBezTo>
                  <a:cubicBezTo>
                    <a:pt x="135" y="692"/>
                    <a:pt x="148" y="702"/>
                    <a:pt x="154" y="703"/>
                  </a:cubicBezTo>
                  <a:cubicBezTo>
                    <a:pt x="153" y="706"/>
                    <a:pt x="151" y="710"/>
                    <a:pt x="154" y="710"/>
                  </a:cubicBezTo>
                  <a:cubicBezTo>
                    <a:pt x="153" y="721"/>
                    <a:pt x="149" y="707"/>
                    <a:pt x="144" y="710"/>
                  </a:cubicBezTo>
                  <a:cubicBezTo>
                    <a:pt x="140" y="711"/>
                    <a:pt x="146" y="729"/>
                    <a:pt x="144" y="740"/>
                  </a:cubicBezTo>
                  <a:cubicBezTo>
                    <a:pt x="135" y="736"/>
                    <a:pt x="139" y="748"/>
                    <a:pt x="138" y="755"/>
                  </a:cubicBezTo>
                  <a:cubicBezTo>
                    <a:pt x="136" y="766"/>
                    <a:pt x="135" y="748"/>
                    <a:pt x="135" y="744"/>
                  </a:cubicBezTo>
                  <a:cubicBezTo>
                    <a:pt x="134" y="735"/>
                    <a:pt x="140" y="736"/>
                    <a:pt x="138" y="725"/>
                  </a:cubicBezTo>
                  <a:cubicBezTo>
                    <a:pt x="126" y="722"/>
                    <a:pt x="142" y="735"/>
                    <a:pt x="130" y="733"/>
                  </a:cubicBezTo>
                  <a:cubicBezTo>
                    <a:pt x="129" y="723"/>
                    <a:pt x="131" y="719"/>
                    <a:pt x="138" y="721"/>
                  </a:cubicBezTo>
                  <a:cubicBezTo>
                    <a:pt x="138" y="712"/>
                    <a:pt x="138" y="704"/>
                    <a:pt x="144" y="703"/>
                  </a:cubicBezTo>
                  <a:cubicBezTo>
                    <a:pt x="140" y="696"/>
                    <a:pt x="130" y="700"/>
                    <a:pt x="125" y="696"/>
                  </a:cubicBezTo>
                  <a:cubicBezTo>
                    <a:pt x="119" y="698"/>
                    <a:pt x="122" y="718"/>
                    <a:pt x="130" y="714"/>
                  </a:cubicBezTo>
                  <a:cubicBezTo>
                    <a:pt x="129" y="719"/>
                    <a:pt x="127" y="722"/>
                    <a:pt x="122" y="721"/>
                  </a:cubicBezTo>
                  <a:cubicBezTo>
                    <a:pt x="123" y="729"/>
                    <a:pt x="118" y="729"/>
                    <a:pt x="114" y="729"/>
                  </a:cubicBezTo>
                  <a:cubicBezTo>
                    <a:pt x="115" y="694"/>
                    <a:pt x="115" y="674"/>
                    <a:pt x="117" y="644"/>
                  </a:cubicBezTo>
                  <a:cubicBezTo>
                    <a:pt x="128" y="642"/>
                    <a:pt x="124" y="657"/>
                    <a:pt x="119" y="662"/>
                  </a:cubicBezTo>
                  <a:cubicBezTo>
                    <a:pt x="122" y="673"/>
                    <a:pt x="123" y="654"/>
                    <a:pt x="130" y="659"/>
                  </a:cubicBezTo>
                  <a:cubicBezTo>
                    <a:pt x="132" y="670"/>
                    <a:pt x="127" y="672"/>
                    <a:pt x="128" y="681"/>
                  </a:cubicBezTo>
                  <a:cubicBezTo>
                    <a:pt x="123" y="679"/>
                    <a:pt x="122" y="684"/>
                    <a:pt x="122" y="688"/>
                  </a:cubicBezTo>
                  <a:cubicBezTo>
                    <a:pt x="132" y="706"/>
                    <a:pt x="130" y="664"/>
                    <a:pt x="138" y="677"/>
                  </a:cubicBezTo>
                  <a:cubicBezTo>
                    <a:pt x="139" y="670"/>
                    <a:pt x="135" y="669"/>
                    <a:pt x="135" y="662"/>
                  </a:cubicBezTo>
                  <a:cubicBezTo>
                    <a:pt x="135" y="652"/>
                    <a:pt x="127" y="654"/>
                    <a:pt x="128" y="644"/>
                  </a:cubicBezTo>
                  <a:cubicBezTo>
                    <a:pt x="133" y="637"/>
                    <a:pt x="132" y="646"/>
                    <a:pt x="141" y="644"/>
                  </a:cubicBezTo>
                  <a:cubicBezTo>
                    <a:pt x="141" y="651"/>
                    <a:pt x="141" y="659"/>
                    <a:pt x="141" y="666"/>
                  </a:cubicBezTo>
                  <a:cubicBezTo>
                    <a:pt x="149" y="669"/>
                    <a:pt x="144" y="653"/>
                    <a:pt x="154" y="659"/>
                  </a:cubicBezTo>
                  <a:cubicBezTo>
                    <a:pt x="153" y="654"/>
                    <a:pt x="151" y="651"/>
                    <a:pt x="146" y="651"/>
                  </a:cubicBezTo>
                  <a:cubicBezTo>
                    <a:pt x="146" y="645"/>
                    <a:pt x="151" y="642"/>
                    <a:pt x="146" y="640"/>
                  </a:cubicBezTo>
                  <a:cubicBezTo>
                    <a:pt x="152" y="634"/>
                    <a:pt x="150" y="637"/>
                    <a:pt x="149" y="618"/>
                  </a:cubicBezTo>
                  <a:cubicBezTo>
                    <a:pt x="153" y="618"/>
                    <a:pt x="156" y="618"/>
                    <a:pt x="160" y="618"/>
                  </a:cubicBezTo>
                  <a:cubicBezTo>
                    <a:pt x="158" y="623"/>
                    <a:pt x="156" y="627"/>
                    <a:pt x="154" y="633"/>
                  </a:cubicBezTo>
                  <a:cubicBezTo>
                    <a:pt x="158" y="638"/>
                    <a:pt x="165" y="640"/>
                    <a:pt x="163" y="655"/>
                  </a:cubicBezTo>
                  <a:cubicBezTo>
                    <a:pt x="159" y="654"/>
                    <a:pt x="161" y="648"/>
                    <a:pt x="157" y="648"/>
                  </a:cubicBezTo>
                  <a:cubicBezTo>
                    <a:pt x="151" y="652"/>
                    <a:pt x="160" y="668"/>
                    <a:pt x="160" y="677"/>
                  </a:cubicBezTo>
                  <a:cubicBezTo>
                    <a:pt x="157" y="677"/>
                    <a:pt x="155" y="678"/>
                    <a:pt x="154" y="681"/>
                  </a:cubicBezTo>
                  <a:cubicBezTo>
                    <a:pt x="159" y="694"/>
                    <a:pt x="166" y="679"/>
                    <a:pt x="173" y="688"/>
                  </a:cubicBezTo>
                  <a:close/>
                  <a:moveTo>
                    <a:pt x="173" y="648"/>
                  </a:moveTo>
                  <a:cubicBezTo>
                    <a:pt x="170" y="648"/>
                    <a:pt x="172" y="643"/>
                    <a:pt x="170" y="640"/>
                  </a:cubicBezTo>
                  <a:cubicBezTo>
                    <a:pt x="168" y="633"/>
                    <a:pt x="164" y="631"/>
                    <a:pt x="168" y="625"/>
                  </a:cubicBezTo>
                  <a:cubicBezTo>
                    <a:pt x="175" y="630"/>
                    <a:pt x="176" y="637"/>
                    <a:pt x="173" y="648"/>
                  </a:cubicBezTo>
                  <a:close/>
                  <a:moveTo>
                    <a:pt x="189" y="577"/>
                  </a:moveTo>
                  <a:cubicBezTo>
                    <a:pt x="185" y="575"/>
                    <a:pt x="183" y="572"/>
                    <a:pt x="179" y="570"/>
                  </a:cubicBezTo>
                  <a:cubicBezTo>
                    <a:pt x="173" y="587"/>
                    <a:pt x="189" y="575"/>
                    <a:pt x="187" y="588"/>
                  </a:cubicBezTo>
                  <a:cubicBezTo>
                    <a:pt x="182" y="592"/>
                    <a:pt x="178" y="577"/>
                    <a:pt x="176" y="588"/>
                  </a:cubicBezTo>
                  <a:cubicBezTo>
                    <a:pt x="169" y="584"/>
                    <a:pt x="176" y="569"/>
                    <a:pt x="176" y="562"/>
                  </a:cubicBezTo>
                  <a:cubicBezTo>
                    <a:pt x="176" y="556"/>
                    <a:pt x="174" y="550"/>
                    <a:pt x="170" y="548"/>
                  </a:cubicBezTo>
                  <a:cubicBezTo>
                    <a:pt x="163" y="553"/>
                    <a:pt x="173" y="552"/>
                    <a:pt x="173" y="562"/>
                  </a:cubicBezTo>
                  <a:cubicBezTo>
                    <a:pt x="173" y="563"/>
                    <a:pt x="168" y="562"/>
                    <a:pt x="168" y="562"/>
                  </a:cubicBezTo>
                  <a:cubicBezTo>
                    <a:pt x="166" y="567"/>
                    <a:pt x="171" y="583"/>
                    <a:pt x="168" y="588"/>
                  </a:cubicBezTo>
                  <a:cubicBezTo>
                    <a:pt x="166" y="588"/>
                    <a:pt x="165" y="585"/>
                    <a:pt x="163" y="585"/>
                  </a:cubicBezTo>
                  <a:cubicBezTo>
                    <a:pt x="164" y="596"/>
                    <a:pt x="159" y="599"/>
                    <a:pt x="157" y="607"/>
                  </a:cubicBezTo>
                  <a:cubicBezTo>
                    <a:pt x="160" y="617"/>
                    <a:pt x="182" y="602"/>
                    <a:pt x="179" y="622"/>
                  </a:cubicBezTo>
                  <a:cubicBezTo>
                    <a:pt x="164" y="624"/>
                    <a:pt x="163" y="609"/>
                    <a:pt x="149" y="611"/>
                  </a:cubicBezTo>
                  <a:cubicBezTo>
                    <a:pt x="143" y="611"/>
                    <a:pt x="143" y="620"/>
                    <a:pt x="144" y="629"/>
                  </a:cubicBezTo>
                  <a:cubicBezTo>
                    <a:pt x="138" y="629"/>
                    <a:pt x="140" y="619"/>
                    <a:pt x="133" y="622"/>
                  </a:cubicBezTo>
                  <a:cubicBezTo>
                    <a:pt x="133" y="616"/>
                    <a:pt x="134" y="608"/>
                    <a:pt x="130" y="607"/>
                  </a:cubicBezTo>
                  <a:cubicBezTo>
                    <a:pt x="131" y="601"/>
                    <a:pt x="138" y="606"/>
                    <a:pt x="138" y="599"/>
                  </a:cubicBezTo>
                  <a:cubicBezTo>
                    <a:pt x="137" y="584"/>
                    <a:pt x="128" y="591"/>
                    <a:pt x="119" y="592"/>
                  </a:cubicBezTo>
                  <a:cubicBezTo>
                    <a:pt x="120" y="569"/>
                    <a:pt x="146" y="603"/>
                    <a:pt x="141" y="577"/>
                  </a:cubicBezTo>
                  <a:cubicBezTo>
                    <a:pt x="146" y="578"/>
                    <a:pt x="147" y="584"/>
                    <a:pt x="146" y="592"/>
                  </a:cubicBezTo>
                  <a:cubicBezTo>
                    <a:pt x="150" y="592"/>
                    <a:pt x="153" y="592"/>
                    <a:pt x="157" y="592"/>
                  </a:cubicBezTo>
                  <a:cubicBezTo>
                    <a:pt x="159" y="579"/>
                    <a:pt x="147" y="586"/>
                    <a:pt x="146" y="577"/>
                  </a:cubicBezTo>
                  <a:cubicBezTo>
                    <a:pt x="145" y="566"/>
                    <a:pt x="155" y="570"/>
                    <a:pt x="160" y="566"/>
                  </a:cubicBezTo>
                  <a:cubicBezTo>
                    <a:pt x="160" y="570"/>
                    <a:pt x="160" y="574"/>
                    <a:pt x="160" y="577"/>
                  </a:cubicBezTo>
                  <a:cubicBezTo>
                    <a:pt x="163" y="577"/>
                    <a:pt x="162" y="573"/>
                    <a:pt x="163" y="570"/>
                  </a:cubicBezTo>
                  <a:cubicBezTo>
                    <a:pt x="164" y="566"/>
                    <a:pt x="164" y="563"/>
                    <a:pt x="165" y="551"/>
                  </a:cubicBezTo>
                  <a:cubicBezTo>
                    <a:pt x="165" y="550"/>
                    <a:pt x="165" y="545"/>
                    <a:pt x="165" y="544"/>
                  </a:cubicBezTo>
                  <a:cubicBezTo>
                    <a:pt x="170" y="539"/>
                    <a:pt x="162" y="533"/>
                    <a:pt x="168" y="525"/>
                  </a:cubicBezTo>
                  <a:cubicBezTo>
                    <a:pt x="169" y="516"/>
                    <a:pt x="153" y="529"/>
                    <a:pt x="157" y="514"/>
                  </a:cubicBezTo>
                  <a:cubicBezTo>
                    <a:pt x="152" y="514"/>
                    <a:pt x="151" y="519"/>
                    <a:pt x="146" y="518"/>
                  </a:cubicBezTo>
                  <a:cubicBezTo>
                    <a:pt x="144" y="510"/>
                    <a:pt x="141" y="504"/>
                    <a:pt x="141" y="492"/>
                  </a:cubicBezTo>
                  <a:cubicBezTo>
                    <a:pt x="143" y="495"/>
                    <a:pt x="145" y="499"/>
                    <a:pt x="146" y="503"/>
                  </a:cubicBezTo>
                  <a:cubicBezTo>
                    <a:pt x="157" y="503"/>
                    <a:pt x="143" y="482"/>
                    <a:pt x="154" y="492"/>
                  </a:cubicBezTo>
                  <a:cubicBezTo>
                    <a:pt x="155" y="482"/>
                    <a:pt x="148" y="482"/>
                    <a:pt x="141" y="481"/>
                  </a:cubicBezTo>
                  <a:cubicBezTo>
                    <a:pt x="136" y="456"/>
                    <a:pt x="158" y="468"/>
                    <a:pt x="157" y="448"/>
                  </a:cubicBezTo>
                  <a:cubicBezTo>
                    <a:pt x="162" y="447"/>
                    <a:pt x="163" y="452"/>
                    <a:pt x="168" y="452"/>
                  </a:cubicBezTo>
                  <a:cubicBezTo>
                    <a:pt x="175" y="453"/>
                    <a:pt x="166" y="431"/>
                    <a:pt x="173" y="433"/>
                  </a:cubicBezTo>
                  <a:cubicBezTo>
                    <a:pt x="186" y="433"/>
                    <a:pt x="171" y="442"/>
                    <a:pt x="179" y="444"/>
                  </a:cubicBezTo>
                  <a:cubicBezTo>
                    <a:pt x="180" y="445"/>
                    <a:pt x="183" y="443"/>
                    <a:pt x="184" y="444"/>
                  </a:cubicBezTo>
                  <a:cubicBezTo>
                    <a:pt x="189" y="449"/>
                    <a:pt x="186" y="458"/>
                    <a:pt x="192" y="463"/>
                  </a:cubicBezTo>
                  <a:cubicBezTo>
                    <a:pt x="185" y="475"/>
                    <a:pt x="186" y="447"/>
                    <a:pt x="179" y="448"/>
                  </a:cubicBezTo>
                  <a:cubicBezTo>
                    <a:pt x="176" y="448"/>
                    <a:pt x="177" y="452"/>
                    <a:pt x="176" y="455"/>
                  </a:cubicBezTo>
                  <a:cubicBezTo>
                    <a:pt x="170" y="455"/>
                    <a:pt x="165" y="455"/>
                    <a:pt x="160" y="455"/>
                  </a:cubicBezTo>
                  <a:cubicBezTo>
                    <a:pt x="157" y="458"/>
                    <a:pt x="157" y="464"/>
                    <a:pt x="152" y="463"/>
                  </a:cubicBezTo>
                  <a:cubicBezTo>
                    <a:pt x="157" y="470"/>
                    <a:pt x="157" y="466"/>
                    <a:pt x="154" y="477"/>
                  </a:cubicBezTo>
                  <a:cubicBezTo>
                    <a:pt x="161" y="477"/>
                    <a:pt x="159" y="464"/>
                    <a:pt x="163" y="459"/>
                  </a:cubicBezTo>
                  <a:cubicBezTo>
                    <a:pt x="168" y="452"/>
                    <a:pt x="171" y="466"/>
                    <a:pt x="173" y="466"/>
                  </a:cubicBezTo>
                  <a:cubicBezTo>
                    <a:pt x="177" y="467"/>
                    <a:pt x="179" y="455"/>
                    <a:pt x="184" y="463"/>
                  </a:cubicBezTo>
                  <a:cubicBezTo>
                    <a:pt x="186" y="474"/>
                    <a:pt x="181" y="476"/>
                    <a:pt x="181" y="485"/>
                  </a:cubicBezTo>
                  <a:cubicBezTo>
                    <a:pt x="188" y="482"/>
                    <a:pt x="201" y="475"/>
                    <a:pt x="200" y="492"/>
                  </a:cubicBezTo>
                  <a:cubicBezTo>
                    <a:pt x="188" y="487"/>
                    <a:pt x="193" y="505"/>
                    <a:pt x="184" y="503"/>
                  </a:cubicBezTo>
                  <a:cubicBezTo>
                    <a:pt x="184" y="500"/>
                    <a:pt x="184" y="496"/>
                    <a:pt x="184" y="492"/>
                  </a:cubicBezTo>
                  <a:cubicBezTo>
                    <a:pt x="180" y="493"/>
                    <a:pt x="183" y="503"/>
                    <a:pt x="179" y="503"/>
                  </a:cubicBezTo>
                  <a:cubicBezTo>
                    <a:pt x="179" y="514"/>
                    <a:pt x="191" y="508"/>
                    <a:pt x="195" y="514"/>
                  </a:cubicBezTo>
                  <a:cubicBezTo>
                    <a:pt x="194" y="519"/>
                    <a:pt x="190" y="518"/>
                    <a:pt x="187" y="518"/>
                  </a:cubicBezTo>
                  <a:cubicBezTo>
                    <a:pt x="187" y="525"/>
                    <a:pt x="187" y="533"/>
                    <a:pt x="187" y="540"/>
                  </a:cubicBezTo>
                  <a:cubicBezTo>
                    <a:pt x="174" y="544"/>
                    <a:pt x="191" y="528"/>
                    <a:pt x="181" y="525"/>
                  </a:cubicBezTo>
                  <a:cubicBezTo>
                    <a:pt x="177" y="529"/>
                    <a:pt x="178" y="541"/>
                    <a:pt x="176" y="548"/>
                  </a:cubicBezTo>
                  <a:cubicBezTo>
                    <a:pt x="174" y="558"/>
                    <a:pt x="181" y="555"/>
                    <a:pt x="181" y="562"/>
                  </a:cubicBezTo>
                  <a:cubicBezTo>
                    <a:pt x="180" y="572"/>
                    <a:pt x="192" y="565"/>
                    <a:pt x="189" y="577"/>
                  </a:cubicBezTo>
                  <a:close/>
                  <a:moveTo>
                    <a:pt x="168" y="607"/>
                  </a:moveTo>
                  <a:cubicBezTo>
                    <a:pt x="160" y="604"/>
                    <a:pt x="165" y="601"/>
                    <a:pt x="165" y="592"/>
                  </a:cubicBezTo>
                  <a:cubicBezTo>
                    <a:pt x="168" y="593"/>
                    <a:pt x="167" y="599"/>
                    <a:pt x="170" y="599"/>
                  </a:cubicBezTo>
                  <a:cubicBezTo>
                    <a:pt x="176" y="599"/>
                    <a:pt x="168" y="604"/>
                    <a:pt x="168" y="607"/>
                  </a:cubicBezTo>
                  <a:close/>
                  <a:moveTo>
                    <a:pt x="149" y="525"/>
                  </a:moveTo>
                  <a:cubicBezTo>
                    <a:pt x="152" y="525"/>
                    <a:pt x="154" y="525"/>
                    <a:pt x="157" y="525"/>
                  </a:cubicBezTo>
                  <a:cubicBezTo>
                    <a:pt x="162" y="532"/>
                    <a:pt x="159" y="547"/>
                    <a:pt x="160" y="559"/>
                  </a:cubicBezTo>
                  <a:cubicBezTo>
                    <a:pt x="151" y="556"/>
                    <a:pt x="148" y="551"/>
                    <a:pt x="152" y="566"/>
                  </a:cubicBezTo>
                  <a:cubicBezTo>
                    <a:pt x="137" y="563"/>
                    <a:pt x="147" y="547"/>
                    <a:pt x="149" y="537"/>
                  </a:cubicBezTo>
                  <a:cubicBezTo>
                    <a:pt x="150" y="533"/>
                    <a:pt x="145" y="530"/>
                    <a:pt x="149" y="525"/>
                  </a:cubicBezTo>
                  <a:close/>
                  <a:moveTo>
                    <a:pt x="189" y="566"/>
                  </a:moveTo>
                  <a:cubicBezTo>
                    <a:pt x="185" y="563"/>
                    <a:pt x="181" y="561"/>
                    <a:pt x="181" y="551"/>
                  </a:cubicBezTo>
                  <a:cubicBezTo>
                    <a:pt x="183" y="554"/>
                    <a:pt x="189" y="557"/>
                    <a:pt x="189" y="551"/>
                  </a:cubicBezTo>
                  <a:cubicBezTo>
                    <a:pt x="196" y="552"/>
                    <a:pt x="190" y="564"/>
                    <a:pt x="189" y="566"/>
                  </a:cubicBezTo>
                  <a:close/>
                  <a:moveTo>
                    <a:pt x="195" y="548"/>
                  </a:moveTo>
                  <a:cubicBezTo>
                    <a:pt x="187" y="544"/>
                    <a:pt x="198" y="536"/>
                    <a:pt x="195" y="525"/>
                  </a:cubicBezTo>
                  <a:cubicBezTo>
                    <a:pt x="201" y="533"/>
                    <a:pt x="200" y="541"/>
                    <a:pt x="195" y="548"/>
                  </a:cubicBezTo>
                  <a:close/>
                  <a:moveTo>
                    <a:pt x="205" y="525"/>
                  </a:moveTo>
                  <a:cubicBezTo>
                    <a:pt x="202" y="525"/>
                    <a:pt x="205" y="514"/>
                    <a:pt x="200" y="514"/>
                  </a:cubicBezTo>
                  <a:cubicBezTo>
                    <a:pt x="200" y="511"/>
                    <a:pt x="201" y="511"/>
                    <a:pt x="203" y="511"/>
                  </a:cubicBezTo>
                  <a:cubicBezTo>
                    <a:pt x="205" y="511"/>
                    <a:pt x="206" y="511"/>
                    <a:pt x="208" y="511"/>
                  </a:cubicBezTo>
                  <a:cubicBezTo>
                    <a:pt x="208" y="517"/>
                    <a:pt x="205" y="519"/>
                    <a:pt x="205" y="525"/>
                  </a:cubicBezTo>
                  <a:close/>
                  <a:moveTo>
                    <a:pt x="208" y="285"/>
                  </a:moveTo>
                  <a:cubicBezTo>
                    <a:pt x="201" y="280"/>
                    <a:pt x="216" y="258"/>
                    <a:pt x="208" y="285"/>
                  </a:cubicBezTo>
                  <a:close/>
                  <a:moveTo>
                    <a:pt x="458" y="803"/>
                  </a:moveTo>
                  <a:cubicBezTo>
                    <a:pt x="458" y="809"/>
                    <a:pt x="442" y="796"/>
                    <a:pt x="445" y="814"/>
                  </a:cubicBezTo>
                  <a:cubicBezTo>
                    <a:pt x="440" y="822"/>
                    <a:pt x="445" y="790"/>
                    <a:pt x="447" y="784"/>
                  </a:cubicBezTo>
                  <a:cubicBezTo>
                    <a:pt x="456" y="788"/>
                    <a:pt x="447" y="799"/>
                    <a:pt x="458" y="803"/>
                  </a:cubicBezTo>
                  <a:close/>
                  <a:moveTo>
                    <a:pt x="453" y="655"/>
                  </a:moveTo>
                  <a:cubicBezTo>
                    <a:pt x="457" y="642"/>
                    <a:pt x="458" y="662"/>
                    <a:pt x="456" y="662"/>
                  </a:cubicBezTo>
                  <a:cubicBezTo>
                    <a:pt x="454" y="663"/>
                    <a:pt x="452" y="657"/>
                    <a:pt x="453" y="655"/>
                  </a:cubicBezTo>
                  <a:close/>
                  <a:moveTo>
                    <a:pt x="447" y="648"/>
                  </a:moveTo>
                  <a:cubicBezTo>
                    <a:pt x="455" y="651"/>
                    <a:pt x="446" y="659"/>
                    <a:pt x="447" y="666"/>
                  </a:cubicBezTo>
                  <a:cubicBezTo>
                    <a:pt x="448" y="670"/>
                    <a:pt x="451" y="669"/>
                    <a:pt x="453" y="670"/>
                  </a:cubicBezTo>
                  <a:cubicBezTo>
                    <a:pt x="452" y="679"/>
                    <a:pt x="444" y="671"/>
                    <a:pt x="442" y="670"/>
                  </a:cubicBezTo>
                  <a:cubicBezTo>
                    <a:pt x="439" y="670"/>
                    <a:pt x="440" y="674"/>
                    <a:pt x="439" y="677"/>
                  </a:cubicBezTo>
                  <a:cubicBezTo>
                    <a:pt x="435" y="677"/>
                    <a:pt x="430" y="677"/>
                    <a:pt x="426" y="677"/>
                  </a:cubicBezTo>
                  <a:cubicBezTo>
                    <a:pt x="427" y="671"/>
                    <a:pt x="434" y="674"/>
                    <a:pt x="431" y="662"/>
                  </a:cubicBezTo>
                  <a:cubicBezTo>
                    <a:pt x="434" y="665"/>
                    <a:pt x="437" y="666"/>
                    <a:pt x="442" y="666"/>
                  </a:cubicBezTo>
                  <a:cubicBezTo>
                    <a:pt x="448" y="665"/>
                    <a:pt x="443" y="650"/>
                    <a:pt x="447" y="648"/>
                  </a:cubicBezTo>
                  <a:close/>
                  <a:moveTo>
                    <a:pt x="423" y="799"/>
                  </a:moveTo>
                  <a:cubicBezTo>
                    <a:pt x="418" y="798"/>
                    <a:pt x="410" y="807"/>
                    <a:pt x="410" y="792"/>
                  </a:cubicBezTo>
                  <a:cubicBezTo>
                    <a:pt x="404" y="793"/>
                    <a:pt x="401" y="791"/>
                    <a:pt x="402" y="784"/>
                  </a:cubicBezTo>
                  <a:cubicBezTo>
                    <a:pt x="399" y="784"/>
                    <a:pt x="400" y="789"/>
                    <a:pt x="399" y="792"/>
                  </a:cubicBezTo>
                  <a:cubicBezTo>
                    <a:pt x="392" y="787"/>
                    <a:pt x="399" y="772"/>
                    <a:pt x="407" y="777"/>
                  </a:cubicBezTo>
                  <a:cubicBezTo>
                    <a:pt x="407" y="782"/>
                    <a:pt x="407" y="787"/>
                    <a:pt x="410" y="788"/>
                  </a:cubicBezTo>
                  <a:cubicBezTo>
                    <a:pt x="416" y="783"/>
                    <a:pt x="408" y="780"/>
                    <a:pt x="412" y="773"/>
                  </a:cubicBezTo>
                  <a:cubicBezTo>
                    <a:pt x="415" y="770"/>
                    <a:pt x="407" y="761"/>
                    <a:pt x="410" y="751"/>
                  </a:cubicBezTo>
                  <a:cubicBezTo>
                    <a:pt x="412" y="750"/>
                    <a:pt x="412" y="753"/>
                    <a:pt x="412" y="755"/>
                  </a:cubicBezTo>
                  <a:cubicBezTo>
                    <a:pt x="413" y="759"/>
                    <a:pt x="415" y="757"/>
                    <a:pt x="415" y="755"/>
                  </a:cubicBezTo>
                  <a:cubicBezTo>
                    <a:pt x="419" y="756"/>
                    <a:pt x="417" y="764"/>
                    <a:pt x="418" y="770"/>
                  </a:cubicBezTo>
                  <a:cubicBezTo>
                    <a:pt x="419" y="774"/>
                    <a:pt x="427" y="776"/>
                    <a:pt x="423" y="784"/>
                  </a:cubicBezTo>
                  <a:cubicBezTo>
                    <a:pt x="432" y="783"/>
                    <a:pt x="435" y="781"/>
                    <a:pt x="442" y="784"/>
                  </a:cubicBezTo>
                  <a:cubicBezTo>
                    <a:pt x="439" y="789"/>
                    <a:pt x="439" y="798"/>
                    <a:pt x="437" y="803"/>
                  </a:cubicBezTo>
                  <a:cubicBezTo>
                    <a:pt x="434" y="801"/>
                    <a:pt x="425" y="806"/>
                    <a:pt x="423" y="803"/>
                  </a:cubicBezTo>
                  <a:cubicBezTo>
                    <a:pt x="423" y="803"/>
                    <a:pt x="423" y="799"/>
                    <a:pt x="423" y="799"/>
                  </a:cubicBezTo>
                  <a:close/>
                  <a:moveTo>
                    <a:pt x="388" y="792"/>
                  </a:moveTo>
                  <a:cubicBezTo>
                    <a:pt x="385" y="790"/>
                    <a:pt x="384" y="785"/>
                    <a:pt x="380" y="784"/>
                  </a:cubicBezTo>
                  <a:cubicBezTo>
                    <a:pt x="378" y="787"/>
                    <a:pt x="378" y="793"/>
                    <a:pt x="372" y="792"/>
                  </a:cubicBezTo>
                  <a:cubicBezTo>
                    <a:pt x="376" y="787"/>
                    <a:pt x="377" y="770"/>
                    <a:pt x="370" y="770"/>
                  </a:cubicBezTo>
                  <a:cubicBezTo>
                    <a:pt x="367" y="773"/>
                    <a:pt x="364" y="777"/>
                    <a:pt x="361" y="781"/>
                  </a:cubicBezTo>
                  <a:cubicBezTo>
                    <a:pt x="356" y="779"/>
                    <a:pt x="356" y="775"/>
                    <a:pt x="359" y="770"/>
                  </a:cubicBezTo>
                  <a:cubicBezTo>
                    <a:pt x="351" y="769"/>
                    <a:pt x="353" y="776"/>
                    <a:pt x="348" y="770"/>
                  </a:cubicBezTo>
                  <a:cubicBezTo>
                    <a:pt x="349" y="765"/>
                    <a:pt x="353" y="764"/>
                    <a:pt x="353" y="759"/>
                  </a:cubicBezTo>
                  <a:cubicBezTo>
                    <a:pt x="357" y="764"/>
                    <a:pt x="359" y="770"/>
                    <a:pt x="359" y="755"/>
                  </a:cubicBezTo>
                  <a:cubicBezTo>
                    <a:pt x="367" y="752"/>
                    <a:pt x="362" y="767"/>
                    <a:pt x="370" y="766"/>
                  </a:cubicBezTo>
                  <a:cubicBezTo>
                    <a:pt x="373" y="765"/>
                    <a:pt x="373" y="755"/>
                    <a:pt x="370" y="755"/>
                  </a:cubicBezTo>
                  <a:cubicBezTo>
                    <a:pt x="373" y="750"/>
                    <a:pt x="373" y="742"/>
                    <a:pt x="372" y="733"/>
                  </a:cubicBezTo>
                  <a:cubicBezTo>
                    <a:pt x="383" y="730"/>
                    <a:pt x="373" y="757"/>
                    <a:pt x="386" y="751"/>
                  </a:cubicBezTo>
                  <a:cubicBezTo>
                    <a:pt x="383" y="755"/>
                    <a:pt x="385" y="765"/>
                    <a:pt x="378" y="762"/>
                  </a:cubicBezTo>
                  <a:cubicBezTo>
                    <a:pt x="384" y="771"/>
                    <a:pt x="380" y="772"/>
                    <a:pt x="383" y="781"/>
                  </a:cubicBezTo>
                  <a:cubicBezTo>
                    <a:pt x="386" y="778"/>
                    <a:pt x="386" y="772"/>
                    <a:pt x="391" y="773"/>
                  </a:cubicBezTo>
                  <a:cubicBezTo>
                    <a:pt x="398" y="782"/>
                    <a:pt x="387" y="780"/>
                    <a:pt x="388" y="792"/>
                  </a:cubicBezTo>
                  <a:close/>
                  <a:moveTo>
                    <a:pt x="345" y="740"/>
                  </a:moveTo>
                  <a:cubicBezTo>
                    <a:pt x="346" y="740"/>
                    <a:pt x="344" y="746"/>
                    <a:pt x="343" y="744"/>
                  </a:cubicBezTo>
                  <a:cubicBezTo>
                    <a:pt x="340" y="739"/>
                    <a:pt x="339" y="743"/>
                    <a:pt x="335" y="740"/>
                  </a:cubicBezTo>
                  <a:cubicBezTo>
                    <a:pt x="334" y="740"/>
                    <a:pt x="335" y="734"/>
                    <a:pt x="335" y="733"/>
                  </a:cubicBezTo>
                  <a:cubicBezTo>
                    <a:pt x="332" y="727"/>
                    <a:pt x="326" y="732"/>
                    <a:pt x="321" y="733"/>
                  </a:cubicBezTo>
                  <a:cubicBezTo>
                    <a:pt x="321" y="723"/>
                    <a:pt x="316" y="721"/>
                    <a:pt x="321" y="714"/>
                  </a:cubicBezTo>
                  <a:cubicBezTo>
                    <a:pt x="325" y="713"/>
                    <a:pt x="322" y="723"/>
                    <a:pt x="324" y="725"/>
                  </a:cubicBezTo>
                  <a:cubicBezTo>
                    <a:pt x="327" y="729"/>
                    <a:pt x="331" y="718"/>
                    <a:pt x="335" y="721"/>
                  </a:cubicBezTo>
                  <a:cubicBezTo>
                    <a:pt x="335" y="725"/>
                    <a:pt x="335" y="729"/>
                    <a:pt x="335" y="733"/>
                  </a:cubicBezTo>
                  <a:cubicBezTo>
                    <a:pt x="341" y="731"/>
                    <a:pt x="345" y="727"/>
                    <a:pt x="353" y="729"/>
                  </a:cubicBezTo>
                  <a:cubicBezTo>
                    <a:pt x="353" y="725"/>
                    <a:pt x="348" y="726"/>
                    <a:pt x="345" y="725"/>
                  </a:cubicBezTo>
                  <a:cubicBezTo>
                    <a:pt x="349" y="720"/>
                    <a:pt x="356" y="720"/>
                    <a:pt x="356" y="710"/>
                  </a:cubicBezTo>
                  <a:cubicBezTo>
                    <a:pt x="360" y="711"/>
                    <a:pt x="357" y="721"/>
                    <a:pt x="361" y="721"/>
                  </a:cubicBezTo>
                  <a:cubicBezTo>
                    <a:pt x="356" y="729"/>
                    <a:pt x="357" y="723"/>
                    <a:pt x="359" y="736"/>
                  </a:cubicBezTo>
                  <a:cubicBezTo>
                    <a:pt x="359" y="741"/>
                    <a:pt x="358" y="746"/>
                    <a:pt x="359" y="751"/>
                  </a:cubicBezTo>
                  <a:cubicBezTo>
                    <a:pt x="356" y="751"/>
                    <a:pt x="354" y="752"/>
                    <a:pt x="353" y="755"/>
                  </a:cubicBezTo>
                  <a:cubicBezTo>
                    <a:pt x="346" y="754"/>
                    <a:pt x="357" y="748"/>
                    <a:pt x="353" y="740"/>
                  </a:cubicBezTo>
                  <a:cubicBezTo>
                    <a:pt x="358" y="727"/>
                    <a:pt x="336" y="740"/>
                    <a:pt x="345" y="740"/>
                  </a:cubicBezTo>
                  <a:close/>
                  <a:moveTo>
                    <a:pt x="332" y="747"/>
                  </a:moveTo>
                  <a:cubicBezTo>
                    <a:pt x="337" y="748"/>
                    <a:pt x="345" y="744"/>
                    <a:pt x="343" y="755"/>
                  </a:cubicBezTo>
                  <a:cubicBezTo>
                    <a:pt x="340" y="755"/>
                    <a:pt x="340" y="753"/>
                    <a:pt x="340" y="751"/>
                  </a:cubicBezTo>
                  <a:cubicBezTo>
                    <a:pt x="337" y="751"/>
                    <a:pt x="338" y="756"/>
                    <a:pt x="337" y="759"/>
                  </a:cubicBezTo>
                  <a:cubicBezTo>
                    <a:pt x="335" y="758"/>
                    <a:pt x="335" y="755"/>
                    <a:pt x="332" y="755"/>
                  </a:cubicBezTo>
                  <a:cubicBezTo>
                    <a:pt x="332" y="752"/>
                    <a:pt x="332" y="750"/>
                    <a:pt x="332" y="747"/>
                  </a:cubicBezTo>
                  <a:close/>
                  <a:moveTo>
                    <a:pt x="326" y="744"/>
                  </a:moveTo>
                  <a:cubicBezTo>
                    <a:pt x="326" y="741"/>
                    <a:pt x="326" y="739"/>
                    <a:pt x="326" y="736"/>
                  </a:cubicBezTo>
                  <a:cubicBezTo>
                    <a:pt x="328" y="736"/>
                    <a:pt x="330" y="736"/>
                    <a:pt x="332" y="736"/>
                  </a:cubicBezTo>
                  <a:cubicBezTo>
                    <a:pt x="332" y="739"/>
                    <a:pt x="332" y="741"/>
                    <a:pt x="332" y="744"/>
                  </a:cubicBezTo>
                  <a:cubicBezTo>
                    <a:pt x="330" y="744"/>
                    <a:pt x="328" y="744"/>
                    <a:pt x="326" y="744"/>
                  </a:cubicBezTo>
                  <a:close/>
                  <a:moveTo>
                    <a:pt x="297" y="607"/>
                  </a:moveTo>
                  <a:cubicBezTo>
                    <a:pt x="296" y="598"/>
                    <a:pt x="309" y="609"/>
                    <a:pt x="305" y="596"/>
                  </a:cubicBezTo>
                  <a:cubicBezTo>
                    <a:pt x="309" y="598"/>
                    <a:pt x="312" y="601"/>
                    <a:pt x="316" y="603"/>
                  </a:cubicBezTo>
                  <a:cubicBezTo>
                    <a:pt x="317" y="607"/>
                    <a:pt x="311" y="605"/>
                    <a:pt x="310" y="607"/>
                  </a:cubicBezTo>
                  <a:cubicBezTo>
                    <a:pt x="310" y="609"/>
                    <a:pt x="314" y="613"/>
                    <a:pt x="313" y="618"/>
                  </a:cubicBezTo>
                  <a:cubicBezTo>
                    <a:pt x="313" y="619"/>
                    <a:pt x="310" y="618"/>
                    <a:pt x="310" y="622"/>
                  </a:cubicBezTo>
                  <a:cubicBezTo>
                    <a:pt x="310" y="635"/>
                    <a:pt x="315" y="658"/>
                    <a:pt x="302" y="655"/>
                  </a:cubicBezTo>
                  <a:cubicBezTo>
                    <a:pt x="303" y="651"/>
                    <a:pt x="308" y="652"/>
                    <a:pt x="308" y="648"/>
                  </a:cubicBezTo>
                  <a:cubicBezTo>
                    <a:pt x="306" y="644"/>
                    <a:pt x="301" y="644"/>
                    <a:pt x="302" y="636"/>
                  </a:cubicBezTo>
                  <a:cubicBezTo>
                    <a:pt x="302" y="635"/>
                    <a:pt x="305" y="631"/>
                    <a:pt x="305" y="633"/>
                  </a:cubicBezTo>
                  <a:cubicBezTo>
                    <a:pt x="305" y="625"/>
                    <a:pt x="296" y="624"/>
                    <a:pt x="300" y="614"/>
                  </a:cubicBezTo>
                  <a:cubicBezTo>
                    <a:pt x="302" y="617"/>
                    <a:pt x="304" y="621"/>
                    <a:pt x="305" y="625"/>
                  </a:cubicBezTo>
                  <a:cubicBezTo>
                    <a:pt x="313" y="619"/>
                    <a:pt x="305" y="604"/>
                    <a:pt x="297" y="607"/>
                  </a:cubicBezTo>
                  <a:close/>
                  <a:moveTo>
                    <a:pt x="289" y="562"/>
                  </a:moveTo>
                  <a:cubicBezTo>
                    <a:pt x="284" y="562"/>
                    <a:pt x="283" y="567"/>
                    <a:pt x="278" y="566"/>
                  </a:cubicBezTo>
                  <a:cubicBezTo>
                    <a:pt x="276" y="558"/>
                    <a:pt x="286" y="554"/>
                    <a:pt x="275" y="555"/>
                  </a:cubicBezTo>
                  <a:cubicBezTo>
                    <a:pt x="279" y="541"/>
                    <a:pt x="293" y="558"/>
                    <a:pt x="286" y="537"/>
                  </a:cubicBezTo>
                  <a:cubicBezTo>
                    <a:pt x="281" y="542"/>
                    <a:pt x="280" y="540"/>
                    <a:pt x="281" y="529"/>
                  </a:cubicBezTo>
                  <a:cubicBezTo>
                    <a:pt x="276" y="529"/>
                    <a:pt x="272" y="529"/>
                    <a:pt x="267" y="529"/>
                  </a:cubicBezTo>
                  <a:cubicBezTo>
                    <a:pt x="268" y="518"/>
                    <a:pt x="277" y="524"/>
                    <a:pt x="281" y="529"/>
                  </a:cubicBezTo>
                  <a:cubicBezTo>
                    <a:pt x="287" y="528"/>
                    <a:pt x="291" y="523"/>
                    <a:pt x="300" y="525"/>
                  </a:cubicBezTo>
                  <a:cubicBezTo>
                    <a:pt x="300" y="531"/>
                    <a:pt x="284" y="531"/>
                    <a:pt x="297" y="533"/>
                  </a:cubicBezTo>
                  <a:cubicBezTo>
                    <a:pt x="291" y="548"/>
                    <a:pt x="294" y="552"/>
                    <a:pt x="292" y="570"/>
                  </a:cubicBezTo>
                  <a:cubicBezTo>
                    <a:pt x="296" y="571"/>
                    <a:pt x="297" y="567"/>
                    <a:pt x="297" y="562"/>
                  </a:cubicBezTo>
                  <a:cubicBezTo>
                    <a:pt x="300" y="562"/>
                    <a:pt x="302" y="563"/>
                    <a:pt x="302" y="566"/>
                  </a:cubicBezTo>
                  <a:cubicBezTo>
                    <a:pt x="308" y="565"/>
                    <a:pt x="303" y="550"/>
                    <a:pt x="308" y="548"/>
                  </a:cubicBezTo>
                  <a:cubicBezTo>
                    <a:pt x="313" y="548"/>
                    <a:pt x="308" y="559"/>
                    <a:pt x="310" y="562"/>
                  </a:cubicBezTo>
                  <a:cubicBezTo>
                    <a:pt x="311" y="565"/>
                    <a:pt x="313" y="560"/>
                    <a:pt x="313" y="559"/>
                  </a:cubicBezTo>
                  <a:cubicBezTo>
                    <a:pt x="313" y="558"/>
                    <a:pt x="318" y="560"/>
                    <a:pt x="316" y="562"/>
                  </a:cubicBezTo>
                  <a:cubicBezTo>
                    <a:pt x="311" y="567"/>
                    <a:pt x="319" y="566"/>
                    <a:pt x="313" y="585"/>
                  </a:cubicBezTo>
                  <a:cubicBezTo>
                    <a:pt x="316" y="582"/>
                    <a:pt x="316" y="576"/>
                    <a:pt x="321" y="577"/>
                  </a:cubicBezTo>
                  <a:cubicBezTo>
                    <a:pt x="321" y="583"/>
                    <a:pt x="321" y="590"/>
                    <a:pt x="321" y="596"/>
                  </a:cubicBezTo>
                  <a:cubicBezTo>
                    <a:pt x="318" y="596"/>
                    <a:pt x="319" y="591"/>
                    <a:pt x="318" y="588"/>
                  </a:cubicBezTo>
                  <a:cubicBezTo>
                    <a:pt x="315" y="588"/>
                    <a:pt x="314" y="589"/>
                    <a:pt x="313" y="592"/>
                  </a:cubicBezTo>
                  <a:cubicBezTo>
                    <a:pt x="311" y="588"/>
                    <a:pt x="301" y="577"/>
                    <a:pt x="300" y="585"/>
                  </a:cubicBezTo>
                  <a:cubicBezTo>
                    <a:pt x="291" y="581"/>
                    <a:pt x="303" y="577"/>
                    <a:pt x="302" y="574"/>
                  </a:cubicBezTo>
                  <a:cubicBezTo>
                    <a:pt x="300" y="568"/>
                    <a:pt x="281" y="577"/>
                    <a:pt x="289" y="562"/>
                  </a:cubicBezTo>
                  <a:close/>
                  <a:moveTo>
                    <a:pt x="292" y="625"/>
                  </a:moveTo>
                  <a:cubicBezTo>
                    <a:pt x="284" y="626"/>
                    <a:pt x="285" y="615"/>
                    <a:pt x="281" y="611"/>
                  </a:cubicBezTo>
                  <a:cubicBezTo>
                    <a:pt x="277" y="615"/>
                    <a:pt x="274" y="615"/>
                    <a:pt x="270" y="611"/>
                  </a:cubicBezTo>
                  <a:cubicBezTo>
                    <a:pt x="270" y="606"/>
                    <a:pt x="270" y="601"/>
                    <a:pt x="270" y="596"/>
                  </a:cubicBezTo>
                  <a:cubicBezTo>
                    <a:pt x="270" y="591"/>
                    <a:pt x="273" y="588"/>
                    <a:pt x="273" y="585"/>
                  </a:cubicBezTo>
                  <a:cubicBezTo>
                    <a:pt x="272" y="579"/>
                    <a:pt x="268" y="575"/>
                    <a:pt x="267" y="570"/>
                  </a:cubicBezTo>
                  <a:cubicBezTo>
                    <a:pt x="267" y="560"/>
                    <a:pt x="271" y="550"/>
                    <a:pt x="267" y="537"/>
                  </a:cubicBezTo>
                  <a:cubicBezTo>
                    <a:pt x="270" y="538"/>
                    <a:pt x="272" y="540"/>
                    <a:pt x="273" y="544"/>
                  </a:cubicBezTo>
                  <a:cubicBezTo>
                    <a:pt x="272" y="543"/>
                    <a:pt x="269" y="546"/>
                    <a:pt x="270" y="548"/>
                  </a:cubicBezTo>
                  <a:cubicBezTo>
                    <a:pt x="272" y="550"/>
                    <a:pt x="274" y="557"/>
                    <a:pt x="273" y="574"/>
                  </a:cubicBezTo>
                  <a:cubicBezTo>
                    <a:pt x="273" y="578"/>
                    <a:pt x="275" y="576"/>
                    <a:pt x="275" y="574"/>
                  </a:cubicBezTo>
                  <a:cubicBezTo>
                    <a:pt x="283" y="571"/>
                    <a:pt x="273" y="591"/>
                    <a:pt x="281" y="588"/>
                  </a:cubicBezTo>
                  <a:cubicBezTo>
                    <a:pt x="280" y="597"/>
                    <a:pt x="280" y="606"/>
                    <a:pt x="283" y="611"/>
                  </a:cubicBezTo>
                  <a:cubicBezTo>
                    <a:pt x="287" y="609"/>
                    <a:pt x="286" y="601"/>
                    <a:pt x="286" y="596"/>
                  </a:cubicBezTo>
                  <a:cubicBezTo>
                    <a:pt x="289" y="598"/>
                    <a:pt x="289" y="604"/>
                    <a:pt x="294" y="603"/>
                  </a:cubicBezTo>
                  <a:cubicBezTo>
                    <a:pt x="294" y="612"/>
                    <a:pt x="290" y="614"/>
                    <a:pt x="292" y="625"/>
                  </a:cubicBezTo>
                  <a:close/>
                  <a:moveTo>
                    <a:pt x="283" y="644"/>
                  </a:moveTo>
                  <a:cubicBezTo>
                    <a:pt x="283" y="648"/>
                    <a:pt x="278" y="646"/>
                    <a:pt x="278" y="651"/>
                  </a:cubicBezTo>
                  <a:cubicBezTo>
                    <a:pt x="275" y="651"/>
                    <a:pt x="277" y="648"/>
                    <a:pt x="278" y="648"/>
                  </a:cubicBezTo>
                  <a:cubicBezTo>
                    <a:pt x="274" y="637"/>
                    <a:pt x="276" y="643"/>
                    <a:pt x="283" y="644"/>
                  </a:cubicBezTo>
                  <a:close/>
                  <a:moveTo>
                    <a:pt x="270" y="618"/>
                  </a:moveTo>
                  <a:cubicBezTo>
                    <a:pt x="274" y="617"/>
                    <a:pt x="275" y="621"/>
                    <a:pt x="278" y="622"/>
                  </a:cubicBezTo>
                  <a:cubicBezTo>
                    <a:pt x="279" y="629"/>
                    <a:pt x="266" y="627"/>
                    <a:pt x="270" y="618"/>
                  </a:cubicBezTo>
                  <a:close/>
                  <a:moveTo>
                    <a:pt x="273" y="636"/>
                  </a:moveTo>
                  <a:cubicBezTo>
                    <a:pt x="273" y="635"/>
                    <a:pt x="270" y="648"/>
                    <a:pt x="270" y="648"/>
                  </a:cubicBezTo>
                  <a:cubicBezTo>
                    <a:pt x="268" y="650"/>
                    <a:pt x="269" y="635"/>
                    <a:pt x="267" y="629"/>
                  </a:cubicBezTo>
                  <a:cubicBezTo>
                    <a:pt x="272" y="628"/>
                    <a:pt x="273" y="632"/>
                    <a:pt x="273" y="636"/>
                  </a:cubicBezTo>
                  <a:close/>
                  <a:moveTo>
                    <a:pt x="232" y="470"/>
                  </a:moveTo>
                  <a:cubicBezTo>
                    <a:pt x="227" y="469"/>
                    <a:pt x="230" y="456"/>
                    <a:pt x="224" y="455"/>
                  </a:cubicBezTo>
                  <a:cubicBezTo>
                    <a:pt x="216" y="446"/>
                    <a:pt x="232" y="459"/>
                    <a:pt x="230" y="452"/>
                  </a:cubicBezTo>
                  <a:cubicBezTo>
                    <a:pt x="235" y="451"/>
                    <a:pt x="231" y="465"/>
                    <a:pt x="232" y="470"/>
                  </a:cubicBezTo>
                  <a:close/>
                  <a:moveTo>
                    <a:pt x="232" y="581"/>
                  </a:moveTo>
                  <a:cubicBezTo>
                    <a:pt x="228" y="578"/>
                    <a:pt x="229" y="569"/>
                    <a:pt x="227" y="562"/>
                  </a:cubicBezTo>
                  <a:cubicBezTo>
                    <a:pt x="233" y="563"/>
                    <a:pt x="233" y="572"/>
                    <a:pt x="232" y="581"/>
                  </a:cubicBezTo>
                  <a:close/>
                  <a:moveTo>
                    <a:pt x="214" y="751"/>
                  </a:moveTo>
                  <a:cubicBezTo>
                    <a:pt x="213" y="741"/>
                    <a:pt x="215" y="735"/>
                    <a:pt x="222" y="736"/>
                  </a:cubicBezTo>
                  <a:cubicBezTo>
                    <a:pt x="222" y="746"/>
                    <a:pt x="221" y="752"/>
                    <a:pt x="214" y="751"/>
                  </a:cubicBezTo>
                  <a:close/>
                  <a:moveTo>
                    <a:pt x="219" y="766"/>
                  </a:moveTo>
                  <a:cubicBezTo>
                    <a:pt x="218" y="767"/>
                    <a:pt x="216" y="757"/>
                    <a:pt x="214" y="759"/>
                  </a:cubicBezTo>
                  <a:cubicBezTo>
                    <a:pt x="218" y="746"/>
                    <a:pt x="221" y="763"/>
                    <a:pt x="219" y="766"/>
                  </a:cubicBezTo>
                  <a:close/>
                  <a:moveTo>
                    <a:pt x="224" y="537"/>
                  </a:moveTo>
                  <a:cubicBezTo>
                    <a:pt x="223" y="538"/>
                    <a:pt x="221" y="527"/>
                    <a:pt x="219" y="529"/>
                  </a:cubicBezTo>
                  <a:cubicBezTo>
                    <a:pt x="224" y="517"/>
                    <a:pt x="226" y="534"/>
                    <a:pt x="224" y="537"/>
                  </a:cubicBezTo>
                  <a:close/>
                  <a:moveTo>
                    <a:pt x="224" y="381"/>
                  </a:moveTo>
                  <a:cubicBezTo>
                    <a:pt x="224" y="378"/>
                    <a:pt x="224" y="374"/>
                    <a:pt x="224" y="370"/>
                  </a:cubicBezTo>
                  <a:cubicBezTo>
                    <a:pt x="232" y="365"/>
                    <a:pt x="232" y="387"/>
                    <a:pt x="224" y="381"/>
                  </a:cubicBezTo>
                  <a:close/>
                  <a:moveTo>
                    <a:pt x="230" y="392"/>
                  </a:moveTo>
                  <a:cubicBezTo>
                    <a:pt x="220" y="384"/>
                    <a:pt x="242" y="388"/>
                    <a:pt x="235" y="370"/>
                  </a:cubicBezTo>
                  <a:cubicBezTo>
                    <a:pt x="237" y="372"/>
                    <a:pt x="239" y="374"/>
                    <a:pt x="243" y="374"/>
                  </a:cubicBezTo>
                  <a:cubicBezTo>
                    <a:pt x="240" y="378"/>
                    <a:pt x="235" y="381"/>
                    <a:pt x="238" y="392"/>
                  </a:cubicBezTo>
                  <a:cubicBezTo>
                    <a:pt x="233" y="393"/>
                    <a:pt x="231" y="386"/>
                    <a:pt x="230" y="392"/>
                  </a:cubicBezTo>
                  <a:close/>
                  <a:moveTo>
                    <a:pt x="249" y="433"/>
                  </a:moveTo>
                  <a:cubicBezTo>
                    <a:pt x="248" y="437"/>
                    <a:pt x="245" y="436"/>
                    <a:pt x="243" y="437"/>
                  </a:cubicBezTo>
                  <a:cubicBezTo>
                    <a:pt x="240" y="432"/>
                    <a:pt x="242" y="431"/>
                    <a:pt x="243" y="426"/>
                  </a:cubicBezTo>
                  <a:cubicBezTo>
                    <a:pt x="246" y="427"/>
                    <a:pt x="245" y="433"/>
                    <a:pt x="249" y="433"/>
                  </a:cubicBezTo>
                  <a:close/>
                  <a:moveTo>
                    <a:pt x="235" y="477"/>
                  </a:moveTo>
                  <a:cubicBezTo>
                    <a:pt x="239" y="478"/>
                    <a:pt x="236" y="488"/>
                    <a:pt x="240" y="489"/>
                  </a:cubicBezTo>
                  <a:cubicBezTo>
                    <a:pt x="237" y="500"/>
                    <a:pt x="233" y="485"/>
                    <a:pt x="235" y="477"/>
                  </a:cubicBezTo>
                  <a:close/>
                  <a:moveTo>
                    <a:pt x="238" y="466"/>
                  </a:moveTo>
                  <a:cubicBezTo>
                    <a:pt x="238" y="456"/>
                    <a:pt x="252" y="459"/>
                    <a:pt x="251" y="470"/>
                  </a:cubicBezTo>
                  <a:cubicBezTo>
                    <a:pt x="246" y="462"/>
                    <a:pt x="243" y="473"/>
                    <a:pt x="238" y="466"/>
                  </a:cubicBezTo>
                  <a:close/>
                  <a:moveTo>
                    <a:pt x="254" y="533"/>
                  </a:moveTo>
                  <a:cubicBezTo>
                    <a:pt x="248" y="545"/>
                    <a:pt x="243" y="520"/>
                    <a:pt x="254" y="533"/>
                  </a:cubicBezTo>
                  <a:close/>
                  <a:moveTo>
                    <a:pt x="246" y="448"/>
                  </a:moveTo>
                  <a:cubicBezTo>
                    <a:pt x="246" y="444"/>
                    <a:pt x="251" y="445"/>
                    <a:pt x="254" y="444"/>
                  </a:cubicBezTo>
                  <a:cubicBezTo>
                    <a:pt x="256" y="448"/>
                    <a:pt x="257" y="454"/>
                    <a:pt x="257" y="463"/>
                  </a:cubicBezTo>
                  <a:cubicBezTo>
                    <a:pt x="252" y="459"/>
                    <a:pt x="252" y="449"/>
                    <a:pt x="246" y="448"/>
                  </a:cubicBezTo>
                  <a:close/>
                  <a:moveTo>
                    <a:pt x="254" y="437"/>
                  </a:moveTo>
                  <a:cubicBezTo>
                    <a:pt x="254" y="434"/>
                    <a:pt x="253" y="433"/>
                    <a:pt x="251" y="433"/>
                  </a:cubicBezTo>
                  <a:cubicBezTo>
                    <a:pt x="251" y="429"/>
                    <a:pt x="254" y="430"/>
                    <a:pt x="257" y="429"/>
                  </a:cubicBezTo>
                  <a:cubicBezTo>
                    <a:pt x="255" y="426"/>
                    <a:pt x="254" y="423"/>
                    <a:pt x="251" y="422"/>
                  </a:cubicBezTo>
                  <a:cubicBezTo>
                    <a:pt x="252" y="418"/>
                    <a:pt x="256" y="419"/>
                    <a:pt x="259" y="418"/>
                  </a:cubicBezTo>
                  <a:cubicBezTo>
                    <a:pt x="259" y="424"/>
                    <a:pt x="259" y="431"/>
                    <a:pt x="259" y="437"/>
                  </a:cubicBezTo>
                  <a:cubicBezTo>
                    <a:pt x="257" y="437"/>
                    <a:pt x="256" y="437"/>
                    <a:pt x="254" y="437"/>
                  </a:cubicBezTo>
                  <a:close/>
                  <a:moveTo>
                    <a:pt x="259" y="359"/>
                  </a:moveTo>
                  <a:cubicBezTo>
                    <a:pt x="251" y="360"/>
                    <a:pt x="254" y="347"/>
                    <a:pt x="251" y="341"/>
                  </a:cubicBezTo>
                  <a:cubicBezTo>
                    <a:pt x="254" y="346"/>
                    <a:pt x="259" y="350"/>
                    <a:pt x="259" y="359"/>
                  </a:cubicBezTo>
                  <a:close/>
                  <a:moveTo>
                    <a:pt x="254" y="329"/>
                  </a:moveTo>
                  <a:cubicBezTo>
                    <a:pt x="253" y="320"/>
                    <a:pt x="258" y="318"/>
                    <a:pt x="259" y="311"/>
                  </a:cubicBezTo>
                  <a:cubicBezTo>
                    <a:pt x="264" y="312"/>
                    <a:pt x="260" y="332"/>
                    <a:pt x="254" y="329"/>
                  </a:cubicBezTo>
                  <a:close/>
                  <a:moveTo>
                    <a:pt x="259" y="448"/>
                  </a:moveTo>
                  <a:cubicBezTo>
                    <a:pt x="267" y="434"/>
                    <a:pt x="268" y="459"/>
                    <a:pt x="259" y="448"/>
                  </a:cubicBezTo>
                  <a:close/>
                  <a:moveTo>
                    <a:pt x="265" y="437"/>
                  </a:moveTo>
                  <a:cubicBezTo>
                    <a:pt x="264" y="432"/>
                    <a:pt x="265" y="430"/>
                    <a:pt x="267" y="429"/>
                  </a:cubicBezTo>
                  <a:cubicBezTo>
                    <a:pt x="259" y="417"/>
                    <a:pt x="276" y="429"/>
                    <a:pt x="267" y="418"/>
                  </a:cubicBezTo>
                  <a:cubicBezTo>
                    <a:pt x="270" y="407"/>
                    <a:pt x="275" y="422"/>
                    <a:pt x="278" y="422"/>
                  </a:cubicBezTo>
                  <a:cubicBezTo>
                    <a:pt x="279" y="429"/>
                    <a:pt x="263" y="430"/>
                    <a:pt x="273" y="437"/>
                  </a:cubicBezTo>
                  <a:cubicBezTo>
                    <a:pt x="272" y="442"/>
                    <a:pt x="269" y="435"/>
                    <a:pt x="265" y="437"/>
                  </a:cubicBezTo>
                  <a:close/>
                  <a:moveTo>
                    <a:pt x="294" y="270"/>
                  </a:moveTo>
                  <a:cubicBezTo>
                    <a:pt x="289" y="267"/>
                    <a:pt x="293" y="246"/>
                    <a:pt x="300" y="248"/>
                  </a:cubicBezTo>
                  <a:cubicBezTo>
                    <a:pt x="298" y="256"/>
                    <a:pt x="293" y="259"/>
                    <a:pt x="294" y="270"/>
                  </a:cubicBezTo>
                  <a:close/>
                  <a:moveTo>
                    <a:pt x="294" y="296"/>
                  </a:moveTo>
                  <a:cubicBezTo>
                    <a:pt x="292" y="296"/>
                    <a:pt x="289" y="296"/>
                    <a:pt x="286" y="296"/>
                  </a:cubicBezTo>
                  <a:cubicBezTo>
                    <a:pt x="286" y="294"/>
                    <a:pt x="286" y="291"/>
                    <a:pt x="286" y="289"/>
                  </a:cubicBezTo>
                  <a:cubicBezTo>
                    <a:pt x="292" y="288"/>
                    <a:pt x="295" y="290"/>
                    <a:pt x="294" y="296"/>
                  </a:cubicBezTo>
                  <a:close/>
                  <a:moveTo>
                    <a:pt x="294" y="333"/>
                  </a:moveTo>
                  <a:cubicBezTo>
                    <a:pt x="291" y="332"/>
                    <a:pt x="292" y="324"/>
                    <a:pt x="292" y="318"/>
                  </a:cubicBezTo>
                  <a:cubicBezTo>
                    <a:pt x="302" y="317"/>
                    <a:pt x="293" y="326"/>
                    <a:pt x="294" y="333"/>
                  </a:cubicBezTo>
                  <a:close/>
                  <a:moveTo>
                    <a:pt x="294" y="389"/>
                  </a:moveTo>
                  <a:cubicBezTo>
                    <a:pt x="297" y="390"/>
                    <a:pt x="296" y="396"/>
                    <a:pt x="300" y="396"/>
                  </a:cubicBezTo>
                  <a:cubicBezTo>
                    <a:pt x="297" y="401"/>
                    <a:pt x="292" y="403"/>
                    <a:pt x="292" y="411"/>
                  </a:cubicBezTo>
                  <a:cubicBezTo>
                    <a:pt x="284" y="406"/>
                    <a:pt x="296" y="398"/>
                    <a:pt x="294" y="389"/>
                  </a:cubicBezTo>
                  <a:close/>
                  <a:moveTo>
                    <a:pt x="343" y="248"/>
                  </a:moveTo>
                  <a:cubicBezTo>
                    <a:pt x="347" y="242"/>
                    <a:pt x="351" y="250"/>
                    <a:pt x="361" y="244"/>
                  </a:cubicBezTo>
                  <a:cubicBezTo>
                    <a:pt x="365" y="249"/>
                    <a:pt x="364" y="257"/>
                    <a:pt x="364" y="267"/>
                  </a:cubicBezTo>
                  <a:cubicBezTo>
                    <a:pt x="355" y="262"/>
                    <a:pt x="362" y="279"/>
                    <a:pt x="353" y="274"/>
                  </a:cubicBezTo>
                  <a:cubicBezTo>
                    <a:pt x="351" y="261"/>
                    <a:pt x="356" y="258"/>
                    <a:pt x="361" y="255"/>
                  </a:cubicBezTo>
                  <a:cubicBezTo>
                    <a:pt x="359" y="240"/>
                    <a:pt x="348" y="259"/>
                    <a:pt x="343" y="248"/>
                  </a:cubicBezTo>
                  <a:close/>
                  <a:moveTo>
                    <a:pt x="348" y="300"/>
                  </a:moveTo>
                  <a:cubicBezTo>
                    <a:pt x="344" y="297"/>
                    <a:pt x="338" y="297"/>
                    <a:pt x="340" y="285"/>
                  </a:cubicBezTo>
                  <a:cubicBezTo>
                    <a:pt x="342" y="284"/>
                    <a:pt x="342" y="286"/>
                    <a:pt x="343" y="289"/>
                  </a:cubicBezTo>
                  <a:cubicBezTo>
                    <a:pt x="344" y="293"/>
                    <a:pt x="349" y="293"/>
                    <a:pt x="348" y="300"/>
                  </a:cubicBezTo>
                  <a:close/>
                  <a:moveTo>
                    <a:pt x="383" y="263"/>
                  </a:moveTo>
                  <a:cubicBezTo>
                    <a:pt x="388" y="264"/>
                    <a:pt x="388" y="273"/>
                    <a:pt x="394" y="274"/>
                  </a:cubicBezTo>
                  <a:cubicBezTo>
                    <a:pt x="393" y="279"/>
                    <a:pt x="388" y="278"/>
                    <a:pt x="388" y="274"/>
                  </a:cubicBezTo>
                  <a:cubicBezTo>
                    <a:pt x="386" y="274"/>
                    <a:pt x="386" y="279"/>
                    <a:pt x="386" y="281"/>
                  </a:cubicBezTo>
                  <a:cubicBezTo>
                    <a:pt x="377" y="278"/>
                    <a:pt x="384" y="274"/>
                    <a:pt x="383" y="263"/>
                  </a:cubicBezTo>
                  <a:close/>
                  <a:moveTo>
                    <a:pt x="386" y="333"/>
                  </a:moveTo>
                  <a:cubicBezTo>
                    <a:pt x="381" y="330"/>
                    <a:pt x="379" y="320"/>
                    <a:pt x="383" y="315"/>
                  </a:cubicBezTo>
                  <a:cubicBezTo>
                    <a:pt x="389" y="314"/>
                    <a:pt x="384" y="328"/>
                    <a:pt x="386" y="333"/>
                  </a:cubicBezTo>
                  <a:close/>
                  <a:moveTo>
                    <a:pt x="386" y="307"/>
                  </a:moveTo>
                  <a:cubicBezTo>
                    <a:pt x="378" y="299"/>
                    <a:pt x="384" y="297"/>
                    <a:pt x="380" y="285"/>
                  </a:cubicBezTo>
                  <a:cubicBezTo>
                    <a:pt x="387" y="285"/>
                    <a:pt x="386" y="297"/>
                    <a:pt x="386" y="307"/>
                  </a:cubicBezTo>
                  <a:close/>
                  <a:moveTo>
                    <a:pt x="388" y="489"/>
                  </a:moveTo>
                  <a:cubicBezTo>
                    <a:pt x="389" y="489"/>
                    <a:pt x="388" y="496"/>
                    <a:pt x="388" y="496"/>
                  </a:cubicBezTo>
                  <a:cubicBezTo>
                    <a:pt x="390" y="496"/>
                    <a:pt x="393" y="491"/>
                    <a:pt x="394" y="489"/>
                  </a:cubicBezTo>
                  <a:cubicBezTo>
                    <a:pt x="395" y="487"/>
                    <a:pt x="397" y="495"/>
                    <a:pt x="396" y="496"/>
                  </a:cubicBezTo>
                  <a:cubicBezTo>
                    <a:pt x="396" y="497"/>
                    <a:pt x="391" y="495"/>
                    <a:pt x="391" y="496"/>
                  </a:cubicBezTo>
                  <a:cubicBezTo>
                    <a:pt x="389" y="502"/>
                    <a:pt x="392" y="510"/>
                    <a:pt x="383" y="511"/>
                  </a:cubicBezTo>
                  <a:cubicBezTo>
                    <a:pt x="379" y="520"/>
                    <a:pt x="389" y="519"/>
                    <a:pt x="391" y="522"/>
                  </a:cubicBezTo>
                  <a:cubicBezTo>
                    <a:pt x="393" y="526"/>
                    <a:pt x="389" y="536"/>
                    <a:pt x="396" y="533"/>
                  </a:cubicBezTo>
                  <a:cubicBezTo>
                    <a:pt x="398" y="544"/>
                    <a:pt x="391" y="545"/>
                    <a:pt x="383" y="544"/>
                  </a:cubicBezTo>
                  <a:cubicBezTo>
                    <a:pt x="381" y="537"/>
                    <a:pt x="386" y="534"/>
                    <a:pt x="386" y="529"/>
                  </a:cubicBezTo>
                  <a:cubicBezTo>
                    <a:pt x="384" y="522"/>
                    <a:pt x="380" y="526"/>
                    <a:pt x="378" y="522"/>
                  </a:cubicBezTo>
                  <a:cubicBezTo>
                    <a:pt x="376" y="519"/>
                    <a:pt x="380" y="513"/>
                    <a:pt x="380" y="514"/>
                  </a:cubicBezTo>
                  <a:cubicBezTo>
                    <a:pt x="375" y="506"/>
                    <a:pt x="375" y="505"/>
                    <a:pt x="367" y="507"/>
                  </a:cubicBezTo>
                  <a:cubicBezTo>
                    <a:pt x="366" y="499"/>
                    <a:pt x="369" y="497"/>
                    <a:pt x="370" y="492"/>
                  </a:cubicBezTo>
                  <a:cubicBezTo>
                    <a:pt x="375" y="493"/>
                    <a:pt x="371" y="504"/>
                    <a:pt x="378" y="503"/>
                  </a:cubicBezTo>
                  <a:cubicBezTo>
                    <a:pt x="380" y="504"/>
                    <a:pt x="380" y="502"/>
                    <a:pt x="380" y="500"/>
                  </a:cubicBezTo>
                  <a:cubicBezTo>
                    <a:pt x="380" y="496"/>
                    <a:pt x="377" y="497"/>
                    <a:pt x="375" y="496"/>
                  </a:cubicBezTo>
                  <a:cubicBezTo>
                    <a:pt x="374" y="492"/>
                    <a:pt x="376" y="488"/>
                    <a:pt x="378" y="489"/>
                  </a:cubicBezTo>
                  <a:cubicBezTo>
                    <a:pt x="378" y="489"/>
                    <a:pt x="380" y="496"/>
                    <a:pt x="380" y="496"/>
                  </a:cubicBezTo>
                  <a:cubicBezTo>
                    <a:pt x="381" y="496"/>
                    <a:pt x="385" y="484"/>
                    <a:pt x="388" y="489"/>
                  </a:cubicBezTo>
                  <a:close/>
                  <a:moveTo>
                    <a:pt x="404" y="296"/>
                  </a:moveTo>
                  <a:cubicBezTo>
                    <a:pt x="406" y="299"/>
                    <a:pt x="394" y="307"/>
                    <a:pt x="396" y="300"/>
                  </a:cubicBezTo>
                  <a:cubicBezTo>
                    <a:pt x="397" y="299"/>
                    <a:pt x="402" y="293"/>
                    <a:pt x="404" y="296"/>
                  </a:cubicBezTo>
                  <a:close/>
                  <a:moveTo>
                    <a:pt x="396" y="278"/>
                  </a:moveTo>
                  <a:cubicBezTo>
                    <a:pt x="397" y="275"/>
                    <a:pt x="399" y="274"/>
                    <a:pt x="399" y="270"/>
                  </a:cubicBezTo>
                  <a:cubicBezTo>
                    <a:pt x="401" y="271"/>
                    <a:pt x="402" y="274"/>
                    <a:pt x="404" y="274"/>
                  </a:cubicBezTo>
                  <a:cubicBezTo>
                    <a:pt x="404" y="277"/>
                    <a:pt x="402" y="278"/>
                    <a:pt x="402" y="281"/>
                  </a:cubicBezTo>
                  <a:cubicBezTo>
                    <a:pt x="400" y="281"/>
                    <a:pt x="399" y="278"/>
                    <a:pt x="396" y="278"/>
                  </a:cubicBezTo>
                  <a:close/>
                  <a:moveTo>
                    <a:pt x="421" y="525"/>
                  </a:moveTo>
                  <a:cubicBezTo>
                    <a:pt x="422" y="534"/>
                    <a:pt x="416" y="534"/>
                    <a:pt x="418" y="544"/>
                  </a:cubicBezTo>
                  <a:cubicBezTo>
                    <a:pt x="412" y="539"/>
                    <a:pt x="410" y="546"/>
                    <a:pt x="402" y="540"/>
                  </a:cubicBezTo>
                  <a:cubicBezTo>
                    <a:pt x="404" y="537"/>
                    <a:pt x="405" y="532"/>
                    <a:pt x="404" y="525"/>
                  </a:cubicBezTo>
                  <a:cubicBezTo>
                    <a:pt x="410" y="528"/>
                    <a:pt x="410" y="531"/>
                    <a:pt x="407" y="537"/>
                  </a:cubicBezTo>
                  <a:cubicBezTo>
                    <a:pt x="419" y="543"/>
                    <a:pt x="411" y="522"/>
                    <a:pt x="421" y="525"/>
                  </a:cubicBezTo>
                  <a:close/>
                  <a:moveTo>
                    <a:pt x="410" y="285"/>
                  </a:moveTo>
                  <a:cubicBezTo>
                    <a:pt x="422" y="287"/>
                    <a:pt x="407" y="307"/>
                    <a:pt x="410" y="285"/>
                  </a:cubicBezTo>
                  <a:close/>
                  <a:moveTo>
                    <a:pt x="412" y="281"/>
                  </a:moveTo>
                  <a:cubicBezTo>
                    <a:pt x="412" y="279"/>
                    <a:pt x="412" y="276"/>
                    <a:pt x="412" y="274"/>
                  </a:cubicBezTo>
                  <a:cubicBezTo>
                    <a:pt x="414" y="274"/>
                    <a:pt x="416" y="274"/>
                    <a:pt x="418" y="274"/>
                  </a:cubicBezTo>
                  <a:cubicBezTo>
                    <a:pt x="418" y="276"/>
                    <a:pt x="418" y="279"/>
                    <a:pt x="418" y="281"/>
                  </a:cubicBezTo>
                  <a:cubicBezTo>
                    <a:pt x="416" y="281"/>
                    <a:pt x="414" y="281"/>
                    <a:pt x="412" y="281"/>
                  </a:cubicBezTo>
                  <a:close/>
                  <a:moveTo>
                    <a:pt x="396" y="500"/>
                  </a:moveTo>
                  <a:cubicBezTo>
                    <a:pt x="403" y="501"/>
                    <a:pt x="403" y="509"/>
                    <a:pt x="399" y="514"/>
                  </a:cubicBezTo>
                  <a:cubicBezTo>
                    <a:pt x="395" y="513"/>
                    <a:pt x="397" y="505"/>
                    <a:pt x="396" y="500"/>
                  </a:cubicBezTo>
                  <a:close/>
                  <a:moveTo>
                    <a:pt x="351" y="489"/>
                  </a:moveTo>
                  <a:cubicBezTo>
                    <a:pt x="352" y="483"/>
                    <a:pt x="356" y="482"/>
                    <a:pt x="361" y="481"/>
                  </a:cubicBezTo>
                  <a:cubicBezTo>
                    <a:pt x="363" y="490"/>
                    <a:pt x="368" y="509"/>
                    <a:pt x="356" y="507"/>
                  </a:cubicBezTo>
                  <a:cubicBezTo>
                    <a:pt x="356" y="503"/>
                    <a:pt x="356" y="500"/>
                    <a:pt x="356" y="496"/>
                  </a:cubicBezTo>
                  <a:cubicBezTo>
                    <a:pt x="359" y="496"/>
                    <a:pt x="358" y="500"/>
                    <a:pt x="359" y="503"/>
                  </a:cubicBezTo>
                  <a:cubicBezTo>
                    <a:pt x="367" y="498"/>
                    <a:pt x="357" y="487"/>
                    <a:pt x="351" y="489"/>
                  </a:cubicBezTo>
                  <a:close/>
                  <a:moveTo>
                    <a:pt x="364" y="285"/>
                  </a:moveTo>
                  <a:cubicBezTo>
                    <a:pt x="363" y="279"/>
                    <a:pt x="379" y="280"/>
                    <a:pt x="372" y="289"/>
                  </a:cubicBezTo>
                  <a:cubicBezTo>
                    <a:pt x="373" y="287"/>
                    <a:pt x="364" y="285"/>
                    <a:pt x="364" y="285"/>
                  </a:cubicBezTo>
                  <a:close/>
                  <a:moveTo>
                    <a:pt x="372" y="296"/>
                  </a:moveTo>
                  <a:cubicBezTo>
                    <a:pt x="372" y="303"/>
                    <a:pt x="375" y="304"/>
                    <a:pt x="375" y="311"/>
                  </a:cubicBezTo>
                  <a:cubicBezTo>
                    <a:pt x="372" y="311"/>
                    <a:pt x="373" y="306"/>
                    <a:pt x="372" y="304"/>
                  </a:cubicBezTo>
                  <a:cubicBezTo>
                    <a:pt x="370" y="303"/>
                    <a:pt x="370" y="305"/>
                    <a:pt x="370" y="307"/>
                  </a:cubicBezTo>
                  <a:cubicBezTo>
                    <a:pt x="368" y="314"/>
                    <a:pt x="365" y="303"/>
                    <a:pt x="370" y="304"/>
                  </a:cubicBezTo>
                  <a:cubicBezTo>
                    <a:pt x="371" y="295"/>
                    <a:pt x="357" y="306"/>
                    <a:pt x="361" y="292"/>
                  </a:cubicBezTo>
                  <a:cubicBezTo>
                    <a:pt x="364" y="295"/>
                    <a:pt x="367" y="296"/>
                    <a:pt x="372" y="296"/>
                  </a:cubicBezTo>
                  <a:close/>
                  <a:moveTo>
                    <a:pt x="375" y="533"/>
                  </a:moveTo>
                  <a:cubicBezTo>
                    <a:pt x="367" y="548"/>
                    <a:pt x="368" y="521"/>
                    <a:pt x="361" y="522"/>
                  </a:cubicBezTo>
                  <a:cubicBezTo>
                    <a:pt x="363" y="511"/>
                    <a:pt x="367" y="525"/>
                    <a:pt x="372" y="522"/>
                  </a:cubicBezTo>
                  <a:cubicBezTo>
                    <a:pt x="372" y="527"/>
                    <a:pt x="372" y="532"/>
                    <a:pt x="375" y="533"/>
                  </a:cubicBezTo>
                  <a:close/>
                  <a:moveTo>
                    <a:pt x="364" y="474"/>
                  </a:moveTo>
                  <a:cubicBezTo>
                    <a:pt x="361" y="473"/>
                    <a:pt x="362" y="467"/>
                    <a:pt x="361" y="463"/>
                  </a:cubicBezTo>
                  <a:cubicBezTo>
                    <a:pt x="366" y="461"/>
                    <a:pt x="367" y="465"/>
                    <a:pt x="367" y="470"/>
                  </a:cubicBezTo>
                  <a:cubicBezTo>
                    <a:pt x="365" y="469"/>
                    <a:pt x="364" y="471"/>
                    <a:pt x="364" y="474"/>
                  </a:cubicBezTo>
                  <a:close/>
                  <a:moveTo>
                    <a:pt x="364" y="344"/>
                  </a:moveTo>
                  <a:cubicBezTo>
                    <a:pt x="363" y="336"/>
                    <a:pt x="369" y="339"/>
                    <a:pt x="370" y="333"/>
                  </a:cubicBezTo>
                  <a:cubicBezTo>
                    <a:pt x="373" y="334"/>
                    <a:pt x="372" y="340"/>
                    <a:pt x="372" y="344"/>
                  </a:cubicBezTo>
                  <a:cubicBezTo>
                    <a:pt x="370" y="344"/>
                    <a:pt x="367" y="344"/>
                    <a:pt x="364" y="344"/>
                  </a:cubicBezTo>
                  <a:close/>
                  <a:moveTo>
                    <a:pt x="361" y="555"/>
                  </a:moveTo>
                  <a:cubicBezTo>
                    <a:pt x="368" y="551"/>
                    <a:pt x="379" y="549"/>
                    <a:pt x="378" y="566"/>
                  </a:cubicBezTo>
                  <a:cubicBezTo>
                    <a:pt x="373" y="561"/>
                    <a:pt x="360" y="567"/>
                    <a:pt x="361" y="555"/>
                  </a:cubicBezTo>
                  <a:close/>
                  <a:moveTo>
                    <a:pt x="364" y="274"/>
                  </a:moveTo>
                  <a:cubicBezTo>
                    <a:pt x="366" y="269"/>
                    <a:pt x="370" y="267"/>
                    <a:pt x="375" y="267"/>
                  </a:cubicBezTo>
                  <a:cubicBezTo>
                    <a:pt x="378" y="278"/>
                    <a:pt x="369" y="273"/>
                    <a:pt x="364" y="274"/>
                  </a:cubicBezTo>
                  <a:close/>
                  <a:moveTo>
                    <a:pt x="353" y="363"/>
                  </a:moveTo>
                  <a:cubicBezTo>
                    <a:pt x="352" y="364"/>
                    <a:pt x="350" y="353"/>
                    <a:pt x="348" y="355"/>
                  </a:cubicBezTo>
                  <a:cubicBezTo>
                    <a:pt x="353" y="343"/>
                    <a:pt x="355" y="360"/>
                    <a:pt x="353" y="363"/>
                  </a:cubicBezTo>
                  <a:close/>
                  <a:moveTo>
                    <a:pt x="351" y="459"/>
                  </a:moveTo>
                  <a:cubicBezTo>
                    <a:pt x="351" y="463"/>
                    <a:pt x="351" y="466"/>
                    <a:pt x="351" y="470"/>
                  </a:cubicBezTo>
                  <a:cubicBezTo>
                    <a:pt x="348" y="470"/>
                    <a:pt x="349" y="465"/>
                    <a:pt x="348" y="463"/>
                  </a:cubicBezTo>
                  <a:cubicBezTo>
                    <a:pt x="346" y="466"/>
                    <a:pt x="341" y="465"/>
                    <a:pt x="337" y="459"/>
                  </a:cubicBezTo>
                  <a:cubicBezTo>
                    <a:pt x="336" y="456"/>
                    <a:pt x="334" y="454"/>
                    <a:pt x="335" y="448"/>
                  </a:cubicBezTo>
                  <a:cubicBezTo>
                    <a:pt x="337" y="451"/>
                    <a:pt x="339" y="454"/>
                    <a:pt x="340" y="459"/>
                  </a:cubicBezTo>
                  <a:cubicBezTo>
                    <a:pt x="344" y="459"/>
                    <a:pt x="347" y="459"/>
                    <a:pt x="351" y="459"/>
                  </a:cubicBezTo>
                  <a:close/>
                  <a:moveTo>
                    <a:pt x="340" y="559"/>
                  </a:moveTo>
                  <a:cubicBezTo>
                    <a:pt x="347" y="549"/>
                    <a:pt x="345" y="570"/>
                    <a:pt x="343" y="574"/>
                  </a:cubicBezTo>
                  <a:cubicBezTo>
                    <a:pt x="336" y="572"/>
                    <a:pt x="336" y="564"/>
                    <a:pt x="343" y="562"/>
                  </a:cubicBezTo>
                  <a:cubicBezTo>
                    <a:pt x="343" y="559"/>
                    <a:pt x="342" y="559"/>
                    <a:pt x="340" y="559"/>
                  </a:cubicBezTo>
                  <a:close/>
                  <a:moveTo>
                    <a:pt x="335" y="522"/>
                  </a:moveTo>
                  <a:cubicBezTo>
                    <a:pt x="334" y="521"/>
                    <a:pt x="335" y="518"/>
                    <a:pt x="335" y="518"/>
                  </a:cubicBezTo>
                  <a:cubicBezTo>
                    <a:pt x="332" y="517"/>
                    <a:pt x="320" y="521"/>
                    <a:pt x="324" y="511"/>
                  </a:cubicBezTo>
                  <a:cubicBezTo>
                    <a:pt x="334" y="513"/>
                    <a:pt x="331" y="517"/>
                    <a:pt x="329" y="503"/>
                  </a:cubicBezTo>
                  <a:cubicBezTo>
                    <a:pt x="332" y="503"/>
                    <a:pt x="335" y="503"/>
                    <a:pt x="337" y="503"/>
                  </a:cubicBezTo>
                  <a:cubicBezTo>
                    <a:pt x="334" y="516"/>
                    <a:pt x="336" y="519"/>
                    <a:pt x="345" y="514"/>
                  </a:cubicBezTo>
                  <a:cubicBezTo>
                    <a:pt x="347" y="517"/>
                    <a:pt x="338" y="528"/>
                    <a:pt x="335" y="522"/>
                  </a:cubicBezTo>
                  <a:close/>
                  <a:moveTo>
                    <a:pt x="324" y="707"/>
                  </a:moveTo>
                  <a:cubicBezTo>
                    <a:pt x="320" y="705"/>
                    <a:pt x="325" y="702"/>
                    <a:pt x="324" y="696"/>
                  </a:cubicBezTo>
                  <a:cubicBezTo>
                    <a:pt x="332" y="698"/>
                    <a:pt x="329" y="698"/>
                    <a:pt x="337" y="696"/>
                  </a:cubicBezTo>
                  <a:cubicBezTo>
                    <a:pt x="338" y="706"/>
                    <a:pt x="338" y="716"/>
                    <a:pt x="329" y="714"/>
                  </a:cubicBezTo>
                  <a:cubicBezTo>
                    <a:pt x="329" y="710"/>
                    <a:pt x="329" y="707"/>
                    <a:pt x="329" y="703"/>
                  </a:cubicBezTo>
                  <a:cubicBezTo>
                    <a:pt x="326" y="702"/>
                    <a:pt x="324" y="704"/>
                    <a:pt x="324" y="707"/>
                  </a:cubicBezTo>
                  <a:close/>
                  <a:moveTo>
                    <a:pt x="316" y="644"/>
                  </a:moveTo>
                  <a:cubicBezTo>
                    <a:pt x="322" y="632"/>
                    <a:pt x="323" y="658"/>
                    <a:pt x="324" y="666"/>
                  </a:cubicBezTo>
                  <a:cubicBezTo>
                    <a:pt x="308" y="668"/>
                    <a:pt x="324" y="649"/>
                    <a:pt x="316" y="644"/>
                  </a:cubicBezTo>
                  <a:close/>
                  <a:moveTo>
                    <a:pt x="335" y="562"/>
                  </a:moveTo>
                  <a:cubicBezTo>
                    <a:pt x="335" y="571"/>
                    <a:pt x="335" y="580"/>
                    <a:pt x="335" y="588"/>
                  </a:cubicBezTo>
                  <a:cubicBezTo>
                    <a:pt x="331" y="589"/>
                    <a:pt x="325" y="578"/>
                    <a:pt x="332" y="577"/>
                  </a:cubicBezTo>
                  <a:cubicBezTo>
                    <a:pt x="329" y="573"/>
                    <a:pt x="326" y="577"/>
                    <a:pt x="321" y="570"/>
                  </a:cubicBezTo>
                  <a:cubicBezTo>
                    <a:pt x="322" y="560"/>
                    <a:pt x="326" y="575"/>
                    <a:pt x="332" y="570"/>
                  </a:cubicBezTo>
                  <a:cubicBezTo>
                    <a:pt x="329" y="565"/>
                    <a:pt x="330" y="562"/>
                    <a:pt x="335" y="562"/>
                  </a:cubicBezTo>
                  <a:close/>
                  <a:moveTo>
                    <a:pt x="324" y="618"/>
                  </a:moveTo>
                  <a:cubicBezTo>
                    <a:pt x="327" y="616"/>
                    <a:pt x="327" y="609"/>
                    <a:pt x="332" y="611"/>
                  </a:cubicBezTo>
                  <a:cubicBezTo>
                    <a:pt x="333" y="620"/>
                    <a:pt x="326" y="620"/>
                    <a:pt x="321" y="622"/>
                  </a:cubicBezTo>
                  <a:cubicBezTo>
                    <a:pt x="321" y="618"/>
                    <a:pt x="322" y="618"/>
                    <a:pt x="324" y="618"/>
                  </a:cubicBezTo>
                  <a:close/>
                  <a:moveTo>
                    <a:pt x="337" y="677"/>
                  </a:moveTo>
                  <a:cubicBezTo>
                    <a:pt x="329" y="691"/>
                    <a:pt x="328" y="666"/>
                    <a:pt x="337" y="677"/>
                  </a:cubicBezTo>
                  <a:close/>
                  <a:moveTo>
                    <a:pt x="326" y="670"/>
                  </a:moveTo>
                  <a:cubicBezTo>
                    <a:pt x="326" y="662"/>
                    <a:pt x="327" y="658"/>
                    <a:pt x="332" y="659"/>
                  </a:cubicBezTo>
                  <a:cubicBezTo>
                    <a:pt x="332" y="652"/>
                    <a:pt x="332" y="646"/>
                    <a:pt x="332" y="640"/>
                  </a:cubicBezTo>
                  <a:cubicBezTo>
                    <a:pt x="341" y="642"/>
                    <a:pt x="339" y="675"/>
                    <a:pt x="326" y="670"/>
                  </a:cubicBezTo>
                  <a:close/>
                  <a:moveTo>
                    <a:pt x="326" y="555"/>
                  </a:moveTo>
                  <a:cubicBezTo>
                    <a:pt x="326" y="555"/>
                    <a:pt x="330" y="548"/>
                    <a:pt x="329" y="548"/>
                  </a:cubicBezTo>
                  <a:cubicBezTo>
                    <a:pt x="325" y="546"/>
                    <a:pt x="325" y="551"/>
                    <a:pt x="324" y="551"/>
                  </a:cubicBezTo>
                  <a:cubicBezTo>
                    <a:pt x="322" y="552"/>
                    <a:pt x="319" y="545"/>
                    <a:pt x="318" y="551"/>
                  </a:cubicBezTo>
                  <a:cubicBezTo>
                    <a:pt x="314" y="550"/>
                    <a:pt x="319" y="548"/>
                    <a:pt x="318" y="544"/>
                  </a:cubicBezTo>
                  <a:cubicBezTo>
                    <a:pt x="319" y="541"/>
                    <a:pt x="317" y="540"/>
                    <a:pt x="316" y="540"/>
                  </a:cubicBezTo>
                  <a:cubicBezTo>
                    <a:pt x="309" y="535"/>
                    <a:pt x="333" y="541"/>
                    <a:pt x="337" y="544"/>
                  </a:cubicBezTo>
                  <a:cubicBezTo>
                    <a:pt x="335" y="547"/>
                    <a:pt x="333" y="554"/>
                    <a:pt x="337" y="555"/>
                  </a:cubicBezTo>
                  <a:cubicBezTo>
                    <a:pt x="341" y="561"/>
                    <a:pt x="326" y="554"/>
                    <a:pt x="326" y="555"/>
                  </a:cubicBezTo>
                  <a:close/>
                  <a:moveTo>
                    <a:pt x="313" y="463"/>
                  </a:moveTo>
                  <a:cubicBezTo>
                    <a:pt x="313" y="463"/>
                    <a:pt x="318" y="467"/>
                    <a:pt x="318" y="466"/>
                  </a:cubicBezTo>
                  <a:cubicBezTo>
                    <a:pt x="318" y="467"/>
                    <a:pt x="312" y="474"/>
                    <a:pt x="313" y="474"/>
                  </a:cubicBezTo>
                  <a:cubicBezTo>
                    <a:pt x="309" y="473"/>
                    <a:pt x="313" y="471"/>
                    <a:pt x="313" y="470"/>
                  </a:cubicBezTo>
                  <a:cubicBezTo>
                    <a:pt x="314" y="469"/>
                    <a:pt x="312" y="463"/>
                    <a:pt x="313" y="463"/>
                  </a:cubicBezTo>
                  <a:close/>
                  <a:moveTo>
                    <a:pt x="345" y="492"/>
                  </a:moveTo>
                  <a:cubicBezTo>
                    <a:pt x="350" y="491"/>
                    <a:pt x="350" y="495"/>
                    <a:pt x="351" y="500"/>
                  </a:cubicBezTo>
                  <a:cubicBezTo>
                    <a:pt x="348" y="499"/>
                    <a:pt x="348" y="501"/>
                    <a:pt x="348" y="503"/>
                  </a:cubicBezTo>
                  <a:cubicBezTo>
                    <a:pt x="345" y="503"/>
                    <a:pt x="346" y="497"/>
                    <a:pt x="345" y="492"/>
                  </a:cubicBezTo>
                  <a:close/>
                  <a:moveTo>
                    <a:pt x="343" y="422"/>
                  </a:moveTo>
                  <a:cubicBezTo>
                    <a:pt x="337" y="422"/>
                    <a:pt x="339" y="412"/>
                    <a:pt x="332" y="415"/>
                  </a:cubicBezTo>
                  <a:cubicBezTo>
                    <a:pt x="334" y="406"/>
                    <a:pt x="345" y="413"/>
                    <a:pt x="343" y="422"/>
                  </a:cubicBezTo>
                  <a:close/>
                  <a:moveTo>
                    <a:pt x="340" y="477"/>
                  </a:moveTo>
                  <a:cubicBezTo>
                    <a:pt x="340" y="478"/>
                    <a:pt x="340" y="481"/>
                    <a:pt x="340" y="481"/>
                  </a:cubicBezTo>
                  <a:cubicBezTo>
                    <a:pt x="343" y="483"/>
                    <a:pt x="346" y="481"/>
                    <a:pt x="345" y="489"/>
                  </a:cubicBezTo>
                  <a:cubicBezTo>
                    <a:pt x="341" y="490"/>
                    <a:pt x="340" y="486"/>
                    <a:pt x="340" y="481"/>
                  </a:cubicBezTo>
                  <a:cubicBezTo>
                    <a:pt x="337" y="481"/>
                    <a:pt x="338" y="486"/>
                    <a:pt x="337" y="489"/>
                  </a:cubicBezTo>
                  <a:cubicBezTo>
                    <a:pt x="333" y="487"/>
                    <a:pt x="332" y="491"/>
                    <a:pt x="332" y="496"/>
                  </a:cubicBezTo>
                  <a:cubicBezTo>
                    <a:pt x="329" y="495"/>
                    <a:pt x="330" y="489"/>
                    <a:pt x="329" y="485"/>
                  </a:cubicBezTo>
                  <a:cubicBezTo>
                    <a:pt x="326" y="485"/>
                    <a:pt x="324" y="485"/>
                    <a:pt x="321" y="485"/>
                  </a:cubicBezTo>
                  <a:cubicBezTo>
                    <a:pt x="320" y="482"/>
                    <a:pt x="337" y="476"/>
                    <a:pt x="340" y="477"/>
                  </a:cubicBezTo>
                  <a:close/>
                  <a:moveTo>
                    <a:pt x="332" y="466"/>
                  </a:moveTo>
                  <a:cubicBezTo>
                    <a:pt x="326" y="477"/>
                    <a:pt x="323" y="454"/>
                    <a:pt x="324" y="444"/>
                  </a:cubicBezTo>
                  <a:cubicBezTo>
                    <a:pt x="327" y="447"/>
                    <a:pt x="327" y="453"/>
                    <a:pt x="332" y="452"/>
                  </a:cubicBezTo>
                  <a:cubicBezTo>
                    <a:pt x="331" y="454"/>
                    <a:pt x="325" y="466"/>
                    <a:pt x="332" y="466"/>
                  </a:cubicBezTo>
                  <a:close/>
                  <a:moveTo>
                    <a:pt x="329" y="411"/>
                  </a:moveTo>
                  <a:cubicBezTo>
                    <a:pt x="326" y="411"/>
                    <a:pt x="327" y="418"/>
                    <a:pt x="326" y="422"/>
                  </a:cubicBezTo>
                  <a:cubicBezTo>
                    <a:pt x="323" y="421"/>
                    <a:pt x="322" y="423"/>
                    <a:pt x="321" y="426"/>
                  </a:cubicBezTo>
                  <a:cubicBezTo>
                    <a:pt x="315" y="425"/>
                    <a:pt x="321" y="413"/>
                    <a:pt x="324" y="415"/>
                  </a:cubicBezTo>
                  <a:cubicBezTo>
                    <a:pt x="324" y="407"/>
                    <a:pt x="324" y="400"/>
                    <a:pt x="324" y="392"/>
                  </a:cubicBezTo>
                  <a:cubicBezTo>
                    <a:pt x="328" y="395"/>
                    <a:pt x="328" y="404"/>
                    <a:pt x="329" y="411"/>
                  </a:cubicBezTo>
                  <a:close/>
                  <a:moveTo>
                    <a:pt x="324" y="344"/>
                  </a:moveTo>
                  <a:cubicBezTo>
                    <a:pt x="328" y="343"/>
                    <a:pt x="329" y="347"/>
                    <a:pt x="329" y="352"/>
                  </a:cubicBezTo>
                  <a:cubicBezTo>
                    <a:pt x="327" y="351"/>
                    <a:pt x="327" y="353"/>
                    <a:pt x="326" y="355"/>
                  </a:cubicBezTo>
                  <a:cubicBezTo>
                    <a:pt x="323" y="355"/>
                    <a:pt x="324" y="349"/>
                    <a:pt x="324" y="344"/>
                  </a:cubicBezTo>
                  <a:close/>
                  <a:moveTo>
                    <a:pt x="316" y="385"/>
                  </a:moveTo>
                  <a:cubicBezTo>
                    <a:pt x="316" y="381"/>
                    <a:pt x="321" y="382"/>
                    <a:pt x="321" y="378"/>
                  </a:cubicBezTo>
                  <a:cubicBezTo>
                    <a:pt x="324" y="378"/>
                    <a:pt x="323" y="382"/>
                    <a:pt x="324" y="385"/>
                  </a:cubicBezTo>
                  <a:cubicBezTo>
                    <a:pt x="320" y="389"/>
                    <a:pt x="320" y="386"/>
                    <a:pt x="316" y="385"/>
                  </a:cubicBezTo>
                  <a:close/>
                  <a:moveTo>
                    <a:pt x="321" y="352"/>
                  </a:moveTo>
                  <a:cubicBezTo>
                    <a:pt x="318" y="354"/>
                    <a:pt x="319" y="348"/>
                    <a:pt x="318" y="348"/>
                  </a:cubicBezTo>
                  <a:cubicBezTo>
                    <a:pt x="317" y="347"/>
                    <a:pt x="311" y="349"/>
                    <a:pt x="310" y="348"/>
                  </a:cubicBezTo>
                  <a:cubicBezTo>
                    <a:pt x="307" y="343"/>
                    <a:pt x="323" y="336"/>
                    <a:pt x="321" y="352"/>
                  </a:cubicBezTo>
                  <a:close/>
                  <a:moveTo>
                    <a:pt x="310" y="537"/>
                  </a:moveTo>
                  <a:cubicBezTo>
                    <a:pt x="312" y="551"/>
                    <a:pt x="297" y="551"/>
                    <a:pt x="300" y="537"/>
                  </a:cubicBezTo>
                  <a:cubicBezTo>
                    <a:pt x="305" y="530"/>
                    <a:pt x="303" y="537"/>
                    <a:pt x="310" y="537"/>
                  </a:cubicBezTo>
                  <a:close/>
                  <a:moveTo>
                    <a:pt x="286" y="496"/>
                  </a:moveTo>
                  <a:cubicBezTo>
                    <a:pt x="285" y="489"/>
                    <a:pt x="284" y="493"/>
                    <a:pt x="286" y="481"/>
                  </a:cubicBezTo>
                  <a:cubicBezTo>
                    <a:pt x="293" y="485"/>
                    <a:pt x="293" y="499"/>
                    <a:pt x="286" y="503"/>
                  </a:cubicBezTo>
                  <a:cubicBezTo>
                    <a:pt x="281" y="512"/>
                    <a:pt x="287" y="503"/>
                    <a:pt x="286" y="496"/>
                  </a:cubicBezTo>
                  <a:close/>
                  <a:moveTo>
                    <a:pt x="286" y="466"/>
                  </a:moveTo>
                  <a:cubicBezTo>
                    <a:pt x="286" y="461"/>
                    <a:pt x="286" y="456"/>
                    <a:pt x="286" y="452"/>
                  </a:cubicBezTo>
                  <a:cubicBezTo>
                    <a:pt x="284" y="452"/>
                    <a:pt x="283" y="452"/>
                    <a:pt x="281" y="452"/>
                  </a:cubicBezTo>
                  <a:cubicBezTo>
                    <a:pt x="281" y="447"/>
                    <a:pt x="286" y="448"/>
                    <a:pt x="289" y="448"/>
                  </a:cubicBezTo>
                  <a:cubicBezTo>
                    <a:pt x="289" y="453"/>
                    <a:pt x="289" y="458"/>
                    <a:pt x="289" y="463"/>
                  </a:cubicBezTo>
                  <a:cubicBezTo>
                    <a:pt x="292" y="462"/>
                    <a:pt x="291" y="456"/>
                    <a:pt x="292" y="452"/>
                  </a:cubicBezTo>
                  <a:cubicBezTo>
                    <a:pt x="299" y="456"/>
                    <a:pt x="300" y="464"/>
                    <a:pt x="297" y="474"/>
                  </a:cubicBezTo>
                  <a:cubicBezTo>
                    <a:pt x="293" y="472"/>
                    <a:pt x="295" y="462"/>
                    <a:pt x="286" y="466"/>
                  </a:cubicBezTo>
                  <a:close/>
                  <a:moveTo>
                    <a:pt x="289" y="344"/>
                  </a:moveTo>
                  <a:cubicBezTo>
                    <a:pt x="283" y="356"/>
                    <a:pt x="278" y="331"/>
                    <a:pt x="289" y="344"/>
                  </a:cubicBezTo>
                  <a:close/>
                  <a:moveTo>
                    <a:pt x="286" y="326"/>
                  </a:moveTo>
                  <a:cubicBezTo>
                    <a:pt x="281" y="325"/>
                    <a:pt x="280" y="319"/>
                    <a:pt x="281" y="311"/>
                  </a:cubicBezTo>
                  <a:cubicBezTo>
                    <a:pt x="286" y="312"/>
                    <a:pt x="287" y="317"/>
                    <a:pt x="286" y="326"/>
                  </a:cubicBezTo>
                  <a:close/>
                  <a:moveTo>
                    <a:pt x="281" y="500"/>
                  </a:moveTo>
                  <a:cubicBezTo>
                    <a:pt x="271" y="494"/>
                    <a:pt x="277" y="485"/>
                    <a:pt x="278" y="481"/>
                  </a:cubicBezTo>
                  <a:cubicBezTo>
                    <a:pt x="279" y="478"/>
                    <a:pt x="281" y="479"/>
                    <a:pt x="281" y="481"/>
                  </a:cubicBezTo>
                  <a:cubicBezTo>
                    <a:pt x="280" y="488"/>
                    <a:pt x="279" y="486"/>
                    <a:pt x="281" y="500"/>
                  </a:cubicBezTo>
                  <a:close/>
                  <a:moveTo>
                    <a:pt x="270" y="366"/>
                  </a:moveTo>
                  <a:cubicBezTo>
                    <a:pt x="264" y="367"/>
                    <a:pt x="269" y="353"/>
                    <a:pt x="267" y="348"/>
                  </a:cubicBezTo>
                  <a:cubicBezTo>
                    <a:pt x="271" y="352"/>
                    <a:pt x="274" y="352"/>
                    <a:pt x="275" y="344"/>
                  </a:cubicBezTo>
                  <a:cubicBezTo>
                    <a:pt x="286" y="354"/>
                    <a:pt x="267" y="355"/>
                    <a:pt x="270" y="366"/>
                  </a:cubicBezTo>
                  <a:close/>
                  <a:moveTo>
                    <a:pt x="270" y="389"/>
                  </a:moveTo>
                  <a:cubicBezTo>
                    <a:pt x="280" y="400"/>
                    <a:pt x="262" y="401"/>
                    <a:pt x="270" y="389"/>
                  </a:cubicBezTo>
                  <a:close/>
                  <a:moveTo>
                    <a:pt x="270" y="452"/>
                  </a:moveTo>
                  <a:cubicBezTo>
                    <a:pt x="277" y="452"/>
                    <a:pt x="283" y="460"/>
                    <a:pt x="278" y="466"/>
                  </a:cubicBezTo>
                  <a:cubicBezTo>
                    <a:pt x="271" y="467"/>
                    <a:pt x="269" y="461"/>
                    <a:pt x="270" y="452"/>
                  </a:cubicBezTo>
                  <a:close/>
                  <a:moveTo>
                    <a:pt x="278" y="315"/>
                  </a:moveTo>
                  <a:cubicBezTo>
                    <a:pt x="274" y="323"/>
                    <a:pt x="270" y="307"/>
                    <a:pt x="270" y="322"/>
                  </a:cubicBezTo>
                  <a:cubicBezTo>
                    <a:pt x="258" y="316"/>
                    <a:pt x="280" y="308"/>
                    <a:pt x="270" y="304"/>
                  </a:cubicBezTo>
                  <a:cubicBezTo>
                    <a:pt x="272" y="297"/>
                    <a:pt x="275" y="303"/>
                    <a:pt x="278" y="304"/>
                  </a:cubicBezTo>
                  <a:cubicBezTo>
                    <a:pt x="280" y="290"/>
                    <a:pt x="269" y="294"/>
                    <a:pt x="265" y="289"/>
                  </a:cubicBezTo>
                  <a:cubicBezTo>
                    <a:pt x="265" y="280"/>
                    <a:pt x="271" y="291"/>
                    <a:pt x="273" y="289"/>
                  </a:cubicBezTo>
                  <a:cubicBezTo>
                    <a:pt x="276" y="285"/>
                    <a:pt x="274" y="289"/>
                    <a:pt x="283" y="289"/>
                  </a:cubicBezTo>
                  <a:cubicBezTo>
                    <a:pt x="284" y="300"/>
                    <a:pt x="276" y="301"/>
                    <a:pt x="278" y="315"/>
                  </a:cubicBezTo>
                  <a:close/>
                  <a:moveTo>
                    <a:pt x="305" y="696"/>
                  </a:moveTo>
                  <a:cubicBezTo>
                    <a:pt x="314" y="700"/>
                    <a:pt x="305" y="707"/>
                    <a:pt x="310" y="718"/>
                  </a:cubicBezTo>
                  <a:cubicBezTo>
                    <a:pt x="308" y="715"/>
                    <a:pt x="304" y="714"/>
                    <a:pt x="300" y="714"/>
                  </a:cubicBezTo>
                  <a:cubicBezTo>
                    <a:pt x="297" y="702"/>
                    <a:pt x="304" y="703"/>
                    <a:pt x="305" y="696"/>
                  </a:cubicBezTo>
                  <a:close/>
                  <a:moveTo>
                    <a:pt x="294" y="699"/>
                  </a:moveTo>
                  <a:cubicBezTo>
                    <a:pt x="294" y="697"/>
                    <a:pt x="294" y="694"/>
                    <a:pt x="294" y="692"/>
                  </a:cubicBezTo>
                  <a:cubicBezTo>
                    <a:pt x="296" y="692"/>
                    <a:pt x="298" y="692"/>
                    <a:pt x="300" y="692"/>
                  </a:cubicBezTo>
                  <a:cubicBezTo>
                    <a:pt x="300" y="694"/>
                    <a:pt x="300" y="697"/>
                    <a:pt x="300" y="699"/>
                  </a:cubicBezTo>
                  <a:cubicBezTo>
                    <a:pt x="298" y="699"/>
                    <a:pt x="296" y="699"/>
                    <a:pt x="294" y="699"/>
                  </a:cubicBezTo>
                  <a:close/>
                  <a:moveTo>
                    <a:pt x="316" y="721"/>
                  </a:moveTo>
                  <a:cubicBezTo>
                    <a:pt x="311" y="724"/>
                    <a:pt x="316" y="740"/>
                    <a:pt x="308" y="736"/>
                  </a:cubicBezTo>
                  <a:cubicBezTo>
                    <a:pt x="307" y="727"/>
                    <a:pt x="309" y="720"/>
                    <a:pt x="316" y="721"/>
                  </a:cubicBezTo>
                  <a:close/>
                  <a:moveTo>
                    <a:pt x="316" y="751"/>
                  </a:moveTo>
                  <a:cubicBezTo>
                    <a:pt x="324" y="737"/>
                    <a:pt x="325" y="762"/>
                    <a:pt x="316" y="751"/>
                  </a:cubicBezTo>
                  <a:close/>
                  <a:moveTo>
                    <a:pt x="351" y="681"/>
                  </a:moveTo>
                  <a:cubicBezTo>
                    <a:pt x="353" y="689"/>
                    <a:pt x="341" y="689"/>
                    <a:pt x="343" y="681"/>
                  </a:cubicBezTo>
                  <a:cubicBezTo>
                    <a:pt x="344" y="676"/>
                    <a:pt x="350" y="678"/>
                    <a:pt x="351" y="681"/>
                  </a:cubicBezTo>
                  <a:close/>
                  <a:moveTo>
                    <a:pt x="351" y="662"/>
                  </a:moveTo>
                  <a:cubicBezTo>
                    <a:pt x="356" y="670"/>
                    <a:pt x="359" y="680"/>
                    <a:pt x="367" y="684"/>
                  </a:cubicBezTo>
                  <a:cubicBezTo>
                    <a:pt x="365" y="687"/>
                    <a:pt x="364" y="691"/>
                    <a:pt x="364" y="696"/>
                  </a:cubicBezTo>
                  <a:cubicBezTo>
                    <a:pt x="361" y="696"/>
                    <a:pt x="363" y="690"/>
                    <a:pt x="361" y="688"/>
                  </a:cubicBezTo>
                  <a:cubicBezTo>
                    <a:pt x="357" y="680"/>
                    <a:pt x="349" y="678"/>
                    <a:pt x="351" y="662"/>
                  </a:cubicBezTo>
                  <a:close/>
                  <a:moveTo>
                    <a:pt x="348" y="718"/>
                  </a:moveTo>
                  <a:cubicBezTo>
                    <a:pt x="342" y="717"/>
                    <a:pt x="342" y="708"/>
                    <a:pt x="345" y="703"/>
                  </a:cubicBezTo>
                  <a:cubicBezTo>
                    <a:pt x="349" y="704"/>
                    <a:pt x="347" y="712"/>
                    <a:pt x="348" y="718"/>
                  </a:cubicBezTo>
                  <a:close/>
                  <a:moveTo>
                    <a:pt x="388" y="755"/>
                  </a:moveTo>
                  <a:cubicBezTo>
                    <a:pt x="389" y="750"/>
                    <a:pt x="396" y="752"/>
                    <a:pt x="396" y="755"/>
                  </a:cubicBezTo>
                  <a:cubicBezTo>
                    <a:pt x="399" y="763"/>
                    <a:pt x="387" y="763"/>
                    <a:pt x="388" y="755"/>
                  </a:cubicBezTo>
                  <a:close/>
                  <a:moveTo>
                    <a:pt x="399" y="684"/>
                  </a:moveTo>
                  <a:cubicBezTo>
                    <a:pt x="405" y="687"/>
                    <a:pt x="407" y="696"/>
                    <a:pt x="410" y="703"/>
                  </a:cubicBezTo>
                  <a:cubicBezTo>
                    <a:pt x="408" y="709"/>
                    <a:pt x="407" y="703"/>
                    <a:pt x="407" y="699"/>
                  </a:cubicBezTo>
                  <a:cubicBezTo>
                    <a:pt x="403" y="698"/>
                    <a:pt x="403" y="703"/>
                    <a:pt x="399" y="703"/>
                  </a:cubicBezTo>
                  <a:cubicBezTo>
                    <a:pt x="395" y="701"/>
                    <a:pt x="399" y="699"/>
                    <a:pt x="402" y="699"/>
                  </a:cubicBezTo>
                  <a:cubicBezTo>
                    <a:pt x="402" y="693"/>
                    <a:pt x="398" y="692"/>
                    <a:pt x="399" y="684"/>
                  </a:cubicBezTo>
                  <a:close/>
                  <a:moveTo>
                    <a:pt x="412" y="696"/>
                  </a:moveTo>
                  <a:cubicBezTo>
                    <a:pt x="412" y="692"/>
                    <a:pt x="412" y="688"/>
                    <a:pt x="412" y="684"/>
                  </a:cubicBezTo>
                  <a:cubicBezTo>
                    <a:pt x="416" y="686"/>
                    <a:pt x="417" y="691"/>
                    <a:pt x="421" y="692"/>
                  </a:cubicBezTo>
                  <a:cubicBezTo>
                    <a:pt x="421" y="695"/>
                    <a:pt x="420" y="695"/>
                    <a:pt x="418" y="696"/>
                  </a:cubicBezTo>
                  <a:cubicBezTo>
                    <a:pt x="416" y="696"/>
                    <a:pt x="414" y="696"/>
                    <a:pt x="412" y="696"/>
                  </a:cubicBezTo>
                  <a:close/>
                  <a:moveTo>
                    <a:pt x="439" y="692"/>
                  </a:moveTo>
                  <a:cubicBezTo>
                    <a:pt x="436" y="691"/>
                    <a:pt x="438" y="685"/>
                    <a:pt x="434" y="684"/>
                  </a:cubicBezTo>
                  <a:cubicBezTo>
                    <a:pt x="435" y="680"/>
                    <a:pt x="439" y="681"/>
                    <a:pt x="442" y="681"/>
                  </a:cubicBezTo>
                  <a:cubicBezTo>
                    <a:pt x="443" y="687"/>
                    <a:pt x="440" y="687"/>
                    <a:pt x="439" y="692"/>
                  </a:cubicBezTo>
                  <a:close/>
                  <a:moveTo>
                    <a:pt x="439" y="581"/>
                  </a:moveTo>
                  <a:cubicBezTo>
                    <a:pt x="442" y="582"/>
                    <a:pt x="441" y="588"/>
                    <a:pt x="445" y="588"/>
                  </a:cubicBezTo>
                  <a:cubicBezTo>
                    <a:pt x="444" y="599"/>
                    <a:pt x="436" y="589"/>
                    <a:pt x="439" y="581"/>
                  </a:cubicBezTo>
                  <a:close/>
                  <a:moveTo>
                    <a:pt x="439" y="655"/>
                  </a:moveTo>
                  <a:cubicBezTo>
                    <a:pt x="438" y="666"/>
                    <a:pt x="434" y="651"/>
                    <a:pt x="429" y="655"/>
                  </a:cubicBezTo>
                  <a:cubicBezTo>
                    <a:pt x="424" y="657"/>
                    <a:pt x="427" y="668"/>
                    <a:pt x="423" y="673"/>
                  </a:cubicBezTo>
                  <a:cubicBezTo>
                    <a:pt x="422" y="676"/>
                    <a:pt x="416" y="682"/>
                    <a:pt x="412" y="681"/>
                  </a:cubicBezTo>
                  <a:cubicBezTo>
                    <a:pt x="410" y="666"/>
                    <a:pt x="397" y="665"/>
                    <a:pt x="399" y="644"/>
                  </a:cubicBezTo>
                  <a:cubicBezTo>
                    <a:pt x="393" y="644"/>
                    <a:pt x="393" y="653"/>
                    <a:pt x="394" y="662"/>
                  </a:cubicBezTo>
                  <a:cubicBezTo>
                    <a:pt x="395" y="671"/>
                    <a:pt x="398" y="658"/>
                    <a:pt x="402" y="666"/>
                  </a:cubicBezTo>
                  <a:cubicBezTo>
                    <a:pt x="396" y="674"/>
                    <a:pt x="392" y="680"/>
                    <a:pt x="383" y="673"/>
                  </a:cubicBezTo>
                  <a:cubicBezTo>
                    <a:pt x="386" y="686"/>
                    <a:pt x="389" y="687"/>
                    <a:pt x="383" y="699"/>
                  </a:cubicBezTo>
                  <a:cubicBezTo>
                    <a:pt x="380" y="695"/>
                    <a:pt x="373" y="695"/>
                    <a:pt x="367" y="696"/>
                  </a:cubicBezTo>
                  <a:cubicBezTo>
                    <a:pt x="367" y="689"/>
                    <a:pt x="371" y="687"/>
                    <a:pt x="378" y="688"/>
                  </a:cubicBezTo>
                  <a:cubicBezTo>
                    <a:pt x="379" y="682"/>
                    <a:pt x="371" y="683"/>
                    <a:pt x="370" y="681"/>
                  </a:cubicBezTo>
                  <a:cubicBezTo>
                    <a:pt x="369" y="680"/>
                    <a:pt x="372" y="675"/>
                    <a:pt x="372" y="673"/>
                  </a:cubicBezTo>
                  <a:cubicBezTo>
                    <a:pt x="372" y="672"/>
                    <a:pt x="370" y="661"/>
                    <a:pt x="367" y="659"/>
                  </a:cubicBezTo>
                  <a:cubicBezTo>
                    <a:pt x="361" y="658"/>
                    <a:pt x="366" y="672"/>
                    <a:pt x="364" y="677"/>
                  </a:cubicBezTo>
                  <a:cubicBezTo>
                    <a:pt x="362" y="677"/>
                    <a:pt x="356" y="665"/>
                    <a:pt x="361" y="666"/>
                  </a:cubicBezTo>
                  <a:cubicBezTo>
                    <a:pt x="361" y="658"/>
                    <a:pt x="354" y="659"/>
                    <a:pt x="351" y="655"/>
                  </a:cubicBezTo>
                  <a:cubicBezTo>
                    <a:pt x="345" y="655"/>
                    <a:pt x="345" y="664"/>
                    <a:pt x="345" y="673"/>
                  </a:cubicBezTo>
                  <a:cubicBezTo>
                    <a:pt x="335" y="670"/>
                    <a:pt x="346" y="658"/>
                    <a:pt x="343" y="644"/>
                  </a:cubicBezTo>
                  <a:cubicBezTo>
                    <a:pt x="345" y="646"/>
                    <a:pt x="345" y="652"/>
                    <a:pt x="351" y="651"/>
                  </a:cubicBezTo>
                  <a:cubicBezTo>
                    <a:pt x="360" y="653"/>
                    <a:pt x="351" y="633"/>
                    <a:pt x="351" y="633"/>
                  </a:cubicBezTo>
                  <a:cubicBezTo>
                    <a:pt x="348" y="632"/>
                    <a:pt x="347" y="645"/>
                    <a:pt x="345" y="636"/>
                  </a:cubicBezTo>
                  <a:cubicBezTo>
                    <a:pt x="345" y="634"/>
                    <a:pt x="346" y="631"/>
                    <a:pt x="345" y="629"/>
                  </a:cubicBezTo>
                  <a:cubicBezTo>
                    <a:pt x="343" y="623"/>
                    <a:pt x="335" y="621"/>
                    <a:pt x="340" y="611"/>
                  </a:cubicBezTo>
                  <a:cubicBezTo>
                    <a:pt x="342" y="603"/>
                    <a:pt x="344" y="615"/>
                    <a:pt x="340" y="614"/>
                  </a:cubicBezTo>
                  <a:cubicBezTo>
                    <a:pt x="336" y="622"/>
                    <a:pt x="347" y="618"/>
                    <a:pt x="351" y="622"/>
                  </a:cubicBezTo>
                  <a:cubicBezTo>
                    <a:pt x="352" y="623"/>
                    <a:pt x="360" y="639"/>
                    <a:pt x="359" y="618"/>
                  </a:cubicBezTo>
                  <a:cubicBezTo>
                    <a:pt x="365" y="625"/>
                    <a:pt x="364" y="640"/>
                    <a:pt x="364" y="655"/>
                  </a:cubicBezTo>
                  <a:cubicBezTo>
                    <a:pt x="368" y="656"/>
                    <a:pt x="369" y="651"/>
                    <a:pt x="372" y="651"/>
                  </a:cubicBezTo>
                  <a:cubicBezTo>
                    <a:pt x="371" y="645"/>
                    <a:pt x="364" y="648"/>
                    <a:pt x="367" y="636"/>
                  </a:cubicBezTo>
                  <a:cubicBezTo>
                    <a:pt x="370" y="636"/>
                    <a:pt x="372" y="636"/>
                    <a:pt x="375" y="636"/>
                  </a:cubicBezTo>
                  <a:cubicBezTo>
                    <a:pt x="374" y="632"/>
                    <a:pt x="371" y="629"/>
                    <a:pt x="367" y="629"/>
                  </a:cubicBezTo>
                  <a:cubicBezTo>
                    <a:pt x="365" y="624"/>
                    <a:pt x="377" y="620"/>
                    <a:pt x="370" y="618"/>
                  </a:cubicBezTo>
                  <a:cubicBezTo>
                    <a:pt x="372" y="606"/>
                    <a:pt x="375" y="622"/>
                    <a:pt x="378" y="622"/>
                  </a:cubicBezTo>
                  <a:cubicBezTo>
                    <a:pt x="378" y="652"/>
                    <a:pt x="373" y="658"/>
                    <a:pt x="378" y="681"/>
                  </a:cubicBezTo>
                  <a:cubicBezTo>
                    <a:pt x="386" y="678"/>
                    <a:pt x="375" y="653"/>
                    <a:pt x="380" y="648"/>
                  </a:cubicBezTo>
                  <a:cubicBezTo>
                    <a:pt x="384" y="643"/>
                    <a:pt x="377" y="638"/>
                    <a:pt x="383" y="629"/>
                  </a:cubicBezTo>
                  <a:cubicBezTo>
                    <a:pt x="390" y="634"/>
                    <a:pt x="391" y="637"/>
                    <a:pt x="388" y="648"/>
                  </a:cubicBezTo>
                  <a:cubicBezTo>
                    <a:pt x="399" y="651"/>
                    <a:pt x="392" y="630"/>
                    <a:pt x="402" y="633"/>
                  </a:cubicBezTo>
                  <a:cubicBezTo>
                    <a:pt x="402" y="622"/>
                    <a:pt x="395" y="620"/>
                    <a:pt x="394" y="611"/>
                  </a:cubicBezTo>
                  <a:cubicBezTo>
                    <a:pt x="391" y="612"/>
                    <a:pt x="387" y="617"/>
                    <a:pt x="391" y="618"/>
                  </a:cubicBezTo>
                  <a:cubicBezTo>
                    <a:pt x="389" y="624"/>
                    <a:pt x="385" y="620"/>
                    <a:pt x="386" y="614"/>
                  </a:cubicBezTo>
                  <a:cubicBezTo>
                    <a:pt x="383" y="610"/>
                    <a:pt x="376" y="613"/>
                    <a:pt x="378" y="603"/>
                  </a:cubicBezTo>
                  <a:cubicBezTo>
                    <a:pt x="370" y="603"/>
                    <a:pt x="363" y="603"/>
                    <a:pt x="356" y="603"/>
                  </a:cubicBezTo>
                  <a:cubicBezTo>
                    <a:pt x="358" y="607"/>
                    <a:pt x="361" y="609"/>
                    <a:pt x="364" y="611"/>
                  </a:cubicBezTo>
                  <a:cubicBezTo>
                    <a:pt x="364" y="624"/>
                    <a:pt x="355" y="603"/>
                    <a:pt x="356" y="614"/>
                  </a:cubicBezTo>
                  <a:cubicBezTo>
                    <a:pt x="349" y="614"/>
                    <a:pt x="353" y="598"/>
                    <a:pt x="343" y="603"/>
                  </a:cubicBezTo>
                  <a:cubicBezTo>
                    <a:pt x="340" y="598"/>
                    <a:pt x="345" y="593"/>
                    <a:pt x="345" y="592"/>
                  </a:cubicBezTo>
                  <a:cubicBezTo>
                    <a:pt x="345" y="585"/>
                    <a:pt x="336" y="584"/>
                    <a:pt x="343" y="581"/>
                  </a:cubicBezTo>
                  <a:cubicBezTo>
                    <a:pt x="352" y="577"/>
                    <a:pt x="347" y="592"/>
                    <a:pt x="348" y="599"/>
                  </a:cubicBezTo>
                  <a:cubicBezTo>
                    <a:pt x="355" y="599"/>
                    <a:pt x="352" y="586"/>
                    <a:pt x="356" y="581"/>
                  </a:cubicBezTo>
                  <a:cubicBezTo>
                    <a:pt x="357" y="577"/>
                    <a:pt x="352" y="579"/>
                    <a:pt x="351" y="577"/>
                  </a:cubicBezTo>
                  <a:cubicBezTo>
                    <a:pt x="349" y="574"/>
                    <a:pt x="353" y="565"/>
                    <a:pt x="348" y="566"/>
                  </a:cubicBezTo>
                  <a:cubicBezTo>
                    <a:pt x="350" y="562"/>
                    <a:pt x="354" y="562"/>
                    <a:pt x="353" y="555"/>
                  </a:cubicBezTo>
                  <a:cubicBezTo>
                    <a:pt x="360" y="556"/>
                    <a:pt x="354" y="568"/>
                    <a:pt x="353" y="570"/>
                  </a:cubicBezTo>
                  <a:cubicBezTo>
                    <a:pt x="353" y="578"/>
                    <a:pt x="363" y="572"/>
                    <a:pt x="367" y="574"/>
                  </a:cubicBezTo>
                  <a:cubicBezTo>
                    <a:pt x="365" y="585"/>
                    <a:pt x="372" y="587"/>
                    <a:pt x="370" y="599"/>
                  </a:cubicBezTo>
                  <a:cubicBezTo>
                    <a:pt x="384" y="595"/>
                    <a:pt x="371" y="585"/>
                    <a:pt x="372" y="570"/>
                  </a:cubicBezTo>
                  <a:cubicBezTo>
                    <a:pt x="376" y="571"/>
                    <a:pt x="376" y="576"/>
                    <a:pt x="380" y="577"/>
                  </a:cubicBezTo>
                  <a:cubicBezTo>
                    <a:pt x="386" y="578"/>
                    <a:pt x="382" y="564"/>
                    <a:pt x="383" y="559"/>
                  </a:cubicBezTo>
                  <a:cubicBezTo>
                    <a:pt x="390" y="562"/>
                    <a:pt x="390" y="554"/>
                    <a:pt x="396" y="555"/>
                  </a:cubicBezTo>
                  <a:cubicBezTo>
                    <a:pt x="397" y="570"/>
                    <a:pt x="403" y="555"/>
                    <a:pt x="410" y="562"/>
                  </a:cubicBezTo>
                  <a:cubicBezTo>
                    <a:pt x="409" y="567"/>
                    <a:pt x="405" y="568"/>
                    <a:pt x="404" y="574"/>
                  </a:cubicBezTo>
                  <a:cubicBezTo>
                    <a:pt x="413" y="576"/>
                    <a:pt x="410" y="563"/>
                    <a:pt x="418" y="566"/>
                  </a:cubicBezTo>
                  <a:cubicBezTo>
                    <a:pt x="419" y="574"/>
                    <a:pt x="426" y="573"/>
                    <a:pt x="421" y="581"/>
                  </a:cubicBezTo>
                  <a:cubicBezTo>
                    <a:pt x="417" y="580"/>
                    <a:pt x="420" y="570"/>
                    <a:pt x="415" y="570"/>
                  </a:cubicBezTo>
                  <a:cubicBezTo>
                    <a:pt x="412" y="571"/>
                    <a:pt x="412" y="577"/>
                    <a:pt x="415" y="577"/>
                  </a:cubicBezTo>
                  <a:cubicBezTo>
                    <a:pt x="415" y="582"/>
                    <a:pt x="415" y="588"/>
                    <a:pt x="418" y="588"/>
                  </a:cubicBezTo>
                  <a:cubicBezTo>
                    <a:pt x="416" y="600"/>
                    <a:pt x="416" y="595"/>
                    <a:pt x="418" y="607"/>
                  </a:cubicBezTo>
                  <a:cubicBezTo>
                    <a:pt x="424" y="609"/>
                    <a:pt x="423" y="602"/>
                    <a:pt x="423" y="596"/>
                  </a:cubicBezTo>
                  <a:cubicBezTo>
                    <a:pt x="426" y="596"/>
                    <a:pt x="426" y="602"/>
                    <a:pt x="426" y="607"/>
                  </a:cubicBezTo>
                  <a:cubicBezTo>
                    <a:pt x="426" y="614"/>
                    <a:pt x="433" y="612"/>
                    <a:pt x="431" y="622"/>
                  </a:cubicBezTo>
                  <a:cubicBezTo>
                    <a:pt x="429" y="620"/>
                    <a:pt x="427" y="618"/>
                    <a:pt x="423" y="618"/>
                  </a:cubicBezTo>
                  <a:cubicBezTo>
                    <a:pt x="416" y="617"/>
                    <a:pt x="427" y="642"/>
                    <a:pt x="415" y="636"/>
                  </a:cubicBezTo>
                  <a:cubicBezTo>
                    <a:pt x="418" y="630"/>
                    <a:pt x="416" y="618"/>
                    <a:pt x="421" y="614"/>
                  </a:cubicBezTo>
                  <a:cubicBezTo>
                    <a:pt x="419" y="611"/>
                    <a:pt x="416" y="609"/>
                    <a:pt x="412" y="607"/>
                  </a:cubicBezTo>
                  <a:cubicBezTo>
                    <a:pt x="407" y="607"/>
                    <a:pt x="412" y="615"/>
                    <a:pt x="412" y="614"/>
                  </a:cubicBezTo>
                  <a:cubicBezTo>
                    <a:pt x="411" y="620"/>
                    <a:pt x="400" y="622"/>
                    <a:pt x="410" y="625"/>
                  </a:cubicBezTo>
                  <a:cubicBezTo>
                    <a:pt x="409" y="629"/>
                    <a:pt x="404" y="628"/>
                    <a:pt x="404" y="633"/>
                  </a:cubicBezTo>
                  <a:cubicBezTo>
                    <a:pt x="405" y="637"/>
                    <a:pt x="409" y="636"/>
                    <a:pt x="412" y="636"/>
                  </a:cubicBezTo>
                  <a:cubicBezTo>
                    <a:pt x="414" y="644"/>
                    <a:pt x="409" y="643"/>
                    <a:pt x="404" y="644"/>
                  </a:cubicBezTo>
                  <a:cubicBezTo>
                    <a:pt x="400" y="653"/>
                    <a:pt x="411" y="651"/>
                    <a:pt x="412" y="655"/>
                  </a:cubicBezTo>
                  <a:cubicBezTo>
                    <a:pt x="415" y="662"/>
                    <a:pt x="408" y="669"/>
                    <a:pt x="415" y="673"/>
                  </a:cubicBezTo>
                  <a:cubicBezTo>
                    <a:pt x="420" y="668"/>
                    <a:pt x="415" y="648"/>
                    <a:pt x="421" y="636"/>
                  </a:cubicBezTo>
                  <a:cubicBezTo>
                    <a:pt x="422" y="638"/>
                    <a:pt x="429" y="651"/>
                    <a:pt x="431" y="640"/>
                  </a:cubicBezTo>
                  <a:cubicBezTo>
                    <a:pt x="437" y="641"/>
                    <a:pt x="432" y="657"/>
                    <a:pt x="439" y="655"/>
                  </a:cubicBezTo>
                  <a:close/>
                  <a:moveTo>
                    <a:pt x="426" y="570"/>
                  </a:moveTo>
                  <a:cubicBezTo>
                    <a:pt x="434" y="566"/>
                    <a:pt x="439" y="597"/>
                    <a:pt x="429" y="596"/>
                  </a:cubicBezTo>
                  <a:cubicBezTo>
                    <a:pt x="427" y="592"/>
                    <a:pt x="431" y="593"/>
                    <a:pt x="431" y="592"/>
                  </a:cubicBezTo>
                  <a:cubicBezTo>
                    <a:pt x="432" y="587"/>
                    <a:pt x="426" y="591"/>
                    <a:pt x="426" y="588"/>
                  </a:cubicBezTo>
                  <a:cubicBezTo>
                    <a:pt x="425" y="583"/>
                    <a:pt x="427" y="576"/>
                    <a:pt x="426" y="570"/>
                  </a:cubicBezTo>
                  <a:close/>
                  <a:moveTo>
                    <a:pt x="437" y="285"/>
                  </a:moveTo>
                  <a:cubicBezTo>
                    <a:pt x="435" y="284"/>
                    <a:pt x="434" y="281"/>
                    <a:pt x="431" y="281"/>
                  </a:cubicBezTo>
                  <a:cubicBezTo>
                    <a:pt x="427" y="283"/>
                    <a:pt x="435" y="294"/>
                    <a:pt x="423" y="292"/>
                  </a:cubicBezTo>
                  <a:cubicBezTo>
                    <a:pt x="425" y="290"/>
                    <a:pt x="427" y="282"/>
                    <a:pt x="423" y="281"/>
                  </a:cubicBezTo>
                  <a:cubicBezTo>
                    <a:pt x="423" y="275"/>
                    <a:pt x="441" y="274"/>
                    <a:pt x="437" y="285"/>
                  </a:cubicBezTo>
                  <a:close/>
                  <a:moveTo>
                    <a:pt x="426" y="30"/>
                  </a:moveTo>
                  <a:cubicBezTo>
                    <a:pt x="426" y="26"/>
                    <a:pt x="426" y="26"/>
                    <a:pt x="426" y="26"/>
                  </a:cubicBezTo>
                  <a:cubicBezTo>
                    <a:pt x="436" y="28"/>
                    <a:pt x="421" y="38"/>
                    <a:pt x="418" y="34"/>
                  </a:cubicBezTo>
                  <a:cubicBezTo>
                    <a:pt x="416" y="31"/>
                    <a:pt x="425" y="30"/>
                    <a:pt x="426" y="30"/>
                  </a:cubicBezTo>
                  <a:close/>
                  <a:moveTo>
                    <a:pt x="407" y="174"/>
                  </a:moveTo>
                  <a:cubicBezTo>
                    <a:pt x="413" y="173"/>
                    <a:pt x="422" y="196"/>
                    <a:pt x="410" y="196"/>
                  </a:cubicBezTo>
                  <a:cubicBezTo>
                    <a:pt x="410" y="193"/>
                    <a:pt x="412" y="193"/>
                    <a:pt x="412" y="189"/>
                  </a:cubicBezTo>
                  <a:cubicBezTo>
                    <a:pt x="410" y="183"/>
                    <a:pt x="404" y="184"/>
                    <a:pt x="399" y="182"/>
                  </a:cubicBezTo>
                  <a:cubicBezTo>
                    <a:pt x="400" y="176"/>
                    <a:pt x="407" y="180"/>
                    <a:pt x="407" y="174"/>
                  </a:cubicBezTo>
                  <a:close/>
                  <a:moveTo>
                    <a:pt x="415" y="252"/>
                  </a:moveTo>
                  <a:cubicBezTo>
                    <a:pt x="415" y="258"/>
                    <a:pt x="413" y="262"/>
                    <a:pt x="410" y="263"/>
                  </a:cubicBezTo>
                  <a:cubicBezTo>
                    <a:pt x="411" y="263"/>
                    <a:pt x="400" y="260"/>
                    <a:pt x="399" y="259"/>
                  </a:cubicBezTo>
                  <a:cubicBezTo>
                    <a:pt x="399" y="259"/>
                    <a:pt x="399" y="256"/>
                    <a:pt x="399" y="255"/>
                  </a:cubicBezTo>
                  <a:cubicBezTo>
                    <a:pt x="396" y="253"/>
                    <a:pt x="393" y="255"/>
                    <a:pt x="394" y="248"/>
                  </a:cubicBezTo>
                  <a:cubicBezTo>
                    <a:pt x="402" y="251"/>
                    <a:pt x="405" y="259"/>
                    <a:pt x="415" y="252"/>
                  </a:cubicBezTo>
                  <a:close/>
                  <a:moveTo>
                    <a:pt x="394" y="185"/>
                  </a:moveTo>
                  <a:cubicBezTo>
                    <a:pt x="391" y="182"/>
                    <a:pt x="388" y="181"/>
                    <a:pt x="383" y="182"/>
                  </a:cubicBezTo>
                  <a:cubicBezTo>
                    <a:pt x="382" y="175"/>
                    <a:pt x="398" y="175"/>
                    <a:pt x="394" y="185"/>
                  </a:cubicBezTo>
                  <a:close/>
                  <a:moveTo>
                    <a:pt x="391" y="248"/>
                  </a:moveTo>
                  <a:cubicBezTo>
                    <a:pt x="389" y="256"/>
                    <a:pt x="374" y="252"/>
                    <a:pt x="372" y="248"/>
                  </a:cubicBezTo>
                  <a:cubicBezTo>
                    <a:pt x="373" y="244"/>
                    <a:pt x="375" y="246"/>
                    <a:pt x="375" y="248"/>
                  </a:cubicBezTo>
                  <a:cubicBezTo>
                    <a:pt x="384" y="251"/>
                    <a:pt x="386" y="241"/>
                    <a:pt x="391" y="248"/>
                  </a:cubicBezTo>
                  <a:close/>
                  <a:moveTo>
                    <a:pt x="340" y="174"/>
                  </a:moveTo>
                  <a:cubicBezTo>
                    <a:pt x="350" y="177"/>
                    <a:pt x="339" y="185"/>
                    <a:pt x="345" y="193"/>
                  </a:cubicBezTo>
                  <a:cubicBezTo>
                    <a:pt x="355" y="195"/>
                    <a:pt x="361" y="181"/>
                    <a:pt x="367" y="189"/>
                  </a:cubicBezTo>
                  <a:cubicBezTo>
                    <a:pt x="367" y="185"/>
                    <a:pt x="366" y="182"/>
                    <a:pt x="364" y="182"/>
                  </a:cubicBezTo>
                  <a:cubicBezTo>
                    <a:pt x="362" y="171"/>
                    <a:pt x="377" y="184"/>
                    <a:pt x="375" y="174"/>
                  </a:cubicBezTo>
                  <a:cubicBezTo>
                    <a:pt x="380" y="177"/>
                    <a:pt x="373" y="200"/>
                    <a:pt x="370" y="204"/>
                  </a:cubicBezTo>
                  <a:cubicBezTo>
                    <a:pt x="368" y="205"/>
                    <a:pt x="367" y="208"/>
                    <a:pt x="364" y="207"/>
                  </a:cubicBezTo>
                  <a:cubicBezTo>
                    <a:pt x="370" y="200"/>
                    <a:pt x="364" y="195"/>
                    <a:pt x="359" y="193"/>
                  </a:cubicBezTo>
                  <a:cubicBezTo>
                    <a:pt x="355" y="191"/>
                    <a:pt x="357" y="199"/>
                    <a:pt x="356" y="200"/>
                  </a:cubicBezTo>
                  <a:cubicBezTo>
                    <a:pt x="352" y="203"/>
                    <a:pt x="345" y="198"/>
                    <a:pt x="340" y="200"/>
                  </a:cubicBezTo>
                  <a:cubicBezTo>
                    <a:pt x="335" y="191"/>
                    <a:pt x="333" y="182"/>
                    <a:pt x="340" y="174"/>
                  </a:cubicBezTo>
                  <a:close/>
                  <a:moveTo>
                    <a:pt x="340" y="300"/>
                  </a:moveTo>
                  <a:cubicBezTo>
                    <a:pt x="339" y="307"/>
                    <a:pt x="334" y="309"/>
                    <a:pt x="335" y="318"/>
                  </a:cubicBezTo>
                  <a:cubicBezTo>
                    <a:pt x="335" y="328"/>
                    <a:pt x="339" y="313"/>
                    <a:pt x="345" y="318"/>
                  </a:cubicBezTo>
                  <a:cubicBezTo>
                    <a:pt x="346" y="312"/>
                    <a:pt x="343" y="311"/>
                    <a:pt x="340" y="311"/>
                  </a:cubicBezTo>
                  <a:cubicBezTo>
                    <a:pt x="340" y="303"/>
                    <a:pt x="349" y="309"/>
                    <a:pt x="353" y="307"/>
                  </a:cubicBezTo>
                  <a:cubicBezTo>
                    <a:pt x="357" y="317"/>
                    <a:pt x="343" y="319"/>
                    <a:pt x="351" y="322"/>
                  </a:cubicBezTo>
                  <a:cubicBezTo>
                    <a:pt x="350" y="326"/>
                    <a:pt x="348" y="324"/>
                    <a:pt x="348" y="322"/>
                  </a:cubicBezTo>
                  <a:cubicBezTo>
                    <a:pt x="340" y="319"/>
                    <a:pt x="340" y="328"/>
                    <a:pt x="332" y="326"/>
                  </a:cubicBezTo>
                  <a:cubicBezTo>
                    <a:pt x="328" y="316"/>
                    <a:pt x="333" y="314"/>
                    <a:pt x="329" y="311"/>
                  </a:cubicBezTo>
                  <a:cubicBezTo>
                    <a:pt x="330" y="307"/>
                    <a:pt x="335" y="308"/>
                    <a:pt x="335" y="304"/>
                  </a:cubicBezTo>
                  <a:cubicBezTo>
                    <a:pt x="335" y="300"/>
                    <a:pt x="338" y="301"/>
                    <a:pt x="340" y="300"/>
                  </a:cubicBezTo>
                  <a:close/>
                  <a:moveTo>
                    <a:pt x="335" y="296"/>
                  </a:moveTo>
                  <a:cubicBezTo>
                    <a:pt x="331" y="294"/>
                    <a:pt x="330" y="288"/>
                    <a:pt x="329" y="281"/>
                  </a:cubicBezTo>
                  <a:cubicBezTo>
                    <a:pt x="334" y="282"/>
                    <a:pt x="335" y="288"/>
                    <a:pt x="335" y="296"/>
                  </a:cubicBezTo>
                  <a:close/>
                  <a:moveTo>
                    <a:pt x="324" y="163"/>
                  </a:moveTo>
                  <a:cubicBezTo>
                    <a:pt x="324" y="170"/>
                    <a:pt x="324" y="178"/>
                    <a:pt x="324" y="185"/>
                  </a:cubicBezTo>
                  <a:cubicBezTo>
                    <a:pt x="327" y="183"/>
                    <a:pt x="327" y="177"/>
                    <a:pt x="332" y="178"/>
                  </a:cubicBezTo>
                  <a:cubicBezTo>
                    <a:pt x="334" y="193"/>
                    <a:pt x="313" y="206"/>
                    <a:pt x="313" y="185"/>
                  </a:cubicBezTo>
                  <a:cubicBezTo>
                    <a:pt x="316" y="185"/>
                    <a:pt x="315" y="190"/>
                    <a:pt x="316" y="193"/>
                  </a:cubicBezTo>
                  <a:cubicBezTo>
                    <a:pt x="321" y="194"/>
                    <a:pt x="320" y="176"/>
                    <a:pt x="313" y="182"/>
                  </a:cubicBezTo>
                  <a:cubicBezTo>
                    <a:pt x="320" y="172"/>
                    <a:pt x="310" y="170"/>
                    <a:pt x="310" y="159"/>
                  </a:cubicBezTo>
                  <a:cubicBezTo>
                    <a:pt x="315" y="152"/>
                    <a:pt x="318" y="161"/>
                    <a:pt x="324" y="163"/>
                  </a:cubicBezTo>
                  <a:close/>
                  <a:moveTo>
                    <a:pt x="308" y="241"/>
                  </a:moveTo>
                  <a:cubicBezTo>
                    <a:pt x="316" y="246"/>
                    <a:pt x="318" y="237"/>
                    <a:pt x="321" y="248"/>
                  </a:cubicBezTo>
                  <a:cubicBezTo>
                    <a:pt x="323" y="246"/>
                    <a:pt x="326" y="244"/>
                    <a:pt x="329" y="244"/>
                  </a:cubicBezTo>
                  <a:cubicBezTo>
                    <a:pt x="330" y="248"/>
                    <a:pt x="328" y="248"/>
                    <a:pt x="326" y="248"/>
                  </a:cubicBezTo>
                  <a:cubicBezTo>
                    <a:pt x="319" y="255"/>
                    <a:pt x="326" y="266"/>
                    <a:pt x="326" y="274"/>
                  </a:cubicBezTo>
                  <a:cubicBezTo>
                    <a:pt x="327" y="282"/>
                    <a:pt x="324" y="291"/>
                    <a:pt x="326" y="296"/>
                  </a:cubicBezTo>
                  <a:cubicBezTo>
                    <a:pt x="323" y="296"/>
                    <a:pt x="319" y="296"/>
                    <a:pt x="318" y="300"/>
                  </a:cubicBezTo>
                  <a:cubicBezTo>
                    <a:pt x="312" y="292"/>
                    <a:pt x="326" y="281"/>
                    <a:pt x="321" y="263"/>
                  </a:cubicBezTo>
                  <a:cubicBezTo>
                    <a:pt x="321" y="266"/>
                    <a:pt x="307" y="266"/>
                    <a:pt x="313" y="259"/>
                  </a:cubicBezTo>
                  <a:cubicBezTo>
                    <a:pt x="313" y="259"/>
                    <a:pt x="318" y="260"/>
                    <a:pt x="318" y="259"/>
                  </a:cubicBezTo>
                  <a:cubicBezTo>
                    <a:pt x="318" y="258"/>
                    <a:pt x="314" y="249"/>
                    <a:pt x="313" y="248"/>
                  </a:cubicBezTo>
                  <a:cubicBezTo>
                    <a:pt x="311" y="247"/>
                    <a:pt x="309" y="251"/>
                    <a:pt x="310" y="252"/>
                  </a:cubicBezTo>
                  <a:cubicBezTo>
                    <a:pt x="314" y="256"/>
                    <a:pt x="310" y="255"/>
                    <a:pt x="308" y="252"/>
                  </a:cubicBezTo>
                  <a:cubicBezTo>
                    <a:pt x="305" y="248"/>
                    <a:pt x="308" y="249"/>
                    <a:pt x="308" y="241"/>
                  </a:cubicBezTo>
                  <a:close/>
                  <a:moveTo>
                    <a:pt x="308" y="270"/>
                  </a:moveTo>
                  <a:cubicBezTo>
                    <a:pt x="308" y="261"/>
                    <a:pt x="312" y="275"/>
                    <a:pt x="318" y="270"/>
                  </a:cubicBezTo>
                  <a:cubicBezTo>
                    <a:pt x="317" y="278"/>
                    <a:pt x="313" y="282"/>
                    <a:pt x="310" y="289"/>
                  </a:cubicBezTo>
                  <a:cubicBezTo>
                    <a:pt x="305" y="287"/>
                    <a:pt x="312" y="273"/>
                    <a:pt x="308" y="270"/>
                  </a:cubicBezTo>
                  <a:close/>
                  <a:moveTo>
                    <a:pt x="313" y="311"/>
                  </a:moveTo>
                  <a:cubicBezTo>
                    <a:pt x="318" y="310"/>
                    <a:pt x="321" y="312"/>
                    <a:pt x="321" y="318"/>
                  </a:cubicBezTo>
                  <a:cubicBezTo>
                    <a:pt x="316" y="317"/>
                    <a:pt x="309" y="317"/>
                    <a:pt x="310" y="307"/>
                  </a:cubicBezTo>
                  <a:cubicBezTo>
                    <a:pt x="303" y="306"/>
                    <a:pt x="313" y="328"/>
                    <a:pt x="302" y="322"/>
                  </a:cubicBezTo>
                  <a:cubicBezTo>
                    <a:pt x="303" y="313"/>
                    <a:pt x="303" y="304"/>
                    <a:pt x="297" y="304"/>
                  </a:cubicBezTo>
                  <a:cubicBezTo>
                    <a:pt x="293" y="305"/>
                    <a:pt x="298" y="308"/>
                    <a:pt x="297" y="315"/>
                  </a:cubicBezTo>
                  <a:cubicBezTo>
                    <a:pt x="289" y="318"/>
                    <a:pt x="292" y="306"/>
                    <a:pt x="292" y="300"/>
                  </a:cubicBezTo>
                  <a:cubicBezTo>
                    <a:pt x="299" y="295"/>
                    <a:pt x="306" y="311"/>
                    <a:pt x="305" y="296"/>
                  </a:cubicBezTo>
                  <a:cubicBezTo>
                    <a:pt x="312" y="295"/>
                    <a:pt x="312" y="304"/>
                    <a:pt x="313" y="311"/>
                  </a:cubicBezTo>
                  <a:close/>
                  <a:moveTo>
                    <a:pt x="292" y="159"/>
                  </a:moveTo>
                  <a:cubicBezTo>
                    <a:pt x="297" y="166"/>
                    <a:pt x="296" y="157"/>
                    <a:pt x="305" y="159"/>
                  </a:cubicBezTo>
                  <a:cubicBezTo>
                    <a:pt x="307" y="167"/>
                    <a:pt x="289" y="173"/>
                    <a:pt x="292" y="159"/>
                  </a:cubicBezTo>
                  <a:close/>
                  <a:moveTo>
                    <a:pt x="286" y="174"/>
                  </a:moveTo>
                  <a:cubicBezTo>
                    <a:pt x="293" y="173"/>
                    <a:pt x="292" y="181"/>
                    <a:pt x="300" y="178"/>
                  </a:cubicBezTo>
                  <a:cubicBezTo>
                    <a:pt x="298" y="181"/>
                    <a:pt x="297" y="184"/>
                    <a:pt x="297" y="189"/>
                  </a:cubicBezTo>
                  <a:cubicBezTo>
                    <a:pt x="293" y="185"/>
                    <a:pt x="285" y="186"/>
                    <a:pt x="286" y="174"/>
                  </a:cubicBezTo>
                  <a:close/>
                  <a:moveTo>
                    <a:pt x="289" y="255"/>
                  </a:moveTo>
                  <a:cubicBezTo>
                    <a:pt x="287" y="255"/>
                    <a:pt x="286" y="252"/>
                    <a:pt x="283" y="252"/>
                  </a:cubicBezTo>
                  <a:cubicBezTo>
                    <a:pt x="283" y="249"/>
                    <a:pt x="283" y="247"/>
                    <a:pt x="283" y="244"/>
                  </a:cubicBezTo>
                  <a:cubicBezTo>
                    <a:pt x="289" y="243"/>
                    <a:pt x="289" y="250"/>
                    <a:pt x="289" y="255"/>
                  </a:cubicBezTo>
                  <a:close/>
                  <a:moveTo>
                    <a:pt x="283" y="189"/>
                  </a:moveTo>
                  <a:cubicBezTo>
                    <a:pt x="278" y="188"/>
                    <a:pt x="282" y="177"/>
                    <a:pt x="275" y="178"/>
                  </a:cubicBezTo>
                  <a:cubicBezTo>
                    <a:pt x="279" y="167"/>
                    <a:pt x="287" y="178"/>
                    <a:pt x="283" y="189"/>
                  </a:cubicBezTo>
                  <a:close/>
                  <a:moveTo>
                    <a:pt x="278" y="248"/>
                  </a:moveTo>
                  <a:cubicBezTo>
                    <a:pt x="274" y="246"/>
                    <a:pt x="273" y="240"/>
                    <a:pt x="273" y="233"/>
                  </a:cubicBezTo>
                  <a:cubicBezTo>
                    <a:pt x="277" y="234"/>
                    <a:pt x="279" y="240"/>
                    <a:pt x="278" y="248"/>
                  </a:cubicBezTo>
                  <a:close/>
                  <a:moveTo>
                    <a:pt x="267" y="174"/>
                  </a:moveTo>
                  <a:cubicBezTo>
                    <a:pt x="269" y="174"/>
                    <a:pt x="271" y="174"/>
                    <a:pt x="273" y="174"/>
                  </a:cubicBezTo>
                  <a:cubicBezTo>
                    <a:pt x="273" y="177"/>
                    <a:pt x="273" y="179"/>
                    <a:pt x="273" y="182"/>
                  </a:cubicBezTo>
                  <a:cubicBezTo>
                    <a:pt x="271" y="182"/>
                    <a:pt x="269" y="182"/>
                    <a:pt x="267" y="182"/>
                  </a:cubicBezTo>
                  <a:cubicBezTo>
                    <a:pt x="267" y="179"/>
                    <a:pt x="267" y="177"/>
                    <a:pt x="267" y="174"/>
                  </a:cubicBezTo>
                  <a:close/>
                  <a:moveTo>
                    <a:pt x="276" y="259"/>
                  </a:moveTo>
                  <a:cubicBezTo>
                    <a:pt x="277" y="257"/>
                    <a:pt x="279" y="253"/>
                    <a:pt x="278" y="252"/>
                  </a:cubicBezTo>
                  <a:cubicBezTo>
                    <a:pt x="281" y="254"/>
                    <a:pt x="279" y="256"/>
                    <a:pt x="281" y="259"/>
                  </a:cubicBezTo>
                  <a:cubicBezTo>
                    <a:pt x="283" y="262"/>
                    <a:pt x="289" y="264"/>
                    <a:pt x="286" y="278"/>
                  </a:cubicBezTo>
                  <a:cubicBezTo>
                    <a:pt x="284" y="284"/>
                    <a:pt x="283" y="275"/>
                    <a:pt x="283" y="270"/>
                  </a:cubicBezTo>
                  <a:cubicBezTo>
                    <a:pt x="284" y="266"/>
                    <a:pt x="275" y="260"/>
                    <a:pt x="270" y="259"/>
                  </a:cubicBezTo>
                  <a:cubicBezTo>
                    <a:pt x="268" y="259"/>
                    <a:pt x="265" y="266"/>
                    <a:pt x="265" y="259"/>
                  </a:cubicBezTo>
                  <a:cubicBezTo>
                    <a:pt x="257" y="254"/>
                    <a:pt x="274" y="257"/>
                    <a:pt x="276" y="259"/>
                  </a:cubicBezTo>
                  <a:close/>
                  <a:moveTo>
                    <a:pt x="259" y="237"/>
                  </a:moveTo>
                  <a:cubicBezTo>
                    <a:pt x="263" y="238"/>
                    <a:pt x="260" y="248"/>
                    <a:pt x="265" y="248"/>
                  </a:cubicBezTo>
                  <a:cubicBezTo>
                    <a:pt x="264" y="257"/>
                    <a:pt x="257" y="245"/>
                    <a:pt x="259" y="237"/>
                  </a:cubicBezTo>
                  <a:close/>
                  <a:moveTo>
                    <a:pt x="257" y="270"/>
                  </a:moveTo>
                  <a:cubicBezTo>
                    <a:pt x="250" y="282"/>
                    <a:pt x="261" y="262"/>
                    <a:pt x="254" y="263"/>
                  </a:cubicBezTo>
                  <a:cubicBezTo>
                    <a:pt x="255" y="249"/>
                    <a:pt x="265" y="271"/>
                    <a:pt x="257" y="270"/>
                  </a:cubicBezTo>
                  <a:close/>
                  <a:moveTo>
                    <a:pt x="251" y="174"/>
                  </a:moveTo>
                  <a:cubicBezTo>
                    <a:pt x="253" y="174"/>
                    <a:pt x="255" y="174"/>
                    <a:pt x="257" y="174"/>
                  </a:cubicBezTo>
                  <a:cubicBezTo>
                    <a:pt x="257" y="177"/>
                    <a:pt x="257" y="179"/>
                    <a:pt x="257" y="182"/>
                  </a:cubicBezTo>
                  <a:cubicBezTo>
                    <a:pt x="255" y="182"/>
                    <a:pt x="253" y="182"/>
                    <a:pt x="251" y="182"/>
                  </a:cubicBezTo>
                  <a:cubicBezTo>
                    <a:pt x="251" y="179"/>
                    <a:pt x="251" y="177"/>
                    <a:pt x="251" y="174"/>
                  </a:cubicBezTo>
                  <a:close/>
                  <a:moveTo>
                    <a:pt x="249" y="289"/>
                  </a:moveTo>
                  <a:cubicBezTo>
                    <a:pt x="251" y="289"/>
                    <a:pt x="251" y="284"/>
                    <a:pt x="251" y="281"/>
                  </a:cubicBezTo>
                  <a:cubicBezTo>
                    <a:pt x="253" y="283"/>
                    <a:pt x="257" y="285"/>
                    <a:pt x="257" y="289"/>
                  </a:cubicBezTo>
                  <a:cubicBezTo>
                    <a:pt x="256" y="289"/>
                    <a:pt x="251" y="293"/>
                    <a:pt x="251" y="292"/>
                  </a:cubicBezTo>
                  <a:cubicBezTo>
                    <a:pt x="251" y="299"/>
                    <a:pt x="257" y="302"/>
                    <a:pt x="254" y="311"/>
                  </a:cubicBezTo>
                  <a:cubicBezTo>
                    <a:pt x="241" y="308"/>
                    <a:pt x="251" y="297"/>
                    <a:pt x="246" y="285"/>
                  </a:cubicBezTo>
                  <a:cubicBezTo>
                    <a:pt x="248" y="284"/>
                    <a:pt x="248" y="286"/>
                    <a:pt x="249" y="289"/>
                  </a:cubicBezTo>
                  <a:close/>
                  <a:moveTo>
                    <a:pt x="243" y="274"/>
                  </a:moveTo>
                  <a:cubicBezTo>
                    <a:pt x="240" y="279"/>
                    <a:pt x="242" y="275"/>
                    <a:pt x="240" y="270"/>
                  </a:cubicBezTo>
                  <a:cubicBezTo>
                    <a:pt x="240" y="270"/>
                    <a:pt x="238" y="270"/>
                    <a:pt x="238" y="270"/>
                  </a:cubicBezTo>
                  <a:cubicBezTo>
                    <a:pt x="238" y="265"/>
                    <a:pt x="240" y="270"/>
                    <a:pt x="240" y="270"/>
                  </a:cubicBezTo>
                  <a:cubicBezTo>
                    <a:pt x="245" y="273"/>
                    <a:pt x="246" y="271"/>
                    <a:pt x="243" y="274"/>
                  </a:cubicBezTo>
                  <a:close/>
                  <a:moveTo>
                    <a:pt x="227" y="304"/>
                  </a:moveTo>
                  <a:cubicBezTo>
                    <a:pt x="226" y="296"/>
                    <a:pt x="239" y="298"/>
                    <a:pt x="235" y="307"/>
                  </a:cubicBezTo>
                  <a:cubicBezTo>
                    <a:pt x="233" y="307"/>
                    <a:pt x="231" y="307"/>
                    <a:pt x="230" y="307"/>
                  </a:cubicBezTo>
                  <a:cubicBezTo>
                    <a:pt x="230" y="304"/>
                    <a:pt x="229" y="304"/>
                    <a:pt x="227" y="304"/>
                  </a:cubicBezTo>
                  <a:close/>
                  <a:moveTo>
                    <a:pt x="235" y="278"/>
                  </a:moveTo>
                  <a:cubicBezTo>
                    <a:pt x="238" y="279"/>
                    <a:pt x="237" y="285"/>
                    <a:pt x="240" y="285"/>
                  </a:cubicBezTo>
                  <a:cubicBezTo>
                    <a:pt x="239" y="295"/>
                    <a:pt x="232" y="285"/>
                    <a:pt x="235" y="278"/>
                  </a:cubicBezTo>
                  <a:close/>
                  <a:moveTo>
                    <a:pt x="235" y="244"/>
                  </a:moveTo>
                  <a:cubicBezTo>
                    <a:pt x="238" y="245"/>
                    <a:pt x="237" y="252"/>
                    <a:pt x="240" y="252"/>
                  </a:cubicBezTo>
                  <a:cubicBezTo>
                    <a:pt x="240" y="255"/>
                    <a:pt x="237" y="255"/>
                    <a:pt x="235" y="255"/>
                  </a:cubicBezTo>
                  <a:cubicBezTo>
                    <a:pt x="235" y="259"/>
                    <a:pt x="236" y="259"/>
                    <a:pt x="238" y="259"/>
                  </a:cubicBezTo>
                  <a:cubicBezTo>
                    <a:pt x="237" y="268"/>
                    <a:pt x="231" y="255"/>
                    <a:pt x="227" y="255"/>
                  </a:cubicBezTo>
                  <a:cubicBezTo>
                    <a:pt x="227" y="251"/>
                    <a:pt x="230" y="253"/>
                    <a:pt x="230" y="255"/>
                  </a:cubicBezTo>
                  <a:cubicBezTo>
                    <a:pt x="232" y="253"/>
                    <a:pt x="234" y="249"/>
                    <a:pt x="235" y="244"/>
                  </a:cubicBezTo>
                  <a:close/>
                  <a:moveTo>
                    <a:pt x="230" y="163"/>
                  </a:moveTo>
                  <a:cubicBezTo>
                    <a:pt x="231" y="162"/>
                    <a:pt x="222" y="159"/>
                    <a:pt x="222" y="159"/>
                  </a:cubicBezTo>
                  <a:cubicBezTo>
                    <a:pt x="221" y="153"/>
                    <a:pt x="236" y="154"/>
                    <a:pt x="230" y="163"/>
                  </a:cubicBezTo>
                  <a:close/>
                  <a:moveTo>
                    <a:pt x="222" y="244"/>
                  </a:moveTo>
                  <a:cubicBezTo>
                    <a:pt x="218" y="243"/>
                    <a:pt x="216" y="240"/>
                    <a:pt x="216" y="233"/>
                  </a:cubicBezTo>
                  <a:cubicBezTo>
                    <a:pt x="219" y="235"/>
                    <a:pt x="222" y="238"/>
                    <a:pt x="222" y="244"/>
                  </a:cubicBezTo>
                  <a:close/>
                  <a:moveTo>
                    <a:pt x="214" y="270"/>
                  </a:moveTo>
                  <a:cubicBezTo>
                    <a:pt x="212" y="260"/>
                    <a:pt x="226" y="273"/>
                    <a:pt x="224" y="263"/>
                  </a:cubicBezTo>
                  <a:cubicBezTo>
                    <a:pt x="230" y="265"/>
                    <a:pt x="220" y="277"/>
                    <a:pt x="222" y="285"/>
                  </a:cubicBezTo>
                  <a:cubicBezTo>
                    <a:pt x="221" y="299"/>
                    <a:pt x="215" y="274"/>
                    <a:pt x="222" y="278"/>
                  </a:cubicBezTo>
                  <a:cubicBezTo>
                    <a:pt x="220" y="274"/>
                    <a:pt x="217" y="272"/>
                    <a:pt x="214" y="270"/>
                  </a:cubicBezTo>
                  <a:close/>
                  <a:moveTo>
                    <a:pt x="216" y="337"/>
                  </a:moveTo>
                  <a:cubicBezTo>
                    <a:pt x="216" y="326"/>
                    <a:pt x="218" y="334"/>
                    <a:pt x="222" y="333"/>
                  </a:cubicBezTo>
                  <a:cubicBezTo>
                    <a:pt x="223" y="333"/>
                    <a:pt x="234" y="322"/>
                    <a:pt x="232" y="337"/>
                  </a:cubicBezTo>
                  <a:cubicBezTo>
                    <a:pt x="238" y="339"/>
                    <a:pt x="242" y="319"/>
                    <a:pt x="232" y="322"/>
                  </a:cubicBezTo>
                  <a:cubicBezTo>
                    <a:pt x="232" y="318"/>
                    <a:pt x="232" y="315"/>
                    <a:pt x="232" y="311"/>
                  </a:cubicBezTo>
                  <a:cubicBezTo>
                    <a:pt x="236" y="315"/>
                    <a:pt x="238" y="321"/>
                    <a:pt x="240" y="326"/>
                  </a:cubicBezTo>
                  <a:cubicBezTo>
                    <a:pt x="241" y="332"/>
                    <a:pt x="238" y="332"/>
                    <a:pt x="238" y="337"/>
                  </a:cubicBezTo>
                  <a:cubicBezTo>
                    <a:pt x="237" y="349"/>
                    <a:pt x="242" y="368"/>
                    <a:pt x="232" y="366"/>
                  </a:cubicBezTo>
                  <a:cubicBezTo>
                    <a:pt x="235" y="356"/>
                    <a:pt x="235" y="351"/>
                    <a:pt x="232" y="341"/>
                  </a:cubicBezTo>
                  <a:cubicBezTo>
                    <a:pt x="226" y="339"/>
                    <a:pt x="234" y="357"/>
                    <a:pt x="224" y="352"/>
                  </a:cubicBezTo>
                  <a:cubicBezTo>
                    <a:pt x="224" y="346"/>
                    <a:pt x="227" y="345"/>
                    <a:pt x="227" y="341"/>
                  </a:cubicBezTo>
                  <a:cubicBezTo>
                    <a:pt x="226" y="328"/>
                    <a:pt x="215" y="347"/>
                    <a:pt x="216" y="337"/>
                  </a:cubicBezTo>
                  <a:close/>
                  <a:moveTo>
                    <a:pt x="211" y="703"/>
                  </a:moveTo>
                  <a:cubicBezTo>
                    <a:pt x="210" y="696"/>
                    <a:pt x="203" y="696"/>
                    <a:pt x="205" y="684"/>
                  </a:cubicBezTo>
                  <a:cubicBezTo>
                    <a:pt x="208" y="684"/>
                    <a:pt x="211" y="684"/>
                    <a:pt x="214" y="684"/>
                  </a:cubicBezTo>
                  <a:cubicBezTo>
                    <a:pt x="216" y="693"/>
                    <a:pt x="215" y="705"/>
                    <a:pt x="222" y="707"/>
                  </a:cubicBezTo>
                  <a:cubicBezTo>
                    <a:pt x="221" y="712"/>
                    <a:pt x="215" y="710"/>
                    <a:pt x="211" y="710"/>
                  </a:cubicBezTo>
                  <a:cubicBezTo>
                    <a:pt x="209" y="707"/>
                    <a:pt x="208" y="704"/>
                    <a:pt x="211" y="703"/>
                  </a:cubicBezTo>
                  <a:close/>
                  <a:moveTo>
                    <a:pt x="214" y="795"/>
                  </a:moveTo>
                  <a:cubicBezTo>
                    <a:pt x="224" y="806"/>
                    <a:pt x="204" y="810"/>
                    <a:pt x="214" y="795"/>
                  </a:cubicBezTo>
                  <a:close/>
                  <a:moveTo>
                    <a:pt x="214" y="788"/>
                  </a:moveTo>
                  <a:cubicBezTo>
                    <a:pt x="212" y="779"/>
                    <a:pt x="218" y="780"/>
                    <a:pt x="216" y="770"/>
                  </a:cubicBezTo>
                  <a:cubicBezTo>
                    <a:pt x="219" y="772"/>
                    <a:pt x="222" y="774"/>
                    <a:pt x="227" y="773"/>
                  </a:cubicBezTo>
                  <a:cubicBezTo>
                    <a:pt x="227" y="777"/>
                    <a:pt x="224" y="776"/>
                    <a:pt x="222" y="777"/>
                  </a:cubicBezTo>
                  <a:cubicBezTo>
                    <a:pt x="221" y="783"/>
                    <a:pt x="224" y="784"/>
                    <a:pt x="227" y="784"/>
                  </a:cubicBezTo>
                  <a:cubicBezTo>
                    <a:pt x="228" y="790"/>
                    <a:pt x="216" y="793"/>
                    <a:pt x="224" y="795"/>
                  </a:cubicBezTo>
                  <a:cubicBezTo>
                    <a:pt x="222" y="806"/>
                    <a:pt x="218" y="787"/>
                    <a:pt x="214" y="788"/>
                  </a:cubicBezTo>
                  <a:close/>
                  <a:moveTo>
                    <a:pt x="227" y="832"/>
                  </a:moveTo>
                  <a:cubicBezTo>
                    <a:pt x="217" y="831"/>
                    <a:pt x="220" y="823"/>
                    <a:pt x="222" y="814"/>
                  </a:cubicBezTo>
                  <a:cubicBezTo>
                    <a:pt x="227" y="814"/>
                    <a:pt x="227" y="823"/>
                    <a:pt x="227" y="832"/>
                  </a:cubicBezTo>
                  <a:close/>
                  <a:moveTo>
                    <a:pt x="227" y="640"/>
                  </a:moveTo>
                  <a:cubicBezTo>
                    <a:pt x="230" y="629"/>
                    <a:pt x="236" y="642"/>
                    <a:pt x="238" y="644"/>
                  </a:cubicBezTo>
                  <a:cubicBezTo>
                    <a:pt x="237" y="653"/>
                    <a:pt x="231" y="640"/>
                    <a:pt x="227" y="640"/>
                  </a:cubicBezTo>
                  <a:close/>
                  <a:moveTo>
                    <a:pt x="232" y="559"/>
                  </a:moveTo>
                  <a:cubicBezTo>
                    <a:pt x="235" y="549"/>
                    <a:pt x="238" y="567"/>
                    <a:pt x="243" y="566"/>
                  </a:cubicBezTo>
                  <a:cubicBezTo>
                    <a:pt x="238" y="579"/>
                    <a:pt x="238" y="557"/>
                    <a:pt x="232" y="559"/>
                  </a:cubicBezTo>
                  <a:close/>
                  <a:moveTo>
                    <a:pt x="240" y="692"/>
                  </a:moveTo>
                  <a:cubicBezTo>
                    <a:pt x="243" y="689"/>
                    <a:pt x="243" y="684"/>
                    <a:pt x="243" y="677"/>
                  </a:cubicBezTo>
                  <a:cubicBezTo>
                    <a:pt x="248" y="676"/>
                    <a:pt x="248" y="698"/>
                    <a:pt x="240" y="692"/>
                  </a:cubicBezTo>
                  <a:close/>
                  <a:moveTo>
                    <a:pt x="246" y="592"/>
                  </a:moveTo>
                  <a:cubicBezTo>
                    <a:pt x="245" y="594"/>
                    <a:pt x="238" y="582"/>
                    <a:pt x="243" y="577"/>
                  </a:cubicBezTo>
                  <a:cubicBezTo>
                    <a:pt x="245" y="576"/>
                    <a:pt x="248" y="590"/>
                    <a:pt x="246" y="592"/>
                  </a:cubicBezTo>
                  <a:close/>
                  <a:moveTo>
                    <a:pt x="238" y="555"/>
                  </a:moveTo>
                  <a:cubicBezTo>
                    <a:pt x="238" y="547"/>
                    <a:pt x="250" y="554"/>
                    <a:pt x="249" y="544"/>
                  </a:cubicBezTo>
                  <a:cubicBezTo>
                    <a:pt x="252" y="550"/>
                    <a:pt x="264" y="545"/>
                    <a:pt x="267" y="551"/>
                  </a:cubicBezTo>
                  <a:cubicBezTo>
                    <a:pt x="262" y="560"/>
                    <a:pt x="249" y="542"/>
                    <a:pt x="249" y="562"/>
                  </a:cubicBezTo>
                  <a:cubicBezTo>
                    <a:pt x="244" y="561"/>
                    <a:pt x="246" y="551"/>
                    <a:pt x="238" y="555"/>
                  </a:cubicBezTo>
                  <a:close/>
                  <a:moveTo>
                    <a:pt x="249" y="651"/>
                  </a:moveTo>
                  <a:cubicBezTo>
                    <a:pt x="258" y="647"/>
                    <a:pt x="253" y="663"/>
                    <a:pt x="254" y="670"/>
                  </a:cubicBezTo>
                  <a:cubicBezTo>
                    <a:pt x="245" y="665"/>
                    <a:pt x="253" y="662"/>
                    <a:pt x="249" y="651"/>
                  </a:cubicBezTo>
                  <a:close/>
                  <a:moveTo>
                    <a:pt x="254" y="847"/>
                  </a:moveTo>
                  <a:cubicBezTo>
                    <a:pt x="250" y="846"/>
                    <a:pt x="252" y="838"/>
                    <a:pt x="251" y="832"/>
                  </a:cubicBezTo>
                  <a:cubicBezTo>
                    <a:pt x="262" y="831"/>
                    <a:pt x="253" y="840"/>
                    <a:pt x="254" y="847"/>
                  </a:cubicBezTo>
                  <a:close/>
                  <a:moveTo>
                    <a:pt x="262" y="633"/>
                  </a:moveTo>
                  <a:cubicBezTo>
                    <a:pt x="250" y="627"/>
                    <a:pt x="264" y="620"/>
                    <a:pt x="262" y="607"/>
                  </a:cubicBezTo>
                  <a:cubicBezTo>
                    <a:pt x="255" y="606"/>
                    <a:pt x="254" y="613"/>
                    <a:pt x="251" y="618"/>
                  </a:cubicBezTo>
                  <a:cubicBezTo>
                    <a:pt x="247" y="616"/>
                    <a:pt x="251" y="615"/>
                    <a:pt x="251" y="611"/>
                  </a:cubicBezTo>
                  <a:cubicBezTo>
                    <a:pt x="250" y="605"/>
                    <a:pt x="254" y="604"/>
                    <a:pt x="254" y="599"/>
                  </a:cubicBezTo>
                  <a:cubicBezTo>
                    <a:pt x="251" y="594"/>
                    <a:pt x="249" y="579"/>
                    <a:pt x="251" y="570"/>
                  </a:cubicBezTo>
                  <a:cubicBezTo>
                    <a:pt x="251" y="569"/>
                    <a:pt x="254" y="570"/>
                    <a:pt x="254" y="566"/>
                  </a:cubicBezTo>
                  <a:cubicBezTo>
                    <a:pt x="254" y="560"/>
                    <a:pt x="255" y="559"/>
                    <a:pt x="259" y="559"/>
                  </a:cubicBezTo>
                  <a:cubicBezTo>
                    <a:pt x="260" y="566"/>
                    <a:pt x="257" y="569"/>
                    <a:pt x="257" y="574"/>
                  </a:cubicBezTo>
                  <a:cubicBezTo>
                    <a:pt x="258" y="582"/>
                    <a:pt x="261" y="569"/>
                    <a:pt x="265" y="577"/>
                  </a:cubicBezTo>
                  <a:cubicBezTo>
                    <a:pt x="261" y="589"/>
                    <a:pt x="265" y="592"/>
                    <a:pt x="262" y="599"/>
                  </a:cubicBezTo>
                  <a:cubicBezTo>
                    <a:pt x="260" y="611"/>
                    <a:pt x="269" y="607"/>
                    <a:pt x="267" y="618"/>
                  </a:cubicBezTo>
                  <a:cubicBezTo>
                    <a:pt x="258" y="618"/>
                    <a:pt x="267" y="623"/>
                    <a:pt x="262" y="633"/>
                  </a:cubicBezTo>
                  <a:close/>
                  <a:moveTo>
                    <a:pt x="265" y="666"/>
                  </a:moveTo>
                  <a:cubicBezTo>
                    <a:pt x="269" y="667"/>
                    <a:pt x="270" y="662"/>
                    <a:pt x="275" y="662"/>
                  </a:cubicBezTo>
                  <a:cubicBezTo>
                    <a:pt x="273" y="664"/>
                    <a:pt x="264" y="682"/>
                    <a:pt x="265" y="666"/>
                  </a:cubicBezTo>
                  <a:close/>
                  <a:moveTo>
                    <a:pt x="278" y="766"/>
                  </a:moveTo>
                  <a:cubicBezTo>
                    <a:pt x="273" y="766"/>
                    <a:pt x="272" y="761"/>
                    <a:pt x="267" y="762"/>
                  </a:cubicBezTo>
                  <a:cubicBezTo>
                    <a:pt x="268" y="758"/>
                    <a:pt x="273" y="758"/>
                    <a:pt x="273" y="762"/>
                  </a:cubicBezTo>
                  <a:cubicBezTo>
                    <a:pt x="275" y="761"/>
                    <a:pt x="278" y="759"/>
                    <a:pt x="278" y="755"/>
                  </a:cubicBezTo>
                  <a:cubicBezTo>
                    <a:pt x="283" y="745"/>
                    <a:pt x="278" y="761"/>
                    <a:pt x="278" y="766"/>
                  </a:cubicBezTo>
                  <a:close/>
                  <a:moveTo>
                    <a:pt x="275" y="721"/>
                  </a:moveTo>
                  <a:cubicBezTo>
                    <a:pt x="275" y="717"/>
                    <a:pt x="280" y="716"/>
                    <a:pt x="281" y="714"/>
                  </a:cubicBezTo>
                  <a:cubicBezTo>
                    <a:pt x="282" y="710"/>
                    <a:pt x="272" y="697"/>
                    <a:pt x="283" y="699"/>
                  </a:cubicBezTo>
                  <a:cubicBezTo>
                    <a:pt x="283" y="702"/>
                    <a:pt x="281" y="703"/>
                    <a:pt x="281" y="707"/>
                  </a:cubicBezTo>
                  <a:cubicBezTo>
                    <a:pt x="279" y="713"/>
                    <a:pt x="288" y="712"/>
                    <a:pt x="289" y="714"/>
                  </a:cubicBezTo>
                  <a:cubicBezTo>
                    <a:pt x="290" y="718"/>
                    <a:pt x="284" y="717"/>
                    <a:pt x="283" y="718"/>
                  </a:cubicBezTo>
                  <a:cubicBezTo>
                    <a:pt x="282" y="723"/>
                    <a:pt x="292" y="724"/>
                    <a:pt x="289" y="733"/>
                  </a:cubicBezTo>
                  <a:cubicBezTo>
                    <a:pt x="279" y="737"/>
                    <a:pt x="285" y="719"/>
                    <a:pt x="275" y="721"/>
                  </a:cubicBezTo>
                  <a:close/>
                  <a:moveTo>
                    <a:pt x="281" y="766"/>
                  </a:moveTo>
                  <a:cubicBezTo>
                    <a:pt x="281" y="759"/>
                    <a:pt x="288" y="761"/>
                    <a:pt x="286" y="751"/>
                  </a:cubicBezTo>
                  <a:cubicBezTo>
                    <a:pt x="292" y="753"/>
                    <a:pt x="290" y="773"/>
                    <a:pt x="281" y="766"/>
                  </a:cubicBezTo>
                  <a:close/>
                  <a:moveTo>
                    <a:pt x="286" y="648"/>
                  </a:moveTo>
                  <a:cubicBezTo>
                    <a:pt x="286" y="643"/>
                    <a:pt x="286" y="638"/>
                    <a:pt x="286" y="633"/>
                  </a:cubicBezTo>
                  <a:cubicBezTo>
                    <a:pt x="289" y="634"/>
                    <a:pt x="291" y="636"/>
                    <a:pt x="292" y="640"/>
                  </a:cubicBezTo>
                  <a:cubicBezTo>
                    <a:pt x="294" y="640"/>
                    <a:pt x="294" y="636"/>
                    <a:pt x="294" y="633"/>
                  </a:cubicBezTo>
                  <a:cubicBezTo>
                    <a:pt x="304" y="636"/>
                    <a:pt x="296" y="650"/>
                    <a:pt x="286" y="648"/>
                  </a:cubicBezTo>
                  <a:close/>
                  <a:moveTo>
                    <a:pt x="297" y="777"/>
                  </a:moveTo>
                  <a:cubicBezTo>
                    <a:pt x="298" y="784"/>
                    <a:pt x="296" y="789"/>
                    <a:pt x="292" y="788"/>
                  </a:cubicBezTo>
                  <a:cubicBezTo>
                    <a:pt x="292" y="782"/>
                    <a:pt x="292" y="776"/>
                    <a:pt x="292" y="770"/>
                  </a:cubicBezTo>
                  <a:cubicBezTo>
                    <a:pt x="294" y="772"/>
                    <a:pt x="299" y="775"/>
                    <a:pt x="300" y="770"/>
                  </a:cubicBezTo>
                  <a:cubicBezTo>
                    <a:pt x="304" y="772"/>
                    <a:pt x="301" y="778"/>
                    <a:pt x="297" y="777"/>
                  </a:cubicBezTo>
                  <a:close/>
                  <a:moveTo>
                    <a:pt x="300" y="755"/>
                  </a:moveTo>
                  <a:cubicBezTo>
                    <a:pt x="300" y="755"/>
                    <a:pt x="300" y="750"/>
                    <a:pt x="302" y="751"/>
                  </a:cubicBezTo>
                  <a:cubicBezTo>
                    <a:pt x="300" y="751"/>
                    <a:pt x="306" y="756"/>
                    <a:pt x="305" y="755"/>
                  </a:cubicBezTo>
                  <a:cubicBezTo>
                    <a:pt x="307" y="759"/>
                    <a:pt x="286" y="756"/>
                    <a:pt x="300" y="755"/>
                  </a:cubicBezTo>
                  <a:close/>
                  <a:moveTo>
                    <a:pt x="361" y="825"/>
                  </a:moveTo>
                  <a:cubicBezTo>
                    <a:pt x="360" y="824"/>
                    <a:pt x="355" y="827"/>
                    <a:pt x="353" y="825"/>
                  </a:cubicBezTo>
                  <a:cubicBezTo>
                    <a:pt x="353" y="824"/>
                    <a:pt x="354" y="818"/>
                    <a:pt x="353" y="818"/>
                  </a:cubicBezTo>
                  <a:cubicBezTo>
                    <a:pt x="348" y="814"/>
                    <a:pt x="338" y="818"/>
                    <a:pt x="337" y="807"/>
                  </a:cubicBezTo>
                  <a:cubicBezTo>
                    <a:pt x="325" y="808"/>
                    <a:pt x="318" y="804"/>
                    <a:pt x="316" y="792"/>
                  </a:cubicBezTo>
                  <a:cubicBezTo>
                    <a:pt x="312" y="796"/>
                    <a:pt x="309" y="796"/>
                    <a:pt x="305" y="792"/>
                  </a:cubicBezTo>
                  <a:cubicBezTo>
                    <a:pt x="304" y="780"/>
                    <a:pt x="310" y="776"/>
                    <a:pt x="308" y="762"/>
                  </a:cubicBezTo>
                  <a:cubicBezTo>
                    <a:pt x="311" y="748"/>
                    <a:pt x="310" y="801"/>
                    <a:pt x="316" y="773"/>
                  </a:cubicBezTo>
                  <a:cubicBezTo>
                    <a:pt x="325" y="774"/>
                    <a:pt x="309" y="789"/>
                    <a:pt x="318" y="792"/>
                  </a:cubicBezTo>
                  <a:cubicBezTo>
                    <a:pt x="322" y="787"/>
                    <a:pt x="322" y="778"/>
                    <a:pt x="326" y="773"/>
                  </a:cubicBezTo>
                  <a:cubicBezTo>
                    <a:pt x="326" y="771"/>
                    <a:pt x="326" y="768"/>
                    <a:pt x="326" y="766"/>
                  </a:cubicBezTo>
                  <a:cubicBezTo>
                    <a:pt x="330" y="766"/>
                    <a:pt x="329" y="773"/>
                    <a:pt x="329" y="777"/>
                  </a:cubicBezTo>
                  <a:cubicBezTo>
                    <a:pt x="329" y="781"/>
                    <a:pt x="333" y="779"/>
                    <a:pt x="335" y="781"/>
                  </a:cubicBezTo>
                  <a:cubicBezTo>
                    <a:pt x="337" y="785"/>
                    <a:pt x="334" y="793"/>
                    <a:pt x="337" y="795"/>
                  </a:cubicBezTo>
                  <a:cubicBezTo>
                    <a:pt x="342" y="794"/>
                    <a:pt x="339" y="781"/>
                    <a:pt x="348" y="784"/>
                  </a:cubicBezTo>
                  <a:cubicBezTo>
                    <a:pt x="347" y="789"/>
                    <a:pt x="343" y="790"/>
                    <a:pt x="343" y="795"/>
                  </a:cubicBezTo>
                  <a:cubicBezTo>
                    <a:pt x="343" y="803"/>
                    <a:pt x="352" y="791"/>
                    <a:pt x="359" y="795"/>
                  </a:cubicBezTo>
                  <a:cubicBezTo>
                    <a:pt x="359" y="813"/>
                    <a:pt x="366" y="808"/>
                    <a:pt x="361" y="825"/>
                  </a:cubicBezTo>
                  <a:close/>
                  <a:moveTo>
                    <a:pt x="415" y="851"/>
                  </a:moveTo>
                  <a:cubicBezTo>
                    <a:pt x="407" y="853"/>
                    <a:pt x="414" y="833"/>
                    <a:pt x="404" y="836"/>
                  </a:cubicBezTo>
                  <a:cubicBezTo>
                    <a:pt x="400" y="838"/>
                    <a:pt x="405" y="841"/>
                    <a:pt x="404" y="847"/>
                  </a:cubicBezTo>
                  <a:cubicBezTo>
                    <a:pt x="399" y="847"/>
                    <a:pt x="401" y="840"/>
                    <a:pt x="399" y="836"/>
                  </a:cubicBezTo>
                  <a:cubicBezTo>
                    <a:pt x="396" y="830"/>
                    <a:pt x="395" y="830"/>
                    <a:pt x="391" y="825"/>
                  </a:cubicBezTo>
                  <a:cubicBezTo>
                    <a:pt x="387" y="828"/>
                    <a:pt x="392" y="831"/>
                    <a:pt x="388" y="840"/>
                  </a:cubicBezTo>
                  <a:cubicBezTo>
                    <a:pt x="386" y="840"/>
                    <a:pt x="386" y="835"/>
                    <a:pt x="386" y="832"/>
                  </a:cubicBezTo>
                  <a:cubicBezTo>
                    <a:pt x="378" y="829"/>
                    <a:pt x="379" y="838"/>
                    <a:pt x="372" y="836"/>
                  </a:cubicBezTo>
                  <a:cubicBezTo>
                    <a:pt x="371" y="835"/>
                    <a:pt x="368" y="818"/>
                    <a:pt x="367" y="829"/>
                  </a:cubicBezTo>
                  <a:cubicBezTo>
                    <a:pt x="361" y="830"/>
                    <a:pt x="367" y="818"/>
                    <a:pt x="370" y="818"/>
                  </a:cubicBezTo>
                  <a:cubicBezTo>
                    <a:pt x="367" y="809"/>
                    <a:pt x="365" y="798"/>
                    <a:pt x="378" y="795"/>
                  </a:cubicBezTo>
                  <a:cubicBezTo>
                    <a:pt x="376" y="803"/>
                    <a:pt x="383" y="804"/>
                    <a:pt x="383" y="799"/>
                  </a:cubicBezTo>
                  <a:cubicBezTo>
                    <a:pt x="388" y="802"/>
                    <a:pt x="383" y="806"/>
                    <a:pt x="383" y="810"/>
                  </a:cubicBezTo>
                  <a:cubicBezTo>
                    <a:pt x="386" y="817"/>
                    <a:pt x="386" y="807"/>
                    <a:pt x="391" y="814"/>
                  </a:cubicBezTo>
                  <a:cubicBezTo>
                    <a:pt x="397" y="822"/>
                    <a:pt x="394" y="802"/>
                    <a:pt x="402" y="807"/>
                  </a:cubicBezTo>
                  <a:cubicBezTo>
                    <a:pt x="403" y="816"/>
                    <a:pt x="403" y="827"/>
                    <a:pt x="407" y="832"/>
                  </a:cubicBezTo>
                  <a:cubicBezTo>
                    <a:pt x="415" y="832"/>
                    <a:pt x="401" y="822"/>
                    <a:pt x="412" y="825"/>
                  </a:cubicBezTo>
                  <a:cubicBezTo>
                    <a:pt x="410" y="838"/>
                    <a:pt x="417" y="839"/>
                    <a:pt x="415" y="851"/>
                  </a:cubicBezTo>
                  <a:close/>
                  <a:moveTo>
                    <a:pt x="466" y="866"/>
                  </a:moveTo>
                  <a:cubicBezTo>
                    <a:pt x="465" y="863"/>
                    <a:pt x="475" y="860"/>
                    <a:pt x="477" y="862"/>
                  </a:cubicBezTo>
                  <a:cubicBezTo>
                    <a:pt x="478" y="864"/>
                    <a:pt x="470" y="873"/>
                    <a:pt x="466" y="866"/>
                  </a:cubicBezTo>
                  <a:close/>
                  <a:moveTo>
                    <a:pt x="485" y="807"/>
                  </a:moveTo>
                  <a:cubicBezTo>
                    <a:pt x="482" y="797"/>
                    <a:pt x="477" y="818"/>
                    <a:pt x="472" y="818"/>
                  </a:cubicBezTo>
                  <a:cubicBezTo>
                    <a:pt x="468" y="837"/>
                    <a:pt x="482" y="845"/>
                    <a:pt x="474" y="858"/>
                  </a:cubicBezTo>
                  <a:cubicBezTo>
                    <a:pt x="469" y="858"/>
                    <a:pt x="473" y="846"/>
                    <a:pt x="469" y="844"/>
                  </a:cubicBezTo>
                  <a:cubicBezTo>
                    <a:pt x="464" y="843"/>
                    <a:pt x="468" y="855"/>
                    <a:pt x="466" y="858"/>
                  </a:cubicBezTo>
                  <a:cubicBezTo>
                    <a:pt x="466" y="859"/>
                    <a:pt x="454" y="847"/>
                    <a:pt x="458" y="862"/>
                  </a:cubicBezTo>
                  <a:cubicBezTo>
                    <a:pt x="451" y="866"/>
                    <a:pt x="445" y="851"/>
                    <a:pt x="442" y="862"/>
                  </a:cubicBezTo>
                  <a:cubicBezTo>
                    <a:pt x="438" y="857"/>
                    <a:pt x="439" y="844"/>
                    <a:pt x="431" y="844"/>
                  </a:cubicBezTo>
                  <a:cubicBezTo>
                    <a:pt x="428" y="844"/>
                    <a:pt x="429" y="851"/>
                    <a:pt x="431" y="851"/>
                  </a:cubicBezTo>
                  <a:cubicBezTo>
                    <a:pt x="430" y="862"/>
                    <a:pt x="418" y="849"/>
                    <a:pt x="418" y="847"/>
                  </a:cubicBezTo>
                  <a:cubicBezTo>
                    <a:pt x="418" y="845"/>
                    <a:pt x="426" y="835"/>
                    <a:pt x="415" y="836"/>
                  </a:cubicBezTo>
                  <a:cubicBezTo>
                    <a:pt x="415" y="829"/>
                    <a:pt x="419" y="828"/>
                    <a:pt x="418" y="821"/>
                  </a:cubicBezTo>
                  <a:cubicBezTo>
                    <a:pt x="428" y="819"/>
                    <a:pt x="430" y="827"/>
                    <a:pt x="429" y="840"/>
                  </a:cubicBezTo>
                  <a:cubicBezTo>
                    <a:pt x="431" y="838"/>
                    <a:pt x="433" y="836"/>
                    <a:pt x="437" y="836"/>
                  </a:cubicBezTo>
                  <a:cubicBezTo>
                    <a:pt x="437" y="830"/>
                    <a:pt x="435" y="827"/>
                    <a:pt x="431" y="825"/>
                  </a:cubicBezTo>
                  <a:cubicBezTo>
                    <a:pt x="431" y="814"/>
                    <a:pt x="439" y="834"/>
                    <a:pt x="439" y="821"/>
                  </a:cubicBezTo>
                  <a:cubicBezTo>
                    <a:pt x="444" y="822"/>
                    <a:pt x="441" y="834"/>
                    <a:pt x="445" y="836"/>
                  </a:cubicBezTo>
                  <a:cubicBezTo>
                    <a:pt x="447" y="834"/>
                    <a:pt x="448" y="828"/>
                    <a:pt x="453" y="829"/>
                  </a:cubicBezTo>
                  <a:cubicBezTo>
                    <a:pt x="455" y="839"/>
                    <a:pt x="447" y="836"/>
                    <a:pt x="447" y="844"/>
                  </a:cubicBezTo>
                  <a:cubicBezTo>
                    <a:pt x="450" y="855"/>
                    <a:pt x="455" y="832"/>
                    <a:pt x="458" y="836"/>
                  </a:cubicBezTo>
                  <a:cubicBezTo>
                    <a:pt x="462" y="842"/>
                    <a:pt x="461" y="833"/>
                    <a:pt x="469" y="832"/>
                  </a:cubicBezTo>
                  <a:cubicBezTo>
                    <a:pt x="470" y="824"/>
                    <a:pt x="464" y="824"/>
                    <a:pt x="466" y="814"/>
                  </a:cubicBezTo>
                  <a:cubicBezTo>
                    <a:pt x="475" y="817"/>
                    <a:pt x="471" y="804"/>
                    <a:pt x="480" y="807"/>
                  </a:cubicBezTo>
                  <a:cubicBezTo>
                    <a:pt x="479" y="802"/>
                    <a:pt x="475" y="803"/>
                    <a:pt x="472" y="803"/>
                  </a:cubicBezTo>
                  <a:cubicBezTo>
                    <a:pt x="478" y="789"/>
                    <a:pt x="490" y="800"/>
                    <a:pt x="496" y="807"/>
                  </a:cubicBezTo>
                  <a:cubicBezTo>
                    <a:pt x="497" y="820"/>
                    <a:pt x="478" y="810"/>
                    <a:pt x="485" y="807"/>
                  </a:cubicBezTo>
                  <a:close/>
                  <a:moveTo>
                    <a:pt x="493" y="858"/>
                  </a:moveTo>
                  <a:cubicBezTo>
                    <a:pt x="490" y="857"/>
                    <a:pt x="488" y="854"/>
                    <a:pt x="488" y="847"/>
                  </a:cubicBezTo>
                  <a:cubicBezTo>
                    <a:pt x="491" y="849"/>
                    <a:pt x="493" y="852"/>
                    <a:pt x="493" y="858"/>
                  </a:cubicBezTo>
                  <a:close/>
                  <a:moveTo>
                    <a:pt x="501" y="877"/>
                  </a:moveTo>
                  <a:cubicBezTo>
                    <a:pt x="499" y="877"/>
                    <a:pt x="499" y="872"/>
                    <a:pt x="499" y="869"/>
                  </a:cubicBezTo>
                  <a:cubicBezTo>
                    <a:pt x="494" y="869"/>
                    <a:pt x="493" y="874"/>
                    <a:pt x="488" y="873"/>
                  </a:cubicBezTo>
                  <a:cubicBezTo>
                    <a:pt x="488" y="869"/>
                    <a:pt x="488" y="866"/>
                    <a:pt x="488" y="862"/>
                  </a:cubicBezTo>
                  <a:cubicBezTo>
                    <a:pt x="492" y="867"/>
                    <a:pt x="510" y="865"/>
                    <a:pt x="501" y="877"/>
                  </a:cubicBezTo>
                  <a:close/>
                  <a:moveTo>
                    <a:pt x="590" y="45"/>
                  </a:moveTo>
                  <a:cubicBezTo>
                    <a:pt x="589" y="30"/>
                    <a:pt x="606" y="42"/>
                    <a:pt x="606" y="30"/>
                  </a:cubicBezTo>
                  <a:cubicBezTo>
                    <a:pt x="613" y="35"/>
                    <a:pt x="593" y="53"/>
                    <a:pt x="590" y="45"/>
                  </a:cubicBezTo>
                  <a:close/>
                  <a:moveTo>
                    <a:pt x="612" y="137"/>
                  </a:moveTo>
                  <a:cubicBezTo>
                    <a:pt x="609" y="136"/>
                    <a:pt x="609" y="133"/>
                    <a:pt x="606" y="133"/>
                  </a:cubicBezTo>
                  <a:cubicBezTo>
                    <a:pt x="606" y="125"/>
                    <a:pt x="619" y="130"/>
                    <a:pt x="612" y="137"/>
                  </a:cubicBezTo>
                  <a:close/>
                  <a:moveTo>
                    <a:pt x="636" y="126"/>
                  </a:moveTo>
                  <a:cubicBezTo>
                    <a:pt x="647" y="128"/>
                    <a:pt x="633" y="147"/>
                    <a:pt x="636" y="126"/>
                  </a:cubicBezTo>
                  <a:close/>
                  <a:moveTo>
                    <a:pt x="644" y="137"/>
                  </a:moveTo>
                  <a:cubicBezTo>
                    <a:pt x="645" y="127"/>
                    <a:pt x="658" y="120"/>
                    <a:pt x="657" y="137"/>
                  </a:cubicBezTo>
                  <a:cubicBezTo>
                    <a:pt x="652" y="144"/>
                    <a:pt x="652" y="135"/>
                    <a:pt x="644" y="137"/>
                  </a:cubicBezTo>
                  <a:close/>
                  <a:moveTo>
                    <a:pt x="708" y="137"/>
                  </a:moveTo>
                  <a:cubicBezTo>
                    <a:pt x="703" y="138"/>
                    <a:pt x="700" y="136"/>
                    <a:pt x="700" y="130"/>
                  </a:cubicBezTo>
                  <a:cubicBezTo>
                    <a:pt x="704" y="126"/>
                    <a:pt x="707" y="133"/>
                    <a:pt x="708" y="133"/>
                  </a:cubicBezTo>
                  <a:cubicBezTo>
                    <a:pt x="713" y="134"/>
                    <a:pt x="715" y="127"/>
                    <a:pt x="716" y="133"/>
                  </a:cubicBezTo>
                  <a:cubicBezTo>
                    <a:pt x="718" y="146"/>
                    <a:pt x="711" y="139"/>
                    <a:pt x="708" y="137"/>
                  </a:cubicBezTo>
                  <a:close/>
                  <a:moveTo>
                    <a:pt x="716" y="100"/>
                  </a:moveTo>
                  <a:cubicBezTo>
                    <a:pt x="719" y="100"/>
                    <a:pt x="722" y="100"/>
                    <a:pt x="724" y="100"/>
                  </a:cubicBezTo>
                  <a:cubicBezTo>
                    <a:pt x="723" y="111"/>
                    <a:pt x="696" y="99"/>
                    <a:pt x="716" y="100"/>
                  </a:cubicBezTo>
                  <a:close/>
                  <a:moveTo>
                    <a:pt x="792" y="115"/>
                  </a:moveTo>
                  <a:cubicBezTo>
                    <a:pt x="786" y="114"/>
                    <a:pt x="786" y="106"/>
                    <a:pt x="786" y="96"/>
                  </a:cubicBezTo>
                  <a:cubicBezTo>
                    <a:pt x="791" y="96"/>
                    <a:pt x="795" y="96"/>
                    <a:pt x="800" y="96"/>
                  </a:cubicBezTo>
                  <a:cubicBezTo>
                    <a:pt x="797" y="103"/>
                    <a:pt x="793" y="107"/>
                    <a:pt x="792" y="115"/>
                  </a:cubicBezTo>
                  <a:close/>
                  <a:moveTo>
                    <a:pt x="816" y="111"/>
                  </a:moveTo>
                  <a:cubicBezTo>
                    <a:pt x="812" y="108"/>
                    <a:pt x="810" y="102"/>
                    <a:pt x="810" y="93"/>
                  </a:cubicBezTo>
                  <a:cubicBezTo>
                    <a:pt x="815" y="90"/>
                    <a:pt x="820" y="87"/>
                    <a:pt x="827" y="85"/>
                  </a:cubicBezTo>
                  <a:cubicBezTo>
                    <a:pt x="830" y="104"/>
                    <a:pt x="818" y="101"/>
                    <a:pt x="816" y="111"/>
                  </a:cubicBezTo>
                  <a:close/>
                  <a:moveTo>
                    <a:pt x="827" y="126"/>
                  </a:moveTo>
                  <a:cubicBezTo>
                    <a:pt x="827" y="121"/>
                    <a:pt x="835" y="125"/>
                    <a:pt x="835" y="119"/>
                  </a:cubicBezTo>
                  <a:cubicBezTo>
                    <a:pt x="843" y="123"/>
                    <a:pt x="829" y="134"/>
                    <a:pt x="827" y="126"/>
                  </a:cubicBezTo>
                  <a:close/>
                  <a:moveTo>
                    <a:pt x="870" y="152"/>
                  </a:moveTo>
                  <a:cubicBezTo>
                    <a:pt x="867" y="153"/>
                    <a:pt x="865" y="157"/>
                    <a:pt x="862" y="156"/>
                  </a:cubicBezTo>
                  <a:cubicBezTo>
                    <a:pt x="861" y="156"/>
                    <a:pt x="861" y="152"/>
                    <a:pt x="859" y="152"/>
                  </a:cubicBezTo>
                  <a:cubicBezTo>
                    <a:pt x="857" y="152"/>
                    <a:pt x="855" y="147"/>
                    <a:pt x="851" y="148"/>
                  </a:cubicBezTo>
                  <a:cubicBezTo>
                    <a:pt x="853" y="142"/>
                    <a:pt x="873" y="142"/>
                    <a:pt x="875" y="148"/>
                  </a:cubicBezTo>
                  <a:cubicBezTo>
                    <a:pt x="875" y="159"/>
                    <a:pt x="873" y="151"/>
                    <a:pt x="870" y="152"/>
                  </a:cubicBezTo>
                  <a:close/>
                  <a:moveTo>
                    <a:pt x="859" y="133"/>
                  </a:moveTo>
                  <a:cubicBezTo>
                    <a:pt x="859" y="128"/>
                    <a:pt x="859" y="123"/>
                    <a:pt x="856" y="122"/>
                  </a:cubicBezTo>
                  <a:cubicBezTo>
                    <a:pt x="860" y="114"/>
                    <a:pt x="871" y="127"/>
                    <a:pt x="878" y="126"/>
                  </a:cubicBezTo>
                  <a:cubicBezTo>
                    <a:pt x="872" y="133"/>
                    <a:pt x="867" y="138"/>
                    <a:pt x="859" y="133"/>
                  </a:cubicBezTo>
                  <a:close/>
                  <a:moveTo>
                    <a:pt x="886" y="104"/>
                  </a:moveTo>
                  <a:cubicBezTo>
                    <a:pt x="884" y="104"/>
                    <a:pt x="882" y="104"/>
                    <a:pt x="880" y="104"/>
                  </a:cubicBezTo>
                  <a:cubicBezTo>
                    <a:pt x="880" y="101"/>
                    <a:pt x="880" y="99"/>
                    <a:pt x="880" y="96"/>
                  </a:cubicBezTo>
                  <a:cubicBezTo>
                    <a:pt x="882" y="96"/>
                    <a:pt x="884" y="96"/>
                    <a:pt x="886" y="96"/>
                  </a:cubicBezTo>
                  <a:cubicBezTo>
                    <a:pt x="886" y="99"/>
                    <a:pt x="886" y="101"/>
                    <a:pt x="886" y="104"/>
                  </a:cubicBezTo>
                  <a:close/>
                  <a:moveTo>
                    <a:pt x="913" y="1239"/>
                  </a:moveTo>
                  <a:cubicBezTo>
                    <a:pt x="909" y="1234"/>
                    <a:pt x="912" y="1233"/>
                    <a:pt x="913" y="1228"/>
                  </a:cubicBezTo>
                  <a:cubicBezTo>
                    <a:pt x="916" y="1229"/>
                    <a:pt x="914" y="1235"/>
                    <a:pt x="918" y="1235"/>
                  </a:cubicBezTo>
                  <a:cubicBezTo>
                    <a:pt x="918" y="1239"/>
                    <a:pt x="915" y="1238"/>
                    <a:pt x="913" y="1239"/>
                  </a:cubicBezTo>
                  <a:close/>
                  <a:moveTo>
                    <a:pt x="926" y="119"/>
                  </a:moveTo>
                  <a:cubicBezTo>
                    <a:pt x="923" y="118"/>
                    <a:pt x="924" y="112"/>
                    <a:pt x="923" y="108"/>
                  </a:cubicBezTo>
                  <a:cubicBezTo>
                    <a:pt x="926" y="108"/>
                    <a:pt x="929" y="108"/>
                    <a:pt x="931" y="108"/>
                  </a:cubicBezTo>
                  <a:cubicBezTo>
                    <a:pt x="931" y="112"/>
                    <a:pt x="927" y="113"/>
                    <a:pt x="926" y="119"/>
                  </a:cubicBezTo>
                  <a:close/>
                  <a:moveTo>
                    <a:pt x="931" y="673"/>
                  </a:moveTo>
                  <a:cubicBezTo>
                    <a:pt x="928" y="672"/>
                    <a:pt x="929" y="664"/>
                    <a:pt x="929" y="659"/>
                  </a:cubicBezTo>
                  <a:cubicBezTo>
                    <a:pt x="935" y="660"/>
                    <a:pt x="935" y="668"/>
                    <a:pt x="931" y="673"/>
                  </a:cubicBezTo>
                  <a:close/>
                  <a:moveTo>
                    <a:pt x="956" y="385"/>
                  </a:moveTo>
                  <a:cubicBezTo>
                    <a:pt x="954" y="385"/>
                    <a:pt x="952" y="385"/>
                    <a:pt x="950" y="385"/>
                  </a:cubicBezTo>
                  <a:cubicBezTo>
                    <a:pt x="951" y="382"/>
                    <a:pt x="949" y="381"/>
                    <a:pt x="948" y="381"/>
                  </a:cubicBezTo>
                  <a:cubicBezTo>
                    <a:pt x="947" y="374"/>
                    <a:pt x="960" y="376"/>
                    <a:pt x="956" y="385"/>
                  </a:cubicBezTo>
                  <a:close/>
                  <a:moveTo>
                    <a:pt x="977" y="111"/>
                  </a:moveTo>
                  <a:cubicBezTo>
                    <a:pt x="977" y="108"/>
                    <a:pt x="977" y="104"/>
                    <a:pt x="977" y="100"/>
                  </a:cubicBezTo>
                  <a:cubicBezTo>
                    <a:pt x="980" y="100"/>
                    <a:pt x="983" y="100"/>
                    <a:pt x="985" y="100"/>
                  </a:cubicBezTo>
                  <a:cubicBezTo>
                    <a:pt x="982" y="104"/>
                    <a:pt x="984" y="114"/>
                    <a:pt x="977" y="111"/>
                  </a:cubicBezTo>
                  <a:close/>
                  <a:moveTo>
                    <a:pt x="993" y="688"/>
                  </a:moveTo>
                  <a:cubicBezTo>
                    <a:pt x="993" y="684"/>
                    <a:pt x="993" y="681"/>
                    <a:pt x="993" y="677"/>
                  </a:cubicBezTo>
                  <a:cubicBezTo>
                    <a:pt x="1001" y="672"/>
                    <a:pt x="1001" y="694"/>
                    <a:pt x="993" y="688"/>
                  </a:cubicBezTo>
                  <a:close/>
                  <a:moveTo>
                    <a:pt x="1009" y="1254"/>
                  </a:moveTo>
                  <a:cubicBezTo>
                    <a:pt x="1008" y="1254"/>
                    <a:pt x="1006" y="1254"/>
                    <a:pt x="1004" y="1254"/>
                  </a:cubicBezTo>
                  <a:cubicBezTo>
                    <a:pt x="1003" y="1244"/>
                    <a:pt x="1005" y="1238"/>
                    <a:pt x="1012" y="1239"/>
                  </a:cubicBezTo>
                  <a:cubicBezTo>
                    <a:pt x="1010" y="1242"/>
                    <a:pt x="1008" y="1249"/>
                    <a:pt x="1012" y="1250"/>
                  </a:cubicBezTo>
                  <a:cubicBezTo>
                    <a:pt x="1013" y="1254"/>
                    <a:pt x="1011" y="1254"/>
                    <a:pt x="1009" y="1254"/>
                  </a:cubicBezTo>
                  <a:close/>
                  <a:moveTo>
                    <a:pt x="1039" y="145"/>
                  </a:moveTo>
                  <a:cubicBezTo>
                    <a:pt x="1031" y="158"/>
                    <a:pt x="1030" y="133"/>
                    <a:pt x="1039" y="145"/>
                  </a:cubicBezTo>
                  <a:close/>
                  <a:moveTo>
                    <a:pt x="1074" y="133"/>
                  </a:moveTo>
                  <a:cubicBezTo>
                    <a:pt x="1071" y="132"/>
                    <a:pt x="1068" y="129"/>
                    <a:pt x="1069" y="122"/>
                  </a:cubicBezTo>
                  <a:cubicBezTo>
                    <a:pt x="1071" y="123"/>
                    <a:pt x="1071" y="121"/>
                    <a:pt x="1071" y="119"/>
                  </a:cubicBezTo>
                  <a:cubicBezTo>
                    <a:pt x="1074" y="121"/>
                    <a:pt x="1076" y="123"/>
                    <a:pt x="1079" y="122"/>
                  </a:cubicBezTo>
                  <a:cubicBezTo>
                    <a:pt x="1078" y="126"/>
                    <a:pt x="1073" y="126"/>
                    <a:pt x="1074" y="133"/>
                  </a:cubicBezTo>
                  <a:close/>
                  <a:moveTo>
                    <a:pt x="1085" y="640"/>
                  </a:moveTo>
                  <a:cubicBezTo>
                    <a:pt x="1083" y="640"/>
                    <a:pt x="1081" y="640"/>
                    <a:pt x="1079" y="640"/>
                  </a:cubicBezTo>
                  <a:cubicBezTo>
                    <a:pt x="1079" y="638"/>
                    <a:pt x="1079" y="635"/>
                    <a:pt x="1079" y="633"/>
                  </a:cubicBezTo>
                  <a:cubicBezTo>
                    <a:pt x="1081" y="633"/>
                    <a:pt x="1083" y="633"/>
                    <a:pt x="1085" y="633"/>
                  </a:cubicBezTo>
                  <a:cubicBezTo>
                    <a:pt x="1085" y="635"/>
                    <a:pt x="1085" y="638"/>
                    <a:pt x="1085" y="640"/>
                  </a:cubicBezTo>
                  <a:close/>
                  <a:moveTo>
                    <a:pt x="1096" y="1254"/>
                  </a:moveTo>
                  <a:cubicBezTo>
                    <a:pt x="1094" y="1254"/>
                    <a:pt x="1092" y="1254"/>
                    <a:pt x="1090" y="1254"/>
                  </a:cubicBezTo>
                  <a:cubicBezTo>
                    <a:pt x="1090" y="1252"/>
                    <a:pt x="1090" y="1249"/>
                    <a:pt x="1090" y="1247"/>
                  </a:cubicBezTo>
                  <a:cubicBezTo>
                    <a:pt x="1092" y="1247"/>
                    <a:pt x="1094" y="1247"/>
                    <a:pt x="1096" y="1247"/>
                  </a:cubicBezTo>
                  <a:cubicBezTo>
                    <a:pt x="1096" y="1249"/>
                    <a:pt x="1096" y="1252"/>
                    <a:pt x="1096" y="1254"/>
                  </a:cubicBezTo>
                  <a:close/>
                  <a:moveTo>
                    <a:pt x="1101" y="170"/>
                  </a:moveTo>
                  <a:cubicBezTo>
                    <a:pt x="1109" y="167"/>
                    <a:pt x="1111" y="174"/>
                    <a:pt x="1114" y="178"/>
                  </a:cubicBezTo>
                  <a:cubicBezTo>
                    <a:pt x="1116" y="181"/>
                    <a:pt x="1098" y="181"/>
                    <a:pt x="1101" y="170"/>
                  </a:cubicBezTo>
                  <a:close/>
                  <a:moveTo>
                    <a:pt x="1117" y="119"/>
                  </a:moveTo>
                  <a:cubicBezTo>
                    <a:pt x="1117" y="115"/>
                    <a:pt x="1120" y="116"/>
                    <a:pt x="1122" y="115"/>
                  </a:cubicBezTo>
                  <a:cubicBezTo>
                    <a:pt x="1125" y="115"/>
                    <a:pt x="1128" y="115"/>
                    <a:pt x="1131" y="115"/>
                  </a:cubicBezTo>
                  <a:cubicBezTo>
                    <a:pt x="1131" y="123"/>
                    <a:pt x="1121" y="117"/>
                    <a:pt x="1117" y="119"/>
                  </a:cubicBezTo>
                  <a:close/>
                  <a:moveTo>
                    <a:pt x="1125" y="1265"/>
                  </a:moveTo>
                  <a:cubicBezTo>
                    <a:pt x="1118" y="1258"/>
                    <a:pt x="1128" y="1249"/>
                    <a:pt x="1122" y="1239"/>
                  </a:cubicBezTo>
                  <a:cubicBezTo>
                    <a:pt x="1135" y="1240"/>
                    <a:pt x="1123" y="1256"/>
                    <a:pt x="1125" y="1265"/>
                  </a:cubicBezTo>
                  <a:close/>
                  <a:moveTo>
                    <a:pt x="1147" y="178"/>
                  </a:moveTo>
                  <a:cubicBezTo>
                    <a:pt x="1140" y="190"/>
                    <a:pt x="1134" y="168"/>
                    <a:pt x="1147" y="178"/>
                  </a:cubicBezTo>
                  <a:close/>
                  <a:moveTo>
                    <a:pt x="1171" y="189"/>
                  </a:moveTo>
                  <a:cubicBezTo>
                    <a:pt x="1167" y="185"/>
                    <a:pt x="1161" y="185"/>
                    <a:pt x="1157" y="182"/>
                  </a:cubicBezTo>
                  <a:cubicBezTo>
                    <a:pt x="1159" y="174"/>
                    <a:pt x="1176" y="175"/>
                    <a:pt x="1171" y="189"/>
                  </a:cubicBezTo>
                  <a:close/>
                  <a:moveTo>
                    <a:pt x="1176" y="1217"/>
                  </a:moveTo>
                  <a:cubicBezTo>
                    <a:pt x="1176" y="1214"/>
                    <a:pt x="1181" y="1213"/>
                    <a:pt x="1184" y="1213"/>
                  </a:cubicBezTo>
                  <a:cubicBezTo>
                    <a:pt x="1183" y="1213"/>
                    <a:pt x="1190" y="1219"/>
                    <a:pt x="1190" y="1217"/>
                  </a:cubicBezTo>
                  <a:cubicBezTo>
                    <a:pt x="1192" y="1224"/>
                    <a:pt x="1181" y="1219"/>
                    <a:pt x="1176" y="1217"/>
                  </a:cubicBezTo>
                  <a:close/>
                  <a:moveTo>
                    <a:pt x="1187" y="592"/>
                  </a:moveTo>
                  <a:cubicBezTo>
                    <a:pt x="1190" y="580"/>
                    <a:pt x="1190" y="602"/>
                    <a:pt x="1190" y="607"/>
                  </a:cubicBezTo>
                  <a:cubicBezTo>
                    <a:pt x="1187" y="619"/>
                    <a:pt x="1187" y="597"/>
                    <a:pt x="1187" y="592"/>
                  </a:cubicBezTo>
                  <a:close/>
                  <a:moveTo>
                    <a:pt x="1192" y="577"/>
                  </a:moveTo>
                  <a:cubicBezTo>
                    <a:pt x="1191" y="577"/>
                    <a:pt x="1190" y="574"/>
                    <a:pt x="1190" y="574"/>
                  </a:cubicBezTo>
                  <a:cubicBezTo>
                    <a:pt x="1188" y="573"/>
                    <a:pt x="1186" y="576"/>
                    <a:pt x="1187" y="577"/>
                  </a:cubicBezTo>
                  <a:cubicBezTo>
                    <a:pt x="1185" y="575"/>
                    <a:pt x="1185" y="574"/>
                    <a:pt x="1187" y="574"/>
                  </a:cubicBezTo>
                  <a:cubicBezTo>
                    <a:pt x="1188" y="573"/>
                    <a:pt x="1189" y="569"/>
                    <a:pt x="1192" y="570"/>
                  </a:cubicBezTo>
                  <a:cubicBezTo>
                    <a:pt x="1192" y="570"/>
                    <a:pt x="1204" y="581"/>
                    <a:pt x="1192" y="577"/>
                  </a:cubicBezTo>
                  <a:close/>
                  <a:moveTo>
                    <a:pt x="1200" y="133"/>
                  </a:moveTo>
                  <a:cubicBezTo>
                    <a:pt x="1203" y="133"/>
                    <a:pt x="1203" y="137"/>
                    <a:pt x="1203" y="137"/>
                  </a:cubicBezTo>
                  <a:cubicBezTo>
                    <a:pt x="1207" y="137"/>
                    <a:pt x="1219" y="134"/>
                    <a:pt x="1217" y="145"/>
                  </a:cubicBezTo>
                  <a:cubicBezTo>
                    <a:pt x="1213" y="139"/>
                    <a:pt x="1205" y="141"/>
                    <a:pt x="1198" y="141"/>
                  </a:cubicBezTo>
                  <a:cubicBezTo>
                    <a:pt x="1199" y="141"/>
                    <a:pt x="1200" y="134"/>
                    <a:pt x="1200" y="133"/>
                  </a:cubicBezTo>
                  <a:close/>
                  <a:moveTo>
                    <a:pt x="1200" y="189"/>
                  </a:moveTo>
                  <a:cubicBezTo>
                    <a:pt x="1201" y="184"/>
                    <a:pt x="1207" y="186"/>
                    <a:pt x="1211" y="185"/>
                  </a:cubicBezTo>
                  <a:cubicBezTo>
                    <a:pt x="1210" y="194"/>
                    <a:pt x="1204" y="194"/>
                    <a:pt x="1200" y="189"/>
                  </a:cubicBezTo>
                  <a:close/>
                  <a:moveTo>
                    <a:pt x="1208" y="1269"/>
                  </a:moveTo>
                  <a:cubicBezTo>
                    <a:pt x="1205" y="1257"/>
                    <a:pt x="1213" y="1260"/>
                    <a:pt x="1214" y="1254"/>
                  </a:cubicBezTo>
                  <a:cubicBezTo>
                    <a:pt x="1217" y="1255"/>
                    <a:pt x="1216" y="1263"/>
                    <a:pt x="1217" y="1269"/>
                  </a:cubicBezTo>
                  <a:cubicBezTo>
                    <a:pt x="1214" y="1269"/>
                    <a:pt x="1211" y="1269"/>
                    <a:pt x="1208" y="1269"/>
                  </a:cubicBezTo>
                  <a:close/>
                  <a:moveTo>
                    <a:pt x="1214" y="237"/>
                  </a:moveTo>
                  <a:cubicBezTo>
                    <a:pt x="1213" y="243"/>
                    <a:pt x="1210" y="236"/>
                    <a:pt x="1206" y="237"/>
                  </a:cubicBezTo>
                  <a:cubicBezTo>
                    <a:pt x="1208" y="227"/>
                    <a:pt x="1202" y="227"/>
                    <a:pt x="1203" y="218"/>
                  </a:cubicBezTo>
                  <a:cubicBezTo>
                    <a:pt x="1206" y="217"/>
                    <a:pt x="1207" y="226"/>
                    <a:pt x="1208" y="226"/>
                  </a:cubicBezTo>
                  <a:cubicBezTo>
                    <a:pt x="1213" y="227"/>
                    <a:pt x="1215" y="211"/>
                    <a:pt x="1222" y="222"/>
                  </a:cubicBezTo>
                  <a:cubicBezTo>
                    <a:pt x="1220" y="227"/>
                    <a:pt x="1204" y="229"/>
                    <a:pt x="1214" y="237"/>
                  </a:cubicBezTo>
                  <a:close/>
                  <a:moveTo>
                    <a:pt x="1340" y="152"/>
                  </a:moveTo>
                  <a:cubicBezTo>
                    <a:pt x="1341" y="154"/>
                    <a:pt x="1333" y="158"/>
                    <a:pt x="1332" y="156"/>
                  </a:cubicBezTo>
                  <a:cubicBezTo>
                    <a:pt x="1332" y="155"/>
                    <a:pt x="1332" y="152"/>
                    <a:pt x="1332" y="152"/>
                  </a:cubicBezTo>
                  <a:cubicBezTo>
                    <a:pt x="1329" y="152"/>
                    <a:pt x="1324" y="159"/>
                    <a:pt x="1321" y="152"/>
                  </a:cubicBezTo>
                  <a:cubicBezTo>
                    <a:pt x="1323" y="144"/>
                    <a:pt x="1338" y="148"/>
                    <a:pt x="1340" y="152"/>
                  </a:cubicBezTo>
                  <a:close/>
                  <a:moveTo>
                    <a:pt x="1316" y="574"/>
                  </a:moveTo>
                  <a:cubicBezTo>
                    <a:pt x="1314" y="561"/>
                    <a:pt x="1320" y="559"/>
                    <a:pt x="1319" y="548"/>
                  </a:cubicBezTo>
                  <a:cubicBezTo>
                    <a:pt x="1328" y="549"/>
                    <a:pt x="1324" y="574"/>
                    <a:pt x="1316" y="574"/>
                  </a:cubicBezTo>
                  <a:close/>
                  <a:moveTo>
                    <a:pt x="1281" y="130"/>
                  </a:moveTo>
                  <a:cubicBezTo>
                    <a:pt x="1285" y="118"/>
                    <a:pt x="1285" y="140"/>
                    <a:pt x="1278" y="137"/>
                  </a:cubicBezTo>
                  <a:cubicBezTo>
                    <a:pt x="1273" y="134"/>
                    <a:pt x="1281" y="135"/>
                    <a:pt x="1281" y="130"/>
                  </a:cubicBezTo>
                  <a:close/>
                  <a:moveTo>
                    <a:pt x="1260" y="137"/>
                  </a:moveTo>
                  <a:cubicBezTo>
                    <a:pt x="1267" y="141"/>
                    <a:pt x="1273" y="146"/>
                    <a:pt x="1284" y="145"/>
                  </a:cubicBezTo>
                  <a:cubicBezTo>
                    <a:pt x="1286" y="157"/>
                    <a:pt x="1278" y="151"/>
                    <a:pt x="1276" y="148"/>
                  </a:cubicBezTo>
                  <a:cubicBezTo>
                    <a:pt x="1274" y="158"/>
                    <a:pt x="1277" y="162"/>
                    <a:pt x="1284" y="159"/>
                  </a:cubicBezTo>
                  <a:cubicBezTo>
                    <a:pt x="1294" y="168"/>
                    <a:pt x="1255" y="158"/>
                    <a:pt x="1265" y="167"/>
                  </a:cubicBezTo>
                  <a:cubicBezTo>
                    <a:pt x="1264" y="177"/>
                    <a:pt x="1256" y="167"/>
                    <a:pt x="1260" y="159"/>
                  </a:cubicBezTo>
                  <a:cubicBezTo>
                    <a:pt x="1257" y="159"/>
                    <a:pt x="1254" y="159"/>
                    <a:pt x="1251" y="159"/>
                  </a:cubicBezTo>
                  <a:cubicBezTo>
                    <a:pt x="1251" y="153"/>
                    <a:pt x="1268" y="153"/>
                    <a:pt x="1268" y="159"/>
                  </a:cubicBezTo>
                  <a:cubicBezTo>
                    <a:pt x="1270" y="157"/>
                    <a:pt x="1272" y="153"/>
                    <a:pt x="1273" y="148"/>
                  </a:cubicBezTo>
                  <a:cubicBezTo>
                    <a:pt x="1264" y="154"/>
                    <a:pt x="1261" y="150"/>
                    <a:pt x="1251" y="148"/>
                  </a:cubicBezTo>
                  <a:cubicBezTo>
                    <a:pt x="1247" y="135"/>
                    <a:pt x="1261" y="146"/>
                    <a:pt x="1260" y="137"/>
                  </a:cubicBezTo>
                  <a:close/>
                  <a:moveTo>
                    <a:pt x="1276" y="237"/>
                  </a:moveTo>
                  <a:cubicBezTo>
                    <a:pt x="1274" y="237"/>
                    <a:pt x="1272" y="237"/>
                    <a:pt x="1270" y="237"/>
                  </a:cubicBezTo>
                  <a:cubicBezTo>
                    <a:pt x="1270" y="231"/>
                    <a:pt x="1273" y="231"/>
                    <a:pt x="1273" y="226"/>
                  </a:cubicBezTo>
                  <a:cubicBezTo>
                    <a:pt x="1279" y="228"/>
                    <a:pt x="1279" y="232"/>
                    <a:pt x="1276" y="237"/>
                  </a:cubicBezTo>
                  <a:close/>
                  <a:moveTo>
                    <a:pt x="1260" y="237"/>
                  </a:moveTo>
                  <a:cubicBezTo>
                    <a:pt x="1255" y="238"/>
                    <a:pt x="1254" y="234"/>
                    <a:pt x="1254" y="230"/>
                  </a:cubicBezTo>
                  <a:cubicBezTo>
                    <a:pt x="1240" y="238"/>
                    <a:pt x="1262" y="214"/>
                    <a:pt x="1260" y="237"/>
                  </a:cubicBezTo>
                  <a:close/>
                  <a:moveTo>
                    <a:pt x="1254" y="614"/>
                  </a:moveTo>
                  <a:cubicBezTo>
                    <a:pt x="1248" y="625"/>
                    <a:pt x="1253" y="587"/>
                    <a:pt x="1254" y="581"/>
                  </a:cubicBezTo>
                  <a:cubicBezTo>
                    <a:pt x="1258" y="583"/>
                    <a:pt x="1259" y="586"/>
                    <a:pt x="1260" y="592"/>
                  </a:cubicBezTo>
                  <a:cubicBezTo>
                    <a:pt x="1260" y="600"/>
                    <a:pt x="1250" y="603"/>
                    <a:pt x="1254" y="614"/>
                  </a:cubicBezTo>
                  <a:close/>
                  <a:moveTo>
                    <a:pt x="1227" y="148"/>
                  </a:moveTo>
                  <a:cubicBezTo>
                    <a:pt x="1225" y="149"/>
                    <a:pt x="1225" y="147"/>
                    <a:pt x="1225" y="145"/>
                  </a:cubicBezTo>
                  <a:cubicBezTo>
                    <a:pt x="1225" y="142"/>
                    <a:pt x="1225" y="140"/>
                    <a:pt x="1225" y="137"/>
                  </a:cubicBezTo>
                  <a:cubicBezTo>
                    <a:pt x="1233" y="134"/>
                    <a:pt x="1234" y="141"/>
                    <a:pt x="1241" y="141"/>
                  </a:cubicBezTo>
                  <a:cubicBezTo>
                    <a:pt x="1239" y="145"/>
                    <a:pt x="1235" y="145"/>
                    <a:pt x="1235" y="152"/>
                  </a:cubicBezTo>
                  <a:cubicBezTo>
                    <a:pt x="1233" y="152"/>
                    <a:pt x="1230" y="136"/>
                    <a:pt x="1227" y="148"/>
                  </a:cubicBezTo>
                  <a:close/>
                  <a:moveTo>
                    <a:pt x="1230" y="588"/>
                  </a:moveTo>
                  <a:cubicBezTo>
                    <a:pt x="1229" y="580"/>
                    <a:pt x="1230" y="574"/>
                    <a:pt x="1233" y="570"/>
                  </a:cubicBezTo>
                  <a:cubicBezTo>
                    <a:pt x="1235" y="572"/>
                    <a:pt x="1237" y="574"/>
                    <a:pt x="1238" y="570"/>
                  </a:cubicBezTo>
                  <a:cubicBezTo>
                    <a:pt x="1244" y="574"/>
                    <a:pt x="1234" y="587"/>
                    <a:pt x="1238" y="599"/>
                  </a:cubicBezTo>
                  <a:cubicBezTo>
                    <a:pt x="1232" y="601"/>
                    <a:pt x="1240" y="583"/>
                    <a:pt x="1230" y="588"/>
                  </a:cubicBezTo>
                  <a:close/>
                  <a:moveTo>
                    <a:pt x="1238" y="1273"/>
                  </a:moveTo>
                  <a:cubicBezTo>
                    <a:pt x="1246" y="1259"/>
                    <a:pt x="1247" y="1284"/>
                    <a:pt x="1238" y="1273"/>
                  </a:cubicBezTo>
                  <a:close/>
                  <a:moveTo>
                    <a:pt x="1254" y="1239"/>
                  </a:moveTo>
                  <a:cubicBezTo>
                    <a:pt x="1257" y="1241"/>
                    <a:pt x="1260" y="1244"/>
                    <a:pt x="1260" y="1250"/>
                  </a:cubicBezTo>
                  <a:cubicBezTo>
                    <a:pt x="1256" y="1249"/>
                    <a:pt x="1254" y="1246"/>
                    <a:pt x="1254" y="1239"/>
                  </a:cubicBezTo>
                  <a:close/>
                  <a:moveTo>
                    <a:pt x="1260" y="1235"/>
                  </a:moveTo>
                  <a:cubicBezTo>
                    <a:pt x="1251" y="1233"/>
                    <a:pt x="1246" y="1228"/>
                    <a:pt x="1238" y="1225"/>
                  </a:cubicBezTo>
                  <a:cubicBezTo>
                    <a:pt x="1238" y="1215"/>
                    <a:pt x="1247" y="1223"/>
                    <a:pt x="1249" y="1225"/>
                  </a:cubicBezTo>
                  <a:cubicBezTo>
                    <a:pt x="1251" y="1224"/>
                    <a:pt x="1251" y="1220"/>
                    <a:pt x="1251" y="1217"/>
                  </a:cubicBezTo>
                  <a:cubicBezTo>
                    <a:pt x="1260" y="1215"/>
                    <a:pt x="1260" y="1225"/>
                    <a:pt x="1260" y="1235"/>
                  </a:cubicBezTo>
                  <a:close/>
                  <a:moveTo>
                    <a:pt x="1260" y="193"/>
                  </a:moveTo>
                  <a:cubicBezTo>
                    <a:pt x="1265" y="183"/>
                    <a:pt x="1269" y="196"/>
                    <a:pt x="1276" y="189"/>
                  </a:cubicBezTo>
                  <a:cubicBezTo>
                    <a:pt x="1278" y="203"/>
                    <a:pt x="1261" y="196"/>
                    <a:pt x="1260" y="193"/>
                  </a:cubicBezTo>
                  <a:close/>
                  <a:moveTo>
                    <a:pt x="1270" y="1261"/>
                  </a:moveTo>
                  <a:cubicBezTo>
                    <a:pt x="1274" y="1262"/>
                    <a:pt x="1271" y="1273"/>
                    <a:pt x="1276" y="1273"/>
                  </a:cubicBezTo>
                  <a:cubicBezTo>
                    <a:pt x="1274" y="1282"/>
                    <a:pt x="1268" y="1269"/>
                    <a:pt x="1270" y="1261"/>
                  </a:cubicBezTo>
                  <a:close/>
                  <a:moveTo>
                    <a:pt x="1284" y="1232"/>
                  </a:moveTo>
                  <a:cubicBezTo>
                    <a:pt x="1281" y="1228"/>
                    <a:pt x="1274" y="1231"/>
                    <a:pt x="1276" y="1221"/>
                  </a:cubicBezTo>
                  <a:cubicBezTo>
                    <a:pt x="1282" y="1220"/>
                    <a:pt x="1284" y="1224"/>
                    <a:pt x="1284" y="1232"/>
                  </a:cubicBezTo>
                  <a:close/>
                  <a:moveTo>
                    <a:pt x="1286" y="603"/>
                  </a:moveTo>
                  <a:cubicBezTo>
                    <a:pt x="1277" y="603"/>
                    <a:pt x="1292" y="591"/>
                    <a:pt x="1284" y="592"/>
                  </a:cubicBezTo>
                  <a:cubicBezTo>
                    <a:pt x="1290" y="581"/>
                    <a:pt x="1289" y="597"/>
                    <a:pt x="1286" y="603"/>
                  </a:cubicBezTo>
                  <a:close/>
                  <a:moveTo>
                    <a:pt x="1292" y="585"/>
                  </a:moveTo>
                  <a:cubicBezTo>
                    <a:pt x="1285" y="584"/>
                    <a:pt x="1286" y="572"/>
                    <a:pt x="1286" y="562"/>
                  </a:cubicBezTo>
                  <a:cubicBezTo>
                    <a:pt x="1296" y="559"/>
                    <a:pt x="1290" y="577"/>
                    <a:pt x="1292" y="585"/>
                  </a:cubicBezTo>
                  <a:close/>
                  <a:moveTo>
                    <a:pt x="1292" y="152"/>
                  </a:moveTo>
                  <a:cubicBezTo>
                    <a:pt x="1283" y="149"/>
                    <a:pt x="1317" y="141"/>
                    <a:pt x="1313" y="156"/>
                  </a:cubicBezTo>
                  <a:cubicBezTo>
                    <a:pt x="1309" y="150"/>
                    <a:pt x="1300" y="152"/>
                    <a:pt x="1292" y="152"/>
                  </a:cubicBezTo>
                  <a:close/>
                  <a:moveTo>
                    <a:pt x="1316" y="170"/>
                  </a:moveTo>
                  <a:cubicBezTo>
                    <a:pt x="1315" y="175"/>
                    <a:pt x="1313" y="178"/>
                    <a:pt x="1308" y="178"/>
                  </a:cubicBezTo>
                  <a:cubicBezTo>
                    <a:pt x="1309" y="173"/>
                    <a:pt x="1311" y="170"/>
                    <a:pt x="1316" y="170"/>
                  </a:cubicBezTo>
                  <a:close/>
                  <a:moveTo>
                    <a:pt x="1294" y="603"/>
                  </a:moveTo>
                  <a:cubicBezTo>
                    <a:pt x="1297" y="600"/>
                    <a:pt x="1297" y="595"/>
                    <a:pt x="1297" y="588"/>
                  </a:cubicBezTo>
                  <a:cubicBezTo>
                    <a:pt x="1305" y="589"/>
                    <a:pt x="1302" y="604"/>
                    <a:pt x="1294" y="603"/>
                  </a:cubicBezTo>
                  <a:close/>
                  <a:moveTo>
                    <a:pt x="1305" y="577"/>
                  </a:moveTo>
                  <a:cubicBezTo>
                    <a:pt x="1303" y="585"/>
                    <a:pt x="1304" y="585"/>
                    <a:pt x="1303" y="577"/>
                  </a:cubicBezTo>
                  <a:cubicBezTo>
                    <a:pt x="1303" y="569"/>
                    <a:pt x="1306" y="562"/>
                    <a:pt x="1308" y="555"/>
                  </a:cubicBezTo>
                  <a:cubicBezTo>
                    <a:pt x="1312" y="552"/>
                    <a:pt x="1308" y="570"/>
                    <a:pt x="1305" y="577"/>
                  </a:cubicBezTo>
                  <a:close/>
                  <a:moveTo>
                    <a:pt x="1300" y="200"/>
                  </a:moveTo>
                  <a:cubicBezTo>
                    <a:pt x="1301" y="192"/>
                    <a:pt x="1313" y="198"/>
                    <a:pt x="1319" y="196"/>
                  </a:cubicBezTo>
                  <a:cubicBezTo>
                    <a:pt x="1317" y="202"/>
                    <a:pt x="1315" y="206"/>
                    <a:pt x="1313" y="211"/>
                  </a:cubicBezTo>
                  <a:cubicBezTo>
                    <a:pt x="1306" y="211"/>
                    <a:pt x="1310" y="195"/>
                    <a:pt x="1300" y="200"/>
                  </a:cubicBezTo>
                  <a:close/>
                  <a:moveTo>
                    <a:pt x="1324" y="603"/>
                  </a:moveTo>
                  <a:cubicBezTo>
                    <a:pt x="1322" y="601"/>
                    <a:pt x="1317" y="597"/>
                    <a:pt x="1316" y="603"/>
                  </a:cubicBezTo>
                  <a:cubicBezTo>
                    <a:pt x="1313" y="602"/>
                    <a:pt x="1314" y="599"/>
                    <a:pt x="1316" y="599"/>
                  </a:cubicBezTo>
                  <a:cubicBezTo>
                    <a:pt x="1316" y="595"/>
                    <a:pt x="1315" y="593"/>
                    <a:pt x="1313" y="592"/>
                  </a:cubicBezTo>
                  <a:cubicBezTo>
                    <a:pt x="1316" y="582"/>
                    <a:pt x="1328" y="592"/>
                    <a:pt x="1324" y="603"/>
                  </a:cubicBezTo>
                  <a:close/>
                  <a:moveTo>
                    <a:pt x="1327" y="607"/>
                  </a:moveTo>
                  <a:cubicBezTo>
                    <a:pt x="1330" y="608"/>
                    <a:pt x="1329" y="614"/>
                    <a:pt x="1332" y="614"/>
                  </a:cubicBezTo>
                  <a:cubicBezTo>
                    <a:pt x="1331" y="624"/>
                    <a:pt x="1324" y="614"/>
                    <a:pt x="1327" y="607"/>
                  </a:cubicBezTo>
                  <a:close/>
                  <a:moveTo>
                    <a:pt x="1329" y="1235"/>
                  </a:moveTo>
                  <a:cubicBezTo>
                    <a:pt x="1329" y="1232"/>
                    <a:pt x="1329" y="1228"/>
                    <a:pt x="1329" y="1225"/>
                  </a:cubicBezTo>
                  <a:cubicBezTo>
                    <a:pt x="1337" y="1219"/>
                    <a:pt x="1337" y="1241"/>
                    <a:pt x="1329" y="1235"/>
                  </a:cubicBezTo>
                  <a:close/>
                  <a:moveTo>
                    <a:pt x="1329" y="555"/>
                  </a:moveTo>
                  <a:cubicBezTo>
                    <a:pt x="1329" y="551"/>
                    <a:pt x="1337" y="542"/>
                    <a:pt x="1338" y="551"/>
                  </a:cubicBezTo>
                  <a:cubicBezTo>
                    <a:pt x="1337" y="555"/>
                    <a:pt x="1339" y="555"/>
                    <a:pt x="1340" y="555"/>
                  </a:cubicBezTo>
                  <a:cubicBezTo>
                    <a:pt x="1338" y="566"/>
                    <a:pt x="1334" y="552"/>
                    <a:pt x="1329" y="555"/>
                  </a:cubicBezTo>
                  <a:close/>
                  <a:moveTo>
                    <a:pt x="1348" y="1232"/>
                  </a:moveTo>
                  <a:cubicBezTo>
                    <a:pt x="1348" y="1236"/>
                    <a:pt x="1349" y="1238"/>
                    <a:pt x="1351" y="1239"/>
                  </a:cubicBezTo>
                  <a:cubicBezTo>
                    <a:pt x="1346" y="1252"/>
                    <a:pt x="1347" y="1229"/>
                    <a:pt x="1338" y="1235"/>
                  </a:cubicBezTo>
                  <a:cubicBezTo>
                    <a:pt x="1338" y="1226"/>
                    <a:pt x="1347" y="1228"/>
                    <a:pt x="1354" y="1228"/>
                  </a:cubicBezTo>
                  <a:cubicBezTo>
                    <a:pt x="1354" y="1232"/>
                    <a:pt x="1350" y="1231"/>
                    <a:pt x="1348" y="1232"/>
                  </a:cubicBezTo>
                  <a:close/>
                  <a:moveTo>
                    <a:pt x="1628" y="326"/>
                  </a:moveTo>
                  <a:cubicBezTo>
                    <a:pt x="1627" y="327"/>
                    <a:pt x="1624" y="337"/>
                    <a:pt x="1623" y="337"/>
                  </a:cubicBezTo>
                  <a:cubicBezTo>
                    <a:pt x="1619" y="338"/>
                    <a:pt x="1619" y="324"/>
                    <a:pt x="1628" y="326"/>
                  </a:cubicBezTo>
                  <a:close/>
                  <a:moveTo>
                    <a:pt x="1628" y="1202"/>
                  </a:moveTo>
                  <a:cubicBezTo>
                    <a:pt x="1625" y="1201"/>
                    <a:pt x="1622" y="1198"/>
                    <a:pt x="1623" y="1191"/>
                  </a:cubicBezTo>
                  <a:cubicBezTo>
                    <a:pt x="1626" y="1193"/>
                    <a:pt x="1628" y="1196"/>
                    <a:pt x="1628" y="1202"/>
                  </a:cubicBezTo>
                  <a:close/>
                  <a:moveTo>
                    <a:pt x="1617" y="1235"/>
                  </a:moveTo>
                  <a:cubicBezTo>
                    <a:pt x="1611" y="1248"/>
                    <a:pt x="1604" y="1225"/>
                    <a:pt x="1617" y="1235"/>
                  </a:cubicBezTo>
                  <a:close/>
                  <a:moveTo>
                    <a:pt x="1609" y="1180"/>
                  </a:moveTo>
                  <a:cubicBezTo>
                    <a:pt x="1607" y="1179"/>
                    <a:pt x="1607" y="1182"/>
                    <a:pt x="1606" y="1184"/>
                  </a:cubicBezTo>
                  <a:cubicBezTo>
                    <a:pt x="1603" y="1183"/>
                    <a:pt x="1604" y="1177"/>
                    <a:pt x="1604" y="1173"/>
                  </a:cubicBezTo>
                  <a:cubicBezTo>
                    <a:pt x="1608" y="1171"/>
                    <a:pt x="1609" y="1176"/>
                    <a:pt x="1609" y="1180"/>
                  </a:cubicBezTo>
                  <a:close/>
                  <a:moveTo>
                    <a:pt x="1604" y="226"/>
                  </a:moveTo>
                  <a:cubicBezTo>
                    <a:pt x="1608" y="225"/>
                    <a:pt x="1608" y="247"/>
                    <a:pt x="1601" y="241"/>
                  </a:cubicBezTo>
                  <a:cubicBezTo>
                    <a:pt x="1600" y="233"/>
                    <a:pt x="1603" y="231"/>
                    <a:pt x="1604" y="226"/>
                  </a:cubicBezTo>
                  <a:close/>
                  <a:moveTo>
                    <a:pt x="1604" y="740"/>
                  </a:moveTo>
                  <a:cubicBezTo>
                    <a:pt x="1603" y="743"/>
                    <a:pt x="1605" y="743"/>
                    <a:pt x="1606" y="744"/>
                  </a:cubicBezTo>
                  <a:cubicBezTo>
                    <a:pt x="1605" y="755"/>
                    <a:pt x="1601" y="740"/>
                    <a:pt x="1596" y="744"/>
                  </a:cubicBezTo>
                  <a:cubicBezTo>
                    <a:pt x="1595" y="739"/>
                    <a:pt x="1603" y="731"/>
                    <a:pt x="1604" y="740"/>
                  </a:cubicBezTo>
                  <a:close/>
                  <a:moveTo>
                    <a:pt x="1593" y="551"/>
                  </a:moveTo>
                  <a:cubicBezTo>
                    <a:pt x="1599" y="553"/>
                    <a:pt x="1595" y="571"/>
                    <a:pt x="1593" y="574"/>
                  </a:cubicBezTo>
                  <a:cubicBezTo>
                    <a:pt x="1585" y="570"/>
                    <a:pt x="1594" y="558"/>
                    <a:pt x="1593" y="551"/>
                  </a:cubicBezTo>
                  <a:close/>
                  <a:moveTo>
                    <a:pt x="1588" y="611"/>
                  </a:moveTo>
                  <a:cubicBezTo>
                    <a:pt x="1589" y="600"/>
                    <a:pt x="1592" y="616"/>
                    <a:pt x="1596" y="614"/>
                  </a:cubicBezTo>
                  <a:cubicBezTo>
                    <a:pt x="1595" y="619"/>
                    <a:pt x="1591" y="617"/>
                    <a:pt x="1588" y="618"/>
                  </a:cubicBezTo>
                  <a:cubicBezTo>
                    <a:pt x="1587" y="615"/>
                    <a:pt x="1589" y="614"/>
                    <a:pt x="1590" y="614"/>
                  </a:cubicBezTo>
                  <a:cubicBezTo>
                    <a:pt x="1591" y="611"/>
                    <a:pt x="1589" y="611"/>
                    <a:pt x="1588" y="611"/>
                  </a:cubicBezTo>
                  <a:close/>
                  <a:moveTo>
                    <a:pt x="1593" y="636"/>
                  </a:moveTo>
                  <a:cubicBezTo>
                    <a:pt x="1593" y="639"/>
                    <a:pt x="1593" y="641"/>
                    <a:pt x="1593" y="644"/>
                  </a:cubicBezTo>
                  <a:cubicBezTo>
                    <a:pt x="1580" y="648"/>
                    <a:pt x="1588" y="624"/>
                    <a:pt x="1593" y="636"/>
                  </a:cubicBezTo>
                  <a:close/>
                  <a:moveTo>
                    <a:pt x="1580" y="577"/>
                  </a:moveTo>
                  <a:cubicBezTo>
                    <a:pt x="1581" y="567"/>
                    <a:pt x="1583" y="586"/>
                    <a:pt x="1582" y="588"/>
                  </a:cubicBezTo>
                  <a:cubicBezTo>
                    <a:pt x="1581" y="596"/>
                    <a:pt x="1577" y="591"/>
                    <a:pt x="1580" y="577"/>
                  </a:cubicBezTo>
                  <a:close/>
                  <a:moveTo>
                    <a:pt x="1577" y="263"/>
                  </a:moveTo>
                  <a:cubicBezTo>
                    <a:pt x="1575" y="274"/>
                    <a:pt x="1571" y="259"/>
                    <a:pt x="1566" y="263"/>
                  </a:cubicBezTo>
                  <a:cubicBezTo>
                    <a:pt x="1566" y="258"/>
                    <a:pt x="1566" y="252"/>
                    <a:pt x="1563" y="252"/>
                  </a:cubicBezTo>
                  <a:cubicBezTo>
                    <a:pt x="1565" y="245"/>
                    <a:pt x="1568" y="251"/>
                    <a:pt x="1569" y="252"/>
                  </a:cubicBezTo>
                  <a:cubicBezTo>
                    <a:pt x="1570" y="252"/>
                    <a:pt x="1573" y="251"/>
                    <a:pt x="1574" y="252"/>
                  </a:cubicBezTo>
                  <a:cubicBezTo>
                    <a:pt x="1574" y="252"/>
                    <a:pt x="1570" y="268"/>
                    <a:pt x="1577" y="263"/>
                  </a:cubicBezTo>
                  <a:close/>
                  <a:moveTo>
                    <a:pt x="1563" y="707"/>
                  </a:moveTo>
                  <a:cubicBezTo>
                    <a:pt x="1561" y="705"/>
                    <a:pt x="1561" y="704"/>
                    <a:pt x="1563" y="703"/>
                  </a:cubicBezTo>
                  <a:cubicBezTo>
                    <a:pt x="1564" y="703"/>
                    <a:pt x="1563" y="700"/>
                    <a:pt x="1563" y="699"/>
                  </a:cubicBezTo>
                  <a:cubicBezTo>
                    <a:pt x="1566" y="696"/>
                    <a:pt x="1570" y="704"/>
                    <a:pt x="1569" y="707"/>
                  </a:cubicBezTo>
                  <a:cubicBezTo>
                    <a:pt x="1567" y="710"/>
                    <a:pt x="1566" y="703"/>
                    <a:pt x="1566" y="703"/>
                  </a:cubicBezTo>
                  <a:cubicBezTo>
                    <a:pt x="1565" y="703"/>
                    <a:pt x="1562" y="706"/>
                    <a:pt x="1563" y="707"/>
                  </a:cubicBezTo>
                  <a:close/>
                  <a:moveTo>
                    <a:pt x="1566" y="640"/>
                  </a:moveTo>
                  <a:cubicBezTo>
                    <a:pt x="1564" y="640"/>
                    <a:pt x="1562" y="635"/>
                    <a:pt x="1558" y="636"/>
                  </a:cubicBezTo>
                  <a:cubicBezTo>
                    <a:pt x="1561" y="630"/>
                    <a:pt x="1569" y="630"/>
                    <a:pt x="1571" y="633"/>
                  </a:cubicBezTo>
                  <a:cubicBezTo>
                    <a:pt x="1573" y="634"/>
                    <a:pt x="1567" y="640"/>
                    <a:pt x="1566" y="640"/>
                  </a:cubicBezTo>
                  <a:close/>
                  <a:moveTo>
                    <a:pt x="1561" y="618"/>
                  </a:moveTo>
                  <a:cubicBezTo>
                    <a:pt x="1569" y="604"/>
                    <a:pt x="1570" y="629"/>
                    <a:pt x="1561" y="618"/>
                  </a:cubicBezTo>
                  <a:close/>
                  <a:moveTo>
                    <a:pt x="1569" y="599"/>
                  </a:moveTo>
                  <a:cubicBezTo>
                    <a:pt x="1569" y="594"/>
                    <a:pt x="1569" y="589"/>
                    <a:pt x="1566" y="588"/>
                  </a:cubicBezTo>
                  <a:cubicBezTo>
                    <a:pt x="1566" y="585"/>
                    <a:pt x="1567" y="585"/>
                    <a:pt x="1569" y="585"/>
                  </a:cubicBezTo>
                  <a:cubicBezTo>
                    <a:pt x="1571" y="585"/>
                    <a:pt x="1572" y="585"/>
                    <a:pt x="1574" y="585"/>
                  </a:cubicBezTo>
                  <a:cubicBezTo>
                    <a:pt x="1571" y="596"/>
                    <a:pt x="1573" y="594"/>
                    <a:pt x="1577" y="603"/>
                  </a:cubicBezTo>
                  <a:cubicBezTo>
                    <a:pt x="1574" y="616"/>
                    <a:pt x="1576" y="593"/>
                    <a:pt x="1569" y="599"/>
                  </a:cubicBezTo>
                  <a:close/>
                  <a:moveTo>
                    <a:pt x="1539" y="196"/>
                  </a:moveTo>
                  <a:cubicBezTo>
                    <a:pt x="1546" y="192"/>
                    <a:pt x="1550" y="207"/>
                    <a:pt x="1553" y="196"/>
                  </a:cubicBezTo>
                  <a:cubicBezTo>
                    <a:pt x="1556" y="198"/>
                    <a:pt x="1553" y="203"/>
                    <a:pt x="1550" y="204"/>
                  </a:cubicBezTo>
                  <a:cubicBezTo>
                    <a:pt x="1555" y="217"/>
                    <a:pt x="1557" y="197"/>
                    <a:pt x="1563" y="200"/>
                  </a:cubicBezTo>
                  <a:cubicBezTo>
                    <a:pt x="1561" y="203"/>
                    <a:pt x="1560" y="208"/>
                    <a:pt x="1561" y="215"/>
                  </a:cubicBezTo>
                  <a:cubicBezTo>
                    <a:pt x="1551" y="218"/>
                    <a:pt x="1548" y="211"/>
                    <a:pt x="1547" y="200"/>
                  </a:cubicBezTo>
                  <a:cubicBezTo>
                    <a:pt x="1537" y="195"/>
                    <a:pt x="1547" y="217"/>
                    <a:pt x="1536" y="211"/>
                  </a:cubicBezTo>
                  <a:cubicBezTo>
                    <a:pt x="1539" y="208"/>
                    <a:pt x="1539" y="203"/>
                    <a:pt x="1539" y="196"/>
                  </a:cubicBezTo>
                  <a:close/>
                  <a:moveTo>
                    <a:pt x="1571" y="222"/>
                  </a:moveTo>
                  <a:cubicBezTo>
                    <a:pt x="1571" y="227"/>
                    <a:pt x="1571" y="233"/>
                    <a:pt x="1574" y="233"/>
                  </a:cubicBezTo>
                  <a:cubicBezTo>
                    <a:pt x="1574" y="237"/>
                    <a:pt x="1571" y="236"/>
                    <a:pt x="1569" y="237"/>
                  </a:cubicBezTo>
                  <a:cubicBezTo>
                    <a:pt x="1566" y="239"/>
                    <a:pt x="1567" y="230"/>
                    <a:pt x="1566" y="230"/>
                  </a:cubicBezTo>
                  <a:cubicBezTo>
                    <a:pt x="1562" y="229"/>
                    <a:pt x="1558" y="234"/>
                    <a:pt x="1553" y="233"/>
                  </a:cubicBezTo>
                  <a:cubicBezTo>
                    <a:pt x="1553" y="233"/>
                    <a:pt x="1552" y="230"/>
                    <a:pt x="1550" y="230"/>
                  </a:cubicBezTo>
                  <a:cubicBezTo>
                    <a:pt x="1546" y="229"/>
                    <a:pt x="1537" y="229"/>
                    <a:pt x="1536" y="218"/>
                  </a:cubicBezTo>
                  <a:cubicBezTo>
                    <a:pt x="1548" y="219"/>
                    <a:pt x="1557" y="224"/>
                    <a:pt x="1571" y="222"/>
                  </a:cubicBezTo>
                  <a:close/>
                  <a:moveTo>
                    <a:pt x="1550" y="1221"/>
                  </a:moveTo>
                  <a:cubicBezTo>
                    <a:pt x="1554" y="1221"/>
                    <a:pt x="1551" y="1232"/>
                    <a:pt x="1555" y="1232"/>
                  </a:cubicBezTo>
                  <a:cubicBezTo>
                    <a:pt x="1554" y="1243"/>
                    <a:pt x="1550" y="1228"/>
                    <a:pt x="1545" y="1232"/>
                  </a:cubicBezTo>
                  <a:cubicBezTo>
                    <a:pt x="1545" y="1226"/>
                    <a:pt x="1545" y="1220"/>
                    <a:pt x="1545" y="1213"/>
                  </a:cubicBezTo>
                  <a:cubicBezTo>
                    <a:pt x="1548" y="1214"/>
                    <a:pt x="1546" y="1220"/>
                    <a:pt x="1550" y="1221"/>
                  </a:cubicBezTo>
                  <a:close/>
                  <a:moveTo>
                    <a:pt x="1528" y="200"/>
                  </a:moveTo>
                  <a:cubicBezTo>
                    <a:pt x="1523" y="202"/>
                    <a:pt x="1523" y="195"/>
                    <a:pt x="1523" y="189"/>
                  </a:cubicBezTo>
                  <a:cubicBezTo>
                    <a:pt x="1520" y="188"/>
                    <a:pt x="1518" y="190"/>
                    <a:pt x="1518" y="193"/>
                  </a:cubicBezTo>
                  <a:cubicBezTo>
                    <a:pt x="1508" y="182"/>
                    <a:pt x="1535" y="183"/>
                    <a:pt x="1528" y="200"/>
                  </a:cubicBezTo>
                  <a:close/>
                  <a:moveTo>
                    <a:pt x="1523" y="259"/>
                  </a:moveTo>
                  <a:cubicBezTo>
                    <a:pt x="1521" y="265"/>
                    <a:pt x="1519" y="271"/>
                    <a:pt x="1512" y="270"/>
                  </a:cubicBezTo>
                  <a:cubicBezTo>
                    <a:pt x="1514" y="263"/>
                    <a:pt x="1513" y="250"/>
                    <a:pt x="1523" y="259"/>
                  </a:cubicBezTo>
                  <a:close/>
                  <a:moveTo>
                    <a:pt x="1483" y="174"/>
                  </a:moveTo>
                  <a:cubicBezTo>
                    <a:pt x="1485" y="174"/>
                    <a:pt x="1486" y="174"/>
                    <a:pt x="1488" y="174"/>
                  </a:cubicBezTo>
                  <a:cubicBezTo>
                    <a:pt x="1489" y="185"/>
                    <a:pt x="1468" y="173"/>
                    <a:pt x="1483" y="174"/>
                  </a:cubicBezTo>
                  <a:close/>
                  <a:moveTo>
                    <a:pt x="1464" y="163"/>
                  </a:moveTo>
                  <a:cubicBezTo>
                    <a:pt x="1464" y="170"/>
                    <a:pt x="1467" y="171"/>
                    <a:pt x="1467" y="178"/>
                  </a:cubicBezTo>
                  <a:cubicBezTo>
                    <a:pt x="1463" y="178"/>
                    <a:pt x="1459" y="178"/>
                    <a:pt x="1456" y="178"/>
                  </a:cubicBezTo>
                  <a:cubicBezTo>
                    <a:pt x="1451" y="171"/>
                    <a:pt x="1460" y="165"/>
                    <a:pt x="1448" y="167"/>
                  </a:cubicBezTo>
                  <a:cubicBezTo>
                    <a:pt x="1440" y="161"/>
                    <a:pt x="1459" y="163"/>
                    <a:pt x="1464" y="163"/>
                  </a:cubicBezTo>
                  <a:close/>
                  <a:moveTo>
                    <a:pt x="1464" y="662"/>
                  </a:moveTo>
                  <a:cubicBezTo>
                    <a:pt x="1467" y="663"/>
                    <a:pt x="1466" y="670"/>
                    <a:pt x="1469" y="670"/>
                  </a:cubicBezTo>
                  <a:cubicBezTo>
                    <a:pt x="1470" y="673"/>
                    <a:pt x="1468" y="673"/>
                    <a:pt x="1467" y="673"/>
                  </a:cubicBezTo>
                  <a:cubicBezTo>
                    <a:pt x="1463" y="681"/>
                    <a:pt x="1467" y="670"/>
                    <a:pt x="1464" y="662"/>
                  </a:cubicBezTo>
                  <a:close/>
                  <a:moveTo>
                    <a:pt x="1445" y="562"/>
                  </a:moveTo>
                  <a:cubicBezTo>
                    <a:pt x="1444" y="561"/>
                    <a:pt x="1442" y="558"/>
                    <a:pt x="1445" y="562"/>
                  </a:cubicBezTo>
                  <a:cubicBezTo>
                    <a:pt x="1452" y="568"/>
                    <a:pt x="1449" y="572"/>
                    <a:pt x="1445" y="585"/>
                  </a:cubicBezTo>
                  <a:cubicBezTo>
                    <a:pt x="1442" y="584"/>
                    <a:pt x="1444" y="581"/>
                    <a:pt x="1445" y="581"/>
                  </a:cubicBezTo>
                  <a:cubicBezTo>
                    <a:pt x="1443" y="574"/>
                    <a:pt x="1440" y="580"/>
                    <a:pt x="1437" y="581"/>
                  </a:cubicBezTo>
                  <a:cubicBezTo>
                    <a:pt x="1431" y="589"/>
                    <a:pt x="1442" y="569"/>
                    <a:pt x="1448" y="570"/>
                  </a:cubicBezTo>
                  <a:cubicBezTo>
                    <a:pt x="1447" y="567"/>
                    <a:pt x="1445" y="566"/>
                    <a:pt x="1445" y="562"/>
                  </a:cubicBezTo>
                  <a:close/>
                  <a:moveTo>
                    <a:pt x="1442" y="1180"/>
                  </a:moveTo>
                  <a:cubicBezTo>
                    <a:pt x="1447" y="1185"/>
                    <a:pt x="1447" y="1195"/>
                    <a:pt x="1445" y="1199"/>
                  </a:cubicBezTo>
                  <a:cubicBezTo>
                    <a:pt x="1445" y="1199"/>
                    <a:pt x="1437" y="1189"/>
                    <a:pt x="1442" y="1180"/>
                  </a:cubicBezTo>
                  <a:close/>
                  <a:moveTo>
                    <a:pt x="1445" y="1228"/>
                  </a:moveTo>
                  <a:cubicBezTo>
                    <a:pt x="1443" y="1227"/>
                    <a:pt x="1443" y="1230"/>
                    <a:pt x="1442" y="1232"/>
                  </a:cubicBezTo>
                  <a:cubicBezTo>
                    <a:pt x="1439" y="1231"/>
                    <a:pt x="1440" y="1225"/>
                    <a:pt x="1440" y="1221"/>
                  </a:cubicBezTo>
                  <a:cubicBezTo>
                    <a:pt x="1444" y="1219"/>
                    <a:pt x="1445" y="1224"/>
                    <a:pt x="1445" y="1228"/>
                  </a:cubicBezTo>
                  <a:close/>
                  <a:moveTo>
                    <a:pt x="1440" y="644"/>
                  </a:moveTo>
                  <a:cubicBezTo>
                    <a:pt x="1444" y="637"/>
                    <a:pt x="1450" y="638"/>
                    <a:pt x="1453" y="640"/>
                  </a:cubicBezTo>
                  <a:cubicBezTo>
                    <a:pt x="1454" y="641"/>
                    <a:pt x="1447" y="651"/>
                    <a:pt x="1440" y="644"/>
                  </a:cubicBezTo>
                  <a:close/>
                  <a:moveTo>
                    <a:pt x="1450" y="270"/>
                  </a:moveTo>
                  <a:cubicBezTo>
                    <a:pt x="1449" y="259"/>
                    <a:pt x="1453" y="257"/>
                    <a:pt x="1453" y="248"/>
                  </a:cubicBezTo>
                  <a:cubicBezTo>
                    <a:pt x="1463" y="245"/>
                    <a:pt x="1456" y="258"/>
                    <a:pt x="1453" y="259"/>
                  </a:cubicBezTo>
                  <a:cubicBezTo>
                    <a:pt x="1455" y="267"/>
                    <a:pt x="1451" y="288"/>
                    <a:pt x="1450" y="270"/>
                  </a:cubicBezTo>
                  <a:close/>
                  <a:moveTo>
                    <a:pt x="1448" y="1210"/>
                  </a:moveTo>
                  <a:cubicBezTo>
                    <a:pt x="1452" y="1209"/>
                    <a:pt x="1452" y="1213"/>
                    <a:pt x="1456" y="1213"/>
                  </a:cubicBezTo>
                  <a:cubicBezTo>
                    <a:pt x="1457" y="1221"/>
                    <a:pt x="1444" y="1219"/>
                    <a:pt x="1448" y="1210"/>
                  </a:cubicBezTo>
                  <a:close/>
                  <a:moveTo>
                    <a:pt x="1450" y="1195"/>
                  </a:moveTo>
                  <a:cubicBezTo>
                    <a:pt x="1450" y="1190"/>
                    <a:pt x="1450" y="1185"/>
                    <a:pt x="1450" y="1180"/>
                  </a:cubicBezTo>
                  <a:cubicBezTo>
                    <a:pt x="1458" y="1173"/>
                    <a:pt x="1456" y="1196"/>
                    <a:pt x="1458" y="1184"/>
                  </a:cubicBezTo>
                  <a:cubicBezTo>
                    <a:pt x="1466" y="1188"/>
                    <a:pt x="1455" y="1196"/>
                    <a:pt x="1450" y="1195"/>
                  </a:cubicBezTo>
                  <a:close/>
                  <a:moveTo>
                    <a:pt x="1418" y="170"/>
                  </a:moveTo>
                  <a:cubicBezTo>
                    <a:pt x="1422" y="178"/>
                    <a:pt x="1402" y="180"/>
                    <a:pt x="1402" y="167"/>
                  </a:cubicBezTo>
                  <a:cubicBezTo>
                    <a:pt x="1405" y="171"/>
                    <a:pt x="1412" y="171"/>
                    <a:pt x="1418" y="170"/>
                  </a:cubicBezTo>
                  <a:close/>
                  <a:moveTo>
                    <a:pt x="1402" y="204"/>
                  </a:moveTo>
                  <a:cubicBezTo>
                    <a:pt x="1406" y="204"/>
                    <a:pt x="1409" y="204"/>
                    <a:pt x="1413" y="204"/>
                  </a:cubicBezTo>
                  <a:cubicBezTo>
                    <a:pt x="1413" y="213"/>
                    <a:pt x="1409" y="215"/>
                    <a:pt x="1407" y="222"/>
                  </a:cubicBezTo>
                  <a:cubicBezTo>
                    <a:pt x="1403" y="219"/>
                    <a:pt x="1402" y="213"/>
                    <a:pt x="1402" y="204"/>
                  </a:cubicBezTo>
                  <a:close/>
                  <a:moveTo>
                    <a:pt x="1413" y="566"/>
                  </a:moveTo>
                  <a:cubicBezTo>
                    <a:pt x="1404" y="581"/>
                    <a:pt x="1403" y="555"/>
                    <a:pt x="1405" y="544"/>
                  </a:cubicBezTo>
                  <a:cubicBezTo>
                    <a:pt x="1408" y="545"/>
                    <a:pt x="1410" y="543"/>
                    <a:pt x="1410" y="540"/>
                  </a:cubicBezTo>
                  <a:cubicBezTo>
                    <a:pt x="1420" y="544"/>
                    <a:pt x="1397" y="565"/>
                    <a:pt x="1413" y="566"/>
                  </a:cubicBezTo>
                  <a:close/>
                  <a:moveTo>
                    <a:pt x="1378" y="207"/>
                  </a:moveTo>
                  <a:cubicBezTo>
                    <a:pt x="1381" y="202"/>
                    <a:pt x="1389" y="204"/>
                    <a:pt x="1397" y="204"/>
                  </a:cubicBezTo>
                  <a:cubicBezTo>
                    <a:pt x="1389" y="213"/>
                    <a:pt x="1403" y="208"/>
                    <a:pt x="1399" y="222"/>
                  </a:cubicBezTo>
                  <a:cubicBezTo>
                    <a:pt x="1397" y="222"/>
                    <a:pt x="1397" y="218"/>
                    <a:pt x="1397" y="215"/>
                  </a:cubicBezTo>
                  <a:cubicBezTo>
                    <a:pt x="1393" y="220"/>
                    <a:pt x="1385" y="218"/>
                    <a:pt x="1378" y="218"/>
                  </a:cubicBezTo>
                  <a:cubicBezTo>
                    <a:pt x="1378" y="215"/>
                    <a:pt x="1378" y="211"/>
                    <a:pt x="1378" y="207"/>
                  </a:cubicBezTo>
                  <a:close/>
                  <a:moveTo>
                    <a:pt x="1359" y="562"/>
                  </a:moveTo>
                  <a:cubicBezTo>
                    <a:pt x="1365" y="561"/>
                    <a:pt x="1364" y="568"/>
                    <a:pt x="1364" y="574"/>
                  </a:cubicBezTo>
                  <a:cubicBezTo>
                    <a:pt x="1362" y="573"/>
                    <a:pt x="1362" y="570"/>
                    <a:pt x="1359" y="570"/>
                  </a:cubicBezTo>
                  <a:cubicBezTo>
                    <a:pt x="1359" y="567"/>
                    <a:pt x="1359" y="565"/>
                    <a:pt x="1359" y="562"/>
                  </a:cubicBezTo>
                  <a:close/>
                  <a:moveTo>
                    <a:pt x="1373" y="618"/>
                  </a:moveTo>
                  <a:cubicBezTo>
                    <a:pt x="1367" y="622"/>
                    <a:pt x="1377" y="595"/>
                    <a:pt x="1370" y="607"/>
                  </a:cubicBezTo>
                  <a:cubicBezTo>
                    <a:pt x="1367" y="607"/>
                    <a:pt x="1368" y="602"/>
                    <a:pt x="1367" y="599"/>
                  </a:cubicBezTo>
                  <a:cubicBezTo>
                    <a:pt x="1369" y="600"/>
                    <a:pt x="1370" y="598"/>
                    <a:pt x="1370" y="596"/>
                  </a:cubicBezTo>
                  <a:cubicBezTo>
                    <a:pt x="1375" y="599"/>
                    <a:pt x="1377" y="612"/>
                    <a:pt x="1373" y="618"/>
                  </a:cubicBezTo>
                  <a:close/>
                  <a:moveTo>
                    <a:pt x="1375" y="629"/>
                  </a:moveTo>
                  <a:cubicBezTo>
                    <a:pt x="1375" y="631"/>
                    <a:pt x="1375" y="634"/>
                    <a:pt x="1375" y="636"/>
                  </a:cubicBezTo>
                  <a:cubicBezTo>
                    <a:pt x="1373" y="636"/>
                    <a:pt x="1372" y="636"/>
                    <a:pt x="1370" y="636"/>
                  </a:cubicBezTo>
                  <a:cubicBezTo>
                    <a:pt x="1370" y="634"/>
                    <a:pt x="1370" y="631"/>
                    <a:pt x="1370" y="629"/>
                  </a:cubicBezTo>
                  <a:cubicBezTo>
                    <a:pt x="1372" y="629"/>
                    <a:pt x="1373" y="629"/>
                    <a:pt x="1375" y="629"/>
                  </a:cubicBezTo>
                  <a:close/>
                  <a:moveTo>
                    <a:pt x="1370" y="1235"/>
                  </a:moveTo>
                  <a:cubicBezTo>
                    <a:pt x="1366" y="1232"/>
                    <a:pt x="1359" y="1233"/>
                    <a:pt x="1362" y="1221"/>
                  </a:cubicBezTo>
                  <a:cubicBezTo>
                    <a:pt x="1364" y="1220"/>
                    <a:pt x="1364" y="1222"/>
                    <a:pt x="1364" y="1225"/>
                  </a:cubicBezTo>
                  <a:cubicBezTo>
                    <a:pt x="1366" y="1228"/>
                    <a:pt x="1371" y="1228"/>
                    <a:pt x="1370" y="1235"/>
                  </a:cubicBezTo>
                  <a:close/>
                  <a:moveTo>
                    <a:pt x="1356" y="1280"/>
                  </a:moveTo>
                  <a:cubicBezTo>
                    <a:pt x="1359" y="1275"/>
                    <a:pt x="1364" y="1273"/>
                    <a:pt x="1364" y="1265"/>
                  </a:cubicBezTo>
                  <a:cubicBezTo>
                    <a:pt x="1371" y="1264"/>
                    <a:pt x="1366" y="1279"/>
                    <a:pt x="1375" y="1276"/>
                  </a:cubicBezTo>
                  <a:cubicBezTo>
                    <a:pt x="1374" y="1285"/>
                    <a:pt x="1362" y="1278"/>
                    <a:pt x="1356" y="1280"/>
                  </a:cubicBezTo>
                  <a:close/>
                  <a:moveTo>
                    <a:pt x="1375" y="1239"/>
                  </a:moveTo>
                  <a:cubicBezTo>
                    <a:pt x="1370" y="1237"/>
                    <a:pt x="1375" y="1233"/>
                    <a:pt x="1375" y="1228"/>
                  </a:cubicBezTo>
                  <a:cubicBezTo>
                    <a:pt x="1380" y="1231"/>
                    <a:pt x="1376" y="1235"/>
                    <a:pt x="1375" y="1239"/>
                  </a:cubicBezTo>
                  <a:close/>
                  <a:moveTo>
                    <a:pt x="1378" y="255"/>
                  </a:moveTo>
                  <a:cubicBezTo>
                    <a:pt x="1369" y="255"/>
                    <a:pt x="1362" y="253"/>
                    <a:pt x="1362" y="241"/>
                  </a:cubicBezTo>
                  <a:cubicBezTo>
                    <a:pt x="1364" y="244"/>
                    <a:pt x="1379" y="249"/>
                    <a:pt x="1380" y="241"/>
                  </a:cubicBezTo>
                  <a:cubicBezTo>
                    <a:pt x="1392" y="245"/>
                    <a:pt x="1369" y="251"/>
                    <a:pt x="1380" y="255"/>
                  </a:cubicBezTo>
                  <a:cubicBezTo>
                    <a:pt x="1380" y="260"/>
                    <a:pt x="1378" y="258"/>
                    <a:pt x="1378" y="255"/>
                  </a:cubicBezTo>
                  <a:close/>
                  <a:moveTo>
                    <a:pt x="1383" y="562"/>
                  </a:moveTo>
                  <a:cubicBezTo>
                    <a:pt x="1380" y="587"/>
                    <a:pt x="1377" y="524"/>
                    <a:pt x="1383" y="562"/>
                  </a:cubicBezTo>
                  <a:close/>
                  <a:moveTo>
                    <a:pt x="1389" y="267"/>
                  </a:moveTo>
                  <a:cubicBezTo>
                    <a:pt x="1379" y="257"/>
                    <a:pt x="1398" y="256"/>
                    <a:pt x="1389" y="248"/>
                  </a:cubicBezTo>
                  <a:cubicBezTo>
                    <a:pt x="1391" y="242"/>
                    <a:pt x="1400" y="244"/>
                    <a:pt x="1405" y="241"/>
                  </a:cubicBezTo>
                  <a:cubicBezTo>
                    <a:pt x="1407" y="244"/>
                    <a:pt x="1406" y="251"/>
                    <a:pt x="1410" y="252"/>
                  </a:cubicBezTo>
                  <a:cubicBezTo>
                    <a:pt x="1409" y="256"/>
                    <a:pt x="1405" y="255"/>
                    <a:pt x="1405" y="252"/>
                  </a:cubicBezTo>
                  <a:cubicBezTo>
                    <a:pt x="1401" y="251"/>
                    <a:pt x="1404" y="261"/>
                    <a:pt x="1402" y="263"/>
                  </a:cubicBezTo>
                  <a:cubicBezTo>
                    <a:pt x="1400" y="266"/>
                    <a:pt x="1391" y="254"/>
                    <a:pt x="1391" y="267"/>
                  </a:cubicBezTo>
                  <a:cubicBezTo>
                    <a:pt x="1396" y="273"/>
                    <a:pt x="1401" y="265"/>
                    <a:pt x="1407" y="274"/>
                  </a:cubicBezTo>
                  <a:cubicBezTo>
                    <a:pt x="1407" y="278"/>
                    <a:pt x="1402" y="277"/>
                    <a:pt x="1402" y="281"/>
                  </a:cubicBezTo>
                  <a:cubicBezTo>
                    <a:pt x="1396" y="270"/>
                    <a:pt x="1400" y="280"/>
                    <a:pt x="1391" y="281"/>
                  </a:cubicBezTo>
                  <a:cubicBezTo>
                    <a:pt x="1399" y="273"/>
                    <a:pt x="1384" y="264"/>
                    <a:pt x="1383" y="278"/>
                  </a:cubicBezTo>
                  <a:cubicBezTo>
                    <a:pt x="1375" y="274"/>
                    <a:pt x="1386" y="268"/>
                    <a:pt x="1389" y="267"/>
                  </a:cubicBezTo>
                  <a:close/>
                  <a:moveTo>
                    <a:pt x="1389" y="555"/>
                  </a:moveTo>
                  <a:cubicBezTo>
                    <a:pt x="1390" y="550"/>
                    <a:pt x="1394" y="548"/>
                    <a:pt x="1399" y="548"/>
                  </a:cubicBezTo>
                  <a:cubicBezTo>
                    <a:pt x="1397" y="554"/>
                    <a:pt x="1393" y="562"/>
                    <a:pt x="1389" y="555"/>
                  </a:cubicBezTo>
                  <a:close/>
                  <a:moveTo>
                    <a:pt x="1399" y="577"/>
                  </a:moveTo>
                  <a:cubicBezTo>
                    <a:pt x="1396" y="576"/>
                    <a:pt x="1394" y="573"/>
                    <a:pt x="1394" y="566"/>
                  </a:cubicBezTo>
                  <a:cubicBezTo>
                    <a:pt x="1397" y="568"/>
                    <a:pt x="1399" y="571"/>
                    <a:pt x="1399" y="577"/>
                  </a:cubicBezTo>
                  <a:close/>
                  <a:moveTo>
                    <a:pt x="1389" y="1280"/>
                  </a:moveTo>
                  <a:cubicBezTo>
                    <a:pt x="1390" y="1280"/>
                    <a:pt x="1392" y="1280"/>
                    <a:pt x="1394" y="1280"/>
                  </a:cubicBezTo>
                  <a:cubicBezTo>
                    <a:pt x="1395" y="1290"/>
                    <a:pt x="1374" y="1279"/>
                    <a:pt x="1389" y="1280"/>
                  </a:cubicBezTo>
                  <a:close/>
                  <a:moveTo>
                    <a:pt x="1394" y="1250"/>
                  </a:moveTo>
                  <a:cubicBezTo>
                    <a:pt x="1391" y="1248"/>
                    <a:pt x="1391" y="1242"/>
                    <a:pt x="1386" y="1243"/>
                  </a:cubicBezTo>
                  <a:cubicBezTo>
                    <a:pt x="1388" y="1240"/>
                    <a:pt x="1390" y="1233"/>
                    <a:pt x="1386" y="1232"/>
                  </a:cubicBezTo>
                  <a:cubicBezTo>
                    <a:pt x="1387" y="1227"/>
                    <a:pt x="1394" y="1231"/>
                    <a:pt x="1394" y="1225"/>
                  </a:cubicBezTo>
                  <a:cubicBezTo>
                    <a:pt x="1400" y="1223"/>
                    <a:pt x="1397" y="1235"/>
                    <a:pt x="1402" y="1235"/>
                  </a:cubicBezTo>
                  <a:cubicBezTo>
                    <a:pt x="1401" y="1243"/>
                    <a:pt x="1390" y="1236"/>
                    <a:pt x="1394" y="1250"/>
                  </a:cubicBezTo>
                  <a:close/>
                  <a:moveTo>
                    <a:pt x="1402" y="577"/>
                  </a:moveTo>
                  <a:cubicBezTo>
                    <a:pt x="1404" y="567"/>
                    <a:pt x="1406" y="583"/>
                    <a:pt x="1410" y="581"/>
                  </a:cubicBezTo>
                  <a:cubicBezTo>
                    <a:pt x="1407" y="593"/>
                    <a:pt x="1405" y="577"/>
                    <a:pt x="1402" y="577"/>
                  </a:cubicBezTo>
                  <a:close/>
                  <a:moveTo>
                    <a:pt x="1405" y="1306"/>
                  </a:moveTo>
                  <a:cubicBezTo>
                    <a:pt x="1405" y="1297"/>
                    <a:pt x="1414" y="1305"/>
                    <a:pt x="1415" y="1306"/>
                  </a:cubicBezTo>
                  <a:cubicBezTo>
                    <a:pt x="1415" y="1315"/>
                    <a:pt x="1406" y="1307"/>
                    <a:pt x="1405" y="1306"/>
                  </a:cubicBezTo>
                  <a:close/>
                  <a:moveTo>
                    <a:pt x="1426" y="1247"/>
                  </a:moveTo>
                  <a:cubicBezTo>
                    <a:pt x="1422" y="1245"/>
                    <a:pt x="1424" y="1235"/>
                    <a:pt x="1415" y="1239"/>
                  </a:cubicBezTo>
                  <a:cubicBezTo>
                    <a:pt x="1415" y="1234"/>
                    <a:pt x="1415" y="1229"/>
                    <a:pt x="1415" y="1225"/>
                  </a:cubicBezTo>
                  <a:cubicBezTo>
                    <a:pt x="1421" y="1226"/>
                    <a:pt x="1420" y="1235"/>
                    <a:pt x="1429" y="1232"/>
                  </a:cubicBezTo>
                  <a:cubicBezTo>
                    <a:pt x="1430" y="1240"/>
                    <a:pt x="1427" y="1242"/>
                    <a:pt x="1426" y="1247"/>
                  </a:cubicBezTo>
                  <a:close/>
                  <a:moveTo>
                    <a:pt x="1421" y="1180"/>
                  </a:moveTo>
                  <a:cubicBezTo>
                    <a:pt x="1421" y="1183"/>
                    <a:pt x="1421" y="1185"/>
                    <a:pt x="1421" y="1187"/>
                  </a:cubicBezTo>
                  <a:cubicBezTo>
                    <a:pt x="1419" y="1187"/>
                    <a:pt x="1417" y="1187"/>
                    <a:pt x="1415" y="1187"/>
                  </a:cubicBezTo>
                  <a:cubicBezTo>
                    <a:pt x="1415" y="1185"/>
                    <a:pt x="1415" y="1183"/>
                    <a:pt x="1415" y="1180"/>
                  </a:cubicBezTo>
                  <a:cubicBezTo>
                    <a:pt x="1417" y="1180"/>
                    <a:pt x="1419" y="1180"/>
                    <a:pt x="1421" y="1180"/>
                  </a:cubicBezTo>
                  <a:close/>
                  <a:moveTo>
                    <a:pt x="1424" y="244"/>
                  </a:moveTo>
                  <a:cubicBezTo>
                    <a:pt x="1425" y="252"/>
                    <a:pt x="1422" y="254"/>
                    <a:pt x="1421" y="259"/>
                  </a:cubicBezTo>
                  <a:cubicBezTo>
                    <a:pt x="1413" y="259"/>
                    <a:pt x="1414" y="242"/>
                    <a:pt x="1424" y="244"/>
                  </a:cubicBezTo>
                  <a:close/>
                  <a:moveTo>
                    <a:pt x="1424" y="1180"/>
                  </a:moveTo>
                  <a:cubicBezTo>
                    <a:pt x="1424" y="1176"/>
                    <a:pt x="1424" y="1173"/>
                    <a:pt x="1424" y="1169"/>
                  </a:cubicBezTo>
                  <a:cubicBezTo>
                    <a:pt x="1431" y="1164"/>
                    <a:pt x="1431" y="1185"/>
                    <a:pt x="1424" y="1180"/>
                  </a:cubicBezTo>
                  <a:close/>
                  <a:moveTo>
                    <a:pt x="1421" y="289"/>
                  </a:moveTo>
                  <a:cubicBezTo>
                    <a:pt x="1420" y="282"/>
                    <a:pt x="1427" y="284"/>
                    <a:pt x="1429" y="281"/>
                  </a:cubicBezTo>
                  <a:cubicBezTo>
                    <a:pt x="1435" y="273"/>
                    <a:pt x="1430" y="288"/>
                    <a:pt x="1421" y="289"/>
                  </a:cubicBezTo>
                  <a:close/>
                  <a:moveTo>
                    <a:pt x="1421" y="270"/>
                  </a:moveTo>
                  <a:cubicBezTo>
                    <a:pt x="1423" y="267"/>
                    <a:pt x="1424" y="262"/>
                    <a:pt x="1424" y="255"/>
                  </a:cubicBezTo>
                  <a:cubicBezTo>
                    <a:pt x="1426" y="255"/>
                    <a:pt x="1429" y="255"/>
                    <a:pt x="1432" y="255"/>
                  </a:cubicBezTo>
                  <a:cubicBezTo>
                    <a:pt x="1428" y="261"/>
                    <a:pt x="1429" y="272"/>
                    <a:pt x="1421" y="270"/>
                  </a:cubicBezTo>
                  <a:close/>
                  <a:moveTo>
                    <a:pt x="1413" y="189"/>
                  </a:moveTo>
                  <a:cubicBezTo>
                    <a:pt x="1413" y="185"/>
                    <a:pt x="1416" y="186"/>
                    <a:pt x="1418" y="185"/>
                  </a:cubicBezTo>
                  <a:cubicBezTo>
                    <a:pt x="1425" y="187"/>
                    <a:pt x="1417" y="168"/>
                    <a:pt x="1426" y="174"/>
                  </a:cubicBezTo>
                  <a:cubicBezTo>
                    <a:pt x="1425" y="177"/>
                    <a:pt x="1423" y="180"/>
                    <a:pt x="1424" y="185"/>
                  </a:cubicBezTo>
                  <a:cubicBezTo>
                    <a:pt x="1436" y="183"/>
                    <a:pt x="1428" y="174"/>
                    <a:pt x="1429" y="159"/>
                  </a:cubicBezTo>
                  <a:cubicBezTo>
                    <a:pt x="1434" y="152"/>
                    <a:pt x="1434" y="162"/>
                    <a:pt x="1442" y="159"/>
                  </a:cubicBezTo>
                  <a:cubicBezTo>
                    <a:pt x="1442" y="165"/>
                    <a:pt x="1434" y="161"/>
                    <a:pt x="1434" y="167"/>
                  </a:cubicBezTo>
                  <a:cubicBezTo>
                    <a:pt x="1434" y="173"/>
                    <a:pt x="1448" y="163"/>
                    <a:pt x="1448" y="178"/>
                  </a:cubicBezTo>
                  <a:cubicBezTo>
                    <a:pt x="1444" y="182"/>
                    <a:pt x="1441" y="182"/>
                    <a:pt x="1440" y="174"/>
                  </a:cubicBezTo>
                  <a:cubicBezTo>
                    <a:pt x="1433" y="179"/>
                    <a:pt x="1431" y="182"/>
                    <a:pt x="1434" y="193"/>
                  </a:cubicBezTo>
                  <a:cubicBezTo>
                    <a:pt x="1426" y="193"/>
                    <a:pt x="1423" y="186"/>
                    <a:pt x="1413" y="189"/>
                  </a:cubicBezTo>
                  <a:close/>
                  <a:moveTo>
                    <a:pt x="1437" y="1295"/>
                  </a:moveTo>
                  <a:cubicBezTo>
                    <a:pt x="1434" y="1294"/>
                    <a:pt x="1435" y="1288"/>
                    <a:pt x="1434" y="1284"/>
                  </a:cubicBezTo>
                  <a:cubicBezTo>
                    <a:pt x="1439" y="1282"/>
                    <a:pt x="1439" y="1286"/>
                    <a:pt x="1440" y="1291"/>
                  </a:cubicBezTo>
                  <a:cubicBezTo>
                    <a:pt x="1437" y="1290"/>
                    <a:pt x="1437" y="1292"/>
                    <a:pt x="1437" y="1295"/>
                  </a:cubicBezTo>
                  <a:close/>
                  <a:moveTo>
                    <a:pt x="1445" y="1273"/>
                  </a:moveTo>
                  <a:cubicBezTo>
                    <a:pt x="1443" y="1273"/>
                    <a:pt x="1442" y="1273"/>
                    <a:pt x="1440" y="1273"/>
                  </a:cubicBezTo>
                  <a:cubicBezTo>
                    <a:pt x="1440" y="1270"/>
                    <a:pt x="1440" y="1268"/>
                    <a:pt x="1440" y="1265"/>
                  </a:cubicBezTo>
                  <a:cubicBezTo>
                    <a:pt x="1442" y="1265"/>
                    <a:pt x="1443" y="1265"/>
                    <a:pt x="1445" y="1265"/>
                  </a:cubicBezTo>
                  <a:cubicBezTo>
                    <a:pt x="1445" y="1268"/>
                    <a:pt x="1445" y="1270"/>
                    <a:pt x="1445" y="1273"/>
                  </a:cubicBezTo>
                  <a:close/>
                  <a:moveTo>
                    <a:pt x="1448" y="1254"/>
                  </a:moveTo>
                  <a:cubicBezTo>
                    <a:pt x="1444" y="1251"/>
                    <a:pt x="1439" y="1249"/>
                    <a:pt x="1440" y="1239"/>
                  </a:cubicBezTo>
                  <a:cubicBezTo>
                    <a:pt x="1444" y="1237"/>
                    <a:pt x="1454" y="1244"/>
                    <a:pt x="1453" y="1235"/>
                  </a:cubicBezTo>
                  <a:cubicBezTo>
                    <a:pt x="1451" y="1232"/>
                    <a:pt x="1447" y="1232"/>
                    <a:pt x="1448" y="1225"/>
                  </a:cubicBezTo>
                  <a:cubicBezTo>
                    <a:pt x="1450" y="1225"/>
                    <a:pt x="1453" y="1225"/>
                    <a:pt x="1456" y="1225"/>
                  </a:cubicBezTo>
                  <a:cubicBezTo>
                    <a:pt x="1452" y="1229"/>
                    <a:pt x="1454" y="1236"/>
                    <a:pt x="1458" y="1239"/>
                  </a:cubicBezTo>
                  <a:cubicBezTo>
                    <a:pt x="1460" y="1251"/>
                    <a:pt x="1445" y="1241"/>
                    <a:pt x="1448" y="1254"/>
                  </a:cubicBezTo>
                  <a:close/>
                  <a:moveTo>
                    <a:pt x="1458" y="1302"/>
                  </a:moveTo>
                  <a:cubicBezTo>
                    <a:pt x="1463" y="1294"/>
                    <a:pt x="1465" y="1305"/>
                    <a:pt x="1472" y="1298"/>
                  </a:cubicBezTo>
                  <a:cubicBezTo>
                    <a:pt x="1475" y="1312"/>
                    <a:pt x="1460" y="1305"/>
                    <a:pt x="1458" y="1302"/>
                  </a:cubicBezTo>
                  <a:close/>
                  <a:moveTo>
                    <a:pt x="1475" y="655"/>
                  </a:moveTo>
                  <a:cubicBezTo>
                    <a:pt x="1472" y="658"/>
                    <a:pt x="1470" y="652"/>
                    <a:pt x="1469" y="651"/>
                  </a:cubicBezTo>
                  <a:cubicBezTo>
                    <a:pt x="1469" y="651"/>
                    <a:pt x="1464" y="644"/>
                    <a:pt x="1467" y="640"/>
                  </a:cubicBezTo>
                  <a:cubicBezTo>
                    <a:pt x="1469" y="637"/>
                    <a:pt x="1469" y="650"/>
                    <a:pt x="1469" y="651"/>
                  </a:cubicBezTo>
                  <a:cubicBezTo>
                    <a:pt x="1469" y="651"/>
                    <a:pt x="1477" y="652"/>
                    <a:pt x="1475" y="655"/>
                  </a:cubicBezTo>
                  <a:close/>
                  <a:moveTo>
                    <a:pt x="1469" y="588"/>
                  </a:moveTo>
                  <a:cubicBezTo>
                    <a:pt x="1473" y="575"/>
                    <a:pt x="1474" y="595"/>
                    <a:pt x="1472" y="596"/>
                  </a:cubicBezTo>
                  <a:cubicBezTo>
                    <a:pt x="1470" y="596"/>
                    <a:pt x="1469" y="591"/>
                    <a:pt x="1469" y="588"/>
                  </a:cubicBezTo>
                  <a:close/>
                  <a:moveTo>
                    <a:pt x="1475" y="285"/>
                  </a:moveTo>
                  <a:cubicBezTo>
                    <a:pt x="1473" y="280"/>
                    <a:pt x="1468" y="276"/>
                    <a:pt x="1469" y="267"/>
                  </a:cubicBezTo>
                  <a:cubicBezTo>
                    <a:pt x="1472" y="267"/>
                    <a:pt x="1475" y="267"/>
                    <a:pt x="1477" y="267"/>
                  </a:cubicBezTo>
                  <a:cubicBezTo>
                    <a:pt x="1472" y="277"/>
                    <a:pt x="1483" y="284"/>
                    <a:pt x="1483" y="281"/>
                  </a:cubicBezTo>
                  <a:cubicBezTo>
                    <a:pt x="1483" y="285"/>
                    <a:pt x="1475" y="285"/>
                    <a:pt x="1477" y="292"/>
                  </a:cubicBezTo>
                  <a:cubicBezTo>
                    <a:pt x="1474" y="293"/>
                    <a:pt x="1476" y="288"/>
                    <a:pt x="1475" y="285"/>
                  </a:cubicBezTo>
                  <a:close/>
                  <a:moveTo>
                    <a:pt x="1480" y="699"/>
                  </a:moveTo>
                  <a:cubicBezTo>
                    <a:pt x="1480" y="695"/>
                    <a:pt x="1479" y="693"/>
                    <a:pt x="1477" y="692"/>
                  </a:cubicBezTo>
                  <a:cubicBezTo>
                    <a:pt x="1478" y="687"/>
                    <a:pt x="1483" y="688"/>
                    <a:pt x="1483" y="692"/>
                  </a:cubicBezTo>
                  <a:cubicBezTo>
                    <a:pt x="1485" y="693"/>
                    <a:pt x="1485" y="690"/>
                    <a:pt x="1485" y="688"/>
                  </a:cubicBezTo>
                  <a:cubicBezTo>
                    <a:pt x="1490" y="687"/>
                    <a:pt x="1486" y="703"/>
                    <a:pt x="1480" y="699"/>
                  </a:cubicBezTo>
                  <a:close/>
                  <a:moveTo>
                    <a:pt x="1493" y="1243"/>
                  </a:moveTo>
                  <a:cubicBezTo>
                    <a:pt x="1482" y="1245"/>
                    <a:pt x="1494" y="1235"/>
                    <a:pt x="1491" y="1225"/>
                  </a:cubicBezTo>
                  <a:cubicBezTo>
                    <a:pt x="1494" y="1226"/>
                    <a:pt x="1497" y="1245"/>
                    <a:pt x="1493" y="1243"/>
                  </a:cubicBezTo>
                  <a:close/>
                  <a:moveTo>
                    <a:pt x="1485" y="566"/>
                  </a:moveTo>
                  <a:cubicBezTo>
                    <a:pt x="1484" y="561"/>
                    <a:pt x="1496" y="557"/>
                    <a:pt x="1488" y="555"/>
                  </a:cubicBezTo>
                  <a:cubicBezTo>
                    <a:pt x="1499" y="541"/>
                    <a:pt x="1484" y="571"/>
                    <a:pt x="1496" y="566"/>
                  </a:cubicBezTo>
                  <a:cubicBezTo>
                    <a:pt x="1494" y="577"/>
                    <a:pt x="1490" y="563"/>
                    <a:pt x="1485" y="566"/>
                  </a:cubicBezTo>
                  <a:close/>
                  <a:moveTo>
                    <a:pt x="1491" y="182"/>
                  </a:moveTo>
                  <a:cubicBezTo>
                    <a:pt x="1491" y="179"/>
                    <a:pt x="1493" y="178"/>
                    <a:pt x="1493" y="174"/>
                  </a:cubicBezTo>
                  <a:cubicBezTo>
                    <a:pt x="1497" y="176"/>
                    <a:pt x="1499" y="179"/>
                    <a:pt x="1499" y="185"/>
                  </a:cubicBezTo>
                  <a:cubicBezTo>
                    <a:pt x="1494" y="186"/>
                    <a:pt x="1494" y="182"/>
                    <a:pt x="1491" y="182"/>
                  </a:cubicBezTo>
                  <a:close/>
                  <a:moveTo>
                    <a:pt x="1499" y="1221"/>
                  </a:moveTo>
                  <a:cubicBezTo>
                    <a:pt x="1494" y="1218"/>
                    <a:pt x="1498" y="1214"/>
                    <a:pt x="1499" y="1210"/>
                  </a:cubicBezTo>
                  <a:cubicBezTo>
                    <a:pt x="1504" y="1212"/>
                    <a:pt x="1499" y="1216"/>
                    <a:pt x="1499" y="1221"/>
                  </a:cubicBezTo>
                  <a:close/>
                  <a:moveTo>
                    <a:pt x="1496" y="170"/>
                  </a:moveTo>
                  <a:cubicBezTo>
                    <a:pt x="1495" y="165"/>
                    <a:pt x="1511" y="165"/>
                    <a:pt x="1504" y="174"/>
                  </a:cubicBezTo>
                  <a:cubicBezTo>
                    <a:pt x="1505" y="173"/>
                    <a:pt x="1496" y="170"/>
                    <a:pt x="1496" y="170"/>
                  </a:cubicBezTo>
                  <a:close/>
                  <a:moveTo>
                    <a:pt x="1504" y="651"/>
                  </a:moveTo>
                  <a:cubicBezTo>
                    <a:pt x="1506" y="648"/>
                    <a:pt x="1507" y="643"/>
                    <a:pt x="1507" y="636"/>
                  </a:cubicBezTo>
                  <a:cubicBezTo>
                    <a:pt x="1510" y="637"/>
                    <a:pt x="1512" y="636"/>
                    <a:pt x="1512" y="633"/>
                  </a:cubicBezTo>
                  <a:cubicBezTo>
                    <a:pt x="1516" y="634"/>
                    <a:pt x="1513" y="639"/>
                    <a:pt x="1510" y="640"/>
                  </a:cubicBezTo>
                  <a:cubicBezTo>
                    <a:pt x="1510" y="648"/>
                    <a:pt x="1509" y="652"/>
                    <a:pt x="1504" y="651"/>
                  </a:cubicBezTo>
                  <a:close/>
                  <a:moveTo>
                    <a:pt x="1515" y="1180"/>
                  </a:moveTo>
                  <a:cubicBezTo>
                    <a:pt x="1512" y="1178"/>
                    <a:pt x="1509" y="1175"/>
                    <a:pt x="1510" y="1169"/>
                  </a:cubicBezTo>
                  <a:cubicBezTo>
                    <a:pt x="1513" y="1171"/>
                    <a:pt x="1515" y="1174"/>
                    <a:pt x="1515" y="1180"/>
                  </a:cubicBezTo>
                  <a:close/>
                  <a:moveTo>
                    <a:pt x="1523" y="1291"/>
                  </a:moveTo>
                  <a:cubicBezTo>
                    <a:pt x="1518" y="1280"/>
                    <a:pt x="1511" y="1294"/>
                    <a:pt x="1510" y="1276"/>
                  </a:cubicBezTo>
                  <a:cubicBezTo>
                    <a:pt x="1522" y="1278"/>
                    <a:pt x="1514" y="1273"/>
                    <a:pt x="1515" y="1261"/>
                  </a:cubicBezTo>
                  <a:cubicBezTo>
                    <a:pt x="1522" y="1259"/>
                    <a:pt x="1520" y="1269"/>
                    <a:pt x="1526" y="1269"/>
                  </a:cubicBezTo>
                  <a:cubicBezTo>
                    <a:pt x="1525" y="1273"/>
                    <a:pt x="1523" y="1271"/>
                    <a:pt x="1523" y="1269"/>
                  </a:cubicBezTo>
                  <a:cubicBezTo>
                    <a:pt x="1520" y="1269"/>
                    <a:pt x="1521" y="1273"/>
                    <a:pt x="1520" y="1276"/>
                  </a:cubicBezTo>
                  <a:cubicBezTo>
                    <a:pt x="1523" y="1287"/>
                    <a:pt x="1532" y="1275"/>
                    <a:pt x="1536" y="1276"/>
                  </a:cubicBezTo>
                  <a:cubicBezTo>
                    <a:pt x="1538" y="1290"/>
                    <a:pt x="1524" y="1281"/>
                    <a:pt x="1523" y="1291"/>
                  </a:cubicBezTo>
                  <a:close/>
                  <a:moveTo>
                    <a:pt x="1534" y="230"/>
                  </a:moveTo>
                  <a:cubicBezTo>
                    <a:pt x="1536" y="230"/>
                    <a:pt x="1537" y="230"/>
                    <a:pt x="1539" y="230"/>
                  </a:cubicBezTo>
                  <a:cubicBezTo>
                    <a:pt x="1540" y="240"/>
                    <a:pt x="1519" y="229"/>
                    <a:pt x="1534" y="230"/>
                  </a:cubicBezTo>
                  <a:close/>
                  <a:moveTo>
                    <a:pt x="1553" y="1291"/>
                  </a:moveTo>
                  <a:cubicBezTo>
                    <a:pt x="1551" y="1291"/>
                    <a:pt x="1549" y="1291"/>
                    <a:pt x="1547" y="1291"/>
                  </a:cubicBezTo>
                  <a:cubicBezTo>
                    <a:pt x="1547" y="1289"/>
                    <a:pt x="1547" y="1286"/>
                    <a:pt x="1547" y="1284"/>
                  </a:cubicBezTo>
                  <a:cubicBezTo>
                    <a:pt x="1549" y="1284"/>
                    <a:pt x="1551" y="1284"/>
                    <a:pt x="1553" y="1284"/>
                  </a:cubicBezTo>
                  <a:cubicBezTo>
                    <a:pt x="1553" y="1286"/>
                    <a:pt x="1553" y="1289"/>
                    <a:pt x="1553" y="1291"/>
                  </a:cubicBezTo>
                  <a:close/>
                  <a:moveTo>
                    <a:pt x="1550" y="1276"/>
                  </a:moveTo>
                  <a:cubicBezTo>
                    <a:pt x="1548" y="1276"/>
                    <a:pt x="1547" y="1273"/>
                    <a:pt x="1545" y="1273"/>
                  </a:cubicBezTo>
                  <a:cubicBezTo>
                    <a:pt x="1545" y="1270"/>
                    <a:pt x="1547" y="1269"/>
                    <a:pt x="1547" y="1265"/>
                  </a:cubicBezTo>
                  <a:cubicBezTo>
                    <a:pt x="1549" y="1266"/>
                    <a:pt x="1550" y="1269"/>
                    <a:pt x="1553" y="1269"/>
                  </a:cubicBezTo>
                  <a:cubicBezTo>
                    <a:pt x="1552" y="1272"/>
                    <a:pt x="1550" y="1273"/>
                    <a:pt x="1550" y="1276"/>
                  </a:cubicBezTo>
                  <a:close/>
                  <a:moveTo>
                    <a:pt x="1555" y="1265"/>
                  </a:moveTo>
                  <a:cubicBezTo>
                    <a:pt x="1550" y="1266"/>
                    <a:pt x="1552" y="1257"/>
                    <a:pt x="1550" y="1254"/>
                  </a:cubicBezTo>
                  <a:cubicBezTo>
                    <a:pt x="1547" y="1251"/>
                    <a:pt x="1547" y="1254"/>
                    <a:pt x="1545" y="1250"/>
                  </a:cubicBezTo>
                  <a:cubicBezTo>
                    <a:pt x="1543" y="1247"/>
                    <a:pt x="1539" y="1246"/>
                    <a:pt x="1539" y="1239"/>
                  </a:cubicBezTo>
                  <a:cubicBezTo>
                    <a:pt x="1549" y="1240"/>
                    <a:pt x="1547" y="1243"/>
                    <a:pt x="1555" y="1239"/>
                  </a:cubicBezTo>
                  <a:cubicBezTo>
                    <a:pt x="1556" y="1250"/>
                    <a:pt x="1555" y="1252"/>
                    <a:pt x="1550" y="1247"/>
                  </a:cubicBezTo>
                  <a:cubicBezTo>
                    <a:pt x="1548" y="1258"/>
                    <a:pt x="1559" y="1251"/>
                    <a:pt x="1555" y="1265"/>
                  </a:cubicBezTo>
                  <a:close/>
                  <a:moveTo>
                    <a:pt x="1547" y="555"/>
                  </a:moveTo>
                  <a:cubicBezTo>
                    <a:pt x="1551" y="562"/>
                    <a:pt x="1556" y="568"/>
                    <a:pt x="1561" y="574"/>
                  </a:cubicBezTo>
                  <a:cubicBezTo>
                    <a:pt x="1558" y="579"/>
                    <a:pt x="1545" y="569"/>
                    <a:pt x="1547" y="555"/>
                  </a:cubicBezTo>
                  <a:close/>
                  <a:moveTo>
                    <a:pt x="1566" y="1243"/>
                  </a:moveTo>
                  <a:cubicBezTo>
                    <a:pt x="1560" y="1244"/>
                    <a:pt x="1563" y="1232"/>
                    <a:pt x="1558" y="1232"/>
                  </a:cubicBezTo>
                  <a:cubicBezTo>
                    <a:pt x="1558" y="1223"/>
                    <a:pt x="1567" y="1231"/>
                    <a:pt x="1569" y="1232"/>
                  </a:cubicBezTo>
                  <a:cubicBezTo>
                    <a:pt x="1567" y="1235"/>
                    <a:pt x="1566" y="1238"/>
                    <a:pt x="1566" y="1243"/>
                  </a:cubicBezTo>
                  <a:close/>
                  <a:moveTo>
                    <a:pt x="1561" y="1199"/>
                  </a:moveTo>
                  <a:cubicBezTo>
                    <a:pt x="1561" y="1195"/>
                    <a:pt x="1561" y="1191"/>
                    <a:pt x="1561" y="1187"/>
                  </a:cubicBezTo>
                  <a:cubicBezTo>
                    <a:pt x="1568" y="1185"/>
                    <a:pt x="1566" y="1195"/>
                    <a:pt x="1571" y="1195"/>
                  </a:cubicBezTo>
                  <a:cubicBezTo>
                    <a:pt x="1571" y="1200"/>
                    <a:pt x="1565" y="1198"/>
                    <a:pt x="1561" y="1199"/>
                  </a:cubicBezTo>
                  <a:close/>
                  <a:moveTo>
                    <a:pt x="1580" y="1250"/>
                  </a:moveTo>
                  <a:cubicBezTo>
                    <a:pt x="1577" y="1246"/>
                    <a:pt x="1570" y="1249"/>
                    <a:pt x="1571" y="1239"/>
                  </a:cubicBezTo>
                  <a:cubicBezTo>
                    <a:pt x="1574" y="1243"/>
                    <a:pt x="1581" y="1240"/>
                    <a:pt x="1580" y="1250"/>
                  </a:cubicBezTo>
                  <a:close/>
                  <a:moveTo>
                    <a:pt x="1577" y="640"/>
                  </a:moveTo>
                  <a:cubicBezTo>
                    <a:pt x="1577" y="638"/>
                    <a:pt x="1577" y="635"/>
                    <a:pt x="1577" y="633"/>
                  </a:cubicBezTo>
                  <a:cubicBezTo>
                    <a:pt x="1579" y="633"/>
                    <a:pt x="1580" y="633"/>
                    <a:pt x="1582" y="633"/>
                  </a:cubicBezTo>
                  <a:cubicBezTo>
                    <a:pt x="1582" y="635"/>
                    <a:pt x="1582" y="638"/>
                    <a:pt x="1582" y="640"/>
                  </a:cubicBezTo>
                  <a:cubicBezTo>
                    <a:pt x="1580" y="640"/>
                    <a:pt x="1579" y="640"/>
                    <a:pt x="1577" y="640"/>
                  </a:cubicBezTo>
                  <a:close/>
                  <a:moveTo>
                    <a:pt x="1598" y="1254"/>
                  </a:moveTo>
                  <a:cubicBezTo>
                    <a:pt x="1593" y="1257"/>
                    <a:pt x="1592" y="1248"/>
                    <a:pt x="1590" y="1247"/>
                  </a:cubicBezTo>
                  <a:cubicBezTo>
                    <a:pt x="1588" y="1246"/>
                    <a:pt x="1585" y="1252"/>
                    <a:pt x="1582" y="1247"/>
                  </a:cubicBezTo>
                  <a:cubicBezTo>
                    <a:pt x="1587" y="1239"/>
                    <a:pt x="1600" y="1236"/>
                    <a:pt x="1598" y="1254"/>
                  </a:cubicBezTo>
                  <a:close/>
                  <a:moveTo>
                    <a:pt x="1633" y="1291"/>
                  </a:moveTo>
                  <a:cubicBezTo>
                    <a:pt x="1625" y="1305"/>
                    <a:pt x="1624" y="1280"/>
                    <a:pt x="1633" y="1291"/>
                  </a:cubicBezTo>
                  <a:close/>
                  <a:moveTo>
                    <a:pt x="1628" y="1313"/>
                  </a:moveTo>
                  <a:cubicBezTo>
                    <a:pt x="1628" y="1308"/>
                    <a:pt x="1628" y="1303"/>
                    <a:pt x="1628" y="1298"/>
                  </a:cubicBezTo>
                  <a:cubicBezTo>
                    <a:pt x="1637" y="1298"/>
                    <a:pt x="1638" y="1316"/>
                    <a:pt x="1628" y="1313"/>
                  </a:cubicBezTo>
                  <a:close/>
                  <a:moveTo>
                    <a:pt x="1625" y="1250"/>
                  </a:moveTo>
                  <a:cubicBezTo>
                    <a:pt x="1617" y="1249"/>
                    <a:pt x="1607" y="1253"/>
                    <a:pt x="1601" y="1247"/>
                  </a:cubicBezTo>
                  <a:cubicBezTo>
                    <a:pt x="1602" y="1236"/>
                    <a:pt x="1609" y="1246"/>
                    <a:pt x="1612" y="1247"/>
                  </a:cubicBezTo>
                  <a:cubicBezTo>
                    <a:pt x="1614" y="1247"/>
                    <a:pt x="1615" y="1242"/>
                    <a:pt x="1617" y="1243"/>
                  </a:cubicBezTo>
                  <a:cubicBezTo>
                    <a:pt x="1618" y="1243"/>
                    <a:pt x="1617" y="1246"/>
                    <a:pt x="1620" y="1247"/>
                  </a:cubicBezTo>
                  <a:cubicBezTo>
                    <a:pt x="1625" y="1247"/>
                    <a:pt x="1629" y="1246"/>
                    <a:pt x="1636" y="1247"/>
                  </a:cubicBezTo>
                  <a:cubicBezTo>
                    <a:pt x="1638" y="1240"/>
                    <a:pt x="1638" y="1251"/>
                    <a:pt x="1641" y="1250"/>
                  </a:cubicBezTo>
                  <a:cubicBezTo>
                    <a:pt x="1639" y="1261"/>
                    <a:pt x="1631" y="1251"/>
                    <a:pt x="1625" y="1250"/>
                  </a:cubicBezTo>
                  <a:close/>
                  <a:moveTo>
                    <a:pt x="1641" y="588"/>
                  </a:moveTo>
                  <a:cubicBezTo>
                    <a:pt x="1641" y="595"/>
                    <a:pt x="1648" y="600"/>
                    <a:pt x="1639" y="599"/>
                  </a:cubicBezTo>
                  <a:cubicBezTo>
                    <a:pt x="1637" y="611"/>
                    <a:pt x="1644" y="611"/>
                    <a:pt x="1639" y="618"/>
                  </a:cubicBezTo>
                  <a:cubicBezTo>
                    <a:pt x="1627" y="611"/>
                    <a:pt x="1643" y="590"/>
                    <a:pt x="1641" y="574"/>
                  </a:cubicBezTo>
                  <a:cubicBezTo>
                    <a:pt x="1638" y="569"/>
                    <a:pt x="1641" y="572"/>
                    <a:pt x="1644" y="574"/>
                  </a:cubicBezTo>
                  <a:cubicBezTo>
                    <a:pt x="1646" y="581"/>
                    <a:pt x="1641" y="583"/>
                    <a:pt x="1641" y="588"/>
                  </a:cubicBezTo>
                  <a:close/>
                  <a:moveTo>
                    <a:pt x="2066" y="156"/>
                  </a:moveTo>
                  <a:cubicBezTo>
                    <a:pt x="2076" y="166"/>
                    <a:pt x="2060" y="179"/>
                    <a:pt x="2066" y="156"/>
                  </a:cubicBezTo>
                  <a:close/>
                  <a:moveTo>
                    <a:pt x="2055" y="562"/>
                  </a:moveTo>
                  <a:cubicBezTo>
                    <a:pt x="2055" y="562"/>
                    <a:pt x="2053" y="563"/>
                    <a:pt x="2053" y="562"/>
                  </a:cubicBezTo>
                  <a:cubicBezTo>
                    <a:pt x="2043" y="552"/>
                    <a:pt x="2062" y="561"/>
                    <a:pt x="2058" y="566"/>
                  </a:cubicBezTo>
                  <a:cubicBezTo>
                    <a:pt x="2057" y="568"/>
                    <a:pt x="2052" y="570"/>
                    <a:pt x="2053" y="566"/>
                  </a:cubicBezTo>
                  <a:cubicBezTo>
                    <a:pt x="2053" y="565"/>
                    <a:pt x="2056" y="566"/>
                    <a:pt x="2055" y="562"/>
                  </a:cubicBezTo>
                  <a:close/>
                  <a:moveTo>
                    <a:pt x="2034" y="296"/>
                  </a:moveTo>
                  <a:cubicBezTo>
                    <a:pt x="2038" y="296"/>
                    <a:pt x="2042" y="312"/>
                    <a:pt x="2042" y="296"/>
                  </a:cubicBezTo>
                  <a:cubicBezTo>
                    <a:pt x="2051" y="297"/>
                    <a:pt x="2042" y="306"/>
                    <a:pt x="2047" y="307"/>
                  </a:cubicBezTo>
                  <a:cubicBezTo>
                    <a:pt x="2047" y="312"/>
                    <a:pt x="2042" y="311"/>
                    <a:pt x="2042" y="307"/>
                  </a:cubicBezTo>
                  <a:cubicBezTo>
                    <a:pt x="2037" y="307"/>
                    <a:pt x="2036" y="312"/>
                    <a:pt x="2031" y="311"/>
                  </a:cubicBezTo>
                  <a:cubicBezTo>
                    <a:pt x="2031" y="304"/>
                    <a:pt x="2035" y="303"/>
                    <a:pt x="2034" y="296"/>
                  </a:cubicBezTo>
                  <a:close/>
                  <a:moveTo>
                    <a:pt x="2039" y="285"/>
                  </a:moveTo>
                  <a:cubicBezTo>
                    <a:pt x="2041" y="274"/>
                    <a:pt x="2045" y="289"/>
                    <a:pt x="2050" y="285"/>
                  </a:cubicBezTo>
                  <a:cubicBezTo>
                    <a:pt x="2050" y="294"/>
                    <a:pt x="2041" y="286"/>
                    <a:pt x="2039" y="285"/>
                  </a:cubicBezTo>
                  <a:close/>
                  <a:moveTo>
                    <a:pt x="2058" y="241"/>
                  </a:moveTo>
                  <a:cubicBezTo>
                    <a:pt x="2051" y="236"/>
                    <a:pt x="2066" y="214"/>
                    <a:pt x="2058" y="241"/>
                  </a:cubicBezTo>
                  <a:close/>
                  <a:moveTo>
                    <a:pt x="2050" y="174"/>
                  </a:moveTo>
                  <a:cubicBezTo>
                    <a:pt x="2060" y="185"/>
                    <a:pt x="2042" y="187"/>
                    <a:pt x="2050" y="174"/>
                  </a:cubicBezTo>
                  <a:close/>
                  <a:moveTo>
                    <a:pt x="2053" y="244"/>
                  </a:moveTo>
                  <a:cubicBezTo>
                    <a:pt x="2061" y="248"/>
                    <a:pt x="2052" y="257"/>
                    <a:pt x="2050" y="259"/>
                  </a:cubicBezTo>
                  <a:cubicBezTo>
                    <a:pt x="2047" y="259"/>
                    <a:pt x="2048" y="255"/>
                    <a:pt x="2047" y="252"/>
                  </a:cubicBezTo>
                  <a:cubicBezTo>
                    <a:pt x="2045" y="251"/>
                    <a:pt x="2045" y="253"/>
                    <a:pt x="2045" y="255"/>
                  </a:cubicBezTo>
                  <a:cubicBezTo>
                    <a:pt x="2042" y="256"/>
                    <a:pt x="2042" y="254"/>
                    <a:pt x="2042" y="252"/>
                  </a:cubicBezTo>
                  <a:cubicBezTo>
                    <a:pt x="2042" y="249"/>
                    <a:pt x="2042" y="247"/>
                    <a:pt x="2042" y="244"/>
                  </a:cubicBezTo>
                  <a:cubicBezTo>
                    <a:pt x="2047" y="241"/>
                    <a:pt x="2051" y="255"/>
                    <a:pt x="2053" y="244"/>
                  </a:cubicBezTo>
                  <a:close/>
                  <a:moveTo>
                    <a:pt x="2037" y="185"/>
                  </a:moveTo>
                  <a:cubicBezTo>
                    <a:pt x="2038" y="185"/>
                    <a:pt x="2040" y="185"/>
                    <a:pt x="2042" y="185"/>
                  </a:cubicBezTo>
                  <a:cubicBezTo>
                    <a:pt x="2042" y="188"/>
                    <a:pt x="2042" y="190"/>
                    <a:pt x="2042" y="193"/>
                  </a:cubicBezTo>
                  <a:cubicBezTo>
                    <a:pt x="2040" y="193"/>
                    <a:pt x="2038" y="193"/>
                    <a:pt x="2037" y="193"/>
                  </a:cubicBezTo>
                  <a:cubicBezTo>
                    <a:pt x="2037" y="190"/>
                    <a:pt x="2037" y="188"/>
                    <a:pt x="2037" y="185"/>
                  </a:cubicBezTo>
                  <a:close/>
                  <a:moveTo>
                    <a:pt x="2031" y="233"/>
                  </a:moveTo>
                  <a:cubicBezTo>
                    <a:pt x="2041" y="232"/>
                    <a:pt x="2035" y="253"/>
                    <a:pt x="2039" y="259"/>
                  </a:cubicBezTo>
                  <a:cubicBezTo>
                    <a:pt x="2029" y="262"/>
                    <a:pt x="2032" y="245"/>
                    <a:pt x="2031" y="233"/>
                  </a:cubicBezTo>
                  <a:close/>
                  <a:moveTo>
                    <a:pt x="2018" y="548"/>
                  </a:moveTo>
                  <a:cubicBezTo>
                    <a:pt x="2030" y="550"/>
                    <a:pt x="2016" y="570"/>
                    <a:pt x="2018" y="548"/>
                  </a:cubicBezTo>
                  <a:close/>
                  <a:moveTo>
                    <a:pt x="2020" y="1180"/>
                  </a:moveTo>
                  <a:cubicBezTo>
                    <a:pt x="2019" y="1187"/>
                    <a:pt x="2016" y="1181"/>
                    <a:pt x="2012" y="1180"/>
                  </a:cubicBezTo>
                  <a:cubicBezTo>
                    <a:pt x="2014" y="1173"/>
                    <a:pt x="2017" y="1180"/>
                    <a:pt x="2020" y="1180"/>
                  </a:cubicBezTo>
                  <a:close/>
                  <a:moveTo>
                    <a:pt x="2010" y="156"/>
                  </a:moveTo>
                  <a:cubicBezTo>
                    <a:pt x="2018" y="150"/>
                    <a:pt x="2018" y="172"/>
                    <a:pt x="2010" y="167"/>
                  </a:cubicBezTo>
                  <a:cubicBezTo>
                    <a:pt x="2010" y="163"/>
                    <a:pt x="2010" y="159"/>
                    <a:pt x="2010" y="156"/>
                  </a:cubicBezTo>
                  <a:close/>
                  <a:moveTo>
                    <a:pt x="2010" y="174"/>
                  </a:moveTo>
                  <a:cubicBezTo>
                    <a:pt x="2011" y="167"/>
                    <a:pt x="2013" y="176"/>
                    <a:pt x="2012" y="182"/>
                  </a:cubicBezTo>
                  <a:cubicBezTo>
                    <a:pt x="2011" y="189"/>
                    <a:pt x="2009" y="179"/>
                    <a:pt x="2010" y="174"/>
                  </a:cubicBezTo>
                  <a:close/>
                  <a:moveTo>
                    <a:pt x="2012" y="559"/>
                  </a:moveTo>
                  <a:cubicBezTo>
                    <a:pt x="2009" y="557"/>
                    <a:pt x="2007" y="554"/>
                    <a:pt x="2007" y="548"/>
                  </a:cubicBezTo>
                  <a:cubicBezTo>
                    <a:pt x="2010" y="549"/>
                    <a:pt x="2013" y="552"/>
                    <a:pt x="2012" y="559"/>
                  </a:cubicBezTo>
                  <a:close/>
                  <a:moveTo>
                    <a:pt x="2007" y="1187"/>
                  </a:moveTo>
                  <a:cubicBezTo>
                    <a:pt x="2019" y="1189"/>
                    <a:pt x="2004" y="1209"/>
                    <a:pt x="2007" y="1187"/>
                  </a:cubicBezTo>
                  <a:close/>
                  <a:moveTo>
                    <a:pt x="1991" y="182"/>
                  </a:moveTo>
                  <a:cubicBezTo>
                    <a:pt x="1995" y="172"/>
                    <a:pt x="2006" y="183"/>
                    <a:pt x="2004" y="193"/>
                  </a:cubicBezTo>
                  <a:cubicBezTo>
                    <a:pt x="1998" y="197"/>
                    <a:pt x="1993" y="182"/>
                    <a:pt x="1991" y="193"/>
                  </a:cubicBezTo>
                  <a:cubicBezTo>
                    <a:pt x="1988" y="192"/>
                    <a:pt x="1989" y="185"/>
                    <a:pt x="1986" y="185"/>
                  </a:cubicBezTo>
                  <a:cubicBezTo>
                    <a:pt x="1985" y="178"/>
                    <a:pt x="2004" y="189"/>
                    <a:pt x="1991" y="182"/>
                  </a:cubicBezTo>
                  <a:close/>
                  <a:moveTo>
                    <a:pt x="1996" y="537"/>
                  </a:moveTo>
                  <a:cubicBezTo>
                    <a:pt x="1995" y="544"/>
                    <a:pt x="1995" y="552"/>
                    <a:pt x="1988" y="551"/>
                  </a:cubicBezTo>
                  <a:cubicBezTo>
                    <a:pt x="1989" y="548"/>
                    <a:pt x="1991" y="545"/>
                    <a:pt x="1994" y="544"/>
                  </a:cubicBezTo>
                  <a:cubicBezTo>
                    <a:pt x="1991" y="539"/>
                    <a:pt x="1991" y="536"/>
                    <a:pt x="1996" y="537"/>
                  </a:cubicBezTo>
                  <a:close/>
                  <a:moveTo>
                    <a:pt x="1996" y="1169"/>
                  </a:moveTo>
                  <a:cubicBezTo>
                    <a:pt x="1999" y="1172"/>
                    <a:pt x="2000" y="1180"/>
                    <a:pt x="1996" y="1187"/>
                  </a:cubicBezTo>
                  <a:cubicBezTo>
                    <a:pt x="1990" y="1187"/>
                    <a:pt x="1995" y="1171"/>
                    <a:pt x="1996" y="1169"/>
                  </a:cubicBezTo>
                  <a:close/>
                  <a:moveTo>
                    <a:pt x="1996" y="211"/>
                  </a:moveTo>
                  <a:cubicBezTo>
                    <a:pt x="1990" y="213"/>
                    <a:pt x="1990" y="204"/>
                    <a:pt x="1983" y="207"/>
                  </a:cubicBezTo>
                  <a:cubicBezTo>
                    <a:pt x="1989" y="197"/>
                    <a:pt x="1991" y="205"/>
                    <a:pt x="1999" y="200"/>
                  </a:cubicBezTo>
                  <a:cubicBezTo>
                    <a:pt x="1998" y="203"/>
                    <a:pt x="1996" y="206"/>
                    <a:pt x="1996" y="211"/>
                  </a:cubicBezTo>
                  <a:close/>
                  <a:moveTo>
                    <a:pt x="1999" y="570"/>
                  </a:moveTo>
                  <a:cubicBezTo>
                    <a:pt x="2011" y="571"/>
                    <a:pt x="1996" y="591"/>
                    <a:pt x="1999" y="570"/>
                  </a:cubicBezTo>
                  <a:close/>
                  <a:moveTo>
                    <a:pt x="1986" y="122"/>
                  </a:moveTo>
                  <a:cubicBezTo>
                    <a:pt x="1988" y="123"/>
                    <a:pt x="1987" y="130"/>
                    <a:pt x="1991" y="130"/>
                  </a:cubicBezTo>
                  <a:cubicBezTo>
                    <a:pt x="1990" y="134"/>
                    <a:pt x="1986" y="132"/>
                    <a:pt x="1986" y="137"/>
                  </a:cubicBezTo>
                  <a:cubicBezTo>
                    <a:pt x="1977" y="135"/>
                    <a:pt x="1988" y="129"/>
                    <a:pt x="1986" y="122"/>
                  </a:cubicBezTo>
                  <a:close/>
                  <a:moveTo>
                    <a:pt x="1977" y="133"/>
                  </a:moveTo>
                  <a:cubicBezTo>
                    <a:pt x="1976" y="133"/>
                    <a:pt x="1974" y="133"/>
                    <a:pt x="1972" y="133"/>
                  </a:cubicBezTo>
                  <a:cubicBezTo>
                    <a:pt x="1973" y="130"/>
                    <a:pt x="1971" y="130"/>
                    <a:pt x="1969" y="130"/>
                  </a:cubicBezTo>
                  <a:cubicBezTo>
                    <a:pt x="1968" y="123"/>
                    <a:pt x="1982" y="124"/>
                    <a:pt x="1977" y="133"/>
                  </a:cubicBezTo>
                  <a:close/>
                  <a:moveTo>
                    <a:pt x="1961" y="133"/>
                  </a:moveTo>
                  <a:cubicBezTo>
                    <a:pt x="1966" y="142"/>
                    <a:pt x="1971" y="147"/>
                    <a:pt x="1980" y="141"/>
                  </a:cubicBezTo>
                  <a:cubicBezTo>
                    <a:pt x="1979" y="144"/>
                    <a:pt x="1978" y="145"/>
                    <a:pt x="1977" y="148"/>
                  </a:cubicBezTo>
                  <a:cubicBezTo>
                    <a:pt x="1977" y="156"/>
                    <a:pt x="1983" y="158"/>
                    <a:pt x="1983" y="163"/>
                  </a:cubicBezTo>
                  <a:cubicBezTo>
                    <a:pt x="1982" y="176"/>
                    <a:pt x="1978" y="182"/>
                    <a:pt x="1972" y="193"/>
                  </a:cubicBezTo>
                  <a:cubicBezTo>
                    <a:pt x="1969" y="192"/>
                    <a:pt x="1972" y="174"/>
                    <a:pt x="1975" y="174"/>
                  </a:cubicBezTo>
                  <a:cubicBezTo>
                    <a:pt x="1979" y="174"/>
                    <a:pt x="1974" y="159"/>
                    <a:pt x="1972" y="152"/>
                  </a:cubicBezTo>
                  <a:cubicBezTo>
                    <a:pt x="1968" y="152"/>
                    <a:pt x="1971" y="159"/>
                    <a:pt x="1969" y="163"/>
                  </a:cubicBezTo>
                  <a:cubicBezTo>
                    <a:pt x="1964" y="176"/>
                    <a:pt x="1972" y="145"/>
                    <a:pt x="1961" y="148"/>
                  </a:cubicBezTo>
                  <a:cubicBezTo>
                    <a:pt x="1961" y="143"/>
                    <a:pt x="1961" y="138"/>
                    <a:pt x="1961" y="133"/>
                  </a:cubicBezTo>
                  <a:close/>
                  <a:moveTo>
                    <a:pt x="1969" y="1232"/>
                  </a:moveTo>
                  <a:cubicBezTo>
                    <a:pt x="1973" y="1227"/>
                    <a:pt x="1971" y="1214"/>
                    <a:pt x="1961" y="1217"/>
                  </a:cubicBezTo>
                  <a:cubicBezTo>
                    <a:pt x="1960" y="1209"/>
                    <a:pt x="1966" y="1212"/>
                    <a:pt x="1967" y="1206"/>
                  </a:cubicBezTo>
                  <a:cubicBezTo>
                    <a:pt x="1967" y="1202"/>
                    <a:pt x="1972" y="1203"/>
                    <a:pt x="1975" y="1202"/>
                  </a:cubicBezTo>
                  <a:cubicBezTo>
                    <a:pt x="1976" y="1211"/>
                    <a:pt x="1974" y="1216"/>
                    <a:pt x="1972" y="1221"/>
                  </a:cubicBezTo>
                  <a:cubicBezTo>
                    <a:pt x="1974" y="1224"/>
                    <a:pt x="1978" y="1234"/>
                    <a:pt x="1969" y="1232"/>
                  </a:cubicBezTo>
                  <a:close/>
                  <a:moveTo>
                    <a:pt x="1964" y="1306"/>
                  </a:moveTo>
                  <a:cubicBezTo>
                    <a:pt x="1963" y="1310"/>
                    <a:pt x="1961" y="1313"/>
                    <a:pt x="1956" y="1313"/>
                  </a:cubicBezTo>
                  <a:cubicBezTo>
                    <a:pt x="1957" y="1309"/>
                    <a:pt x="1959" y="1306"/>
                    <a:pt x="1964" y="1306"/>
                  </a:cubicBezTo>
                  <a:close/>
                  <a:moveTo>
                    <a:pt x="1964" y="207"/>
                  </a:moveTo>
                  <a:cubicBezTo>
                    <a:pt x="1964" y="205"/>
                    <a:pt x="1964" y="202"/>
                    <a:pt x="1964" y="200"/>
                  </a:cubicBezTo>
                  <a:cubicBezTo>
                    <a:pt x="1969" y="199"/>
                    <a:pt x="1972" y="201"/>
                    <a:pt x="1972" y="207"/>
                  </a:cubicBezTo>
                  <a:cubicBezTo>
                    <a:pt x="1969" y="207"/>
                    <a:pt x="1967" y="207"/>
                    <a:pt x="1964" y="207"/>
                  </a:cubicBezTo>
                  <a:close/>
                  <a:moveTo>
                    <a:pt x="1961" y="163"/>
                  </a:moveTo>
                  <a:cubicBezTo>
                    <a:pt x="1969" y="151"/>
                    <a:pt x="1953" y="183"/>
                    <a:pt x="1967" y="178"/>
                  </a:cubicBezTo>
                  <a:cubicBezTo>
                    <a:pt x="1967" y="184"/>
                    <a:pt x="1963" y="186"/>
                    <a:pt x="1964" y="193"/>
                  </a:cubicBezTo>
                  <a:cubicBezTo>
                    <a:pt x="1960" y="187"/>
                    <a:pt x="1956" y="171"/>
                    <a:pt x="1961" y="163"/>
                  </a:cubicBezTo>
                  <a:close/>
                  <a:moveTo>
                    <a:pt x="1940" y="108"/>
                  </a:moveTo>
                  <a:cubicBezTo>
                    <a:pt x="1942" y="108"/>
                    <a:pt x="1945" y="108"/>
                    <a:pt x="1948" y="108"/>
                  </a:cubicBezTo>
                  <a:cubicBezTo>
                    <a:pt x="1945" y="115"/>
                    <a:pt x="1952" y="125"/>
                    <a:pt x="1953" y="115"/>
                  </a:cubicBezTo>
                  <a:cubicBezTo>
                    <a:pt x="1956" y="114"/>
                    <a:pt x="1956" y="116"/>
                    <a:pt x="1956" y="119"/>
                  </a:cubicBezTo>
                  <a:cubicBezTo>
                    <a:pt x="1955" y="122"/>
                    <a:pt x="1957" y="122"/>
                    <a:pt x="1959" y="122"/>
                  </a:cubicBezTo>
                  <a:cubicBezTo>
                    <a:pt x="1959" y="127"/>
                    <a:pt x="1954" y="124"/>
                    <a:pt x="1953" y="126"/>
                  </a:cubicBezTo>
                  <a:cubicBezTo>
                    <a:pt x="1951" y="130"/>
                    <a:pt x="1954" y="139"/>
                    <a:pt x="1951" y="141"/>
                  </a:cubicBezTo>
                  <a:cubicBezTo>
                    <a:pt x="1947" y="138"/>
                    <a:pt x="1945" y="132"/>
                    <a:pt x="1945" y="122"/>
                  </a:cubicBezTo>
                  <a:cubicBezTo>
                    <a:pt x="1943" y="122"/>
                    <a:pt x="1943" y="127"/>
                    <a:pt x="1942" y="130"/>
                  </a:cubicBezTo>
                  <a:cubicBezTo>
                    <a:pt x="1940" y="128"/>
                    <a:pt x="1938" y="126"/>
                    <a:pt x="1934" y="126"/>
                  </a:cubicBezTo>
                  <a:cubicBezTo>
                    <a:pt x="1937" y="121"/>
                    <a:pt x="1937" y="112"/>
                    <a:pt x="1940" y="108"/>
                  </a:cubicBezTo>
                  <a:close/>
                  <a:moveTo>
                    <a:pt x="1937" y="174"/>
                  </a:moveTo>
                  <a:cubicBezTo>
                    <a:pt x="1934" y="161"/>
                    <a:pt x="1954" y="164"/>
                    <a:pt x="1948" y="178"/>
                  </a:cubicBezTo>
                  <a:cubicBezTo>
                    <a:pt x="1943" y="171"/>
                    <a:pt x="1946" y="171"/>
                    <a:pt x="1937" y="174"/>
                  </a:cubicBezTo>
                  <a:close/>
                  <a:moveTo>
                    <a:pt x="1945" y="1095"/>
                  </a:moveTo>
                  <a:cubicBezTo>
                    <a:pt x="1944" y="1100"/>
                    <a:pt x="1942" y="1103"/>
                    <a:pt x="1937" y="1102"/>
                  </a:cubicBezTo>
                  <a:cubicBezTo>
                    <a:pt x="1938" y="1098"/>
                    <a:pt x="1941" y="1095"/>
                    <a:pt x="1945" y="1095"/>
                  </a:cubicBezTo>
                  <a:close/>
                  <a:moveTo>
                    <a:pt x="1942" y="137"/>
                  </a:moveTo>
                  <a:cubicBezTo>
                    <a:pt x="1941" y="142"/>
                    <a:pt x="1939" y="145"/>
                    <a:pt x="1934" y="145"/>
                  </a:cubicBezTo>
                  <a:cubicBezTo>
                    <a:pt x="1936" y="140"/>
                    <a:pt x="1938" y="137"/>
                    <a:pt x="1942" y="137"/>
                  </a:cubicBezTo>
                  <a:close/>
                  <a:moveTo>
                    <a:pt x="1908" y="193"/>
                  </a:moveTo>
                  <a:cubicBezTo>
                    <a:pt x="1910" y="201"/>
                    <a:pt x="1917" y="202"/>
                    <a:pt x="1921" y="207"/>
                  </a:cubicBezTo>
                  <a:cubicBezTo>
                    <a:pt x="1919" y="214"/>
                    <a:pt x="1915" y="210"/>
                    <a:pt x="1916" y="204"/>
                  </a:cubicBezTo>
                  <a:cubicBezTo>
                    <a:pt x="1910" y="205"/>
                    <a:pt x="1909" y="201"/>
                    <a:pt x="1905" y="200"/>
                  </a:cubicBezTo>
                  <a:cubicBezTo>
                    <a:pt x="1901" y="191"/>
                    <a:pt x="1913" y="185"/>
                    <a:pt x="1905" y="182"/>
                  </a:cubicBezTo>
                  <a:cubicBezTo>
                    <a:pt x="1905" y="173"/>
                    <a:pt x="1912" y="183"/>
                    <a:pt x="1913" y="182"/>
                  </a:cubicBezTo>
                  <a:cubicBezTo>
                    <a:pt x="1913" y="181"/>
                    <a:pt x="1913" y="178"/>
                    <a:pt x="1913" y="178"/>
                  </a:cubicBezTo>
                  <a:cubicBezTo>
                    <a:pt x="1919" y="179"/>
                    <a:pt x="1920" y="185"/>
                    <a:pt x="1924" y="193"/>
                  </a:cubicBezTo>
                  <a:cubicBezTo>
                    <a:pt x="1927" y="199"/>
                    <a:pt x="1935" y="201"/>
                    <a:pt x="1932" y="207"/>
                  </a:cubicBezTo>
                  <a:cubicBezTo>
                    <a:pt x="1922" y="210"/>
                    <a:pt x="1920" y="202"/>
                    <a:pt x="1921" y="189"/>
                  </a:cubicBezTo>
                  <a:cubicBezTo>
                    <a:pt x="1915" y="188"/>
                    <a:pt x="1911" y="190"/>
                    <a:pt x="1908" y="193"/>
                  </a:cubicBezTo>
                  <a:close/>
                  <a:moveTo>
                    <a:pt x="1897" y="244"/>
                  </a:moveTo>
                  <a:cubicBezTo>
                    <a:pt x="1897" y="239"/>
                    <a:pt x="1894" y="244"/>
                    <a:pt x="1894" y="244"/>
                  </a:cubicBezTo>
                  <a:cubicBezTo>
                    <a:pt x="1891" y="243"/>
                    <a:pt x="1892" y="235"/>
                    <a:pt x="1886" y="237"/>
                  </a:cubicBezTo>
                  <a:cubicBezTo>
                    <a:pt x="1888" y="231"/>
                    <a:pt x="1895" y="232"/>
                    <a:pt x="1899" y="230"/>
                  </a:cubicBezTo>
                  <a:cubicBezTo>
                    <a:pt x="1899" y="239"/>
                    <a:pt x="1897" y="253"/>
                    <a:pt x="1908" y="248"/>
                  </a:cubicBezTo>
                  <a:cubicBezTo>
                    <a:pt x="1909" y="258"/>
                    <a:pt x="1898" y="252"/>
                    <a:pt x="1897" y="259"/>
                  </a:cubicBezTo>
                  <a:cubicBezTo>
                    <a:pt x="1890" y="258"/>
                    <a:pt x="1900" y="253"/>
                    <a:pt x="1897" y="244"/>
                  </a:cubicBezTo>
                  <a:close/>
                  <a:moveTo>
                    <a:pt x="1908" y="241"/>
                  </a:moveTo>
                  <a:cubicBezTo>
                    <a:pt x="1901" y="240"/>
                    <a:pt x="1901" y="231"/>
                    <a:pt x="1905" y="226"/>
                  </a:cubicBezTo>
                  <a:cubicBezTo>
                    <a:pt x="1911" y="227"/>
                    <a:pt x="1911" y="236"/>
                    <a:pt x="1908" y="241"/>
                  </a:cubicBezTo>
                  <a:close/>
                  <a:moveTo>
                    <a:pt x="1902" y="222"/>
                  </a:moveTo>
                  <a:cubicBezTo>
                    <a:pt x="1904" y="217"/>
                    <a:pt x="1911" y="217"/>
                    <a:pt x="1916" y="215"/>
                  </a:cubicBezTo>
                  <a:cubicBezTo>
                    <a:pt x="1918" y="227"/>
                    <a:pt x="1907" y="221"/>
                    <a:pt x="1902" y="222"/>
                  </a:cubicBezTo>
                  <a:close/>
                  <a:moveTo>
                    <a:pt x="1926" y="189"/>
                  </a:moveTo>
                  <a:cubicBezTo>
                    <a:pt x="1936" y="167"/>
                    <a:pt x="1940" y="211"/>
                    <a:pt x="1926" y="189"/>
                  </a:cubicBezTo>
                  <a:close/>
                  <a:moveTo>
                    <a:pt x="1932" y="211"/>
                  </a:moveTo>
                  <a:cubicBezTo>
                    <a:pt x="1941" y="209"/>
                    <a:pt x="1932" y="228"/>
                    <a:pt x="1929" y="222"/>
                  </a:cubicBezTo>
                  <a:cubicBezTo>
                    <a:pt x="1929" y="222"/>
                    <a:pt x="1931" y="215"/>
                    <a:pt x="1932" y="215"/>
                  </a:cubicBezTo>
                  <a:cubicBezTo>
                    <a:pt x="1932" y="215"/>
                    <a:pt x="1932" y="211"/>
                    <a:pt x="1932" y="211"/>
                  </a:cubicBezTo>
                  <a:close/>
                  <a:moveTo>
                    <a:pt x="1934" y="159"/>
                  </a:moveTo>
                  <a:cubicBezTo>
                    <a:pt x="1934" y="164"/>
                    <a:pt x="1933" y="161"/>
                    <a:pt x="1932" y="163"/>
                  </a:cubicBezTo>
                  <a:cubicBezTo>
                    <a:pt x="1931" y="166"/>
                    <a:pt x="1922" y="176"/>
                    <a:pt x="1932" y="174"/>
                  </a:cubicBezTo>
                  <a:cubicBezTo>
                    <a:pt x="1931" y="178"/>
                    <a:pt x="1927" y="177"/>
                    <a:pt x="1924" y="178"/>
                  </a:cubicBezTo>
                  <a:cubicBezTo>
                    <a:pt x="1924" y="173"/>
                    <a:pt x="1924" y="168"/>
                    <a:pt x="1924" y="163"/>
                  </a:cubicBezTo>
                  <a:cubicBezTo>
                    <a:pt x="1928" y="163"/>
                    <a:pt x="1931" y="164"/>
                    <a:pt x="1932" y="159"/>
                  </a:cubicBezTo>
                  <a:cubicBezTo>
                    <a:pt x="1932" y="155"/>
                    <a:pt x="1935" y="157"/>
                    <a:pt x="1934" y="159"/>
                  </a:cubicBezTo>
                  <a:close/>
                  <a:moveTo>
                    <a:pt x="1921" y="119"/>
                  </a:moveTo>
                  <a:cubicBezTo>
                    <a:pt x="1923" y="120"/>
                    <a:pt x="1926" y="113"/>
                    <a:pt x="1929" y="119"/>
                  </a:cubicBezTo>
                  <a:cubicBezTo>
                    <a:pt x="1930" y="125"/>
                    <a:pt x="1920" y="138"/>
                    <a:pt x="1932" y="137"/>
                  </a:cubicBezTo>
                  <a:cubicBezTo>
                    <a:pt x="1929" y="146"/>
                    <a:pt x="1915" y="158"/>
                    <a:pt x="1921" y="167"/>
                  </a:cubicBezTo>
                  <a:cubicBezTo>
                    <a:pt x="1913" y="177"/>
                    <a:pt x="1913" y="159"/>
                    <a:pt x="1916" y="148"/>
                  </a:cubicBezTo>
                  <a:cubicBezTo>
                    <a:pt x="1918" y="148"/>
                    <a:pt x="1921" y="148"/>
                    <a:pt x="1924" y="148"/>
                  </a:cubicBezTo>
                  <a:cubicBezTo>
                    <a:pt x="1922" y="137"/>
                    <a:pt x="1922" y="141"/>
                    <a:pt x="1924" y="130"/>
                  </a:cubicBezTo>
                  <a:cubicBezTo>
                    <a:pt x="1921" y="129"/>
                    <a:pt x="1919" y="131"/>
                    <a:pt x="1918" y="133"/>
                  </a:cubicBezTo>
                  <a:cubicBezTo>
                    <a:pt x="1912" y="135"/>
                    <a:pt x="1926" y="115"/>
                    <a:pt x="1913" y="119"/>
                  </a:cubicBezTo>
                  <a:cubicBezTo>
                    <a:pt x="1914" y="117"/>
                    <a:pt x="1916" y="110"/>
                    <a:pt x="1918" y="111"/>
                  </a:cubicBezTo>
                  <a:cubicBezTo>
                    <a:pt x="1921" y="112"/>
                    <a:pt x="1920" y="118"/>
                    <a:pt x="1921" y="119"/>
                  </a:cubicBezTo>
                  <a:close/>
                  <a:moveTo>
                    <a:pt x="1913" y="71"/>
                  </a:moveTo>
                  <a:cubicBezTo>
                    <a:pt x="1915" y="71"/>
                    <a:pt x="1917" y="71"/>
                    <a:pt x="1918" y="71"/>
                  </a:cubicBezTo>
                  <a:cubicBezTo>
                    <a:pt x="1918" y="77"/>
                    <a:pt x="1918" y="83"/>
                    <a:pt x="1918" y="89"/>
                  </a:cubicBezTo>
                  <a:cubicBezTo>
                    <a:pt x="1916" y="87"/>
                    <a:pt x="1916" y="81"/>
                    <a:pt x="1910" y="82"/>
                  </a:cubicBezTo>
                  <a:cubicBezTo>
                    <a:pt x="1910" y="76"/>
                    <a:pt x="1913" y="75"/>
                    <a:pt x="1913" y="71"/>
                  </a:cubicBezTo>
                  <a:close/>
                  <a:moveTo>
                    <a:pt x="1897" y="111"/>
                  </a:moveTo>
                  <a:cubicBezTo>
                    <a:pt x="1904" y="113"/>
                    <a:pt x="1909" y="131"/>
                    <a:pt x="1897" y="130"/>
                  </a:cubicBezTo>
                  <a:cubicBezTo>
                    <a:pt x="1897" y="124"/>
                    <a:pt x="1897" y="117"/>
                    <a:pt x="1897" y="111"/>
                  </a:cubicBezTo>
                  <a:close/>
                  <a:moveTo>
                    <a:pt x="1894" y="137"/>
                  </a:moveTo>
                  <a:cubicBezTo>
                    <a:pt x="1891" y="136"/>
                    <a:pt x="1889" y="132"/>
                    <a:pt x="1889" y="126"/>
                  </a:cubicBezTo>
                  <a:cubicBezTo>
                    <a:pt x="1892" y="128"/>
                    <a:pt x="1894" y="131"/>
                    <a:pt x="1894" y="137"/>
                  </a:cubicBezTo>
                  <a:close/>
                  <a:moveTo>
                    <a:pt x="1875" y="126"/>
                  </a:moveTo>
                  <a:cubicBezTo>
                    <a:pt x="1884" y="126"/>
                    <a:pt x="1872" y="118"/>
                    <a:pt x="1873" y="108"/>
                  </a:cubicBezTo>
                  <a:cubicBezTo>
                    <a:pt x="1875" y="110"/>
                    <a:pt x="1879" y="111"/>
                    <a:pt x="1883" y="111"/>
                  </a:cubicBezTo>
                  <a:cubicBezTo>
                    <a:pt x="1883" y="116"/>
                    <a:pt x="1883" y="122"/>
                    <a:pt x="1886" y="122"/>
                  </a:cubicBezTo>
                  <a:cubicBezTo>
                    <a:pt x="1886" y="129"/>
                    <a:pt x="1877" y="125"/>
                    <a:pt x="1875" y="130"/>
                  </a:cubicBezTo>
                  <a:cubicBezTo>
                    <a:pt x="1876" y="137"/>
                    <a:pt x="1875" y="141"/>
                    <a:pt x="1870" y="141"/>
                  </a:cubicBezTo>
                  <a:cubicBezTo>
                    <a:pt x="1874" y="139"/>
                    <a:pt x="1867" y="126"/>
                    <a:pt x="1875" y="126"/>
                  </a:cubicBezTo>
                  <a:close/>
                  <a:moveTo>
                    <a:pt x="1878" y="152"/>
                  </a:moveTo>
                  <a:cubicBezTo>
                    <a:pt x="1879" y="149"/>
                    <a:pt x="1881" y="148"/>
                    <a:pt x="1881" y="145"/>
                  </a:cubicBezTo>
                  <a:cubicBezTo>
                    <a:pt x="1882" y="145"/>
                    <a:pt x="1884" y="145"/>
                    <a:pt x="1886" y="145"/>
                  </a:cubicBezTo>
                  <a:cubicBezTo>
                    <a:pt x="1887" y="152"/>
                    <a:pt x="1882" y="152"/>
                    <a:pt x="1878" y="152"/>
                  </a:cubicBezTo>
                  <a:close/>
                  <a:moveTo>
                    <a:pt x="1838" y="133"/>
                  </a:moveTo>
                  <a:cubicBezTo>
                    <a:pt x="1839" y="126"/>
                    <a:pt x="1841" y="136"/>
                    <a:pt x="1840" y="141"/>
                  </a:cubicBezTo>
                  <a:cubicBezTo>
                    <a:pt x="1839" y="148"/>
                    <a:pt x="1837" y="138"/>
                    <a:pt x="1838" y="133"/>
                  </a:cubicBezTo>
                  <a:close/>
                  <a:moveTo>
                    <a:pt x="1830" y="126"/>
                  </a:moveTo>
                  <a:cubicBezTo>
                    <a:pt x="1822" y="128"/>
                    <a:pt x="1827" y="112"/>
                    <a:pt x="1822" y="111"/>
                  </a:cubicBezTo>
                  <a:cubicBezTo>
                    <a:pt x="1825" y="101"/>
                    <a:pt x="1831" y="117"/>
                    <a:pt x="1830" y="126"/>
                  </a:cubicBezTo>
                  <a:close/>
                  <a:moveTo>
                    <a:pt x="1773" y="122"/>
                  </a:moveTo>
                  <a:cubicBezTo>
                    <a:pt x="1775" y="123"/>
                    <a:pt x="1776" y="126"/>
                    <a:pt x="1778" y="126"/>
                  </a:cubicBezTo>
                  <a:cubicBezTo>
                    <a:pt x="1778" y="129"/>
                    <a:pt x="1776" y="130"/>
                    <a:pt x="1776" y="133"/>
                  </a:cubicBezTo>
                  <a:cubicBezTo>
                    <a:pt x="1774" y="133"/>
                    <a:pt x="1773" y="130"/>
                    <a:pt x="1770" y="130"/>
                  </a:cubicBezTo>
                  <a:cubicBezTo>
                    <a:pt x="1771" y="127"/>
                    <a:pt x="1773" y="126"/>
                    <a:pt x="1773" y="122"/>
                  </a:cubicBezTo>
                  <a:close/>
                  <a:moveTo>
                    <a:pt x="1757" y="96"/>
                  </a:moveTo>
                  <a:cubicBezTo>
                    <a:pt x="1769" y="99"/>
                    <a:pt x="1755" y="119"/>
                    <a:pt x="1757" y="96"/>
                  </a:cubicBezTo>
                  <a:close/>
                  <a:moveTo>
                    <a:pt x="1711" y="163"/>
                  </a:moveTo>
                  <a:cubicBezTo>
                    <a:pt x="1717" y="164"/>
                    <a:pt x="1715" y="146"/>
                    <a:pt x="1709" y="152"/>
                  </a:cubicBezTo>
                  <a:cubicBezTo>
                    <a:pt x="1710" y="149"/>
                    <a:pt x="1711" y="145"/>
                    <a:pt x="1714" y="145"/>
                  </a:cubicBezTo>
                  <a:cubicBezTo>
                    <a:pt x="1723" y="135"/>
                    <a:pt x="1724" y="159"/>
                    <a:pt x="1725" y="137"/>
                  </a:cubicBezTo>
                  <a:cubicBezTo>
                    <a:pt x="1730" y="139"/>
                    <a:pt x="1730" y="148"/>
                    <a:pt x="1738" y="145"/>
                  </a:cubicBezTo>
                  <a:cubicBezTo>
                    <a:pt x="1736" y="155"/>
                    <a:pt x="1742" y="154"/>
                    <a:pt x="1741" y="163"/>
                  </a:cubicBezTo>
                  <a:cubicBezTo>
                    <a:pt x="1749" y="160"/>
                    <a:pt x="1739" y="151"/>
                    <a:pt x="1741" y="145"/>
                  </a:cubicBezTo>
                  <a:cubicBezTo>
                    <a:pt x="1746" y="151"/>
                    <a:pt x="1753" y="132"/>
                    <a:pt x="1760" y="141"/>
                  </a:cubicBezTo>
                  <a:cubicBezTo>
                    <a:pt x="1760" y="141"/>
                    <a:pt x="1760" y="145"/>
                    <a:pt x="1760" y="145"/>
                  </a:cubicBezTo>
                  <a:cubicBezTo>
                    <a:pt x="1761" y="144"/>
                    <a:pt x="1763" y="137"/>
                    <a:pt x="1762" y="137"/>
                  </a:cubicBezTo>
                  <a:cubicBezTo>
                    <a:pt x="1766" y="137"/>
                    <a:pt x="1766" y="147"/>
                    <a:pt x="1768" y="148"/>
                  </a:cubicBezTo>
                  <a:cubicBezTo>
                    <a:pt x="1772" y="151"/>
                    <a:pt x="1773" y="134"/>
                    <a:pt x="1778" y="145"/>
                  </a:cubicBezTo>
                  <a:cubicBezTo>
                    <a:pt x="1787" y="146"/>
                    <a:pt x="1779" y="126"/>
                    <a:pt x="1789" y="130"/>
                  </a:cubicBezTo>
                  <a:cubicBezTo>
                    <a:pt x="1788" y="135"/>
                    <a:pt x="1785" y="139"/>
                    <a:pt x="1784" y="145"/>
                  </a:cubicBezTo>
                  <a:cubicBezTo>
                    <a:pt x="1785" y="152"/>
                    <a:pt x="1794" y="147"/>
                    <a:pt x="1797" y="148"/>
                  </a:cubicBezTo>
                  <a:cubicBezTo>
                    <a:pt x="1797" y="148"/>
                    <a:pt x="1797" y="152"/>
                    <a:pt x="1797" y="152"/>
                  </a:cubicBezTo>
                  <a:cubicBezTo>
                    <a:pt x="1803" y="153"/>
                    <a:pt x="1811" y="148"/>
                    <a:pt x="1816" y="156"/>
                  </a:cubicBezTo>
                  <a:cubicBezTo>
                    <a:pt x="1816" y="156"/>
                    <a:pt x="1816" y="159"/>
                    <a:pt x="1816" y="159"/>
                  </a:cubicBezTo>
                  <a:cubicBezTo>
                    <a:pt x="1824" y="159"/>
                    <a:pt x="1822" y="138"/>
                    <a:pt x="1827" y="159"/>
                  </a:cubicBezTo>
                  <a:cubicBezTo>
                    <a:pt x="1831" y="158"/>
                    <a:pt x="1829" y="150"/>
                    <a:pt x="1830" y="145"/>
                  </a:cubicBezTo>
                  <a:cubicBezTo>
                    <a:pt x="1827" y="141"/>
                    <a:pt x="1824" y="137"/>
                    <a:pt x="1822" y="133"/>
                  </a:cubicBezTo>
                  <a:cubicBezTo>
                    <a:pt x="1821" y="122"/>
                    <a:pt x="1829" y="143"/>
                    <a:pt x="1830" y="130"/>
                  </a:cubicBezTo>
                  <a:cubicBezTo>
                    <a:pt x="1837" y="136"/>
                    <a:pt x="1826" y="166"/>
                    <a:pt x="1843" y="159"/>
                  </a:cubicBezTo>
                  <a:cubicBezTo>
                    <a:pt x="1842" y="162"/>
                    <a:pt x="1840" y="165"/>
                    <a:pt x="1840" y="170"/>
                  </a:cubicBezTo>
                  <a:cubicBezTo>
                    <a:pt x="1832" y="174"/>
                    <a:pt x="1832" y="165"/>
                    <a:pt x="1827" y="163"/>
                  </a:cubicBezTo>
                  <a:cubicBezTo>
                    <a:pt x="1820" y="163"/>
                    <a:pt x="1815" y="167"/>
                    <a:pt x="1811" y="167"/>
                  </a:cubicBezTo>
                  <a:cubicBezTo>
                    <a:pt x="1812" y="167"/>
                    <a:pt x="1808" y="155"/>
                    <a:pt x="1805" y="159"/>
                  </a:cubicBezTo>
                  <a:cubicBezTo>
                    <a:pt x="1803" y="164"/>
                    <a:pt x="1805" y="160"/>
                    <a:pt x="1803" y="159"/>
                  </a:cubicBezTo>
                  <a:cubicBezTo>
                    <a:pt x="1800" y="159"/>
                    <a:pt x="1800" y="163"/>
                    <a:pt x="1800" y="163"/>
                  </a:cubicBezTo>
                  <a:cubicBezTo>
                    <a:pt x="1794" y="162"/>
                    <a:pt x="1793" y="156"/>
                    <a:pt x="1787" y="156"/>
                  </a:cubicBezTo>
                  <a:cubicBezTo>
                    <a:pt x="1787" y="159"/>
                    <a:pt x="1790" y="159"/>
                    <a:pt x="1792" y="159"/>
                  </a:cubicBezTo>
                  <a:cubicBezTo>
                    <a:pt x="1789" y="166"/>
                    <a:pt x="1785" y="170"/>
                    <a:pt x="1784" y="178"/>
                  </a:cubicBezTo>
                  <a:cubicBezTo>
                    <a:pt x="1776" y="175"/>
                    <a:pt x="1787" y="169"/>
                    <a:pt x="1784" y="159"/>
                  </a:cubicBezTo>
                  <a:cubicBezTo>
                    <a:pt x="1781" y="159"/>
                    <a:pt x="1782" y="164"/>
                    <a:pt x="1781" y="167"/>
                  </a:cubicBezTo>
                  <a:cubicBezTo>
                    <a:pt x="1778" y="164"/>
                    <a:pt x="1778" y="158"/>
                    <a:pt x="1773" y="159"/>
                  </a:cubicBezTo>
                  <a:cubicBezTo>
                    <a:pt x="1773" y="156"/>
                    <a:pt x="1773" y="152"/>
                    <a:pt x="1773" y="148"/>
                  </a:cubicBezTo>
                  <a:cubicBezTo>
                    <a:pt x="1770" y="147"/>
                    <a:pt x="1764" y="159"/>
                    <a:pt x="1770" y="159"/>
                  </a:cubicBezTo>
                  <a:cubicBezTo>
                    <a:pt x="1769" y="163"/>
                    <a:pt x="1764" y="163"/>
                    <a:pt x="1765" y="170"/>
                  </a:cubicBezTo>
                  <a:cubicBezTo>
                    <a:pt x="1760" y="164"/>
                    <a:pt x="1762" y="171"/>
                    <a:pt x="1754" y="170"/>
                  </a:cubicBezTo>
                  <a:cubicBezTo>
                    <a:pt x="1754" y="160"/>
                    <a:pt x="1759" y="163"/>
                    <a:pt x="1754" y="156"/>
                  </a:cubicBezTo>
                  <a:cubicBezTo>
                    <a:pt x="1750" y="159"/>
                    <a:pt x="1749" y="165"/>
                    <a:pt x="1749" y="174"/>
                  </a:cubicBezTo>
                  <a:cubicBezTo>
                    <a:pt x="1747" y="172"/>
                    <a:pt x="1744" y="171"/>
                    <a:pt x="1744" y="167"/>
                  </a:cubicBezTo>
                  <a:cubicBezTo>
                    <a:pt x="1741" y="168"/>
                    <a:pt x="1741" y="170"/>
                    <a:pt x="1738" y="170"/>
                  </a:cubicBezTo>
                  <a:cubicBezTo>
                    <a:pt x="1734" y="171"/>
                    <a:pt x="1734" y="167"/>
                    <a:pt x="1730" y="167"/>
                  </a:cubicBezTo>
                  <a:cubicBezTo>
                    <a:pt x="1725" y="166"/>
                    <a:pt x="1722" y="176"/>
                    <a:pt x="1722" y="163"/>
                  </a:cubicBezTo>
                  <a:cubicBezTo>
                    <a:pt x="1717" y="159"/>
                    <a:pt x="1718" y="170"/>
                    <a:pt x="1717" y="170"/>
                  </a:cubicBezTo>
                  <a:cubicBezTo>
                    <a:pt x="1716" y="171"/>
                    <a:pt x="1706" y="163"/>
                    <a:pt x="1698" y="167"/>
                  </a:cubicBezTo>
                  <a:cubicBezTo>
                    <a:pt x="1700" y="155"/>
                    <a:pt x="1695" y="153"/>
                    <a:pt x="1695" y="145"/>
                  </a:cubicBezTo>
                  <a:cubicBezTo>
                    <a:pt x="1704" y="146"/>
                    <a:pt x="1704" y="160"/>
                    <a:pt x="1711" y="163"/>
                  </a:cubicBezTo>
                  <a:close/>
                  <a:moveTo>
                    <a:pt x="1832" y="196"/>
                  </a:moveTo>
                  <a:cubicBezTo>
                    <a:pt x="1824" y="194"/>
                    <a:pt x="1836" y="191"/>
                    <a:pt x="1835" y="185"/>
                  </a:cubicBezTo>
                  <a:cubicBezTo>
                    <a:pt x="1844" y="189"/>
                    <a:pt x="1832" y="193"/>
                    <a:pt x="1832" y="196"/>
                  </a:cubicBezTo>
                  <a:close/>
                  <a:moveTo>
                    <a:pt x="1838" y="1199"/>
                  </a:moveTo>
                  <a:cubicBezTo>
                    <a:pt x="1841" y="1198"/>
                    <a:pt x="1840" y="1202"/>
                    <a:pt x="1840" y="1202"/>
                  </a:cubicBezTo>
                  <a:cubicBezTo>
                    <a:pt x="1843" y="1203"/>
                    <a:pt x="1854" y="1199"/>
                    <a:pt x="1851" y="1210"/>
                  </a:cubicBezTo>
                  <a:cubicBezTo>
                    <a:pt x="1843" y="1212"/>
                    <a:pt x="1841" y="1206"/>
                    <a:pt x="1835" y="1206"/>
                  </a:cubicBezTo>
                  <a:cubicBezTo>
                    <a:pt x="1836" y="1206"/>
                    <a:pt x="1837" y="1199"/>
                    <a:pt x="1838" y="1199"/>
                  </a:cubicBezTo>
                  <a:close/>
                  <a:moveTo>
                    <a:pt x="1784" y="244"/>
                  </a:moveTo>
                  <a:cubicBezTo>
                    <a:pt x="1785" y="239"/>
                    <a:pt x="1792" y="241"/>
                    <a:pt x="1789" y="230"/>
                  </a:cubicBezTo>
                  <a:cubicBezTo>
                    <a:pt x="1792" y="232"/>
                    <a:pt x="1793" y="236"/>
                    <a:pt x="1795" y="241"/>
                  </a:cubicBezTo>
                  <a:cubicBezTo>
                    <a:pt x="1797" y="238"/>
                    <a:pt x="1799" y="234"/>
                    <a:pt x="1800" y="230"/>
                  </a:cubicBezTo>
                  <a:cubicBezTo>
                    <a:pt x="1804" y="231"/>
                    <a:pt x="1802" y="239"/>
                    <a:pt x="1803" y="244"/>
                  </a:cubicBezTo>
                  <a:cubicBezTo>
                    <a:pt x="1807" y="249"/>
                    <a:pt x="1809" y="255"/>
                    <a:pt x="1816" y="255"/>
                  </a:cubicBezTo>
                  <a:cubicBezTo>
                    <a:pt x="1814" y="266"/>
                    <a:pt x="1808" y="250"/>
                    <a:pt x="1800" y="255"/>
                  </a:cubicBezTo>
                  <a:cubicBezTo>
                    <a:pt x="1801" y="238"/>
                    <a:pt x="1795" y="249"/>
                    <a:pt x="1784" y="244"/>
                  </a:cubicBezTo>
                  <a:close/>
                  <a:moveTo>
                    <a:pt x="1805" y="226"/>
                  </a:moveTo>
                  <a:cubicBezTo>
                    <a:pt x="1796" y="232"/>
                    <a:pt x="1804" y="213"/>
                    <a:pt x="1797" y="215"/>
                  </a:cubicBezTo>
                  <a:cubicBezTo>
                    <a:pt x="1800" y="205"/>
                    <a:pt x="1808" y="217"/>
                    <a:pt x="1805" y="226"/>
                  </a:cubicBezTo>
                  <a:close/>
                  <a:moveTo>
                    <a:pt x="1797" y="189"/>
                  </a:moveTo>
                  <a:cubicBezTo>
                    <a:pt x="1800" y="178"/>
                    <a:pt x="1804" y="194"/>
                    <a:pt x="1811" y="189"/>
                  </a:cubicBezTo>
                  <a:cubicBezTo>
                    <a:pt x="1810" y="198"/>
                    <a:pt x="1799" y="191"/>
                    <a:pt x="1797" y="189"/>
                  </a:cubicBezTo>
                  <a:close/>
                  <a:moveTo>
                    <a:pt x="1730" y="1254"/>
                  </a:moveTo>
                  <a:cubicBezTo>
                    <a:pt x="1728" y="1255"/>
                    <a:pt x="1727" y="1258"/>
                    <a:pt x="1725" y="1258"/>
                  </a:cubicBezTo>
                  <a:cubicBezTo>
                    <a:pt x="1720" y="1258"/>
                    <a:pt x="1723" y="1270"/>
                    <a:pt x="1719" y="1273"/>
                  </a:cubicBezTo>
                  <a:cubicBezTo>
                    <a:pt x="1715" y="1265"/>
                    <a:pt x="1716" y="1269"/>
                    <a:pt x="1709" y="1265"/>
                  </a:cubicBezTo>
                  <a:cubicBezTo>
                    <a:pt x="1708" y="1258"/>
                    <a:pt x="1718" y="1265"/>
                    <a:pt x="1719" y="1261"/>
                  </a:cubicBezTo>
                  <a:cubicBezTo>
                    <a:pt x="1720" y="1261"/>
                    <a:pt x="1715" y="1252"/>
                    <a:pt x="1717" y="1250"/>
                  </a:cubicBezTo>
                  <a:cubicBezTo>
                    <a:pt x="1719" y="1248"/>
                    <a:pt x="1730" y="1259"/>
                    <a:pt x="1727" y="1243"/>
                  </a:cubicBezTo>
                  <a:cubicBezTo>
                    <a:pt x="1731" y="1232"/>
                    <a:pt x="1728" y="1261"/>
                    <a:pt x="1738" y="1254"/>
                  </a:cubicBezTo>
                  <a:cubicBezTo>
                    <a:pt x="1748" y="1256"/>
                    <a:pt x="1728" y="1263"/>
                    <a:pt x="1730" y="1254"/>
                  </a:cubicBezTo>
                  <a:close/>
                  <a:moveTo>
                    <a:pt x="1738" y="1265"/>
                  </a:moveTo>
                  <a:cubicBezTo>
                    <a:pt x="1732" y="1277"/>
                    <a:pt x="1725" y="1255"/>
                    <a:pt x="1738" y="1265"/>
                  </a:cubicBezTo>
                  <a:close/>
                  <a:moveTo>
                    <a:pt x="1725" y="1206"/>
                  </a:moveTo>
                  <a:cubicBezTo>
                    <a:pt x="1721" y="1207"/>
                    <a:pt x="1724" y="1217"/>
                    <a:pt x="1719" y="1217"/>
                  </a:cubicBezTo>
                  <a:cubicBezTo>
                    <a:pt x="1720" y="1221"/>
                    <a:pt x="1724" y="1220"/>
                    <a:pt x="1727" y="1221"/>
                  </a:cubicBezTo>
                  <a:cubicBezTo>
                    <a:pt x="1727" y="1226"/>
                    <a:pt x="1727" y="1231"/>
                    <a:pt x="1727" y="1235"/>
                  </a:cubicBezTo>
                  <a:cubicBezTo>
                    <a:pt x="1725" y="1235"/>
                    <a:pt x="1725" y="1231"/>
                    <a:pt x="1725" y="1228"/>
                  </a:cubicBezTo>
                  <a:cubicBezTo>
                    <a:pt x="1724" y="1223"/>
                    <a:pt x="1718" y="1225"/>
                    <a:pt x="1714" y="1225"/>
                  </a:cubicBezTo>
                  <a:cubicBezTo>
                    <a:pt x="1713" y="1216"/>
                    <a:pt x="1715" y="1211"/>
                    <a:pt x="1719" y="1210"/>
                  </a:cubicBezTo>
                  <a:cubicBezTo>
                    <a:pt x="1719" y="1204"/>
                    <a:pt x="1711" y="1208"/>
                    <a:pt x="1711" y="1202"/>
                  </a:cubicBezTo>
                  <a:cubicBezTo>
                    <a:pt x="1709" y="1191"/>
                    <a:pt x="1717" y="1196"/>
                    <a:pt x="1722" y="1195"/>
                  </a:cubicBezTo>
                  <a:cubicBezTo>
                    <a:pt x="1722" y="1192"/>
                    <a:pt x="1722" y="1190"/>
                    <a:pt x="1722" y="1187"/>
                  </a:cubicBezTo>
                  <a:cubicBezTo>
                    <a:pt x="1726" y="1189"/>
                    <a:pt x="1724" y="1197"/>
                    <a:pt x="1725" y="1202"/>
                  </a:cubicBezTo>
                  <a:cubicBezTo>
                    <a:pt x="1733" y="1205"/>
                    <a:pt x="1733" y="1195"/>
                    <a:pt x="1738" y="1202"/>
                  </a:cubicBezTo>
                  <a:cubicBezTo>
                    <a:pt x="1739" y="1210"/>
                    <a:pt x="1729" y="1204"/>
                    <a:pt x="1725" y="1206"/>
                  </a:cubicBezTo>
                  <a:close/>
                  <a:moveTo>
                    <a:pt x="1719" y="577"/>
                  </a:moveTo>
                  <a:cubicBezTo>
                    <a:pt x="1719" y="581"/>
                    <a:pt x="1716" y="580"/>
                    <a:pt x="1714" y="581"/>
                  </a:cubicBezTo>
                  <a:cubicBezTo>
                    <a:pt x="1714" y="578"/>
                    <a:pt x="1713" y="577"/>
                    <a:pt x="1711" y="577"/>
                  </a:cubicBezTo>
                  <a:cubicBezTo>
                    <a:pt x="1712" y="573"/>
                    <a:pt x="1717" y="575"/>
                    <a:pt x="1717" y="570"/>
                  </a:cubicBezTo>
                  <a:cubicBezTo>
                    <a:pt x="1720" y="571"/>
                    <a:pt x="1718" y="574"/>
                    <a:pt x="1717" y="574"/>
                  </a:cubicBezTo>
                  <a:cubicBezTo>
                    <a:pt x="1716" y="577"/>
                    <a:pt x="1718" y="577"/>
                    <a:pt x="1719" y="577"/>
                  </a:cubicBezTo>
                  <a:close/>
                  <a:moveTo>
                    <a:pt x="1722" y="614"/>
                  </a:moveTo>
                  <a:cubicBezTo>
                    <a:pt x="1718" y="616"/>
                    <a:pt x="1717" y="611"/>
                    <a:pt x="1717" y="607"/>
                  </a:cubicBezTo>
                  <a:cubicBezTo>
                    <a:pt x="1711" y="608"/>
                    <a:pt x="1708" y="606"/>
                    <a:pt x="1709" y="599"/>
                  </a:cubicBezTo>
                  <a:cubicBezTo>
                    <a:pt x="1719" y="597"/>
                    <a:pt x="1728" y="606"/>
                    <a:pt x="1722" y="614"/>
                  </a:cubicBezTo>
                  <a:close/>
                  <a:moveTo>
                    <a:pt x="1741" y="559"/>
                  </a:moveTo>
                  <a:cubicBezTo>
                    <a:pt x="1744" y="560"/>
                    <a:pt x="1742" y="562"/>
                    <a:pt x="1741" y="562"/>
                  </a:cubicBezTo>
                  <a:cubicBezTo>
                    <a:pt x="1739" y="576"/>
                    <a:pt x="1754" y="590"/>
                    <a:pt x="1738" y="592"/>
                  </a:cubicBezTo>
                  <a:cubicBezTo>
                    <a:pt x="1739" y="589"/>
                    <a:pt x="1741" y="585"/>
                    <a:pt x="1744" y="585"/>
                  </a:cubicBezTo>
                  <a:cubicBezTo>
                    <a:pt x="1744" y="577"/>
                    <a:pt x="1734" y="583"/>
                    <a:pt x="1730" y="581"/>
                  </a:cubicBezTo>
                  <a:cubicBezTo>
                    <a:pt x="1733" y="573"/>
                    <a:pt x="1738" y="567"/>
                    <a:pt x="1741" y="559"/>
                  </a:cubicBezTo>
                  <a:close/>
                  <a:moveTo>
                    <a:pt x="1738" y="230"/>
                  </a:moveTo>
                  <a:cubicBezTo>
                    <a:pt x="1738" y="227"/>
                    <a:pt x="1738" y="225"/>
                    <a:pt x="1738" y="222"/>
                  </a:cubicBezTo>
                  <a:cubicBezTo>
                    <a:pt x="1744" y="220"/>
                    <a:pt x="1743" y="228"/>
                    <a:pt x="1744" y="233"/>
                  </a:cubicBezTo>
                  <a:cubicBezTo>
                    <a:pt x="1741" y="233"/>
                    <a:pt x="1741" y="230"/>
                    <a:pt x="1738" y="230"/>
                  </a:cubicBezTo>
                  <a:close/>
                  <a:moveTo>
                    <a:pt x="1754" y="222"/>
                  </a:moveTo>
                  <a:cubicBezTo>
                    <a:pt x="1761" y="224"/>
                    <a:pt x="1753" y="246"/>
                    <a:pt x="1762" y="244"/>
                  </a:cubicBezTo>
                  <a:cubicBezTo>
                    <a:pt x="1760" y="263"/>
                    <a:pt x="1753" y="236"/>
                    <a:pt x="1749" y="248"/>
                  </a:cubicBezTo>
                  <a:cubicBezTo>
                    <a:pt x="1742" y="247"/>
                    <a:pt x="1747" y="231"/>
                    <a:pt x="1754" y="237"/>
                  </a:cubicBezTo>
                  <a:cubicBezTo>
                    <a:pt x="1753" y="224"/>
                    <a:pt x="1746" y="231"/>
                    <a:pt x="1754" y="222"/>
                  </a:cubicBezTo>
                  <a:close/>
                  <a:moveTo>
                    <a:pt x="1754" y="204"/>
                  </a:moveTo>
                  <a:cubicBezTo>
                    <a:pt x="1754" y="199"/>
                    <a:pt x="1754" y="194"/>
                    <a:pt x="1754" y="189"/>
                  </a:cubicBezTo>
                  <a:cubicBezTo>
                    <a:pt x="1756" y="189"/>
                    <a:pt x="1758" y="189"/>
                    <a:pt x="1760" y="189"/>
                  </a:cubicBezTo>
                  <a:cubicBezTo>
                    <a:pt x="1760" y="194"/>
                    <a:pt x="1760" y="199"/>
                    <a:pt x="1760" y="204"/>
                  </a:cubicBezTo>
                  <a:cubicBezTo>
                    <a:pt x="1758" y="204"/>
                    <a:pt x="1756" y="204"/>
                    <a:pt x="1754" y="204"/>
                  </a:cubicBezTo>
                  <a:close/>
                  <a:moveTo>
                    <a:pt x="1754" y="618"/>
                  </a:moveTo>
                  <a:cubicBezTo>
                    <a:pt x="1759" y="617"/>
                    <a:pt x="1759" y="621"/>
                    <a:pt x="1762" y="622"/>
                  </a:cubicBezTo>
                  <a:cubicBezTo>
                    <a:pt x="1763" y="629"/>
                    <a:pt x="1750" y="627"/>
                    <a:pt x="1754" y="618"/>
                  </a:cubicBezTo>
                  <a:close/>
                  <a:moveTo>
                    <a:pt x="1741" y="784"/>
                  </a:moveTo>
                  <a:cubicBezTo>
                    <a:pt x="1741" y="785"/>
                    <a:pt x="1743" y="777"/>
                    <a:pt x="1744" y="777"/>
                  </a:cubicBezTo>
                  <a:cubicBezTo>
                    <a:pt x="1744" y="777"/>
                    <a:pt x="1743" y="773"/>
                    <a:pt x="1744" y="773"/>
                  </a:cubicBezTo>
                  <a:cubicBezTo>
                    <a:pt x="1753" y="771"/>
                    <a:pt x="1744" y="790"/>
                    <a:pt x="1741" y="784"/>
                  </a:cubicBezTo>
                  <a:close/>
                  <a:moveTo>
                    <a:pt x="1735" y="640"/>
                  </a:moveTo>
                  <a:cubicBezTo>
                    <a:pt x="1736" y="636"/>
                    <a:pt x="1735" y="634"/>
                    <a:pt x="1733" y="633"/>
                  </a:cubicBezTo>
                  <a:cubicBezTo>
                    <a:pt x="1737" y="619"/>
                    <a:pt x="1737" y="641"/>
                    <a:pt x="1744" y="636"/>
                  </a:cubicBezTo>
                  <a:cubicBezTo>
                    <a:pt x="1743" y="645"/>
                    <a:pt x="1740" y="652"/>
                    <a:pt x="1738" y="659"/>
                  </a:cubicBezTo>
                  <a:cubicBezTo>
                    <a:pt x="1734" y="667"/>
                    <a:pt x="1739" y="635"/>
                    <a:pt x="1735" y="640"/>
                  </a:cubicBezTo>
                  <a:close/>
                  <a:moveTo>
                    <a:pt x="1730" y="603"/>
                  </a:moveTo>
                  <a:cubicBezTo>
                    <a:pt x="1736" y="612"/>
                    <a:pt x="1744" y="596"/>
                    <a:pt x="1744" y="614"/>
                  </a:cubicBezTo>
                  <a:cubicBezTo>
                    <a:pt x="1739" y="611"/>
                    <a:pt x="1729" y="614"/>
                    <a:pt x="1730" y="603"/>
                  </a:cubicBezTo>
                  <a:close/>
                  <a:moveTo>
                    <a:pt x="1733" y="566"/>
                  </a:moveTo>
                  <a:cubicBezTo>
                    <a:pt x="1731" y="568"/>
                    <a:pt x="1727" y="565"/>
                    <a:pt x="1727" y="570"/>
                  </a:cubicBezTo>
                  <a:cubicBezTo>
                    <a:pt x="1723" y="568"/>
                    <a:pt x="1725" y="564"/>
                    <a:pt x="1727" y="562"/>
                  </a:cubicBezTo>
                  <a:cubicBezTo>
                    <a:pt x="1731" y="560"/>
                    <a:pt x="1741" y="559"/>
                    <a:pt x="1733" y="566"/>
                  </a:cubicBezTo>
                  <a:close/>
                  <a:moveTo>
                    <a:pt x="1727" y="688"/>
                  </a:moveTo>
                  <a:cubicBezTo>
                    <a:pt x="1726" y="695"/>
                    <a:pt x="1731" y="711"/>
                    <a:pt x="1722" y="707"/>
                  </a:cubicBezTo>
                  <a:cubicBezTo>
                    <a:pt x="1727" y="700"/>
                    <a:pt x="1722" y="687"/>
                    <a:pt x="1717" y="684"/>
                  </a:cubicBezTo>
                  <a:cubicBezTo>
                    <a:pt x="1721" y="671"/>
                    <a:pt x="1721" y="693"/>
                    <a:pt x="1727" y="688"/>
                  </a:cubicBezTo>
                  <a:close/>
                  <a:moveTo>
                    <a:pt x="1738" y="1165"/>
                  </a:moveTo>
                  <a:cubicBezTo>
                    <a:pt x="1742" y="1168"/>
                    <a:pt x="1743" y="1173"/>
                    <a:pt x="1744" y="1180"/>
                  </a:cubicBezTo>
                  <a:cubicBezTo>
                    <a:pt x="1739" y="1179"/>
                    <a:pt x="1737" y="1174"/>
                    <a:pt x="1738" y="1165"/>
                  </a:cubicBezTo>
                  <a:close/>
                  <a:moveTo>
                    <a:pt x="1757" y="1206"/>
                  </a:moveTo>
                  <a:cubicBezTo>
                    <a:pt x="1750" y="1207"/>
                    <a:pt x="1751" y="1199"/>
                    <a:pt x="1744" y="1202"/>
                  </a:cubicBezTo>
                  <a:cubicBezTo>
                    <a:pt x="1744" y="1191"/>
                    <a:pt x="1760" y="1192"/>
                    <a:pt x="1757" y="1206"/>
                  </a:cubicBezTo>
                  <a:close/>
                  <a:moveTo>
                    <a:pt x="1757" y="1235"/>
                  </a:moveTo>
                  <a:cubicBezTo>
                    <a:pt x="1760" y="1237"/>
                    <a:pt x="1763" y="1240"/>
                    <a:pt x="1762" y="1247"/>
                  </a:cubicBezTo>
                  <a:cubicBezTo>
                    <a:pt x="1753" y="1250"/>
                    <a:pt x="1753" y="1241"/>
                    <a:pt x="1757" y="1235"/>
                  </a:cubicBezTo>
                  <a:close/>
                  <a:moveTo>
                    <a:pt x="1760" y="696"/>
                  </a:moveTo>
                  <a:cubicBezTo>
                    <a:pt x="1764" y="695"/>
                    <a:pt x="1765" y="699"/>
                    <a:pt x="1762" y="699"/>
                  </a:cubicBezTo>
                  <a:cubicBezTo>
                    <a:pt x="1763" y="709"/>
                    <a:pt x="1767" y="711"/>
                    <a:pt x="1762" y="718"/>
                  </a:cubicBezTo>
                  <a:cubicBezTo>
                    <a:pt x="1756" y="717"/>
                    <a:pt x="1761" y="702"/>
                    <a:pt x="1760" y="696"/>
                  </a:cubicBezTo>
                  <a:close/>
                  <a:moveTo>
                    <a:pt x="1706" y="640"/>
                  </a:moveTo>
                  <a:cubicBezTo>
                    <a:pt x="1711" y="640"/>
                    <a:pt x="1705" y="656"/>
                    <a:pt x="1698" y="651"/>
                  </a:cubicBezTo>
                  <a:cubicBezTo>
                    <a:pt x="1698" y="644"/>
                    <a:pt x="1707" y="649"/>
                    <a:pt x="1706" y="640"/>
                  </a:cubicBezTo>
                  <a:close/>
                  <a:moveTo>
                    <a:pt x="1698" y="540"/>
                  </a:moveTo>
                  <a:cubicBezTo>
                    <a:pt x="1699" y="533"/>
                    <a:pt x="1701" y="543"/>
                    <a:pt x="1700" y="548"/>
                  </a:cubicBezTo>
                  <a:cubicBezTo>
                    <a:pt x="1700" y="555"/>
                    <a:pt x="1697" y="545"/>
                    <a:pt x="1698" y="540"/>
                  </a:cubicBezTo>
                  <a:close/>
                  <a:moveTo>
                    <a:pt x="1698" y="200"/>
                  </a:moveTo>
                  <a:cubicBezTo>
                    <a:pt x="1700" y="200"/>
                    <a:pt x="1701" y="200"/>
                    <a:pt x="1703" y="200"/>
                  </a:cubicBezTo>
                  <a:cubicBezTo>
                    <a:pt x="1704" y="210"/>
                    <a:pt x="1683" y="199"/>
                    <a:pt x="1698" y="200"/>
                  </a:cubicBezTo>
                  <a:close/>
                  <a:moveTo>
                    <a:pt x="1684" y="566"/>
                  </a:moveTo>
                  <a:cubicBezTo>
                    <a:pt x="1684" y="560"/>
                    <a:pt x="1699" y="560"/>
                    <a:pt x="1695" y="570"/>
                  </a:cubicBezTo>
                  <a:cubicBezTo>
                    <a:pt x="1690" y="570"/>
                    <a:pt x="1689" y="565"/>
                    <a:pt x="1684" y="566"/>
                  </a:cubicBezTo>
                  <a:close/>
                  <a:moveTo>
                    <a:pt x="1692" y="622"/>
                  </a:moveTo>
                  <a:cubicBezTo>
                    <a:pt x="1692" y="624"/>
                    <a:pt x="1692" y="627"/>
                    <a:pt x="1692" y="629"/>
                  </a:cubicBezTo>
                  <a:cubicBezTo>
                    <a:pt x="1691" y="629"/>
                    <a:pt x="1689" y="629"/>
                    <a:pt x="1687" y="629"/>
                  </a:cubicBezTo>
                  <a:cubicBezTo>
                    <a:pt x="1687" y="627"/>
                    <a:pt x="1687" y="624"/>
                    <a:pt x="1687" y="622"/>
                  </a:cubicBezTo>
                  <a:cubicBezTo>
                    <a:pt x="1689" y="622"/>
                    <a:pt x="1691" y="622"/>
                    <a:pt x="1692" y="622"/>
                  </a:cubicBezTo>
                  <a:close/>
                  <a:moveTo>
                    <a:pt x="1690" y="63"/>
                  </a:moveTo>
                  <a:cubicBezTo>
                    <a:pt x="1699" y="70"/>
                    <a:pt x="1686" y="73"/>
                    <a:pt x="1684" y="71"/>
                  </a:cubicBezTo>
                  <a:cubicBezTo>
                    <a:pt x="1683" y="69"/>
                    <a:pt x="1691" y="66"/>
                    <a:pt x="1690" y="63"/>
                  </a:cubicBezTo>
                  <a:close/>
                  <a:moveTo>
                    <a:pt x="1684" y="1184"/>
                  </a:moveTo>
                  <a:cubicBezTo>
                    <a:pt x="1695" y="1183"/>
                    <a:pt x="1685" y="1187"/>
                    <a:pt x="1687" y="1195"/>
                  </a:cubicBezTo>
                  <a:cubicBezTo>
                    <a:pt x="1699" y="1195"/>
                    <a:pt x="1691" y="1186"/>
                    <a:pt x="1695" y="1180"/>
                  </a:cubicBezTo>
                  <a:cubicBezTo>
                    <a:pt x="1703" y="1180"/>
                    <a:pt x="1693" y="1203"/>
                    <a:pt x="1700" y="1202"/>
                  </a:cubicBezTo>
                  <a:cubicBezTo>
                    <a:pt x="1696" y="1213"/>
                    <a:pt x="1688" y="1197"/>
                    <a:pt x="1679" y="1202"/>
                  </a:cubicBezTo>
                  <a:cubicBezTo>
                    <a:pt x="1680" y="1195"/>
                    <a:pt x="1687" y="1196"/>
                    <a:pt x="1684" y="1184"/>
                  </a:cubicBezTo>
                  <a:close/>
                  <a:moveTo>
                    <a:pt x="1671" y="185"/>
                  </a:moveTo>
                  <a:cubicBezTo>
                    <a:pt x="1677" y="183"/>
                    <a:pt x="1681" y="207"/>
                    <a:pt x="1671" y="204"/>
                  </a:cubicBezTo>
                  <a:cubicBezTo>
                    <a:pt x="1675" y="198"/>
                    <a:pt x="1673" y="192"/>
                    <a:pt x="1666" y="193"/>
                  </a:cubicBezTo>
                  <a:cubicBezTo>
                    <a:pt x="1666" y="189"/>
                    <a:pt x="1671" y="190"/>
                    <a:pt x="1671" y="185"/>
                  </a:cubicBezTo>
                  <a:close/>
                  <a:moveTo>
                    <a:pt x="1668" y="215"/>
                  </a:moveTo>
                  <a:cubicBezTo>
                    <a:pt x="1676" y="215"/>
                    <a:pt x="1674" y="209"/>
                    <a:pt x="1679" y="215"/>
                  </a:cubicBezTo>
                  <a:cubicBezTo>
                    <a:pt x="1678" y="218"/>
                    <a:pt x="1676" y="221"/>
                    <a:pt x="1676" y="226"/>
                  </a:cubicBezTo>
                  <a:cubicBezTo>
                    <a:pt x="1668" y="229"/>
                    <a:pt x="1673" y="214"/>
                    <a:pt x="1666" y="215"/>
                  </a:cubicBezTo>
                  <a:cubicBezTo>
                    <a:pt x="1660" y="212"/>
                    <a:pt x="1668" y="209"/>
                    <a:pt x="1668" y="215"/>
                  </a:cubicBezTo>
                  <a:close/>
                  <a:moveTo>
                    <a:pt x="1668" y="237"/>
                  </a:moveTo>
                  <a:cubicBezTo>
                    <a:pt x="1669" y="234"/>
                    <a:pt x="1671" y="233"/>
                    <a:pt x="1671" y="230"/>
                  </a:cubicBezTo>
                  <a:cubicBezTo>
                    <a:pt x="1674" y="231"/>
                    <a:pt x="1676" y="234"/>
                    <a:pt x="1676" y="241"/>
                  </a:cubicBezTo>
                  <a:cubicBezTo>
                    <a:pt x="1672" y="242"/>
                    <a:pt x="1672" y="237"/>
                    <a:pt x="1668" y="237"/>
                  </a:cubicBezTo>
                  <a:close/>
                  <a:moveTo>
                    <a:pt x="1676" y="692"/>
                  </a:moveTo>
                  <a:cubicBezTo>
                    <a:pt x="1676" y="694"/>
                    <a:pt x="1676" y="697"/>
                    <a:pt x="1676" y="699"/>
                  </a:cubicBezTo>
                  <a:cubicBezTo>
                    <a:pt x="1675" y="699"/>
                    <a:pt x="1673" y="699"/>
                    <a:pt x="1671" y="699"/>
                  </a:cubicBezTo>
                  <a:cubicBezTo>
                    <a:pt x="1671" y="697"/>
                    <a:pt x="1671" y="694"/>
                    <a:pt x="1671" y="692"/>
                  </a:cubicBezTo>
                  <a:cubicBezTo>
                    <a:pt x="1673" y="692"/>
                    <a:pt x="1675" y="692"/>
                    <a:pt x="1676" y="692"/>
                  </a:cubicBezTo>
                  <a:close/>
                  <a:moveTo>
                    <a:pt x="1668" y="648"/>
                  </a:moveTo>
                  <a:cubicBezTo>
                    <a:pt x="1660" y="661"/>
                    <a:pt x="1659" y="636"/>
                    <a:pt x="1668" y="648"/>
                  </a:cubicBezTo>
                  <a:close/>
                  <a:moveTo>
                    <a:pt x="1663" y="1162"/>
                  </a:moveTo>
                  <a:cubicBezTo>
                    <a:pt x="1661" y="1161"/>
                    <a:pt x="1660" y="1163"/>
                    <a:pt x="1660" y="1165"/>
                  </a:cubicBezTo>
                  <a:cubicBezTo>
                    <a:pt x="1657" y="1165"/>
                    <a:pt x="1658" y="1159"/>
                    <a:pt x="1657" y="1154"/>
                  </a:cubicBezTo>
                  <a:cubicBezTo>
                    <a:pt x="1662" y="1153"/>
                    <a:pt x="1663" y="1157"/>
                    <a:pt x="1663" y="1162"/>
                  </a:cubicBezTo>
                  <a:close/>
                  <a:moveTo>
                    <a:pt x="1655" y="233"/>
                  </a:moveTo>
                  <a:cubicBezTo>
                    <a:pt x="1658" y="234"/>
                    <a:pt x="1657" y="241"/>
                    <a:pt x="1660" y="241"/>
                  </a:cubicBezTo>
                  <a:cubicBezTo>
                    <a:pt x="1659" y="251"/>
                    <a:pt x="1652" y="241"/>
                    <a:pt x="1655" y="233"/>
                  </a:cubicBezTo>
                  <a:close/>
                  <a:moveTo>
                    <a:pt x="1671" y="1254"/>
                  </a:moveTo>
                  <a:cubicBezTo>
                    <a:pt x="1670" y="1260"/>
                    <a:pt x="1673" y="1261"/>
                    <a:pt x="1676" y="1261"/>
                  </a:cubicBezTo>
                  <a:cubicBezTo>
                    <a:pt x="1675" y="1272"/>
                    <a:pt x="1668" y="1261"/>
                    <a:pt x="1666" y="1261"/>
                  </a:cubicBezTo>
                  <a:cubicBezTo>
                    <a:pt x="1660" y="1262"/>
                    <a:pt x="1659" y="1268"/>
                    <a:pt x="1652" y="1269"/>
                  </a:cubicBezTo>
                  <a:cubicBezTo>
                    <a:pt x="1652" y="1259"/>
                    <a:pt x="1660" y="1259"/>
                    <a:pt x="1663" y="1254"/>
                  </a:cubicBezTo>
                  <a:cubicBezTo>
                    <a:pt x="1662" y="1250"/>
                    <a:pt x="1658" y="1251"/>
                    <a:pt x="1655" y="1250"/>
                  </a:cubicBezTo>
                  <a:cubicBezTo>
                    <a:pt x="1652" y="1253"/>
                    <a:pt x="1652" y="1259"/>
                    <a:pt x="1647" y="1258"/>
                  </a:cubicBezTo>
                  <a:cubicBezTo>
                    <a:pt x="1643" y="1243"/>
                    <a:pt x="1655" y="1249"/>
                    <a:pt x="1655" y="1239"/>
                  </a:cubicBezTo>
                  <a:cubicBezTo>
                    <a:pt x="1657" y="1239"/>
                    <a:pt x="1657" y="1241"/>
                    <a:pt x="1657" y="1243"/>
                  </a:cubicBezTo>
                  <a:cubicBezTo>
                    <a:pt x="1662" y="1251"/>
                    <a:pt x="1679" y="1244"/>
                    <a:pt x="1684" y="1250"/>
                  </a:cubicBezTo>
                  <a:cubicBezTo>
                    <a:pt x="1683" y="1254"/>
                    <a:pt x="1678" y="1264"/>
                    <a:pt x="1687" y="1261"/>
                  </a:cubicBezTo>
                  <a:cubicBezTo>
                    <a:pt x="1680" y="1282"/>
                    <a:pt x="1683" y="1249"/>
                    <a:pt x="1671" y="1254"/>
                  </a:cubicBezTo>
                  <a:close/>
                  <a:moveTo>
                    <a:pt x="1690" y="1258"/>
                  </a:moveTo>
                  <a:cubicBezTo>
                    <a:pt x="1680" y="1250"/>
                    <a:pt x="1696" y="1247"/>
                    <a:pt x="1698" y="1243"/>
                  </a:cubicBezTo>
                  <a:cubicBezTo>
                    <a:pt x="1700" y="1242"/>
                    <a:pt x="1700" y="1244"/>
                    <a:pt x="1700" y="1247"/>
                  </a:cubicBezTo>
                  <a:cubicBezTo>
                    <a:pt x="1701" y="1252"/>
                    <a:pt x="1707" y="1250"/>
                    <a:pt x="1711" y="1250"/>
                  </a:cubicBezTo>
                  <a:cubicBezTo>
                    <a:pt x="1719" y="1260"/>
                    <a:pt x="1690" y="1248"/>
                    <a:pt x="1690" y="1258"/>
                  </a:cubicBezTo>
                  <a:close/>
                  <a:moveTo>
                    <a:pt x="1700" y="1273"/>
                  </a:moveTo>
                  <a:cubicBezTo>
                    <a:pt x="1697" y="1273"/>
                    <a:pt x="1697" y="1260"/>
                    <a:pt x="1706" y="1261"/>
                  </a:cubicBezTo>
                  <a:cubicBezTo>
                    <a:pt x="1705" y="1263"/>
                    <a:pt x="1702" y="1272"/>
                    <a:pt x="1700" y="1273"/>
                  </a:cubicBezTo>
                  <a:close/>
                  <a:moveTo>
                    <a:pt x="1730" y="1298"/>
                  </a:moveTo>
                  <a:cubicBezTo>
                    <a:pt x="1728" y="1299"/>
                    <a:pt x="1726" y="1312"/>
                    <a:pt x="1717" y="1306"/>
                  </a:cubicBezTo>
                  <a:cubicBezTo>
                    <a:pt x="1716" y="1305"/>
                    <a:pt x="1718" y="1295"/>
                    <a:pt x="1717" y="1295"/>
                  </a:cubicBezTo>
                  <a:cubicBezTo>
                    <a:pt x="1712" y="1293"/>
                    <a:pt x="1709" y="1301"/>
                    <a:pt x="1703" y="1298"/>
                  </a:cubicBezTo>
                  <a:cubicBezTo>
                    <a:pt x="1701" y="1288"/>
                    <a:pt x="1709" y="1291"/>
                    <a:pt x="1709" y="1284"/>
                  </a:cubicBezTo>
                  <a:cubicBezTo>
                    <a:pt x="1711" y="1283"/>
                    <a:pt x="1713" y="1291"/>
                    <a:pt x="1714" y="1291"/>
                  </a:cubicBezTo>
                  <a:cubicBezTo>
                    <a:pt x="1716" y="1292"/>
                    <a:pt x="1720" y="1286"/>
                    <a:pt x="1725" y="1287"/>
                  </a:cubicBezTo>
                  <a:cubicBezTo>
                    <a:pt x="1725" y="1287"/>
                    <a:pt x="1725" y="1295"/>
                    <a:pt x="1725" y="1295"/>
                  </a:cubicBezTo>
                  <a:cubicBezTo>
                    <a:pt x="1727" y="1295"/>
                    <a:pt x="1732" y="1290"/>
                    <a:pt x="1733" y="1287"/>
                  </a:cubicBezTo>
                  <a:cubicBezTo>
                    <a:pt x="1736" y="1290"/>
                    <a:pt x="1738" y="1295"/>
                    <a:pt x="1738" y="1302"/>
                  </a:cubicBezTo>
                  <a:cubicBezTo>
                    <a:pt x="1735" y="1306"/>
                    <a:pt x="1730" y="1298"/>
                    <a:pt x="1730" y="1298"/>
                  </a:cubicBezTo>
                  <a:close/>
                  <a:moveTo>
                    <a:pt x="1735" y="1324"/>
                  </a:moveTo>
                  <a:cubicBezTo>
                    <a:pt x="1733" y="1314"/>
                    <a:pt x="1741" y="1320"/>
                    <a:pt x="1744" y="1317"/>
                  </a:cubicBezTo>
                  <a:cubicBezTo>
                    <a:pt x="1748" y="1311"/>
                    <a:pt x="1745" y="1318"/>
                    <a:pt x="1752" y="1324"/>
                  </a:cubicBezTo>
                  <a:cubicBezTo>
                    <a:pt x="1751" y="1331"/>
                    <a:pt x="1743" y="1320"/>
                    <a:pt x="1735" y="1324"/>
                  </a:cubicBezTo>
                  <a:close/>
                  <a:moveTo>
                    <a:pt x="1752" y="1302"/>
                  </a:moveTo>
                  <a:cubicBezTo>
                    <a:pt x="1750" y="1302"/>
                    <a:pt x="1748" y="1302"/>
                    <a:pt x="1746" y="1302"/>
                  </a:cubicBezTo>
                  <a:cubicBezTo>
                    <a:pt x="1746" y="1300"/>
                    <a:pt x="1746" y="1297"/>
                    <a:pt x="1746" y="1295"/>
                  </a:cubicBezTo>
                  <a:cubicBezTo>
                    <a:pt x="1748" y="1295"/>
                    <a:pt x="1750" y="1295"/>
                    <a:pt x="1752" y="1295"/>
                  </a:cubicBezTo>
                  <a:cubicBezTo>
                    <a:pt x="1752" y="1297"/>
                    <a:pt x="1752" y="1300"/>
                    <a:pt x="1752" y="1302"/>
                  </a:cubicBezTo>
                  <a:close/>
                  <a:moveTo>
                    <a:pt x="1757" y="1269"/>
                  </a:moveTo>
                  <a:cubicBezTo>
                    <a:pt x="1752" y="1270"/>
                    <a:pt x="1754" y="1261"/>
                    <a:pt x="1752" y="1258"/>
                  </a:cubicBezTo>
                  <a:cubicBezTo>
                    <a:pt x="1750" y="1255"/>
                    <a:pt x="1745" y="1256"/>
                    <a:pt x="1744" y="1254"/>
                  </a:cubicBezTo>
                  <a:cubicBezTo>
                    <a:pt x="1741" y="1251"/>
                    <a:pt x="1742" y="1244"/>
                    <a:pt x="1738" y="1243"/>
                  </a:cubicBezTo>
                  <a:cubicBezTo>
                    <a:pt x="1741" y="1233"/>
                    <a:pt x="1749" y="1245"/>
                    <a:pt x="1746" y="1254"/>
                  </a:cubicBezTo>
                  <a:cubicBezTo>
                    <a:pt x="1753" y="1249"/>
                    <a:pt x="1756" y="1252"/>
                    <a:pt x="1762" y="1254"/>
                  </a:cubicBezTo>
                  <a:cubicBezTo>
                    <a:pt x="1762" y="1261"/>
                    <a:pt x="1755" y="1259"/>
                    <a:pt x="1757" y="1269"/>
                  </a:cubicBezTo>
                  <a:close/>
                  <a:moveTo>
                    <a:pt x="1762" y="1269"/>
                  </a:moveTo>
                  <a:cubicBezTo>
                    <a:pt x="1767" y="1261"/>
                    <a:pt x="1772" y="1268"/>
                    <a:pt x="1768" y="1254"/>
                  </a:cubicBezTo>
                  <a:cubicBezTo>
                    <a:pt x="1777" y="1256"/>
                    <a:pt x="1773" y="1273"/>
                    <a:pt x="1762" y="1269"/>
                  </a:cubicBezTo>
                  <a:close/>
                  <a:moveTo>
                    <a:pt x="1773" y="1210"/>
                  </a:moveTo>
                  <a:cubicBezTo>
                    <a:pt x="1771" y="1207"/>
                    <a:pt x="1767" y="1206"/>
                    <a:pt x="1762" y="1206"/>
                  </a:cubicBezTo>
                  <a:cubicBezTo>
                    <a:pt x="1762" y="1199"/>
                    <a:pt x="1777" y="1199"/>
                    <a:pt x="1773" y="1210"/>
                  </a:cubicBezTo>
                  <a:close/>
                  <a:moveTo>
                    <a:pt x="1776" y="241"/>
                  </a:moveTo>
                  <a:cubicBezTo>
                    <a:pt x="1771" y="240"/>
                    <a:pt x="1770" y="245"/>
                    <a:pt x="1765" y="244"/>
                  </a:cubicBezTo>
                  <a:cubicBezTo>
                    <a:pt x="1765" y="241"/>
                    <a:pt x="1765" y="237"/>
                    <a:pt x="1765" y="233"/>
                  </a:cubicBezTo>
                  <a:cubicBezTo>
                    <a:pt x="1768" y="238"/>
                    <a:pt x="1778" y="235"/>
                    <a:pt x="1778" y="244"/>
                  </a:cubicBezTo>
                  <a:cubicBezTo>
                    <a:pt x="1777" y="250"/>
                    <a:pt x="1776" y="245"/>
                    <a:pt x="1776" y="241"/>
                  </a:cubicBezTo>
                  <a:close/>
                  <a:moveTo>
                    <a:pt x="1776" y="1206"/>
                  </a:moveTo>
                  <a:cubicBezTo>
                    <a:pt x="1777" y="1201"/>
                    <a:pt x="1782" y="1203"/>
                    <a:pt x="1787" y="1202"/>
                  </a:cubicBezTo>
                  <a:cubicBezTo>
                    <a:pt x="1787" y="1200"/>
                    <a:pt x="1787" y="1197"/>
                    <a:pt x="1787" y="1195"/>
                  </a:cubicBezTo>
                  <a:cubicBezTo>
                    <a:pt x="1789" y="1194"/>
                    <a:pt x="1789" y="1196"/>
                    <a:pt x="1789" y="1199"/>
                  </a:cubicBezTo>
                  <a:cubicBezTo>
                    <a:pt x="1789" y="1207"/>
                    <a:pt x="1799" y="1200"/>
                    <a:pt x="1803" y="1202"/>
                  </a:cubicBezTo>
                  <a:cubicBezTo>
                    <a:pt x="1805" y="1202"/>
                    <a:pt x="1805" y="1198"/>
                    <a:pt x="1805" y="1195"/>
                  </a:cubicBezTo>
                  <a:cubicBezTo>
                    <a:pt x="1808" y="1197"/>
                    <a:pt x="1810" y="1199"/>
                    <a:pt x="1811" y="1195"/>
                  </a:cubicBezTo>
                  <a:cubicBezTo>
                    <a:pt x="1814" y="1194"/>
                    <a:pt x="1812" y="1201"/>
                    <a:pt x="1813" y="1202"/>
                  </a:cubicBezTo>
                  <a:cubicBezTo>
                    <a:pt x="1817" y="1206"/>
                    <a:pt x="1827" y="1196"/>
                    <a:pt x="1824" y="1210"/>
                  </a:cubicBezTo>
                  <a:cubicBezTo>
                    <a:pt x="1818" y="1204"/>
                    <a:pt x="1813" y="1210"/>
                    <a:pt x="1805" y="1210"/>
                  </a:cubicBezTo>
                  <a:cubicBezTo>
                    <a:pt x="1797" y="1209"/>
                    <a:pt x="1787" y="1203"/>
                    <a:pt x="1776" y="1206"/>
                  </a:cubicBezTo>
                  <a:close/>
                  <a:moveTo>
                    <a:pt x="1797" y="1225"/>
                  </a:moveTo>
                  <a:cubicBezTo>
                    <a:pt x="1805" y="1211"/>
                    <a:pt x="1806" y="1236"/>
                    <a:pt x="1797" y="1225"/>
                  </a:cubicBezTo>
                  <a:close/>
                  <a:moveTo>
                    <a:pt x="1787" y="1276"/>
                  </a:moveTo>
                  <a:cubicBezTo>
                    <a:pt x="1782" y="1273"/>
                    <a:pt x="1780" y="1266"/>
                    <a:pt x="1784" y="1261"/>
                  </a:cubicBezTo>
                  <a:cubicBezTo>
                    <a:pt x="1792" y="1265"/>
                    <a:pt x="1787" y="1267"/>
                    <a:pt x="1787" y="1276"/>
                  </a:cubicBezTo>
                  <a:close/>
                  <a:moveTo>
                    <a:pt x="1778" y="1258"/>
                  </a:moveTo>
                  <a:cubicBezTo>
                    <a:pt x="1779" y="1254"/>
                    <a:pt x="1782" y="1255"/>
                    <a:pt x="1784" y="1254"/>
                  </a:cubicBezTo>
                  <a:cubicBezTo>
                    <a:pt x="1787" y="1254"/>
                    <a:pt x="1789" y="1254"/>
                    <a:pt x="1792" y="1254"/>
                  </a:cubicBezTo>
                  <a:cubicBezTo>
                    <a:pt x="1792" y="1262"/>
                    <a:pt x="1782" y="1256"/>
                    <a:pt x="1778" y="1258"/>
                  </a:cubicBezTo>
                  <a:close/>
                  <a:moveTo>
                    <a:pt x="1800" y="1276"/>
                  </a:moveTo>
                  <a:cubicBezTo>
                    <a:pt x="1795" y="1276"/>
                    <a:pt x="1798" y="1264"/>
                    <a:pt x="1792" y="1265"/>
                  </a:cubicBezTo>
                  <a:cubicBezTo>
                    <a:pt x="1792" y="1261"/>
                    <a:pt x="1797" y="1262"/>
                    <a:pt x="1800" y="1261"/>
                  </a:cubicBezTo>
                  <a:cubicBezTo>
                    <a:pt x="1796" y="1256"/>
                    <a:pt x="1790" y="1252"/>
                    <a:pt x="1792" y="1239"/>
                  </a:cubicBezTo>
                  <a:cubicBezTo>
                    <a:pt x="1802" y="1236"/>
                    <a:pt x="1800" y="1269"/>
                    <a:pt x="1805" y="1261"/>
                  </a:cubicBezTo>
                  <a:cubicBezTo>
                    <a:pt x="1816" y="1270"/>
                    <a:pt x="1796" y="1265"/>
                    <a:pt x="1800" y="1276"/>
                  </a:cubicBezTo>
                  <a:close/>
                  <a:moveTo>
                    <a:pt x="1811" y="1221"/>
                  </a:moveTo>
                  <a:cubicBezTo>
                    <a:pt x="1811" y="1208"/>
                    <a:pt x="1820" y="1229"/>
                    <a:pt x="1819" y="1217"/>
                  </a:cubicBezTo>
                  <a:cubicBezTo>
                    <a:pt x="1820" y="1216"/>
                    <a:pt x="1822" y="1224"/>
                    <a:pt x="1822" y="1225"/>
                  </a:cubicBezTo>
                  <a:cubicBezTo>
                    <a:pt x="1821" y="1225"/>
                    <a:pt x="1816" y="1223"/>
                    <a:pt x="1816" y="1225"/>
                  </a:cubicBezTo>
                  <a:cubicBezTo>
                    <a:pt x="1814" y="1232"/>
                    <a:pt x="1814" y="1235"/>
                    <a:pt x="1813" y="1243"/>
                  </a:cubicBezTo>
                  <a:cubicBezTo>
                    <a:pt x="1801" y="1236"/>
                    <a:pt x="1818" y="1227"/>
                    <a:pt x="1811" y="1221"/>
                  </a:cubicBezTo>
                  <a:close/>
                  <a:moveTo>
                    <a:pt x="1811" y="1254"/>
                  </a:moveTo>
                  <a:cubicBezTo>
                    <a:pt x="1806" y="1252"/>
                    <a:pt x="1814" y="1248"/>
                    <a:pt x="1813" y="1254"/>
                  </a:cubicBezTo>
                  <a:cubicBezTo>
                    <a:pt x="1820" y="1254"/>
                    <a:pt x="1822" y="1247"/>
                    <a:pt x="1827" y="1254"/>
                  </a:cubicBezTo>
                  <a:cubicBezTo>
                    <a:pt x="1825" y="1264"/>
                    <a:pt x="1824" y="1275"/>
                    <a:pt x="1813" y="1273"/>
                  </a:cubicBezTo>
                  <a:cubicBezTo>
                    <a:pt x="1812" y="1267"/>
                    <a:pt x="1817" y="1253"/>
                    <a:pt x="1811" y="1254"/>
                  </a:cubicBezTo>
                  <a:close/>
                  <a:moveTo>
                    <a:pt x="1827" y="1295"/>
                  </a:moveTo>
                  <a:cubicBezTo>
                    <a:pt x="1820" y="1296"/>
                    <a:pt x="1821" y="1288"/>
                    <a:pt x="1813" y="1291"/>
                  </a:cubicBezTo>
                  <a:cubicBezTo>
                    <a:pt x="1813" y="1285"/>
                    <a:pt x="1831" y="1284"/>
                    <a:pt x="1827" y="1295"/>
                  </a:cubicBezTo>
                  <a:close/>
                  <a:moveTo>
                    <a:pt x="1835" y="1306"/>
                  </a:moveTo>
                  <a:cubicBezTo>
                    <a:pt x="1832" y="1305"/>
                    <a:pt x="1833" y="1299"/>
                    <a:pt x="1832" y="1295"/>
                  </a:cubicBezTo>
                  <a:cubicBezTo>
                    <a:pt x="1837" y="1293"/>
                    <a:pt x="1837" y="1298"/>
                    <a:pt x="1838" y="1302"/>
                  </a:cubicBezTo>
                  <a:cubicBezTo>
                    <a:pt x="1835" y="1301"/>
                    <a:pt x="1835" y="1304"/>
                    <a:pt x="1835" y="1306"/>
                  </a:cubicBezTo>
                  <a:close/>
                  <a:moveTo>
                    <a:pt x="1843" y="1269"/>
                  </a:moveTo>
                  <a:cubicBezTo>
                    <a:pt x="1842" y="1282"/>
                    <a:pt x="1831" y="1262"/>
                    <a:pt x="1832" y="1273"/>
                  </a:cubicBezTo>
                  <a:cubicBezTo>
                    <a:pt x="1823" y="1272"/>
                    <a:pt x="1838" y="1260"/>
                    <a:pt x="1830" y="1261"/>
                  </a:cubicBezTo>
                  <a:cubicBezTo>
                    <a:pt x="1829" y="1256"/>
                    <a:pt x="1845" y="1257"/>
                    <a:pt x="1835" y="1250"/>
                  </a:cubicBezTo>
                  <a:cubicBezTo>
                    <a:pt x="1837" y="1245"/>
                    <a:pt x="1839" y="1251"/>
                    <a:pt x="1846" y="1247"/>
                  </a:cubicBezTo>
                  <a:cubicBezTo>
                    <a:pt x="1846" y="1251"/>
                    <a:pt x="1845" y="1253"/>
                    <a:pt x="1843" y="1254"/>
                  </a:cubicBezTo>
                  <a:cubicBezTo>
                    <a:pt x="1843" y="1258"/>
                    <a:pt x="1846" y="1257"/>
                    <a:pt x="1848" y="1258"/>
                  </a:cubicBezTo>
                  <a:cubicBezTo>
                    <a:pt x="1847" y="1262"/>
                    <a:pt x="1828" y="1265"/>
                    <a:pt x="1843" y="1269"/>
                  </a:cubicBezTo>
                  <a:close/>
                  <a:moveTo>
                    <a:pt x="1862" y="1309"/>
                  </a:moveTo>
                  <a:cubicBezTo>
                    <a:pt x="1861" y="1311"/>
                    <a:pt x="1859" y="1300"/>
                    <a:pt x="1856" y="1302"/>
                  </a:cubicBezTo>
                  <a:cubicBezTo>
                    <a:pt x="1861" y="1290"/>
                    <a:pt x="1864" y="1307"/>
                    <a:pt x="1862" y="1309"/>
                  </a:cubicBezTo>
                  <a:close/>
                  <a:moveTo>
                    <a:pt x="1867" y="1273"/>
                  </a:moveTo>
                  <a:cubicBezTo>
                    <a:pt x="1862" y="1276"/>
                    <a:pt x="1856" y="1279"/>
                    <a:pt x="1854" y="1287"/>
                  </a:cubicBezTo>
                  <a:cubicBezTo>
                    <a:pt x="1845" y="1279"/>
                    <a:pt x="1860" y="1274"/>
                    <a:pt x="1859" y="1265"/>
                  </a:cubicBezTo>
                  <a:cubicBezTo>
                    <a:pt x="1859" y="1261"/>
                    <a:pt x="1854" y="1262"/>
                    <a:pt x="1851" y="1261"/>
                  </a:cubicBezTo>
                  <a:cubicBezTo>
                    <a:pt x="1853" y="1256"/>
                    <a:pt x="1857" y="1255"/>
                    <a:pt x="1862" y="1254"/>
                  </a:cubicBezTo>
                  <a:cubicBezTo>
                    <a:pt x="1859" y="1249"/>
                    <a:pt x="1861" y="1248"/>
                    <a:pt x="1862" y="1243"/>
                  </a:cubicBezTo>
                  <a:cubicBezTo>
                    <a:pt x="1868" y="1242"/>
                    <a:pt x="1860" y="1260"/>
                    <a:pt x="1870" y="1254"/>
                  </a:cubicBezTo>
                  <a:cubicBezTo>
                    <a:pt x="1869" y="1259"/>
                    <a:pt x="1866" y="1262"/>
                    <a:pt x="1862" y="1261"/>
                  </a:cubicBezTo>
                  <a:cubicBezTo>
                    <a:pt x="1862" y="1269"/>
                    <a:pt x="1868" y="1262"/>
                    <a:pt x="1867" y="1261"/>
                  </a:cubicBezTo>
                  <a:cubicBezTo>
                    <a:pt x="1870" y="1263"/>
                    <a:pt x="1870" y="1271"/>
                    <a:pt x="1875" y="1269"/>
                  </a:cubicBezTo>
                  <a:cubicBezTo>
                    <a:pt x="1875" y="1273"/>
                    <a:pt x="1870" y="1272"/>
                    <a:pt x="1867" y="1273"/>
                  </a:cubicBezTo>
                  <a:close/>
                  <a:moveTo>
                    <a:pt x="1867" y="1165"/>
                  </a:moveTo>
                  <a:cubicBezTo>
                    <a:pt x="1865" y="1165"/>
                    <a:pt x="1864" y="1165"/>
                    <a:pt x="1862" y="1165"/>
                  </a:cubicBezTo>
                  <a:cubicBezTo>
                    <a:pt x="1862" y="1163"/>
                    <a:pt x="1862" y="1160"/>
                    <a:pt x="1862" y="1158"/>
                  </a:cubicBezTo>
                  <a:cubicBezTo>
                    <a:pt x="1864" y="1158"/>
                    <a:pt x="1865" y="1158"/>
                    <a:pt x="1867" y="1158"/>
                  </a:cubicBezTo>
                  <a:cubicBezTo>
                    <a:pt x="1867" y="1160"/>
                    <a:pt x="1867" y="1163"/>
                    <a:pt x="1867" y="1165"/>
                  </a:cubicBezTo>
                  <a:close/>
                  <a:moveTo>
                    <a:pt x="1873" y="1173"/>
                  </a:moveTo>
                  <a:cubicBezTo>
                    <a:pt x="1873" y="1175"/>
                    <a:pt x="1873" y="1178"/>
                    <a:pt x="1873" y="1180"/>
                  </a:cubicBezTo>
                  <a:cubicBezTo>
                    <a:pt x="1871" y="1180"/>
                    <a:pt x="1869" y="1180"/>
                    <a:pt x="1867" y="1180"/>
                  </a:cubicBezTo>
                  <a:cubicBezTo>
                    <a:pt x="1867" y="1178"/>
                    <a:pt x="1867" y="1175"/>
                    <a:pt x="1867" y="1173"/>
                  </a:cubicBezTo>
                  <a:cubicBezTo>
                    <a:pt x="1869" y="1173"/>
                    <a:pt x="1871" y="1173"/>
                    <a:pt x="1873" y="1173"/>
                  </a:cubicBezTo>
                  <a:close/>
                  <a:moveTo>
                    <a:pt x="1873" y="1191"/>
                  </a:moveTo>
                  <a:cubicBezTo>
                    <a:pt x="1871" y="1197"/>
                    <a:pt x="1870" y="1191"/>
                    <a:pt x="1870" y="1187"/>
                  </a:cubicBezTo>
                  <a:cubicBezTo>
                    <a:pt x="1867" y="1187"/>
                    <a:pt x="1865" y="1188"/>
                    <a:pt x="1865" y="1191"/>
                  </a:cubicBezTo>
                  <a:cubicBezTo>
                    <a:pt x="1854" y="1184"/>
                    <a:pt x="1875" y="1179"/>
                    <a:pt x="1873" y="1191"/>
                  </a:cubicBezTo>
                  <a:close/>
                  <a:moveTo>
                    <a:pt x="1867" y="1210"/>
                  </a:moveTo>
                  <a:cubicBezTo>
                    <a:pt x="1866" y="1192"/>
                    <a:pt x="1879" y="1201"/>
                    <a:pt x="1878" y="1213"/>
                  </a:cubicBezTo>
                  <a:cubicBezTo>
                    <a:pt x="1876" y="1211"/>
                    <a:pt x="1872" y="1209"/>
                    <a:pt x="1867" y="1210"/>
                  </a:cubicBezTo>
                  <a:close/>
                  <a:moveTo>
                    <a:pt x="1873" y="174"/>
                  </a:moveTo>
                  <a:cubicBezTo>
                    <a:pt x="1868" y="183"/>
                    <a:pt x="1863" y="171"/>
                    <a:pt x="1859" y="170"/>
                  </a:cubicBezTo>
                  <a:cubicBezTo>
                    <a:pt x="1858" y="170"/>
                    <a:pt x="1854" y="170"/>
                    <a:pt x="1854" y="170"/>
                  </a:cubicBezTo>
                  <a:cubicBezTo>
                    <a:pt x="1850" y="176"/>
                    <a:pt x="1856" y="179"/>
                    <a:pt x="1846" y="174"/>
                  </a:cubicBezTo>
                  <a:cubicBezTo>
                    <a:pt x="1843" y="185"/>
                    <a:pt x="1852" y="181"/>
                    <a:pt x="1856" y="182"/>
                  </a:cubicBezTo>
                  <a:cubicBezTo>
                    <a:pt x="1856" y="188"/>
                    <a:pt x="1848" y="184"/>
                    <a:pt x="1848" y="193"/>
                  </a:cubicBezTo>
                  <a:cubicBezTo>
                    <a:pt x="1851" y="203"/>
                    <a:pt x="1856" y="187"/>
                    <a:pt x="1859" y="196"/>
                  </a:cubicBezTo>
                  <a:cubicBezTo>
                    <a:pt x="1864" y="199"/>
                    <a:pt x="1856" y="202"/>
                    <a:pt x="1856" y="196"/>
                  </a:cubicBezTo>
                  <a:cubicBezTo>
                    <a:pt x="1854" y="196"/>
                    <a:pt x="1854" y="201"/>
                    <a:pt x="1854" y="204"/>
                  </a:cubicBezTo>
                  <a:cubicBezTo>
                    <a:pt x="1848" y="205"/>
                    <a:pt x="1847" y="201"/>
                    <a:pt x="1843" y="200"/>
                  </a:cubicBezTo>
                  <a:cubicBezTo>
                    <a:pt x="1842" y="208"/>
                    <a:pt x="1844" y="214"/>
                    <a:pt x="1848" y="215"/>
                  </a:cubicBezTo>
                  <a:cubicBezTo>
                    <a:pt x="1842" y="227"/>
                    <a:pt x="1839" y="204"/>
                    <a:pt x="1838" y="196"/>
                  </a:cubicBezTo>
                  <a:cubicBezTo>
                    <a:pt x="1847" y="195"/>
                    <a:pt x="1846" y="185"/>
                    <a:pt x="1840" y="178"/>
                  </a:cubicBezTo>
                  <a:cubicBezTo>
                    <a:pt x="1840" y="171"/>
                    <a:pt x="1848" y="173"/>
                    <a:pt x="1846" y="163"/>
                  </a:cubicBezTo>
                  <a:cubicBezTo>
                    <a:pt x="1855" y="164"/>
                    <a:pt x="1863" y="162"/>
                    <a:pt x="1870" y="159"/>
                  </a:cubicBezTo>
                  <a:cubicBezTo>
                    <a:pt x="1869" y="162"/>
                    <a:pt x="1867" y="163"/>
                    <a:pt x="1867" y="167"/>
                  </a:cubicBezTo>
                  <a:cubicBezTo>
                    <a:pt x="1871" y="170"/>
                    <a:pt x="1875" y="163"/>
                    <a:pt x="1875" y="163"/>
                  </a:cubicBezTo>
                  <a:cubicBezTo>
                    <a:pt x="1879" y="164"/>
                    <a:pt x="1876" y="169"/>
                    <a:pt x="1878" y="170"/>
                  </a:cubicBezTo>
                  <a:cubicBezTo>
                    <a:pt x="1882" y="174"/>
                    <a:pt x="1889" y="167"/>
                    <a:pt x="1883" y="167"/>
                  </a:cubicBezTo>
                  <a:cubicBezTo>
                    <a:pt x="1883" y="167"/>
                    <a:pt x="1885" y="161"/>
                    <a:pt x="1886" y="163"/>
                  </a:cubicBezTo>
                  <a:cubicBezTo>
                    <a:pt x="1888" y="166"/>
                    <a:pt x="1891" y="166"/>
                    <a:pt x="1891" y="170"/>
                  </a:cubicBezTo>
                  <a:cubicBezTo>
                    <a:pt x="1897" y="170"/>
                    <a:pt x="1888" y="161"/>
                    <a:pt x="1891" y="152"/>
                  </a:cubicBezTo>
                  <a:cubicBezTo>
                    <a:pt x="1902" y="153"/>
                    <a:pt x="1896" y="131"/>
                    <a:pt x="1908" y="133"/>
                  </a:cubicBezTo>
                  <a:cubicBezTo>
                    <a:pt x="1903" y="144"/>
                    <a:pt x="1891" y="164"/>
                    <a:pt x="1902" y="174"/>
                  </a:cubicBezTo>
                  <a:cubicBezTo>
                    <a:pt x="1897" y="182"/>
                    <a:pt x="1893" y="205"/>
                    <a:pt x="1902" y="211"/>
                  </a:cubicBezTo>
                  <a:cubicBezTo>
                    <a:pt x="1900" y="218"/>
                    <a:pt x="1893" y="224"/>
                    <a:pt x="1889" y="218"/>
                  </a:cubicBezTo>
                  <a:cubicBezTo>
                    <a:pt x="1890" y="211"/>
                    <a:pt x="1893" y="211"/>
                    <a:pt x="1897" y="215"/>
                  </a:cubicBezTo>
                  <a:cubicBezTo>
                    <a:pt x="1892" y="209"/>
                    <a:pt x="1897" y="189"/>
                    <a:pt x="1886" y="193"/>
                  </a:cubicBezTo>
                  <a:cubicBezTo>
                    <a:pt x="1887" y="188"/>
                    <a:pt x="1891" y="190"/>
                    <a:pt x="1894" y="189"/>
                  </a:cubicBezTo>
                  <a:cubicBezTo>
                    <a:pt x="1891" y="177"/>
                    <a:pt x="1886" y="188"/>
                    <a:pt x="1881" y="178"/>
                  </a:cubicBezTo>
                  <a:cubicBezTo>
                    <a:pt x="1878" y="179"/>
                    <a:pt x="1879" y="182"/>
                    <a:pt x="1881" y="182"/>
                  </a:cubicBezTo>
                  <a:cubicBezTo>
                    <a:pt x="1880" y="191"/>
                    <a:pt x="1870" y="182"/>
                    <a:pt x="1873" y="174"/>
                  </a:cubicBezTo>
                  <a:close/>
                  <a:moveTo>
                    <a:pt x="1899" y="1317"/>
                  </a:moveTo>
                  <a:cubicBezTo>
                    <a:pt x="1889" y="1322"/>
                    <a:pt x="1899" y="1300"/>
                    <a:pt x="1889" y="1306"/>
                  </a:cubicBezTo>
                  <a:cubicBezTo>
                    <a:pt x="1890" y="1301"/>
                    <a:pt x="1895" y="1303"/>
                    <a:pt x="1899" y="1302"/>
                  </a:cubicBezTo>
                  <a:cubicBezTo>
                    <a:pt x="1899" y="1307"/>
                    <a:pt x="1899" y="1312"/>
                    <a:pt x="1899" y="1317"/>
                  </a:cubicBezTo>
                  <a:close/>
                  <a:moveTo>
                    <a:pt x="1937" y="1258"/>
                  </a:moveTo>
                  <a:cubicBezTo>
                    <a:pt x="1935" y="1258"/>
                    <a:pt x="1935" y="1253"/>
                    <a:pt x="1934" y="1250"/>
                  </a:cubicBezTo>
                  <a:cubicBezTo>
                    <a:pt x="1928" y="1251"/>
                    <a:pt x="1934" y="1262"/>
                    <a:pt x="1934" y="1261"/>
                  </a:cubicBezTo>
                  <a:cubicBezTo>
                    <a:pt x="1934" y="1269"/>
                    <a:pt x="1927" y="1263"/>
                    <a:pt x="1932" y="1276"/>
                  </a:cubicBezTo>
                  <a:cubicBezTo>
                    <a:pt x="1924" y="1279"/>
                    <a:pt x="1925" y="1271"/>
                    <a:pt x="1918" y="1273"/>
                  </a:cubicBezTo>
                  <a:cubicBezTo>
                    <a:pt x="1919" y="1268"/>
                    <a:pt x="1923" y="1269"/>
                    <a:pt x="1926" y="1269"/>
                  </a:cubicBezTo>
                  <a:cubicBezTo>
                    <a:pt x="1924" y="1260"/>
                    <a:pt x="1913" y="1260"/>
                    <a:pt x="1913" y="1273"/>
                  </a:cubicBezTo>
                  <a:cubicBezTo>
                    <a:pt x="1907" y="1275"/>
                    <a:pt x="1909" y="1265"/>
                    <a:pt x="1905" y="1265"/>
                  </a:cubicBezTo>
                  <a:cubicBezTo>
                    <a:pt x="1902" y="1266"/>
                    <a:pt x="1903" y="1269"/>
                    <a:pt x="1905" y="1269"/>
                  </a:cubicBezTo>
                  <a:cubicBezTo>
                    <a:pt x="1904" y="1279"/>
                    <a:pt x="1886" y="1266"/>
                    <a:pt x="1886" y="1276"/>
                  </a:cubicBezTo>
                  <a:cubicBezTo>
                    <a:pt x="1882" y="1275"/>
                    <a:pt x="1885" y="1265"/>
                    <a:pt x="1881" y="1265"/>
                  </a:cubicBezTo>
                  <a:cubicBezTo>
                    <a:pt x="1880" y="1258"/>
                    <a:pt x="1886" y="1261"/>
                    <a:pt x="1889" y="1258"/>
                  </a:cubicBezTo>
                  <a:cubicBezTo>
                    <a:pt x="1890" y="1256"/>
                    <a:pt x="1890" y="1242"/>
                    <a:pt x="1897" y="1247"/>
                  </a:cubicBezTo>
                  <a:cubicBezTo>
                    <a:pt x="1897" y="1257"/>
                    <a:pt x="1891" y="1260"/>
                    <a:pt x="1886" y="1265"/>
                  </a:cubicBezTo>
                  <a:cubicBezTo>
                    <a:pt x="1886" y="1273"/>
                    <a:pt x="1896" y="1267"/>
                    <a:pt x="1899" y="1269"/>
                  </a:cubicBezTo>
                  <a:cubicBezTo>
                    <a:pt x="1899" y="1265"/>
                    <a:pt x="1896" y="1266"/>
                    <a:pt x="1894" y="1265"/>
                  </a:cubicBezTo>
                  <a:cubicBezTo>
                    <a:pt x="1894" y="1262"/>
                    <a:pt x="1897" y="1262"/>
                    <a:pt x="1899" y="1261"/>
                  </a:cubicBezTo>
                  <a:cubicBezTo>
                    <a:pt x="1898" y="1254"/>
                    <a:pt x="1901" y="1252"/>
                    <a:pt x="1902" y="1247"/>
                  </a:cubicBezTo>
                  <a:cubicBezTo>
                    <a:pt x="1906" y="1247"/>
                    <a:pt x="1903" y="1258"/>
                    <a:pt x="1908" y="1258"/>
                  </a:cubicBezTo>
                  <a:cubicBezTo>
                    <a:pt x="1912" y="1258"/>
                    <a:pt x="1910" y="1230"/>
                    <a:pt x="1913" y="1250"/>
                  </a:cubicBezTo>
                  <a:cubicBezTo>
                    <a:pt x="1915" y="1255"/>
                    <a:pt x="1919" y="1257"/>
                    <a:pt x="1924" y="1258"/>
                  </a:cubicBezTo>
                  <a:cubicBezTo>
                    <a:pt x="1928" y="1254"/>
                    <a:pt x="1929" y="1246"/>
                    <a:pt x="1937" y="1247"/>
                  </a:cubicBezTo>
                  <a:cubicBezTo>
                    <a:pt x="1937" y="1250"/>
                    <a:pt x="1937" y="1254"/>
                    <a:pt x="1937" y="1258"/>
                  </a:cubicBezTo>
                  <a:close/>
                  <a:moveTo>
                    <a:pt x="1945" y="1217"/>
                  </a:moveTo>
                  <a:cubicBezTo>
                    <a:pt x="1942" y="1212"/>
                    <a:pt x="1944" y="1218"/>
                    <a:pt x="1940" y="1217"/>
                  </a:cubicBezTo>
                  <a:cubicBezTo>
                    <a:pt x="1937" y="1217"/>
                    <a:pt x="1934" y="1210"/>
                    <a:pt x="1932" y="1221"/>
                  </a:cubicBezTo>
                  <a:cubicBezTo>
                    <a:pt x="1929" y="1221"/>
                    <a:pt x="1930" y="1216"/>
                    <a:pt x="1929" y="1213"/>
                  </a:cubicBezTo>
                  <a:cubicBezTo>
                    <a:pt x="1925" y="1213"/>
                    <a:pt x="1920" y="1213"/>
                    <a:pt x="1916" y="1213"/>
                  </a:cubicBezTo>
                  <a:cubicBezTo>
                    <a:pt x="1913" y="1216"/>
                    <a:pt x="1913" y="1222"/>
                    <a:pt x="1908" y="1221"/>
                  </a:cubicBezTo>
                  <a:cubicBezTo>
                    <a:pt x="1912" y="1208"/>
                    <a:pt x="1900" y="1217"/>
                    <a:pt x="1894" y="1213"/>
                  </a:cubicBezTo>
                  <a:cubicBezTo>
                    <a:pt x="1892" y="1212"/>
                    <a:pt x="1892" y="1205"/>
                    <a:pt x="1889" y="1206"/>
                  </a:cubicBezTo>
                  <a:cubicBezTo>
                    <a:pt x="1887" y="1196"/>
                    <a:pt x="1901" y="1209"/>
                    <a:pt x="1899" y="1199"/>
                  </a:cubicBezTo>
                  <a:cubicBezTo>
                    <a:pt x="1901" y="1206"/>
                    <a:pt x="1914" y="1198"/>
                    <a:pt x="1916" y="1206"/>
                  </a:cubicBezTo>
                  <a:cubicBezTo>
                    <a:pt x="1919" y="1198"/>
                    <a:pt x="1927" y="1201"/>
                    <a:pt x="1942" y="1202"/>
                  </a:cubicBezTo>
                  <a:cubicBezTo>
                    <a:pt x="1943" y="1202"/>
                    <a:pt x="1942" y="1206"/>
                    <a:pt x="1942" y="1206"/>
                  </a:cubicBezTo>
                  <a:cubicBezTo>
                    <a:pt x="1945" y="1207"/>
                    <a:pt x="1945" y="1205"/>
                    <a:pt x="1945" y="1202"/>
                  </a:cubicBezTo>
                  <a:cubicBezTo>
                    <a:pt x="1948" y="1203"/>
                    <a:pt x="1947" y="1206"/>
                    <a:pt x="1945" y="1206"/>
                  </a:cubicBezTo>
                  <a:cubicBezTo>
                    <a:pt x="1945" y="1210"/>
                    <a:pt x="1946" y="1214"/>
                    <a:pt x="1948" y="1213"/>
                  </a:cubicBezTo>
                  <a:cubicBezTo>
                    <a:pt x="1951" y="1213"/>
                    <a:pt x="1953" y="1206"/>
                    <a:pt x="1959" y="1213"/>
                  </a:cubicBezTo>
                  <a:cubicBezTo>
                    <a:pt x="1962" y="1218"/>
                    <a:pt x="1947" y="1220"/>
                    <a:pt x="1945" y="1217"/>
                  </a:cubicBezTo>
                  <a:close/>
                  <a:moveTo>
                    <a:pt x="1967" y="1339"/>
                  </a:moveTo>
                  <a:cubicBezTo>
                    <a:pt x="1959" y="1342"/>
                    <a:pt x="1961" y="1332"/>
                    <a:pt x="1956" y="1332"/>
                  </a:cubicBezTo>
                  <a:cubicBezTo>
                    <a:pt x="1958" y="1327"/>
                    <a:pt x="1962" y="1325"/>
                    <a:pt x="1967" y="1324"/>
                  </a:cubicBezTo>
                  <a:cubicBezTo>
                    <a:pt x="1967" y="1329"/>
                    <a:pt x="1967" y="1334"/>
                    <a:pt x="1967" y="1339"/>
                  </a:cubicBezTo>
                  <a:close/>
                  <a:moveTo>
                    <a:pt x="1969" y="1269"/>
                  </a:moveTo>
                  <a:cubicBezTo>
                    <a:pt x="1970" y="1266"/>
                    <a:pt x="1968" y="1265"/>
                    <a:pt x="1967" y="1265"/>
                  </a:cubicBezTo>
                  <a:cubicBezTo>
                    <a:pt x="1967" y="1262"/>
                    <a:pt x="1970" y="1262"/>
                    <a:pt x="1972" y="1261"/>
                  </a:cubicBezTo>
                  <a:cubicBezTo>
                    <a:pt x="1967" y="1253"/>
                    <a:pt x="1973" y="1257"/>
                    <a:pt x="1975" y="1250"/>
                  </a:cubicBezTo>
                  <a:cubicBezTo>
                    <a:pt x="1983" y="1254"/>
                    <a:pt x="1971" y="1260"/>
                    <a:pt x="1975" y="1269"/>
                  </a:cubicBezTo>
                  <a:cubicBezTo>
                    <a:pt x="1973" y="1269"/>
                    <a:pt x="1971" y="1269"/>
                    <a:pt x="1969" y="1269"/>
                  </a:cubicBezTo>
                  <a:close/>
                  <a:moveTo>
                    <a:pt x="1977" y="1306"/>
                  </a:moveTo>
                  <a:cubicBezTo>
                    <a:pt x="1984" y="1296"/>
                    <a:pt x="1986" y="1310"/>
                    <a:pt x="1994" y="1309"/>
                  </a:cubicBezTo>
                  <a:cubicBezTo>
                    <a:pt x="1994" y="1315"/>
                    <a:pt x="1974" y="1318"/>
                    <a:pt x="1977" y="1306"/>
                  </a:cubicBezTo>
                  <a:close/>
                  <a:moveTo>
                    <a:pt x="1980" y="1232"/>
                  </a:moveTo>
                  <a:cubicBezTo>
                    <a:pt x="1981" y="1225"/>
                    <a:pt x="1985" y="1223"/>
                    <a:pt x="1991" y="1225"/>
                  </a:cubicBezTo>
                  <a:cubicBezTo>
                    <a:pt x="1989" y="1229"/>
                    <a:pt x="1985" y="1231"/>
                    <a:pt x="1980" y="1232"/>
                  </a:cubicBezTo>
                  <a:close/>
                  <a:moveTo>
                    <a:pt x="2015" y="1269"/>
                  </a:moveTo>
                  <a:cubicBezTo>
                    <a:pt x="2004" y="1271"/>
                    <a:pt x="2007" y="1255"/>
                    <a:pt x="2007" y="1243"/>
                  </a:cubicBezTo>
                  <a:cubicBezTo>
                    <a:pt x="2010" y="1245"/>
                    <a:pt x="2010" y="1252"/>
                    <a:pt x="2015" y="1250"/>
                  </a:cubicBezTo>
                  <a:cubicBezTo>
                    <a:pt x="2015" y="1257"/>
                    <a:pt x="2015" y="1263"/>
                    <a:pt x="2015" y="1269"/>
                  </a:cubicBezTo>
                  <a:close/>
                  <a:moveTo>
                    <a:pt x="2020" y="1261"/>
                  </a:moveTo>
                  <a:cubicBezTo>
                    <a:pt x="2028" y="1259"/>
                    <a:pt x="2019" y="1279"/>
                    <a:pt x="2026" y="1276"/>
                  </a:cubicBezTo>
                  <a:cubicBezTo>
                    <a:pt x="2021" y="1289"/>
                    <a:pt x="2019" y="1269"/>
                    <a:pt x="2020" y="1261"/>
                  </a:cubicBezTo>
                  <a:close/>
                  <a:moveTo>
                    <a:pt x="2026" y="1217"/>
                  </a:moveTo>
                  <a:cubicBezTo>
                    <a:pt x="2026" y="1217"/>
                    <a:pt x="2022" y="1221"/>
                    <a:pt x="2023" y="1221"/>
                  </a:cubicBezTo>
                  <a:cubicBezTo>
                    <a:pt x="2021" y="1221"/>
                    <a:pt x="2018" y="1213"/>
                    <a:pt x="2018" y="1213"/>
                  </a:cubicBezTo>
                  <a:cubicBezTo>
                    <a:pt x="2014" y="1214"/>
                    <a:pt x="2013" y="1220"/>
                    <a:pt x="2010" y="1221"/>
                  </a:cubicBezTo>
                  <a:cubicBezTo>
                    <a:pt x="2001" y="1223"/>
                    <a:pt x="1995" y="1212"/>
                    <a:pt x="1988" y="1221"/>
                  </a:cubicBezTo>
                  <a:cubicBezTo>
                    <a:pt x="1985" y="1222"/>
                    <a:pt x="1979" y="1210"/>
                    <a:pt x="1986" y="1210"/>
                  </a:cubicBezTo>
                  <a:cubicBezTo>
                    <a:pt x="1985" y="1206"/>
                    <a:pt x="1982" y="1207"/>
                    <a:pt x="1980" y="1206"/>
                  </a:cubicBezTo>
                  <a:cubicBezTo>
                    <a:pt x="1981" y="1198"/>
                    <a:pt x="1996" y="1201"/>
                    <a:pt x="1991" y="1213"/>
                  </a:cubicBezTo>
                  <a:cubicBezTo>
                    <a:pt x="1994" y="1213"/>
                    <a:pt x="1994" y="1202"/>
                    <a:pt x="1991" y="1202"/>
                  </a:cubicBezTo>
                  <a:cubicBezTo>
                    <a:pt x="1991" y="1198"/>
                    <a:pt x="1996" y="1199"/>
                    <a:pt x="1999" y="1199"/>
                  </a:cubicBezTo>
                  <a:cubicBezTo>
                    <a:pt x="1999" y="1202"/>
                    <a:pt x="1999" y="1206"/>
                    <a:pt x="1999" y="1210"/>
                  </a:cubicBezTo>
                  <a:cubicBezTo>
                    <a:pt x="2009" y="1209"/>
                    <a:pt x="2004" y="1201"/>
                    <a:pt x="2012" y="1206"/>
                  </a:cubicBezTo>
                  <a:cubicBezTo>
                    <a:pt x="2013" y="1206"/>
                    <a:pt x="2017" y="1205"/>
                    <a:pt x="2018" y="1206"/>
                  </a:cubicBezTo>
                  <a:cubicBezTo>
                    <a:pt x="2018" y="1206"/>
                    <a:pt x="2019" y="1212"/>
                    <a:pt x="2020" y="1210"/>
                  </a:cubicBezTo>
                  <a:cubicBezTo>
                    <a:pt x="2025" y="1204"/>
                    <a:pt x="2023" y="1215"/>
                    <a:pt x="2031" y="1213"/>
                  </a:cubicBezTo>
                  <a:cubicBezTo>
                    <a:pt x="2031" y="1217"/>
                    <a:pt x="2028" y="1216"/>
                    <a:pt x="2026" y="1217"/>
                  </a:cubicBezTo>
                  <a:close/>
                  <a:moveTo>
                    <a:pt x="2031" y="588"/>
                  </a:moveTo>
                  <a:cubicBezTo>
                    <a:pt x="2033" y="585"/>
                    <a:pt x="2034" y="580"/>
                    <a:pt x="2034" y="574"/>
                  </a:cubicBezTo>
                  <a:cubicBezTo>
                    <a:pt x="2039" y="572"/>
                    <a:pt x="2039" y="594"/>
                    <a:pt x="2031" y="588"/>
                  </a:cubicBezTo>
                  <a:close/>
                  <a:moveTo>
                    <a:pt x="2039" y="1210"/>
                  </a:moveTo>
                  <a:cubicBezTo>
                    <a:pt x="2044" y="1209"/>
                    <a:pt x="2044" y="1213"/>
                    <a:pt x="2047" y="1213"/>
                  </a:cubicBezTo>
                  <a:cubicBezTo>
                    <a:pt x="2046" y="1218"/>
                    <a:pt x="2042" y="1220"/>
                    <a:pt x="2037" y="1221"/>
                  </a:cubicBezTo>
                  <a:cubicBezTo>
                    <a:pt x="2038" y="1218"/>
                    <a:pt x="2039" y="1215"/>
                    <a:pt x="2039" y="1210"/>
                  </a:cubicBezTo>
                  <a:close/>
                  <a:moveTo>
                    <a:pt x="2039" y="1306"/>
                  </a:moveTo>
                  <a:cubicBezTo>
                    <a:pt x="2042" y="1309"/>
                    <a:pt x="2045" y="1310"/>
                    <a:pt x="2050" y="1309"/>
                  </a:cubicBezTo>
                  <a:cubicBezTo>
                    <a:pt x="2051" y="1316"/>
                    <a:pt x="2035" y="1316"/>
                    <a:pt x="2039" y="1306"/>
                  </a:cubicBezTo>
                  <a:close/>
                  <a:moveTo>
                    <a:pt x="2050" y="1269"/>
                  </a:moveTo>
                  <a:cubicBezTo>
                    <a:pt x="2048" y="1268"/>
                    <a:pt x="2048" y="1270"/>
                    <a:pt x="2047" y="1273"/>
                  </a:cubicBezTo>
                  <a:cubicBezTo>
                    <a:pt x="2044" y="1272"/>
                    <a:pt x="2045" y="1266"/>
                    <a:pt x="2045" y="1261"/>
                  </a:cubicBezTo>
                  <a:cubicBezTo>
                    <a:pt x="2048" y="1263"/>
                    <a:pt x="2049" y="1268"/>
                    <a:pt x="2053" y="1269"/>
                  </a:cubicBezTo>
                  <a:cubicBezTo>
                    <a:pt x="2052" y="1273"/>
                    <a:pt x="2050" y="1271"/>
                    <a:pt x="2050" y="1269"/>
                  </a:cubicBezTo>
                  <a:close/>
                  <a:moveTo>
                    <a:pt x="2064" y="1213"/>
                  </a:moveTo>
                  <a:cubicBezTo>
                    <a:pt x="2061" y="1219"/>
                    <a:pt x="2057" y="1221"/>
                    <a:pt x="2050" y="1221"/>
                  </a:cubicBezTo>
                  <a:cubicBezTo>
                    <a:pt x="2050" y="1214"/>
                    <a:pt x="2059" y="1218"/>
                    <a:pt x="2058" y="1210"/>
                  </a:cubicBezTo>
                  <a:cubicBezTo>
                    <a:pt x="2058" y="1206"/>
                    <a:pt x="2055" y="1207"/>
                    <a:pt x="2053" y="1206"/>
                  </a:cubicBezTo>
                  <a:cubicBezTo>
                    <a:pt x="2054" y="1201"/>
                    <a:pt x="2059" y="1203"/>
                    <a:pt x="2064" y="1202"/>
                  </a:cubicBezTo>
                  <a:cubicBezTo>
                    <a:pt x="2064" y="1209"/>
                    <a:pt x="2059" y="1212"/>
                    <a:pt x="2064" y="1213"/>
                  </a:cubicBezTo>
                  <a:close/>
                  <a:moveTo>
                    <a:pt x="2055" y="1195"/>
                  </a:moveTo>
                  <a:cubicBezTo>
                    <a:pt x="2055" y="1191"/>
                    <a:pt x="2055" y="1187"/>
                    <a:pt x="2055" y="1184"/>
                  </a:cubicBezTo>
                  <a:cubicBezTo>
                    <a:pt x="2060" y="1180"/>
                    <a:pt x="2064" y="1195"/>
                    <a:pt x="2066" y="1184"/>
                  </a:cubicBezTo>
                  <a:cubicBezTo>
                    <a:pt x="2072" y="1186"/>
                    <a:pt x="2063" y="1198"/>
                    <a:pt x="2055" y="1195"/>
                  </a:cubicBezTo>
                  <a:close/>
                  <a:moveTo>
                    <a:pt x="2069" y="204"/>
                  </a:moveTo>
                  <a:cubicBezTo>
                    <a:pt x="2065" y="208"/>
                    <a:pt x="2064" y="215"/>
                    <a:pt x="2058" y="207"/>
                  </a:cubicBezTo>
                  <a:cubicBezTo>
                    <a:pt x="2062" y="202"/>
                    <a:pt x="2071" y="196"/>
                    <a:pt x="2072" y="207"/>
                  </a:cubicBezTo>
                  <a:cubicBezTo>
                    <a:pt x="2070" y="213"/>
                    <a:pt x="2069" y="208"/>
                    <a:pt x="2069" y="204"/>
                  </a:cubicBezTo>
                  <a:close/>
                  <a:moveTo>
                    <a:pt x="2074" y="182"/>
                  </a:moveTo>
                  <a:cubicBezTo>
                    <a:pt x="2069" y="181"/>
                    <a:pt x="2074" y="174"/>
                    <a:pt x="2074" y="174"/>
                  </a:cubicBezTo>
                  <a:cubicBezTo>
                    <a:pt x="2074" y="170"/>
                    <a:pt x="2069" y="164"/>
                    <a:pt x="2074" y="159"/>
                  </a:cubicBezTo>
                  <a:cubicBezTo>
                    <a:pt x="2082" y="163"/>
                    <a:pt x="2073" y="175"/>
                    <a:pt x="2074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</p:grpSp>
      <p:sp>
        <p:nvSpPr>
          <p:cNvPr id="112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792107" y="4619607"/>
            <a:ext cx="4232424" cy="749300"/>
          </a:xfrm>
        </p:spPr>
        <p:txBody>
          <a:bodyPr/>
          <a:lstStyle>
            <a:lvl1pPr>
              <a:defRPr>
                <a:solidFill>
                  <a:srgbClr val="442E54"/>
                </a:solidFill>
              </a:defRPr>
            </a:lvl1pPr>
            <a:lvl2pPr>
              <a:defRPr>
                <a:solidFill>
                  <a:srgbClr val="442E54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  <a:endParaRPr lang="en-AU"/>
          </a:p>
        </p:txBody>
      </p:sp>
      <p:sp>
        <p:nvSpPr>
          <p:cNvPr id="113" name="Title 4124"/>
          <p:cNvSpPr>
            <a:spLocks noGrp="1"/>
          </p:cNvSpPr>
          <p:nvPr>
            <p:ph type="title"/>
          </p:nvPr>
        </p:nvSpPr>
        <p:spPr>
          <a:xfrm>
            <a:off x="5735264" y="1927683"/>
            <a:ext cx="5486400" cy="2603500"/>
          </a:xfrm>
        </p:spPr>
        <p:txBody>
          <a:bodyPr/>
          <a:lstStyle>
            <a:lvl1pPr>
              <a:defRPr sz="7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4617129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8778148E-ACFD-4862-B0C6-933459DCD210}" type="datetimeFigureOut">
              <a:rPr lang="en-US" smtClean="0"/>
              <a:t>4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A38B5E2-9982-4FAB-B6DA-C3AC1973587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7492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"/>
          <p:cNvGrpSpPr>
            <a:grpSpLocks noChangeAspect="1"/>
          </p:cNvGrpSpPr>
          <p:nvPr userDrawn="1"/>
        </p:nvGrpSpPr>
        <p:grpSpPr bwMode="auto">
          <a:xfrm>
            <a:off x="-12000" y="0"/>
            <a:ext cx="12216000" cy="1178432"/>
            <a:chOff x="-530" y="1723"/>
            <a:chExt cx="6834" cy="879"/>
          </a:xfrm>
          <a:solidFill>
            <a:schemeClr val="accent4"/>
          </a:solidFill>
        </p:grpSpPr>
        <p:sp>
          <p:nvSpPr>
            <p:cNvPr id="56" name="Freeform 6"/>
            <p:cNvSpPr>
              <a:spLocks/>
            </p:cNvSpPr>
            <p:nvPr userDrawn="1"/>
          </p:nvSpPr>
          <p:spPr bwMode="auto">
            <a:xfrm>
              <a:off x="4076" y="2427"/>
              <a:ext cx="45" cy="49"/>
            </a:xfrm>
            <a:custGeom>
              <a:avLst/>
              <a:gdLst>
                <a:gd name="T0" fmla="*/ 8 w 19"/>
                <a:gd name="T1" fmla="*/ 14 h 21"/>
                <a:gd name="T2" fmla="*/ 11 w 19"/>
                <a:gd name="T3" fmla="*/ 21 h 21"/>
                <a:gd name="T4" fmla="*/ 16 w 19"/>
                <a:gd name="T5" fmla="*/ 2 h 21"/>
                <a:gd name="T6" fmla="*/ 8 w 19"/>
                <a:gd name="T7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8" y="14"/>
                  </a:moveTo>
                  <a:cubicBezTo>
                    <a:pt x="9" y="17"/>
                    <a:pt x="7" y="21"/>
                    <a:pt x="11" y="21"/>
                  </a:cubicBezTo>
                  <a:cubicBezTo>
                    <a:pt x="16" y="14"/>
                    <a:pt x="19" y="12"/>
                    <a:pt x="16" y="2"/>
                  </a:cubicBezTo>
                  <a:cubicBezTo>
                    <a:pt x="0" y="0"/>
                    <a:pt x="7" y="11"/>
                    <a:pt x="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6" name="Freeform 7"/>
            <p:cNvSpPr>
              <a:spLocks/>
            </p:cNvSpPr>
            <p:nvPr userDrawn="1"/>
          </p:nvSpPr>
          <p:spPr bwMode="auto">
            <a:xfrm>
              <a:off x="5264" y="2389"/>
              <a:ext cx="22" cy="12"/>
            </a:xfrm>
            <a:custGeom>
              <a:avLst/>
              <a:gdLst>
                <a:gd name="T0" fmla="*/ 1 w 9"/>
                <a:gd name="T1" fmla="*/ 5 h 5"/>
                <a:gd name="T2" fmla="*/ 9 w 9"/>
                <a:gd name="T3" fmla="*/ 0 h 5"/>
                <a:gd name="T4" fmla="*/ 1 w 9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5">
                  <a:moveTo>
                    <a:pt x="1" y="5"/>
                  </a:moveTo>
                  <a:cubicBezTo>
                    <a:pt x="6" y="5"/>
                    <a:pt x="8" y="3"/>
                    <a:pt x="9" y="0"/>
                  </a:cubicBezTo>
                  <a:cubicBezTo>
                    <a:pt x="5" y="0"/>
                    <a:pt x="0" y="0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7" name="Freeform 8"/>
            <p:cNvSpPr>
              <a:spLocks/>
            </p:cNvSpPr>
            <p:nvPr userDrawn="1"/>
          </p:nvSpPr>
          <p:spPr bwMode="auto">
            <a:xfrm>
              <a:off x="5659" y="2375"/>
              <a:ext cx="28" cy="35"/>
            </a:xfrm>
            <a:custGeom>
              <a:avLst/>
              <a:gdLst>
                <a:gd name="T0" fmla="*/ 7 w 12"/>
                <a:gd name="T1" fmla="*/ 5 h 15"/>
                <a:gd name="T2" fmla="*/ 4 w 12"/>
                <a:gd name="T3" fmla="*/ 8 h 15"/>
                <a:gd name="T4" fmla="*/ 1 w 12"/>
                <a:gd name="T5" fmla="*/ 6 h 15"/>
                <a:gd name="T6" fmla="*/ 4 w 12"/>
                <a:gd name="T7" fmla="*/ 15 h 15"/>
                <a:gd name="T8" fmla="*/ 7 w 12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7" y="5"/>
                  </a:moveTo>
                  <a:cubicBezTo>
                    <a:pt x="7" y="7"/>
                    <a:pt x="6" y="8"/>
                    <a:pt x="4" y="8"/>
                  </a:cubicBezTo>
                  <a:cubicBezTo>
                    <a:pt x="4" y="6"/>
                    <a:pt x="4" y="5"/>
                    <a:pt x="1" y="6"/>
                  </a:cubicBezTo>
                  <a:cubicBezTo>
                    <a:pt x="2" y="9"/>
                    <a:pt x="0" y="14"/>
                    <a:pt x="4" y="15"/>
                  </a:cubicBezTo>
                  <a:cubicBezTo>
                    <a:pt x="6" y="13"/>
                    <a:pt x="12" y="0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8" name="Freeform 9"/>
            <p:cNvSpPr>
              <a:spLocks/>
            </p:cNvSpPr>
            <p:nvPr userDrawn="1"/>
          </p:nvSpPr>
          <p:spPr bwMode="auto">
            <a:xfrm>
              <a:off x="6155" y="2018"/>
              <a:ext cx="68" cy="35"/>
            </a:xfrm>
            <a:custGeom>
              <a:avLst/>
              <a:gdLst>
                <a:gd name="T0" fmla="*/ 16 w 29"/>
                <a:gd name="T1" fmla="*/ 12 h 15"/>
                <a:gd name="T2" fmla="*/ 27 w 29"/>
                <a:gd name="T3" fmla="*/ 7 h 15"/>
                <a:gd name="T4" fmla="*/ 5 w 29"/>
                <a:gd name="T5" fmla="*/ 0 h 15"/>
                <a:gd name="T6" fmla="*/ 3 w 29"/>
                <a:gd name="T7" fmla="*/ 12 h 15"/>
                <a:gd name="T8" fmla="*/ 16 w 29"/>
                <a:gd name="T9" fmla="*/ 7 h 15"/>
                <a:gd name="T10" fmla="*/ 16 w 29"/>
                <a:gd name="T11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5">
                  <a:moveTo>
                    <a:pt x="16" y="12"/>
                  </a:moveTo>
                  <a:cubicBezTo>
                    <a:pt x="21" y="15"/>
                    <a:pt x="29" y="8"/>
                    <a:pt x="27" y="7"/>
                  </a:cubicBezTo>
                  <a:cubicBezTo>
                    <a:pt x="24" y="1"/>
                    <a:pt x="11" y="3"/>
                    <a:pt x="5" y="0"/>
                  </a:cubicBezTo>
                  <a:cubicBezTo>
                    <a:pt x="6" y="6"/>
                    <a:pt x="0" y="5"/>
                    <a:pt x="3" y="12"/>
                  </a:cubicBezTo>
                  <a:cubicBezTo>
                    <a:pt x="11" y="15"/>
                    <a:pt x="10" y="8"/>
                    <a:pt x="16" y="7"/>
                  </a:cubicBezTo>
                  <a:cubicBezTo>
                    <a:pt x="16" y="7"/>
                    <a:pt x="16" y="11"/>
                    <a:pt x="1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9" name="Freeform 10"/>
            <p:cNvSpPr>
              <a:spLocks/>
            </p:cNvSpPr>
            <p:nvPr userDrawn="1"/>
          </p:nvSpPr>
          <p:spPr bwMode="auto">
            <a:xfrm>
              <a:off x="5633" y="2365"/>
              <a:ext cx="24" cy="29"/>
            </a:xfrm>
            <a:custGeom>
              <a:avLst/>
              <a:gdLst>
                <a:gd name="T0" fmla="*/ 4 w 10"/>
                <a:gd name="T1" fmla="*/ 0 h 12"/>
                <a:gd name="T2" fmla="*/ 7 w 10"/>
                <a:gd name="T3" fmla="*/ 12 h 12"/>
                <a:gd name="T4" fmla="*/ 4 w 10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4" y="0"/>
                  </a:moveTo>
                  <a:cubicBezTo>
                    <a:pt x="0" y="3"/>
                    <a:pt x="3" y="9"/>
                    <a:pt x="7" y="12"/>
                  </a:cubicBezTo>
                  <a:cubicBezTo>
                    <a:pt x="10" y="9"/>
                    <a:pt x="8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0" name="Freeform 11"/>
            <p:cNvSpPr>
              <a:spLocks/>
            </p:cNvSpPr>
            <p:nvPr userDrawn="1"/>
          </p:nvSpPr>
          <p:spPr bwMode="auto">
            <a:xfrm>
              <a:off x="4187" y="2453"/>
              <a:ext cx="33" cy="21"/>
            </a:xfrm>
            <a:custGeom>
              <a:avLst/>
              <a:gdLst>
                <a:gd name="T0" fmla="*/ 7 w 14"/>
                <a:gd name="T1" fmla="*/ 0 h 9"/>
                <a:gd name="T2" fmla="*/ 2 w 14"/>
                <a:gd name="T3" fmla="*/ 7 h 9"/>
                <a:gd name="T4" fmla="*/ 7 w 14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9">
                  <a:moveTo>
                    <a:pt x="7" y="0"/>
                  </a:moveTo>
                  <a:cubicBezTo>
                    <a:pt x="7" y="3"/>
                    <a:pt x="0" y="2"/>
                    <a:pt x="2" y="7"/>
                  </a:cubicBezTo>
                  <a:cubicBezTo>
                    <a:pt x="8" y="9"/>
                    <a:pt x="14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1" name="Freeform 12"/>
            <p:cNvSpPr>
              <a:spLocks/>
            </p:cNvSpPr>
            <p:nvPr userDrawn="1"/>
          </p:nvSpPr>
          <p:spPr bwMode="auto">
            <a:xfrm>
              <a:off x="5678" y="2379"/>
              <a:ext cx="40" cy="31"/>
            </a:xfrm>
            <a:custGeom>
              <a:avLst/>
              <a:gdLst>
                <a:gd name="T0" fmla="*/ 7 w 17"/>
                <a:gd name="T1" fmla="*/ 6 h 13"/>
                <a:gd name="T2" fmla="*/ 4 w 17"/>
                <a:gd name="T3" fmla="*/ 6 h 13"/>
                <a:gd name="T4" fmla="*/ 7 w 17"/>
                <a:gd name="T5" fmla="*/ 8 h 13"/>
                <a:gd name="T6" fmla="*/ 15 w 17"/>
                <a:gd name="T7" fmla="*/ 1 h 13"/>
                <a:gd name="T8" fmla="*/ 7 w 17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3">
                  <a:moveTo>
                    <a:pt x="7" y="6"/>
                  </a:moveTo>
                  <a:cubicBezTo>
                    <a:pt x="7" y="4"/>
                    <a:pt x="5" y="3"/>
                    <a:pt x="4" y="6"/>
                  </a:cubicBezTo>
                  <a:cubicBezTo>
                    <a:pt x="6" y="6"/>
                    <a:pt x="8" y="6"/>
                    <a:pt x="7" y="8"/>
                  </a:cubicBezTo>
                  <a:cubicBezTo>
                    <a:pt x="0" y="13"/>
                    <a:pt x="17" y="6"/>
                    <a:pt x="15" y="1"/>
                  </a:cubicBezTo>
                  <a:cubicBezTo>
                    <a:pt x="10" y="0"/>
                    <a:pt x="10" y="4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2" name="Freeform 13"/>
            <p:cNvSpPr>
              <a:spLocks/>
            </p:cNvSpPr>
            <p:nvPr userDrawn="1"/>
          </p:nvSpPr>
          <p:spPr bwMode="auto">
            <a:xfrm>
              <a:off x="6219" y="2016"/>
              <a:ext cx="73" cy="35"/>
            </a:xfrm>
            <a:custGeom>
              <a:avLst/>
              <a:gdLst>
                <a:gd name="T0" fmla="*/ 20 w 31"/>
                <a:gd name="T1" fmla="*/ 10 h 15"/>
                <a:gd name="T2" fmla="*/ 19 w 31"/>
                <a:gd name="T3" fmla="*/ 0 h 15"/>
                <a:gd name="T4" fmla="*/ 11 w 31"/>
                <a:gd name="T5" fmla="*/ 5 h 15"/>
                <a:gd name="T6" fmla="*/ 0 w 31"/>
                <a:gd name="T7" fmla="*/ 1 h 15"/>
                <a:gd name="T8" fmla="*/ 9 w 31"/>
                <a:gd name="T9" fmla="*/ 15 h 15"/>
                <a:gd name="T10" fmla="*/ 11 w 31"/>
                <a:gd name="T11" fmla="*/ 7 h 15"/>
                <a:gd name="T12" fmla="*/ 11 w 31"/>
                <a:gd name="T13" fmla="*/ 12 h 15"/>
                <a:gd name="T14" fmla="*/ 31 w 31"/>
                <a:gd name="T15" fmla="*/ 11 h 15"/>
                <a:gd name="T16" fmla="*/ 31 w 31"/>
                <a:gd name="T17" fmla="*/ 2 h 15"/>
                <a:gd name="T18" fmla="*/ 20 w 31"/>
                <a:gd name="T1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15">
                  <a:moveTo>
                    <a:pt x="20" y="10"/>
                  </a:moveTo>
                  <a:cubicBezTo>
                    <a:pt x="15" y="5"/>
                    <a:pt x="20" y="7"/>
                    <a:pt x="19" y="0"/>
                  </a:cubicBezTo>
                  <a:cubicBezTo>
                    <a:pt x="14" y="0"/>
                    <a:pt x="14" y="4"/>
                    <a:pt x="11" y="5"/>
                  </a:cubicBezTo>
                  <a:cubicBezTo>
                    <a:pt x="9" y="2"/>
                    <a:pt x="5" y="1"/>
                    <a:pt x="0" y="1"/>
                  </a:cubicBezTo>
                  <a:cubicBezTo>
                    <a:pt x="2" y="6"/>
                    <a:pt x="2" y="13"/>
                    <a:pt x="9" y="15"/>
                  </a:cubicBezTo>
                  <a:cubicBezTo>
                    <a:pt x="9" y="12"/>
                    <a:pt x="8" y="8"/>
                    <a:pt x="11" y="7"/>
                  </a:cubicBezTo>
                  <a:cubicBezTo>
                    <a:pt x="11" y="9"/>
                    <a:pt x="11" y="11"/>
                    <a:pt x="11" y="12"/>
                  </a:cubicBezTo>
                  <a:cubicBezTo>
                    <a:pt x="19" y="12"/>
                    <a:pt x="26" y="12"/>
                    <a:pt x="31" y="1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6" y="3"/>
                    <a:pt x="28" y="11"/>
                    <a:pt x="2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3" name="Freeform 14"/>
            <p:cNvSpPr>
              <a:spLocks/>
            </p:cNvSpPr>
            <p:nvPr userDrawn="1"/>
          </p:nvSpPr>
          <p:spPr bwMode="auto">
            <a:xfrm>
              <a:off x="4256" y="2441"/>
              <a:ext cx="24" cy="21"/>
            </a:xfrm>
            <a:custGeom>
              <a:avLst/>
              <a:gdLst>
                <a:gd name="T0" fmla="*/ 0 w 10"/>
                <a:gd name="T1" fmla="*/ 7 h 9"/>
                <a:gd name="T2" fmla="*/ 9 w 10"/>
                <a:gd name="T3" fmla="*/ 9 h 9"/>
                <a:gd name="T4" fmla="*/ 0 w 10"/>
                <a:gd name="T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7"/>
                  </a:moveTo>
                  <a:cubicBezTo>
                    <a:pt x="4" y="6"/>
                    <a:pt x="6" y="8"/>
                    <a:pt x="9" y="9"/>
                  </a:cubicBezTo>
                  <a:cubicBezTo>
                    <a:pt x="10" y="2"/>
                    <a:pt x="1" y="0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4" name="Freeform 15"/>
            <p:cNvSpPr>
              <a:spLocks/>
            </p:cNvSpPr>
            <p:nvPr userDrawn="1"/>
          </p:nvSpPr>
          <p:spPr bwMode="auto">
            <a:xfrm>
              <a:off x="3859" y="2455"/>
              <a:ext cx="14" cy="31"/>
            </a:xfrm>
            <a:custGeom>
              <a:avLst/>
              <a:gdLst>
                <a:gd name="T0" fmla="*/ 1 w 6"/>
                <a:gd name="T1" fmla="*/ 8 h 13"/>
                <a:gd name="T2" fmla="*/ 4 w 6"/>
                <a:gd name="T3" fmla="*/ 13 h 13"/>
                <a:gd name="T4" fmla="*/ 1 w 6"/>
                <a:gd name="T5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3">
                  <a:moveTo>
                    <a:pt x="1" y="8"/>
                  </a:moveTo>
                  <a:cubicBezTo>
                    <a:pt x="0" y="10"/>
                    <a:pt x="2" y="13"/>
                    <a:pt x="4" y="13"/>
                  </a:cubicBezTo>
                  <a:cubicBezTo>
                    <a:pt x="6" y="13"/>
                    <a:pt x="5" y="0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5" name="Freeform 16"/>
            <p:cNvSpPr>
              <a:spLocks/>
            </p:cNvSpPr>
            <p:nvPr userDrawn="1"/>
          </p:nvSpPr>
          <p:spPr bwMode="auto">
            <a:xfrm>
              <a:off x="3982" y="2455"/>
              <a:ext cx="38" cy="31"/>
            </a:xfrm>
            <a:custGeom>
              <a:avLst/>
              <a:gdLst>
                <a:gd name="T0" fmla="*/ 10 w 16"/>
                <a:gd name="T1" fmla="*/ 12 h 13"/>
                <a:gd name="T2" fmla="*/ 15 w 16"/>
                <a:gd name="T3" fmla="*/ 2 h 13"/>
                <a:gd name="T4" fmla="*/ 10 w 16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10" y="12"/>
                  </a:moveTo>
                  <a:cubicBezTo>
                    <a:pt x="11" y="12"/>
                    <a:pt x="16" y="5"/>
                    <a:pt x="15" y="2"/>
                  </a:cubicBezTo>
                  <a:cubicBezTo>
                    <a:pt x="0" y="0"/>
                    <a:pt x="4" y="13"/>
                    <a:pt x="1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6" name="Freeform 17"/>
            <p:cNvSpPr>
              <a:spLocks/>
            </p:cNvSpPr>
            <p:nvPr userDrawn="1"/>
          </p:nvSpPr>
          <p:spPr bwMode="auto">
            <a:xfrm>
              <a:off x="5872" y="2004"/>
              <a:ext cx="56" cy="54"/>
            </a:xfrm>
            <a:custGeom>
              <a:avLst/>
              <a:gdLst>
                <a:gd name="T0" fmla="*/ 18 w 24"/>
                <a:gd name="T1" fmla="*/ 13 h 23"/>
                <a:gd name="T2" fmla="*/ 24 w 24"/>
                <a:gd name="T3" fmla="*/ 15 h 23"/>
                <a:gd name="T4" fmla="*/ 18 w 24"/>
                <a:gd name="T5" fmla="*/ 8 h 23"/>
                <a:gd name="T6" fmla="*/ 16 w 24"/>
                <a:gd name="T7" fmla="*/ 10 h 23"/>
                <a:gd name="T8" fmla="*/ 2 w 24"/>
                <a:gd name="T9" fmla="*/ 1 h 23"/>
                <a:gd name="T10" fmla="*/ 5 w 24"/>
                <a:gd name="T11" fmla="*/ 8 h 23"/>
                <a:gd name="T12" fmla="*/ 5 w 24"/>
                <a:gd name="T13" fmla="*/ 15 h 23"/>
                <a:gd name="T14" fmla="*/ 10 w 24"/>
                <a:gd name="T15" fmla="*/ 20 h 23"/>
                <a:gd name="T16" fmla="*/ 18 w 24"/>
                <a:gd name="T17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3">
                  <a:moveTo>
                    <a:pt x="18" y="13"/>
                  </a:moveTo>
                  <a:cubicBezTo>
                    <a:pt x="19" y="14"/>
                    <a:pt x="21" y="15"/>
                    <a:pt x="24" y="15"/>
                  </a:cubicBezTo>
                  <a:cubicBezTo>
                    <a:pt x="24" y="12"/>
                    <a:pt x="21" y="7"/>
                    <a:pt x="18" y="8"/>
                  </a:cubicBezTo>
                  <a:cubicBezTo>
                    <a:pt x="18" y="8"/>
                    <a:pt x="18" y="12"/>
                    <a:pt x="16" y="10"/>
                  </a:cubicBezTo>
                  <a:cubicBezTo>
                    <a:pt x="13" y="9"/>
                    <a:pt x="12" y="0"/>
                    <a:pt x="2" y="1"/>
                  </a:cubicBezTo>
                  <a:cubicBezTo>
                    <a:pt x="2" y="4"/>
                    <a:pt x="3" y="6"/>
                    <a:pt x="5" y="8"/>
                  </a:cubicBezTo>
                  <a:cubicBezTo>
                    <a:pt x="4" y="11"/>
                    <a:pt x="0" y="14"/>
                    <a:pt x="5" y="15"/>
                  </a:cubicBezTo>
                  <a:cubicBezTo>
                    <a:pt x="7" y="5"/>
                    <a:pt x="16" y="16"/>
                    <a:pt x="10" y="20"/>
                  </a:cubicBezTo>
                  <a:cubicBezTo>
                    <a:pt x="20" y="23"/>
                    <a:pt x="12" y="12"/>
                    <a:pt x="1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7" name="Freeform 18"/>
            <p:cNvSpPr>
              <a:spLocks/>
            </p:cNvSpPr>
            <p:nvPr userDrawn="1"/>
          </p:nvSpPr>
          <p:spPr bwMode="auto">
            <a:xfrm>
              <a:off x="6129" y="2051"/>
              <a:ext cx="26" cy="31"/>
            </a:xfrm>
            <a:custGeom>
              <a:avLst/>
              <a:gdLst>
                <a:gd name="T0" fmla="*/ 3 w 11"/>
                <a:gd name="T1" fmla="*/ 5 h 13"/>
                <a:gd name="T2" fmla="*/ 0 w 11"/>
                <a:gd name="T3" fmla="*/ 0 h 13"/>
                <a:gd name="T4" fmla="*/ 0 w 11"/>
                <a:gd name="T5" fmla="*/ 12 h 13"/>
                <a:gd name="T6" fmla="*/ 11 w 11"/>
                <a:gd name="T7" fmla="*/ 7 h 13"/>
                <a:gd name="T8" fmla="*/ 3 w 11"/>
                <a:gd name="T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3" y="5"/>
                  </a:moveTo>
                  <a:cubicBezTo>
                    <a:pt x="2" y="3"/>
                    <a:pt x="3" y="0"/>
                    <a:pt x="0" y="0"/>
                  </a:cubicBezTo>
                  <a:cubicBezTo>
                    <a:pt x="0" y="4"/>
                    <a:pt x="0" y="8"/>
                    <a:pt x="0" y="12"/>
                  </a:cubicBezTo>
                  <a:cubicBezTo>
                    <a:pt x="6" y="13"/>
                    <a:pt x="11" y="11"/>
                    <a:pt x="11" y="7"/>
                  </a:cubicBezTo>
                  <a:cubicBezTo>
                    <a:pt x="8" y="7"/>
                    <a:pt x="3" y="8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8" name="Freeform 19"/>
            <p:cNvSpPr>
              <a:spLocks noEditPoints="1"/>
            </p:cNvSpPr>
            <p:nvPr userDrawn="1"/>
          </p:nvSpPr>
          <p:spPr bwMode="auto">
            <a:xfrm>
              <a:off x="-530" y="1723"/>
              <a:ext cx="6834" cy="879"/>
            </a:xfrm>
            <a:custGeom>
              <a:avLst/>
              <a:gdLst>
                <a:gd name="T0" fmla="*/ 389 w 2893"/>
                <a:gd name="T1" fmla="*/ 342 h 372"/>
                <a:gd name="T2" fmla="*/ 740 w 2893"/>
                <a:gd name="T3" fmla="*/ 359 h 372"/>
                <a:gd name="T4" fmla="*/ 1103 w 2893"/>
                <a:gd name="T5" fmla="*/ 367 h 372"/>
                <a:gd name="T6" fmla="*/ 1426 w 2893"/>
                <a:gd name="T7" fmla="*/ 356 h 372"/>
                <a:gd name="T8" fmla="*/ 1695 w 2893"/>
                <a:gd name="T9" fmla="*/ 331 h 372"/>
                <a:gd name="T10" fmla="*/ 1895 w 2893"/>
                <a:gd name="T11" fmla="*/ 320 h 372"/>
                <a:gd name="T12" fmla="*/ 2114 w 2893"/>
                <a:gd name="T13" fmla="*/ 302 h 372"/>
                <a:gd name="T14" fmla="*/ 2309 w 2893"/>
                <a:gd name="T15" fmla="*/ 287 h 372"/>
                <a:gd name="T16" fmla="*/ 2459 w 2893"/>
                <a:gd name="T17" fmla="*/ 275 h 372"/>
                <a:gd name="T18" fmla="*/ 2597 w 2893"/>
                <a:gd name="T19" fmla="*/ 289 h 372"/>
                <a:gd name="T20" fmla="*/ 2723 w 2893"/>
                <a:gd name="T21" fmla="*/ 280 h 372"/>
                <a:gd name="T22" fmla="*/ 2838 w 2893"/>
                <a:gd name="T23" fmla="*/ 287 h 372"/>
                <a:gd name="T24" fmla="*/ 2866 w 2893"/>
                <a:gd name="T25" fmla="*/ 183 h 372"/>
                <a:gd name="T26" fmla="*/ 2808 w 2893"/>
                <a:gd name="T27" fmla="*/ 147 h 372"/>
                <a:gd name="T28" fmla="*/ 2631 w 2893"/>
                <a:gd name="T29" fmla="*/ 218 h 372"/>
                <a:gd name="T30" fmla="*/ 2665 w 2893"/>
                <a:gd name="T31" fmla="*/ 112 h 372"/>
                <a:gd name="T32" fmla="*/ 2857 w 2893"/>
                <a:gd name="T33" fmla="*/ 113 h 372"/>
                <a:gd name="T34" fmla="*/ 485 w 2893"/>
                <a:gd name="T35" fmla="*/ 201 h 372"/>
                <a:gd name="T36" fmla="*/ 777 w 2893"/>
                <a:gd name="T37" fmla="*/ 267 h 372"/>
                <a:gd name="T38" fmla="*/ 1016 w 2893"/>
                <a:gd name="T39" fmla="*/ 272 h 372"/>
                <a:gd name="T40" fmla="*/ 1266 w 2893"/>
                <a:gd name="T41" fmla="*/ 265 h 372"/>
                <a:gd name="T42" fmla="*/ 1356 w 2893"/>
                <a:gd name="T43" fmla="*/ 252 h 372"/>
                <a:gd name="T44" fmla="*/ 1456 w 2893"/>
                <a:gd name="T45" fmla="*/ 330 h 372"/>
                <a:gd name="T46" fmla="*/ 1548 w 2893"/>
                <a:gd name="T47" fmla="*/ 241 h 372"/>
                <a:gd name="T48" fmla="*/ 1656 w 2893"/>
                <a:gd name="T49" fmla="*/ 331 h 372"/>
                <a:gd name="T50" fmla="*/ 1709 w 2893"/>
                <a:gd name="T51" fmla="*/ 232 h 372"/>
                <a:gd name="T52" fmla="*/ 1779 w 2893"/>
                <a:gd name="T53" fmla="*/ 259 h 372"/>
                <a:gd name="T54" fmla="*/ 1829 w 2893"/>
                <a:gd name="T55" fmla="*/ 147 h 372"/>
                <a:gd name="T56" fmla="*/ 1920 w 2893"/>
                <a:gd name="T57" fmla="*/ 193 h 372"/>
                <a:gd name="T58" fmla="*/ 1900 w 2893"/>
                <a:gd name="T59" fmla="*/ 151 h 372"/>
                <a:gd name="T60" fmla="*/ 1948 w 2893"/>
                <a:gd name="T61" fmla="*/ 220 h 372"/>
                <a:gd name="T62" fmla="*/ 2044 w 2893"/>
                <a:gd name="T63" fmla="*/ 214 h 372"/>
                <a:gd name="T64" fmla="*/ 2069 w 2893"/>
                <a:gd name="T65" fmla="*/ 218 h 372"/>
                <a:gd name="T66" fmla="*/ 2172 w 2893"/>
                <a:gd name="T67" fmla="*/ 167 h 372"/>
                <a:gd name="T68" fmla="*/ 2111 w 2893"/>
                <a:gd name="T69" fmla="*/ 107 h 372"/>
                <a:gd name="T70" fmla="*/ 2115 w 2893"/>
                <a:gd name="T71" fmla="*/ 217 h 372"/>
                <a:gd name="T72" fmla="*/ 2157 w 2893"/>
                <a:gd name="T73" fmla="*/ 236 h 372"/>
                <a:gd name="T74" fmla="*/ 2191 w 2893"/>
                <a:gd name="T75" fmla="*/ 148 h 372"/>
                <a:gd name="T76" fmla="*/ 2262 w 2893"/>
                <a:gd name="T77" fmla="*/ 135 h 372"/>
                <a:gd name="T78" fmla="*/ 2862 w 2893"/>
                <a:gd name="T79" fmla="*/ 247 h 372"/>
                <a:gd name="T80" fmla="*/ 2740 w 2893"/>
                <a:gd name="T81" fmla="*/ 190 h 372"/>
                <a:gd name="T82" fmla="*/ 2824 w 2893"/>
                <a:gd name="T83" fmla="*/ 259 h 372"/>
                <a:gd name="T84" fmla="*/ 2831 w 2893"/>
                <a:gd name="T85" fmla="*/ 198 h 372"/>
                <a:gd name="T86" fmla="*/ 2792 w 2893"/>
                <a:gd name="T87" fmla="*/ 177 h 372"/>
                <a:gd name="T88" fmla="*/ 2732 w 2893"/>
                <a:gd name="T89" fmla="*/ 181 h 372"/>
                <a:gd name="T90" fmla="*/ 2702 w 2893"/>
                <a:gd name="T91" fmla="*/ 207 h 372"/>
                <a:gd name="T92" fmla="*/ 2674 w 2893"/>
                <a:gd name="T93" fmla="*/ 8 h 372"/>
                <a:gd name="T94" fmla="*/ 2563 w 2893"/>
                <a:gd name="T95" fmla="*/ 116 h 372"/>
                <a:gd name="T96" fmla="*/ 2514 w 2893"/>
                <a:gd name="T97" fmla="*/ 121 h 372"/>
                <a:gd name="T98" fmla="*/ 2453 w 2893"/>
                <a:gd name="T99" fmla="*/ 101 h 372"/>
                <a:gd name="T100" fmla="*/ 2349 w 2893"/>
                <a:gd name="T101" fmla="*/ 103 h 372"/>
                <a:gd name="T102" fmla="*/ 2298 w 2893"/>
                <a:gd name="T103" fmla="*/ 139 h 372"/>
                <a:gd name="T104" fmla="*/ 2305 w 2893"/>
                <a:gd name="T105" fmla="*/ 231 h 372"/>
                <a:gd name="T106" fmla="*/ 2365 w 2893"/>
                <a:gd name="T107" fmla="*/ 211 h 372"/>
                <a:gd name="T108" fmla="*/ 2456 w 2893"/>
                <a:gd name="T109" fmla="*/ 256 h 372"/>
                <a:gd name="T110" fmla="*/ 2497 w 2893"/>
                <a:gd name="T111" fmla="*/ 213 h 372"/>
                <a:gd name="T112" fmla="*/ 2543 w 2893"/>
                <a:gd name="T113" fmla="*/ 219 h 372"/>
                <a:gd name="T114" fmla="*/ 2582 w 2893"/>
                <a:gd name="T115" fmla="*/ 230 h 372"/>
                <a:gd name="T116" fmla="*/ 2599 w 2893"/>
                <a:gd name="T117" fmla="*/ 258 h 372"/>
                <a:gd name="T118" fmla="*/ 2671 w 2893"/>
                <a:gd name="T119" fmla="*/ 156 h 372"/>
                <a:gd name="T120" fmla="*/ 2638 w 2893"/>
                <a:gd name="T121" fmla="*/ 133 h 372"/>
                <a:gd name="T122" fmla="*/ 2741 w 2893"/>
                <a:gd name="T123" fmla="*/ 87 h 372"/>
                <a:gd name="T124" fmla="*/ 2808 w 2893"/>
                <a:gd name="T125" fmla="*/ 12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93" h="372">
                  <a:moveTo>
                    <a:pt x="288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1"/>
                    <a:pt x="1" y="320"/>
                    <a:pt x="2" y="320"/>
                  </a:cubicBezTo>
                  <a:cubicBezTo>
                    <a:pt x="1" y="331"/>
                    <a:pt x="12" y="320"/>
                    <a:pt x="15" y="320"/>
                  </a:cubicBezTo>
                  <a:cubicBezTo>
                    <a:pt x="16" y="328"/>
                    <a:pt x="25" y="329"/>
                    <a:pt x="35" y="329"/>
                  </a:cubicBezTo>
                  <a:cubicBezTo>
                    <a:pt x="35" y="327"/>
                    <a:pt x="35" y="324"/>
                    <a:pt x="37" y="324"/>
                  </a:cubicBezTo>
                  <a:cubicBezTo>
                    <a:pt x="39" y="331"/>
                    <a:pt x="43" y="322"/>
                    <a:pt x="48" y="324"/>
                  </a:cubicBezTo>
                  <a:cubicBezTo>
                    <a:pt x="50" y="329"/>
                    <a:pt x="56" y="325"/>
                    <a:pt x="62" y="326"/>
                  </a:cubicBezTo>
                  <a:cubicBezTo>
                    <a:pt x="70" y="328"/>
                    <a:pt x="66" y="332"/>
                    <a:pt x="70" y="328"/>
                  </a:cubicBezTo>
                  <a:cubicBezTo>
                    <a:pt x="77" y="323"/>
                    <a:pt x="90" y="333"/>
                    <a:pt x="87" y="333"/>
                  </a:cubicBezTo>
                  <a:cubicBezTo>
                    <a:pt x="102" y="336"/>
                    <a:pt x="117" y="327"/>
                    <a:pt x="136" y="330"/>
                  </a:cubicBezTo>
                  <a:cubicBezTo>
                    <a:pt x="139" y="338"/>
                    <a:pt x="156" y="332"/>
                    <a:pt x="167" y="334"/>
                  </a:cubicBezTo>
                  <a:cubicBezTo>
                    <a:pt x="170" y="334"/>
                    <a:pt x="170" y="336"/>
                    <a:pt x="175" y="336"/>
                  </a:cubicBezTo>
                  <a:cubicBezTo>
                    <a:pt x="178" y="336"/>
                    <a:pt x="179" y="334"/>
                    <a:pt x="183" y="333"/>
                  </a:cubicBezTo>
                  <a:cubicBezTo>
                    <a:pt x="190" y="333"/>
                    <a:pt x="194" y="335"/>
                    <a:pt x="200" y="336"/>
                  </a:cubicBezTo>
                  <a:cubicBezTo>
                    <a:pt x="202" y="332"/>
                    <a:pt x="204" y="328"/>
                    <a:pt x="210" y="328"/>
                  </a:cubicBezTo>
                  <a:cubicBezTo>
                    <a:pt x="211" y="331"/>
                    <a:pt x="210" y="335"/>
                    <a:pt x="213" y="335"/>
                  </a:cubicBezTo>
                  <a:cubicBezTo>
                    <a:pt x="216" y="328"/>
                    <a:pt x="221" y="337"/>
                    <a:pt x="222" y="337"/>
                  </a:cubicBezTo>
                  <a:cubicBezTo>
                    <a:pt x="225" y="339"/>
                    <a:pt x="233" y="339"/>
                    <a:pt x="238" y="340"/>
                  </a:cubicBezTo>
                  <a:cubicBezTo>
                    <a:pt x="246" y="340"/>
                    <a:pt x="240" y="332"/>
                    <a:pt x="246" y="337"/>
                  </a:cubicBezTo>
                  <a:cubicBezTo>
                    <a:pt x="248" y="338"/>
                    <a:pt x="255" y="336"/>
                    <a:pt x="257" y="337"/>
                  </a:cubicBezTo>
                  <a:cubicBezTo>
                    <a:pt x="259" y="338"/>
                    <a:pt x="260" y="343"/>
                    <a:pt x="266" y="341"/>
                  </a:cubicBezTo>
                  <a:cubicBezTo>
                    <a:pt x="275" y="336"/>
                    <a:pt x="294" y="346"/>
                    <a:pt x="307" y="341"/>
                  </a:cubicBezTo>
                  <a:cubicBezTo>
                    <a:pt x="309" y="340"/>
                    <a:pt x="309" y="334"/>
                    <a:pt x="312" y="334"/>
                  </a:cubicBezTo>
                  <a:cubicBezTo>
                    <a:pt x="312" y="335"/>
                    <a:pt x="312" y="337"/>
                    <a:pt x="312" y="338"/>
                  </a:cubicBezTo>
                  <a:cubicBezTo>
                    <a:pt x="315" y="339"/>
                    <a:pt x="321" y="337"/>
                    <a:pt x="323" y="338"/>
                  </a:cubicBezTo>
                  <a:cubicBezTo>
                    <a:pt x="323" y="338"/>
                    <a:pt x="323" y="340"/>
                    <a:pt x="323" y="340"/>
                  </a:cubicBezTo>
                  <a:cubicBezTo>
                    <a:pt x="327" y="341"/>
                    <a:pt x="334" y="339"/>
                    <a:pt x="340" y="340"/>
                  </a:cubicBezTo>
                  <a:cubicBezTo>
                    <a:pt x="342" y="341"/>
                    <a:pt x="343" y="342"/>
                    <a:pt x="345" y="342"/>
                  </a:cubicBezTo>
                  <a:cubicBezTo>
                    <a:pt x="345" y="342"/>
                    <a:pt x="345" y="340"/>
                    <a:pt x="348" y="340"/>
                  </a:cubicBezTo>
                  <a:cubicBezTo>
                    <a:pt x="349" y="340"/>
                    <a:pt x="347" y="343"/>
                    <a:pt x="351" y="342"/>
                  </a:cubicBezTo>
                  <a:cubicBezTo>
                    <a:pt x="352" y="342"/>
                    <a:pt x="354" y="338"/>
                    <a:pt x="356" y="338"/>
                  </a:cubicBezTo>
                  <a:cubicBezTo>
                    <a:pt x="355" y="338"/>
                    <a:pt x="360" y="341"/>
                    <a:pt x="361" y="337"/>
                  </a:cubicBezTo>
                  <a:cubicBezTo>
                    <a:pt x="361" y="339"/>
                    <a:pt x="361" y="341"/>
                    <a:pt x="362" y="342"/>
                  </a:cubicBezTo>
                  <a:cubicBezTo>
                    <a:pt x="370" y="341"/>
                    <a:pt x="374" y="337"/>
                    <a:pt x="381" y="335"/>
                  </a:cubicBezTo>
                  <a:cubicBezTo>
                    <a:pt x="381" y="341"/>
                    <a:pt x="376" y="340"/>
                    <a:pt x="381" y="344"/>
                  </a:cubicBezTo>
                  <a:cubicBezTo>
                    <a:pt x="387" y="347"/>
                    <a:pt x="389" y="333"/>
                    <a:pt x="389" y="342"/>
                  </a:cubicBezTo>
                  <a:cubicBezTo>
                    <a:pt x="389" y="345"/>
                    <a:pt x="400" y="345"/>
                    <a:pt x="403" y="346"/>
                  </a:cubicBezTo>
                  <a:cubicBezTo>
                    <a:pt x="403" y="344"/>
                    <a:pt x="403" y="341"/>
                    <a:pt x="405" y="341"/>
                  </a:cubicBezTo>
                  <a:cubicBezTo>
                    <a:pt x="405" y="345"/>
                    <a:pt x="407" y="346"/>
                    <a:pt x="408" y="348"/>
                  </a:cubicBezTo>
                  <a:cubicBezTo>
                    <a:pt x="423" y="348"/>
                    <a:pt x="437" y="348"/>
                    <a:pt x="452" y="348"/>
                  </a:cubicBezTo>
                  <a:cubicBezTo>
                    <a:pt x="453" y="346"/>
                    <a:pt x="452" y="343"/>
                    <a:pt x="455" y="343"/>
                  </a:cubicBezTo>
                  <a:cubicBezTo>
                    <a:pt x="453" y="352"/>
                    <a:pt x="461" y="345"/>
                    <a:pt x="463" y="345"/>
                  </a:cubicBezTo>
                  <a:cubicBezTo>
                    <a:pt x="465" y="345"/>
                    <a:pt x="466" y="349"/>
                    <a:pt x="469" y="350"/>
                  </a:cubicBezTo>
                  <a:cubicBezTo>
                    <a:pt x="469" y="350"/>
                    <a:pt x="471" y="345"/>
                    <a:pt x="474" y="347"/>
                  </a:cubicBezTo>
                  <a:cubicBezTo>
                    <a:pt x="475" y="351"/>
                    <a:pt x="481" y="349"/>
                    <a:pt x="485" y="349"/>
                  </a:cubicBezTo>
                  <a:cubicBezTo>
                    <a:pt x="485" y="345"/>
                    <a:pt x="487" y="341"/>
                    <a:pt x="490" y="340"/>
                  </a:cubicBezTo>
                  <a:cubicBezTo>
                    <a:pt x="491" y="343"/>
                    <a:pt x="490" y="349"/>
                    <a:pt x="493" y="349"/>
                  </a:cubicBezTo>
                  <a:cubicBezTo>
                    <a:pt x="494" y="345"/>
                    <a:pt x="503" y="348"/>
                    <a:pt x="504" y="344"/>
                  </a:cubicBezTo>
                  <a:cubicBezTo>
                    <a:pt x="506" y="341"/>
                    <a:pt x="501" y="332"/>
                    <a:pt x="507" y="332"/>
                  </a:cubicBezTo>
                  <a:cubicBezTo>
                    <a:pt x="506" y="340"/>
                    <a:pt x="512" y="341"/>
                    <a:pt x="510" y="349"/>
                  </a:cubicBezTo>
                  <a:cubicBezTo>
                    <a:pt x="515" y="350"/>
                    <a:pt x="515" y="346"/>
                    <a:pt x="518" y="344"/>
                  </a:cubicBezTo>
                  <a:cubicBezTo>
                    <a:pt x="518" y="356"/>
                    <a:pt x="541" y="354"/>
                    <a:pt x="551" y="351"/>
                  </a:cubicBezTo>
                  <a:cubicBezTo>
                    <a:pt x="552" y="346"/>
                    <a:pt x="547" y="345"/>
                    <a:pt x="551" y="343"/>
                  </a:cubicBezTo>
                  <a:cubicBezTo>
                    <a:pt x="555" y="344"/>
                    <a:pt x="553" y="349"/>
                    <a:pt x="554" y="353"/>
                  </a:cubicBezTo>
                  <a:cubicBezTo>
                    <a:pt x="563" y="352"/>
                    <a:pt x="578" y="356"/>
                    <a:pt x="578" y="348"/>
                  </a:cubicBezTo>
                  <a:cubicBezTo>
                    <a:pt x="576" y="347"/>
                    <a:pt x="573" y="348"/>
                    <a:pt x="573" y="345"/>
                  </a:cubicBezTo>
                  <a:cubicBezTo>
                    <a:pt x="575" y="346"/>
                    <a:pt x="577" y="345"/>
                    <a:pt x="578" y="345"/>
                  </a:cubicBezTo>
                  <a:cubicBezTo>
                    <a:pt x="582" y="346"/>
                    <a:pt x="579" y="348"/>
                    <a:pt x="581" y="350"/>
                  </a:cubicBezTo>
                  <a:cubicBezTo>
                    <a:pt x="583" y="351"/>
                    <a:pt x="587" y="349"/>
                    <a:pt x="587" y="352"/>
                  </a:cubicBezTo>
                  <a:cubicBezTo>
                    <a:pt x="601" y="349"/>
                    <a:pt x="614" y="358"/>
                    <a:pt x="622" y="352"/>
                  </a:cubicBezTo>
                  <a:cubicBezTo>
                    <a:pt x="619" y="351"/>
                    <a:pt x="616" y="348"/>
                    <a:pt x="620" y="347"/>
                  </a:cubicBezTo>
                  <a:cubicBezTo>
                    <a:pt x="623" y="348"/>
                    <a:pt x="625" y="350"/>
                    <a:pt x="625" y="354"/>
                  </a:cubicBezTo>
                  <a:cubicBezTo>
                    <a:pt x="630" y="356"/>
                    <a:pt x="634" y="351"/>
                    <a:pt x="636" y="351"/>
                  </a:cubicBezTo>
                  <a:cubicBezTo>
                    <a:pt x="636" y="351"/>
                    <a:pt x="638" y="356"/>
                    <a:pt x="639" y="356"/>
                  </a:cubicBezTo>
                  <a:cubicBezTo>
                    <a:pt x="641" y="357"/>
                    <a:pt x="645" y="356"/>
                    <a:pt x="647" y="356"/>
                  </a:cubicBezTo>
                  <a:cubicBezTo>
                    <a:pt x="649" y="356"/>
                    <a:pt x="649" y="358"/>
                    <a:pt x="650" y="358"/>
                  </a:cubicBezTo>
                  <a:cubicBezTo>
                    <a:pt x="656" y="359"/>
                    <a:pt x="655" y="355"/>
                    <a:pt x="658" y="358"/>
                  </a:cubicBezTo>
                  <a:cubicBezTo>
                    <a:pt x="659" y="359"/>
                    <a:pt x="663" y="358"/>
                    <a:pt x="664" y="358"/>
                  </a:cubicBezTo>
                  <a:cubicBezTo>
                    <a:pt x="673" y="359"/>
                    <a:pt x="674" y="359"/>
                    <a:pt x="680" y="360"/>
                  </a:cubicBezTo>
                  <a:cubicBezTo>
                    <a:pt x="690" y="350"/>
                    <a:pt x="712" y="364"/>
                    <a:pt x="721" y="355"/>
                  </a:cubicBezTo>
                  <a:cubicBezTo>
                    <a:pt x="720" y="356"/>
                    <a:pt x="716" y="350"/>
                    <a:pt x="721" y="350"/>
                  </a:cubicBezTo>
                  <a:cubicBezTo>
                    <a:pt x="724" y="355"/>
                    <a:pt x="726" y="361"/>
                    <a:pt x="738" y="359"/>
                  </a:cubicBezTo>
                  <a:cubicBezTo>
                    <a:pt x="741" y="353"/>
                    <a:pt x="727" y="352"/>
                    <a:pt x="735" y="350"/>
                  </a:cubicBezTo>
                  <a:cubicBezTo>
                    <a:pt x="740" y="350"/>
                    <a:pt x="741" y="354"/>
                    <a:pt x="740" y="359"/>
                  </a:cubicBezTo>
                  <a:cubicBezTo>
                    <a:pt x="750" y="362"/>
                    <a:pt x="742" y="351"/>
                    <a:pt x="749" y="352"/>
                  </a:cubicBezTo>
                  <a:cubicBezTo>
                    <a:pt x="749" y="356"/>
                    <a:pt x="756" y="355"/>
                    <a:pt x="754" y="361"/>
                  </a:cubicBezTo>
                  <a:cubicBezTo>
                    <a:pt x="785" y="357"/>
                    <a:pt x="804" y="370"/>
                    <a:pt x="820" y="360"/>
                  </a:cubicBezTo>
                  <a:cubicBezTo>
                    <a:pt x="821" y="363"/>
                    <a:pt x="826" y="363"/>
                    <a:pt x="828" y="364"/>
                  </a:cubicBezTo>
                  <a:cubicBezTo>
                    <a:pt x="833" y="360"/>
                    <a:pt x="828" y="362"/>
                    <a:pt x="828" y="355"/>
                  </a:cubicBezTo>
                  <a:cubicBezTo>
                    <a:pt x="837" y="363"/>
                    <a:pt x="829" y="348"/>
                    <a:pt x="839" y="350"/>
                  </a:cubicBezTo>
                  <a:cubicBezTo>
                    <a:pt x="838" y="356"/>
                    <a:pt x="834" y="360"/>
                    <a:pt x="839" y="364"/>
                  </a:cubicBezTo>
                  <a:cubicBezTo>
                    <a:pt x="851" y="363"/>
                    <a:pt x="864" y="362"/>
                    <a:pt x="875" y="364"/>
                  </a:cubicBezTo>
                  <a:cubicBezTo>
                    <a:pt x="873" y="357"/>
                    <a:pt x="881" y="359"/>
                    <a:pt x="883" y="356"/>
                  </a:cubicBezTo>
                  <a:cubicBezTo>
                    <a:pt x="884" y="362"/>
                    <a:pt x="887" y="366"/>
                    <a:pt x="894" y="366"/>
                  </a:cubicBezTo>
                  <a:cubicBezTo>
                    <a:pt x="894" y="365"/>
                    <a:pt x="895" y="360"/>
                    <a:pt x="897" y="361"/>
                  </a:cubicBezTo>
                  <a:cubicBezTo>
                    <a:pt x="898" y="361"/>
                    <a:pt x="896" y="365"/>
                    <a:pt x="897" y="366"/>
                  </a:cubicBezTo>
                  <a:cubicBezTo>
                    <a:pt x="900" y="367"/>
                    <a:pt x="905" y="364"/>
                    <a:pt x="908" y="365"/>
                  </a:cubicBezTo>
                  <a:cubicBezTo>
                    <a:pt x="908" y="366"/>
                    <a:pt x="908" y="368"/>
                    <a:pt x="908" y="368"/>
                  </a:cubicBezTo>
                  <a:cubicBezTo>
                    <a:pt x="915" y="368"/>
                    <a:pt x="927" y="366"/>
                    <a:pt x="935" y="367"/>
                  </a:cubicBezTo>
                  <a:cubicBezTo>
                    <a:pt x="939" y="368"/>
                    <a:pt x="939" y="370"/>
                    <a:pt x="941" y="367"/>
                  </a:cubicBezTo>
                  <a:cubicBezTo>
                    <a:pt x="943" y="365"/>
                    <a:pt x="958" y="367"/>
                    <a:pt x="960" y="367"/>
                  </a:cubicBezTo>
                  <a:cubicBezTo>
                    <a:pt x="964" y="366"/>
                    <a:pt x="963" y="364"/>
                    <a:pt x="966" y="367"/>
                  </a:cubicBezTo>
                  <a:cubicBezTo>
                    <a:pt x="968" y="370"/>
                    <a:pt x="980" y="364"/>
                    <a:pt x="982" y="367"/>
                  </a:cubicBezTo>
                  <a:cubicBezTo>
                    <a:pt x="986" y="361"/>
                    <a:pt x="975" y="358"/>
                    <a:pt x="982" y="357"/>
                  </a:cubicBezTo>
                  <a:cubicBezTo>
                    <a:pt x="988" y="362"/>
                    <a:pt x="987" y="365"/>
                    <a:pt x="990" y="366"/>
                  </a:cubicBezTo>
                  <a:cubicBezTo>
                    <a:pt x="988" y="365"/>
                    <a:pt x="995" y="358"/>
                    <a:pt x="993" y="366"/>
                  </a:cubicBezTo>
                  <a:cubicBezTo>
                    <a:pt x="1002" y="368"/>
                    <a:pt x="1002" y="363"/>
                    <a:pt x="1007" y="361"/>
                  </a:cubicBezTo>
                  <a:cubicBezTo>
                    <a:pt x="1006" y="361"/>
                    <a:pt x="1009" y="364"/>
                    <a:pt x="1011" y="362"/>
                  </a:cubicBezTo>
                  <a:cubicBezTo>
                    <a:pt x="1008" y="367"/>
                    <a:pt x="1012" y="366"/>
                    <a:pt x="1018" y="366"/>
                  </a:cubicBezTo>
                  <a:cubicBezTo>
                    <a:pt x="1020" y="366"/>
                    <a:pt x="1020" y="368"/>
                    <a:pt x="1020" y="368"/>
                  </a:cubicBezTo>
                  <a:cubicBezTo>
                    <a:pt x="1028" y="369"/>
                    <a:pt x="1040" y="368"/>
                    <a:pt x="1042" y="365"/>
                  </a:cubicBezTo>
                  <a:cubicBezTo>
                    <a:pt x="1042" y="368"/>
                    <a:pt x="1044" y="367"/>
                    <a:pt x="1045" y="368"/>
                  </a:cubicBezTo>
                  <a:cubicBezTo>
                    <a:pt x="1045" y="368"/>
                    <a:pt x="1049" y="370"/>
                    <a:pt x="1048" y="370"/>
                  </a:cubicBezTo>
                  <a:cubicBezTo>
                    <a:pt x="1058" y="372"/>
                    <a:pt x="1076" y="367"/>
                    <a:pt x="1078" y="367"/>
                  </a:cubicBezTo>
                  <a:cubicBezTo>
                    <a:pt x="1081" y="367"/>
                    <a:pt x="1082" y="369"/>
                    <a:pt x="1086" y="369"/>
                  </a:cubicBezTo>
                  <a:cubicBezTo>
                    <a:pt x="1087" y="369"/>
                    <a:pt x="1086" y="367"/>
                    <a:pt x="1089" y="367"/>
                  </a:cubicBezTo>
                  <a:cubicBezTo>
                    <a:pt x="1090" y="367"/>
                    <a:pt x="1089" y="370"/>
                    <a:pt x="1092" y="369"/>
                  </a:cubicBezTo>
                  <a:cubicBezTo>
                    <a:pt x="1091" y="369"/>
                    <a:pt x="1094" y="367"/>
                    <a:pt x="1095" y="367"/>
                  </a:cubicBezTo>
                  <a:cubicBezTo>
                    <a:pt x="1097" y="366"/>
                    <a:pt x="1099" y="365"/>
                    <a:pt x="1100" y="362"/>
                  </a:cubicBezTo>
                  <a:cubicBezTo>
                    <a:pt x="1097" y="362"/>
                    <a:pt x="1096" y="360"/>
                    <a:pt x="1094" y="357"/>
                  </a:cubicBezTo>
                  <a:cubicBezTo>
                    <a:pt x="1098" y="357"/>
                    <a:pt x="1100" y="356"/>
                    <a:pt x="1103" y="355"/>
                  </a:cubicBezTo>
                  <a:cubicBezTo>
                    <a:pt x="1105" y="362"/>
                    <a:pt x="1105" y="359"/>
                    <a:pt x="1103" y="367"/>
                  </a:cubicBezTo>
                  <a:cubicBezTo>
                    <a:pt x="1112" y="371"/>
                    <a:pt x="1115" y="365"/>
                    <a:pt x="1127" y="366"/>
                  </a:cubicBezTo>
                  <a:cubicBezTo>
                    <a:pt x="1131" y="365"/>
                    <a:pt x="1128" y="357"/>
                    <a:pt x="1133" y="357"/>
                  </a:cubicBezTo>
                  <a:cubicBezTo>
                    <a:pt x="1132" y="364"/>
                    <a:pt x="1133" y="370"/>
                    <a:pt x="1141" y="368"/>
                  </a:cubicBezTo>
                  <a:cubicBezTo>
                    <a:pt x="1143" y="364"/>
                    <a:pt x="1133" y="359"/>
                    <a:pt x="1141" y="357"/>
                  </a:cubicBezTo>
                  <a:cubicBezTo>
                    <a:pt x="1145" y="359"/>
                    <a:pt x="1144" y="366"/>
                    <a:pt x="1152" y="366"/>
                  </a:cubicBezTo>
                  <a:cubicBezTo>
                    <a:pt x="1152" y="363"/>
                    <a:pt x="1153" y="360"/>
                    <a:pt x="1158" y="361"/>
                  </a:cubicBezTo>
                  <a:cubicBezTo>
                    <a:pt x="1158" y="357"/>
                    <a:pt x="1157" y="353"/>
                    <a:pt x="1163" y="354"/>
                  </a:cubicBezTo>
                  <a:cubicBezTo>
                    <a:pt x="1167" y="363"/>
                    <a:pt x="1155" y="359"/>
                    <a:pt x="1158" y="366"/>
                  </a:cubicBezTo>
                  <a:cubicBezTo>
                    <a:pt x="1172" y="369"/>
                    <a:pt x="1165" y="355"/>
                    <a:pt x="1174" y="354"/>
                  </a:cubicBezTo>
                  <a:cubicBezTo>
                    <a:pt x="1182" y="360"/>
                    <a:pt x="1176" y="360"/>
                    <a:pt x="1174" y="368"/>
                  </a:cubicBezTo>
                  <a:cubicBezTo>
                    <a:pt x="1185" y="370"/>
                    <a:pt x="1191" y="370"/>
                    <a:pt x="1199" y="365"/>
                  </a:cubicBezTo>
                  <a:cubicBezTo>
                    <a:pt x="1202" y="369"/>
                    <a:pt x="1216" y="362"/>
                    <a:pt x="1221" y="367"/>
                  </a:cubicBezTo>
                  <a:cubicBezTo>
                    <a:pt x="1221" y="365"/>
                    <a:pt x="1221" y="362"/>
                    <a:pt x="1223" y="362"/>
                  </a:cubicBezTo>
                  <a:cubicBezTo>
                    <a:pt x="1223" y="364"/>
                    <a:pt x="1223" y="365"/>
                    <a:pt x="1223" y="367"/>
                  </a:cubicBezTo>
                  <a:cubicBezTo>
                    <a:pt x="1233" y="362"/>
                    <a:pt x="1233" y="372"/>
                    <a:pt x="1240" y="367"/>
                  </a:cubicBezTo>
                  <a:cubicBezTo>
                    <a:pt x="1240" y="363"/>
                    <a:pt x="1239" y="359"/>
                    <a:pt x="1237" y="357"/>
                  </a:cubicBezTo>
                  <a:cubicBezTo>
                    <a:pt x="1242" y="358"/>
                    <a:pt x="1243" y="355"/>
                    <a:pt x="1248" y="355"/>
                  </a:cubicBezTo>
                  <a:cubicBezTo>
                    <a:pt x="1247" y="358"/>
                    <a:pt x="1244" y="359"/>
                    <a:pt x="1243" y="362"/>
                  </a:cubicBezTo>
                  <a:cubicBezTo>
                    <a:pt x="1252" y="364"/>
                    <a:pt x="1246" y="352"/>
                    <a:pt x="1256" y="355"/>
                  </a:cubicBezTo>
                  <a:cubicBezTo>
                    <a:pt x="1255" y="359"/>
                    <a:pt x="1250" y="361"/>
                    <a:pt x="1251" y="367"/>
                  </a:cubicBezTo>
                  <a:cubicBezTo>
                    <a:pt x="1261" y="366"/>
                    <a:pt x="1261" y="363"/>
                    <a:pt x="1270" y="366"/>
                  </a:cubicBezTo>
                  <a:cubicBezTo>
                    <a:pt x="1284" y="364"/>
                    <a:pt x="1292" y="371"/>
                    <a:pt x="1298" y="363"/>
                  </a:cubicBezTo>
                  <a:cubicBezTo>
                    <a:pt x="1302" y="371"/>
                    <a:pt x="1312" y="359"/>
                    <a:pt x="1317" y="365"/>
                  </a:cubicBezTo>
                  <a:cubicBezTo>
                    <a:pt x="1315" y="360"/>
                    <a:pt x="1314" y="356"/>
                    <a:pt x="1319" y="351"/>
                  </a:cubicBezTo>
                  <a:cubicBezTo>
                    <a:pt x="1324" y="356"/>
                    <a:pt x="1318" y="356"/>
                    <a:pt x="1319" y="363"/>
                  </a:cubicBezTo>
                  <a:cubicBezTo>
                    <a:pt x="1328" y="365"/>
                    <a:pt x="1324" y="358"/>
                    <a:pt x="1325" y="353"/>
                  </a:cubicBezTo>
                  <a:cubicBezTo>
                    <a:pt x="1329" y="353"/>
                    <a:pt x="1336" y="345"/>
                    <a:pt x="1338" y="351"/>
                  </a:cubicBezTo>
                  <a:cubicBezTo>
                    <a:pt x="1334" y="351"/>
                    <a:pt x="1331" y="353"/>
                    <a:pt x="1330" y="356"/>
                  </a:cubicBezTo>
                  <a:cubicBezTo>
                    <a:pt x="1340" y="356"/>
                    <a:pt x="1325" y="364"/>
                    <a:pt x="1333" y="363"/>
                  </a:cubicBezTo>
                  <a:cubicBezTo>
                    <a:pt x="1337" y="358"/>
                    <a:pt x="1343" y="365"/>
                    <a:pt x="1350" y="360"/>
                  </a:cubicBezTo>
                  <a:cubicBezTo>
                    <a:pt x="1353" y="365"/>
                    <a:pt x="1369" y="361"/>
                    <a:pt x="1377" y="362"/>
                  </a:cubicBezTo>
                  <a:cubicBezTo>
                    <a:pt x="1378" y="358"/>
                    <a:pt x="1374" y="348"/>
                    <a:pt x="1379" y="348"/>
                  </a:cubicBezTo>
                  <a:cubicBezTo>
                    <a:pt x="1389" y="350"/>
                    <a:pt x="1381" y="352"/>
                    <a:pt x="1382" y="360"/>
                  </a:cubicBezTo>
                  <a:cubicBezTo>
                    <a:pt x="1388" y="358"/>
                    <a:pt x="1401" y="362"/>
                    <a:pt x="1402" y="357"/>
                  </a:cubicBezTo>
                  <a:cubicBezTo>
                    <a:pt x="1399" y="356"/>
                    <a:pt x="1395" y="353"/>
                    <a:pt x="1399" y="352"/>
                  </a:cubicBezTo>
                  <a:cubicBezTo>
                    <a:pt x="1401" y="355"/>
                    <a:pt x="1409" y="353"/>
                    <a:pt x="1407" y="359"/>
                  </a:cubicBezTo>
                  <a:cubicBezTo>
                    <a:pt x="1418" y="359"/>
                    <a:pt x="1409" y="352"/>
                    <a:pt x="1415" y="357"/>
                  </a:cubicBezTo>
                  <a:cubicBezTo>
                    <a:pt x="1421" y="361"/>
                    <a:pt x="1422" y="357"/>
                    <a:pt x="1426" y="356"/>
                  </a:cubicBezTo>
                  <a:cubicBezTo>
                    <a:pt x="1438" y="354"/>
                    <a:pt x="1439" y="354"/>
                    <a:pt x="1446" y="358"/>
                  </a:cubicBezTo>
                  <a:cubicBezTo>
                    <a:pt x="1446" y="355"/>
                    <a:pt x="1445" y="350"/>
                    <a:pt x="1451" y="351"/>
                  </a:cubicBezTo>
                  <a:cubicBezTo>
                    <a:pt x="1451" y="347"/>
                    <a:pt x="1448" y="346"/>
                    <a:pt x="1448" y="342"/>
                  </a:cubicBezTo>
                  <a:cubicBezTo>
                    <a:pt x="1451" y="342"/>
                    <a:pt x="1454" y="342"/>
                    <a:pt x="1456" y="342"/>
                  </a:cubicBezTo>
                  <a:cubicBezTo>
                    <a:pt x="1457" y="346"/>
                    <a:pt x="1453" y="347"/>
                    <a:pt x="1454" y="351"/>
                  </a:cubicBezTo>
                  <a:cubicBezTo>
                    <a:pt x="1460" y="350"/>
                    <a:pt x="1464" y="352"/>
                    <a:pt x="1465" y="356"/>
                  </a:cubicBezTo>
                  <a:cubicBezTo>
                    <a:pt x="1473" y="356"/>
                    <a:pt x="1481" y="355"/>
                    <a:pt x="1489" y="355"/>
                  </a:cubicBezTo>
                  <a:cubicBezTo>
                    <a:pt x="1492" y="353"/>
                    <a:pt x="1494" y="347"/>
                    <a:pt x="1497" y="346"/>
                  </a:cubicBezTo>
                  <a:cubicBezTo>
                    <a:pt x="1502" y="345"/>
                    <a:pt x="1504" y="349"/>
                    <a:pt x="1508" y="348"/>
                  </a:cubicBezTo>
                  <a:cubicBezTo>
                    <a:pt x="1508" y="343"/>
                    <a:pt x="1509" y="339"/>
                    <a:pt x="1514" y="338"/>
                  </a:cubicBezTo>
                  <a:cubicBezTo>
                    <a:pt x="1515" y="346"/>
                    <a:pt x="1508" y="348"/>
                    <a:pt x="1514" y="352"/>
                  </a:cubicBezTo>
                  <a:cubicBezTo>
                    <a:pt x="1526" y="355"/>
                    <a:pt x="1523" y="344"/>
                    <a:pt x="1533" y="345"/>
                  </a:cubicBezTo>
                  <a:cubicBezTo>
                    <a:pt x="1534" y="347"/>
                    <a:pt x="1533" y="350"/>
                    <a:pt x="1536" y="350"/>
                  </a:cubicBezTo>
                  <a:cubicBezTo>
                    <a:pt x="1539" y="350"/>
                    <a:pt x="1540" y="353"/>
                    <a:pt x="1541" y="350"/>
                  </a:cubicBezTo>
                  <a:cubicBezTo>
                    <a:pt x="1537" y="349"/>
                    <a:pt x="1543" y="344"/>
                    <a:pt x="1541" y="340"/>
                  </a:cubicBezTo>
                  <a:cubicBezTo>
                    <a:pt x="1541" y="339"/>
                    <a:pt x="1533" y="341"/>
                    <a:pt x="1536" y="336"/>
                  </a:cubicBezTo>
                  <a:cubicBezTo>
                    <a:pt x="1540" y="336"/>
                    <a:pt x="1545" y="336"/>
                    <a:pt x="1549" y="335"/>
                  </a:cubicBezTo>
                  <a:cubicBezTo>
                    <a:pt x="1553" y="343"/>
                    <a:pt x="1552" y="345"/>
                    <a:pt x="1547" y="350"/>
                  </a:cubicBezTo>
                  <a:cubicBezTo>
                    <a:pt x="1555" y="349"/>
                    <a:pt x="1563" y="349"/>
                    <a:pt x="1572" y="349"/>
                  </a:cubicBezTo>
                  <a:cubicBezTo>
                    <a:pt x="1573" y="346"/>
                    <a:pt x="1574" y="344"/>
                    <a:pt x="1577" y="342"/>
                  </a:cubicBezTo>
                  <a:cubicBezTo>
                    <a:pt x="1579" y="353"/>
                    <a:pt x="1592" y="340"/>
                    <a:pt x="1599" y="346"/>
                  </a:cubicBezTo>
                  <a:cubicBezTo>
                    <a:pt x="1600" y="345"/>
                    <a:pt x="1599" y="342"/>
                    <a:pt x="1602" y="342"/>
                  </a:cubicBezTo>
                  <a:cubicBezTo>
                    <a:pt x="1604" y="345"/>
                    <a:pt x="1609" y="340"/>
                    <a:pt x="1615" y="344"/>
                  </a:cubicBezTo>
                  <a:cubicBezTo>
                    <a:pt x="1619" y="338"/>
                    <a:pt x="1617" y="328"/>
                    <a:pt x="1626" y="327"/>
                  </a:cubicBezTo>
                  <a:cubicBezTo>
                    <a:pt x="1629" y="330"/>
                    <a:pt x="1629" y="336"/>
                    <a:pt x="1632" y="339"/>
                  </a:cubicBezTo>
                  <a:cubicBezTo>
                    <a:pt x="1628" y="339"/>
                    <a:pt x="1623" y="329"/>
                    <a:pt x="1624" y="339"/>
                  </a:cubicBezTo>
                  <a:cubicBezTo>
                    <a:pt x="1627" y="342"/>
                    <a:pt x="1633" y="343"/>
                    <a:pt x="1640" y="343"/>
                  </a:cubicBezTo>
                  <a:cubicBezTo>
                    <a:pt x="1640" y="340"/>
                    <a:pt x="1639" y="335"/>
                    <a:pt x="1643" y="334"/>
                  </a:cubicBezTo>
                  <a:cubicBezTo>
                    <a:pt x="1642" y="340"/>
                    <a:pt x="1647" y="341"/>
                    <a:pt x="1651" y="343"/>
                  </a:cubicBezTo>
                  <a:cubicBezTo>
                    <a:pt x="1651" y="340"/>
                    <a:pt x="1656" y="341"/>
                    <a:pt x="1656" y="338"/>
                  </a:cubicBezTo>
                  <a:cubicBezTo>
                    <a:pt x="1655" y="338"/>
                    <a:pt x="1653" y="336"/>
                    <a:pt x="1656" y="336"/>
                  </a:cubicBezTo>
                  <a:cubicBezTo>
                    <a:pt x="1662" y="335"/>
                    <a:pt x="1663" y="338"/>
                    <a:pt x="1667" y="338"/>
                  </a:cubicBezTo>
                  <a:cubicBezTo>
                    <a:pt x="1667" y="338"/>
                    <a:pt x="1669" y="334"/>
                    <a:pt x="1670" y="333"/>
                  </a:cubicBezTo>
                  <a:cubicBezTo>
                    <a:pt x="1670" y="333"/>
                    <a:pt x="1678" y="338"/>
                    <a:pt x="1681" y="336"/>
                  </a:cubicBezTo>
                  <a:cubicBezTo>
                    <a:pt x="1682" y="330"/>
                    <a:pt x="1676" y="330"/>
                    <a:pt x="1678" y="324"/>
                  </a:cubicBezTo>
                  <a:cubicBezTo>
                    <a:pt x="1682" y="323"/>
                    <a:pt x="1683" y="320"/>
                    <a:pt x="1686" y="319"/>
                  </a:cubicBezTo>
                  <a:cubicBezTo>
                    <a:pt x="1686" y="322"/>
                    <a:pt x="1691" y="321"/>
                    <a:pt x="1692" y="324"/>
                  </a:cubicBezTo>
                  <a:cubicBezTo>
                    <a:pt x="1681" y="324"/>
                    <a:pt x="1694" y="328"/>
                    <a:pt x="1695" y="331"/>
                  </a:cubicBezTo>
                  <a:cubicBezTo>
                    <a:pt x="1695" y="330"/>
                    <a:pt x="1687" y="343"/>
                    <a:pt x="1695" y="340"/>
                  </a:cubicBezTo>
                  <a:cubicBezTo>
                    <a:pt x="1694" y="335"/>
                    <a:pt x="1705" y="339"/>
                    <a:pt x="1709" y="337"/>
                  </a:cubicBezTo>
                  <a:cubicBezTo>
                    <a:pt x="1709" y="335"/>
                    <a:pt x="1712" y="334"/>
                    <a:pt x="1714" y="333"/>
                  </a:cubicBezTo>
                  <a:cubicBezTo>
                    <a:pt x="1714" y="335"/>
                    <a:pt x="1715" y="338"/>
                    <a:pt x="1720" y="337"/>
                  </a:cubicBezTo>
                  <a:cubicBezTo>
                    <a:pt x="1716" y="330"/>
                    <a:pt x="1728" y="335"/>
                    <a:pt x="1725" y="328"/>
                  </a:cubicBezTo>
                  <a:cubicBezTo>
                    <a:pt x="1721" y="327"/>
                    <a:pt x="1715" y="329"/>
                    <a:pt x="1714" y="326"/>
                  </a:cubicBezTo>
                  <a:cubicBezTo>
                    <a:pt x="1717" y="322"/>
                    <a:pt x="1718" y="318"/>
                    <a:pt x="1722" y="316"/>
                  </a:cubicBezTo>
                  <a:cubicBezTo>
                    <a:pt x="1718" y="324"/>
                    <a:pt x="1731" y="317"/>
                    <a:pt x="1730" y="323"/>
                  </a:cubicBezTo>
                  <a:cubicBezTo>
                    <a:pt x="1727" y="323"/>
                    <a:pt x="1727" y="329"/>
                    <a:pt x="1730" y="330"/>
                  </a:cubicBezTo>
                  <a:cubicBezTo>
                    <a:pt x="1734" y="325"/>
                    <a:pt x="1735" y="318"/>
                    <a:pt x="1744" y="318"/>
                  </a:cubicBezTo>
                  <a:cubicBezTo>
                    <a:pt x="1741" y="323"/>
                    <a:pt x="1735" y="326"/>
                    <a:pt x="1733" y="332"/>
                  </a:cubicBezTo>
                  <a:cubicBezTo>
                    <a:pt x="1748" y="334"/>
                    <a:pt x="1742" y="318"/>
                    <a:pt x="1760" y="322"/>
                  </a:cubicBezTo>
                  <a:cubicBezTo>
                    <a:pt x="1767" y="320"/>
                    <a:pt x="1754" y="312"/>
                    <a:pt x="1763" y="308"/>
                  </a:cubicBezTo>
                  <a:cubicBezTo>
                    <a:pt x="1759" y="319"/>
                    <a:pt x="1769" y="319"/>
                    <a:pt x="1774" y="322"/>
                  </a:cubicBezTo>
                  <a:cubicBezTo>
                    <a:pt x="1773" y="327"/>
                    <a:pt x="1760" y="323"/>
                    <a:pt x="1763" y="332"/>
                  </a:cubicBezTo>
                  <a:cubicBezTo>
                    <a:pt x="1770" y="333"/>
                    <a:pt x="1769" y="327"/>
                    <a:pt x="1777" y="329"/>
                  </a:cubicBezTo>
                  <a:cubicBezTo>
                    <a:pt x="1776" y="324"/>
                    <a:pt x="1779" y="322"/>
                    <a:pt x="1785" y="322"/>
                  </a:cubicBezTo>
                  <a:cubicBezTo>
                    <a:pt x="1783" y="330"/>
                    <a:pt x="1790" y="330"/>
                    <a:pt x="1796" y="331"/>
                  </a:cubicBezTo>
                  <a:cubicBezTo>
                    <a:pt x="1793" y="321"/>
                    <a:pt x="1802" y="324"/>
                    <a:pt x="1807" y="322"/>
                  </a:cubicBezTo>
                  <a:cubicBezTo>
                    <a:pt x="1809" y="320"/>
                    <a:pt x="1810" y="315"/>
                    <a:pt x="1815" y="317"/>
                  </a:cubicBezTo>
                  <a:cubicBezTo>
                    <a:pt x="1818" y="323"/>
                    <a:pt x="1811" y="323"/>
                    <a:pt x="1813" y="329"/>
                  </a:cubicBezTo>
                  <a:cubicBezTo>
                    <a:pt x="1818" y="329"/>
                    <a:pt x="1817" y="327"/>
                    <a:pt x="1818" y="324"/>
                  </a:cubicBezTo>
                  <a:cubicBezTo>
                    <a:pt x="1818" y="323"/>
                    <a:pt x="1821" y="324"/>
                    <a:pt x="1821" y="324"/>
                  </a:cubicBezTo>
                  <a:cubicBezTo>
                    <a:pt x="1822" y="321"/>
                    <a:pt x="1820" y="317"/>
                    <a:pt x="1821" y="314"/>
                  </a:cubicBezTo>
                  <a:cubicBezTo>
                    <a:pt x="1822" y="303"/>
                    <a:pt x="1828" y="308"/>
                    <a:pt x="1823" y="314"/>
                  </a:cubicBezTo>
                  <a:cubicBezTo>
                    <a:pt x="1834" y="316"/>
                    <a:pt x="1825" y="302"/>
                    <a:pt x="1837" y="305"/>
                  </a:cubicBezTo>
                  <a:cubicBezTo>
                    <a:pt x="1834" y="311"/>
                    <a:pt x="1833" y="322"/>
                    <a:pt x="1843" y="323"/>
                  </a:cubicBezTo>
                  <a:cubicBezTo>
                    <a:pt x="1849" y="318"/>
                    <a:pt x="1839" y="319"/>
                    <a:pt x="1840" y="312"/>
                  </a:cubicBezTo>
                  <a:cubicBezTo>
                    <a:pt x="1843" y="312"/>
                    <a:pt x="1844" y="315"/>
                    <a:pt x="1848" y="314"/>
                  </a:cubicBezTo>
                  <a:cubicBezTo>
                    <a:pt x="1853" y="308"/>
                    <a:pt x="1844" y="304"/>
                    <a:pt x="1851" y="300"/>
                  </a:cubicBezTo>
                  <a:cubicBezTo>
                    <a:pt x="1858" y="309"/>
                    <a:pt x="1841" y="322"/>
                    <a:pt x="1854" y="328"/>
                  </a:cubicBezTo>
                  <a:cubicBezTo>
                    <a:pt x="1853" y="321"/>
                    <a:pt x="1854" y="316"/>
                    <a:pt x="1859" y="314"/>
                  </a:cubicBezTo>
                  <a:cubicBezTo>
                    <a:pt x="1868" y="315"/>
                    <a:pt x="1866" y="307"/>
                    <a:pt x="1873" y="306"/>
                  </a:cubicBezTo>
                  <a:cubicBezTo>
                    <a:pt x="1875" y="314"/>
                    <a:pt x="1870" y="316"/>
                    <a:pt x="1867" y="320"/>
                  </a:cubicBezTo>
                  <a:cubicBezTo>
                    <a:pt x="1878" y="323"/>
                    <a:pt x="1872" y="312"/>
                    <a:pt x="1881" y="313"/>
                  </a:cubicBezTo>
                  <a:cubicBezTo>
                    <a:pt x="1881" y="316"/>
                    <a:pt x="1878" y="317"/>
                    <a:pt x="1878" y="320"/>
                  </a:cubicBezTo>
                  <a:cubicBezTo>
                    <a:pt x="1884" y="321"/>
                    <a:pt x="1884" y="317"/>
                    <a:pt x="1886" y="315"/>
                  </a:cubicBezTo>
                  <a:cubicBezTo>
                    <a:pt x="1891" y="316"/>
                    <a:pt x="1889" y="321"/>
                    <a:pt x="1895" y="320"/>
                  </a:cubicBezTo>
                  <a:cubicBezTo>
                    <a:pt x="1897" y="315"/>
                    <a:pt x="1895" y="308"/>
                    <a:pt x="1903" y="303"/>
                  </a:cubicBezTo>
                  <a:cubicBezTo>
                    <a:pt x="1903" y="307"/>
                    <a:pt x="1904" y="309"/>
                    <a:pt x="1906" y="310"/>
                  </a:cubicBezTo>
                  <a:cubicBezTo>
                    <a:pt x="1895" y="307"/>
                    <a:pt x="1905" y="325"/>
                    <a:pt x="1906" y="325"/>
                  </a:cubicBezTo>
                  <a:cubicBezTo>
                    <a:pt x="1909" y="319"/>
                    <a:pt x="1905" y="320"/>
                    <a:pt x="1908" y="313"/>
                  </a:cubicBezTo>
                  <a:cubicBezTo>
                    <a:pt x="1919" y="315"/>
                    <a:pt x="1916" y="307"/>
                    <a:pt x="1925" y="308"/>
                  </a:cubicBezTo>
                  <a:cubicBezTo>
                    <a:pt x="1929" y="309"/>
                    <a:pt x="1925" y="317"/>
                    <a:pt x="1930" y="317"/>
                  </a:cubicBezTo>
                  <a:cubicBezTo>
                    <a:pt x="1936" y="311"/>
                    <a:pt x="1927" y="306"/>
                    <a:pt x="1933" y="303"/>
                  </a:cubicBezTo>
                  <a:cubicBezTo>
                    <a:pt x="1937" y="303"/>
                    <a:pt x="1935" y="309"/>
                    <a:pt x="1939" y="310"/>
                  </a:cubicBezTo>
                  <a:cubicBezTo>
                    <a:pt x="1939" y="308"/>
                    <a:pt x="1941" y="307"/>
                    <a:pt x="1944" y="307"/>
                  </a:cubicBezTo>
                  <a:cubicBezTo>
                    <a:pt x="1948" y="307"/>
                    <a:pt x="1955" y="298"/>
                    <a:pt x="1949" y="298"/>
                  </a:cubicBezTo>
                  <a:cubicBezTo>
                    <a:pt x="1950" y="303"/>
                    <a:pt x="1941" y="298"/>
                    <a:pt x="1941" y="296"/>
                  </a:cubicBezTo>
                  <a:cubicBezTo>
                    <a:pt x="1952" y="300"/>
                    <a:pt x="1950" y="292"/>
                    <a:pt x="1955" y="295"/>
                  </a:cubicBezTo>
                  <a:cubicBezTo>
                    <a:pt x="1957" y="297"/>
                    <a:pt x="1963" y="294"/>
                    <a:pt x="1966" y="295"/>
                  </a:cubicBezTo>
                  <a:cubicBezTo>
                    <a:pt x="1966" y="293"/>
                    <a:pt x="1966" y="291"/>
                    <a:pt x="1968" y="291"/>
                  </a:cubicBezTo>
                  <a:cubicBezTo>
                    <a:pt x="1968" y="295"/>
                    <a:pt x="1972" y="295"/>
                    <a:pt x="1974" y="297"/>
                  </a:cubicBezTo>
                  <a:cubicBezTo>
                    <a:pt x="1975" y="302"/>
                    <a:pt x="1971" y="303"/>
                    <a:pt x="1971" y="307"/>
                  </a:cubicBezTo>
                  <a:cubicBezTo>
                    <a:pt x="1978" y="311"/>
                    <a:pt x="1992" y="309"/>
                    <a:pt x="1999" y="306"/>
                  </a:cubicBezTo>
                  <a:cubicBezTo>
                    <a:pt x="1999" y="304"/>
                    <a:pt x="1998" y="300"/>
                    <a:pt x="2001" y="299"/>
                  </a:cubicBezTo>
                  <a:cubicBezTo>
                    <a:pt x="2004" y="301"/>
                    <a:pt x="2011" y="310"/>
                    <a:pt x="2013" y="304"/>
                  </a:cubicBezTo>
                  <a:cubicBezTo>
                    <a:pt x="2011" y="304"/>
                    <a:pt x="2009" y="302"/>
                    <a:pt x="2012" y="301"/>
                  </a:cubicBezTo>
                  <a:cubicBezTo>
                    <a:pt x="2013" y="298"/>
                    <a:pt x="2011" y="296"/>
                    <a:pt x="2010" y="295"/>
                  </a:cubicBezTo>
                  <a:cubicBezTo>
                    <a:pt x="2017" y="296"/>
                    <a:pt x="2017" y="291"/>
                    <a:pt x="2023" y="292"/>
                  </a:cubicBezTo>
                  <a:cubicBezTo>
                    <a:pt x="2024" y="298"/>
                    <a:pt x="2019" y="297"/>
                    <a:pt x="2023" y="301"/>
                  </a:cubicBezTo>
                  <a:cubicBezTo>
                    <a:pt x="2021" y="301"/>
                    <a:pt x="2020" y="305"/>
                    <a:pt x="2024" y="306"/>
                  </a:cubicBezTo>
                  <a:cubicBezTo>
                    <a:pt x="2025" y="297"/>
                    <a:pt x="2032" y="305"/>
                    <a:pt x="2034" y="303"/>
                  </a:cubicBezTo>
                  <a:cubicBezTo>
                    <a:pt x="2036" y="303"/>
                    <a:pt x="2034" y="298"/>
                    <a:pt x="2037" y="299"/>
                  </a:cubicBezTo>
                  <a:cubicBezTo>
                    <a:pt x="2037" y="303"/>
                    <a:pt x="2045" y="300"/>
                    <a:pt x="2045" y="303"/>
                  </a:cubicBezTo>
                  <a:cubicBezTo>
                    <a:pt x="2038" y="300"/>
                    <a:pt x="2033" y="310"/>
                    <a:pt x="2040" y="310"/>
                  </a:cubicBezTo>
                  <a:cubicBezTo>
                    <a:pt x="2040" y="304"/>
                    <a:pt x="2048" y="306"/>
                    <a:pt x="2051" y="303"/>
                  </a:cubicBezTo>
                  <a:cubicBezTo>
                    <a:pt x="2053" y="301"/>
                    <a:pt x="2050" y="291"/>
                    <a:pt x="2059" y="294"/>
                  </a:cubicBezTo>
                  <a:cubicBezTo>
                    <a:pt x="2057" y="299"/>
                    <a:pt x="2051" y="301"/>
                    <a:pt x="2051" y="308"/>
                  </a:cubicBezTo>
                  <a:cubicBezTo>
                    <a:pt x="2061" y="307"/>
                    <a:pt x="2062" y="299"/>
                    <a:pt x="2073" y="298"/>
                  </a:cubicBezTo>
                  <a:cubicBezTo>
                    <a:pt x="2072" y="294"/>
                    <a:pt x="2064" y="279"/>
                    <a:pt x="2075" y="279"/>
                  </a:cubicBezTo>
                  <a:cubicBezTo>
                    <a:pt x="2072" y="288"/>
                    <a:pt x="2072" y="298"/>
                    <a:pt x="2084" y="303"/>
                  </a:cubicBezTo>
                  <a:cubicBezTo>
                    <a:pt x="2085" y="299"/>
                    <a:pt x="2080" y="297"/>
                    <a:pt x="2084" y="296"/>
                  </a:cubicBezTo>
                  <a:cubicBezTo>
                    <a:pt x="2090" y="299"/>
                    <a:pt x="2088" y="301"/>
                    <a:pt x="2087" y="307"/>
                  </a:cubicBezTo>
                  <a:cubicBezTo>
                    <a:pt x="2095" y="308"/>
                    <a:pt x="2096" y="298"/>
                    <a:pt x="2103" y="305"/>
                  </a:cubicBezTo>
                  <a:cubicBezTo>
                    <a:pt x="2102" y="295"/>
                    <a:pt x="2109" y="303"/>
                    <a:pt x="2114" y="302"/>
                  </a:cubicBezTo>
                  <a:cubicBezTo>
                    <a:pt x="2115" y="299"/>
                    <a:pt x="2118" y="298"/>
                    <a:pt x="2117" y="293"/>
                  </a:cubicBezTo>
                  <a:cubicBezTo>
                    <a:pt x="2122" y="293"/>
                    <a:pt x="2122" y="289"/>
                    <a:pt x="2125" y="288"/>
                  </a:cubicBezTo>
                  <a:cubicBezTo>
                    <a:pt x="2124" y="293"/>
                    <a:pt x="2119" y="301"/>
                    <a:pt x="2128" y="302"/>
                  </a:cubicBezTo>
                  <a:cubicBezTo>
                    <a:pt x="2128" y="300"/>
                    <a:pt x="2128" y="297"/>
                    <a:pt x="2130" y="297"/>
                  </a:cubicBezTo>
                  <a:cubicBezTo>
                    <a:pt x="2127" y="305"/>
                    <a:pt x="2139" y="299"/>
                    <a:pt x="2136" y="306"/>
                  </a:cubicBezTo>
                  <a:cubicBezTo>
                    <a:pt x="2135" y="306"/>
                    <a:pt x="2133" y="308"/>
                    <a:pt x="2136" y="309"/>
                  </a:cubicBezTo>
                  <a:cubicBezTo>
                    <a:pt x="2137" y="306"/>
                    <a:pt x="2140" y="304"/>
                    <a:pt x="2139" y="299"/>
                  </a:cubicBezTo>
                  <a:cubicBezTo>
                    <a:pt x="2146" y="298"/>
                    <a:pt x="2149" y="288"/>
                    <a:pt x="2152" y="285"/>
                  </a:cubicBezTo>
                  <a:cubicBezTo>
                    <a:pt x="2154" y="292"/>
                    <a:pt x="2154" y="289"/>
                    <a:pt x="2152" y="297"/>
                  </a:cubicBezTo>
                  <a:cubicBezTo>
                    <a:pt x="2166" y="292"/>
                    <a:pt x="2160" y="304"/>
                    <a:pt x="2169" y="303"/>
                  </a:cubicBezTo>
                  <a:cubicBezTo>
                    <a:pt x="2175" y="311"/>
                    <a:pt x="2170" y="295"/>
                    <a:pt x="2174" y="294"/>
                  </a:cubicBezTo>
                  <a:cubicBezTo>
                    <a:pt x="2176" y="294"/>
                    <a:pt x="2179" y="297"/>
                    <a:pt x="2180" y="296"/>
                  </a:cubicBezTo>
                  <a:cubicBezTo>
                    <a:pt x="2182" y="294"/>
                    <a:pt x="2177" y="287"/>
                    <a:pt x="2182" y="287"/>
                  </a:cubicBezTo>
                  <a:cubicBezTo>
                    <a:pt x="2187" y="286"/>
                    <a:pt x="2184" y="294"/>
                    <a:pt x="2188" y="294"/>
                  </a:cubicBezTo>
                  <a:cubicBezTo>
                    <a:pt x="2189" y="285"/>
                    <a:pt x="2188" y="282"/>
                    <a:pt x="2190" y="280"/>
                  </a:cubicBezTo>
                  <a:cubicBezTo>
                    <a:pt x="2201" y="287"/>
                    <a:pt x="2186" y="293"/>
                    <a:pt x="2193" y="294"/>
                  </a:cubicBezTo>
                  <a:cubicBezTo>
                    <a:pt x="2200" y="294"/>
                    <a:pt x="2195" y="303"/>
                    <a:pt x="2196" y="305"/>
                  </a:cubicBezTo>
                  <a:cubicBezTo>
                    <a:pt x="2208" y="306"/>
                    <a:pt x="2196" y="302"/>
                    <a:pt x="2199" y="296"/>
                  </a:cubicBezTo>
                  <a:cubicBezTo>
                    <a:pt x="2205" y="293"/>
                    <a:pt x="2206" y="296"/>
                    <a:pt x="2213" y="291"/>
                  </a:cubicBezTo>
                  <a:cubicBezTo>
                    <a:pt x="2218" y="293"/>
                    <a:pt x="2212" y="304"/>
                    <a:pt x="2218" y="305"/>
                  </a:cubicBezTo>
                  <a:cubicBezTo>
                    <a:pt x="2219" y="299"/>
                    <a:pt x="2223" y="297"/>
                    <a:pt x="2226" y="293"/>
                  </a:cubicBezTo>
                  <a:cubicBezTo>
                    <a:pt x="2227" y="299"/>
                    <a:pt x="2231" y="290"/>
                    <a:pt x="2237" y="293"/>
                  </a:cubicBezTo>
                  <a:cubicBezTo>
                    <a:pt x="2244" y="290"/>
                    <a:pt x="2232" y="284"/>
                    <a:pt x="2240" y="281"/>
                  </a:cubicBezTo>
                  <a:cubicBezTo>
                    <a:pt x="2243" y="281"/>
                    <a:pt x="2242" y="285"/>
                    <a:pt x="2245" y="286"/>
                  </a:cubicBezTo>
                  <a:cubicBezTo>
                    <a:pt x="2253" y="281"/>
                    <a:pt x="2242" y="274"/>
                    <a:pt x="2248" y="274"/>
                  </a:cubicBezTo>
                  <a:cubicBezTo>
                    <a:pt x="2250" y="274"/>
                    <a:pt x="2252" y="274"/>
                    <a:pt x="2253" y="274"/>
                  </a:cubicBezTo>
                  <a:cubicBezTo>
                    <a:pt x="2250" y="277"/>
                    <a:pt x="2250" y="280"/>
                    <a:pt x="2254" y="283"/>
                  </a:cubicBezTo>
                  <a:cubicBezTo>
                    <a:pt x="2250" y="286"/>
                    <a:pt x="2245" y="287"/>
                    <a:pt x="2243" y="290"/>
                  </a:cubicBezTo>
                  <a:cubicBezTo>
                    <a:pt x="2247" y="290"/>
                    <a:pt x="2252" y="290"/>
                    <a:pt x="2257" y="290"/>
                  </a:cubicBezTo>
                  <a:cubicBezTo>
                    <a:pt x="2256" y="296"/>
                    <a:pt x="2257" y="299"/>
                    <a:pt x="2262" y="300"/>
                  </a:cubicBezTo>
                  <a:cubicBezTo>
                    <a:pt x="2263" y="295"/>
                    <a:pt x="2259" y="288"/>
                    <a:pt x="2267" y="290"/>
                  </a:cubicBezTo>
                  <a:cubicBezTo>
                    <a:pt x="2268" y="293"/>
                    <a:pt x="2264" y="294"/>
                    <a:pt x="2268" y="295"/>
                  </a:cubicBezTo>
                  <a:cubicBezTo>
                    <a:pt x="2272" y="288"/>
                    <a:pt x="2276" y="301"/>
                    <a:pt x="2281" y="302"/>
                  </a:cubicBezTo>
                  <a:cubicBezTo>
                    <a:pt x="2281" y="295"/>
                    <a:pt x="2280" y="288"/>
                    <a:pt x="2287" y="287"/>
                  </a:cubicBezTo>
                  <a:cubicBezTo>
                    <a:pt x="2287" y="292"/>
                    <a:pt x="2289" y="295"/>
                    <a:pt x="2292" y="297"/>
                  </a:cubicBezTo>
                  <a:cubicBezTo>
                    <a:pt x="2293" y="294"/>
                    <a:pt x="2295" y="295"/>
                    <a:pt x="2298" y="297"/>
                  </a:cubicBezTo>
                  <a:cubicBezTo>
                    <a:pt x="2298" y="294"/>
                    <a:pt x="2297" y="290"/>
                    <a:pt x="2300" y="289"/>
                  </a:cubicBezTo>
                  <a:cubicBezTo>
                    <a:pt x="2303" y="298"/>
                    <a:pt x="2306" y="286"/>
                    <a:pt x="2309" y="287"/>
                  </a:cubicBezTo>
                  <a:cubicBezTo>
                    <a:pt x="2311" y="288"/>
                    <a:pt x="2311" y="294"/>
                    <a:pt x="2314" y="294"/>
                  </a:cubicBezTo>
                  <a:cubicBezTo>
                    <a:pt x="2318" y="288"/>
                    <a:pt x="2307" y="285"/>
                    <a:pt x="2314" y="284"/>
                  </a:cubicBezTo>
                  <a:cubicBezTo>
                    <a:pt x="2321" y="283"/>
                    <a:pt x="2319" y="289"/>
                    <a:pt x="2322" y="291"/>
                  </a:cubicBezTo>
                  <a:cubicBezTo>
                    <a:pt x="2319" y="291"/>
                    <a:pt x="2313" y="298"/>
                    <a:pt x="2320" y="299"/>
                  </a:cubicBezTo>
                  <a:cubicBezTo>
                    <a:pt x="2320" y="296"/>
                    <a:pt x="2323" y="295"/>
                    <a:pt x="2325" y="294"/>
                  </a:cubicBezTo>
                  <a:cubicBezTo>
                    <a:pt x="2326" y="290"/>
                    <a:pt x="2317" y="282"/>
                    <a:pt x="2325" y="280"/>
                  </a:cubicBezTo>
                  <a:cubicBezTo>
                    <a:pt x="2330" y="280"/>
                    <a:pt x="2326" y="301"/>
                    <a:pt x="2331" y="294"/>
                  </a:cubicBezTo>
                  <a:cubicBezTo>
                    <a:pt x="2331" y="284"/>
                    <a:pt x="2328" y="271"/>
                    <a:pt x="2338" y="270"/>
                  </a:cubicBezTo>
                  <a:cubicBezTo>
                    <a:pt x="2332" y="275"/>
                    <a:pt x="2338" y="281"/>
                    <a:pt x="2339" y="286"/>
                  </a:cubicBezTo>
                  <a:cubicBezTo>
                    <a:pt x="2339" y="289"/>
                    <a:pt x="2336" y="289"/>
                    <a:pt x="2336" y="291"/>
                  </a:cubicBezTo>
                  <a:cubicBezTo>
                    <a:pt x="2336" y="294"/>
                    <a:pt x="2340" y="295"/>
                    <a:pt x="2342" y="296"/>
                  </a:cubicBezTo>
                  <a:cubicBezTo>
                    <a:pt x="2342" y="292"/>
                    <a:pt x="2340" y="287"/>
                    <a:pt x="2344" y="286"/>
                  </a:cubicBezTo>
                  <a:cubicBezTo>
                    <a:pt x="2348" y="286"/>
                    <a:pt x="2347" y="290"/>
                    <a:pt x="2350" y="291"/>
                  </a:cubicBezTo>
                  <a:cubicBezTo>
                    <a:pt x="2352" y="278"/>
                    <a:pt x="2350" y="297"/>
                    <a:pt x="2358" y="293"/>
                  </a:cubicBezTo>
                  <a:cubicBezTo>
                    <a:pt x="2362" y="286"/>
                    <a:pt x="2357" y="286"/>
                    <a:pt x="2358" y="277"/>
                  </a:cubicBezTo>
                  <a:cubicBezTo>
                    <a:pt x="2363" y="278"/>
                    <a:pt x="2361" y="271"/>
                    <a:pt x="2366" y="270"/>
                  </a:cubicBezTo>
                  <a:cubicBezTo>
                    <a:pt x="2369" y="269"/>
                    <a:pt x="2374" y="270"/>
                    <a:pt x="2374" y="272"/>
                  </a:cubicBezTo>
                  <a:cubicBezTo>
                    <a:pt x="2371" y="273"/>
                    <a:pt x="2367" y="274"/>
                    <a:pt x="2366" y="277"/>
                  </a:cubicBezTo>
                  <a:cubicBezTo>
                    <a:pt x="2366" y="276"/>
                    <a:pt x="2371" y="279"/>
                    <a:pt x="2369" y="281"/>
                  </a:cubicBezTo>
                  <a:cubicBezTo>
                    <a:pt x="2365" y="285"/>
                    <a:pt x="2368" y="284"/>
                    <a:pt x="2369" y="288"/>
                  </a:cubicBezTo>
                  <a:cubicBezTo>
                    <a:pt x="2369" y="288"/>
                    <a:pt x="2363" y="293"/>
                    <a:pt x="2369" y="293"/>
                  </a:cubicBezTo>
                  <a:cubicBezTo>
                    <a:pt x="2374" y="285"/>
                    <a:pt x="2379" y="296"/>
                    <a:pt x="2386" y="295"/>
                  </a:cubicBezTo>
                  <a:cubicBezTo>
                    <a:pt x="2387" y="295"/>
                    <a:pt x="2385" y="289"/>
                    <a:pt x="2388" y="290"/>
                  </a:cubicBezTo>
                  <a:cubicBezTo>
                    <a:pt x="2389" y="296"/>
                    <a:pt x="2397" y="291"/>
                    <a:pt x="2399" y="290"/>
                  </a:cubicBezTo>
                  <a:cubicBezTo>
                    <a:pt x="2399" y="282"/>
                    <a:pt x="2392" y="273"/>
                    <a:pt x="2401" y="267"/>
                  </a:cubicBezTo>
                  <a:cubicBezTo>
                    <a:pt x="2397" y="274"/>
                    <a:pt x="2403" y="277"/>
                    <a:pt x="2402" y="288"/>
                  </a:cubicBezTo>
                  <a:cubicBezTo>
                    <a:pt x="2407" y="288"/>
                    <a:pt x="2409" y="292"/>
                    <a:pt x="2413" y="294"/>
                  </a:cubicBezTo>
                  <a:cubicBezTo>
                    <a:pt x="2411" y="288"/>
                    <a:pt x="2417" y="288"/>
                    <a:pt x="2415" y="283"/>
                  </a:cubicBezTo>
                  <a:cubicBezTo>
                    <a:pt x="2412" y="282"/>
                    <a:pt x="2408" y="283"/>
                    <a:pt x="2407" y="281"/>
                  </a:cubicBezTo>
                  <a:cubicBezTo>
                    <a:pt x="2420" y="283"/>
                    <a:pt x="2414" y="269"/>
                    <a:pt x="2423" y="269"/>
                  </a:cubicBezTo>
                  <a:cubicBezTo>
                    <a:pt x="2419" y="274"/>
                    <a:pt x="2426" y="278"/>
                    <a:pt x="2426" y="283"/>
                  </a:cubicBezTo>
                  <a:cubicBezTo>
                    <a:pt x="2427" y="285"/>
                    <a:pt x="2421" y="288"/>
                    <a:pt x="2427" y="290"/>
                  </a:cubicBezTo>
                  <a:cubicBezTo>
                    <a:pt x="2428" y="286"/>
                    <a:pt x="2430" y="290"/>
                    <a:pt x="2435" y="289"/>
                  </a:cubicBezTo>
                  <a:cubicBezTo>
                    <a:pt x="2438" y="284"/>
                    <a:pt x="2424" y="282"/>
                    <a:pt x="2432" y="280"/>
                  </a:cubicBezTo>
                  <a:cubicBezTo>
                    <a:pt x="2441" y="278"/>
                    <a:pt x="2436" y="288"/>
                    <a:pt x="2443" y="287"/>
                  </a:cubicBezTo>
                  <a:cubicBezTo>
                    <a:pt x="2441" y="278"/>
                    <a:pt x="2434" y="268"/>
                    <a:pt x="2443" y="261"/>
                  </a:cubicBezTo>
                  <a:cubicBezTo>
                    <a:pt x="2448" y="268"/>
                    <a:pt x="2439" y="284"/>
                    <a:pt x="2451" y="289"/>
                  </a:cubicBezTo>
                  <a:cubicBezTo>
                    <a:pt x="2449" y="280"/>
                    <a:pt x="2456" y="279"/>
                    <a:pt x="2459" y="275"/>
                  </a:cubicBezTo>
                  <a:cubicBezTo>
                    <a:pt x="2458" y="280"/>
                    <a:pt x="2467" y="277"/>
                    <a:pt x="2468" y="282"/>
                  </a:cubicBezTo>
                  <a:cubicBezTo>
                    <a:pt x="2459" y="285"/>
                    <a:pt x="2472" y="291"/>
                    <a:pt x="2465" y="294"/>
                  </a:cubicBezTo>
                  <a:cubicBezTo>
                    <a:pt x="2473" y="295"/>
                    <a:pt x="2470" y="289"/>
                    <a:pt x="2476" y="289"/>
                  </a:cubicBezTo>
                  <a:cubicBezTo>
                    <a:pt x="2476" y="292"/>
                    <a:pt x="2477" y="294"/>
                    <a:pt x="2482" y="293"/>
                  </a:cubicBezTo>
                  <a:cubicBezTo>
                    <a:pt x="2479" y="288"/>
                    <a:pt x="2479" y="284"/>
                    <a:pt x="2484" y="279"/>
                  </a:cubicBezTo>
                  <a:cubicBezTo>
                    <a:pt x="2489" y="278"/>
                    <a:pt x="2500" y="282"/>
                    <a:pt x="2500" y="277"/>
                  </a:cubicBezTo>
                  <a:cubicBezTo>
                    <a:pt x="2499" y="277"/>
                    <a:pt x="2497" y="275"/>
                    <a:pt x="2500" y="274"/>
                  </a:cubicBezTo>
                  <a:cubicBezTo>
                    <a:pt x="2501" y="277"/>
                    <a:pt x="2504" y="279"/>
                    <a:pt x="2503" y="284"/>
                  </a:cubicBezTo>
                  <a:cubicBezTo>
                    <a:pt x="2500" y="281"/>
                    <a:pt x="2479" y="277"/>
                    <a:pt x="2484" y="289"/>
                  </a:cubicBezTo>
                  <a:cubicBezTo>
                    <a:pt x="2493" y="290"/>
                    <a:pt x="2493" y="285"/>
                    <a:pt x="2498" y="284"/>
                  </a:cubicBezTo>
                  <a:cubicBezTo>
                    <a:pt x="2496" y="288"/>
                    <a:pt x="2502" y="287"/>
                    <a:pt x="2503" y="288"/>
                  </a:cubicBezTo>
                  <a:cubicBezTo>
                    <a:pt x="2505" y="290"/>
                    <a:pt x="2503" y="295"/>
                    <a:pt x="2509" y="293"/>
                  </a:cubicBezTo>
                  <a:cubicBezTo>
                    <a:pt x="2507" y="284"/>
                    <a:pt x="2508" y="287"/>
                    <a:pt x="2506" y="276"/>
                  </a:cubicBezTo>
                  <a:cubicBezTo>
                    <a:pt x="2512" y="282"/>
                    <a:pt x="2523" y="270"/>
                    <a:pt x="2525" y="281"/>
                  </a:cubicBezTo>
                  <a:cubicBezTo>
                    <a:pt x="2522" y="278"/>
                    <a:pt x="2515" y="278"/>
                    <a:pt x="2511" y="281"/>
                  </a:cubicBezTo>
                  <a:cubicBezTo>
                    <a:pt x="2512" y="287"/>
                    <a:pt x="2514" y="291"/>
                    <a:pt x="2520" y="293"/>
                  </a:cubicBezTo>
                  <a:cubicBezTo>
                    <a:pt x="2522" y="289"/>
                    <a:pt x="2526" y="288"/>
                    <a:pt x="2531" y="288"/>
                  </a:cubicBezTo>
                  <a:cubicBezTo>
                    <a:pt x="2531" y="290"/>
                    <a:pt x="2531" y="292"/>
                    <a:pt x="2534" y="292"/>
                  </a:cubicBezTo>
                  <a:cubicBezTo>
                    <a:pt x="2531" y="284"/>
                    <a:pt x="2533" y="284"/>
                    <a:pt x="2528" y="276"/>
                  </a:cubicBezTo>
                  <a:cubicBezTo>
                    <a:pt x="2531" y="274"/>
                    <a:pt x="2535" y="273"/>
                    <a:pt x="2542" y="273"/>
                  </a:cubicBezTo>
                  <a:cubicBezTo>
                    <a:pt x="2540" y="277"/>
                    <a:pt x="2538" y="278"/>
                    <a:pt x="2542" y="281"/>
                  </a:cubicBezTo>
                  <a:cubicBezTo>
                    <a:pt x="2544" y="282"/>
                    <a:pt x="2539" y="291"/>
                    <a:pt x="2545" y="290"/>
                  </a:cubicBezTo>
                  <a:cubicBezTo>
                    <a:pt x="2549" y="285"/>
                    <a:pt x="2551" y="283"/>
                    <a:pt x="2547" y="276"/>
                  </a:cubicBezTo>
                  <a:cubicBezTo>
                    <a:pt x="2558" y="280"/>
                    <a:pt x="2550" y="270"/>
                    <a:pt x="2555" y="269"/>
                  </a:cubicBezTo>
                  <a:cubicBezTo>
                    <a:pt x="2554" y="269"/>
                    <a:pt x="2564" y="276"/>
                    <a:pt x="2572" y="273"/>
                  </a:cubicBezTo>
                  <a:cubicBezTo>
                    <a:pt x="2573" y="272"/>
                    <a:pt x="2571" y="266"/>
                    <a:pt x="2577" y="268"/>
                  </a:cubicBezTo>
                  <a:cubicBezTo>
                    <a:pt x="2578" y="274"/>
                    <a:pt x="2576" y="278"/>
                    <a:pt x="2572" y="280"/>
                  </a:cubicBezTo>
                  <a:cubicBezTo>
                    <a:pt x="2571" y="277"/>
                    <a:pt x="2569" y="276"/>
                    <a:pt x="2566" y="275"/>
                  </a:cubicBezTo>
                  <a:cubicBezTo>
                    <a:pt x="2567" y="286"/>
                    <a:pt x="2558" y="276"/>
                    <a:pt x="2555" y="276"/>
                  </a:cubicBezTo>
                  <a:cubicBezTo>
                    <a:pt x="2552" y="281"/>
                    <a:pt x="2562" y="284"/>
                    <a:pt x="2555" y="285"/>
                  </a:cubicBezTo>
                  <a:cubicBezTo>
                    <a:pt x="2554" y="285"/>
                    <a:pt x="2552" y="285"/>
                    <a:pt x="2553" y="287"/>
                  </a:cubicBezTo>
                  <a:cubicBezTo>
                    <a:pt x="2560" y="288"/>
                    <a:pt x="2561" y="284"/>
                    <a:pt x="2566" y="282"/>
                  </a:cubicBezTo>
                  <a:cubicBezTo>
                    <a:pt x="2571" y="290"/>
                    <a:pt x="2578" y="281"/>
                    <a:pt x="2580" y="289"/>
                  </a:cubicBezTo>
                  <a:cubicBezTo>
                    <a:pt x="2580" y="291"/>
                    <a:pt x="2581" y="292"/>
                    <a:pt x="2583" y="292"/>
                  </a:cubicBezTo>
                  <a:cubicBezTo>
                    <a:pt x="2583" y="287"/>
                    <a:pt x="2580" y="286"/>
                    <a:pt x="2580" y="282"/>
                  </a:cubicBezTo>
                  <a:cubicBezTo>
                    <a:pt x="2583" y="282"/>
                    <a:pt x="2583" y="280"/>
                    <a:pt x="2585" y="280"/>
                  </a:cubicBezTo>
                  <a:cubicBezTo>
                    <a:pt x="2586" y="290"/>
                    <a:pt x="2587" y="280"/>
                    <a:pt x="2591" y="280"/>
                  </a:cubicBezTo>
                  <a:cubicBezTo>
                    <a:pt x="2589" y="285"/>
                    <a:pt x="2594" y="295"/>
                    <a:pt x="2597" y="289"/>
                  </a:cubicBezTo>
                  <a:cubicBezTo>
                    <a:pt x="2594" y="289"/>
                    <a:pt x="2593" y="285"/>
                    <a:pt x="2597" y="284"/>
                  </a:cubicBezTo>
                  <a:cubicBezTo>
                    <a:pt x="2600" y="284"/>
                    <a:pt x="2599" y="288"/>
                    <a:pt x="2602" y="289"/>
                  </a:cubicBezTo>
                  <a:cubicBezTo>
                    <a:pt x="2606" y="287"/>
                    <a:pt x="2602" y="283"/>
                    <a:pt x="2602" y="279"/>
                  </a:cubicBezTo>
                  <a:cubicBezTo>
                    <a:pt x="2602" y="277"/>
                    <a:pt x="2605" y="278"/>
                    <a:pt x="2605" y="277"/>
                  </a:cubicBezTo>
                  <a:cubicBezTo>
                    <a:pt x="2606" y="274"/>
                    <a:pt x="2601" y="266"/>
                    <a:pt x="2607" y="265"/>
                  </a:cubicBezTo>
                  <a:cubicBezTo>
                    <a:pt x="2614" y="270"/>
                    <a:pt x="2618" y="277"/>
                    <a:pt x="2629" y="277"/>
                  </a:cubicBezTo>
                  <a:cubicBezTo>
                    <a:pt x="2633" y="277"/>
                    <a:pt x="2632" y="272"/>
                    <a:pt x="2635" y="272"/>
                  </a:cubicBezTo>
                  <a:cubicBezTo>
                    <a:pt x="2638" y="271"/>
                    <a:pt x="2643" y="272"/>
                    <a:pt x="2643" y="269"/>
                  </a:cubicBezTo>
                  <a:cubicBezTo>
                    <a:pt x="2628" y="273"/>
                    <a:pt x="2637" y="256"/>
                    <a:pt x="2637" y="255"/>
                  </a:cubicBezTo>
                  <a:cubicBezTo>
                    <a:pt x="2642" y="248"/>
                    <a:pt x="2636" y="253"/>
                    <a:pt x="2634" y="248"/>
                  </a:cubicBezTo>
                  <a:cubicBezTo>
                    <a:pt x="2639" y="249"/>
                    <a:pt x="2644" y="250"/>
                    <a:pt x="2645" y="253"/>
                  </a:cubicBezTo>
                  <a:cubicBezTo>
                    <a:pt x="2641" y="253"/>
                    <a:pt x="2639" y="255"/>
                    <a:pt x="2640" y="260"/>
                  </a:cubicBezTo>
                  <a:cubicBezTo>
                    <a:pt x="2650" y="264"/>
                    <a:pt x="2655" y="257"/>
                    <a:pt x="2662" y="262"/>
                  </a:cubicBezTo>
                  <a:cubicBezTo>
                    <a:pt x="2658" y="265"/>
                    <a:pt x="2661" y="274"/>
                    <a:pt x="2654" y="274"/>
                  </a:cubicBezTo>
                  <a:cubicBezTo>
                    <a:pt x="2649" y="268"/>
                    <a:pt x="2658" y="265"/>
                    <a:pt x="2648" y="265"/>
                  </a:cubicBezTo>
                  <a:cubicBezTo>
                    <a:pt x="2646" y="276"/>
                    <a:pt x="2650" y="280"/>
                    <a:pt x="2646" y="290"/>
                  </a:cubicBezTo>
                  <a:cubicBezTo>
                    <a:pt x="2654" y="292"/>
                    <a:pt x="2649" y="286"/>
                    <a:pt x="2651" y="283"/>
                  </a:cubicBezTo>
                  <a:cubicBezTo>
                    <a:pt x="2653" y="282"/>
                    <a:pt x="2658" y="284"/>
                    <a:pt x="2657" y="281"/>
                  </a:cubicBezTo>
                  <a:cubicBezTo>
                    <a:pt x="2654" y="280"/>
                    <a:pt x="2650" y="277"/>
                    <a:pt x="2654" y="276"/>
                  </a:cubicBezTo>
                  <a:cubicBezTo>
                    <a:pt x="2661" y="278"/>
                    <a:pt x="2660" y="287"/>
                    <a:pt x="2668" y="288"/>
                  </a:cubicBezTo>
                  <a:cubicBezTo>
                    <a:pt x="2669" y="285"/>
                    <a:pt x="2672" y="282"/>
                    <a:pt x="2673" y="285"/>
                  </a:cubicBezTo>
                  <a:cubicBezTo>
                    <a:pt x="2674" y="287"/>
                    <a:pt x="2674" y="290"/>
                    <a:pt x="2676" y="290"/>
                  </a:cubicBezTo>
                  <a:cubicBezTo>
                    <a:pt x="2676" y="283"/>
                    <a:pt x="2677" y="278"/>
                    <a:pt x="2681" y="276"/>
                  </a:cubicBezTo>
                  <a:cubicBezTo>
                    <a:pt x="2684" y="283"/>
                    <a:pt x="2687" y="273"/>
                    <a:pt x="2690" y="273"/>
                  </a:cubicBezTo>
                  <a:cubicBezTo>
                    <a:pt x="2690" y="276"/>
                    <a:pt x="2692" y="276"/>
                    <a:pt x="2692" y="278"/>
                  </a:cubicBezTo>
                  <a:cubicBezTo>
                    <a:pt x="2690" y="281"/>
                    <a:pt x="2690" y="287"/>
                    <a:pt x="2684" y="287"/>
                  </a:cubicBezTo>
                  <a:cubicBezTo>
                    <a:pt x="2684" y="286"/>
                    <a:pt x="2682" y="285"/>
                    <a:pt x="2682" y="287"/>
                  </a:cubicBezTo>
                  <a:cubicBezTo>
                    <a:pt x="2689" y="293"/>
                    <a:pt x="2699" y="287"/>
                    <a:pt x="2701" y="287"/>
                  </a:cubicBezTo>
                  <a:cubicBezTo>
                    <a:pt x="2704" y="287"/>
                    <a:pt x="2703" y="283"/>
                    <a:pt x="2706" y="282"/>
                  </a:cubicBezTo>
                  <a:cubicBezTo>
                    <a:pt x="2709" y="282"/>
                    <a:pt x="2710" y="284"/>
                    <a:pt x="2712" y="285"/>
                  </a:cubicBezTo>
                  <a:cubicBezTo>
                    <a:pt x="2715" y="275"/>
                    <a:pt x="2700" y="281"/>
                    <a:pt x="2698" y="275"/>
                  </a:cubicBezTo>
                  <a:cubicBezTo>
                    <a:pt x="2702" y="275"/>
                    <a:pt x="2708" y="276"/>
                    <a:pt x="2709" y="273"/>
                  </a:cubicBezTo>
                  <a:cubicBezTo>
                    <a:pt x="2696" y="273"/>
                    <a:pt x="2699" y="251"/>
                    <a:pt x="2711" y="252"/>
                  </a:cubicBezTo>
                  <a:cubicBezTo>
                    <a:pt x="2712" y="255"/>
                    <a:pt x="2710" y="260"/>
                    <a:pt x="2714" y="261"/>
                  </a:cubicBezTo>
                  <a:cubicBezTo>
                    <a:pt x="2720" y="259"/>
                    <a:pt x="2713" y="248"/>
                    <a:pt x="2719" y="247"/>
                  </a:cubicBezTo>
                  <a:cubicBezTo>
                    <a:pt x="2715" y="256"/>
                    <a:pt x="2725" y="258"/>
                    <a:pt x="2725" y="263"/>
                  </a:cubicBezTo>
                  <a:cubicBezTo>
                    <a:pt x="2725" y="263"/>
                    <a:pt x="2720" y="263"/>
                    <a:pt x="2720" y="263"/>
                  </a:cubicBezTo>
                  <a:cubicBezTo>
                    <a:pt x="2719" y="264"/>
                    <a:pt x="2719" y="272"/>
                    <a:pt x="2723" y="280"/>
                  </a:cubicBezTo>
                  <a:cubicBezTo>
                    <a:pt x="2719" y="280"/>
                    <a:pt x="2717" y="279"/>
                    <a:pt x="2714" y="277"/>
                  </a:cubicBezTo>
                  <a:cubicBezTo>
                    <a:pt x="2714" y="281"/>
                    <a:pt x="2716" y="283"/>
                    <a:pt x="2717" y="285"/>
                  </a:cubicBezTo>
                  <a:cubicBezTo>
                    <a:pt x="2723" y="284"/>
                    <a:pt x="2723" y="288"/>
                    <a:pt x="2726" y="289"/>
                  </a:cubicBezTo>
                  <a:cubicBezTo>
                    <a:pt x="2726" y="284"/>
                    <a:pt x="2731" y="273"/>
                    <a:pt x="2731" y="275"/>
                  </a:cubicBezTo>
                  <a:cubicBezTo>
                    <a:pt x="2731" y="273"/>
                    <a:pt x="2728" y="268"/>
                    <a:pt x="2728" y="268"/>
                  </a:cubicBezTo>
                  <a:cubicBezTo>
                    <a:pt x="2729" y="266"/>
                    <a:pt x="2735" y="265"/>
                    <a:pt x="2736" y="263"/>
                  </a:cubicBezTo>
                  <a:cubicBezTo>
                    <a:pt x="2739" y="259"/>
                    <a:pt x="2735" y="255"/>
                    <a:pt x="2741" y="254"/>
                  </a:cubicBezTo>
                  <a:cubicBezTo>
                    <a:pt x="2745" y="254"/>
                    <a:pt x="2747" y="256"/>
                    <a:pt x="2747" y="260"/>
                  </a:cubicBezTo>
                  <a:cubicBezTo>
                    <a:pt x="2742" y="260"/>
                    <a:pt x="2741" y="263"/>
                    <a:pt x="2736" y="263"/>
                  </a:cubicBezTo>
                  <a:cubicBezTo>
                    <a:pt x="2738" y="266"/>
                    <a:pt x="2733" y="275"/>
                    <a:pt x="2739" y="275"/>
                  </a:cubicBezTo>
                  <a:cubicBezTo>
                    <a:pt x="2742" y="270"/>
                    <a:pt x="2738" y="264"/>
                    <a:pt x="2750" y="263"/>
                  </a:cubicBezTo>
                  <a:cubicBezTo>
                    <a:pt x="2751" y="268"/>
                    <a:pt x="2745" y="268"/>
                    <a:pt x="2747" y="275"/>
                  </a:cubicBezTo>
                  <a:cubicBezTo>
                    <a:pt x="2748" y="274"/>
                    <a:pt x="2752" y="275"/>
                    <a:pt x="2753" y="275"/>
                  </a:cubicBezTo>
                  <a:cubicBezTo>
                    <a:pt x="2753" y="273"/>
                    <a:pt x="2752" y="271"/>
                    <a:pt x="2753" y="270"/>
                  </a:cubicBezTo>
                  <a:cubicBezTo>
                    <a:pt x="2754" y="265"/>
                    <a:pt x="2759" y="256"/>
                    <a:pt x="2755" y="251"/>
                  </a:cubicBezTo>
                  <a:cubicBezTo>
                    <a:pt x="2764" y="252"/>
                    <a:pt x="2766" y="250"/>
                    <a:pt x="2769" y="253"/>
                  </a:cubicBezTo>
                  <a:cubicBezTo>
                    <a:pt x="2768" y="255"/>
                    <a:pt x="2767" y="256"/>
                    <a:pt x="2763" y="256"/>
                  </a:cubicBezTo>
                  <a:cubicBezTo>
                    <a:pt x="2763" y="257"/>
                    <a:pt x="2763" y="260"/>
                    <a:pt x="2761" y="260"/>
                  </a:cubicBezTo>
                  <a:cubicBezTo>
                    <a:pt x="2763" y="264"/>
                    <a:pt x="2762" y="272"/>
                    <a:pt x="2767" y="274"/>
                  </a:cubicBezTo>
                  <a:cubicBezTo>
                    <a:pt x="2769" y="266"/>
                    <a:pt x="2780" y="274"/>
                    <a:pt x="2783" y="269"/>
                  </a:cubicBezTo>
                  <a:cubicBezTo>
                    <a:pt x="2779" y="269"/>
                    <a:pt x="2783" y="260"/>
                    <a:pt x="2783" y="260"/>
                  </a:cubicBezTo>
                  <a:cubicBezTo>
                    <a:pt x="2784" y="259"/>
                    <a:pt x="2788" y="262"/>
                    <a:pt x="2788" y="262"/>
                  </a:cubicBezTo>
                  <a:cubicBezTo>
                    <a:pt x="2789" y="257"/>
                    <a:pt x="2783" y="255"/>
                    <a:pt x="2785" y="246"/>
                  </a:cubicBezTo>
                  <a:cubicBezTo>
                    <a:pt x="2789" y="246"/>
                    <a:pt x="2789" y="243"/>
                    <a:pt x="2793" y="243"/>
                  </a:cubicBezTo>
                  <a:cubicBezTo>
                    <a:pt x="2796" y="252"/>
                    <a:pt x="2787" y="256"/>
                    <a:pt x="2794" y="262"/>
                  </a:cubicBezTo>
                  <a:cubicBezTo>
                    <a:pt x="2789" y="262"/>
                    <a:pt x="2787" y="264"/>
                    <a:pt x="2786" y="267"/>
                  </a:cubicBezTo>
                  <a:cubicBezTo>
                    <a:pt x="2792" y="267"/>
                    <a:pt x="2789" y="268"/>
                    <a:pt x="2788" y="272"/>
                  </a:cubicBezTo>
                  <a:cubicBezTo>
                    <a:pt x="2787" y="278"/>
                    <a:pt x="2792" y="281"/>
                    <a:pt x="2791" y="283"/>
                  </a:cubicBezTo>
                  <a:cubicBezTo>
                    <a:pt x="2791" y="283"/>
                    <a:pt x="2781" y="286"/>
                    <a:pt x="2789" y="288"/>
                  </a:cubicBezTo>
                  <a:cubicBezTo>
                    <a:pt x="2792" y="284"/>
                    <a:pt x="2797" y="279"/>
                    <a:pt x="2791" y="274"/>
                  </a:cubicBezTo>
                  <a:cubicBezTo>
                    <a:pt x="2795" y="274"/>
                    <a:pt x="2797" y="273"/>
                    <a:pt x="2799" y="271"/>
                  </a:cubicBezTo>
                  <a:cubicBezTo>
                    <a:pt x="2799" y="274"/>
                    <a:pt x="2800" y="286"/>
                    <a:pt x="2802" y="278"/>
                  </a:cubicBezTo>
                  <a:cubicBezTo>
                    <a:pt x="2799" y="266"/>
                    <a:pt x="2808" y="278"/>
                    <a:pt x="2810" y="271"/>
                  </a:cubicBezTo>
                  <a:cubicBezTo>
                    <a:pt x="2805" y="272"/>
                    <a:pt x="2806" y="260"/>
                    <a:pt x="2813" y="264"/>
                  </a:cubicBezTo>
                  <a:cubicBezTo>
                    <a:pt x="2811" y="266"/>
                    <a:pt x="2807" y="273"/>
                    <a:pt x="2816" y="271"/>
                  </a:cubicBezTo>
                  <a:cubicBezTo>
                    <a:pt x="2817" y="268"/>
                    <a:pt x="2812" y="259"/>
                    <a:pt x="2818" y="259"/>
                  </a:cubicBezTo>
                  <a:cubicBezTo>
                    <a:pt x="2817" y="267"/>
                    <a:pt x="2826" y="270"/>
                    <a:pt x="2830" y="275"/>
                  </a:cubicBezTo>
                  <a:cubicBezTo>
                    <a:pt x="2832" y="279"/>
                    <a:pt x="2829" y="288"/>
                    <a:pt x="2838" y="287"/>
                  </a:cubicBezTo>
                  <a:cubicBezTo>
                    <a:pt x="2838" y="283"/>
                    <a:pt x="2830" y="274"/>
                    <a:pt x="2838" y="271"/>
                  </a:cubicBezTo>
                  <a:cubicBezTo>
                    <a:pt x="2842" y="271"/>
                    <a:pt x="2841" y="276"/>
                    <a:pt x="2843" y="278"/>
                  </a:cubicBezTo>
                  <a:cubicBezTo>
                    <a:pt x="2836" y="272"/>
                    <a:pt x="2837" y="282"/>
                    <a:pt x="2841" y="285"/>
                  </a:cubicBezTo>
                  <a:cubicBezTo>
                    <a:pt x="2861" y="284"/>
                    <a:pt x="2841" y="259"/>
                    <a:pt x="2859" y="254"/>
                  </a:cubicBezTo>
                  <a:cubicBezTo>
                    <a:pt x="2859" y="257"/>
                    <a:pt x="2861" y="259"/>
                    <a:pt x="2862" y="261"/>
                  </a:cubicBezTo>
                  <a:cubicBezTo>
                    <a:pt x="2856" y="261"/>
                    <a:pt x="2861" y="269"/>
                    <a:pt x="2860" y="273"/>
                  </a:cubicBezTo>
                  <a:cubicBezTo>
                    <a:pt x="2855" y="271"/>
                    <a:pt x="2855" y="284"/>
                    <a:pt x="2860" y="282"/>
                  </a:cubicBezTo>
                  <a:cubicBezTo>
                    <a:pt x="2860" y="279"/>
                    <a:pt x="2863" y="278"/>
                    <a:pt x="2865" y="277"/>
                  </a:cubicBezTo>
                  <a:cubicBezTo>
                    <a:pt x="2870" y="283"/>
                    <a:pt x="2861" y="286"/>
                    <a:pt x="2871" y="287"/>
                  </a:cubicBezTo>
                  <a:cubicBezTo>
                    <a:pt x="2873" y="278"/>
                    <a:pt x="2862" y="271"/>
                    <a:pt x="2876" y="270"/>
                  </a:cubicBezTo>
                  <a:cubicBezTo>
                    <a:pt x="2879" y="277"/>
                    <a:pt x="2872" y="276"/>
                    <a:pt x="2874" y="282"/>
                  </a:cubicBezTo>
                  <a:cubicBezTo>
                    <a:pt x="2885" y="280"/>
                    <a:pt x="2879" y="273"/>
                    <a:pt x="2879" y="265"/>
                  </a:cubicBezTo>
                  <a:cubicBezTo>
                    <a:pt x="2881" y="265"/>
                    <a:pt x="2884" y="265"/>
                    <a:pt x="2884" y="263"/>
                  </a:cubicBezTo>
                  <a:cubicBezTo>
                    <a:pt x="2886" y="263"/>
                    <a:pt x="2887" y="261"/>
                    <a:pt x="2884" y="260"/>
                  </a:cubicBezTo>
                  <a:cubicBezTo>
                    <a:pt x="2884" y="264"/>
                    <a:pt x="2880" y="261"/>
                    <a:pt x="2879" y="258"/>
                  </a:cubicBezTo>
                  <a:cubicBezTo>
                    <a:pt x="2884" y="259"/>
                    <a:pt x="2884" y="255"/>
                    <a:pt x="2887" y="253"/>
                  </a:cubicBezTo>
                  <a:cubicBezTo>
                    <a:pt x="2887" y="255"/>
                    <a:pt x="2887" y="256"/>
                    <a:pt x="2888" y="257"/>
                  </a:cubicBezTo>
                  <a:cubicBezTo>
                    <a:pt x="2888" y="244"/>
                    <a:pt x="2888" y="244"/>
                    <a:pt x="2888" y="244"/>
                  </a:cubicBezTo>
                  <a:cubicBezTo>
                    <a:pt x="2887" y="244"/>
                    <a:pt x="2885" y="244"/>
                    <a:pt x="2884" y="244"/>
                  </a:cubicBezTo>
                  <a:cubicBezTo>
                    <a:pt x="2884" y="242"/>
                    <a:pt x="2884" y="239"/>
                    <a:pt x="2884" y="237"/>
                  </a:cubicBezTo>
                  <a:cubicBezTo>
                    <a:pt x="2886" y="237"/>
                    <a:pt x="2887" y="238"/>
                    <a:pt x="2888" y="239"/>
                  </a:cubicBezTo>
                  <a:cubicBezTo>
                    <a:pt x="2888" y="205"/>
                    <a:pt x="2888" y="205"/>
                    <a:pt x="2888" y="205"/>
                  </a:cubicBezTo>
                  <a:cubicBezTo>
                    <a:pt x="2885" y="205"/>
                    <a:pt x="2883" y="205"/>
                    <a:pt x="2881" y="209"/>
                  </a:cubicBezTo>
                  <a:cubicBezTo>
                    <a:pt x="2884" y="211"/>
                    <a:pt x="2893" y="228"/>
                    <a:pt x="2881" y="228"/>
                  </a:cubicBezTo>
                  <a:cubicBezTo>
                    <a:pt x="2886" y="223"/>
                    <a:pt x="2880" y="220"/>
                    <a:pt x="2875" y="218"/>
                  </a:cubicBezTo>
                  <a:cubicBezTo>
                    <a:pt x="2875" y="222"/>
                    <a:pt x="2876" y="227"/>
                    <a:pt x="2873" y="228"/>
                  </a:cubicBezTo>
                  <a:cubicBezTo>
                    <a:pt x="2872" y="222"/>
                    <a:pt x="2871" y="217"/>
                    <a:pt x="2862" y="219"/>
                  </a:cubicBezTo>
                  <a:cubicBezTo>
                    <a:pt x="2860" y="224"/>
                    <a:pt x="2865" y="236"/>
                    <a:pt x="2859" y="237"/>
                  </a:cubicBezTo>
                  <a:cubicBezTo>
                    <a:pt x="2855" y="232"/>
                    <a:pt x="2852" y="240"/>
                    <a:pt x="2851" y="235"/>
                  </a:cubicBezTo>
                  <a:cubicBezTo>
                    <a:pt x="2851" y="231"/>
                    <a:pt x="2851" y="228"/>
                    <a:pt x="2853" y="226"/>
                  </a:cubicBezTo>
                  <a:cubicBezTo>
                    <a:pt x="2851" y="225"/>
                    <a:pt x="2848" y="226"/>
                    <a:pt x="2848" y="223"/>
                  </a:cubicBezTo>
                  <a:cubicBezTo>
                    <a:pt x="2857" y="221"/>
                    <a:pt x="2854" y="229"/>
                    <a:pt x="2859" y="230"/>
                  </a:cubicBezTo>
                  <a:cubicBezTo>
                    <a:pt x="2857" y="227"/>
                    <a:pt x="2862" y="218"/>
                    <a:pt x="2856" y="219"/>
                  </a:cubicBezTo>
                  <a:cubicBezTo>
                    <a:pt x="2856" y="221"/>
                    <a:pt x="2851" y="222"/>
                    <a:pt x="2851" y="219"/>
                  </a:cubicBezTo>
                  <a:cubicBezTo>
                    <a:pt x="2851" y="209"/>
                    <a:pt x="2859" y="220"/>
                    <a:pt x="2861" y="214"/>
                  </a:cubicBezTo>
                  <a:cubicBezTo>
                    <a:pt x="2857" y="213"/>
                    <a:pt x="2859" y="209"/>
                    <a:pt x="2861" y="207"/>
                  </a:cubicBezTo>
                  <a:cubicBezTo>
                    <a:pt x="2855" y="204"/>
                    <a:pt x="2860" y="192"/>
                    <a:pt x="2858" y="186"/>
                  </a:cubicBezTo>
                  <a:cubicBezTo>
                    <a:pt x="2862" y="185"/>
                    <a:pt x="2862" y="183"/>
                    <a:pt x="2866" y="183"/>
                  </a:cubicBezTo>
                  <a:cubicBezTo>
                    <a:pt x="2860" y="196"/>
                    <a:pt x="2870" y="207"/>
                    <a:pt x="2864" y="216"/>
                  </a:cubicBezTo>
                  <a:cubicBezTo>
                    <a:pt x="2867" y="216"/>
                    <a:pt x="2870" y="216"/>
                    <a:pt x="2873" y="216"/>
                  </a:cubicBezTo>
                  <a:cubicBezTo>
                    <a:pt x="2869" y="209"/>
                    <a:pt x="2873" y="210"/>
                    <a:pt x="2870" y="204"/>
                  </a:cubicBezTo>
                  <a:cubicBezTo>
                    <a:pt x="2874" y="204"/>
                    <a:pt x="2871" y="198"/>
                    <a:pt x="2875" y="197"/>
                  </a:cubicBezTo>
                  <a:cubicBezTo>
                    <a:pt x="2876" y="200"/>
                    <a:pt x="2878" y="202"/>
                    <a:pt x="2881" y="204"/>
                  </a:cubicBezTo>
                  <a:cubicBezTo>
                    <a:pt x="2877" y="196"/>
                    <a:pt x="2884" y="198"/>
                    <a:pt x="2888" y="197"/>
                  </a:cubicBezTo>
                  <a:cubicBezTo>
                    <a:pt x="2888" y="191"/>
                    <a:pt x="2888" y="191"/>
                    <a:pt x="2888" y="191"/>
                  </a:cubicBezTo>
                  <a:cubicBezTo>
                    <a:pt x="2888" y="190"/>
                    <a:pt x="2888" y="189"/>
                    <a:pt x="2888" y="188"/>
                  </a:cubicBezTo>
                  <a:cubicBezTo>
                    <a:pt x="2888" y="159"/>
                    <a:pt x="2888" y="159"/>
                    <a:pt x="2888" y="159"/>
                  </a:cubicBezTo>
                  <a:cubicBezTo>
                    <a:pt x="2885" y="158"/>
                    <a:pt x="2882" y="158"/>
                    <a:pt x="2877" y="160"/>
                  </a:cubicBezTo>
                  <a:cubicBezTo>
                    <a:pt x="2877" y="157"/>
                    <a:pt x="2880" y="158"/>
                    <a:pt x="2882" y="157"/>
                  </a:cubicBezTo>
                  <a:cubicBezTo>
                    <a:pt x="2883" y="155"/>
                    <a:pt x="2881" y="155"/>
                    <a:pt x="2880" y="155"/>
                  </a:cubicBezTo>
                  <a:cubicBezTo>
                    <a:pt x="2879" y="151"/>
                    <a:pt x="2884" y="152"/>
                    <a:pt x="2888" y="152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2" y="148"/>
                    <a:pt x="2884" y="141"/>
                    <a:pt x="2877" y="143"/>
                  </a:cubicBezTo>
                  <a:cubicBezTo>
                    <a:pt x="2876" y="145"/>
                    <a:pt x="2877" y="148"/>
                    <a:pt x="2874" y="148"/>
                  </a:cubicBezTo>
                  <a:cubicBezTo>
                    <a:pt x="2874" y="140"/>
                    <a:pt x="2871" y="146"/>
                    <a:pt x="2866" y="146"/>
                  </a:cubicBezTo>
                  <a:cubicBezTo>
                    <a:pt x="2866" y="146"/>
                    <a:pt x="2866" y="143"/>
                    <a:pt x="2866" y="143"/>
                  </a:cubicBezTo>
                  <a:cubicBezTo>
                    <a:pt x="2863" y="142"/>
                    <a:pt x="2859" y="146"/>
                    <a:pt x="2858" y="146"/>
                  </a:cubicBezTo>
                  <a:cubicBezTo>
                    <a:pt x="2855" y="145"/>
                    <a:pt x="2855" y="141"/>
                    <a:pt x="2849" y="141"/>
                  </a:cubicBezTo>
                  <a:cubicBezTo>
                    <a:pt x="2848" y="141"/>
                    <a:pt x="2849" y="147"/>
                    <a:pt x="2847" y="146"/>
                  </a:cubicBezTo>
                  <a:cubicBezTo>
                    <a:pt x="2849" y="138"/>
                    <a:pt x="2838" y="143"/>
                    <a:pt x="2835" y="139"/>
                  </a:cubicBezTo>
                  <a:cubicBezTo>
                    <a:pt x="2829" y="145"/>
                    <a:pt x="2836" y="151"/>
                    <a:pt x="2836" y="158"/>
                  </a:cubicBezTo>
                  <a:cubicBezTo>
                    <a:pt x="2832" y="157"/>
                    <a:pt x="2826" y="160"/>
                    <a:pt x="2822" y="158"/>
                  </a:cubicBezTo>
                  <a:cubicBezTo>
                    <a:pt x="2821" y="158"/>
                    <a:pt x="2822" y="151"/>
                    <a:pt x="2816" y="153"/>
                  </a:cubicBezTo>
                  <a:cubicBezTo>
                    <a:pt x="2818" y="161"/>
                    <a:pt x="2815" y="164"/>
                    <a:pt x="2814" y="170"/>
                  </a:cubicBezTo>
                  <a:cubicBezTo>
                    <a:pt x="2823" y="172"/>
                    <a:pt x="2818" y="162"/>
                    <a:pt x="2825" y="163"/>
                  </a:cubicBezTo>
                  <a:cubicBezTo>
                    <a:pt x="2825" y="166"/>
                    <a:pt x="2826" y="168"/>
                    <a:pt x="2828" y="170"/>
                  </a:cubicBezTo>
                  <a:cubicBezTo>
                    <a:pt x="2821" y="171"/>
                    <a:pt x="2822" y="177"/>
                    <a:pt x="2817" y="179"/>
                  </a:cubicBezTo>
                  <a:cubicBezTo>
                    <a:pt x="2818" y="174"/>
                    <a:pt x="2816" y="171"/>
                    <a:pt x="2811" y="170"/>
                  </a:cubicBezTo>
                  <a:cubicBezTo>
                    <a:pt x="2811" y="173"/>
                    <a:pt x="2812" y="177"/>
                    <a:pt x="2809" y="177"/>
                  </a:cubicBezTo>
                  <a:cubicBezTo>
                    <a:pt x="2810" y="171"/>
                    <a:pt x="2798" y="175"/>
                    <a:pt x="2798" y="170"/>
                  </a:cubicBezTo>
                  <a:cubicBezTo>
                    <a:pt x="2805" y="172"/>
                    <a:pt x="2795" y="159"/>
                    <a:pt x="2803" y="161"/>
                  </a:cubicBezTo>
                  <a:cubicBezTo>
                    <a:pt x="2803" y="164"/>
                    <a:pt x="2802" y="169"/>
                    <a:pt x="2806" y="170"/>
                  </a:cubicBezTo>
                  <a:cubicBezTo>
                    <a:pt x="2808" y="158"/>
                    <a:pt x="2819" y="154"/>
                    <a:pt x="2814" y="142"/>
                  </a:cubicBezTo>
                  <a:cubicBezTo>
                    <a:pt x="2815" y="142"/>
                    <a:pt x="2817" y="140"/>
                    <a:pt x="2814" y="139"/>
                  </a:cubicBezTo>
                  <a:cubicBezTo>
                    <a:pt x="2812" y="142"/>
                    <a:pt x="2811" y="145"/>
                    <a:pt x="2808" y="147"/>
                  </a:cubicBezTo>
                  <a:cubicBezTo>
                    <a:pt x="2803" y="140"/>
                    <a:pt x="2792" y="144"/>
                    <a:pt x="2784" y="147"/>
                  </a:cubicBezTo>
                  <a:cubicBezTo>
                    <a:pt x="2787" y="139"/>
                    <a:pt x="2775" y="145"/>
                    <a:pt x="2778" y="138"/>
                  </a:cubicBezTo>
                  <a:cubicBezTo>
                    <a:pt x="2768" y="138"/>
                    <a:pt x="2772" y="150"/>
                    <a:pt x="2759" y="147"/>
                  </a:cubicBezTo>
                  <a:cubicBezTo>
                    <a:pt x="2759" y="144"/>
                    <a:pt x="2759" y="141"/>
                    <a:pt x="2759" y="138"/>
                  </a:cubicBezTo>
                  <a:cubicBezTo>
                    <a:pt x="2749" y="139"/>
                    <a:pt x="2748" y="142"/>
                    <a:pt x="2739" y="138"/>
                  </a:cubicBezTo>
                  <a:cubicBezTo>
                    <a:pt x="2739" y="143"/>
                    <a:pt x="2738" y="146"/>
                    <a:pt x="2734" y="148"/>
                  </a:cubicBezTo>
                  <a:cubicBezTo>
                    <a:pt x="2736" y="143"/>
                    <a:pt x="2733" y="130"/>
                    <a:pt x="2728" y="139"/>
                  </a:cubicBezTo>
                  <a:cubicBezTo>
                    <a:pt x="2733" y="139"/>
                    <a:pt x="2729" y="142"/>
                    <a:pt x="2729" y="146"/>
                  </a:cubicBezTo>
                  <a:cubicBezTo>
                    <a:pt x="2729" y="148"/>
                    <a:pt x="2731" y="148"/>
                    <a:pt x="2731" y="150"/>
                  </a:cubicBezTo>
                  <a:cubicBezTo>
                    <a:pt x="2731" y="150"/>
                    <a:pt x="2728" y="151"/>
                    <a:pt x="2729" y="153"/>
                  </a:cubicBezTo>
                  <a:cubicBezTo>
                    <a:pt x="2729" y="153"/>
                    <a:pt x="2733" y="153"/>
                    <a:pt x="2731" y="155"/>
                  </a:cubicBezTo>
                  <a:cubicBezTo>
                    <a:pt x="2727" y="155"/>
                    <a:pt x="2721" y="156"/>
                    <a:pt x="2720" y="153"/>
                  </a:cubicBezTo>
                  <a:cubicBezTo>
                    <a:pt x="2722" y="148"/>
                    <a:pt x="2728" y="148"/>
                    <a:pt x="2726" y="141"/>
                  </a:cubicBezTo>
                  <a:cubicBezTo>
                    <a:pt x="2717" y="144"/>
                    <a:pt x="2716" y="140"/>
                    <a:pt x="2707" y="144"/>
                  </a:cubicBezTo>
                  <a:cubicBezTo>
                    <a:pt x="2710" y="139"/>
                    <a:pt x="2702" y="133"/>
                    <a:pt x="2701" y="139"/>
                  </a:cubicBezTo>
                  <a:cubicBezTo>
                    <a:pt x="2710" y="142"/>
                    <a:pt x="2694" y="142"/>
                    <a:pt x="2690" y="142"/>
                  </a:cubicBezTo>
                  <a:cubicBezTo>
                    <a:pt x="2688" y="149"/>
                    <a:pt x="2697" y="146"/>
                    <a:pt x="2698" y="151"/>
                  </a:cubicBezTo>
                  <a:cubicBezTo>
                    <a:pt x="2693" y="152"/>
                    <a:pt x="2698" y="161"/>
                    <a:pt x="2693" y="163"/>
                  </a:cubicBezTo>
                  <a:cubicBezTo>
                    <a:pt x="2696" y="164"/>
                    <a:pt x="2699" y="165"/>
                    <a:pt x="2702" y="167"/>
                  </a:cubicBezTo>
                  <a:cubicBezTo>
                    <a:pt x="2701" y="172"/>
                    <a:pt x="2696" y="174"/>
                    <a:pt x="2693" y="177"/>
                  </a:cubicBezTo>
                  <a:cubicBezTo>
                    <a:pt x="2699" y="182"/>
                    <a:pt x="2691" y="188"/>
                    <a:pt x="2699" y="193"/>
                  </a:cubicBezTo>
                  <a:cubicBezTo>
                    <a:pt x="2696" y="194"/>
                    <a:pt x="2694" y="196"/>
                    <a:pt x="2694" y="200"/>
                  </a:cubicBezTo>
                  <a:cubicBezTo>
                    <a:pt x="2697" y="207"/>
                    <a:pt x="2694" y="206"/>
                    <a:pt x="2700" y="210"/>
                  </a:cubicBezTo>
                  <a:cubicBezTo>
                    <a:pt x="2698" y="213"/>
                    <a:pt x="2695" y="215"/>
                    <a:pt x="2691" y="217"/>
                  </a:cubicBezTo>
                  <a:cubicBezTo>
                    <a:pt x="2689" y="215"/>
                    <a:pt x="2688" y="202"/>
                    <a:pt x="2683" y="210"/>
                  </a:cubicBezTo>
                  <a:cubicBezTo>
                    <a:pt x="2690" y="213"/>
                    <a:pt x="2683" y="220"/>
                    <a:pt x="2683" y="224"/>
                  </a:cubicBezTo>
                  <a:cubicBezTo>
                    <a:pt x="2683" y="226"/>
                    <a:pt x="2681" y="227"/>
                    <a:pt x="2681" y="226"/>
                  </a:cubicBezTo>
                  <a:cubicBezTo>
                    <a:pt x="2680" y="231"/>
                    <a:pt x="2684" y="232"/>
                    <a:pt x="2683" y="236"/>
                  </a:cubicBezTo>
                  <a:cubicBezTo>
                    <a:pt x="2680" y="233"/>
                    <a:pt x="2673" y="234"/>
                    <a:pt x="2672" y="229"/>
                  </a:cubicBezTo>
                  <a:cubicBezTo>
                    <a:pt x="2677" y="224"/>
                    <a:pt x="2676" y="212"/>
                    <a:pt x="2669" y="210"/>
                  </a:cubicBezTo>
                  <a:cubicBezTo>
                    <a:pt x="2668" y="216"/>
                    <a:pt x="2673" y="227"/>
                    <a:pt x="2667" y="229"/>
                  </a:cubicBezTo>
                  <a:cubicBezTo>
                    <a:pt x="2662" y="229"/>
                    <a:pt x="2665" y="222"/>
                    <a:pt x="2661" y="222"/>
                  </a:cubicBezTo>
                  <a:cubicBezTo>
                    <a:pt x="2662" y="222"/>
                    <a:pt x="2658" y="231"/>
                    <a:pt x="2653" y="227"/>
                  </a:cubicBezTo>
                  <a:cubicBezTo>
                    <a:pt x="2653" y="222"/>
                    <a:pt x="2661" y="224"/>
                    <a:pt x="2658" y="217"/>
                  </a:cubicBezTo>
                  <a:cubicBezTo>
                    <a:pt x="2650" y="215"/>
                    <a:pt x="2652" y="221"/>
                    <a:pt x="2648" y="222"/>
                  </a:cubicBezTo>
                  <a:cubicBezTo>
                    <a:pt x="2647" y="213"/>
                    <a:pt x="2640" y="222"/>
                    <a:pt x="2634" y="218"/>
                  </a:cubicBezTo>
                  <a:cubicBezTo>
                    <a:pt x="2634" y="224"/>
                    <a:pt x="2635" y="229"/>
                    <a:pt x="2629" y="230"/>
                  </a:cubicBezTo>
                  <a:cubicBezTo>
                    <a:pt x="2627" y="224"/>
                    <a:pt x="2633" y="224"/>
                    <a:pt x="2631" y="218"/>
                  </a:cubicBezTo>
                  <a:cubicBezTo>
                    <a:pt x="2627" y="216"/>
                    <a:pt x="2622" y="221"/>
                    <a:pt x="2620" y="220"/>
                  </a:cubicBezTo>
                  <a:cubicBezTo>
                    <a:pt x="2616" y="219"/>
                    <a:pt x="2619" y="205"/>
                    <a:pt x="2612" y="214"/>
                  </a:cubicBezTo>
                  <a:cubicBezTo>
                    <a:pt x="2616" y="212"/>
                    <a:pt x="2616" y="225"/>
                    <a:pt x="2612" y="223"/>
                  </a:cubicBezTo>
                  <a:cubicBezTo>
                    <a:pt x="2614" y="212"/>
                    <a:pt x="2603" y="213"/>
                    <a:pt x="2598" y="209"/>
                  </a:cubicBezTo>
                  <a:cubicBezTo>
                    <a:pt x="2609" y="212"/>
                    <a:pt x="2608" y="205"/>
                    <a:pt x="2612" y="202"/>
                  </a:cubicBezTo>
                  <a:cubicBezTo>
                    <a:pt x="2621" y="200"/>
                    <a:pt x="2637" y="204"/>
                    <a:pt x="2642" y="199"/>
                  </a:cubicBezTo>
                  <a:cubicBezTo>
                    <a:pt x="2638" y="193"/>
                    <a:pt x="2634" y="203"/>
                    <a:pt x="2631" y="197"/>
                  </a:cubicBezTo>
                  <a:cubicBezTo>
                    <a:pt x="2635" y="196"/>
                    <a:pt x="2635" y="193"/>
                    <a:pt x="2639" y="192"/>
                  </a:cubicBezTo>
                  <a:cubicBezTo>
                    <a:pt x="2643" y="195"/>
                    <a:pt x="2642" y="202"/>
                    <a:pt x="2650" y="201"/>
                  </a:cubicBezTo>
                  <a:cubicBezTo>
                    <a:pt x="2647" y="194"/>
                    <a:pt x="2659" y="198"/>
                    <a:pt x="2661" y="194"/>
                  </a:cubicBezTo>
                  <a:cubicBezTo>
                    <a:pt x="2662" y="199"/>
                    <a:pt x="2666" y="200"/>
                    <a:pt x="2669" y="203"/>
                  </a:cubicBezTo>
                  <a:cubicBezTo>
                    <a:pt x="2665" y="203"/>
                    <a:pt x="2662" y="205"/>
                    <a:pt x="2661" y="208"/>
                  </a:cubicBezTo>
                  <a:cubicBezTo>
                    <a:pt x="2669" y="206"/>
                    <a:pt x="2671" y="210"/>
                    <a:pt x="2678" y="210"/>
                  </a:cubicBezTo>
                  <a:cubicBezTo>
                    <a:pt x="2678" y="205"/>
                    <a:pt x="2674" y="205"/>
                    <a:pt x="2672" y="203"/>
                  </a:cubicBezTo>
                  <a:cubicBezTo>
                    <a:pt x="2679" y="199"/>
                    <a:pt x="2680" y="204"/>
                    <a:pt x="2683" y="203"/>
                  </a:cubicBezTo>
                  <a:cubicBezTo>
                    <a:pt x="2684" y="202"/>
                    <a:pt x="2682" y="197"/>
                    <a:pt x="2683" y="196"/>
                  </a:cubicBezTo>
                  <a:cubicBezTo>
                    <a:pt x="2685" y="194"/>
                    <a:pt x="2686" y="198"/>
                    <a:pt x="2686" y="198"/>
                  </a:cubicBezTo>
                  <a:cubicBezTo>
                    <a:pt x="2690" y="199"/>
                    <a:pt x="2695" y="192"/>
                    <a:pt x="2694" y="189"/>
                  </a:cubicBezTo>
                  <a:cubicBezTo>
                    <a:pt x="2687" y="186"/>
                    <a:pt x="2684" y="199"/>
                    <a:pt x="2680" y="191"/>
                  </a:cubicBezTo>
                  <a:cubicBezTo>
                    <a:pt x="2682" y="188"/>
                    <a:pt x="2686" y="187"/>
                    <a:pt x="2691" y="186"/>
                  </a:cubicBezTo>
                  <a:cubicBezTo>
                    <a:pt x="2691" y="182"/>
                    <a:pt x="2691" y="179"/>
                    <a:pt x="2693" y="177"/>
                  </a:cubicBezTo>
                  <a:cubicBezTo>
                    <a:pt x="2690" y="175"/>
                    <a:pt x="2688" y="172"/>
                    <a:pt x="2688" y="167"/>
                  </a:cubicBezTo>
                  <a:cubicBezTo>
                    <a:pt x="2684" y="167"/>
                    <a:pt x="2681" y="167"/>
                    <a:pt x="2682" y="163"/>
                  </a:cubicBezTo>
                  <a:cubicBezTo>
                    <a:pt x="2688" y="168"/>
                    <a:pt x="2689" y="159"/>
                    <a:pt x="2693" y="156"/>
                  </a:cubicBezTo>
                  <a:cubicBezTo>
                    <a:pt x="2690" y="155"/>
                    <a:pt x="2685" y="156"/>
                    <a:pt x="2685" y="154"/>
                  </a:cubicBezTo>
                  <a:cubicBezTo>
                    <a:pt x="2688" y="147"/>
                    <a:pt x="2688" y="141"/>
                    <a:pt x="2685" y="135"/>
                  </a:cubicBezTo>
                  <a:cubicBezTo>
                    <a:pt x="2694" y="138"/>
                    <a:pt x="2686" y="127"/>
                    <a:pt x="2693" y="128"/>
                  </a:cubicBezTo>
                  <a:cubicBezTo>
                    <a:pt x="2696" y="128"/>
                    <a:pt x="2696" y="131"/>
                    <a:pt x="2695" y="134"/>
                  </a:cubicBezTo>
                  <a:cubicBezTo>
                    <a:pt x="2702" y="130"/>
                    <a:pt x="2705" y="137"/>
                    <a:pt x="2709" y="132"/>
                  </a:cubicBezTo>
                  <a:cubicBezTo>
                    <a:pt x="2706" y="130"/>
                    <a:pt x="2704" y="127"/>
                    <a:pt x="2701" y="125"/>
                  </a:cubicBezTo>
                  <a:cubicBezTo>
                    <a:pt x="2705" y="125"/>
                    <a:pt x="2710" y="125"/>
                    <a:pt x="2709" y="120"/>
                  </a:cubicBezTo>
                  <a:cubicBezTo>
                    <a:pt x="2701" y="123"/>
                    <a:pt x="2701" y="120"/>
                    <a:pt x="2690" y="121"/>
                  </a:cubicBezTo>
                  <a:cubicBezTo>
                    <a:pt x="2690" y="126"/>
                    <a:pt x="2688" y="128"/>
                    <a:pt x="2682" y="128"/>
                  </a:cubicBezTo>
                  <a:cubicBezTo>
                    <a:pt x="2682" y="125"/>
                    <a:pt x="2685" y="124"/>
                    <a:pt x="2684" y="121"/>
                  </a:cubicBezTo>
                  <a:cubicBezTo>
                    <a:pt x="2672" y="118"/>
                    <a:pt x="2679" y="130"/>
                    <a:pt x="2668" y="128"/>
                  </a:cubicBezTo>
                  <a:cubicBezTo>
                    <a:pt x="2674" y="124"/>
                    <a:pt x="2667" y="121"/>
                    <a:pt x="2668" y="119"/>
                  </a:cubicBezTo>
                  <a:cubicBezTo>
                    <a:pt x="2668" y="118"/>
                    <a:pt x="2673" y="117"/>
                    <a:pt x="2670" y="114"/>
                  </a:cubicBezTo>
                  <a:cubicBezTo>
                    <a:pt x="2670" y="113"/>
                    <a:pt x="2664" y="114"/>
                    <a:pt x="2665" y="112"/>
                  </a:cubicBezTo>
                  <a:cubicBezTo>
                    <a:pt x="2678" y="107"/>
                    <a:pt x="2672" y="119"/>
                    <a:pt x="2681" y="118"/>
                  </a:cubicBezTo>
                  <a:cubicBezTo>
                    <a:pt x="2691" y="118"/>
                    <a:pt x="2676" y="111"/>
                    <a:pt x="2684" y="111"/>
                  </a:cubicBezTo>
                  <a:cubicBezTo>
                    <a:pt x="2687" y="112"/>
                    <a:pt x="2687" y="115"/>
                    <a:pt x="2687" y="118"/>
                  </a:cubicBezTo>
                  <a:cubicBezTo>
                    <a:pt x="2699" y="117"/>
                    <a:pt x="2715" y="120"/>
                    <a:pt x="2723" y="115"/>
                  </a:cubicBezTo>
                  <a:cubicBezTo>
                    <a:pt x="2727" y="117"/>
                    <a:pt x="2722" y="127"/>
                    <a:pt x="2731" y="124"/>
                  </a:cubicBezTo>
                  <a:cubicBezTo>
                    <a:pt x="2731" y="122"/>
                    <a:pt x="2730" y="118"/>
                    <a:pt x="2734" y="117"/>
                  </a:cubicBezTo>
                  <a:cubicBezTo>
                    <a:pt x="2737" y="117"/>
                    <a:pt x="2741" y="117"/>
                    <a:pt x="2745" y="117"/>
                  </a:cubicBezTo>
                  <a:cubicBezTo>
                    <a:pt x="2744" y="123"/>
                    <a:pt x="2745" y="126"/>
                    <a:pt x="2747" y="129"/>
                  </a:cubicBezTo>
                  <a:cubicBezTo>
                    <a:pt x="2739" y="126"/>
                    <a:pt x="2740" y="128"/>
                    <a:pt x="2737" y="134"/>
                  </a:cubicBezTo>
                  <a:cubicBezTo>
                    <a:pt x="2748" y="138"/>
                    <a:pt x="2756" y="128"/>
                    <a:pt x="2758" y="129"/>
                  </a:cubicBezTo>
                  <a:cubicBezTo>
                    <a:pt x="2762" y="129"/>
                    <a:pt x="2763" y="138"/>
                    <a:pt x="2767" y="136"/>
                  </a:cubicBezTo>
                  <a:cubicBezTo>
                    <a:pt x="2764" y="127"/>
                    <a:pt x="2779" y="132"/>
                    <a:pt x="2775" y="121"/>
                  </a:cubicBezTo>
                  <a:cubicBezTo>
                    <a:pt x="2765" y="119"/>
                    <a:pt x="2771" y="130"/>
                    <a:pt x="2761" y="129"/>
                  </a:cubicBezTo>
                  <a:cubicBezTo>
                    <a:pt x="2770" y="121"/>
                    <a:pt x="2751" y="126"/>
                    <a:pt x="2753" y="117"/>
                  </a:cubicBezTo>
                  <a:cubicBezTo>
                    <a:pt x="2759" y="122"/>
                    <a:pt x="2765" y="117"/>
                    <a:pt x="2769" y="114"/>
                  </a:cubicBezTo>
                  <a:cubicBezTo>
                    <a:pt x="2770" y="117"/>
                    <a:pt x="2772" y="118"/>
                    <a:pt x="2775" y="119"/>
                  </a:cubicBezTo>
                  <a:cubicBezTo>
                    <a:pt x="2778" y="115"/>
                    <a:pt x="2772" y="107"/>
                    <a:pt x="2780" y="102"/>
                  </a:cubicBezTo>
                  <a:cubicBezTo>
                    <a:pt x="2779" y="108"/>
                    <a:pt x="2781" y="112"/>
                    <a:pt x="2783" y="114"/>
                  </a:cubicBezTo>
                  <a:cubicBezTo>
                    <a:pt x="2780" y="114"/>
                    <a:pt x="2780" y="118"/>
                    <a:pt x="2783" y="119"/>
                  </a:cubicBezTo>
                  <a:cubicBezTo>
                    <a:pt x="2784" y="117"/>
                    <a:pt x="2785" y="116"/>
                    <a:pt x="2788" y="116"/>
                  </a:cubicBezTo>
                  <a:cubicBezTo>
                    <a:pt x="2789" y="112"/>
                    <a:pt x="2785" y="111"/>
                    <a:pt x="2786" y="107"/>
                  </a:cubicBezTo>
                  <a:cubicBezTo>
                    <a:pt x="2790" y="107"/>
                    <a:pt x="2796" y="106"/>
                    <a:pt x="2797" y="109"/>
                  </a:cubicBezTo>
                  <a:cubicBezTo>
                    <a:pt x="2797" y="114"/>
                    <a:pt x="2794" y="117"/>
                    <a:pt x="2788" y="116"/>
                  </a:cubicBezTo>
                  <a:cubicBezTo>
                    <a:pt x="2791" y="124"/>
                    <a:pt x="2785" y="124"/>
                    <a:pt x="2778" y="124"/>
                  </a:cubicBezTo>
                  <a:cubicBezTo>
                    <a:pt x="2775" y="129"/>
                    <a:pt x="2782" y="137"/>
                    <a:pt x="2783" y="131"/>
                  </a:cubicBezTo>
                  <a:cubicBezTo>
                    <a:pt x="2780" y="131"/>
                    <a:pt x="2780" y="127"/>
                    <a:pt x="2783" y="126"/>
                  </a:cubicBezTo>
                  <a:cubicBezTo>
                    <a:pt x="2790" y="133"/>
                    <a:pt x="2785" y="127"/>
                    <a:pt x="2794" y="126"/>
                  </a:cubicBezTo>
                  <a:cubicBezTo>
                    <a:pt x="2794" y="130"/>
                    <a:pt x="2797" y="131"/>
                    <a:pt x="2797" y="135"/>
                  </a:cubicBezTo>
                  <a:cubicBezTo>
                    <a:pt x="2806" y="138"/>
                    <a:pt x="2799" y="127"/>
                    <a:pt x="2808" y="130"/>
                  </a:cubicBezTo>
                  <a:cubicBezTo>
                    <a:pt x="2808" y="133"/>
                    <a:pt x="2804" y="133"/>
                    <a:pt x="2805" y="137"/>
                  </a:cubicBezTo>
                  <a:cubicBezTo>
                    <a:pt x="2816" y="140"/>
                    <a:pt x="2809" y="128"/>
                    <a:pt x="2819" y="130"/>
                  </a:cubicBezTo>
                  <a:cubicBezTo>
                    <a:pt x="2817" y="132"/>
                    <a:pt x="2813" y="139"/>
                    <a:pt x="2822" y="137"/>
                  </a:cubicBezTo>
                  <a:cubicBezTo>
                    <a:pt x="2822" y="128"/>
                    <a:pt x="2825" y="128"/>
                    <a:pt x="2821" y="121"/>
                  </a:cubicBezTo>
                  <a:cubicBezTo>
                    <a:pt x="2830" y="123"/>
                    <a:pt x="2842" y="119"/>
                    <a:pt x="2854" y="122"/>
                  </a:cubicBezTo>
                  <a:cubicBezTo>
                    <a:pt x="2855" y="118"/>
                    <a:pt x="2851" y="118"/>
                    <a:pt x="2849" y="115"/>
                  </a:cubicBezTo>
                  <a:cubicBezTo>
                    <a:pt x="2852" y="109"/>
                    <a:pt x="2840" y="104"/>
                    <a:pt x="2849" y="101"/>
                  </a:cubicBezTo>
                  <a:cubicBezTo>
                    <a:pt x="2850" y="101"/>
                    <a:pt x="2852" y="101"/>
                    <a:pt x="2854" y="101"/>
                  </a:cubicBezTo>
                  <a:cubicBezTo>
                    <a:pt x="2856" y="105"/>
                    <a:pt x="2851" y="113"/>
                    <a:pt x="2857" y="113"/>
                  </a:cubicBezTo>
                  <a:cubicBezTo>
                    <a:pt x="2856" y="103"/>
                    <a:pt x="2863" y="111"/>
                    <a:pt x="2868" y="110"/>
                  </a:cubicBezTo>
                  <a:cubicBezTo>
                    <a:pt x="2868" y="107"/>
                    <a:pt x="2867" y="102"/>
                    <a:pt x="2871" y="101"/>
                  </a:cubicBezTo>
                  <a:cubicBezTo>
                    <a:pt x="2869" y="104"/>
                    <a:pt x="2874" y="113"/>
                    <a:pt x="2868" y="113"/>
                  </a:cubicBezTo>
                  <a:cubicBezTo>
                    <a:pt x="2858" y="108"/>
                    <a:pt x="2860" y="115"/>
                    <a:pt x="2857" y="122"/>
                  </a:cubicBezTo>
                  <a:cubicBezTo>
                    <a:pt x="2862" y="124"/>
                    <a:pt x="2866" y="120"/>
                    <a:pt x="2868" y="120"/>
                  </a:cubicBezTo>
                  <a:cubicBezTo>
                    <a:pt x="2871" y="120"/>
                    <a:pt x="2873" y="123"/>
                    <a:pt x="2876" y="122"/>
                  </a:cubicBezTo>
                  <a:cubicBezTo>
                    <a:pt x="2878" y="121"/>
                    <a:pt x="2876" y="116"/>
                    <a:pt x="2879" y="117"/>
                  </a:cubicBezTo>
                  <a:cubicBezTo>
                    <a:pt x="2877" y="123"/>
                    <a:pt x="2883" y="122"/>
                    <a:pt x="2888" y="122"/>
                  </a:cubicBezTo>
                  <a:cubicBezTo>
                    <a:pt x="2888" y="114"/>
                    <a:pt x="2888" y="114"/>
                    <a:pt x="2888" y="114"/>
                  </a:cubicBezTo>
                  <a:cubicBezTo>
                    <a:pt x="2885" y="113"/>
                    <a:pt x="2882" y="111"/>
                    <a:pt x="2876" y="113"/>
                  </a:cubicBezTo>
                  <a:cubicBezTo>
                    <a:pt x="2877" y="110"/>
                    <a:pt x="2881" y="110"/>
                    <a:pt x="2884" y="110"/>
                  </a:cubicBezTo>
                  <a:cubicBezTo>
                    <a:pt x="2887" y="110"/>
                    <a:pt x="2886" y="107"/>
                    <a:pt x="2887" y="105"/>
                  </a:cubicBezTo>
                  <a:cubicBezTo>
                    <a:pt x="2887" y="105"/>
                    <a:pt x="2888" y="105"/>
                    <a:pt x="2888" y="105"/>
                  </a:cubicBezTo>
                  <a:cubicBezTo>
                    <a:pt x="2888" y="74"/>
                    <a:pt x="2888" y="74"/>
                    <a:pt x="2888" y="74"/>
                  </a:cubicBezTo>
                  <a:cubicBezTo>
                    <a:pt x="2887" y="73"/>
                    <a:pt x="2887" y="72"/>
                    <a:pt x="2888" y="70"/>
                  </a:cubicBezTo>
                  <a:lnTo>
                    <a:pt x="2888" y="0"/>
                  </a:lnTo>
                  <a:close/>
                  <a:moveTo>
                    <a:pt x="220" y="274"/>
                  </a:moveTo>
                  <a:cubicBezTo>
                    <a:pt x="213" y="274"/>
                    <a:pt x="214" y="263"/>
                    <a:pt x="217" y="260"/>
                  </a:cubicBezTo>
                  <a:cubicBezTo>
                    <a:pt x="224" y="260"/>
                    <a:pt x="219" y="270"/>
                    <a:pt x="220" y="274"/>
                  </a:cubicBezTo>
                  <a:close/>
                  <a:moveTo>
                    <a:pt x="227" y="203"/>
                  </a:moveTo>
                  <a:cubicBezTo>
                    <a:pt x="224" y="203"/>
                    <a:pt x="225" y="199"/>
                    <a:pt x="225" y="196"/>
                  </a:cubicBezTo>
                  <a:cubicBezTo>
                    <a:pt x="229" y="195"/>
                    <a:pt x="230" y="198"/>
                    <a:pt x="230" y="201"/>
                  </a:cubicBezTo>
                  <a:cubicBezTo>
                    <a:pt x="228" y="201"/>
                    <a:pt x="228" y="202"/>
                    <a:pt x="227" y="203"/>
                  </a:cubicBezTo>
                  <a:close/>
                  <a:moveTo>
                    <a:pt x="305" y="256"/>
                  </a:moveTo>
                  <a:cubicBezTo>
                    <a:pt x="297" y="258"/>
                    <a:pt x="298" y="253"/>
                    <a:pt x="291" y="254"/>
                  </a:cubicBezTo>
                  <a:cubicBezTo>
                    <a:pt x="292" y="247"/>
                    <a:pt x="306" y="249"/>
                    <a:pt x="305" y="256"/>
                  </a:cubicBezTo>
                  <a:close/>
                  <a:moveTo>
                    <a:pt x="340" y="197"/>
                  </a:moveTo>
                  <a:cubicBezTo>
                    <a:pt x="342" y="197"/>
                    <a:pt x="343" y="197"/>
                    <a:pt x="345" y="197"/>
                  </a:cubicBezTo>
                  <a:cubicBezTo>
                    <a:pt x="346" y="203"/>
                    <a:pt x="325" y="196"/>
                    <a:pt x="340" y="197"/>
                  </a:cubicBezTo>
                  <a:close/>
                  <a:moveTo>
                    <a:pt x="357" y="258"/>
                  </a:moveTo>
                  <a:cubicBezTo>
                    <a:pt x="359" y="255"/>
                    <a:pt x="361" y="253"/>
                    <a:pt x="357" y="253"/>
                  </a:cubicBezTo>
                  <a:cubicBezTo>
                    <a:pt x="361" y="245"/>
                    <a:pt x="364" y="258"/>
                    <a:pt x="371" y="255"/>
                  </a:cubicBezTo>
                  <a:cubicBezTo>
                    <a:pt x="372" y="260"/>
                    <a:pt x="361" y="256"/>
                    <a:pt x="357" y="258"/>
                  </a:cubicBezTo>
                  <a:close/>
                  <a:moveTo>
                    <a:pt x="415" y="259"/>
                  </a:moveTo>
                  <a:cubicBezTo>
                    <a:pt x="409" y="260"/>
                    <a:pt x="405" y="259"/>
                    <a:pt x="401" y="257"/>
                  </a:cubicBezTo>
                  <a:cubicBezTo>
                    <a:pt x="401" y="253"/>
                    <a:pt x="419" y="252"/>
                    <a:pt x="415" y="259"/>
                  </a:cubicBezTo>
                  <a:close/>
                  <a:moveTo>
                    <a:pt x="480" y="201"/>
                  </a:moveTo>
                  <a:cubicBezTo>
                    <a:pt x="482" y="201"/>
                    <a:pt x="484" y="201"/>
                    <a:pt x="485" y="201"/>
                  </a:cubicBezTo>
                  <a:cubicBezTo>
                    <a:pt x="486" y="208"/>
                    <a:pt x="465" y="201"/>
                    <a:pt x="480" y="201"/>
                  </a:cubicBezTo>
                  <a:close/>
                  <a:moveTo>
                    <a:pt x="502" y="201"/>
                  </a:moveTo>
                  <a:cubicBezTo>
                    <a:pt x="514" y="202"/>
                    <a:pt x="499" y="215"/>
                    <a:pt x="502" y="201"/>
                  </a:cubicBezTo>
                  <a:close/>
                  <a:moveTo>
                    <a:pt x="538" y="205"/>
                  </a:moveTo>
                  <a:cubicBezTo>
                    <a:pt x="538" y="200"/>
                    <a:pt x="545" y="200"/>
                    <a:pt x="548" y="203"/>
                  </a:cubicBezTo>
                  <a:cubicBezTo>
                    <a:pt x="548" y="206"/>
                    <a:pt x="542" y="205"/>
                    <a:pt x="538" y="205"/>
                  </a:cubicBezTo>
                  <a:close/>
                  <a:moveTo>
                    <a:pt x="552" y="264"/>
                  </a:moveTo>
                  <a:cubicBezTo>
                    <a:pt x="551" y="259"/>
                    <a:pt x="554" y="257"/>
                    <a:pt x="555" y="254"/>
                  </a:cubicBezTo>
                  <a:cubicBezTo>
                    <a:pt x="561" y="256"/>
                    <a:pt x="563" y="264"/>
                    <a:pt x="552" y="264"/>
                  </a:cubicBezTo>
                  <a:close/>
                  <a:moveTo>
                    <a:pt x="573" y="204"/>
                  </a:moveTo>
                  <a:cubicBezTo>
                    <a:pt x="574" y="199"/>
                    <a:pt x="587" y="203"/>
                    <a:pt x="592" y="202"/>
                  </a:cubicBezTo>
                  <a:cubicBezTo>
                    <a:pt x="591" y="207"/>
                    <a:pt x="579" y="203"/>
                    <a:pt x="573" y="204"/>
                  </a:cubicBezTo>
                  <a:close/>
                  <a:moveTo>
                    <a:pt x="592" y="199"/>
                  </a:moveTo>
                  <a:cubicBezTo>
                    <a:pt x="587" y="198"/>
                    <a:pt x="592" y="195"/>
                    <a:pt x="592" y="192"/>
                  </a:cubicBezTo>
                  <a:cubicBezTo>
                    <a:pt x="597" y="194"/>
                    <a:pt x="593" y="197"/>
                    <a:pt x="592" y="199"/>
                  </a:cubicBezTo>
                  <a:close/>
                  <a:moveTo>
                    <a:pt x="624" y="265"/>
                  </a:moveTo>
                  <a:cubicBezTo>
                    <a:pt x="625" y="262"/>
                    <a:pt x="627" y="260"/>
                    <a:pt x="632" y="260"/>
                  </a:cubicBezTo>
                  <a:cubicBezTo>
                    <a:pt x="631" y="263"/>
                    <a:pt x="628" y="265"/>
                    <a:pt x="624" y="265"/>
                  </a:cubicBezTo>
                  <a:close/>
                  <a:moveTo>
                    <a:pt x="653" y="203"/>
                  </a:moveTo>
                  <a:cubicBezTo>
                    <a:pt x="655" y="203"/>
                    <a:pt x="658" y="203"/>
                    <a:pt x="661" y="203"/>
                  </a:cubicBezTo>
                  <a:cubicBezTo>
                    <a:pt x="661" y="208"/>
                    <a:pt x="651" y="204"/>
                    <a:pt x="647" y="205"/>
                  </a:cubicBezTo>
                  <a:cubicBezTo>
                    <a:pt x="647" y="203"/>
                    <a:pt x="651" y="204"/>
                    <a:pt x="653" y="203"/>
                  </a:cubicBezTo>
                  <a:close/>
                  <a:moveTo>
                    <a:pt x="656" y="264"/>
                  </a:moveTo>
                  <a:cubicBezTo>
                    <a:pt x="650" y="263"/>
                    <a:pt x="639" y="267"/>
                    <a:pt x="643" y="260"/>
                  </a:cubicBezTo>
                  <a:cubicBezTo>
                    <a:pt x="652" y="263"/>
                    <a:pt x="661" y="258"/>
                    <a:pt x="667" y="264"/>
                  </a:cubicBezTo>
                  <a:cubicBezTo>
                    <a:pt x="676" y="266"/>
                    <a:pt x="663" y="265"/>
                    <a:pt x="656" y="264"/>
                  </a:cubicBezTo>
                  <a:close/>
                  <a:moveTo>
                    <a:pt x="690" y="266"/>
                  </a:moveTo>
                  <a:cubicBezTo>
                    <a:pt x="697" y="257"/>
                    <a:pt x="707" y="271"/>
                    <a:pt x="690" y="266"/>
                  </a:cubicBezTo>
                  <a:close/>
                  <a:moveTo>
                    <a:pt x="714" y="263"/>
                  </a:moveTo>
                  <a:cubicBezTo>
                    <a:pt x="716" y="263"/>
                    <a:pt x="718" y="263"/>
                    <a:pt x="720" y="263"/>
                  </a:cubicBezTo>
                  <a:cubicBezTo>
                    <a:pt x="720" y="270"/>
                    <a:pt x="699" y="263"/>
                    <a:pt x="714" y="263"/>
                  </a:cubicBezTo>
                  <a:close/>
                  <a:moveTo>
                    <a:pt x="738" y="209"/>
                  </a:moveTo>
                  <a:cubicBezTo>
                    <a:pt x="737" y="208"/>
                    <a:pt x="745" y="206"/>
                    <a:pt x="743" y="204"/>
                  </a:cubicBezTo>
                  <a:cubicBezTo>
                    <a:pt x="753" y="208"/>
                    <a:pt x="740" y="210"/>
                    <a:pt x="738" y="209"/>
                  </a:cubicBezTo>
                  <a:close/>
                  <a:moveTo>
                    <a:pt x="777" y="267"/>
                  </a:moveTo>
                  <a:cubicBezTo>
                    <a:pt x="773" y="266"/>
                    <a:pt x="763" y="269"/>
                    <a:pt x="766" y="262"/>
                  </a:cubicBezTo>
                  <a:cubicBezTo>
                    <a:pt x="773" y="263"/>
                    <a:pt x="779" y="265"/>
                    <a:pt x="788" y="264"/>
                  </a:cubicBezTo>
                  <a:cubicBezTo>
                    <a:pt x="788" y="270"/>
                    <a:pt x="782" y="267"/>
                    <a:pt x="777" y="267"/>
                  </a:cubicBezTo>
                  <a:close/>
                  <a:moveTo>
                    <a:pt x="791" y="269"/>
                  </a:moveTo>
                  <a:cubicBezTo>
                    <a:pt x="793" y="266"/>
                    <a:pt x="797" y="264"/>
                    <a:pt x="802" y="264"/>
                  </a:cubicBezTo>
                  <a:cubicBezTo>
                    <a:pt x="801" y="268"/>
                    <a:pt x="797" y="269"/>
                    <a:pt x="791" y="269"/>
                  </a:cubicBezTo>
                  <a:close/>
                  <a:moveTo>
                    <a:pt x="810" y="261"/>
                  </a:moveTo>
                  <a:cubicBezTo>
                    <a:pt x="814" y="263"/>
                    <a:pt x="815" y="266"/>
                    <a:pt x="816" y="271"/>
                  </a:cubicBezTo>
                  <a:cubicBezTo>
                    <a:pt x="807" y="272"/>
                    <a:pt x="806" y="265"/>
                    <a:pt x="810" y="261"/>
                  </a:cubicBezTo>
                  <a:close/>
                  <a:moveTo>
                    <a:pt x="824" y="264"/>
                  </a:moveTo>
                  <a:cubicBezTo>
                    <a:pt x="830" y="269"/>
                    <a:pt x="836" y="261"/>
                    <a:pt x="840" y="266"/>
                  </a:cubicBezTo>
                  <a:cubicBezTo>
                    <a:pt x="836" y="270"/>
                    <a:pt x="824" y="273"/>
                    <a:pt x="824" y="264"/>
                  </a:cubicBezTo>
                  <a:close/>
                  <a:moveTo>
                    <a:pt x="865" y="268"/>
                  </a:moveTo>
                  <a:cubicBezTo>
                    <a:pt x="867" y="267"/>
                    <a:pt x="869" y="267"/>
                    <a:pt x="871" y="267"/>
                  </a:cubicBezTo>
                  <a:cubicBezTo>
                    <a:pt x="871" y="274"/>
                    <a:pt x="850" y="267"/>
                    <a:pt x="865" y="268"/>
                  </a:cubicBezTo>
                  <a:close/>
                  <a:moveTo>
                    <a:pt x="866" y="326"/>
                  </a:moveTo>
                  <a:cubicBezTo>
                    <a:pt x="866" y="325"/>
                    <a:pt x="866" y="323"/>
                    <a:pt x="866" y="321"/>
                  </a:cubicBezTo>
                  <a:cubicBezTo>
                    <a:pt x="868" y="321"/>
                    <a:pt x="870" y="321"/>
                    <a:pt x="871" y="321"/>
                  </a:cubicBezTo>
                  <a:cubicBezTo>
                    <a:pt x="872" y="323"/>
                    <a:pt x="872" y="325"/>
                    <a:pt x="872" y="326"/>
                  </a:cubicBezTo>
                  <a:cubicBezTo>
                    <a:pt x="870" y="326"/>
                    <a:pt x="868" y="326"/>
                    <a:pt x="866" y="326"/>
                  </a:cubicBezTo>
                  <a:close/>
                  <a:moveTo>
                    <a:pt x="903" y="269"/>
                  </a:moveTo>
                  <a:cubicBezTo>
                    <a:pt x="912" y="260"/>
                    <a:pt x="913" y="276"/>
                    <a:pt x="903" y="269"/>
                  </a:cubicBezTo>
                  <a:close/>
                  <a:moveTo>
                    <a:pt x="925" y="266"/>
                  </a:moveTo>
                  <a:cubicBezTo>
                    <a:pt x="930" y="266"/>
                    <a:pt x="931" y="269"/>
                    <a:pt x="936" y="269"/>
                  </a:cubicBezTo>
                  <a:cubicBezTo>
                    <a:pt x="937" y="273"/>
                    <a:pt x="921" y="273"/>
                    <a:pt x="925" y="266"/>
                  </a:cubicBezTo>
                  <a:close/>
                  <a:moveTo>
                    <a:pt x="947" y="271"/>
                  </a:moveTo>
                  <a:cubicBezTo>
                    <a:pt x="945" y="264"/>
                    <a:pt x="953" y="266"/>
                    <a:pt x="958" y="266"/>
                  </a:cubicBezTo>
                  <a:cubicBezTo>
                    <a:pt x="958" y="270"/>
                    <a:pt x="954" y="271"/>
                    <a:pt x="947" y="271"/>
                  </a:cubicBezTo>
                  <a:close/>
                  <a:moveTo>
                    <a:pt x="961" y="271"/>
                  </a:moveTo>
                  <a:cubicBezTo>
                    <a:pt x="963" y="269"/>
                    <a:pt x="964" y="267"/>
                    <a:pt x="964" y="263"/>
                  </a:cubicBezTo>
                  <a:cubicBezTo>
                    <a:pt x="971" y="263"/>
                    <a:pt x="972" y="267"/>
                    <a:pt x="978" y="268"/>
                  </a:cubicBezTo>
                  <a:cubicBezTo>
                    <a:pt x="977" y="273"/>
                    <a:pt x="966" y="269"/>
                    <a:pt x="961" y="271"/>
                  </a:cubicBezTo>
                  <a:close/>
                  <a:moveTo>
                    <a:pt x="986" y="275"/>
                  </a:moveTo>
                  <a:cubicBezTo>
                    <a:pt x="985" y="273"/>
                    <a:pt x="987" y="273"/>
                    <a:pt x="989" y="272"/>
                  </a:cubicBezTo>
                  <a:cubicBezTo>
                    <a:pt x="985" y="269"/>
                    <a:pt x="980" y="268"/>
                    <a:pt x="986" y="263"/>
                  </a:cubicBezTo>
                  <a:cubicBezTo>
                    <a:pt x="994" y="261"/>
                    <a:pt x="989" y="271"/>
                    <a:pt x="1000" y="268"/>
                  </a:cubicBezTo>
                  <a:cubicBezTo>
                    <a:pt x="995" y="270"/>
                    <a:pt x="993" y="274"/>
                    <a:pt x="986" y="275"/>
                  </a:cubicBezTo>
                  <a:close/>
                  <a:moveTo>
                    <a:pt x="1011" y="272"/>
                  </a:moveTo>
                  <a:cubicBezTo>
                    <a:pt x="1011" y="270"/>
                    <a:pt x="1011" y="269"/>
                    <a:pt x="1010" y="267"/>
                  </a:cubicBezTo>
                  <a:cubicBezTo>
                    <a:pt x="1012" y="267"/>
                    <a:pt x="1014" y="267"/>
                    <a:pt x="1016" y="267"/>
                  </a:cubicBezTo>
                  <a:cubicBezTo>
                    <a:pt x="1016" y="269"/>
                    <a:pt x="1016" y="270"/>
                    <a:pt x="1016" y="272"/>
                  </a:cubicBezTo>
                  <a:cubicBezTo>
                    <a:pt x="1014" y="272"/>
                    <a:pt x="1012" y="272"/>
                    <a:pt x="1011" y="272"/>
                  </a:cubicBezTo>
                  <a:close/>
                  <a:moveTo>
                    <a:pt x="1150" y="270"/>
                  </a:moveTo>
                  <a:cubicBezTo>
                    <a:pt x="1150" y="268"/>
                    <a:pt x="1150" y="266"/>
                    <a:pt x="1150" y="265"/>
                  </a:cubicBezTo>
                  <a:cubicBezTo>
                    <a:pt x="1152" y="265"/>
                    <a:pt x="1154" y="265"/>
                    <a:pt x="1156" y="265"/>
                  </a:cubicBezTo>
                  <a:cubicBezTo>
                    <a:pt x="1156" y="266"/>
                    <a:pt x="1156" y="268"/>
                    <a:pt x="1156" y="269"/>
                  </a:cubicBezTo>
                  <a:cubicBezTo>
                    <a:pt x="1154" y="270"/>
                    <a:pt x="1152" y="270"/>
                    <a:pt x="1150" y="270"/>
                  </a:cubicBezTo>
                  <a:close/>
                  <a:moveTo>
                    <a:pt x="1170" y="269"/>
                  </a:moveTo>
                  <a:cubicBezTo>
                    <a:pt x="1170" y="268"/>
                    <a:pt x="1170" y="266"/>
                    <a:pt x="1170" y="265"/>
                  </a:cubicBezTo>
                  <a:cubicBezTo>
                    <a:pt x="1171" y="265"/>
                    <a:pt x="1173" y="265"/>
                    <a:pt x="1175" y="264"/>
                  </a:cubicBezTo>
                  <a:cubicBezTo>
                    <a:pt x="1175" y="266"/>
                    <a:pt x="1175" y="268"/>
                    <a:pt x="1175" y="269"/>
                  </a:cubicBezTo>
                  <a:cubicBezTo>
                    <a:pt x="1173" y="269"/>
                    <a:pt x="1171" y="269"/>
                    <a:pt x="1170" y="269"/>
                  </a:cubicBezTo>
                  <a:close/>
                  <a:moveTo>
                    <a:pt x="1194" y="271"/>
                  </a:moveTo>
                  <a:cubicBezTo>
                    <a:pt x="1195" y="263"/>
                    <a:pt x="1187" y="272"/>
                    <a:pt x="1181" y="267"/>
                  </a:cubicBezTo>
                  <a:cubicBezTo>
                    <a:pt x="1179" y="261"/>
                    <a:pt x="1191" y="267"/>
                    <a:pt x="1194" y="264"/>
                  </a:cubicBezTo>
                  <a:cubicBezTo>
                    <a:pt x="1194" y="264"/>
                    <a:pt x="1194" y="262"/>
                    <a:pt x="1194" y="262"/>
                  </a:cubicBezTo>
                  <a:cubicBezTo>
                    <a:pt x="1200" y="261"/>
                    <a:pt x="1208" y="268"/>
                    <a:pt x="1211" y="261"/>
                  </a:cubicBezTo>
                  <a:cubicBezTo>
                    <a:pt x="1221" y="266"/>
                    <a:pt x="1208" y="265"/>
                    <a:pt x="1205" y="266"/>
                  </a:cubicBezTo>
                  <a:cubicBezTo>
                    <a:pt x="1201" y="268"/>
                    <a:pt x="1198" y="272"/>
                    <a:pt x="1194" y="271"/>
                  </a:cubicBezTo>
                  <a:close/>
                  <a:moveTo>
                    <a:pt x="1199" y="353"/>
                  </a:moveTo>
                  <a:cubicBezTo>
                    <a:pt x="1207" y="350"/>
                    <a:pt x="1205" y="357"/>
                    <a:pt x="1210" y="358"/>
                  </a:cubicBezTo>
                  <a:cubicBezTo>
                    <a:pt x="1209" y="363"/>
                    <a:pt x="1194" y="361"/>
                    <a:pt x="1199" y="353"/>
                  </a:cubicBezTo>
                  <a:close/>
                  <a:moveTo>
                    <a:pt x="1212" y="355"/>
                  </a:moveTo>
                  <a:cubicBezTo>
                    <a:pt x="1215" y="349"/>
                    <a:pt x="1216" y="353"/>
                    <a:pt x="1223" y="353"/>
                  </a:cubicBezTo>
                  <a:cubicBezTo>
                    <a:pt x="1223" y="358"/>
                    <a:pt x="1216" y="358"/>
                    <a:pt x="1212" y="355"/>
                  </a:cubicBezTo>
                  <a:close/>
                  <a:moveTo>
                    <a:pt x="1227" y="261"/>
                  </a:moveTo>
                  <a:cubicBezTo>
                    <a:pt x="1232" y="261"/>
                    <a:pt x="1234" y="265"/>
                    <a:pt x="1235" y="261"/>
                  </a:cubicBezTo>
                  <a:cubicBezTo>
                    <a:pt x="1247" y="264"/>
                    <a:pt x="1223" y="271"/>
                    <a:pt x="1227" y="261"/>
                  </a:cubicBezTo>
                  <a:close/>
                  <a:moveTo>
                    <a:pt x="1237" y="195"/>
                  </a:moveTo>
                  <a:cubicBezTo>
                    <a:pt x="1237" y="194"/>
                    <a:pt x="1237" y="192"/>
                    <a:pt x="1237" y="191"/>
                  </a:cubicBezTo>
                  <a:cubicBezTo>
                    <a:pt x="1239" y="190"/>
                    <a:pt x="1240" y="190"/>
                    <a:pt x="1242" y="190"/>
                  </a:cubicBezTo>
                  <a:cubicBezTo>
                    <a:pt x="1242" y="192"/>
                    <a:pt x="1242" y="194"/>
                    <a:pt x="1242" y="195"/>
                  </a:cubicBezTo>
                  <a:cubicBezTo>
                    <a:pt x="1241" y="195"/>
                    <a:pt x="1239" y="195"/>
                    <a:pt x="1237" y="195"/>
                  </a:cubicBezTo>
                  <a:close/>
                  <a:moveTo>
                    <a:pt x="1259" y="195"/>
                  </a:moveTo>
                  <a:cubicBezTo>
                    <a:pt x="1252" y="196"/>
                    <a:pt x="1252" y="190"/>
                    <a:pt x="1250" y="186"/>
                  </a:cubicBezTo>
                  <a:cubicBezTo>
                    <a:pt x="1258" y="185"/>
                    <a:pt x="1258" y="190"/>
                    <a:pt x="1259" y="195"/>
                  </a:cubicBezTo>
                  <a:close/>
                  <a:moveTo>
                    <a:pt x="1252" y="261"/>
                  </a:moveTo>
                  <a:cubicBezTo>
                    <a:pt x="1256" y="260"/>
                    <a:pt x="1262" y="262"/>
                    <a:pt x="1263" y="258"/>
                  </a:cubicBezTo>
                  <a:cubicBezTo>
                    <a:pt x="1266" y="259"/>
                    <a:pt x="1265" y="262"/>
                    <a:pt x="1266" y="265"/>
                  </a:cubicBezTo>
                  <a:cubicBezTo>
                    <a:pt x="1263" y="268"/>
                    <a:pt x="1252" y="268"/>
                    <a:pt x="1252" y="261"/>
                  </a:cubicBezTo>
                  <a:close/>
                  <a:moveTo>
                    <a:pt x="1279" y="267"/>
                  </a:moveTo>
                  <a:cubicBezTo>
                    <a:pt x="1271" y="269"/>
                    <a:pt x="1269" y="262"/>
                    <a:pt x="1274" y="258"/>
                  </a:cubicBezTo>
                  <a:cubicBezTo>
                    <a:pt x="1279" y="259"/>
                    <a:pt x="1280" y="262"/>
                    <a:pt x="1279" y="267"/>
                  </a:cubicBezTo>
                  <a:close/>
                  <a:moveTo>
                    <a:pt x="1282" y="260"/>
                  </a:moveTo>
                  <a:cubicBezTo>
                    <a:pt x="1283" y="254"/>
                    <a:pt x="1287" y="263"/>
                    <a:pt x="1293" y="260"/>
                  </a:cubicBezTo>
                  <a:cubicBezTo>
                    <a:pt x="1291" y="268"/>
                    <a:pt x="1287" y="262"/>
                    <a:pt x="1282" y="260"/>
                  </a:cubicBezTo>
                  <a:close/>
                  <a:moveTo>
                    <a:pt x="1312" y="257"/>
                  </a:moveTo>
                  <a:cubicBezTo>
                    <a:pt x="1308" y="258"/>
                    <a:pt x="1310" y="265"/>
                    <a:pt x="1301" y="262"/>
                  </a:cubicBezTo>
                  <a:cubicBezTo>
                    <a:pt x="1300" y="255"/>
                    <a:pt x="1310" y="257"/>
                    <a:pt x="1315" y="255"/>
                  </a:cubicBezTo>
                  <a:cubicBezTo>
                    <a:pt x="1316" y="259"/>
                    <a:pt x="1312" y="260"/>
                    <a:pt x="1312" y="257"/>
                  </a:cubicBezTo>
                  <a:close/>
                  <a:moveTo>
                    <a:pt x="1479" y="238"/>
                  </a:moveTo>
                  <a:cubicBezTo>
                    <a:pt x="1478" y="239"/>
                    <a:pt x="1476" y="232"/>
                    <a:pt x="1474" y="233"/>
                  </a:cubicBezTo>
                  <a:cubicBezTo>
                    <a:pt x="1478" y="225"/>
                    <a:pt x="1481" y="236"/>
                    <a:pt x="1479" y="238"/>
                  </a:cubicBezTo>
                  <a:close/>
                  <a:moveTo>
                    <a:pt x="1448" y="177"/>
                  </a:moveTo>
                  <a:cubicBezTo>
                    <a:pt x="1447" y="180"/>
                    <a:pt x="1445" y="182"/>
                    <a:pt x="1440" y="182"/>
                  </a:cubicBezTo>
                  <a:cubicBezTo>
                    <a:pt x="1438" y="177"/>
                    <a:pt x="1444" y="178"/>
                    <a:pt x="1448" y="177"/>
                  </a:cubicBezTo>
                  <a:close/>
                  <a:moveTo>
                    <a:pt x="1424" y="248"/>
                  </a:moveTo>
                  <a:cubicBezTo>
                    <a:pt x="1429" y="248"/>
                    <a:pt x="1429" y="250"/>
                    <a:pt x="1433" y="251"/>
                  </a:cubicBezTo>
                  <a:cubicBezTo>
                    <a:pt x="1434" y="255"/>
                    <a:pt x="1420" y="254"/>
                    <a:pt x="1424" y="248"/>
                  </a:cubicBezTo>
                  <a:close/>
                  <a:moveTo>
                    <a:pt x="1334" y="259"/>
                  </a:moveTo>
                  <a:cubicBezTo>
                    <a:pt x="1334" y="257"/>
                    <a:pt x="1331" y="258"/>
                    <a:pt x="1329" y="257"/>
                  </a:cubicBezTo>
                  <a:cubicBezTo>
                    <a:pt x="1331" y="252"/>
                    <a:pt x="1344" y="256"/>
                    <a:pt x="1350" y="254"/>
                  </a:cubicBezTo>
                  <a:cubicBezTo>
                    <a:pt x="1347" y="261"/>
                    <a:pt x="1344" y="256"/>
                    <a:pt x="1334" y="259"/>
                  </a:cubicBezTo>
                  <a:close/>
                  <a:moveTo>
                    <a:pt x="1392" y="279"/>
                  </a:moveTo>
                  <a:cubicBezTo>
                    <a:pt x="1392" y="278"/>
                    <a:pt x="1392" y="276"/>
                    <a:pt x="1392" y="275"/>
                  </a:cubicBezTo>
                  <a:cubicBezTo>
                    <a:pt x="1394" y="275"/>
                    <a:pt x="1396" y="275"/>
                    <a:pt x="1397" y="275"/>
                  </a:cubicBezTo>
                  <a:cubicBezTo>
                    <a:pt x="1398" y="276"/>
                    <a:pt x="1398" y="278"/>
                    <a:pt x="1398" y="279"/>
                  </a:cubicBezTo>
                  <a:cubicBezTo>
                    <a:pt x="1396" y="279"/>
                    <a:pt x="1394" y="279"/>
                    <a:pt x="1392" y="279"/>
                  </a:cubicBezTo>
                  <a:close/>
                  <a:moveTo>
                    <a:pt x="1394" y="258"/>
                  </a:moveTo>
                  <a:cubicBezTo>
                    <a:pt x="1394" y="261"/>
                    <a:pt x="1392" y="260"/>
                    <a:pt x="1392" y="258"/>
                  </a:cubicBezTo>
                  <a:cubicBezTo>
                    <a:pt x="1388" y="259"/>
                    <a:pt x="1384" y="259"/>
                    <a:pt x="1383" y="256"/>
                  </a:cubicBezTo>
                  <a:cubicBezTo>
                    <a:pt x="1381" y="258"/>
                    <a:pt x="1376" y="260"/>
                    <a:pt x="1375" y="256"/>
                  </a:cubicBezTo>
                  <a:cubicBezTo>
                    <a:pt x="1373" y="257"/>
                    <a:pt x="1372" y="259"/>
                    <a:pt x="1370" y="259"/>
                  </a:cubicBezTo>
                  <a:cubicBezTo>
                    <a:pt x="1369" y="261"/>
                    <a:pt x="1371" y="261"/>
                    <a:pt x="1373" y="261"/>
                  </a:cubicBezTo>
                  <a:cubicBezTo>
                    <a:pt x="1373" y="267"/>
                    <a:pt x="1365" y="260"/>
                    <a:pt x="1367" y="256"/>
                  </a:cubicBezTo>
                  <a:cubicBezTo>
                    <a:pt x="1362" y="257"/>
                    <a:pt x="1365" y="266"/>
                    <a:pt x="1356" y="264"/>
                  </a:cubicBezTo>
                  <a:cubicBezTo>
                    <a:pt x="1358" y="256"/>
                    <a:pt x="1351" y="256"/>
                    <a:pt x="1356" y="252"/>
                  </a:cubicBezTo>
                  <a:cubicBezTo>
                    <a:pt x="1360" y="249"/>
                    <a:pt x="1366" y="255"/>
                    <a:pt x="1367" y="254"/>
                  </a:cubicBezTo>
                  <a:cubicBezTo>
                    <a:pt x="1367" y="254"/>
                    <a:pt x="1367" y="252"/>
                    <a:pt x="1367" y="252"/>
                  </a:cubicBezTo>
                  <a:cubicBezTo>
                    <a:pt x="1370" y="251"/>
                    <a:pt x="1372" y="254"/>
                    <a:pt x="1372" y="254"/>
                  </a:cubicBezTo>
                  <a:cubicBezTo>
                    <a:pt x="1379" y="253"/>
                    <a:pt x="1377" y="249"/>
                    <a:pt x="1383" y="249"/>
                  </a:cubicBezTo>
                  <a:cubicBezTo>
                    <a:pt x="1383" y="249"/>
                    <a:pt x="1384" y="255"/>
                    <a:pt x="1386" y="254"/>
                  </a:cubicBezTo>
                  <a:cubicBezTo>
                    <a:pt x="1392" y="254"/>
                    <a:pt x="1387" y="245"/>
                    <a:pt x="1389" y="242"/>
                  </a:cubicBezTo>
                  <a:cubicBezTo>
                    <a:pt x="1391" y="243"/>
                    <a:pt x="1393" y="244"/>
                    <a:pt x="1397" y="244"/>
                  </a:cubicBezTo>
                  <a:cubicBezTo>
                    <a:pt x="1396" y="246"/>
                    <a:pt x="1395" y="248"/>
                    <a:pt x="1392" y="249"/>
                  </a:cubicBezTo>
                  <a:cubicBezTo>
                    <a:pt x="1391" y="255"/>
                    <a:pt x="1404" y="247"/>
                    <a:pt x="1400" y="256"/>
                  </a:cubicBezTo>
                  <a:cubicBezTo>
                    <a:pt x="1395" y="255"/>
                    <a:pt x="1390" y="258"/>
                    <a:pt x="1394" y="258"/>
                  </a:cubicBezTo>
                  <a:close/>
                  <a:moveTo>
                    <a:pt x="1405" y="258"/>
                  </a:moveTo>
                  <a:cubicBezTo>
                    <a:pt x="1407" y="258"/>
                    <a:pt x="1409" y="258"/>
                    <a:pt x="1411" y="258"/>
                  </a:cubicBezTo>
                  <a:cubicBezTo>
                    <a:pt x="1412" y="265"/>
                    <a:pt x="1390" y="258"/>
                    <a:pt x="1405" y="258"/>
                  </a:cubicBezTo>
                  <a:close/>
                  <a:moveTo>
                    <a:pt x="1403" y="279"/>
                  </a:moveTo>
                  <a:cubicBezTo>
                    <a:pt x="1403" y="277"/>
                    <a:pt x="1406" y="277"/>
                    <a:pt x="1408" y="277"/>
                  </a:cubicBezTo>
                  <a:cubicBezTo>
                    <a:pt x="1410" y="277"/>
                    <a:pt x="1412" y="277"/>
                    <a:pt x="1414" y="277"/>
                  </a:cubicBezTo>
                  <a:cubicBezTo>
                    <a:pt x="1413" y="280"/>
                    <a:pt x="1407" y="279"/>
                    <a:pt x="1403" y="279"/>
                  </a:cubicBezTo>
                  <a:close/>
                  <a:moveTo>
                    <a:pt x="1416" y="256"/>
                  </a:moveTo>
                  <a:cubicBezTo>
                    <a:pt x="1412" y="256"/>
                    <a:pt x="1407" y="256"/>
                    <a:pt x="1403" y="256"/>
                  </a:cubicBezTo>
                  <a:cubicBezTo>
                    <a:pt x="1401" y="247"/>
                    <a:pt x="1411" y="248"/>
                    <a:pt x="1419" y="248"/>
                  </a:cubicBezTo>
                  <a:cubicBezTo>
                    <a:pt x="1419" y="254"/>
                    <a:pt x="1424" y="256"/>
                    <a:pt x="1419" y="260"/>
                  </a:cubicBezTo>
                  <a:cubicBezTo>
                    <a:pt x="1416" y="260"/>
                    <a:pt x="1417" y="257"/>
                    <a:pt x="1416" y="256"/>
                  </a:cubicBezTo>
                  <a:close/>
                  <a:moveTo>
                    <a:pt x="1418" y="352"/>
                  </a:moveTo>
                  <a:cubicBezTo>
                    <a:pt x="1417" y="348"/>
                    <a:pt x="1423" y="346"/>
                    <a:pt x="1418" y="345"/>
                  </a:cubicBezTo>
                  <a:cubicBezTo>
                    <a:pt x="1420" y="342"/>
                    <a:pt x="1424" y="342"/>
                    <a:pt x="1423" y="338"/>
                  </a:cubicBezTo>
                  <a:cubicBezTo>
                    <a:pt x="1428" y="340"/>
                    <a:pt x="1430" y="344"/>
                    <a:pt x="1426" y="347"/>
                  </a:cubicBezTo>
                  <a:cubicBezTo>
                    <a:pt x="1427" y="352"/>
                    <a:pt x="1433" y="344"/>
                    <a:pt x="1440" y="347"/>
                  </a:cubicBezTo>
                  <a:cubicBezTo>
                    <a:pt x="1439" y="354"/>
                    <a:pt x="1426" y="351"/>
                    <a:pt x="1418" y="352"/>
                  </a:cubicBezTo>
                  <a:close/>
                  <a:moveTo>
                    <a:pt x="1433" y="281"/>
                  </a:moveTo>
                  <a:cubicBezTo>
                    <a:pt x="1435" y="277"/>
                    <a:pt x="1438" y="281"/>
                    <a:pt x="1441" y="281"/>
                  </a:cubicBezTo>
                  <a:cubicBezTo>
                    <a:pt x="1440" y="285"/>
                    <a:pt x="1437" y="281"/>
                    <a:pt x="1433" y="281"/>
                  </a:cubicBezTo>
                  <a:close/>
                  <a:moveTo>
                    <a:pt x="1438" y="250"/>
                  </a:moveTo>
                  <a:cubicBezTo>
                    <a:pt x="1435" y="241"/>
                    <a:pt x="1455" y="254"/>
                    <a:pt x="1452" y="241"/>
                  </a:cubicBezTo>
                  <a:cubicBezTo>
                    <a:pt x="1457" y="241"/>
                    <a:pt x="1454" y="249"/>
                    <a:pt x="1460" y="248"/>
                  </a:cubicBezTo>
                  <a:cubicBezTo>
                    <a:pt x="1459" y="250"/>
                    <a:pt x="1439" y="253"/>
                    <a:pt x="1438" y="250"/>
                  </a:cubicBezTo>
                  <a:close/>
                  <a:moveTo>
                    <a:pt x="1456" y="330"/>
                  </a:moveTo>
                  <a:cubicBezTo>
                    <a:pt x="1459" y="331"/>
                    <a:pt x="1462" y="333"/>
                    <a:pt x="1462" y="337"/>
                  </a:cubicBezTo>
                  <a:cubicBezTo>
                    <a:pt x="1458" y="336"/>
                    <a:pt x="1456" y="334"/>
                    <a:pt x="1456" y="330"/>
                  </a:cubicBezTo>
                  <a:close/>
                  <a:moveTo>
                    <a:pt x="1485" y="250"/>
                  </a:moveTo>
                  <a:cubicBezTo>
                    <a:pt x="1485" y="251"/>
                    <a:pt x="1485" y="253"/>
                    <a:pt x="1485" y="254"/>
                  </a:cubicBezTo>
                  <a:cubicBezTo>
                    <a:pt x="1482" y="254"/>
                    <a:pt x="1483" y="251"/>
                    <a:pt x="1482" y="250"/>
                  </a:cubicBezTo>
                  <a:cubicBezTo>
                    <a:pt x="1477" y="251"/>
                    <a:pt x="1466" y="247"/>
                    <a:pt x="1466" y="252"/>
                  </a:cubicBezTo>
                  <a:cubicBezTo>
                    <a:pt x="1462" y="252"/>
                    <a:pt x="1463" y="246"/>
                    <a:pt x="1463" y="243"/>
                  </a:cubicBezTo>
                  <a:cubicBezTo>
                    <a:pt x="1468" y="244"/>
                    <a:pt x="1471" y="242"/>
                    <a:pt x="1471" y="238"/>
                  </a:cubicBezTo>
                  <a:cubicBezTo>
                    <a:pt x="1476" y="242"/>
                    <a:pt x="1478" y="248"/>
                    <a:pt x="1487" y="247"/>
                  </a:cubicBezTo>
                  <a:cubicBezTo>
                    <a:pt x="1488" y="249"/>
                    <a:pt x="1486" y="249"/>
                    <a:pt x="1485" y="250"/>
                  </a:cubicBezTo>
                  <a:close/>
                  <a:moveTo>
                    <a:pt x="1493" y="233"/>
                  </a:moveTo>
                  <a:cubicBezTo>
                    <a:pt x="1505" y="234"/>
                    <a:pt x="1490" y="247"/>
                    <a:pt x="1493" y="233"/>
                  </a:cubicBezTo>
                  <a:close/>
                  <a:moveTo>
                    <a:pt x="1529" y="251"/>
                  </a:moveTo>
                  <a:cubicBezTo>
                    <a:pt x="1523" y="254"/>
                    <a:pt x="1525" y="247"/>
                    <a:pt x="1523" y="247"/>
                  </a:cubicBezTo>
                  <a:cubicBezTo>
                    <a:pt x="1516" y="244"/>
                    <a:pt x="1502" y="249"/>
                    <a:pt x="1493" y="247"/>
                  </a:cubicBezTo>
                  <a:cubicBezTo>
                    <a:pt x="1492" y="243"/>
                    <a:pt x="1499" y="246"/>
                    <a:pt x="1501" y="245"/>
                  </a:cubicBezTo>
                  <a:cubicBezTo>
                    <a:pt x="1504" y="242"/>
                    <a:pt x="1505" y="245"/>
                    <a:pt x="1512" y="242"/>
                  </a:cubicBezTo>
                  <a:cubicBezTo>
                    <a:pt x="1513" y="242"/>
                    <a:pt x="1517" y="243"/>
                    <a:pt x="1518" y="242"/>
                  </a:cubicBezTo>
                  <a:cubicBezTo>
                    <a:pt x="1519" y="240"/>
                    <a:pt x="1519" y="240"/>
                    <a:pt x="1520" y="242"/>
                  </a:cubicBezTo>
                  <a:cubicBezTo>
                    <a:pt x="1525" y="242"/>
                    <a:pt x="1526" y="239"/>
                    <a:pt x="1531" y="239"/>
                  </a:cubicBezTo>
                  <a:cubicBezTo>
                    <a:pt x="1532" y="245"/>
                    <a:pt x="1526" y="245"/>
                    <a:pt x="1529" y="251"/>
                  </a:cubicBezTo>
                  <a:close/>
                  <a:moveTo>
                    <a:pt x="1606" y="125"/>
                  </a:moveTo>
                  <a:cubicBezTo>
                    <a:pt x="1608" y="119"/>
                    <a:pt x="1609" y="131"/>
                    <a:pt x="1609" y="132"/>
                  </a:cubicBezTo>
                  <a:cubicBezTo>
                    <a:pt x="1608" y="137"/>
                    <a:pt x="1604" y="134"/>
                    <a:pt x="1606" y="125"/>
                  </a:cubicBezTo>
                  <a:close/>
                  <a:moveTo>
                    <a:pt x="1536" y="181"/>
                  </a:moveTo>
                  <a:cubicBezTo>
                    <a:pt x="1539" y="181"/>
                    <a:pt x="1541" y="180"/>
                    <a:pt x="1544" y="180"/>
                  </a:cubicBezTo>
                  <a:cubicBezTo>
                    <a:pt x="1546" y="182"/>
                    <a:pt x="1547" y="178"/>
                    <a:pt x="1547" y="178"/>
                  </a:cubicBezTo>
                  <a:cubicBezTo>
                    <a:pt x="1560" y="181"/>
                    <a:pt x="1525" y="188"/>
                    <a:pt x="1536" y="181"/>
                  </a:cubicBezTo>
                  <a:close/>
                  <a:moveTo>
                    <a:pt x="1566" y="340"/>
                  </a:moveTo>
                  <a:cubicBezTo>
                    <a:pt x="1566" y="338"/>
                    <a:pt x="1566" y="337"/>
                    <a:pt x="1566" y="335"/>
                  </a:cubicBezTo>
                  <a:cubicBezTo>
                    <a:pt x="1571" y="334"/>
                    <a:pt x="1574" y="335"/>
                    <a:pt x="1574" y="340"/>
                  </a:cubicBezTo>
                  <a:cubicBezTo>
                    <a:pt x="1571" y="340"/>
                    <a:pt x="1569" y="340"/>
                    <a:pt x="1566" y="340"/>
                  </a:cubicBezTo>
                  <a:close/>
                  <a:moveTo>
                    <a:pt x="1582" y="342"/>
                  </a:moveTo>
                  <a:cubicBezTo>
                    <a:pt x="1581" y="343"/>
                    <a:pt x="1574" y="336"/>
                    <a:pt x="1580" y="333"/>
                  </a:cubicBezTo>
                  <a:cubicBezTo>
                    <a:pt x="1582" y="332"/>
                    <a:pt x="1584" y="340"/>
                    <a:pt x="1582" y="342"/>
                  </a:cubicBezTo>
                  <a:close/>
                  <a:moveTo>
                    <a:pt x="1573" y="248"/>
                  </a:moveTo>
                  <a:cubicBezTo>
                    <a:pt x="1569" y="250"/>
                    <a:pt x="1569" y="237"/>
                    <a:pt x="1564" y="241"/>
                  </a:cubicBezTo>
                  <a:cubicBezTo>
                    <a:pt x="1564" y="241"/>
                    <a:pt x="1565" y="243"/>
                    <a:pt x="1564" y="244"/>
                  </a:cubicBezTo>
                  <a:cubicBezTo>
                    <a:pt x="1559" y="245"/>
                    <a:pt x="1545" y="243"/>
                    <a:pt x="1537" y="244"/>
                  </a:cubicBezTo>
                  <a:cubicBezTo>
                    <a:pt x="1537" y="236"/>
                    <a:pt x="1545" y="242"/>
                    <a:pt x="1548" y="241"/>
                  </a:cubicBezTo>
                  <a:cubicBezTo>
                    <a:pt x="1550" y="241"/>
                    <a:pt x="1550" y="239"/>
                    <a:pt x="1551" y="239"/>
                  </a:cubicBezTo>
                  <a:cubicBezTo>
                    <a:pt x="1553" y="239"/>
                    <a:pt x="1557" y="243"/>
                    <a:pt x="1556" y="237"/>
                  </a:cubicBezTo>
                  <a:cubicBezTo>
                    <a:pt x="1558" y="238"/>
                    <a:pt x="1559" y="238"/>
                    <a:pt x="1561" y="239"/>
                  </a:cubicBezTo>
                  <a:cubicBezTo>
                    <a:pt x="1562" y="239"/>
                    <a:pt x="1566" y="238"/>
                    <a:pt x="1567" y="239"/>
                  </a:cubicBezTo>
                  <a:cubicBezTo>
                    <a:pt x="1569" y="241"/>
                    <a:pt x="1568" y="240"/>
                    <a:pt x="1578" y="239"/>
                  </a:cubicBezTo>
                  <a:cubicBezTo>
                    <a:pt x="1580" y="238"/>
                    <a:pt x="1588" y="240"/>
                    <a:pt x="1589" y="238"/>
                  </a:cubicBezTo>
                  <a:cubicBezTo>
                    <a:pt x="1592" y="235"/>
                    <a:pt x="1589" y="239"/>
                    <a:pt x="1600" y="238"/>
                  </a:cubicBezTo>
                  <a:cubicBezTo>
                    <a:pt x="1605" y="238"/>
                    <a:pt x="1606" y="236"/>
                    <a:pt x="1611" y="236"/>
                  </a:cubicBezTo>
                  <a:cubicBezTo>
                    <a:pt x="1613" y="249"/>
                    <a:pt x="1568" y="231"/>
                    <a:pt x="1573" y="248"/>
                  </a:cubicBezTo>
                  <a:close/>
                  <a:moveTo>
                    <a:pt x="1593" y="337"/>
                  </a:moveTo>
                  <a:cubicBezTo>
                    <a:pt x="1596" y="328"/>
                    <a:pt x="1599" y="337"/>
                    <a:pt x="1604" y="337"/>
                  </a:cubicBezTo>
                  <a:cubicBezTo>
                    <a:pt x="1606" y="337"/>
                    <a:pt x="1609" y="333"/>
                    <a:pt x="1612" y="334"/>
                  </a:cubicBezTo>
                  <a:cubicBezTo>
                    <a:pt x="1610" y="343"/>
                    <a:pt x="1601" y="336"/>
                    <a:pt x="1593" y="337"/>
                  </a:cubicBezTo>
                  <a:close/>
                  <a:moveTo>
                    <a:pt x="1619" y="238"/>
                  </a:moveTo>
                  <a:cubicBezTo>
                    <a:pt x="1618" y="242"/>
                    <a:pt x="1626" y="239"/>
                    <a:pt x="1627" y="240"/>
                  </a:cubicBezTo>
                  <a:cubicBezTo>
                    <a:pt x="1630" y="244"/>
                    <a:pt x="1618" y="241"/>
                    <a:pt x="1619" y="247"/>
                  </a:cubicBezTo>
                  <a:cubicBezTo>
                    <a:pt x="1615" y="245"/>
                    <a:pt x="1616" y="237"/>
                    <a:pt x="1613" y="233"/>
                  </a:cubicBezTo>
                  <a:cubicBezTo>
                    <a:pt x="1618" y="237"/>
                    <a:pt x="1623" y="231"/>
                    <a:pt x="1633" y="233"/>
                  </a:cubicBezTo>
                  <a:cubicBezTo>
                    <a:pt x="1636" y="241"/>
                    <a:pt x="1624" y="237"/>
                    <a:pt x="1619" y="238"/>
                  </a:cubicBezTo>
                  <a:close/>
                  <a:moveTo>
                    <a:pt x="1642" y="320"/>
                  </a:moveTo>
                  <a:cubicBezTo>
                    <a:pt x="1644" y="319"/>
                    <a:pt x="1647" y="313"/>
                    <a:pt x="1648" y="313"/>
                  </a:cubicBezTo>
                  <a:cubicBezTo>
                    <a:pt x="1651" y="312"/>
                    <a:pt x="1651" y="320"/>
                    <a:pt x="1642" y="320"/>
                  </a:cubicBezTo>
                  <a:close/>
                  <a:moveTo>
                    <a:pt x="1644" y="249"/>
                  </a:moveTo>
                  <a:cubicBezTo>
                    <a:pt x="1652" y="240"/>
                    <a:pt x="1653" y="256"/>
                    <a:pt x="1644" y="249"/>
                  </a:cubicBezTo>
                  <a:close/>
                  <a:moveTo>
                    <a:pt x="1638" y="245"/>
                  </a:moveTo>
                  <a:cubicBezTo>
                    <a:pt x="1634" y="243"/>
                    <a:pt x="1638" y="242"/>
                    <a:pt x="1641" y="242"/>
                  </a:cubicBezTo>
                  <a:cubicBezTo>
                    <a:pt x="1642" y="238"/>
                    <a:pt x="1638" y="237"/>
                    <a:pt x="1638" y="240"/>
                  </a:cubicBezTo>
                  <a:cubicBezTo>
                    <a:pt x="1637" y="241"/>
                    <a:pt x="1635" y="236"/>
                    <a:pt x="1635" y="235"/>
                  </a:cubicBezTo>
                  <a:cubicBezTo>
                    <a:pt x="1636" y="234"/>
                    <a:pt x="1640" y="236"/>
                    <a:pt x="1641" y="235"/>
                  </a:cubicBezTo>
                  <a:cubicBezTo>
                    <a:pt x="1642" y="235"/>
                    <a:pt x="1640" y="231"/>
                    <a:pt x="1641" y="230"/>
                  </a:cubicBezTo>
                  <a:cubicBezTo>
                    <a:pt x="1644" y="229"/>
                    <a:pt x="1643" y="235"/>
                    <a:pt x="1644" y="235"/>
                  </a:cubicBezTo>
                  <a:cubicBezTo>
                    <a:pt x="1644" y="236"/>
                    <a:pt x="1650" y="232"/>
                    <a:pt x="1652" y="235"/>
                  </a:cubicBezTo>
                  <a:cubicBezTo>
                    <a:pt x="1649" y="238"/>
                    <a:pt x="1637" y="240"/>
                    <a:pt x="1652" y="240"/>
                  </a:cubicBezTo>
                  <a:cubicBezTo>
                    <a:pt x="1648" y="247"/>
                    <a:pt x="1643" y="241"/>
                    <a:pt x="1638" y="245"/>
                  </a:cubicBezTo>
                  <a:close/>
                  <a:moveTo>
                    <a:pt x="1739" y="203"/>
                  </a:moveTo>
                  <a:cubicBezTo>
                    <a:pt x="1739" y="206"/>
                    <a:pt x="1731" y="204"/>
                    <a:pt x="1731" y="208"/>
                  </a:cubicBezTo>
                  <a:cubicBezTo>
                    <a:pt x="1722" y="205"/>
                    <a:pt x="1734" y="201"/>
                    <a:pt x="1739" y="203"/>
                  </a:cubicBezTo>
                  <a:close/>
                  <a:moveTo>
                    <a:pt x="1656" y="331"/>
                  </a:moveTo>
                  <a:cubicBezTo>
                    <a:pt x="1656" y="330"/>
                    <a:pt x="1656" y="328"/>
                    <a:pt x="1656" y="327"/>
                  </a:cubicBezTo>
                  <a:cubicBezTo>
                    <a:pt x="1660" y="326"/>
                    <a:pt x="1664" y="326"/>
                    <a:pt x="1667" y="326"/>
                  </a:cubicBezTo>
                  <a:cubicBezTo>
                    <a:pt x="1670" y="333"/>
                    <a:pt x="1661" y="331"/>
                    <a:pt x="1656" y="331"/>
                  </a:cubicBezTo>
                  <a:close/>
                  <a:moveTo>
                    <a:pt x="1662" y="315"/>
                  </a:moveTo>
                  <a:cubicBezTo>
                    <a:pt x="1663" y="315"/>
                    <a:pt x="1665" y="315"/>
                    <a:pt x="1667" y="315"/>
                  </a:cubicBezTo>
                  <a:cubicBezTo>
                    <a:pt x="1668" y="321"/>
                    <a:pt x="1647" y="314"/>
                    <a:pt x="1662" y="315"/>
                  </a:cubicBezTo>
                  <a:close/>
                  <a:moveTo>
                    <a:pt x="1669" y="289"/>
                  </a:moveTo>
                  <a:cubicBezTo>
                    <a:pt x="1662" y="297"/>
                    <a:pt x="1652" y="284"/>
                    <a:pt x="1669" y="289"/>
                  </a:cubicBezTo>
                  <a:close/>
                  <a:moveTo>
                    <a:pt x="1663" y="268"/>
                  </a:moveTo>
                  <a:cubicBezTo>
                    <a:pt x="1664" y="268"/>
                    <a:pt x="1666" y="263"/>
                    <a:pt x="1666" y="263"/>
                  </a:cubicBezTo>
                  <a:cubicBezTo>
                    <a:pt x="1666" y="263"/>
                    <a:pt x="1666" y="261"/>
                    <a:pt x="1666" y="261"/>
                  </a:cubicBezTo>
                  <a:cubicBezTo>
                    <a:pt x="1676" y="259"/>
                    <a:pt x="1667" y="271"/>
                    <a:pt x="1663" y="268"/>
                  </a:cubicBezTo>
                  <a:close/>
                  <a:moveTo>
                    <a:pt x="1697" y="293"/>
                  </a:moveTo>
                  <a:cubicBezTo>
                    <a:pt x="1695" y="297"/>
                    <a:pt x="1694" y="292"/>
                    <a:pt x="1694" y="288"/>
                  </a:cubicBezTo>
                  <a:cubicBezTo>
                    <a:pt x="1686" y="285"/>
                    <a:pt x="1700" y="286"/>
                    <a:pt x="1697" y="293"/>
                  </a:cubicBezTo>
                  <a:close/>
                  <a:moveTo>
                    <a:pt x="1705" y="269"/>
                  </a:moveTo>
                  <a:cubicBezTo>
                    <a:pt x="1700" y="269"/>
                    <a:pt x="1698" y="265"/>
                    <a:pt x="1699" y="260"/>
                  </a:cubicBezTo>
                  <a:cubicBezTo>
                    <a:pt x="1704" y="260"/>
                    <a:pt x="1705" y="264"/>
                    <a:pt x="1705" y="269"/>
                  </a:cubicBezTo>
                  <a:close/>
                  <a:moveTo>
                    <a:pt x="1718" y="269"/>
                  </a:moveTo>
                  <a:cubicBezTo>
                    <a:pt x="1713" y="268"/>
                    <a:pt x="1716" y="260"/>
                    <a:pt x="1710" y="260"/>
                  </a:cubicBezTo>
                  <a:cubicBezTo>
                    <a:pt x="1710" y="257"/>
                    <a:pt x="1715" y="258"/>
                    <a:pt x="1718" y="257"/>
                  </a:cubicBezTo>
                  <a:cubicBezTo>
                    <a:pt x="1717" y="265"/>
                    <a:pt x="1723" y="264"/>
                    <a:pt x="1718" y="269"/>
                  </a:cubicBezTo>
                  <a:close/>
                  <a:moveTo>
                    <a:pt x="1718" y="238"/>
                  </a:moveTo>
                  <a:cubicBezTo>
                    <a:pt x="1720" y="234"/>
                    <a:pt x="1726" y="233"/>
                    <a:pt x="1734" y="234"/>
                  </a:cubicBezTo>
                  <a:cubicBezTo>
                    <a:pt x="1731" y="237"/>
                    <a:pt x="1725" y="238"/>
                    <a:pt x="1718" y="238"/>
                  </a:cubicBezTo>
                  <a:close/>
                  <a:moveTo>
                    <a:pt x="1738" y="309"/>
                  </a:moveTo>
                  <a:cubicBezTo>
                    <a:pt x="1739" y="306"/>
                    <a:pt x="1742" y="304"/>
                    <a:pt x="1746" y="304"/>
                  </a:cubicBezTo>
                  <a:cubicBezTo>
                    <a:pt x="1745" y="307"/>
                    <a:pt x="1743" y="309"/>
                    <a:pt x="1738" y="309"/>
                  </a:cubicBezTo>
                  <a:close/>
                  <a:moveTo>
                    <a:pt x="1747" y="318"/>
                  </a:moveTo>
                  <a:cubicBezTo>
                    <a:pt x="1747" y="316"/>
                    <a:pt x="1747" y="315"/>
                    <a:pt x="1747" y="313"/>
                  </a:cubicBezTo>
                  <a:cubicBezTo>
                    <a:pt x="1748" y="313"/>
                    <a:pt x="1750" y="313"/>
                    <a:pt x="1752" y="313"/>
                  </a:cubicBezTo>
                  <a:cubicBezTo>
                    <a:pt x="1752" y="315"/>
                    <a:pt x="1752" y="316"/>
                    <a:pt x="1752" y="318"/>
                  </a:cubicBezTo>
                  <a:cubicBezTo>
                    <a:pt x="1750" y="318"/>
                    <a:pt x="1748" y="318"/>
                    <a:pt x="1747" y="318"/>
                  </a:cubicBezTo>
                  <a:close/>
                  <a:moveTo>
                    <a:pt x="1745" y="236"/>
                  </a:moveTo>
                  <a:cubicBezTo>
                    <a:pt x="1752" y="231"/>
                    <a:pt x="1741" y="225"/>
                    <a:pt x="1740" y="233"/>
                  </a:cubicBezTo>
                  <a:cubicBezTo>
                    <a:pt x="1733" y="231"/>
                    <a:pt x="1714" y="229"/>
                    <a:pt x="1712" y="234"/>
                  </a:cubicBezTo>
                  <a:cubicBezTo>
                    <a:pt x="1712" y="234"/>
                    <a:pt x="1713" y="239"/>
                    <a:pt x="1712" y="239"/>
                  </a:cubicBezTo>
                  <a:cubicBezTo>
                    <a:pt x="1708" y="239"/>
                    <a:pt x="1712" y="233"/>
                    <a:pt x="1709" y="232"/>
                  </a:cubicBezTo>
                  <a:cubicBezTo>
                    <a:pt x="1705" y="230"/>
                    <a:pt x="1701" y="234"/>
                    <a:pt x="1699" y="234"/>
                  </a:cubicBezTo>
                  <a:cubicBezTo>
                    <a:pt x="1694" y="235"/>
                    <a:pt x="1683" y="231"/>
                    <a:pt x="1685" y="239"/>
                  </a:cubicBezTo>
                  <a:cubicBezTo>
                    <a:pt x="1683" y="237"/>
                    <a:pt x="1677" y="236"/>
                    <a:pt x="1677" y="239"/>
                  </a:cubicBezTo>
                  <a:cubicBezTo>
                    <a:pt x="1674" y="239"/>
                    <a:pt x="1675" y="237"/>
                    <a:pt x="1677" y="237"/>
                  </a:cubicBezTo>
                  <a:cubicBezTo>
                    <a:pt x="1678" y="235"/>
                    <a:pt x="1670" y="233"/>
                    <a:pt x="1668" y="235"/>
                  </a:cubicBezTo>
                  <a:cubicBezTo>
                    <a:pt x="1665" y="237"/>
                    <a:pt x="1667" y="234"/>
                    <a:pt x="1663" y="235"/>
                  </a:cubicBezTo>
                  <a:cubicBezTo>
                    <a:pt x="1660" y="235"/>
                    <a:pt x="1658" y="235"/>
                    <a:pt x="1657" y="237"/>
                  </a:cubicBezTo>
                  <a:cubicBezTo>
                    <a:pt x="1653" y="236"/>
                    <a:pt x="1659" y="234"/>
                    <a:pt x="1657" y="230"/>
                  </a:cubicBezTo>
                  <a:cubicBezTo>
                    <a:pt x="1660" y="229"/>
                    <a:pt x="1660" y="232"/>
                    <a:pt x="1660" y="232"/>
                  </a:cubicBezTo>
                  <a:cubicBezTo>
                    <a:pt x="1663" y="233"/>
                    <a:pt x="1663" y="230"/>
                    <a:pt x="1663" y="230"/>
                  </a:cubicBezTo>
                  <a:cubicBezTo>
                    <a:pt x="1666" y="230"/>
                    <a:pt x="1669" y="233"/>
                    <a:pt x="1671" y="232"/>
                  </a:cubicBezTo>
                  <a:cubicBezTo>
                    <a:pt x="1675" y="231"/>
                    <a:pt x="1680" y="223"/>
                    <a:pt x="1687" y="230"/>
                  </a:cubicBezTo>
                  <a:cubicBezTo>
                    <a:pt x="1691" y="229"/>
                    <a:pt x="1690" y="225"/>
                    <a:pt x="1690" y="223"/>
                  </a:cubicBezTo>
                  <a:cubicBezTo>
                    <a:pt x="1696" y="223"/>
                    <a:pt x="1699" y="222"/>
                    <a:pt x="1698" y="218"/>
                  </a:cubicBezTo>
                  <a:cubicBezTo>
                    <a:pt x="1707" y="219"/>
                    <a:pt x="1704" y="228"/>
                    <a:pt x="1693" y="225"/>
                  </a:cubicBezTo>
                  <a:cubicBezTo>
                    <a:pt x="1692" y="229"/>
                    <a:pt x="1696" y="229"/>
                    <a:pt x="1696" y="232"/>
                  </a:cubicBezTo>
                  <a:cubicBezTo>
                    <a:pt x="1699" y="233"/>
                    <a:pt x="1697" y="228"/>
                    <a:pt x="1698" y="227"/>
                  </a:cubicBezTo>
                  <a:cubicBezTo>
                    <a:pt x="1701" y="226"/>
                    <a:pt x="1701" y="229"/>
                    <a:pt x="1701" y="229"/>
                  </a:cubicBezTo>
                  <a:cubicBezTo>
                    <a:pt x="1701" y="229"/>
                    <a:pt x="1710" y="227"/>
                    <a:pt x="1712" y="227"/>
                  </a:cubicBezTo>
                  <a:cubicBezTo>
                    <a:pt x="1714" y="226"/>
                    <a:pt x="1719" y="222"/>
                    <a:pt x="1720" y="229"/>
                  </a:cubicBezTo>
                  <a:cubicBezTo>
                    <a:pt x="1723" y="230"/>
                    <a:pt x="1722" y="225"/>
                    <a:pt x="1723" y="224"/>
                  </a:cubicBezTo>
                  <a:cubicBezTo>
                    <a:pt x="1734" y="222"/>
                    <a:pt x="1746" y="228"/>
                    <a:pt x="1756" y="224"/>
                  </a:cubicBezTo>
                  <a:cubicBezTo>
                    <a:pt x="1754" y="229"/>
                    <a:pt x="1753" y="235"/>
                    <a:pt x="1745" y="236"/>
                  </a:cubicBezTo>
                  <a:close/>
                  <a:moveTo>
                    <a:pt x="1753" y="186"/>
                  </a:moveTo>
                  <a:cubicBezTo>
                    <a:pt x="1755" y="187"/>
                    <a:pt x="1755" y="189"/>
                    <a:pt x="1758" y="188"/>
                  </a:cubicBezTo>
                  <a:cubicBezTo>
                    <a:pt x="1758" y="194"/>
                    <a:pt x="1745" y="191"/>
                    <a:pt x="1753" y="186"/>
                  </a:cubicBezTo>
                  <a:close/>
                  <a:moveTo>
                    <a:pt x="1831" y="110"/>
                  </a:moveTo>
                  <a:cubicBezTo>
                    <a:pt x="1831" y="108"/>
                    <a:pt x="1831" y="107"/>
                    <a:pt x="1831" y="105"/>
                  </a:cubicBezTo>
                  <a:cubicBezTo>
                    <a:pt x="1837" y="104"/>
                    <a:pt x="1832" y="113"/>
                    <a:pt x="1834" y="117"/>
                  </a:cubicBezTo>
                  <a:cubicBezTo>
                    <a:pt x="1831" y="115"/>
                    <a:pt x="1829" y="114"/>
                    <a:pt x="1828" y="117"/>
                  </a:cubicBezTo>
                  <a:cubicBezTo>
                    <a:pt x="1819" y="115"/>
                    <a:pt x="1831" y="112"/>
                    <a:pt x="1831" y="110"/>
                  </a:cubicBezTo>
                  <a:close/>
                  <a:moveTo>
                    <a:pt x="1792" y="230"/>
                  </a:moveTo>
                  <a:cubicBezTo>
                    <a:pt x="1789" y="237"/>
                    <a:pt x="1781" y="233"/>
                    <a:pt x="1775" y="233"/>
                  </a:cubicBezTo>
                  <a:cubicBezTo>
                    <a:pt x="1776" y="228"/>
                    <a:pt x="1787" y="232"/>
                    <a:pt x="1792" y="230"/>
                  </a:cubicBezTo>
                  <a:close/>
                  <a:moveTo>
                    <a:pt x="1779" y="259"/>
                  </a:moveTo>
                  <a:cubicBezTo>
                    <a:pt x="1776" y="258"/>
                    <a:pt x="1776" y="256"/>
                    <a:pt x="1773" y="256"/>
                  </a:cubicBezTo>
                  <a:cubicBezTo>
                    <a:pt x="1773" y="255"/>
                    <a:pt x="1773" y="253"/>
                    <a:pt x="1773" y="252"/>
                  </a:cubicBezTo>
                  <a:cubicBezTo>
                    <a:pt x="1779" y="250"/>
                    <a:pt x="1778" y="255"/>
                    <a:pt x="1779" y="259"/>
                  </a:cubicBezTo>
                  <a:close/>
                  <a:moveTo>
                    <a:pt x="1771" y="310"/>
                  </a:moveTo>
                  <a:cubicBezTo>
                    <a:pt x="1777" y="309"/>
                    <a:pt x="1775" y="315"/>
                    <a:pt x="1780" y="315"/>
                  </a:cubicBezTo>
                  <a:cubicBezTo>
                    <a:pt x="1780" y="319"/>
                    <a:pt x="1769" y="315"/>
                    <a:pt x="1771" y="310"/>
                  </a:cubicBezTo>
                  <a:close/>
                  <a:moveTo>
                    <a:pt x="1790" y="280"/>
                  </a:moveTo>
                  <a:cubicBezTo>
                    <a:pt x="1788" y="283"/>
                    <a:pt x="1792" y="288"/>
                    <a:pt x="1785" y="287"/>
                  </a:cubicBezTo>
                  <a:cubicBezTo>
                    <a:pt x="1789" y="283"/>
                    <a:pt x="1786" y="274"/>
                    <a:pt x="1795" y="275"/>
                  </a:cubicBezTo>
                  <a:cubicBezTo>
                    <a:pt x="1796" y="278"/>
                    <a:pt x="1791" y="278"/>
                    <a:pt x="1790" y="280"/>
                  </a:cubicBezTo>
                  <a:close/>
                  <a:moveTo>
                    <a:pt x="1789" y="226"/>
                  </a:moveTo>
                  <a:cubicBezTo>
                    <a:pt x="1787" y="225"/>
                    <a:pt x="1786" y="226"/>
                    <a:pt x="1786" y="228"/>
                  </a:cubicBezTo>
                  <a:cubicBezTo>
                    <a:pt x="1784" y="228"/>
                    <a:pt x="1784" y="225"/>
                    <a:pt x="1783" y="223"/>
                  </a:cubicBezTo>
                  <a:cubicBezTo>
                    <a:pt x="1785" y="223"/>
                    <a:pt x="1787" y="223"/>
                    <a:pt x="1789" y="223"/>
                  </a:cubicBezTo>
                  <a:cubicBezTo>
                    <a:pt x="1787" y="218"/>
                    <a:pt x="1781" y="219"/>
                    <a:pt x="1786" y="214"/>
                  </a:cubicBezTo>
                  <a:cubicBezTo>
                    <a:pt x="1791" y="214"/>
                    <a:pt x="1792" y="218"/>
                    <a:pt x="1792" y="223"/>
                  </a:cubicBezTo>
                  <a:cubicBezTo>
                    <a:pt x="1798" y="219"/>
                    <a:pt x="1803" y="224"/>
                    <a:pt x="1805" y="221"/>
                  </a:cubicBezTo>
                  <a:cubicBezTo>
                    <a:pt x="1809" y="222"/>
                    <a:pt x="1807" y="224"/>
                    <a:pt x="1805" y="225"/>
                  </a:cubicBezTo>
                  <a:cubicBezTo>
                    <a:pt x="1799" y="229"/>
                    <a:pt x="1799" y="225"/>
                    <a:pt x="1789" y="226"/>
                  </a:cubicBezTo>
                  <a:close/>
                  <a:moveTo>
                    <a:pt x="1800" y="235"/>
                  </a:moveTo>
                  <a:cubicBezTo>
                    <a:pt x="1792" y="232"/>
                    <a:pt x="1806" y="225"/>
                    <a:pt x="1808" y="230"/>
                  </a:cubicBezTo>
                  <a:cubicBezTo>
                    <a:pt x="1808" y="233"/>
                    <a:pt x="1800" y="231"/>
                    <a:pt x="1800" y="235"/>
                  </a:cubicBezTo>
                  <a:close/>
                  <a:moveTo>
                    <a:pt x="1812" y="314"/>
                  </a:moveTo>
                  <a:cubicBezTo>
                    <a:pt x="1808" y="312"/>
                    <a:pt x="1806" y="308"/>
                    <a:pt x="1810" y="305"/>
                  </a:cubicBezTo>
                  <a:cubicBezTo>
                    <a:pt x="1814" y="307"/>
                    <a:pt x="1816" y="311"/>
                    <a:pt x="1812" y="314"/>
                  </a:cubicBezTo>
                  <a:close/>
                  <a:moveTo>
                    <a:pt x="1811" y="258"/>
                  </a:moveTo>
                  <a:cubicBezTo>
                    <a:pt x="1811" y="256"/>
                    <a:pt x="1811" y="255"/>
                    <a:pt x="1811" y="253"/>
                  </a:cubicBezTo>
                  <a:cubicBezTo>
                    <a:pt x="1817" y="252"/>
                    <a:pt x="1817" y="257"/>
                    <a:pt x="1817" y="260"/>
                  </a:cubicBezTo>
                  <a:cubicBezTo>
                    <a:pt x="1815" y="260"/>
                    <a:pt x="1814" y="258"/>
                    <a:pt x="1811" y="258"/>
                  </a:cubicBezTo>
                  <a:close/>
                  <a:moveTo>
                    <a:pt x="1822" y="225"/>
                  </a:moveTo>
                  <a:cubicBezTo>
                    <a:pt x="1819" y="225"/>
                    <a:pt x="1816" y="225"/>
                    <a:pt x="1814" y="225"/>
                  </a:cubicBezTo>
                  <a:cubicBezTo>
                    <a:pt x="1816" y="218"/>
                    <a:pt x="1810" y="219"/>
                    <a:pt x="1811" y="213"/>
                  </a:cubicBezTo>
                  <a:cubicBezTo>
                    <a:pt x="1815" y="212"/>
                    <a:pt x="1823" y="218"/>
                    <a:pt x="1816" y="218"/>
                  </a:cubicBezTo>
                  <a:cubicBezTo>
                    <a:pt x="1818" y="220"/>
                    <a:pt x="1823" y="220"/>
                    <a:pt x="1822" y="225"/>
                  </a:cubicBezTo>
                  <a:close/>
                  <a:moveTo>
                    <a:pt x="1815" y="155"/>
                  </a:moveTo>
                  <a:cubicBezTo>
                    <a:pt x="1817" y="153"/>
                    <a:pt x="1818" y="151"/>
                    <a:pt x="1818" y="147"/>
                  </a:cubicBezTo>
                  <a:cubicBezTo>
                    <a:pt x="1821" y="148"/>
                    <a:pt x="1822" y="152"/>
                    <a:pt x="1826" y="152"/>
                  </a:cubicBezTo>
                  <a:cubicBezTo>
                    <a:pt x="1825" y="155"/>
                    <a:pt x="1819" y="154"/>
                    <a:pt x="1815" y="155"/>
                  </a:cubicBezTo>
                  <a:close/>
                  <a:moveTo>
                    <a:pt x="1829" y="147"/>
                  </a:moveTo>
                  <a:cubicBezTo>
                    <a:pt x="1832" y="148"/>
                    <a:pt x="1831" y="152"/>
                    <a:pt x="1834" y="152"/>
                  </a:cubicBezTo>
                  <a:cubicBezTo>
                    <a:pt x="1833" y="158"/>
                    <a:pt x="1826" y="152"/>
                    <a:pt x="1829" y="147"/>
                  </a:cubicBezTo>
                  <a:close/>
                  <a:moveTo>
                    <a:pt x="1830" y="229"/>
                  </a:moveTo>
                  <a:cubicBezTo>
                    <a:pt x="1826" y="225"/>
                    <a:pt x="1830" y="226"/>
                    <a:pt x="1830" y="220"/>
                  </a:cubicBezTo>
                  <a:cubicBezTo>
                    <a:pt x="1835" y="220"/>
                    <a:pt x="1837" y="224"/>
                    <a:pt x="1838" y="220"/>
                  </a:cubicBezTo>
                  <a:cubicBezTo>
                    <a:pt x="1843" y="220"/>
                    <a:pt x="1836" y="230"/>
                    <a:pt x="1830" y="229"/>
                  </a:cubicBezTo>
                  <a:close/>
                  <a:moveTo>
                    <a:pt x="1850" y="137"/>
                  </a:moveTo>
                  <a:cubicBezTo>
                    <a:pt x="1850" y="140"/>
                    <a:pt x="1845" y="139"/>
                    <a:pt x="1845" y="142"/>
                  </a:cubicBezTo>
                  <a:cubicBezTo>
                    <a:pt x="1842" y="142"/>
                    <a:pt x="1843" y="139"/>
                    <a:pt x="1842" y="138"/>
                  </a:cubicBezTo>
                  <a:cubicBezTo>
                    <a:pt x="1846" y="135"/>
                    <a:pt x="1847" y="137"/>
                    <a:pt x="1850" y="137"/>
                  </a:cubicBezTo>
                  <a:close/>
                  <a:moveTo>
                    <a:pt x="1845" y="154"/>
                  </a:moveTo>
                  <a:cubicBezTo>
                    <a:pt x="1844" y="154"/>
                    <a:pt x="1842" y="151"/>
                    <a:pt x="1843" y="149"/>
                  </a:cubicBezTo>
                  <a:cubicBezTo>
                    <a:pt x="1846" y="141"/>
                    <a:pt x="1848" y="154"/>
                    <a:pt x="1845" y="154"/>
                  </a:cubicBezTo>
                  <a:close/>
                  <a:moveTo>
                    <a:pt x="1841" y="227"/>
                  </a:moveTo>
                  <a:cubicBezTo>
                    <a:pt x="1840" y="223"/>
                    <a:pt x="1847" y="224"/>
                    <a:pt x="1849" y="222"/>
                  </a:cubicBezTo>
                  <a:cubicBezTo>
                    <a:pt x="1855" y="217"/>
                    <a:pt x="1850" y="226"/>
                    <a:pt x="1841" y="227"/>
                  </a:cubicBezTo>
                  <a:close/>
                  <a:moveTo>
                    <a:pt x="1855" y="220"/>
                  </a:moveTo>
                  <a:cubicBezTo>
                    <a:pt x="1864" y="221"/>
                    <a:pt x="1851" y="235"/>
                    <a:pt x="1858" y="234"/>
                  </a:cubicBezTo>
                  <a:cubicBezTo>
                    <a:pt x="1848" y="244"/>
                    <a:pt x="1856" y="220"/>
                    <a:pt x="1852" y="229"/>
                  </a:cubicBezTo>
                  <a:cubicBezTo>
                    <a:pt x="1844" y="227"/>
                    <a:pt x="1858" y="225"/>
                    <a:pt x="1855" y="220"/>
                  </a:cubicBezTo>
                  <a:close/>
                  <a:moveTo>
                    <a:pt x="1853" y="255"/>
                  </a:moveTo>
                  <a:cubicBezTo>
                    <a:pt x="1849" y="254"/>
                    <a:pt x="1850" y="249"/>
                    <a:pt x="1850" y="246"/>
                  </a:cubicBezTo>
                  <a:cubicBezTo>
                    <a:pt x="1856" y="246"/>
                    <a:pt x="1856" y="252"/>
                    <a:pt x="1853" y="255"/>
                  </a:cubicBezTo>
                  <a:close/>
                  <a:moveTo>
                    <a:pt x="1859" y="309"/>
                  </a:moveTo>
                  <a:cubicBezTo>
                    <a:pt x="1856" y="308"/>
                    <a:pt x="1857" y="304"/>
                    <a:pt x="1853" y="304"/>
                  </a:cubicBezTo>
                  <a:cubicBezTo>
                    <a:pt x="1854" y="302"/>
                    <a:pt x="1858" y="302"/>
                    <a:pt x="1862" y="302"/>
                  </a:cubicBezTo>
                  <a:cubicBezTo>
                    <a:pt x="1862" y="306"/>
                    <a:pt x="1859" y="306"/>
                    <a:pt x="1859" y="309"/>
                  </a:cubicBezTo>
                  <a:close/>
                  <a:moveTo>
                    <a:pt x="1848" y="154"/>
                  </a:moveTo>
                  <a:cubicBezTo>
                    <a:pt x="1849" y="150"/>
                    <a:pt x="1852" y="148"/>
                    <a:pt x="1853" y="144"/>
                  </a:cubicBezTo>
                  <a:cubicBezTo>
                    <a:pt x="1857" y="145"/>
                    <a:pt x="1860" y="149"/>
                    <a:pt x="1856" y="149"/>
                  </a:cubicBezTo>
                  <a:cubicBezTo>
                    <a:pt x="1856" y="151"/>
                    <a:pt x="1860" y="151"/>
                    <a:pt x="1862" y="151"/>
                  </a:cubicBezTo>
                  <a:cubicBezTo>
                    <a:pt x="1871" y="154"/>
                    <a:pt x="1852" y="154"/>
                    <a:pt x="1848" y="154"/>
                  </a:cubicBezTo>
                  <a:close/>
                  <a:moveTo>
                    <a:pt x="1928" y="178"/>
                  </a:moveTo>
                  <a:cubicBezTo>
                    <a:pt x="1929" y="177"/>
                    <a:pt x="1931" y="176"/>
                    <a:pt x="1931" y="174"/>
                  </a:cubicBezTo>
                  <a:cubicBezTo>
                    <a:pt x="1933" y="174"/>
                    <a:pt x="1934" y="174"/>
                    <a:pt x="1936" y="174"/>
                  </a:cubicBezTo>
                  <a:cubicBezTo>
                    <a:pt x="1938" y="179"/>
                    <a:pt x="1932" y="178"/>
                    <a:pt x="1928" y="178"/>
                  </a:cubicBezTo>
                  <a:close/>
                  <a:moveTo>
                    <a:pt x="1930" y="138"/>
                  </a:moveTo>
                  <a:cubicBezTo>
                    <a:pt x="1937" y="141"/>
                    <a:pt x="1932" y="154"/>
                    <a:pt x="1922" y="150"/>
                  </a:cubicBezTo>
                  <a:cubicBezTo>
                    <a:pt x="1919" y="142"/>
                    <a:pt x="1928" y="143"/>
                    <a:pt x="1930" y="138"/>
                  </a:cubicBezTo>
                  <a:close/>
                  <a:moveTo>
                    <a:pt x="1920" y="193"/>
                  </a:moveTo>
                  <a:cubicBezTo>
                    <a:pt x="1929" y="190"/>
                    <a:pt x="1922" y="200"/>
                    <a:pt x="1931" y="197"/>
                  </a:cubicBezTo>
                  <a:cubicBezTo>
                    <a:pt x="1930" y="202"/>
                    <a:pt x="1918" y="198"/>
                    <a:pt x="1920" y="193"/>
                  </a:cubicBezTo>
                  <a:close/>
                  <a:moveTo>
                    <a:pt x="1892" y="144"/>
                  </a:moveTo>
                  <a:cubicBezTo>
                    <a:pt x="1896" y="145"/>
                    <a:pt x="1894" y="147"/>
                    <a:pt x="1892" y="149"/>
                  </a:cubicBezTo>
                  <a:cubicBezTo>
                    <a:pt x="1887" y="152"/>
                    <a:pt x="1885" y="151"/>
                    <a:pt x="1892" y="144"/>
                  </a:cubicBezTo>
                  <a:close/>
                  <a:moveTo>
                    <a:pt x="1875" y="123"/>
                  </a:moveTo>
                  <a:cubicBezTo>
                    <a:pt x="1878" y="124"/>
                    <a:pt x="1877" y="128"/>
                    <a:pt x="1881" y="128"/>
                  </a:cubicBezTo>
                  <a:cubicBezTo>
                    <a:pt x="1880" y="130"/>
                    <a:pt x="1877" y="129"/>
                    <a:pt x="1875" y="130"/>
                  </a:cubicBezTo>
                  <a:cubicBezTo>
                    <a:pt x="1872" y="127"/>
                    <a:pt x="1874" y="126"/>
                    <a:pt x="1875" y="123"/>
                  </a:cubicBezTo>
                  <a:close/>
                  <a:moveTo>
                    <a:pt x="1867" y="147"/>
                  </a:moveTo>
                  <a:cubicBezTo>
                    <a:pt x="1869" y="138"/>
                    <a:pt x="1883" y="151"/>
                    <a:pt x="1883" y="144"/>
                  </a:cubicBezTo>
                  <a:cubicBezTo>
                    <a:pt x="1880" y="141"/>
                    <a:pt x="1883" y="143"/>
                    <a:pt x="1886" y="144"/>
                  </a:cubicBezTo>
                  <a:cubicBezTo>
                    <a:pt x="1882" y="147"/>
                    <a:pt x="1883" y="155"/>
                    <a:pt x="1873" y="154"/>
                  </a:cubicBezTo>
                  <a:cubicBezTo>
                    <a:pt x="1874" y="149"/>
                    <a:pt x="1872" y="146"/>
                    <a:pt x="1867" y="147"/>
                  </a:cubicBezTo>
                  <a:close/>
                  <a:moveTo>
                    <a:pt x="1877" y="229"/>
                  </a:moveTo>
                  <a:cubicBezTo>
                    <a:pt x="1878" y="231"/>
                    <a:pt x="1880" y="232"/>
                    <a:pt x="1880" y="236"/>
                  </a:cubicBezTo>
                  <a:cubicBezTo>
                    <a:pt x="1877" y="236"/>
                    <a:pt x="1874" y="236"/>
                    <a:pt x="1871" y="236"/>
                  </a:cubicBezTo>
                  <a:cubicBezTo>
                    <a:pt x="1874" y="234"/>
                    <a:pt x="1874" y="230"/>
                    <a:pt x="1874" y="226"/>
                  </a:cubicBezTo>
                  <a:cubicBezTo>
                    <a:pt x="1877" y="226"/>
                    <a:pt x="1879" y="226"/>
                    <a:pt x="1882" y="226"/>
                  </a:cubicBezTo>
                  <a:cubicBezTo>
                    <a:pt x="1887" y="228"/>
                    <a:pt x="1881" y="229"/>
                    <a:pt x="1877" y="229"/>
                  </a:cubicBezTo>
                  <a:close/>
                  <a:moveTo>
                    <a:pt x="1884" y="182"/>
                  </a:moveTo>
                  <a:cubicBezTo>
                    <a:pt x="1881" y="170"/>
                    <a:pt x="1883" y="167"/>
                    <a:pt x="1881" y="156"/>
                  </a:cubicBezTo>
                  <a:cubicBezTo>
                    <a:pt x="1884" y="155"/>
                    <a:pt x="1886" y="156"/>
                    <a:pt x="1886" y="158"/>
                  </a:cubicBezTo>
                  <a:cubicBezTo>
                    <a:pt x="1887" y="161"/>
                    <a:pt x="1892" y="160"/>
                    <a:pt x="1892" y="163"/>
                  </a:cubicBezTo>
                  <a:cubicBezTo>
                    <a:pt x="1894" y="168"/>
                    <a:pt x="1887" y="166"/>
                    <a:pt x="1887" y="170"/>
                  </a:cubicBezTo>
                  <a:cubicBezTo>
                    <a:pt x="1886" y="174"/>
                    <a:pt x="1889" y="174"/>
                    <a:pt x="1892" y="174"/>
                  </a:cubicBezTo>
                  <a:cubicBezTo>
                    <a:pt x="1892" y="178"/>
                    <a:pt x="1881" y="179"/>
                    <a:pt x="1892" y="179"/>
                  </a:cubicBezTo>
                  <a:cubicBezTo>
                    <a:pt x="1893" y="181"/>
                    <a:pt x="1891" y="181"/>
                    <a:pt x="1890" y="181"/>
                  </a:cubicBezTo>
                  <a:cubicBezTo>
                    <a:pt x="1888" y="181"/>
                    <a:pt x="1886" y="181"/>
                    <a:pt x="1884" y="182"/>
                  </a:cubicBezTo>
                  <a:close/>
                  <a:moveTo>
                    <a:pt x="1888" y="238"/>
                  </a:moveTo>
                  <a:cubicBezTo>
                    <a:pt x="1888" y="236"/>
                    <a:pt x="1888" y="235"/>
                    <a:pt x="1888" y="233"/>
                  </a:cubicBezTo>
                  <a:cubicBezTo>
                    <a:pt x="1890" y="233"/>
                    <a:pt x="1892" y="233"/>
                    <a:pt x="1893" y="233"/>
                  </a:cubicBezTo>
                  <a:cubicBezTo>
                    <a:pt x="1893" y="235"/>
                    <a:pt x="1893" y="236"/>
                    <a:pt x="1893" y="238"/>
                  </a:cubicBezTo>
                  <a:cubicBezTo>
                    <a:pt x="1892" y="238"/>
                    <a:pt x="1890" y="238"/>
                    <a:pt x="1888" y="238"/>
                  </a:cubicBezTo>
                  <a:close/>
                  <a:moveTo>
                    <a:pt x="1888" y="228"/>
                  </a:moveTo>
                  <a:cubicBezTo>
                    <a:pt x="1889" y="225"/>
                    <a:pt x="1894" y="224"/>
                    <a:pt x="1899" y="224"/>
                  </a:cubicBezTo>
                  <a:cubicBezTo>
                    <a:pt x="1901" y="231"/>
                    <a:pt x="1893" y="228"/>
                    <a:pt x="1888" y="228"/>
                  </a:cubicBezTo>
                  <a:close/>
                  <a:moveTo>
                    <a:pt x="1900" y="151"/>
                  </a:moveTo>
                  <a:cubicBezTo>
                    <a:pt x="1896" y="152"/>
                    <a:pt x="1898" y="157"/>
                    <a:pt x="1897" y="160"/>
                  </a:cubicBezTo>
                  <a:cubicBezTo>
                    <a:pt x="1890" y="154"/>
                    <a:pt x="1894" y="148"/>
                    <a:pt x="1900" y="144"/>
                  </a:cubicBezTo>
                  <a:cubicBezTo>
                    <a:pt x="1905" y="143"/>
                    <a:pt x="1905" y="145"/>
                    <a:pt x="1906" y="148"/>
                  </a:cubicBezTo>
                  <a:cubicBezTo>
                    <a:pt x="1910" y="146"/>
                    <a:pt x="1911" y="141"/>
                    <a:pt x="1919" y="141"/>
                  </a:cubicBezTo>
                  <a:cubicBezTo>
                    <a:pt x="1921" y="148"/>
                    <a:pt x="1912" y="147"/>
                    <a:pt x="1911" y="153"/>
                  </a:cubicBezTo>
                  <a:cubicBezTo>
                    <a:pt x="1914" y="155"/>
                    <a:pt x="1912" y="162"/>
                    <a:pt x="1919" y="160"/>
                  </a:cubicBezTo>
                  <a:cubicBezTo>
                    <a:pt x="1919" y="168"/>
                    <a:pt x="1910" y="155"/>
                    <a:pt x="1911" y="162"/>
                  </a:cubicBezTo>
                  <a:cubicBezTo>
                    <a:pt x="1900" y="162"/>
                    <a:pt x="1915" y="150"/>
                    <a:pt x="1900" y="151"/>
                  </a:cubicBezTo>
                  <a:close/>
                  <a:moveTo>
                    <a:pt x="1908" y="310"/>
                  </a:moveTo>
                  <a:cubicBezTo>
                    <a:pt x="1909" y="307"/>
                    <a:pt x="1913" y="307"/>
                    <a:pt x="1914" y="303"/>
                  </a:cubicBezTo>
                  <a:cubicBezTo>
                    <a:pt x="1921" y="304"/>
                    <a:pt x="1914" y="312"/>
                    <a:pt x="1908" y="310"/>
                  </a:cubicBezTo>
                  <a:close/>
                  <a:moveTo>
                    <a:pt x="1915" y="235"/>
                  </a:moveTo>
                  <a:cubicBezTo>
                    <a:pt x="1917" y="233"/>
                    <a:pt x="1920" y="231"/>
                    <a:pt x="1923" y="230"/>
                  </a:cubicBezTo>
                  <a:cubicBezTo>
                    <a:pt x="1923" y="227"/>
                    <a:pt x="1917" y="228"/>
                    <a:pt x="1912" y="228"/>
                  </a:cubicBezTo>
                  <a:cubicBezTo>
                    <a:pt x="1919" y="222"/>
                    <a:pt x="1906" y="222"/>
                    <a:pt x="1909" y="212"/>
                  </a:cubicBezTo>
                  <a:cubicBezTo>
                    <a:pt x="1918" y="212"/>
                    <a:pt x="1913" y="223"/>
                    <a:pt x="1918" y="226"/>
                  </a:cubicBezTo>
                  <a:cubicBezTo>
                    <a:pt x="1923" y="224"/>
                    <a:pt x="1923" y="218"/>
                    <a:pt x="1929" y="223"/>
                  </a:cubicBezTo>
                  <a:cubicBezTo>
                    <a:pt x="1928" y="232"/>
                    <a:pt x="1922" y="232"/>
                    <a:pt x="1926" y="240"/>
                  </a:cubicBezTo>
                  <a:cubicBezTo>
                    <a:pt x="1922" y="239"/>
                    <a:pt x="1924" y="232"/>
                    <a:pt x="1915" y="235"/>
                  </a:cubicBezTo>
                  <a:close/>
                  <a:moveTo>
                    <a:pt x="1930" y="287"/>
                  </a:moveTo>
                  <a:cubicBezTo>
                    <a:pt x="1923" y="294"/>
                    <a:pt x="1917" y="280"/>
                    <a:pt x="1930" y="287"/>
                  </a:cubicBezTo>
                  <a:close/>
                  <a:moveTo>
                    <a:pt x="1918" y="219"/>
                  </a:moveTo>
                  <a:cubicBezTo>
                    <a:pt x="1915" y="212"/>
                    <a:pt x="1924" y="214"/>
                    <a:pt x="1929" y="214"/>
                  </a:cubicBezTo>
                  <a:cubicBezTo>
                    <a:pt x="1929" y="210"/>
                    <a:pt x="1926" y="208"/>
                    <a:pt x="1923" y="207"/>
                  </a:cubicBezTo>
                  <a:cubicBezTo>
                    <a:pt x="1923" y="204"/>
                    <a:pt x="1928" y="205"/>
                    <a:pt x="1931" y="204"/>
                  </a:cubicBezTo>
                  <a:cubicBezTo>
                    <a:pt x="1930" y="209"/>
                    <a:pt x="1933" y="210"/>
                    <a:pt x="1934" y="214"/>
                  </a:cubicBezTo>
                  <a:cubicBezTo>
                    <a:pt x="1936" y="216"/>
                    <a:pt x="1940" y="216"/>
                    <a:pt x="1940" y="221"/>
                  </a:cubicBezTo>
                  <a:cubicBezTo>
                    <a:pt x="1936" y="217"/>
                    <a:pt x="1926" y="219"/>
                    <a:pt x="1918" y="219"/>
                  </a:cubicBezTo>
                  <a:close/>
                  <a:moveTo>
                    <a:pt x="1943" y="258"/>
                  </a:moveTo>
                  <a:cubicBezTo>
                    <a:pt x="1938" y="258"/>
                    <a:pt x="1937" y="254"/>
                    <a:pt x="1937" y="249"/>
                  </a:cubicBezTo>
                  <a:cubicBezTo>
                    <a:pt x="1946" y="246"/>
                    <a:pt x="1942" y="254"/>
                    <a:pt x="1943" y="258"/>
                  </a:cubicBezTo>
                  <a:close/>
                  <a:moveTo>
                    <a:pt x="1945" y="216"/>
                  </a:moveTo>
                  <a:cubicBezTo>
                    <a:pt x="1947" y="214"/>
                    <a:pt x="1948" y="212"/>
                    <a:pt x="1948" y="209"/>
                  </a:cubicBezTo>
                  <a:cubicBezTo>
                    <a:pt x="1951" y="209"/>
                    <a:pt x="1950" y="213"/>
                    <a:pt x="1953" y="213"/>
                  </a:cubicBezTo>
                  <a:cubicBezTo>
                    <a:pt x="1954" y="215"/>
                    <a:pt x="1952" y="215"/>
                    <a:pt x="1951" y="216"/>
                  </a:cubicBezTo>
                  <a:cubicBezTo>
                    <a:pt x="1949" y="216"/>
                    <a:pt x="1947" y="216"/>
                    <a:pt x="1945" y="216"/>
                  </a:cubicBezTo>
                  <a:close/>
                  <a:moveTo>
                    <a:pt x="1948" y="225"/>
                  </a:moveTo>
                  <a:cubicBezTo>
                    <a:pt x="1948" y="224"/>
                    <a:pt x="1948" y="222"/>
                    <a:pt x="1948" y="220"/>
                  </a:cubicBezTo>
                  <a:cubicBezTo>
                    <a:pt x="1953" y="220"/>
                    <a:pt x="1957" y="221"/>
                    <a:pt x="1956" y="225"/>
                  </a:cubicBezTo>
                  <a:cubicBezTo>
                    <a:pt x="1954" y="225"/>
                    <a:pt x="1951" y="225"/>
                    <a:pt x="1948" y="225"/>
                  </a:cubicBezTo>
                  <a:close/>
                  <a:moveTo>
                    <a:pt x="2054" y="169"/>
                  </a:moveTo>
                  <a:cubicBezTo>
                    <a:pt x="2050" y="171"/>
                    <a:pt x="2055" y="181"/>
                    <a:pt x="2046" y="179"/>
                  </a:cubicBezTo>
                  <a:cubicBezTo>
                    <a:pt x="2045" y="173"/>
                    <a:pt x="2047" y="169"/>
                    <a:pt x="2054" y="169"/>
                  </a:cubicBezTo>
                  <a:close/>
                  <a:moveTo>
                    <a:pt x="1985" y="145"/>
                  </a:moveTo>
                  <a:cubicBezTo>
                    <a:pt x="1984" y="151"/>
                    <a:pt x="1981" y="141"/>
                    <a:pt x="1977" y="142"/>
                  </a:cubicBezTo>
                  <a:cubicBezTo>
                    <a:pt x="1979" y="135"/>
                    <a:pt x="1982" y="145"/>
                    <a:pt x="1985" y="145"/>
                  </a:cubicBezTo>
                  <a:close/>
                  <a:moveTo>
                    <a:pt x="1985" y="274"/>
                  </a:moveTo>
                  <a:cubicBezTo>
                    <a:pt x="1984" y="278"/>
                    <a:pt x="1981" y="272"/>
                    <a:pt x="1982" y="269"/>
                  </a:cubicBezTo>
                  <a:cubicBezTo>
                    <a:pt x="1983" y="265"/>
                    <a:pt x="1985" y="271"/>
                    <a:pt x="1985" y="274"/>
                  </a:cubicBezTo>
                  <a:close/>
                  <a:moveTo>
                    <a:pt x="1979" y="255"/>
                  </a:moveTo>
                  <a:cubicBezTo>
                    <a:pt x="1978" y="250"/>
                    <a:pt x="1981" y="248"/>
                    <a:pt x="1987" y="248"/>
                  </a:cubicBezTo>
                  <a:cubicBezTo>
                    <a:pt x="1984" y="250"/>
                    <a:pt x="1986" y="257"/>
                    <a:pt x="1979" y="255"/>
                  </a:cubicBezTo>
                  <a:close/>
                  <a:moveTo>
                    <a:pt x="1998" y="252"/>
                  </a:moveTo>
                  <a:cubicBezTo>
                    <a:pt x="1993" y="260"/>
                    <a:pt x="1990" y="247"/>
                    <a:pt x="1990" y="243"/>
                  </a:cubicBezTo>
                  <a:cubicBezTo>
                    <a:pt x="1993" y="243"/>
                    <a:pt x="1991" y="241"/>
                    <a:pt x="1989" y="241"/>
                  </a:cubicBezTo>
                  <a:cubicBezTo>
                    <a:pt x="1989" y="239"/>
                    <a:pt x="1991" y="239"/>
                    <a:pt x="1992" y="238"/>
                  </a:cubicBezTo>
                  <a:cubicBezTo>
                    <a:pt x="1994" y="238"/>
                    <a:pt x="1996" y="238"/>
                    <a:pt x="1998" y="238"/>
                  </a:cubicBezTo>
                  <a:cubicBezTo>
                    <a:pt x="2001" y="245"/>
                    <a:pt x="1993" y="252"/>
                    <a:pt x="1998" y="252"/>
                  </a:cubicBezTo>
                  <a:close/>
                  <a:moveTo>
                    <a:pt x="1999" y="285"/>
                  </a:moveTo>
                  <a:cubicBezTo>
                    <a:pt x="2002" y="279"/>
                    <a:pt x="2005" y="276"/>
                    <a:pt x="2001" y="269"/>
                  </a:cubicBezTo>
                  <a:cubicBezTo>
                    <a:pt x="2009" y="268"/>
                    <a:pt x="2004" y="278"/>
                    <a:pt x="2009" y="278"/>
                  </a:cubicBezTo>
                  <a:cubicBezTo>
                    <a:pt x="2009" y="281"/>
                    <a:pt x="2007" y="279"/>
                    <a:pt x="2007" y="278"/>
                  </a:cubicBezTo>
                  <a:cubicBezTo>
                    <a:pt x="2000" y="277"/>
                    <a:pt x="2008" y="289"/>
                    <a:pt x="1999" y="285"/>
                  </a:cubicBezTo>
                  <a:close/>
                  <a:moveTo>
                    <a:pt x="2001" y="297"/>
                  </a:moveTo>
                  <a:cubicBezTo>
                    <a:pt x="2005" y="293"/>
                    <a:pt x="2007" y="288"/>
                    <a:pt x="2015" y="287"/>
                  </a:cubicBezTo>
                  <a:cubicBezTo>
                    <a:pt x="2012" y="291"/>
                    <a:pt x="2009" y="297"/>
                    <a:pt x="2001" y="297"/>
                  </a:cubicBezTo>
                  <a:close/>
                  <a:moveTo>
                    <a:pt x="2017" y="266"/>
                  </a:moveTo>
                  <a:cubicBezTo>
                    <a:pt x="2018" y="261"/>
                    <a:pt x="2025" y="261"/>
                    <a:pt x="2028" y="264"/>
                  </a:cubicBezTo>
                  <a:cubicBezTo>
                    <a:pt x="2028" y="267"/>
                    <a:pt x="2021" y="266"/>
                    <a:pt x="2017" y="266"/>
                  </a:cubicBezTo>
                  <a:close/>
                  <a:moveTo>
                    <a:pt x="2042" y="254"/>
                  </a:moveTo>
                  <a:cubicBezTo>
                    <a:pt x="2042" y="252"/>
                    <a:pt x="2042" y="251"/>
                    <a:pt x="2042" y="249"/>
                  </a:cubicBezTo>
                  <a:cubicBezTo>
                    <a:pt x="2044" y="249"/>
                    <a:pt x="2045" y="249"/>
                    <a:pt x="2047" y="249"/>
                  </a:cubicBezTo>
                  <a:cubicBezTo>
                    <a:pt x="2047" y="251"/>
                    <a:pt x="2047" y="252"/>
                    <a:pt x="2047" y="254"/>
                  </a:cubicBezTo>
                  <a:cubicBezTo>
                    <a:pt x="2046" y="254"/>
                    <a:pt x="2044" y="254"/>
                    <a:pt x="2042" y="254"/>
                  </a:cubicBezTo>
                  <a:close/>
                  <a:moveTo>
                    <a:pt x="2044" y="221"/>
                  </a:moveTo>
                  <a:cubicBezTo>
                    <a:pt x="2044" y="219"/>
                    <a:pt x="2044" y="216"/>
                    <a:pt x="2044" y="214"/>
                  </a:cubicBezTo>
                  <a:cubicBezTo>
                    <a:pt x="2038" y="213"/>
                    <a:pt x="2039" y="217"/>
                    <a:pt x="2039" y="221"/>
                  </a:cubicBezTo>
                  <a:cubicBezTo>
                    <a:pt x="2034" y="222"/>
                    <a:pt x="2025" y="219"/>
                    <a:pt x="2028" y="226"/>
                  </a:cubicBezTo>
                  <a:cubicBezTo>
                    <a:pt x="2018" y="222"/>
                    <a:pt x="2031" y="219"/>
                    <a:pt x="2033" y="217"/>
                  </a:cubicBezTo>
                  <a:cubicBezTo>
                    <a:pt x="2032" y="211"/>
                    <a:pt x="2021" y="216"/>
                    <a:pt x="2016" y="214"/>
                  </a:cubicBezTo>
                  <a:cubicBezTo>
                    <a:pt x="2013" y="222"/>
                    <a:pt x="2025" y="216"/>
                    <a:pt x="2022" y="224"/>
                  </a:cubicBezTo>
                  <a:cubicBezTo>
                    <a:pt x="2018" y="224"/>
                    <a:pt x="2014" y="224"/>
                    <a:pt x="2014" y="226"/>
                  </a:cubicBezTo>
                  <a:cubicBezTo>
                    <a:pt x="2011" y="226"/>
                    <a:pt x="2012" y="222"/>
                    <a:pt x="2008" y="222"/>
                  </a:cubicBezTo>
                  <a:cubicBezTo>
                    <a:pt x="2001" y="221"/>
                    <a:pt x="2016" y="231"/>
                    <a:pt x="2003" y="229"/>
                  </a:cubicBezTo>
                  <a:cubicBezTo>
                    <a:pt x="2001" y="236"/>
                    <a:pt x="2007" y="235"/>
                    <a:pt x="2006" y="241"/>
                  </a:cubicBezTo>
                  <a:cubicBezTo>
                    <a:pt x="1999" y="239"/>
                    <a:pt x="1997" y="231"/>
                    <a:pt x="2000" y="227"/>
                  </a:cubicBezTo>
                  <a:cubicBezTo>
                    <a:pt x="2001" y="226"/>
                    <a:pt x="2006" y="227"/>
                    <a:pt x="2006" y="226"/>
                  </a:cubicBezTo>
                  <a:cubicBezTo>
                    <a:pt x="2006" y="224"/>
                    <a:pt x="1999" y="222"/>
                    <a:pt x="2006" y="217"/>
                  </a:cubicBezTo>
                  <a:cubicBezTo>
                    <a:pt x="2005" y="214"/>
                    <a:pt x="1999" y="215"/>
                    <a:pt x="1994" y="215"/>
                  </a:cubicBezTo>
                  <a:cubicBezTo>
                    <a:pt x="1987" y="217"/>
                    <a:pt x="1992" y="218"/>
                    <a:pt x="1992" y="224"/>
                  </a:cubicBezTo>
                  <a:cubicBezTo>
                    <a:pt x="1983" y="227"/>
                    <a:pt x="1988" y="217"/>
                    <a:pt x="1984" y="215"/>
                  </a:cubicBezTo>
                  <a:cubicBezTo>
                    <a:pt x="1976" y="215"/>
                    <a:pt x="1980" y="222"/>
                    <a:pt x="1978" y="225"/>
                  </a:cubicBezTo>
                  <a:cubicBezTo>
                    <a:pt x="1978" y="225"/>
                    <a:pt x="1973" y="224"/>
                    <a:pt x="1973" y="225"/>
                  </a:cubicBezTo>
                  <a:cubicBezTo>
                    <a:pt x="1971" y="226"/>
                    <a:pt x="1974" y="230"/>
                    <a:pt x="1973" y="232"/>
                  </a:cubicBezTo>
                  <a:cubicBezTo>
                    <a:pt x="1967" y="230"/>
                    <a:pt x="1967" y="228"/>
                    <a:pt x="1970" y="225"/>
                  </a:cubicBezTo>
                  <a:cubicBezTo>
                    <a:pt x="1965" y="224"/>
                    <a:pt x="1965" y="227"/>
                    <a:pt x="1965" y="230"/>
                  </a:cubicBezTo>
                  <a:cubicBezTo>
                    <a:pt x="1961" y="229"/>
                    <a:pt x="1962" y="224"/>
                    <a:pt x="1962" y="220"/>
                  </a:cubicBezTo>
                  <a:cubicBezTo>
                    <a:pt x="1966" y="220"/>
                    <a:pt x="1971" y="220"/>
                    <a:pt x="1975" y="220"/>
                  </a:cubicBezTo>
                  <a:cubicBezTo>
                    <a:pt x="1976" y="214"/>
                    <a:pt x="1960" y="222"/>
                    <a:pt x="1964" y="213"/>
                  </a:cubicBezTo>
                  <a:cubicBezTo>
                    <a:pt x="1974" y="212"/>
                    <a:pt x="1988" y="216"/>
                    <a:pt x="1986" y="206"/>
                  </a:cubicBezTo>
                  <a:cubicBezTo>
                    <a:pt x="1992" y="205"/>
                    <a:pt x="1995" y="207"/>
                    <a:pt x="1994" y="213"/>
                  </a:cubicBezTo>
                  <a:cubicBezTo>
                    <a:pt x="2004" y="211"/>
                    <a:pt x="2003" y="210"/>
                    <a:pt x="2011" y="212"/>
                  </a:cubicBezTo>
                  <a:cubicBezTo>
                    <a:pt x="2015" y="211"/>
                    <a:pt x="2010" y="209"/>
                    <a:pt x="2011" y="205"/>
                  </a:cubicBezTo>
                  <a:cubicBezTo>
                    <a:pt x="2018" y="204"/>
                    <a:pt x="2021" y="206"/>
                    <a:pt x="2019" y="212"/>
                  </a:cubicBezTo>
                  <a:cubicBezTo>
                    <a:pt x="2024" y="212"/>
                    <a:pt x="2026" y="210"/>
                    <a:pt x="2027" y="207"/>
                  </a:cubicBezTo>
                  <a:cubicBezTo>
                    <a:pt x="2031" y="208"/>
                    <a:pt x="2032" y="211"/>
                    <a:pt x="2036" y="212"/>
                  </a:cubicBezTo>
                  <a:cubicBezTo>
                    <a:pt x="2039" y="212"/>
                    <a:pt x="2037" y="210"/>
                    <a:pt x="2038" y="209"/>
                  </a:cubicBezTo>
                  <a:cubicBezTo>
                    <a:pt x="2041" y="209"/>
                    <a:pt x="2045" y="214"/>
                    <a:pt x="2047" y="207"/>
                  </a:cubicBezTo>
                  <a:cubicBezTo>
                    <a:pt x="2051" y="208"/>
                    <a:pt x="2049" y="214"/>
                    <a:pt x="2058" y="211"/>
                  </a:cubicBezTo>
                  <a:cubicBezTo>
                    <a:pt x="2066" y="214"/>
                    <a:pt x="2050" y="214"/>
                    <a:pt x="2047" y="214"/>
                  </a:cubicBezTo>
                  <a:cubicBezTo>
                    <a:pt x="2047" y="220"/>
                    <a:pt x="2057" y="218"/>
                    <a:pt x="2060" y="221"/>
                  </a:cubicBezTo>
                  <a:cubicBezTo>
                    <a:pt x="2057" y="225"/>
                    <a:pt x="2054" y="221"/>
                    <a:pt x="2044" y="221"/>
                  </a:cubicBezTo>
                  <a:close/>
                  <a:moveTo>
                    <a:pt x="2063" y="221"/>
                  </a:moveTo>
                  <a:cubicBezTo>
                    <a:pt x="2063" y="218"/>
                    <a:pt x="2067" y="219"/>
                    <a:pt x="2069" y="218"/>
                  </a:cubicBezTo>
                  <a:cubicBezTo>
                    <a:pt x="2069" y="214"/>
                    <a:pt x="2069" y="210"/>
                    <a:pt x="2068" y="207"/>
                  </a:cubicBezTo>
                  <a:cubicBezTo>
                    <a:pt x="2080" y="203"/>
                    <a:pt x="2069" y="219"/>
                    <a:pt x="2077" y="218"/>
                  </a:cubicBezTo>
                  <a:cubicBezTo>
                    <a:pt x="2077" y="223"/>
                    <a:pt x="2067" y="219"/>
                    <a:pt x="2063" y="221"/>
                  </a:cubicBezTo>
                  <a:close/>
                  <a:moveTo>
                    <a:pt x="2074" y="239"/>
                  </a:moveTo>
                  <a:cubicBezTo>
                    <a:pt x="2073" y="239"/>
                    <a:pt x="2071" y="239"/>
                    <a:pt x="2069" y="239"/>
                  </a:cubicBezTo>
                  <a:cubicBezTo>
                    <a:pt x="2069" y="237"/>
                    <a:pt x="2069" y="235"/>
                    <a:pt x="2069" y="232"/>
                  </a:cubicBezTo>
                  <a:cubicBezTo>
                    <a:pt x="2073" y="232"/>
                    <a:pt x="2074" y="235"/>
                    <a:pt x="2077" y="235"/>
                  </a:cubicBezTo>
                  <a:cubicBezTo>
                    <a:pt x="2077" y="237"/>
                    <a:pt x="2074" y="237"/>
                    <a:pt x="2074" y="239"/>
                  </a:cubicBezTo>
                  <a:close/>
                  <a:moveTo>
                    <a:pt x="2200" y="66"/>
                  </a:moveTo>
                  <a:cubicBezTo>
                    <a:pt x="2203" y="68"/>
                    <a:pt x="2211" y="66"/>
                    <a:pt x="2209" y="72"/>
                  </a:cubicBezTo>
                  <a:cubicBezTo>
                    <a:pt x="2206" y="70"/>
                    <a:pt x="2199" y="72"/>
                    <a:pt x="2200" y="66"/>
                  </a:cubicBezTo>
                  <a:close/>
                  <a:moveTo>
                    <a:pt x="2184" y="71"/>
                  </a:moveTo>
                  <a:cubicBezTo>
                    <a:pt x="2184" y="72"/>
                    <a:pt x="2184" y="74"/>
                    <a:pt x="2184" y="75"/>
                  </a:cubicBezTo>
                  <a:cubicBezTo>
                    <a:pt x="2182" y="75"/>
                    <a:pt x="2180" y="75"/>
                    <a:pt x="2179" y="75"/>
                  </a:cubicBezTo>
                  <a:cubicBezTo>
                    <a:pt x="2179" y="74"/>
                    <a:pt x="2179" y="72"/>
                    <a:pt x="2179" y="71"/>
                  </a:cubicBezTo>
                  <a:cubicBezTo>
                    <a:pt x="2180" y="71"/>
                    <a:pt x="2182" y="71"/>
                    <a:pt x="2184" y="71"/>
                  </a:cubicBezTo>
                  <a:close/>
                  <a:moveTo>
                    <a:pt x="2180" y="132"/>
                  </a:moveTo>
                  <a:cubicBezTo>
                    <a:pt x="2179" y="136"/>
                    <a:pt x="2175" y="141"/>
                    <a:pt x="2174" y="144"/>
                  </a:cubicBezTo>
                  <a:cubicBezTo>
                    <a:pt x="2172" y="142"/>
                    <a:pt x="2170" y="141"/>
                    <a:pt x="2166" y="141"/>
                  </a:cubicBezTo>
                  <a:cubicBezTo>
                    <a:pt x="2162" y="135"/>
                    <a:pt x="2171" y="136"/>
                    <a:pt x="2171" y="132"/>
                  </a:cubicBezTo>
                  <a:cubicBezTo>
                    <a:pt x="2172" y="129"/>
                    <a:pt x="2177" y="130"/>
                    <a:pt x="2180" y="129"/>
                  </a:cubicBezTo>
                  <a:cubicBezTo>
                    <a:pt x="2180" y="127"/>
                    <a:pt x="2178" y="127"/>
                    <a:pt x="2177" y="127"/>
                  </a:cubicBezTo>
                  <a:cubicBezTo>
                    <a:pt x="2185" y="120"/>
                    <a:pt x="2181" y="128"/>
                    <a:pt x="2180" y="132"/>
                  </a:cubicBezTo>
                  <a:close/>
                  <a:moveTo>
                    <a:pt x="2183" y="174"/>
                  </a:moveTo>
                  <a:cubicBezTo>
                    <a:pt x="2180" y="173"/>
                    <a:pt x="2179" y="170"/>
                    <a:pt x="2175" y="169"/>
                  </a:cubicBezTo>
                  <a:cubicBezTo>
                    <a:pt x="2175" y="167"/>
                    <a:pt x="2178" y="168"/>
                    <a:pt x="2178" y="169"/>
                  </a:cubicBezTo>
                  <a:cubicBezTo>
                    <a:pt x="2180" y="169"/>
                    <a:pt x="2180" y="166"/>
                    <a:pt x="2180" y="165"/>
                  </a:cubicBezTo>
                  <a:cubicBezTo>
                    <a:pt x="2184" y="165"/>
                    <a:pt x="2183" y="170"/>
                    <a:pt x="2183" y="174"/>
                  </a:cubicBezTo>
                  <a:close/>
                  <a:moveTo>
                    <a:pt x="2177" y="120"/>
                  </a:moveTo>
                  <a:cubicBezTo>
                    <a:pt x="2176" y="125"/>
                    <a:pt x="2164" y="121"/>
                    <a:pt x="2166" y="116"/>
                  </a:cubicBezTo>
                  <a:cubicBezTo>
                    <a:pt x="2173" y="114"/>
                    <a:pt x="2171" y="120"/>
                    <a:pt x="2177" y="120"/>
                  </a:cubicBezTo>
                  <a:close/>
                  <a:moveTo>
                    <a:pt x="2166" y="108"/>
                  </a:moveTo>
                  <a:cubicBezTo>
                    <a:pt x="2166" y="108"/>
                    <a:pt x="2168" y="109"/>
                    <a:pt x="2168" y="108"/>
                  </a:cubicBezTo>
                  <a:cubicBezTo>
                    <a:pt x="2169" y="108"/>
                    <a:pt x="2169" y="102"/>
                    <a:pt x="2171" y="104"/>
                  </a:cubicBezTo>
                  <a:cubicBezTo>
                    <a:pt x="2179" y="111"/>
                    <a:pt x="2155" y="110"/>
                    <a:pt x="2166" y="108"/>
                  </a:cubicBezTo>
                  <a:close/>
                  <a:moveTo>
                    <a:pt x="2177" y="146"/>
                  </a:moveTo>
                  <a:cubicBezTo>
                    <a:pt x="2172" y="149"/>
                    <a:pt x="2177" y="160"/>
                    <a:pt x="2169" y="160"/>
                  </a:cubicBezTo>
                  <a:cubicBezTo>
                    <a:pt x="2171" y="162"/>
                    <a:pt x="2172" y="164"/>
                    <a:pt x="2172" y="167"/>
                  </a:cubicBezTo>
                  <a:cubicBezTo>
                    <a:pt x="2164" y="171"/>
                    <a:pt x="2163" y="152"/>
                    <a:pt x="2172" y="155"/>
                  </a:cubicBezTo>
                  <a:cubicBezTo>
                    <a:pt x="2171" y="151"/>
                    <a:pt x="2167" y="150"/>
                    <a:pt x="2161" y="151"/>
                  </a:cubicBezTo>
                  <a:cubicBezTo>
                    <a:pt x="2164" y="147"/>
                    <a:pt x="2170" y="146"/>
                    <a:pt x="2177" y="146"/>
                  </a:cubicBezTo>
                  <a:close/>
                  <a:moveTo>
                    <a:pt x="2164" y="205"/>
                  </a:moveTo>
                  <a:cubicBezTo>
                    <a:pt x="2165" y="200"/>
                    <a:pt x="2174" y="207"/>
                    <a:pt x="2173" y="212"/>
                  </a:cubicBezTo>
                  <a:cubicBezTo>
                    <a:pt x="2170" y="212"/>
                    <a:pt x="2167" y="212"/>
                    <a:pt x="2165" y="212"/>
                  </a:cubicBezTo>
                  <a:cubicBezTo>
                    <a:pt x="2166" y="210"/>
                    <a:pt x="2169" y="205"/>
                    <a:pt x="2164" y="205"/>
                  </a:cubicBezTo>
                  <a:close/>
                  <a:moveTo>
                    <a:pt x="2164" y="186"/>
                  </a:moveTo>
                  <a:cubicBezTo>
                    <a:pt x="2166" y="173"/>
                    <a:pt x="2181" y="193"/>
                    <a:pt x="2167" y="193"/>
                  </a:cubicBezTo>
                  <a:cubicBezTo>
                    <a:pt x="2167" y="191"/>
                    <a:pt x="2170" y="191"/>
                    <a:pt x="2170" y="188"/>
                  </a:cubicBezTo>
                  <a:cubicBezTo>
                    <a:pt x="2170" y="186"/>
                    <a:pt x="2166" y="187"/>
                    <a:pt x="2164" y="186"/>
                  </a:cubicBezTo>
                  <a:close/>
                  <a:moveTo>
                    <a:pt x="2154" y="99"/>
                  </a:moveTo>
                  <a:cubicBezTo>
                    <a:pt x="2166" y="98"/>
                    <a:pt x="2156" y="104"/>
                    <a:pt x="2157" y="109"/>
                  </a:cubicBezTo>
                  <a:cubicBezTo>
                    <a:pt x="2149" y="108"/>
                    <a:pt x="2150" y="117"/>
                    <a:pt x="2144" y="111"/>
                  </a:cubicBezTo>
                  <a:cubicBezTo>
                    <a:pt x="2145" y="106"/>
                    <a:pt x="2158" y="109"/>
                    <a:pt x="2154" y="99"/>
                  </a:cubicBezTo>
                  <a:close/>
                  <a:moveTo>
                    <a:pt x="2159" y="207"/>
                  </a:moveTo>
                  <a:cubicBezTo>
                    <a:pt x="2146" y="210"/>
                    <a:pt x="2154" y="195"/>
                    <a:pt x="2159" y="203"/>
                  </a:cubicBezTo>
                  <a:cubicBezTo>
                    <a:pt x="2159" y="204"/>
                    <a:pt x="2159" y="206"/>
                    <a:pt x="2159" y="207"/>
                  </a:cubicBezTo>
                  <a:close/>
                  <a:moveTo>
                    <a:pt x="2141" y="130"/>
                  </a:moveTo>
                  <a:cubicBezTo>
                    <a:pt x="2150" y="127"/>
                    <a:pt x="2143" y="138"/>
                    <a:pt x="2152" y="135"/>
                  </a:cubicBezTo>
                  <a:cubicBezTo>
                    <a:pt x="2150" y="139"/>
                    <a:pt x="2147" y="143"/>
                    <a:pt x="2139" y="142"/>
                  </a:cubicBezTo>
                  <a:cubicBezTo>
                    <a:pt x="2137" y="136"/>
                    <a:pt x="2144" y="137"/>
                    <a:pt x="2141" y="130"/>
                  </a:cubicBezTo>
                  <a:close/>
                  <a:moveTo>
                    <a:pt x="2115" y="189"/>
                  </a:moveTo>
                  <a:cubicBezTo>
                    <a:pt x="2120" y="183"/>
                    <a:pt x="2127" y="192"/>
                    <a:pt x="2134" y="187"/>
                  </a:cubicBezTo>
                  <a:cubicBezTo>
                    <a:pt x="2135" y="195"/>
                    <a:pt x="2119" y="190"/>
                    <a:pt x="2115" y="194"/>
                  </a:cubicBezTo>
                  <a:cubicBezTo>
                    <a:pt x="2117" y="192"/>
                    <a:pt x="2118" y="190"/>
                    <a:pt x="2115" y="189"/>
                  </a:cubicBezTo>
                  <a:close/>
                  <a:moveTo>
                    <a:pt x="2128" y="140"/>
                  </a:moveTo>
                  <a:cubicBezTo>
                    <a:pt x="2125" y="148"/>
                    <a:pt x="2122" y="137"/>
                    <a:pt x="2119" y="138"/>
                  </a:cubicBezTo>
                  <a:cubicBezTo>
                    <a:pt x="2114" y="135"/>
                    <a:pt x="2116" y="142"/>
                    <a:pt x="2114" y="142"/>
                  </a:cubicBezTo>
                  <a:cubicBezTo>
                    <a:pt x="2112" y="143"/>
                    <a:pt x="2108" y="139"/>
                    <a:pt x="2103" y="142"/>
                  </a:cubicBezTo>
                  <a:cubicBezTo>
                    <a:pt x="2103" y="140"/>
                    <a:pt x="2103" y="138"/>
                    <a:pt x="2103" y="135"/>
                  </a:cubicBezTo>
                  <a:cubicBezTo>
                    <a:pt x="2114" y="137"/>
                    <a:pt x="2112" y="136"/>
                    <a:pt x="2125" y="135"/>
                  </a:cubicBezTo>
                  <a:cubicBezTo>
                    <a:pt x="2124" y="138"/>
                    <a:pt x="2126" y="139"/>
                    <a:pt x="2128" y="140"/>
                  </a:cubicBezTo>
                  <a:close/>
                  <a:moveTo>
                    <a:pt x="2130" y="107"/>
                  </a:moveTo>
                  <a:cubicBezTo>
                    <a:pt x="2124" y="116"/>
                    <a:pt x="2136" y="115"/>
                    <a:pt x="2133" y="128"/>
                  </a:cubicBezTo>
                  <a:cubicBezTo>
                    <a:pt x="2130" y="128"/>
                    <a:pt x="2131" y="124"/>
                    <a:pt x="2130" y="121"/>
                  </a:cubicBezTo>
                  <a:cubicBezTo>
                    <a:pt x="2129" y="118"/>
                    <a:pt x="2117" y="107"/>
                    <a:pt x="2130" y="107"/>
                  </a:cubicBezTo>
                  <a:close/>
                  <a:moveTo>
                    <a:pt x="2111" y="107"/>
                  </a:moveTo>
                  <a:cubicBezTo>
                    <a:pt x="2110" y="110"/>
                    <a:pt x="2099" y="112"/>
                    <a:pt x="2111" y="112"/>
                  </a:cubicBezTo>
                  <a:cubicBezTo>
                    <a:pt x="2110" y="115"/>
                    <a:pt x="2106" y="114"/>
                    <a:pt x="2102" y="114"/>
                  </a:cubicBezTo>
                  <a:cubicBezTo>
                    <a:pt x="2098" y="107"/>
                    <a:pt x="2103" y="102"/>
                    <a:pt x="2111" y="107"/>
                  </a:cubicBezTo>
                  <a:close/>
                  <a:moveTo>
                    <a:pt x="2088" y="251"/>
                  </a:moveTo>
                  <a:cubicBezTo>
                    <a:pt x="2084" y="249"/>
                    <a:pt x="2081" y="243"/>
                    <a:pt x="2085" y="239"/>
                  </a:cubicBezTo>
                  <a:cubicBezTo>
                    <a:pt x="2091" y="239"/>
                    <a:pt x="2087" y="247"/>
                    <a:pt x="2088" y="251"/>
                  </a:cubicBezTo>
                  <a:close/>
                  <a:moveTo>
                    <a:pt x="2085" y="227"/>
                  </a:moveTo>
                  <a:cubicBezTo>
                    <a:pt x="2075" y="221"/>
                    <a:pt x="2088" y="214"/>
                    <a:pt x="2082" y="204"/>
                  </a:cubicBezTo>
                  <a:cubicBezTo>
                    <a:pt x="2085" y="205"/>
                    <a:pt x="2085" y="209"/>
                    <a:pt x="2090" y="209"/>
                  </a:cubicBezTo>
                  <a:cubicBezTo>
                    <a:pt x="2090" y="216"/>
                    <a:pt x="2083" y="218"/>
                    <a:pt x="2085" y="227"/>
                  </a:cubicBezTo>
                  <a:close/>
                  <a:moveTo>
                    <a:pt x="2103" y="168"/>
                  </a:moveTo>
                  <a:cubicBezTo>
                    <a:pt x="2105" y="169"/>
                    <a:pt x="2096" y="175"/>
                    <a:pt x="2093" y="171"/>
                  </a:cubicBezTo>
                  <a:cubicBezTo>
                    <a:pt x="2092" y="169"/>
                    <a:pt x="2102" y="167"/>
                    <a:pt x="2103" y="168"/>
                  </a:cubicBezTo>
                  <a:close/>
                  <a:moveTo>
                    <a:pt x="2095" y="293"/>
                  </a:moveTo>
                  <a:cubicBezTo>
                    <a:pt x="2095" y="289"/>
                    <a:pt x="2104" y="291"/>
                    <a:pt x="2103" y="286"/>
                  </a:cubicBezTo>
                  <a:cubicBezTo>
                    <a:pt x="2107" y="287"/>
                    <a:pt x="2105" y="293"/>
                    <a:pt x="2114" y="290"/>
                  </a:cubicBezTo>
                  <a:cubicBezTo>
                    <a:pt x="2108" y="295"/>
                    <a:pt x="2101" y="295"/>
                    <a:pt x="2095" y="293"/>
                  </a:cubicBezTo>
                  <a:close/>
                  <a:moveTo>
                    <a:pt x="2094" y="270"/>
                  </a:moveTo>
                  <a:cubicBezTo>
                    <a:pt x="2095" y="265"/>
                    <a:pt x="2098" y="271"/>
                    <a:pt x="2097" y="274"/>
                  </a:cubicBezTo>
                  <a:cubicBezTo>
                    <a:pt x="2096" y="279"/>
                    <a:pt x="2094" y="273"/>
                    <a:pt x="2094" y="270"/>
                  </a:cubicBezTo>
                  <a:close/>
                  <a:moveTo>
                    <a:pt x="2102" y="225"/>
                  </a:moveTo>
                  <a:cubicBezTo>
                    <a:pt x="2094" y="222"/>
                    <a:pt x="2109" y="208"/>
                    <a:pt x="2102" y="225"/>
                  </a:cubicBezTo>
                  <a:close/>
                  <a:moveTo>
                    <a:pt x="2110" y="218"/>
                  </a:moveTo>
                  <a:cubicBezTo>
                    <a:pt x="2117" y="218"/>
                    <a:pt x="2111" y="226"/>
                    <a:pt x="2110" y="227"/>
                  </a:cubicBezTo>
                  <a:cubicBezTo>
                    <a:pt x="2102" y="226"/>
                    <a:pt x="2112" y="222"/>
                    <a:pt x="2110" y="218"/>
                  </a:cubicBezTo>
                  <a:close/>
                  <a:moveTo>
                    <a:pt x="2119" y="281"/>
                  </a:moveTo>
                  <a:cubicBezTo>
                    <a:pt x="2117" y="288"/>
                    <a:pt x="2115" y="277"/>
                    <a:pt x="2116" y="274"/>
                  </a:cubicBezTo>
                  <a:cubicBezTo>
                    <a:pt x="2113" y="277"/>
                    <a:pt x="2112" y="275"/>
                    <a:pt x="2108" y="274"/>
                  </a:cubicBezTo>
                  <a:cubicBezTo>
                    <a:pt x="2110" y="272"/>
                    <a:pt x="2114" y="271"/>
                    <a:pt x="2113" y="267"/>
                  </a:cubicBezTo>
                  <a:cubicBezTo>
                    <a:pt x="2118" y="269"/>
                    <a:pt x="2120" y="274"/>
                    <a:pt x="2119" y="281"/>
                  </a:cubicBezTo>
                  <a:close/>
                  <a:moveTo>
                    <a:pt x="2121" y="246"/>
                  </a:moveTo>
                  <a:cubicBezTo>
                    <a:pt x="2121" y="246"/>
                    <a:pt x="2116" y="243"/>
                    <a:pt x="2116" y="243"/>
                  </a:cubicBezTo>
                  <a:cubicBezTo>
                    <a:pt x="2116" y="240"/>
                    <a:pt x="2120" y="243"/>
                    <a:pt x="2121" y="241"/>
                  </a:cubicBezTo>
                  <a:cubicBezTo>
                    <a:pt x="2121" y="240"/>
                    <a:pt x="2122" y="234"/>
                    <a:pt x="2124" y="236"/>
                  </a:cubicBezTo>
                  <a:cubicBezTo>
                    <a:pt x="2124" y="237"/>
                    <a:pt x="2121" y="245"/>
                    <a:pt x="2121" y="246"/>
                  </a:cubicBezTo>
                  <a:close/>
                  <a:moveTo>
                    <a:pt x="2115" y="217"/>
                  </a:moveTo>
                  <a:cubicBezTo>
                    <a:pt x="2117" y="212"/>
                    <a:pt x="2129" y="216"/>
                    <a:pt x="2126" y="222"/>
                  </a:cubicBezTo>
                  <a:cubicBezTo>
                    <a:pt x="2122" y="221"/>
                    <a:pt x="2119" y="219"/>
                    <a:pt x="2115" y="217"/>
                  </a:cubicBezTo>
                  <a:close/>
                  <a:moveTo>
                    <a:pt x="2122" y="276"/>
                  </a:moveTo>
                  <a:cubicBezTo>
                    <a:pt x="2122" y="272"/>
                    <a:pt x="2126" y="271"/>
                    <a:pt x="2133" y="271"/>
                  </a:cubicBezTo>
                  <a:cubicBezTo>
                    <a:pt x="2132" y="275"/>
                    <a:pt x="2128" y="277"/>
                    <a:pt x="2122" y="276"/>
                  </a:cubicBezTo>
                  <a:close/>
                  <a:moveTo>
                    <a:pt x="2129" y="243"/>
                  </a:moveTo>
                  <a:cubicBezTo>
                    <a:pt x="2129" y="241"/>
                    <a:pt x="2129" y="240"/>
                    <a:pt x="2129" y="238"/>
                  </a:cubicBezTo>
                  <a:cubicBezTo>
                    <a:pt x="2131" y="238"/>
                    <a:pt x="2133" y="238"/>
                    <a:pt x="2135" y="238"/>
                  </a:cubicBezTo>
                  <a:cubicBezTo>
                    <a:pt x="2135" y="240"/>
                    <a:pt x="2135" y="241"/>
                    <a:pt x="2135" y="243"/>
                  </a:cubicBezTo>
                  <a:cubicBezTo>
                    <a:pt x="2133" y="243"/>
                    <a:pt x="2131" y="243"/>
                    <a:pt x="2129" y="243"/>
                  </a:cubicBezTo>
                  <a:close/>
                  <a:moveTo>
                    <a:pt x="2134" y="210"/>
                  </a:moveTo>
                  <a:cubicBezTo>
                    <a:pt x="2132" y="212"/>
                    <a:pt x="2130" y="212"/>
                    <a:pt x="2126" y="213"/>
                  </a:cubicBezTo>
                  <a:cubicBezTo>
                    <a:pt x="2126" y="213"/>
                    <a:pt x="2126" y="210"/>
                    <a:pt x="2126" y="210"/>
                  </a:cubicBezTo>
                  <a:cubicBezTo>
                    <a:pt x="2124" y="211"/>
                    <a:pt x="2124" y="213"/>
                    <a:pt x="2123" y="213"/>
                  </a:cubicBezTo>
                  <a:cubicBezTo>
                    <a:pt x="2121" y="213"/>
                    <a:pt x="2120" y="210"/>
                    <a:pt x="2121" y="210"/>
                  </a:cubicBezTo>
                  <a:cubicBezTo>
                    <a:pt x="2121" y="210"/>
                    <a:pt x="2113" y="212"/>
                    <a:pt x="2112" y="213"/>
                  </a:cubicBezTo>
                  <a:cubicBezTo>
                    <a:pt x="2110" y="215"/>
                    <a:pt x="2112" y="213"/>
                    <a:pt x="2101" y="213"/>
                  </a:cubicBezTo>
                  <a:cubicBezTo>
                    <a:pt x="2103" y="207"/>
                    <a:pt x="2100" y="205"/>
                    <a:pt x="2093" y="206"/>
                  </a:cubicBezTo>
                  <a:cubicBezTo>
                    <a:pt x="2092" y="203"/>
                    <a:pt x="2097" y="205"/>
                    <a:pt x="2099" y="204"/>
                  </a:cubicBezTo>
                  <a:cubicBezTo>
                    <a:pt x="2103" y="199"/>
                    <a:pt x="2097" y="191"/>
                    <a:pt x="2107" y="192"/>
                  </a:cubicBezTo>
                  <a:cubicBezTo>
                    <a:pt x="2101" y="197"/>
                    <a:pt x="2105" y="205"/>
                    <a:pt x="2107" y="211"/>
                  </a:cubicBezTo>
                  <a:cubicBezTo>
                    <a:pt x="2112" y="208"/>
                    <a:pt x="2122" y="210"/>
                    <a:pt x="2121" y="203"/>
                  </a:cubicBezTo>
                  <a:cubicBezTo>
                    <a:pt x="2123" y="205"/>
                    <a:pt x="2125" y="207"/>
                    <a:pt x="2126" y="210"/>
                  </a:cubicBezTo>
                  <a:cubicBezTo>
                    <a:pt x="2130" y="206"/>
                    <a:pt x="2135" y="204"/>
                    <a:pt x="2134" y="196"/>
                  </a:cubicBezTo>
                  <a:cubicBezTo>
                    <a:pt x="2138" y="196"/>
                    <a:pt x="2135" y="203"/>
                    <a:pt x="2140" y="203"/>
                  </a:cubicBezTo>
                  <a:cubicBezTo>
                    <a:pt x="2138" y="205"/>
                    <a:pt x="2133" y="206"/>
                    <a:pt x="2134" y="210"/>
                  </a:cubicBezTo>
                  <a:close/>
                  <a:moveTo>
                    <a:pt x="2144" y="285"/>
                  </a:moveTo>
                  <a:cubicBezTo>
                    <a:pt x="2139" y="283"/>
                    <a:pt x="2136" y="275"/>
                    <a:pt x="2141" y="271"/>
                  </a:cubicBezTo>
                  <a:cubicBezTo>
                    <a:pt x="2147" y="271"/>
                    <a:pt x="2142" y="281"/>
                    <a:pt x="2144" y="285"/>
                  </a:cubicBezTo>
                  <a:close/>
                  <a:moveTo>
                    <a:pt x="2143" y="215"/>
                  </a:moveTo>
                  <a:cubicBezTo>
                    <a:pt x="2146" y="216"/>
                    <a:pt x="2148" y="218"/>
                    <a:pt x="2148" y="222"/>
                  </a:cubicBezTo>
                  <a:cubicBezTo>
                    <a:pt x="2145" y="221"/>
                    <a:pt x="2143" y="219"/>
                    <a:pt x="2143" y="215"/>
                  </a:cubicBezTo>
                  <a:close/>
                  <a:moveTo>
                    <a:pt x="2147" y="156"/>
                  </a:moveTo>
                  <a:cubicBezTo>
                    <a:pt x="2143" y="154"/>
                    <a:pt x="2148" y="152"/>
                    <a:pt x="2144" y="146"/>
                  </a:cubicBezTo>
                  <a:cubicBezTo>
                    <a:pt x="2154" y="144"/>
                    <a:pt x="2150" y="154"/>
                    <a:pt x="2155" y="156"/>
                  </a:cubicBezTo>
                  <a:cubicBezTo>
                    <a:pt x="2154" y="159"/>
                    <a:pt x="2151" y="156"/>
                    <a:pt x="2150" y="153"/>
                  </a:cubicBezTo>
                  <a:cubicBezTo>
                    <a:pt x="2147" y="153"/>
                    <a:pt x="2147" y="154"/>
                    <a:pt x="2147" y="156"/>
                  </a:cubicBezTo>
                  <a:close/>
                  <a:moveTo>
                    <a:pt x="2157" y="250"/>
                  </a:moveTo>
                  <a:cubicBezTo>
                    <a:pt x="2153" y="249"/>
                    <a:pt x="2156" y="243"/>
                    <a:pt x="2151" y="243"/>
                  </a:cubicBezTo>
                  <a:cubicBezTo>
                    <a:pt x="2153" y="240"/>
                    <a:pt x="2158" y="240"/>
                    <a:pt x="2157" y="236"/>
                  </a:cubicBezTo>
                  <a:cubicBezTo>
                    <a:pt x="2164" y="238"/>
                    <a:pt x="2156" y="246"/>
                    <a:pt x="2157" y="250"/>
                  </a:cubicBezTo>
                  <a:close/>
                  <a:moveTo>
                    <a:pt x="2159" y="221"/>
                  </a:moveTo>
                  <a:cubicBezTo>
                    <a:pt x="2160" y="224"/>
                    <a:pt x="2159" y="236"/>
                    <a:pt x="2157" y="228"/>
                  </a:cubicBezTo>
                  <a:cubicBezTo>
                    <a:pt x="2157" y="224"/>
                    <a:pt x="2156" y="219"/>
                    <a:pt x="2156" y="214"/>
                  </a:cubicBezTo>
                  <a:cubicBezTo>
                    <a:pt x="2160" y="214"/>
                    <a:pt x="2164" y="214"/>
                    <a:pt x="2167" y="214"/>
                  </a:cubicBezTo>
                  <a:cubicBezTo>
                    <a:pt x="2168" y="219"/>
                    <a:pt x="2165" y="222"/>
                    <a:pt x="2159" y="221"/>
                  </a:cubicBezTo>
                  <a:close/>
                  <a:moveTo>
                    <a:pt x="2168" y="273"/>
                  </a:moveTo>
                  <a:cubicBezTo>
                    <a:pt x="2171" y="274"/>
                    <a:pt x="2173" y="275"/>
                    <a:pt x="2177" y="275"/>
                  </a:cubicBezTo>
                  <a:cubicBezTo>
                    <a:pt x="2176" y="284"/>
                    <a:pt x="2173" y="284"/>
                    <a:pt x="2177" y="292"/>
                  </a:cubicBezTo>
                  <a:cubicBezTo>
                    <a:pt x="2165" y="293"/>
                    <a:pt x="2169" y="281"/>
                    <a:pt x="2168" y="273"/>
                  </a:cubicBezTo>
                  <a:close/>
                  <a:moveTo>
                    <a:pt x="2174" y="273"/>
                  </a:moveTo>
                  <a:cubicBezTo>
                    <a:pt x="2174" y="271"/>
                    <a:pt x="2174" y="270"/>
                    <a:pt x="2174" y="268"/>
                  </a:cubicBezTo>
                  <a:cubicBezTo>
                    <a:pt x="2176" y="268"/>
                    <a:pt x="2177" y="268"/>
                    <a:pt x="2179" y="268"/>
                  </a:cubicBezTo>
                  <a:cubicBezTo>
                    <a:pt x="2179" y="270"/>
                    <a:pt x="2179" y="271"/>
                    <a:pt x="2179" y="273"/>
                  </a:cubicBezTo>
                  <a:cubicBezTo>
                    <a:pt x="2177" y="273"/>
                    <a:pt x="2176" y="273"/>
                    <a:pt x="2174" y="273"/>
                  </a:cubicBezTo>
                  <a:close/>
                  <a:moveTo>
                    <a:pt x="2170" y="217"/>
                  </a:moveTo>
                  <a:cubicBezTo>
                    <a:pt x="2171" y="213"/>
                    <a:pt x="2177" y="214"/>
                    <a:pt x="2181" y="214"/>
                  </a:cubicBezTo>
                  <a:cubicBezTo>
                    <a:pt x="2180" y="219"/>
                    <a:pt x="2174" y="220"/>
                    <a:pt x="2170" y="217"/>
                  </a:cubicBezTo>
                  <a:close/>
                  <a:moveTo>
                    <a:pt x="2181" y="197"/>
                  </a:moveTo>
                  <a:cubicBezTo>
                    <a:pt x="2173" y="193"/>
                    <a:pt x="2182" y="183"/>
                    <a:pt x="2183" y="179"/>
                  </a:cubicBezTo>
                  <a:cubicBezTo>
                    <a:pt x="2189" y="182"/>
                    <a:pt x="2180" y="191"/>
                    <a:pt x="2181" y="197"/>
                  </a:cubicBezTo>
                  <a:close/>
                  <a:moveTo>
                    <a:pt x="2188" y="136"/>
                  </a:moveTo>
                  <a:cubicBezTo>
                    <a:pt x="2190" y="136"/>
                    <a:pt x="2192" y="136"/>
                    <a:pt x="2193" y="136"/>
                  </a:cubicBezTo>
                  <a:cubicBezTo>
                    <a:pt x="2195" y="141"/>
                    <a:pt x="2190" y="141"/>
                    <a:pt x="2185" y="141"/>
                  </a:cubicBezTo>
                  <a:cubicBezTo>
                    <a:pt x="2186" y="139"/>
                    <a:pt x="2188" y="139"/>
                    <a:pt x="2188" y="136"/>
                  </a:cubicBezTo>
                  <a:close/>
                  <a:moveTo>
                    <a:pt x="2189" y="204"/>
                  </a:moveTo>
                  <a:cubicBezTo>
                    <a:pt x="2188" y="209"/>
                    <a:pt x="2186" y="203"/>
                    <a:pt x="2186" y="200"/>
                  </a:cubicBezTo>
                  <a:cubicBezTo>
                    <a:pt x="2187" y="195"/>
                    <a:pt x="2190" y="201"/>
                    <a:pt x="2189" y="204"/>
                  </a:cubicBezTo>
                  <a:close/>
                  <a:moveTo>
                    <a:pt x="2189" y="214"/>
                  </a:moveTo>
                  <a:cubicBezTo>
                    <a:pt x="2194" y="213"/>
                    <a:pt x="2194" y="216"/>
                    <a:pt x="2198" y="216"/>
                  </a:cubicBezTo>
                  <a:cubicBezTo>
                    <a:pt x="2195" y="223"/>
                    <a:pt x="2195" y="223"/>
                    <a:pt x="2198" y="230"/>
                  </a:cubicBezTo>
                  <a:cubicBezTo>
                    <a:pt x="2190" y="229"/>
                    <a:pt x="2193" y="219"/>
                    <a:pt x="2189" y="214"/>
                  </a:cubicBezTo>
                  <a:close/>
                  <a:moveTo>
                    <a:pt x="2191" y="148"/>
                  </a:moveTo>
                  <a:cubicBezTo>
                    <a:pt x="2192" y="145"/>
                    <a:pt x="2198" y="146"/>
                    <a:pt x="2202" y="145"/>
                  </a:cubicBezTo>
                  <a:cubicBezTo>
                    <a:pt x="2201" y="137"/>
                    <a:pt x="2204" y="132"/>
                    <a:pt x="2213" y="131"/>
                  </a:cubicBezTo>
                  <a:cubicBezTo>
                    <a:pt x="2207" y="140"/>
                    <a:pt x="2204" y="142"/>
                    <a:pt x="2207" y="155"/>
                  </a:cubicBezTo>
                  <a:cubicBezTo>
                    <a:pt x="2200" y="155"/>
                    <a:pt x="2204" y="153"/>
                    <a:pt x="2205" y="150"/>
                  </a:cubicBezTo>
                  <a:cubicBezTo>
                    <a:pt x="2200" y="145"/>
                    <a:pt x="2198" y="152"/>
                    <a:pt x="2191" y="148"/>
                  </a:cubicBezTo>
                  <a:close/>
                  <a:moveTo>
                    <a:pt x="2214" y="220"/>
                  </a:moveTo>
                  <a:cubicBezTo>
                    <a:pt x="2205" y="222"/>
                    <a:pt x="2213" y="209"/>
                    <a:pt x="2203" y="211"/>
                  </a:cubicBezTo>
                  <a:cubicBezTo>
                    <a:pt x="2203" y="208"/>
                    <a:pt x="2208" y="209"/>
                    <a:pt x="2211" y="209"/>
                  </a:cubicBezTo>
                  <a:cubicBezTo>
                    <a:pt x="2209" y="215"/>
                    <a:pt x="2215" y="215"/>
                    <a:pt x="2214" y="220"/>
                  </a:cubicBezTo>
                  <a:close/>
                  <a:moveTo>
                    <a:pt x="2211" y="202"/>
                  </a:moveTo>
                  <a:cubicBezTo>
                    <a:pt x="2208" y="201"/>
                    <a:pt x="2206" y="202"/>
                    <a:pt x="2206" y="204"/>
                  </a:cubicBezTo>
                  <a:cubicBezTo>
                    <a:pt x="2201" y="203"/>
                    <a:pt x="2207" y="201"/>
                    <a:pt x="2206" y="197"/>
                  </a:cubicBezTo>
                  <a:cubicBezTo>
                    <a:pt x="2209" y="201"/>
                    <a:pt x="2217" y="200"/>
                    <a:pt x="2217" y="206"/>
                  </a:cubicBezTo>
                  <a:cubicBezTo>
                    <a:pt x="2214" y="205"/>
                    <a:pt x="2212" y="204"/>
                    <a:pt x="2211" y="202"/>
                  </a:cubicBezTo>
                  <a:close/>
                  <a:moveTo>
                    <a:pt x="2222" y="223"/>
                  </a:moveTo>
                  <a:cubicBezTo>
                    <a:pt x="2219" y="222"/>
                    <a:pt x="2220" y="217"/>
                    <a:pt x="2219" y="213"/>
                  </a:cubicBezTo>
                  <a:cubicBezTo>
                    <a:pt x="2222" y="213"/>
                    <a:pt x="2225" y="213"/>
                    <a:pt x="2228" y="213"/>
                  </a:cubicBezTo>
                  <a:cubicBezTo>
                    <a:pt x="2231" y="221"/>
                    <a:pt x="2219" y="215"/>
                    <a:pt x="2222" y="223"/>
                  </a:cubicBezTo>
                  <a:close/>
                  <a:moveTo>
                    <a:pt x="2233" y="187"/>
                  </a:moveTo>
                  <a:cubicBezTo>
                    <a:pt x="2235" y="187"/>
                    <a:pt x="2236" y="187"/>
                    <a:pt x="2238" y="187"/>
                  </a:cubicBezTo>
                  <a:cubicBezTo>
                    <a:pt x="2240" y="192"/>
                    <a:pt x="2234" y="192"/>
                    <a:pt x="2230" y="192"/>
                  </a:cubicBezTo>
                  <a:cubicBezTo>
                    <a:pt x="2231" y="190"/>
                    <a:pt x="2233" y="190"/>
                    <a:pt x="2233" y="187"/>
                  </a:cubicBezTo>
                  <a:close/>
                  <a:moveTo>
                    <a:pt x="2236" y="225"/>
                  </a:moveTo>
                  <a:cubicBezTo>
                    <a:pt x="2234" y="223"/>
                    <a:pt x="2230" y="215"/>
                    <a:pt x="2230" y="208"/>
                  </a:cubicBezTo>
                  <a:cubicBezTo>
                    <a:pt x="2230" y="207"/>
                    <a:pt x="2235" y="207"/>
                    <a:pt x="2236" y="206"/>
                  </a:cubicBezTo>
                  <a:cubicBezTo>
                    <a:pt x="2237" y="205"/>
                    <a:pt x="2232" y="201"/>
                    <a:pt x="2236" y="199"/>
                  </a:cubicBezTo>
                  <a:cubicBezTo>
                    <a:pt x="2244" y="199"/>
                    <a:pt x="2230" y="217"/>
                    <a:pt x="2239" y="211"/>
                  </a:cubicBezTo>
                  <a:cubicBezTo>
                    <a:pt x="2247" y="214"/>
                    <a:pt x="2234" y="219"/>
                    <a:pt x="2236" y="225"/>
                  </a:cubicBezTo>
                  <a:close/>
                  <a:moveTo>
                    <a:pt x="2264" y="104"/>
                  </a:moveTo>
                  <a:cubicBezTo>
                    <a:pt x="2271" y="105"/>
                    <a:pt x="2267" y="115"/>
                    <a:pt x="2259" y="112"/>
                  </a:cubicBezTo>
                  <a:cubicBezTo>
                    <a:pt x="2261" y="109"/>
                    <a:pt x="2265" y="109"/>
                    <a:pt x="2264" y="104"/>
                  </a:cubicBezTo>
                  <a:close/>
                  <a:moveTo>
                    <a:pt x="2267" y="128"/>
                  </a:moveTo>
                  <a:cubicBezTo>
                    <a:pt x="2277" y="126"/>
                    <a:pt x="2268" y="138"/>
                    <a:pt x="2265" y="135"/>
                  </a:cubicBezTo>
                  <a:cubicBezTo>
                    <a:pt x="2265" y="135"/>
                    <a:pt x="2267" y="130"/>
                    <a:pt x="2267" y="130"/>
                  </a:cubicBezTo>
                  <a:cubicBezTo>
                    <a:pt x="2268" y="130"/>
                    <a:pt x="2267" y="128"/>
                    <a:pt x="2267" y="128"/>
                  </a:cubicBezTo>
                  <a:close/>
                  <a:moveTo>
                    <a:pt x="2265" y="121"/>
                  </a:moveTo>
                  <a:cubicBezTo>
                    <a:pt x="2266" y="120"/>
                    <a:pt x="2256" y="119"/>
                    <a:pt x="2256" y="119"/>
                  </a:cubicBezTo>
                  <a:cubicBezTo>
                    <a:pt x="2255" y="115"/>
                    <a:pt x="2271" y="115"/>
                    <a:pt x="2265" y="121"/>
                  </a:cubicBezTo>
                  <a:close/>
                  <a:moveTo>
                    <a:pt x="2243" y="135"/>
                  </a:moveTo>
                  <a:cubicBezTo>
                    <a:pt x="2245" y="134"/>
                    <a:pt x="2245" y="138"/>
                    <a:pt x="2246" y="138"/>
                  </a:cubicBezTo>
                  <a:cubicBezTo>
                    <a:pt x="2248" y="138"/>
                    <a:pt x="2248" y="135"/>
                    <a:pt x="2248" y="135"/>
                  </a:cubicBezTo>
                  <a:cubicBezTo>
                    <a:pt x="2252" y="135"/>
                    <a:pt x="2258" y="140"/>
                    <a:pt x="2259" y="135"/>
                  </a:cubicBezTo>
                  <a:cubicBezTo>
                    <a:pt x="2255" y="132"/>
                    <a:pt x="2259" y="134"/>
                    <a:pt x="2262" y="135"/>
                  </a:cubicBezTo>
                  <a:cubicBezTo>
                    <a:pt x="2261" y="135"/>
                    <a:pt x="2260" y="139"/>
                    <a:pt x="2259" y="140"/>
                  </a:cubicBezTo>
                  <a:cubicBezTo>
                    <a:pt x="2256" y="141"/>
                    <a:pt x="2255" y="137"/>
                    <a:pt x="2254" y="137"/>
                  </a:cubicBezTo>
                  <a:cubicBezTo>
                    <a:pt x="2249" y="138"/>
                    <a:pt x="2241" y="144"/>
                    <a:pt x="2243" y="135"/>
                  </a:cubicBezTo>
                  <a:close/>
                  <a:moveTo>
                    <a:pt x="2247" y="220"/>
                  </a:moveTo>
                  <a:cubicBezTo>
                    <a:pt x="2252" y="215"/>
                    <a:pt x="2247" y="217"/>
                    <a:pt x="2247" y="210"/>
                  </a:cubicBezTo>
                  <a:cubicBezTo>
                    <a:pt x="2256" y="210"/>
                    <a:pt x="2258" y="221"/>
                    <a:pt x="2247" y="220"/>
                  </a:cubicBezTo>
                  <a:close/>
                  <a:moveTo>
                    <a:pt x="2244" y="192"/>
                  </a:moveTo>
                  <a:cubicBezTo>
                    <a:pt x="2237" y="190"/>
                    <a:pt x="2252" y="187"/>
                    <a:pt x="2257" y="187"/>
                  </a:cubicBezTo>
                  <a:cubicBezTo>
                    <a:pt x="2255" y="190"/>
                    <a:pt x="2249" y="190"/>
                    <a:pt x="2244" y="192"/>
                  </a:cubicBezTo>
                  <a:close/>
                  <a:moveTo>
                    <a:pt x="2249" y="182"/>
                  </a:moveTo>
                  <a:cubicBezTo>
                    <a:pt x="2251" y="180"/>
                    <a:pt x="2252" y="178"/>
                    <a:pt x="2252" y="175"/>
                  </a:cubicBezTo>
                  <a:cubicBezTo>
                    <a:pt x="2255" y="175"/>
                    <a:pt x="2257" y="175"/>
                    <a:pt x="2260" y="175"/>
                  </a:cubicBezTo>
                  <a:cubicBezTo>
                    <a:pt x="2258" y="178"/>
                    <a:pt x="2256" y="183"/>
                    <a:pt x="2249" y="182"/>
                  </a:cubicBezTo>
                  <a:close/>
                  <a:moveTo>
                    <a:pt x="2261" y="227"/>
                  </a:moveTo>
                  <a:cubicBezTo>
                    <a:pt x="2261" y="221"/>
                    <a:pt x="2266" y="230"/>
                    <a:pt x="2272" y="226"/>
                  </a:cubicBezTo>
                  <a:cubicBezTo>
                    <a:pt x="2272" y="232"/>
                    <a:pt x="2263" y="227"/>
                    <a:pt x="2261" y="227"/>
                  </a:cubicBezTo>
                  <a:close/>
                  <a:moveTo>
                    <a:pt x="2269" y="234"/>
                  </a:moveTo>
                  <a:cubicBezTo>
                    <a:pt x="2281" y="234"/>
                    <a:pt x="2267" y="247"/>
                    <a:pt x="2269" y="234"/>
                  </a:cubicBezTo>
                  <a:close/>
                  <a:moveTo>
                    <a:pt x="2273" y="109"/>
                  </a:moveTo>
                  <a:cubicBezTo>
                    <a:pt x="2269" y="106"/>
                    <a:pt x="2266" y="97"/>
                    <a:pt x="2269" y="95"/>
                  </a:cubicBezTo>
                  <a:cubicBezTo>
                    <a:pt x="2273" y="98"/>
                    <a:pt x="2276" y="106"/>
                    <a:pt x="2273" y="109"/>
                  </a:cubicBezTo>
                  <a:close/>
                  <a:moveTo>
                    <a:pt x="2886" y="232"/>
                  </a:moveTo>
                  <a:cubicBezTo>
                    <a:pt x="2880" y="240"/>
                    <a:pt x="2873" y="226"/>
                    <a:pt x="2886" y="232"/>
                  </a:cubicBezTo>
                  <a:close/>
                  <a:moveTo>
                    <a:pt x="2865" y="263"/>
                  </a:moveTo>
                  <a:cubicBezTo>
                    <a:pt x="2870" y="263"/>
                    <a:pt x="2871" y="266"/>
                    <a:pt x="2876" y="265"/>
                  </a:cubicBezTo>
                  <a:cubicBezTo>
                    <a:pt x="2877" y="269"/>
                    <a:pt x="2861" y="270"/>
                    <a:pt x="2865" y="263"/>
                  </a:cubicBezTo>
                  <a:close/>
                  <a:moveTo>
                    <a:pt x="2865" y="230"/>
                  </a:moveTo>
                  <a:cubicBezTo>
                    <a:pt x="2876" y="227"/>
                    <a:pt x="2872" y="238"/>
                    <a:pt x="2878" y="239"/>
                  </a:cubicBezTo>
                  <a:cubicBezTo>
                    <a:pt x="2877" y="243"/>
                    <a:pt x="2872" y="241"/>
                    <a:pt x="2873" y="237"/>
                  </a:cubicBezTo>
                  <a:cubicBezTo>
                    <a:pt x="2865" y="239"/>
                    <a:pt x="2875" y="246"/>
                    <a:pt x="2879" y="246"/>
                  </a:cubicBezTo>
                  <a:cubicBezTo>
                    <a:pt x="2876" y="250"/>
                    <a:pt x="2877" y="256"/>
                    <a:pt x="2868" y="254"/>
                  </a:cubicBezTo>
                  <a:cubicBezTo>
                    <a:pt x="2866" y="252"/>
                    <a:pt x="2873" y="249"/>
                    <a:pt x="2873" y="249"/>
                  </a:cubicBezTo>
                  <a:cubicBezTo>
                    <a:pt x="2873" y="246"/>
                    <a:pt x="2869" y="248"/>
                    <a:pt x="2867" y="247"/>
                  </a:cubicBezTo>
                  <a:cubicBezTo>
                    <a:pt x="2867" y="246"/>
                    <a:pt x="2868" y="243"/>
                    <a:pt x="2867" y="242"/>
                  </a:cubicBezTo>
                  <a:cubicBezTo>
                    <a:pt x="2866" y="241"/>
                    <a:pt x="2863" y="237"/>
                    <a:pt x="2865" y="230"/>
                  </a:cubicBezTo>
                  <a:close/>
                  <a:moveTo>
                    <a:pt x="2862" y="247"/>
                  </a:moveTo>
                  <a:cubicBezTo>
                    <a:pt x="2860" y="251"/>
                    <a:pt x="2859" y="245"/>
                    <a:pt x="2859" y="242"/>
                  </a:cubicBezTo>
                  <a:cubicBezTo>
                    <a:pt x="2851" y="239"/>
                    <a:pt x="2866" y="240"/>
                    <a:pt x="2862" y="247"/>
                  </a:cubicBezTo>
                  <a:close/>
                  <a:moveTo>
                    <a:pt x="2869" y="193"/>
                  </a:moveTo>
                  <a:cubicBezTo>
                    <a:pt x="2871" y="190"/>
                    <a:pt x="2873" y="188"/>
                    <a:pt x="2869" y="188"/>
                  </a:cubicBezTo>
                  <a:cubicBezTo>
                    <a:pt x="2872" y="178"/>
                    <a:pt x="2881" y="196"/>
                    <a:pt x="2869" y="193"/>
                  </a:cubicBezTo>
                  <a:close/>
                  <a:moveTo>
                    <a:pt x="2872" y="160"/>
                  </a:moveTo>
                  <a:cubicBezTo>
                    <a:pt x="2866" y="156"/>
                    <a:pt x="2868" y="160"/>
                    <a:pt x="2861" y="160"/>
                  </a:cubicBezTo>
                  <a:cubicBezTo>
                    <a:pt x="2860" y="158"/>
                    <a:pt x="2862" y="158"/>
                    <a:pt x="2863" y="157"/>
                  </a:cubicBezTo>
                  <a:cubicBezTo>
                    <a:pt x="2863" y="155"/>
                    <a:pt x="2860" y="156"/>
                    <a:pt x="2858" y="155"/>
                  </a:cubicBezTo>
                  <a:cubicBezTo>
                    <a:pt x="2859" y="147"/>
                    <a:pt x="2872" y="152"/>
                    <a:pt x="2872" y="160"/>
                  </a:cubicBezTo>
                  <a:close/>
                  <a:moveTo>
                    <a:pt x="2705" y="221"/>
                  </a:moveTo>
                  <a:cubicBezTo>
                    <a:pt x="2707" y="221"/>
                    <a:pt x="2709" y="221"/>
                    <a:pt x="2711" y="221"/>
                  </a:cubicBezTo>
                  <a:cubicBezTo>
                    <a:pt x="2711" y="223"/>
                    <a:pt x="2711" y="224"/>
                    <a:pt x="2711" y="226"/>
                  </a:cubicBezTo>
                  <a:cubicBezTo>
                    <a:pt x="2709" y="226"/>
                    <a:pt x="2707" y="226"/>
                    <a:pt x="2705" y="226"/>
                  </a:cubicBezTo>
                  <a:cubicBezTo>
                    <a:pt x="2705" y="224"/>
                    <a:pt x="2705" y="223"/>
                    <a:pt x="2705" y="221"/>
                  </a:cubicBezTo>
                  <a:close/>
                  <a:moveTo>
                    <a:pt x="2714" y="245"/>
                  </a:moveTo>
                  <a:cubicBezTo>
                    <a:pt x="2718" y="236"/>
                    <a:pt x="2706" y="240"/>
                    <a:pt x="2708" y="233"/>
                  </a:cubicBezTo>
                  <a:cubicBezTo>
                    <a:pt x="2713" y="233"/>
                    <a:pt x="2714" y="230"/>
                    <a:pt x="2719" y="230"/>
                  </a:cubicBezTo>
                  <a:cubicBezTo>
                    <a:pt x="2725" y="236"/>
                    <a:pt x="2714" y="241"/>
                    <a:pt x="2725" y="242"/>
                  </a:cubicBezTo>
                  <a:cubicBezTo>
                    <a:pt x="2724" y="245"/>
                    <a:pt x="2718" y="244"/>
                    <a:pt x="2714" y="245"/>
                  </a:cubicBezTo>
                  <a:close/>
                  <a:moveTo>
                    <a:pt x="2727" y="237"/>
                  </a:moveTo>
                  <a:cubicBezTo>
                    <a:pt x="2730" y="232"/>
                    <a:pt x="2734" y="229"/>
                    <a:pt x="2733" y="221"/>
                  </a:cubicBezTo>
                  <a:cubicBezTo>
                    <a:pt x="2743" y="224"/>
                    <a:pt x="2734" y="228"/>
                    <a:pt x="2738" y="235"/>
                  </a:cubicBezTo>
                  <a:cubicBezTo>
                    <a:pt x="2733" y="235"/>
                    <a:pt x="2733" y="238"/>
                    <a:pt x="2727" y="237"/>
                  </a:cubicBezTo>
                  <a:close/>
                  <a:moveTo>
                    <a:pt x="2733" y="242"/>
                  </a:moveTo>
                  <a:cubicBezTo>
                    <a:pt x="2735" y="244"/>
                    <a:pt x="2739" y="244"/>
                    <a:pt x="2739" y="249"/>
                  </a:cubicBezTo>
                  <a:cubicBezTo>
                    <a:pt x="2731" y="250"/>
                    <a:pt x="2731" y="244"/>
                    <a:pt x="2730" y="240"/>
                  </a:cubicBezTo>
                  <a:cubicBezTo>
                    <a:pt x="2735" y="240"/>
                    <a:pt x="2736" y="237"/>
                    <a:pt x="2741" y="237"/>
                  </a:cubicBezTo>
                  <a:cubicBezTo>
                    <a:pt x="2743" y="242"/>
                    <a:pt x="2737" y="242"/>
                    <a:pt x="2733" y="242"/>
                  </a:cubicBezTo>
                  <a:close/>
                  <a:moveTo>
                    <a:pt x="2730" y="218"/>
                  </a:moveTo>
                  <a:cubicBezTo>
                    <a:pt x="2727" y="211"/>
                    <a:pt x="2747" y="206"/>
                    <a:pt x="2730" y="207"/>
                  </a:cubicBezTo>
                  <a:cubicBezTo>
                    <a:pt x="2729" y="198"/>
                    <a:pt x="2749" y="206"/>
                    <a:pt x="2751" y="199"/>
                  </a:cubicBezTo>
                  <a:cubicBezTo>
                    <a:pt x="2758" y="201"/>
                    <a:pt x="2748" y="208"/>
                    <a:pt x="2752" y="216"/>
                  </a:cubicBezTo>
                  <a:cubicBezTo>
                    <a:pt x="2746" y="217"/>
                    <a:pt x="2748" y="211"/>
                    <a:pt x="2743" y="211"/>
                  </a:cubicBezTo>
                  <a:cubicBezTo>
                    <a:pt x="2735" y="213"/>
                    <a:pt x="2750" y="215"/>
                    <a:pt x="2746" y="221"/>
                  </a:cubicBezTo>
                  <a:cubicBezTo>
                    <a:pt x="2741" y="218"/>
                    <a:pt x="2738" y="222"/>
                    <a:pt x="2730" y="218"/>
                  </a:cubicBezTo>
                  <a:close/>
                  <a:moveTo>
                    <a:pt x="2740" y="185"/>
                  </a:moveTo>
                  <a:cubicBezTo>
                    <a:pt x="2742" y="185"/>
                    <a:pt x="2744" y="185"/>
                    <a:pt x="2746" y="185"/>
                  </a:cubicBezTo>
                  <a:cubicBezTo>
                    <a:pt x="2746" y="187"/>
                    <a:pt x="2746" y="188"/>
                    <a:pt x="2746" y="190"/>
                  </a:cubicBezTo>
                  <a:cubicBezTo>
                    <a:pt x="2744" y="190"/>
                    <a:pt x="2742" y="190"/>
                    <a:pt x="2740" y="190"/>
                  </a:cubicBezTo>
                  <a:cubicBezTo>
                    <a:pt x="2740" y="189"/>
                    <a:pt x="2740" y="187"/>
                    <a:pt x="2740" y="185"/>
                  </a:cubicBezTo>
                  <a:close/>
                  <a:moveTo>
                    <a:pt x="2755" y="242"/>
                  </a:moveTo>
                  <a:cubicBezTo>
                    <a:pt x="2751" y="242"/>
                    <a:pt x="2748" y="242"/>
                    <a:pt x="2744" y="242"/>
                  </a:cubicBezTo>
                  <a:cubicBezTo>
                    <a:pt x="2743" y="237"/>
                    <a:pt x="2751" y="238"/>
                    <a:pt x="2749" y="239"/>
                  </a:cubicBezTo>
                  <a:cubicBezTo>
                    <a:pt x="2755" y="235"/>
                    <a:pt x="2752" y="229"/>
                    <a:pt x="2763" y="230"/>
                  </a:cubicBezTo>
                  <a:cubicBezTo>
                    <a:pt x="2766" y="238"/>
                    <a:pt x="2750" y="231"/>
                    <a:pt x="2755" y="242"/>
                  </a:cubicBezTo>
                  <a:close/>
                  <a:moveTo>
                    <a:pt x="2763" y="248"/>
                  </a:moveTo>
                  <a:cubicBezTo>
                    <a:pt x="2760" y="248"/>
                    <a:pt x="2761" y="244"/>
                    <a:pt x="2760" y="241"/>
                  </a:cubicBezTo>
                  <a:cubicBezTo>
                    <a:pt x="2763" y="241"/>
                    <a:pt x="2766" y="241"/>
                    <a:pt x="2769" y="241"/>
                  </a:cubicBezTo>
                  <a:cubicBezTo>
                    <a:pt x="2768" y="244"/>
                    <a:pt x="2764" y="245"/>
                    <a:pt x="2763" y="248"/>
                  </a:cubicBezTo>
                  <a:close/>
                  <a:moveTo>
                    <a:pt x="2771" y="222"/>
                  </a:moveTo>
                  <a:cubicBezTo>
                    <a:pt x="2784" y="224"/>
                    <a:pt x="2769" y="237"/>
                    <a:pt x="2771" y="222"/>
                  </a:cubicBezTo>
                  <a:close/>
                  <a:moveTo>
                    <a:pt x="2777" y="262"/>
                  </a:moveTo>
                  <a:cubicBezTo>
                    <a:pt x="2771" y="261"/>
                    <a:pt x="2775" y="250"/>
                    <a:pt x="2777" y="248"/>
                  </a:cubicBezTo>
                  <a:cubicBezTo>
                    <a:pt x="2783" y="249"/>
                    <a:pt x="2779" y="261"/>
                    <a:pt x="2777" y="262"/>
                  </a:cubicBezTo>
                  <a:close/>
                  <a:moveTo>
                    <a:pt x="2782" y="236"/>
                  </a:moveTo>
                  <a:cubicBezTo>
                    <a:pt x="2781" y="236"/>
                    <a:pt x="2779" y="236"/>
                    <a:pt x="2777" y="237"/>
                  </a:cubicBezTo>
                  <a:cubicBezTo>
                    <a:pt x="2777" y="234"/>
                    <a:pt x="2776" y="234"/>
                    <a:pt x="2774" y="234"/>
                  </a:cubicBezTo>
                  <a:cubicBezTo>
                    <a:pt x="2773" y="230"/>
                    <a:pt x="2786" y="231"/>
                    <a:pt x="2782" y="236"/>
                  </a:cubicBezTo>
                  <a:close/>
                  <a:moveTo>
                    <a:pt x="2794" y="269"/>
                  </a:moveTo>
                  <a:cubicBezTo>
                    <a:pt x="2794" y="268"/>
                    <a:pt x="2794" y="266"/>
                    <a:pt x="2794" y="264"/>
                  </a:cubicBezTo>
                  <a:cubicBezTo>
                    <a:pt x="2796" y="264"/>
                    <a:pt x="2797" y="264"/>
                    <a:pt x="2799" y="264"/>
                  </a:cubicBezTo>
                  <a:cubicBezTo>
                    <a:pt x="2799" y="266"/>
                    <a:pt x="2799" y="267"/>
                    <a:pt x="2799" y="269"/>
                  </a:cubicBezTo>
                  <a:cubicBezTo>
                    <a:pt x="2798" y="269"/>
                    <a:pt x="2796" y="269"/>
                    <a:pt x="2794" y="269"/>
                  </a:cubicBezTo>
                  <a:close/>
                  <a:moveTo>
                    <a:pt x="2807" y="259"/>
                  </a:moveTo>
                  <a:cubicBezTo>
                    <a:pt x="2804" y="256"/>
                    <a:pt x="2796" y="257"/>
                    <a:pt x="2796" y="250"/>
                  </a:cubicBezTo>
                  <a:cubicBezTo>
                    <a:pt x="2804" y="253"/>
                    <a:pt x="2809" y="244"/>
                    <a:pt x="2799" y="245"/>
                  </a:cubicBezTo>
                  <a:cubicBezTo>
                    <a:pt x="2799" y="242"/>
                    <a:pt x="2806" y="238"/>
                    <a:pt x="2804" y="245"/>
                  </a:cubicBezTo>
                  <a:cubicBezTo>
                    <a:pt x="2808" y="245"/>
                    <a:pt x="2809" y="246"/>
                    <a:pt x="2810" y="248"/>
                  </a:cubicBezTo>
                  <a:cubicBezTo>
                    <a:pt x="2819" y="247"/>
                    <a:pt x="2802" y="239"/>
                    <a:pt x="2815" y="241"/>
                  </a:cubicBezTo>
                  <a:cubicBezTo>
                    <a:pt x="2815" y="245"/>
                    <a:pt x="2815" y="250"/>
                    <a:pt x="2816" y="255"/>
                  </a:cubicBezTo>
                  <a:cubicBezTo>
                    <a:pt x="2810" y="254"/>
                    <a:pt x="2807" y="255"/>
                    <a:pt x="2807" y="259"/>
                  </a:cubicBezTo>
                  <a:close/>
                  <a:moveTo>
                    <a:pt x="2810" y="231"/>
                  </a:moveTo>
                  <a:cubicBezTo>
                    <a:pt x="2809" y="234"/>
                    <a:pt x="2806" y="236"/>
                    <a:pt x="2801" y="236"/>
                  </a:cubicBezTo>
                  <a:cubicBezTo>
                    <a:pt x="2800" y="231"/>
                    <a:pt x="2805" y="232"/>
                    <a:pt x="2810" y="231"/>
                  </a:cubicBezTo>
                  <a:close/>
                  <a:moveTo>
                    <a:pt x="2824" y="259"/>
                  </a:moveTo>
                  <a:cubicBezTo>
                    <a:pt x="2834" y="255"/>
                    <a:pt x="2826" y="267"/>
                    <a:pt x="2832" y="266"/>
                  </a:cubicBezTo>
                  <a:cubicBezTo>
                    <a:pt x="2830" y="272"/>
                    <a:pt x="2821" y="265"/>
                    <a:pt x="2824" y="259"/>
                  </a:cubicBezTo>
                  <a:close/>
                  <a:moveTo>
                    <a:pt x="2838" y="268"/>
                  </a:moveTo>
                  <a:cubicBezTo>
                    <a:pt x="2838" y="267"/>
                    <a:pt x="2838" y="265"/>
                    <a:pt x="2838" y="264"/>
                  </a:cubicBezTo>
                  <a:cubicBezTo>
                    <a:pt x="2840" y="264"/>
                    <a:pt x="2841" y="264"/>
                    <a:pt x="2843" y="264"/>
                  </a:cubicBezTo>
                  <a:cubicBezTo>
                    <a:pt x="2843" y="265"/>
                    <a:pt x="2843" y="267"/>
                    <a:pt x="2843" y="268"/>
                  </a:cubicBezTo>
                  <a:cubicBezTo>
                    <a:pt x="2841" y="268"/>
                    <a:pt x="2840" y="268"/>
                    <a:pt x="2838" y="268"/>
                  </a:cubicBezTo>
                  <a:close/>
                  <a:moveTo>
                    <a:pt x="2833" y="163"/>
                  </a:moveTo>
                  <a:cubicBezTo>
                    <a:pt x="2839" y="163"/>
                    <a:pt x="2835" y="173"/>
                    <a:pt x="2836" y="177"/>
                  </a:cubicBezTo>
                  <a:cubicBezTo>
                    <a:pt x="2840" y="176"/>
                    <a:pt x="2838" y="171"/>
                    <a:pt x="2839" y="167"/>
                  </a:cubicBezTo>
                  <a:cubicBezTo>
                    <a:pt x="2849" y="167"/>
                    <a:pt x="2846" y="180"/>
                    <a:pt x="2850" y="186"/>
                  </a:cubicBezTo>
                  <a:cubicBezTo>
                    <a:pt x="2845" y="186"/>
                    <a:pt x="2847" y="192"/>
                    <a:pt x="2839" y="191"/>
                  </a:cubicBezTo>
                  <a:cubicBezTo>
                    <a:pt x="2838" y="181"/>
                    <a:pt x="2852" y="178"/>
                    <a:pt x="2833" y="179"/>
                  </a:cubicBezTo>
                  <a:cubicBezTo>
                    <a:pt x="2836" y="171"/>
                    <a:pt x="2827" y="168"/>
                    <a:pt x="2833" y="163"/>
                  </a:cubicBezTo>
                  <a:close/>
                  <a:moveTo>
                    <a:pt x="2850" y="198"/>
                  </a:moveTo>
                  <a:cubicBezTo>
                    <a:pt x="2847" y="202"/>
                    <a:pt x="2834" y="210"/>
                    <a:pt x="2834" y="198"/>
                  </a:cubicBezTo>
                  <a:cubicBezTo>
                    <a:pt x="2843" y="200"/>
                    <a:pt x="2845" y="193"/>
                    <a:pt x="2850" y="198"/>
                  </a:cubicBezTo>
                  <a:close/>
                  <a:moveTo>
                    <a:pt x="2836" y="191"/>
                  </a:moveTo>
                  <a:cubicBezTo>
                    <a:pt x="2834" y="190"/>
                    <a:pt x="2834" y="192"/>
                    <a:pt x="2834" y="193"/>
                  </a:cubicBezTo>
                  <a:cubicBezTo>
                    <a:pt x="2830" y="193"/>
                    <a:pt x="2831" y="189"/>
                    <a:pt x="2831" y="186"/>
                  </a:cubicBezTo>
                  <a:cubicBezTo>
                    <a:pt x="2835" y="185"/>
                    <a:pt x="2836" y="188"/>
                    <a:pt x="2836" y="191"/>
                  </a:cubicBezTo>
                  <a:close/>
                  <a:moveTo>
                    <a:pt x="2825" y="175"/>
                  </a:moveTo>
                  <a:cubicBezTo>
                    <a:pt x="2831" y="176"/>
                    <a:pt x="2831" y="178"/>
                    <a:pt x="2828" y="182"/>
                  </a:cubicBezTo>
                  <a:cubicBezTo>
                    <a:pt x="2826" y="182"/>
                    <a:pt x="2824" y="182"/>
                    <a:pt x="2822" y="182"/>
                  </a:cubicBezTo>
                  <a:cubicBezTo>
                    <a:pt x="2822" y="178"/>
                    <a:pt x="2825" y="178"/>
                    <a:pt x="2825" y="175"/>
                  </a:cubicBezTo>
                  <a:close/>
                  <a:moveTo>
                    <a:pt x="2812" y="184"/>
                  </a:moveTo>
                  <a:cubicBezTo>
                    <a:pt x="2823" y="185"/>
                    <a:pt x="2812" y="190"/>
                    <a:pt x="2817" y="196"/>
                  </a:cubicBezTo>
                  <a:cubicBezTo>
                    <a:pt x="2808" y="198"/>
                    <a:pt x="2813" y="189"/>
                    <a:pt x="2812" y="184"/>
                  </a:cubicBezTo>
                  <a:close/>
                  <a:moveTo>
                    <a:pt x="2801" y="182"/>
                  </a:moveTo>
                  <a:cubicBezTo>
                    <a:pt x="2802" y="182"/>
                    <a:pt x="2804" y="182"/>
                    <a:pt x="2806" y="182"/>
                  </a:cubicBezTo>
                  <a:cubicBezTo>
                    <a:pt x="2806" y="184"/>
                    <a:pt x="2807" y="184"/>
                    <a:pt x="2809" y="184"/>
                  </a:cubicBezTo>
                  <a:cubicBezTo>
                    <a:pt x="2809" y="187"/>
                    <a:pt x="2805" y="186"/>
                    <a:pt x="2803" y="187"/>
                  </a:cubicBezTo>
                  <a:cubicBezTo>
                    <a:pt x="2805" y="189"/>
                    <a:pt x="2806" y="190"/>
                    <a:pt x="2806" y="194"/>
                  </a:cubicBezTo>
                  <a:cubicBezTo>
                    <a:pt x="2795" y="194"/>
                    <a:pt x="2799" y="188"/>
                    <a:pt x="2801" y="182"/>
                  </a:cubicBezTo>
                  <a:close/>
                  <a:moveTo>
                    <a:pt x="2801" y="215"/>
                  </a:moveTo>
                  <a:cubicBezTo>
                    <a:pt x="2811" y="212"/>
                    <a:pt x="2811" y="209"/>
                    <a:pt x="2820" y="215"/>
                  </a:cubicBezTo>
                  <a:cubicBezTo>
                    <a:pt x="2823" y="214"/>
                    <a:pt x="2822" y="212"/>
                    <a:pt x="2823" y="210"/>
                  </a:cubicBezTo>
                  <a:cubicBezTo>
                    <a:pt x="2822" y="208"/>
                    <a:pt x="2811" y="204"/>
                    <a:pt x="2812" y="208"/>
                  </a:cubicBezTo>
                  <a:cubicBezTo>
                    <a:pt x="2803" y="206"/>
                    <a:pt x="2815" y="203"/>
                    <a:pt x="2815" y="201"/>
                  </a:cubicBezTo>
                  <a:cubicBezTo>
                    <a:pt x="2815" y="197"/>
                    <a:pt x="2827" y="197"/>
                    <a:pt x="2831" y="198"/>
                  </a:cubicBezTo>
                  <a:cubicBezTo>
                    <a:pt x="2830" y="200"/>
                    <a:pt x="2826" y="200"/>
                    <a:pt x="2826" y="203"/>
                  </a:cubicBezTo>
                  <a:cubicBezTo>
                    <a:pt x="2825" y="206"/>
                    <a:pt x="2831" y="204"/>
                    <a:pt x="2831" y="205"/>
                  </a:cubicBezTo>
                  <a:cubicBezTo>
                    <a:pt x="2832" y="206"/>
                    <a:pt x="2825" y="218"/>
                    <a:pt x="2840" y="214"/>
                  </a:cubicBezTo>
                  <a:cubicBezTo>
                    <a:pt x="2843" y="212"/>
                    <a:pt x="2844" y="207"/>
                    <a:pt x="2853" y="209"/>
                  </a:cubicBezTo>
                  <a:cubicBezTo>
                    <a:pt x="2846" y="218"/>
                    <a:pt x="2842" y="225"/>
                    <a:pt x="2845" y="238"/>
                  </a:cubicBezTo>
                  <a:cubicBezTo>
                    <a:pt x="2842" y="238"/>
                    <a:pt x="2838" y="238"/>
                    <a:pt x="2834" y="238"/>
                  </a:cubicBezTo>
                  <a:cubicBezTo>
                    <a:pt x="2835" y="235"/>
                    <a:pt x="2839" y="236"/>
                    <a:pt x="2843" y="235"/>
                  </a:cubicBezTo>
                  <a:cubicBezTo>
                    <a:pt x="2844" y="230"/>
                    <a:pt x="2837" y="232"/>
                    <a:pt x="2837" y="228"/>
                  </a:cubicBezTo>
                  <a:cubicBezTo>
                    <a:pt x="2835" y="223"/>
                    <a:pt x="2841" y="225"/>
                    <a:pt x="2842" y="224"/>
                  </a:cubicBezTo>
                  <a:cubicBezTo>
                    <a:pt x="2844" y="222"/>
                    <a:pt x="2842" y="218"/>
                    <a:pt x="2845" y="219"/>
                  </a:cubicBezTo>
                  <a:cubicBezTo>
                    <a:pt x="2844" y="215"/>
                    <a:pt x="2842" y="220"/>
                    <a:pt x="2837" y="219"/>
                  </a:cubicBezTo>
                  <a:cubicBezTo>
                    <a:pt x="2838" y="215"/>
                    <a:pt x="2821" y="215"/>
                    <a:pt x="2826" y="222"/>
                  </a:cubicBezTo>
                  <a:cubicBezTo>
                    <a:pt x="2820" y="218"/>
                    <a:pt x="2816" y="223"/>
                    <a:pt x="2812" y="222"/>
                  </a:cubicBezTo>
                  <a:cubicBezTo>
                    <a:pt x="2811" y="221"/>
                    <a:pt x="2813" y="216"/>
                    <a:pt x="2809" y="217"/>
                  </a:cubicBezTo>
                  <a:cubicBezTo>
                    <a:pt x="2806" y="218"/>
                    <a:pt x="2807" y="221"/>
                    <a:pt x="2807" y="224"/>
                  </a:cubicBezTo>
                  <a:cubicBezTo>
                    <a:pt x="2800" y="225"/>
                    <a:pt x="2804" y="217"/>
                    <a:pt x="2798" y="217"/>
                  </a:cubicBezTo>
                  <a:cubicBezTo>
                    <a:pt x="2788" y="223"/>
                    <a:pt x="2807" y="240"/>
                    <a:pt x="2791" y="239"/>
                  </a:cubicBezTo>
                  <a:cubicBezTo>
                    <a:pt x="2791" y="237"/>
                    <a:pt x="2787" y="236"/>
                    <a:pt x="2788" y="234"/>
                  </a:cubicBezTo>
                  <a:cubicBezTo>
                    <a:pt x="2788" y="233"/>
                    <a:pt x="2793" y="232"/>
                    <a:pt x="2793" y="231"/>
                  </a:cubicBezTo>
                  <a:cubicBezTo>
                    <a:pt x="2793" y="227"/>
                    <a:pt x="2787" y="225"/>
                    <a:pt x="2790" y="217"/>
                  </a:cubicBezTo>
                  <a:cubicBezTo>
                    <a:pt x="2788" y="219"/>
                    <a:pt x="2783" y="219"/>
                    <a:pt x="2782" y="222"/>
                  </a:cubicBezTo>
                  <a:cubicBezTo>
                    <a:pt x="2777" y="220"/>
                    <a:pt x="2776" y="213"/>
                    <a:pt x="2771" y="211"/>
                  </a:cubicBezTo>
                  <a:cubicBezTo>
                    <a:pt x="2773" y="206"/>
                    <a:pt x="2776" y="210"/>
                    <a:pt x="2779" y="211"/>
                  </a:cubicBezTo>
                  <a:cubicBezTo>
                    <a:pt x="2776" y="203"/>
                    <a:pt x="2777" y="201"/>
                    <a:pt x="2782" y="196"/>
                  </a:cubicBezTo>
                  <a:cubicBezTo>
                    <a:pt x="2789" y="200"/>
                    <a:pt x="2782" y="211"/>
                    <a:pt x="2779" y="213"/>
                  </a:cubicBezTo>
                  <a:cubicBezTo>
                    <a:pt x="2780" y="219"/>
                    <a:pt x="2801" y="204"/>
                    <a:pt x="2793" y="215"/>
                  </a:cubicBezTo>
                  <a:cubicBezTo>
                    <a:pt x="2795" y="214"/>
                    <a:pt x="2798" y="213"/>
                    <a:pt x="2798" y="210"/>
                  </a:cubicBezTo>
                  <a:cubicBezTo>
                    <a:pt x="2798" y="208"/>
                    <a:pt x="2793" y="208"/>
                    <a:pt x="2790" y="208"/>
                  </a:cubicBezTo>
                  <a:cubicBezTo>
                    <a:pt x="2790" y="204"/>
                    <a:pt x="2790" y="200"/>
                    <a:pt x="2790" y="196"/>
                  </a:cubicBezTo>
                  <a:cubicBezTo>
                    <a:pt x="2807" y="195"/>
                    <a:pt x="2808" y="206"/>
                    <a:pt x="2801" y="215"/>
                  </a:cubicBezTo>
                  <a:close/>
                  <a:moveTo>
                    <a:pt x="2781" y="180"/>
                  </a:moveTo>
                  <a:cubicBezTo>
                    <a:pt x="2794" y="180"/>
                    <a:pt x="2782" y="188"/>
                    <a:pt x="2784" y="194"/>
                  </a:cubicBezTo>
                  <a:cubicBezTo>
                    <a:pt x="2778" y="194"/>
                    <a:pt x="2783" y="184"/>
                    <a:pt x="2781" y="180"/>
                  </a:cubicBezTo>
                  <a:close/>
                  <a:moveTo>
                    <a:pt x="2797" y="159"/>
                  </a:moveTo>
                  <a:cubicBezTo>
                    <a:pt x="2802" y="154"/>
                    <a:pt x="2797" y="156"/>
                    <a:pt x="2797" y="149"/>
                  </a:cubicBezTo>
                  <a:cubicBezTo>
                    <a:pt x="2803" y="148"/>
                    <a:pt x="2807" y="161"/>
                    <a:pt x="2797" y="159"/>
                  </a:cubicBezTo>
                  <a:close/>
                  <a:moveTo>
                    <a:pt x="2792" y="177"/>
                  </a:moveTo>
                  <a:cubicBezTo>
                    <a:pt x="2805" y="179"/>
                    <a:pt x="2790" y="192"/>
                    <a:pt x="2792" y="177"/>
                  </a:cubicBezTo>
                  <a:close/>
                  <a:moveTo>
                    <a:pt x="2784" y="149"/>
                  </a:moveTo>
                  <a:cubicBezTo>
                    <a:pt x="2786" y="149"/>
                    <a:pt x="2786" y="152"/>
                    <a:pt x="2786" y="154"/>
                  </a:cubicBezTo>
                  <a:cubicBezTo>
                    <a:pt x="2790" y="154"/>
                    <a:pt x="2791" y="153"/>
                    <a:pt x="2792" y="152"/>
                  </a:cubicBezTo>
                  <a:cubicBezTo>
                    <a:pt x="2802" y="156"/>
                    <a:pt x="2784" y="157"/>
                    <a:pt x="2778" y="157"/>
                  </a:cubicBezTo>
                  <a:cubicBezTo>
                    <a:pt x="2779" y="153"/>
                    <a:pt x="2783" y="153"/>
                    <a:pt x="2784" y="149"/>
                  </a:cubicBezTo>
                  <a:close/>
                  <a:moveTo>
                    <a:pt x="2776" y="166"/>
                  </a:moveTo>
                  <a:cubicBezTo>
                    <a:pt x="2779" y="167"/>
                    <a:pt x="2778" y="171"/>
                    <a:pt x="2781" y="171"/>
                  </a:cubicBezTo>
                  <a:cubicBezTo>
                    <a:pt x="2780" y="177"/>
                    <a:pt x="2772" y="171"/>
                    <a:pt x="2776" y="166"/>
                  </a:cubicBezTo>
                  <a:close/>
                  <a:moveTo>
                    <a:pt x="2770" y="175"/>
                  </a:moveTo>
                  <a:cubicBezTo>
                    <a:pt x="2770" y="178"/>
                    <a:pt x="2774" y="177"/>
                    <a:pt x="2776" y="178"/>
                  </a:cubicBezTo>
                  <a:cubicBezTo>
                    <a:pt x="2774" y="181"/>
                    <a:pt x="2779" y="190"/>
                    <a:pt x="2773" y="190"/>
                  </a:cubicBezTo>
                  <a:cubicBezTo>
                    <a:pt x="2773" y="203"/>
                    <a:pt x="2772" y="201"/>
                    <a:pt x="2768" y="211"/>
                  </a:cubicBezTo>
                  <a:cubicBezTo>
                    <a:pt x="2769" y="213"/>
                    <a:pt x="2771" y="215"/>
                    <a:pt x="2774" y="215"/>
                  </a:cubicBezTo>
                  <a:cubicBezTo>
                    <a:pt x="2773" y="218"/>
                    <a:pt x="2768" y="217"/>
                    <a:pt x="2768" y="220"/>
                  </a:cubicBezTo>
                  <a:cubicBezTo>
                    <a:pt x="2764" y="220"/>
                    <a:pt x="2767" y="213"/>
                    <a:pt x="2763" y="213"/>
                  </a:cubicBezTo>
                  <a:cubicBezTo>
                    <a:pt x="2753" y="215"/>
                    <a:pt x="2764" y="220"/>
                    <a:pt x="2757" y="225"/>
                  </a:cubicBezTo>
                  <a:cubicBezTo>
                    <a:pt x="2755" y="224"/>
                    <a:pt x="2752" y="223"/>
                    <a:pt x="2752" y="220"/>
                  </a:cubicBezTo>
                  <a:cubicBezTo>
                    <a:pt x="2752" y="218"/>
                    <a:pt x="2757" y="217"/>
                    <a:pt x="2757" y="216"/>
                  </a:cubicBezTo>
                  <a:cubicBezTo>
                    <a:pt x="2759" y="209"/>
                    <a:pt x="2756" y="199"/>
                    <a:pt x="2768" y="201"/>
                  </a:cubicBezTo>
                  <a:cubicBezTo>
                    <a:pt x="2762" y="195"/>
                    <a:pt x="2768" y="193"/>
                    <a:pt x="2768" y="183"/>
                  </a:cubicBezTo>
                  <a:cubicBezTo>
                    <a:pt x="2768" y="182"/>
                    <a:pt x="2768" y="178"/>
                    <a:pt x="2768" y="178"/>
                  </a:cubicBezTo>
                  <a:cubicBezTo>
                    <a:pt x="2767" y="178"/>
                    <a:pt x="2765" y="178"/>
                    <a:pt x="2765" y="178"/>
                  </a:cubicBezTo>
                  <a:cubicBezTo>
                    <a:pt x="2765" y="177"/>
                    <a:pt x="2767" y="175"/>
                    <a:pt x="2768" y="176"/>
                  </a:cubicBezTo>
                  <a:cubicBezTo>
                    <a:pt x="2767" y="174"/>
                    <a:pt x="2762" y="171"/>
                    <a:pt x="2762" y="171"/>
                  </a:cubicBezTo>
                  <a:cubicBezTo>
                    <a:pt x="2761" y="167"/>
                    <a:pt x="2764" y="167"/>
                    <a:pt x="2765" y="164"/>
                  </a:cubicBezTo>
                  <a:cubicBezTo>
                    <a:pt x="2765" y="159"/>
                    <a:pt x="2762" y="157"/>
                    <a:pt x="2762" y="152"/>
                  </a:cubicBezTo>
                  <a:cubicBezTo>
                    <a:pt x="2775" y="151"/>
                    <a:pt x="2768" y="167"/>
                    <a:pt x="2770" y="175"/>
                  </a:cubicBezTo>
                  <a:close/>
                  <a:moveTo>
                    <a:pt x="2757" y="185"/>
                  </a:moveTo>
                  <a:cubicBezTo>
                    <a:pt x="2768" y="184"/>
                    <a:pt x="2759" y="193"/>
                    <a:pt x="2760" y="197"/>
                  </a:cubicBezTo>
                  <a:cubicBezTo>
                    <a:pt x="2754" y="197"/>
                    <a:pt x="2758" y="189"/>
                    <a:pt x="2757" y="185"/>
                  </a:cubicBezTo>
                  <a:close/>
                  <a:moveTo>
                    <a:pt x="2734" y="153"/>
                  </a:moveTo>
                  <a:cubicBezTo>
                    <a:pt x="2748" y="151"/>
                    <a:pt x="2748" y="152"/>
                    <a:pt x="2759" y="150"/>
                  </a:cubicBezTo>
                  <a:cubicBezTo>
                    <a:pt x="2757" y="157"/>
                    <a:pt x="2761" y="159"/>
                    <a:pt x="2759" y="164"/>
                  </a:cubicBezTo>
                  <a:cubicBezTo>
                    <a:pt x="2759" y="164"/>
                    <a:pt x="2755" y="161"/>
                    <a:pt x="2754" y="162"/>
                  </a:cubicBezTo>
                  <a:cubicBezTo>
                    <a:pt x="2752" y="162"/>
                    <a:pt x="2749" y="168"/>
                    <a:pt x="2756" y="169"/>
                  </a:cubicBezTo>
                  <a:cubicBezTo>
                    <a:pt x="2754" y="171"/>
                    <a:pt x="2739" y="181"/>
                    <a:pt x="2751" y="181"/>
                  </a:cubicBezTo>
                  <a:cubicBezTo>
                    <a:pt x="2761" y="181"/>
                    <a:pt x="2743" y="187"/>
                    <a:pt x="2746" y="181"/>
                  </a:cubicBezTo>
                  <a:cubicBezTo>
                    <a:pt x="2739" y="181"/>
                    <a:pt x="2737" y="185"/>
                    <a:pt x="2732" y="181"/>
                  </a:cubicBezTo>
                  <a:cubicBezTo>
                    <a:pt x="2734" y="177"/>
                    <a:pt x="2741" y="177"/>
                    <a:pt x="2746" y="176"/>
                  </a:cubicBezTo>
                  <a:cubicBezTo>
                    <a:pt x="2743" y="172"/>
                    <a:pt x="2754" y="168"/>
                    <a:pt x="2745" y="166"/>
                  </a:cubicBezTo>
                  <a:cubicBezTo>
                    <a:pt x="2748" y="164"/>
                    <a:pt x="2751" y="162"/>
                    <a:pt x="2754" y="159"/>
                  </a:cubicBezTo>
                  <a:cubicBezTo>
                    <a:pt x="2751" y="151"/>
                    <a:pt x="2737" y="166"/>
                    <a:pt x="2740" y="155"/>
                  </a:cubicBezTo>
                  <a:cubicBezTo>
                    <a:pt x="2736" y="156"/>
                    <a:pt x="2733" y="159"/>
                    <a:pt x="2732" y="162"/>
                  </a:cubicBezTo>
                  <a:cubicBezTo>
                    <a:pt x="2723" y="160"/>
                    <a:pt x="2735" y="156"/>
                    <a:pt x="2734" y="153"/>
                  </a:cubicBezTo>
                  <a:close/>
                  <a:moveTo>
                    <a:pt x="2724" y="169"/>
                  </a:moveTo>
                  <a:cubicBezTo>
                    <a:pt x="2728" y="170"/>
                    <a:pt x="2729" y="167"/>
                    <a:pt x="2729" y="164"/>
                  </a:cubicBezTo>
                  <a:cubicBezTo>
                    <a:pt x="2734" y="165"/>
                    <a:pt x="2735" y="161"/>
                    <a:pt x="2740" y="162"/>
                  </a:cubicBezTo>
                  <a:cubicBezTo>
                    <a:pt x="2739" y="165"/>
                    <a:pt x="2741" y="166"/>
                    <a:pt x="2743" y="167"/>
                  </a:cubicBezTo>
                  <a:cubicBezTo>
                    <a:pt x="2740" y="170"/>
                    <a:pt x="2735" y="173"/>
                    <a:pt x="2732" y="176"/>
                  </a:cubicBezTo>
                  <a:cubicBezTo>
                    <a:pt x="2729" y="177"/>
                    <a:pt x="2730" y="172"/>
                    <a:pt x="2729" y="171"/>
                  </a:cubicBezTo>
                  <a:cubicBezTo>
                    <a:pt x="2725" y="170"/>
                    <a:pt x="2721" y="176"/>
                    <a:pt x="2715" y="172"/>
                  </a:cubicBezTo>
                  <a:cubicBezTo>
                    <a:pt x="2708" y="172"/>
                    <a:pt x="2719" y="176"/>
                    <a:pt x="2716" y="181"/>
                  </a:cubicBezTo>
                  <a:cubicBezTo>
                    <a:pt x="2705" y="180"/>
                    <a:pt x="2718" y="171"/>
                    <a:pt x="2704" y="172"/>
                  </a:cubicBezTo>
                  <a:cubicBezTo>
                    <a:pt x="2711" y="167"/>
                    <a:pt x="2699" y="160"/>
                    <a:pt x="2712" y="160"/>
                  </a:cubicBezTo>
                  <a:cubicBezTo>
                    <a:pt x="2711" y="166"/>
                    <a:pt x="2708" y="169"/>
                    <a:pt x="2718" y="169"/>
                  </a:cubicBezTo>
                  <a:cubicBezTo>
                    <a:pt x="2722" y="169"/>
                    <a:pt x="2722" y="149"/>
                    <a:pt x="2724" y="169"/>
                  </a:cubicBezTo>
                  <a:close/>
                  <a:moveTo>
                    <a:pt x="2701" y="151"/>
                  </a:moveTo>
                  <a:cubicBezTo>
                    <a:pt x="2704" y="148"/>
                    <a:pt x="2711" y="148"/>
                    <a:pt x="2718" y="148"/>
                  </a:cubicBezTo>
                  <a:cubicBezTo>
                    <a:pt x="2722" y="156"/>
                    <a:pt x="2700" y="160"/>
                    <a:pt x="2701" y="151"/>
                  </a:cubicBezTo>
                  <a:close/>
                  <a:moveTo>
                    <a:pt x="2699" y="203"/>
                  </a:moveTo>
                  <a:cubicBezTo>
                    <a:pt x="2699" y="198"/>
                    <a:pt x="2704" y="198"/>
                    <a:pt x="2705" y="193"/>
                  </a:cubicBezTo>
                  <a:cubicBezTo>
                    <a:pt x="2706" y="187"/>
                    <a:pt x="2702" y="187"/>
                    <a:pt x="2702" y="181"/>
                  </a:cubicBezTo>
                  <a:cubicBezTo>
                    <a:pt x="2717" y="180"/>
                    <a:pt x="2702" y="192"/>
                    <a:pt x="2710" y="195"/>
                  </a:cubicBezTo>
                  <a:cubicBezTo>
                    <a:pt x="2713" y="195"/>
                    <a:pt x="2712" y="193"/>
                    <a:pt x="2710" y="193"/>
                  </a:cubicBezTo>
                  <a:cubicBezTo>
                    <a:pt x="2712" y="190"/>
                    <a:pt x="2716" y="189"/>
                    <a:pt x="2721" y="188"/>
                  </a:cubicBezTo>
                  <a:cubicBezTo>
                    <a:pt x="2722" y="184"/>
                    <a:pt x="2718" y="176"/>
                    <a:pt x="2726" y="179"/>
                  </a:cubicBezTo>
                  <a:cubicBezTo>
                    <a:pt x="2723" y="186"/>
                    <a:pt x="2728" y="187"/>
                    <a:pt x="2727" y="197"/>
                  </a:cubicBezTo>
                  <a:cubicBezTo>
                    <a:pt x="2724" y="196"/>
                    <a:pt x="2723" y="193"/>
                    <a:pt x="2721" y="190"/>
                  </a:cubicBezTo>
                  <a:cubicBezTo>
                    <a:pt x="2713" y="192"/>
                    <a:pt x="2724" y="208"/>
                    <a:pt x="2727" y="200"/>
                  </a:cubicBezTo>
                  <a:cubicBezTo>
                    <a:pt x="2733" y="201"/>
                    <a:pt x="2724" y="203"/>
                    <a:pt x="2724" y="205"/>
                  </a:cubicBezTo>
                  <a:cubicBezTo>
                    <a:pt x="2723" y="210"/>
                    <a:pt x="2726" y="213"/>
                    <a:pt x="2727" y="219"/>
                  </a:cubicBezTo>
                  <a:cubicBezTo>
                    <a:pt x="2714" y="218"/>
                    <a:pt x="2724" y="222"/>
                    <a:pt x="2719" y="226"/>
                  </a:cubicBezTo>
                  <a:cubicBezTo>
                    <a:pt x="2711" y="223"/>
                    <a:pt x="2722" y="218"/>
                    <a:pt x="2719" y="212"/>
                  </a:cubicBezTo>
                  <a:cubicBezTo>
                    <a:pt x="2716" y="212"/>
                    <a:pt x="2717" y="215"/>
                    <a:pt x="2716" y="216"/>
                  </a:cubicBezTo>
                  <a:cubicBezTo>
                    <a:pt x="2714" y="215"/>
                    <a:pt x="2709" y="213"/>
                    <a:pt x="2708" y="217"/>
                  </a:cubicBezTo>
                  <a:cubicBezTo>
                    <a:pt x="2701" y="216"/>
                    <a:pt x="2703" y="210"/>
                    <a:pt x="2702" y="207"/>
                  </a:cubicBezTo>
                  <a:cubicBezTo>
                    <a:pt x="2702" y="205"/>
                    <a:pt x="2700" y="205"/>
                    <a:pt x="2699" y="203"/>
                  </a:cubicBezTo>
                  <a:close/>
                  <a:moveTo>
                    <a:pt x="2698" y="280"/>
                  </a:moveTo>
                  <a:cubicBezTo>
                    <a:pt x="2698" y="282"/>
                    <a:pt x="2698" y="283"/>
                    <a:pt x="2698" y="285"/>
                  </a:cubicBezTo>
                  <a:cubicBezTo>
                    <a:pt x="2696" y="285"/>
                    <a:pt x="2694" y="285"/>
                    <a:pt x="2693" y="285"/>
                  </a:cubicBezTo>
                  <a:cubicBezTo>
                    <a:pt x="2693" y="283"/>
                    <a:pt x="2693" y="282"/>
                    <a:pt x="2693" y="280"/>
                  </a:cubicBezTo>
                  <a:cubicBezTo>
                    <a:pt x="2694" y="280"/>
                    <a:pt x="2696" y="280"/>
                    <a:pt x="2698" y="280"/>
                  </a:cubicBezTo>
                  <a:close/>
                  <a:moveTo>
                    <a:pt x="2694" y="226"/>
                  </a:moveTo>
                  <a:cubicBezTo>
                    <a:pt x="2689" y="233"/>
                    <a:pt x="2695" y="245"/>
                    <a:pt x="2698" y="252"/>
                  </a:cubicBezTo>
                  <a:cubicBezTo>
                    <a:pt x="2695" y="259"/>
                    <a:pt x="2695" y="245"/>
                    <a:pt x="2689" y="247"/>
                  </a:cubicBezTo>
                  <a:cubicBezTo>
                    <a:pt x="2692" y="241"/>
                    <a:pt x="2683" y="225"/>
                    <a:pt x="2694" y="226"/>
                  </a:cubicBezTo>
                  <a:close/>
                  <a:moveTo>
                    <a:pt x="2695" y="259"/>
                  </a:moveTo>
                  <a:cubicBezTo>
                    <a:pt x="2695" y="264"/>
                    <a:pt x="2695" y="268"/>
                    <a:pt x="2695" y="273"/>
                  </a:cubicBezTo>
                  <a:cubicBezTo>
                    <a:pt x="2691" y="271"/>
                    <a:pt x="2689" y="267"/>
                    <a:pt x="2692" y="264"/>
                  </a:cubicBezTo>
                  <a:cubicBezTo>
                    <a:pt x="2682" y="261"/>
                    <a:pt x="2692" y="274"/>
                    <a:pt x="2681" y="271"/>
                  </a:cubicBezTo>
                  <a:cubicBezTo>
                    <a:pt x="2680" y="265"/>
                    <a:pt x="2686" y="266"/>
                    <a:pt x="2684" y="259"/>
                  </a:cubicBezTo>
                  <a:cubicBezTo>
                    <a:pt x="2688" y="259"/>
                    <a:pt x="2691" y="259"/>
                    <a:pt x="2695" y="259"/>
                  </a:cubicBezTo>
                  <a:close/>
                  <a:moveTo>
                    <a:pt x="2687" y="252"/>
                  </a:moveTo>
                  <a:cubicBezTo>
                    <a:pt x="2687" y="254"/>
                    <a:pt x="2687" y="255"/>
                    <a:pt x="2687" y="257"/>
                  </a:cubicBezTo>
                  <a:cubicBezTo>
                    <a:pt x="2685" y="257"/>
                    <a:pt x="2683" y="257"/>
                    <a:pt x="2681" y="257"/>
                  </a:cubicBezTo>
                  <a:cubicBezTo>
                    <a:pt x="2681" y="255"/>
                    <a:pt x="2681" y="254"/>
                    <a:pt x="2681" y="252"/>
                  </a:cubicBezTo>
                  <a:cubicBezTo>
                    <a:pt x="2683" y="252"/>
                    <a:pt x="2685" y="252"/>
                    <a:pt x="2687" y="252"/>
                  </a:cubicBezTo>
                  <a:close/>
                  <a:moveTo>
                    <a:pt x="2679" y="271"/>
                  </a:moveTo>
                  <a:cubicBezTo>
                    <a:pt x="2676" y="275"/>
                    <a:pt x="2674" y="279"/>
                    <a:pt x="2665" y="278"/>
                  </a:cubicBezTo>
                  <a:cubicBezTo>
                    <a:pt x="2667" y="276"/>
                    <a:pt x="2668" y="274"/>
                    <a:pt x="2665" y="274"/>
                  </a:cubicBezTo>
                  <a:cubicBezTo>
                    <a:pt x="2664" y="269"/>
                    <a:pt x="2675" y="272"/>
                    <a:pt x="2679" y="271"/>
                  </a:cubicBezTo>
                  <a:close/>
                  <a:moveTo>
                    <a:pt x="2673" y="259"/>
                  </a:moveTo>
                  <a:cubicBezTo>
                    <a:pt x="2671" y="262"/>
                    <a:pt x="2667" y="268"/>
                    <a:pt x="2676" y="266"/>
                  </a:cubicBezTo>
                  <a:cubicBezTo>
                    <a:pt x="2669" y="276"/>
                    <a:pt x="2657" y="258"/>
                    <a:pt x="2673" y="259"/>
                  </a:cubicBezTo>
                  <a:close/>
                  <a:moveTo>
                    <a:pt x="2676" y="255"/>
                  </a:moveTo>
                  <a:cubicBezTo>
                    <a:pt x="2673" y="253"/>
                    <a:pt x="2669" y="252"/>
                    <a:pt x="2665" y="253"/>
                  </a:cubicBezTo>
                  <a:cubicBezTo>
                    <a:pt x="2669" y="245"/>
                    <a:pt x="2664" y="243"/>
                    <a:pt x="2667" y="238"/>
                  </a:cubicBezTo>
                  <a:cubicBezTo>
                    <a:pt x="2673" y="239"/>
                    <a:pt x="2674" y="245"/>
                    <a:pt x="2670" y="248"/>
                  </a:cubicBezTo>
                  <a:cubicBezTo>
                    <a:pt x="2672" y="250"/>
                    <a:pt x="2676" y="250"/>
                    <a:pt x="2676" y="255"/>
                  </a:cubicBezTo>
                  <a:close/>
                  <a:moveTo>
                    <a:pt x="2672" y="234"/>
                  </a:moveTo>
                  <a:cubicBezTo>
                    <a:pt x="2665" y="242"/>
                    <a:pt x="2655" y="229"/>
                    <a:pt x="2672" y="234"/>
                  </a:cubicBezTo>
                  <a:close/>
                  <a:moveTo>
                    <a:pt x="2653" y="234"/>
                  </a:moveTo>
                  <a:cubicBezTo>
                    <a:pt x="2647" y="242"/>
                    <a:pt x="2642" y="226"/>
                    <a:pt x="2653" y="234"/>
                  </a:cubicBezTo>
                  <a:close/>
                  <a:moveTo>
                    <a:pt x="2674" y="8"/>
                  </a:moveTo>
                  <a:cubicBezTo>
                    <a:pt x="2674" y="13"/>
                    <a:pt x="2662" y="10"/>
                    <a:pt x="2660" y="8"/>
                  </a:cubicBezTo>
                  <a:cubicBezTo>
                    <a:pt x="2663" y="1"/>
                    <a:pt x="2669" y="9"/>
                    <a:pt x="2674" y="8"/>
                  </a:cubicBezTo>
                  <a:close/>
                  <a:moveTo>
                    <a:pt x="2646" y="124"/>
                  </a:moveTo>
                  <a:cubicBezTo>
                    <a:pt x="2655" y="127"/>
                    <a:pt x="2636" y="126"/>
                    <a:pt x="2632" y="126"/>
                  </a:cubicBezTo>
                  <a:cubicBezTo>
                    <a:pt x="2632" y="124"/>
                    <a:pt x="2636" y="124"/>
                    <a:pt x="2638" y="124"/>
                  </a:cubicBezTo>
                  <a:cubicBezTo>
                    <a:pt x="2636" y="122"/>
                    <a:pt x="2635" y="120"/>
                    <a:pt x="2632" y="119"/>
                  </a:cubicBezTo>
                  <a:cubicBezTo>
                    <a:pt x="2633" y="116"/>
                    <a:pt x="2639" y="117"/>
                    <a:pt x="2643" y="117"/>
                  </a:cubicBezTo>
                  <a:cubicBezTo>
                    <a:pt x="2643" y="119"/>
                    <a:pt x="2640" y="119"/>
                    <a:pt x="2640" y="121"/>
                  </a:cubicBezTo>
                  <a:cubicBezTo>
                    <a:pt x="2641" y="124"/>
                    <a:pt x="2644" y="123"/>
                    <a:pt x="2646" y="124"/>
                  </a:cubicBezTo>
                  <a:close/>
                  <a:moveTo>
                    <a:pt x="2640" y="100"/>
                  </a:moveTo>
                  <a:cubicBezTo>
                    <a:pt x="2639" y="103"/>
                    <a:pt x="2635" y="104"/>
                    <a:pt x="2635" y="107"/>
                  </a:cubicBezTo>
                  <a:cubicBezTo>
                    <a:pt x="2628" y="107"/>
                    <a:pt x="2634" y="98"/>
                    <a:pt x="2640" y="100"/>
                  </a:cubicBezTo>
                  <a:close/>
                  <a:moveTo>
                    <a:pt x="2626" y="103"/>
                  </a:moveTo>
                  <a:cubicBezTo>
                    <a:pt x="2622" y="104"/>
                    <a:pt x="2623" y="105"/>
                    <a:pt x="2618" y="103"/>
                  </a:cubicBezTo>
                  <a:cubicBezTo>
                    <a:pt x="2615" y="101"/>
                    <a:pt x="2634" y="100"/>
                    <a:pt x="2626" y="103"/>
                  </a:cubicBezTo>
                  <a:close/>
                  <a:moveTo>
                    <a:pt x="2618" y="82"/>
                  </a:moveTo>
                  <a:cubicBezTo>
                    <a:pt x="2623" y="83"/>
                    <a:pt x="2618" y="86"/>
                    <a:pt x="2618" y="89"/>
                  </a:cubicBezTo>
                  <a:cubicBezTo>
                    <a:pt x="2613" y="87"/>
                    <a:pt x="2617" y="85"/>
                    <a:pt x="2618" y="82"/>
                  </a:cubicBezTo>
                  <a:close/>
                  <a:moveTo>
                    <a:pt x="2616" y="117"/>
                  </a:moveTo>
                  <a:cubicBezTo>
                    <a:pt x="2621" y="116"/>
                    <a:pt x="2621" y="119"/>
                    <a:pt x="2618" y="119"/>
                  </a:cubicBezTo>
                  <a:cubicBezTo>
                    <a:pt x="2615" y="117"/>
                    <a:pt x="2607" y="122"/>
                    <a:pt x="2608" y="122"/>
                  </a:cubicBezTo>
                  <a:cubicBezTo>
                    <a:pt x="2600" y="121"/>
                    <a:pt x="2606" y="115"/>
                    <a:pt x="2616" y="117"/>
                  </a:cubicBezTo>
                  <a:close/>
                  <a:moveTo>
                    <a:pt x="2588" y="99"/>
                  </a:moveTo>
                  <a:cubicBezTo>
                    <a:pt x="2592" y="99"/>
                    <a:pt x="2590" y="105"/>
                    <a:pt x="2591" y="108"/>
                  </a:cubicBezTo>
                  <a:cubicBezTo>
                    <a:pt x="2588" y="107"/>
                    <a:pt x="2586" y="105"/>
                    <a:pt x="2585" y="108"/>
                  </a:cubicBezTo>
                  <a:cubicBezTo>
                    <a:pt x="2577" y="106"/>
                    <a:pt x="2592" y="105"/>
                    <a:pt x="2588" y="99"/>
                  </a:cubicBezTo>
                  <a:close/>
                  <a:moveTo>
                    <a:pt x="2584" y="38"/>
                  </a:moveTo>
                  <a:cubicBezTo>
                    <a:pt x="2583" y="43"/>
                    <a:pt x="2577" y="43"/>
                    <a:pt x="2573" y="40"/>
                  </a:cubicBezTo>
                  <a:cubicBezTo>
                    <a:pt x="2574" y="37"/>
                    <a:pt x="2580" y="38"/>
                    <a:pt x="2584" y="38"/>
                  </a:cubicBezTo>
                  <a:close/>
                  <a:moveTo>
                    <a:pt x="2563" y="116"/>
                  </a:moveTo>
                  <a:cubicBezTo>
                    <a:pt x="2565" y="112"/>
                    <a:pt x="2561" y="107"/>
                    <a:pt x="2563" y="104"/>
                  </a:cubicBezTo>
                  <a:cubicBezTo>
                    <a:pt x="2564" y="102"/>
                    <a:pt x="2573" y="103"/>
                    <a:pt x="2571" y="99"/>
                  </a:cubicBezTo>
                  <a:cubicBezTo>
                    <a:pt x="2580" y="103"/>
                    <a:pt x="2563" y="104"/>
                    <a:pt x="2569" y="113"/>
                  </a:cubicBezTo>
                  <a:cubicBezTo>
                    <a:pt x="2569" y="118"/>
                    <a:pt x="2579" y="114"/>
                    <a:pt x="2583" y="115"/>
                  </a:cubicBezTo>
                  <a:cubicBezTo>
                    <a:pt x="2590" y="121"/>
                    <a:pt x="2556" y="112"/>
                    <a:pt x="2566" y="127"/>
                  </a:cubicBezTo>
                  <a:cubicBezTo>
                    <a:pt x="2562" y="128"/>
                    <a:pt x="2561" y="126"/>
                    <a:pt x="2561" y="123"/>
                  </a:cubicBezTo>
                  <a:cubicBezTo>
                    <a:pt x="2559" y="121"/>
                    <a:pt x="2556" y="119"/>
                    <a:pt x="2552" y="118"/>
                  </a:cubicBezTo>
                  <a:cubicBezTo>
                    <a:pt x="2553" y="115"/>
                    <a:pt x="2559" y="116"/>
                    <a:pt x="2563" y="116"/>
                  </a:cubicBezTo>
                  <a:close/>
                  <a:moveTo>
                    <a:pt x="2544" y="121"/>
                  </a:moveTo>
                  <a:cubicBezTo>
                    <a:pt x="2542" y="119"/>
                    <a:pt x="2540" y="118"/>
                    <a:pt x="2536" y="118"/>
                  </a:cubicBezTo>
                  <a:cubicBezTo>
                    <a:pt x="2537" y="112"/>
                    <a:pt x="2546" y="113"/>
                    <a:pt x="2544" y="121"/>
                  </a:cubicBezTo>
                  <a:close/>
                  <a:moveTo>
                    <a:pt x="2554" y="179"/>
                  </a:moveTo>
                  <a:cubicBezTo>
                    <a:pt x="2555" y="184"/>
                    <a:pt x="2552" y="186"/>
                    <a:pt x="2551" y="189"/>
                  </a:cubicBezTo>
                  <a:cubicBezTo>
                    <a:pt x="2548" y="186"/>
                    <a:pt x="2546" y="182"/>
                    <a:pt x="2537" y="184"/>
                  </a:cubicBezTo>
                  <a:cubicBezTo>
                    <a:pt x="2536" y="179"/>
                    <a:pt x="2542" y="179"/>
                    <a:pt x="2540" y="172"/>
                  </a:cubicBezTo>
                  <a:cubicBezTo>
                    <a:pt x="2538" y="172"/>
                    <a:pt x="2536" y="173"/>
                    <a:pt x="2534" y="173"/>
                  </a:cubicBezTo>
                  <a:cubicBezTo>
                    <a:pt x="2535" y="170"/>
                    <a:pt x="2539" y="170"/>
                    <a:pt x="2542" y="170"/>
                  </a:cubicBezTo>
                  <a:cubicBezTo>
                    <a:pt x="2540" y="178"/>
                    <a:pt x="2544" y="181"/>
                    <a:pt x="2554" y="179"/>
                  </a:cubicBezTo>
                  <a:close/>
                  <a:moveTo>
                    <a:pt x="2548" y="168"/>
                  </a:moveTo>
                  <a:cubicBezTo>
                    <a:pt x="2552" y="168"/>
                    <a:pt x="2552" y="172"/>
                    <a:pt x="2556" y="172"/>
                  </a:cubicBezTo>
                  <a:cubicBezTo>
                    <a:pt x="2556" y="175"/>
                    <a:pt x="2553" y="173"/>
                    <a:pt x="2553" y="172"/>
                  </a:cubicBezTo>
                  <a:cubicBezTo>
                    <a:pt x="2551" y="172"/>
                    <a:pt x="2551" y="173"/>
                    <a:pt x="2551" y="175"/>
                  </a:cubicBezTo>
                  <a:cubicBezTo>
                    <a:pt x="2548" y="174"/>
                    <a:pt x="2548" y="170"/>
                    <a:pt x="2548" y="168"/>
                  </a:cubicBezTo>
                  <a:close/>
                  <a:moveTo>
                    <a:pt x="2531" y="130"/>
                  </a:moveTo>
                  <a:cubicBezTo>
                    <a:pt x="2543" y="132"/>
                    <a:pt x="2529" y="145"/>
                    <a:pt x="2531" y="130"/>
                  </a:cubicBezTo>
                  <a:close/>
                  <a:moveTo>
                    <a:pt x="2519" y="72"/>
                  </a:moveTo>
                  <a:cubicBezTo>
                    <a:pt x="2522" y="73"/>
                    <a:pt x="2523" y="76"/>
                    <a:pt x="2527" y="76"/>
                  </a:cubicBezTo>
                  <a:cubicBezTo>
                    <a:pt x="2526" y="82"/>
                    <a:pt x="2517" y="77"/>
                    <a:pt x="2519" y="72"/>
                  </a:cubicBezTo>
                  <a:close/>
                  <a:moveTo>
                    <a:pt x="2517" y="131"/>
                  </a:moveTo>
                  <a:cubicBezTo>
                    <a:pt x="2520" y="133"/>
                    <a:pt x="2527" y="131"/>
                    <a:pt x="2525" y="137"/>
                  </a:cubicBezTo>
                  <a:cubicBezTo>
                    <a:pt x="2523" y="135"/>
                    <a:pt x="2515" y="137"/>
                    <a:pt x="2517" y="131"/>
                  </a:cubicBezTo>
                  <a:close/>
                  <a:moveTo>
                    <a:pt x="2520" y="166"/>
                  </a:moveTo>
                  <a:cubicBezTo>
                    <a:pt x="2520" y="169"/>
                    <a:pt x="2514" y="168"/>
                    <a:pt x="2510" y="168"/>
                  </a:cubicBezTo>
                  <a:cubicBezTo>
                    <a:pt x="2511" y="166"/>
                    <a:pt x="2516" y="166"/>
                    <a:pt x="2515" y="161"/>
                  </a:cubicBezTo>
                  <a:cubicBezTo>
                    <a:pt x="2518" y="162"/>
                    <a:pt x="2517" y="166"/>
                    <a:pt x="2520" y="166"/>
                  </a:cubicBezTo>
                  <a:close/>
                  <a:moveTo>
                    <a:pt x="2518" y="196"/>
                  </a:moveTo>
                  <a:cubicBezTo>
                    <a:pt x="2517" y="197"/>
                    <a:pt x="2515" y="191"/>
                    <a:pt x="2513" y="192"/>
                  </a:cubicBezTo>
                  <a:cubicBezTo>
                    <a:pt x="2517" y="184"/>
                    <a:pt x="2520" y="194"/>
                    <a:pt x="2518" y="196"/>
                  </a:cubicBezTo>
                  <a:close/>
                  <a:moveTo>
                    <a:pt x="2513" y="185"/>
                  </a:moveTo>
                  <a:cubicBezTo>
                    <a:pt x="2512" y="187"/>
                    <a:pt x="2507" y="186"/>
                    <a:pt x="2507" y="189"/>
                  </a:cubicBezTo>
                  <a:cubicBezTo>
                    <a:pt x="2507" y="198"/>
                    <a:pt x="2497" y="182"/>
                    <a:pt x="2513" y="185"/>
                  </a:cubicBezTo>
                  <a:close/>
                  <a:moveTo>
                    <a:pt x="2514" y="121"/>
                  </a:moveTo>
                  <a:cubicBezTo>
                    <a:pt x="2514" y="123"/>
                    <a:pt x="2514" y="124"/>
                    <a:pt x="2514" y="126"/>
                  </a:cubicBezTo>
                  <a:cubicBezTo>
                    <a:pt x="2512" y="126"/>
                    <a:pt x="2511" y="126"/>
                    <a:pt x="2509" y="126"/>
                  </a:cubicBezTo>
                  <a:cubicBezTo>
                    <a:pt x="2509" y="124"/>
                    <a:pt x="2509" y="123"/>
                    <a:pt x="2509" y="121"/>
                  </a:cubicBezTo>
                  <a:cubicBezTo>
                    <a:pt x="2510" y="121"/>
                    <a:pt x="2512" y="121"/>
                    <a:pt x="2514" y="121"/>
                  </a:cubicBezTo>
                  <a:close/>
                  <a:moveTo>
                    <a:pt x="2503" y="131"/>
                  </a:moveTo>
                  <a:cubicBezTo>
                    <a:pt x="2503" y="131"/>
                    <a:pt x="2505" y="135"/>
                    <a:pt x="2506" y="133"/>
                  </a:cubicBezTo>
                  <a:cubicBezTo>
                    <a:pt x="2508" y="131"/>
                    <a:pt x="2508" y="131"/>
                    <a:pt x="2509" y="133"/>
                  </a:cubicBezTo>
                  <a:cubicBezTo>
                    <a:pt x="2512" y="133"/>
                    <a:pt x="2511" y="137"/>
                    <a:pt x="2512" y="140"/>
                  </a:cubicBezTo>
                  <a:cubicBezTo>
                    <a:pt x="2506" y="136"/>
                    <a:pt x="2492" y="139"/>
                    <a:pt x="2482" y="138"/>
                  </a:cubicBezTo>
                  <a:cubicBezTo>
                    <a:pt x="2483" y="136"/>
                    <a:pt x="2485" y="134"/>
                    <a:pt x="2481" y="133"/>
                  </a:cubicBezTo>
                  <a:cubicBezTo>
                    <a:pt x="2485" y="130"/>
                    <a:pt x="2497" y="130"/>
                    <a:pt x="2503" y="131"/>
                  </a:cubicBezTo>
                  <a:close/>
                  <a:moveTo>
                    <a:pt x="2488" y="190"/>
                  </a:moveTo>
                  <a:cubicBezTo>
                    <a:pt x="2488" y="188"/>
                    <a:pt x="2488" y="187"/>
                    <a:pt x="2488" y="185"/>
                  </a:cubicBezTo>
                  <a:cubicBezTo>
                    <a:pt x="2492" y="185"/>
                    <a:pt x="2495" y="185"/>
                    <a:pt x="2499" y="185"/>
                  </a:cubicBezTo>
                  <a:cubicBezTo>
                    <a:pt x="2502" y="192"/>
                    <a:pt x="2493" y="189"/>
                    <a:pt x="2488" y="190"/>
                  </a:cubicBezTo>
                  <a:close/>
                  <a:moveTo>
                    <a:pt x="2480" y="185"/>
                  </a:moveTo>
                  <a:cubicBezTo>
                    <a:pt x="2485" y="187"/>
                    <a:pt x="2480" y="190"/>
                    <a:pt x="2480" y="192"/>
                  </a:cubicBezTo>
                  <a:cubicBezTo>
                    <a:pt x="2475" y="191"/>
                    <a:pt x="2479" y="188"/>
                    <a:pt x="2480" y="185"/>
                  </a:cubicBezTo>
                  <a:close/>
                  <a:moveTo>
                    <a:pt x="2465" y="115"/>
                  </a:moveTo>
                  <a:cubicBezTo>
                    <a:pt x="2474" y="111"/>
                    <a:pt x="2467" y="123"/>
                    <a:pt x="2473" y="122"/>
                  </a:cubicBezTo>
                  <a:cubicBezTo>
                    <a:pt x="2470" y="129"/>
                    <a:pt x="2464" y="119"/>
                    <a:pt x="2465" y="115"/>
                  </a:cubicBezTo>
                  <a:close/>
                  <a:moveTo>
                    <a:pt x="2432" y="134"/>
                  </a:moveTo>
                  <a:cubicBezTo>
                    <a:pt x="2436" y="128"/>
                    <a:pt x="2446" y="135"/>
                    <a:pt x="2449" y="136"/>
                  </a:cubicBezTo>
                  <a:cubicBezTo>
                    <a:pt x="2446" y="142"/>
                    <a:pt x="2440" y="131"/>
                    <a:pt x="2432" y="134"/>
                  </a:cubicBezTo>
                  <a:close/>
                  <a:moveTo>
                    <a:pt x="2427" y="170"/>
                  </a:moveTo>
                  <a:cubicBezTo>
                    <a:pt x="2428" y="166"/>
                    <a:pt x="2432" y="164"/>
                    <a:pt x="2438" y="165"/>
                  </a:cubicBezTo>
                  <a:cubicBezTo>
                    <a:pt x="2441" y="172"/>
                    <a:pt x="2432" y="169"/>
                    <a:pt x="2427" y="170"/>
                  </a:cubicBezTo>
                  <a:close/>
                  <a:moveTo>
                    <a:pt x="2454" y="160"/>
                  </a:moveTo>
                  <a:cubicBezTo>
                    <a:pt x="2454" y="160"/>
                    <a:pt x="2455" y="158"/>
                    <a:pt x="2454" y="158"/>
                  </a:cubicBezTo>
                  <a:cubicBezTo>
                    <a:pt x="2464" y="158"/>
                    <a:pt x="2450" y="165"/>
                    <a:pt x="2446" y="162"/>
                  </a:cubicBezTo>
                  <a:cubicBezTo>
                    <a:pt x="2444" y="161"/>
                    <a:pt x="2453" y="160"/>
                    <a:pt x="2454" y="160"/>
                  </a:cubicBezTo>
                  <a:close/>
                  <a:moveTo>
                    <a:pt x="2457" y="132"/>
                  </a:moveTo>
                  <a:cubicBezTo>
                    <a:pt x="2461" y="123"/>
                    <a:pt x="2462" y="136"/>
                    <a:pt x="2460" y="136"/>
                  </a:cubicBezTo>
                  <a:cubicBezTo>
                    <a:pt x="2458" y="137"/>
                    <a:pt x="2456" y="133"/>
                    <a:pt x="2457" y="132"/>
                  </a:cubicBezTo>
                  <a:close/>
                  <a:moveTo>
                    <a:pt x="2463" y="169"/>
                  </a:moveTo>
                  <a:cubicBezTo>
                    <a:pt x="2462" y="172"/>
                    <a:pt x="2456" y="171"/>
                    <a:pt x="2452" y="172"/>
                  </a:cubicBezTo>
                  <a:cubicBezTo>
                    <a:pt x="2453" y="166"/>
                    <a:pt x="2459" y="166"/>
                    <a:pt x="2463" y="169"/>
                  </a:cubicBezTo>
                  <a:close/>
                  <a:moveTo>
                    <a:pt x="2456" y="110"/>
                  </a:moveTo>
                  <a:cubicBezTo>
                    <a:pt x="2466" y="108"/>
                    <a:pt x="2464" y="125"/>
                    <a:pt x="2454" y="120"/>
                  </a:cubicBezTo>
                  <a:cubicBezTo>
                    <a:pt x="2456" y="118"/>
                    <a:pt x="2457" y="115"/>
                    <a:pt x="2456" y="110"/>
                  </a:cubicBezTo>
                  <a:close/>
                  <a:moveTo>
                    <a:pt x="2448" y="96"/>
                  </a:moveTo>
                  <a:cubicBezTo>
                    <a:pt x="2451" y="97"/>
                    <a:pt x="2450" y="101"/>
                    <a:pt x="2453" y="101"/>
                  </a:cubicBezTo>
                  <a:cubicBezTo>
                    <a:pt x="2452" y="108"/>
                    <a:pt x="2445" y="101"/>
                    <a:pt x="2448" y="96"/>
                  </a:cubicBezTo>
                  <a:close/>
                  <a:moveTo>
                    <a:pt x="2451" y="108"/>
                  </a:moveTo>
                  <a:cubicBezTo>
                    <a:pt x="2443" y="117"/>
                    <a:pt x="2441" y="101"/>
                    <a:pt x="2451" y="108"/>
                  </a:cubicBezTo>
                  <a:close/>
                  <a:moveTo>
                    <a:pt x="2440" y="101"/>
                  </a:moveTo>
                  <a:cubicBezTo>
                    <a:pt x="2435" y="103"/>
                    <a:pt x="2441" y="113"/>
                    <a:pt x="2432" y="111"/>
                  </a:cubicBezTo>
                  <a:cubicBezTo>
                    <a:pt x="2431" y="105"/>
                    <a:pt x="2433" y="101"/>
                    <a:pt x="2440" y="101"/>
                  </a:cubicBezTo>
                  <a:close/>
                  <a:moveTo>
                    <a:pt x="2419" y="149"/>
                  </a:moveTo>
                  <a:cubicBezTo>
                    <a:pt x="2419" y="143"/>
                    <a:pt x="2428" y="148"/>
                    <a:pt x="2430" y="149"/>
                  </a:cubicBezTo>
                  <a:cubicBezTo>
                    <a:pt x="2428" y="156"/>
                    <a:pt x="2424" y="146"/>
                    <a:pt x="2419" y="149"/>
                  </a:cubicBezTo>
                  <a:close/>
                  <a:moveTo>
                    <a:pt x="2427" y="139"/>
                  </a:moveTo>
                  <a:cubicBezTo>
                    <a:pt x="2423" y="139"/>
                    <a:pt x="2419" y="139"/>
                    <a:pt x="2416" y="139"/>
                  </a:cubicBezTo>
                  <a:cubicBezTo>
                    <a:pt x="2417" y="137"/>
                    <a:pt x="2419" y="135"/>
                    <a:pt x="2416" y="135"/>
                  </a:cubicBezTo>
                  <a:cubicBezTo>
                    <a:pt x="2416" y="131"/>
                    <a:pt x="2424" y="134"/>
                    <a:pt x="2424" y="130"/>
                  </a:cubicBezTo>
                  <a:cubicBezTo>
                    <a:pt x="2427" y="131"/>
                    <a:pt x="2426" y="136"/>
                    <a:pt x="2427" y="139"/>
                  </a:cubicBezTo>
                  <a:close/>
                  <a:moveTo>
                    <a:pt x="2410" y="114"/>
                  </a:moveTo>
                  <a:cubicBezTo>
                    <a:pt x="2413" y="116"/>
                    <a:pt x="2417" y="117"/>
                    <a:pt x="2424" y="116"/>
                  </a:cubicBezTo>
                  <a:cubicBezTo>
                    <a:pt x="2421" y="121"/>
                    <a:pt x="2408" y="123"/>
                    <a:pt x="2410" y="114"/>
                  </a:cubicBezTo>
                  <a:close/>
                  <a:moveTo>
                    <a:pt x="2413" y="130"/>
                  </a:moveTo>
                  <a:cubicBezTo>
                    <a:pt x="2414" y="140"/>
                    <a:pt x="2398" y="133"/>
                    <a:pt x="2394" y="133"/>
                  </a:cubicBezTo>
                  <a:cubicBezTo>
                    <a:pt x="2399" y="122"/>
                    <a:pt x="2404" y="136"/>
                    <a:pt x="2413" y="130"/>
                  </a:cubicBezTo>
                  <a:close/>
                  <a:moveTo>
                    <a:pt x="2405" y="151"/>
                  </a:moveTo>
                  <a:cubicBezTo>
                    <a:pt x="2402" y="159"/>
                    <a:pt x="2398" y="149"/>
                    <a:pt x="2394" y="149"/>
                  </a:cubicBezTo>
                  <a:cubicBezTo>
                    <a:pt x="2397" y="146"/>
                    <a:pt x="2404" y="144"/>
                    <a:pt x="2408" y="147"/>
                  </a:cubicBezTo>
                  <a:cubicBezTo>
                    <a:pt x="2408" y="149"/>
                    <a:pt x="2404" y="148"/>
                    <a:pt x="2402" y="149"/>
                  </a:cubicBezTo>
                  <a:cubicBezTo>
                    <a:pt x="2402" y="151"/>
                    <a:pt x="2403" y="151"/>
                    <a:pt x="2405" y="151"/>
                  </a:cubicBezTo>
                  <a:close/>
                  <a:moveTo>
                    <a:pt x="2393" y="116"/>
                  </a:moveTo>
                  <a:cubicBezTo>
                    <a:pt x="2392" y="119"/>
                    <a:pt x="2390" y="121"/>
                    <a:pt x="2385" y="121"/>
                  </a:cubicBezTo>
                  <a:cubicBezTo>
                    <a:pt x="2384" y="116"/>
                    <a:pt x="2389" y="117"/>
                    <a:pt x="2393" y="116"/>
                  </a:cubicBezTo>
                  <a:close/>
                  <a:moveTo>
                    <a:pt x="2374" y="100"/>
                  </a:moveTo>
                  <a:cubicBezTo>
                    <a:pt x="2374" y="100"/>
                    <a:pt x="2380" y="96"/>
                    <a:pt x="2382" y="98"/>
                  </a:cubicBezTo>
                  <a:cubicBezTo>
                    <a:pt x="2384" y="99"/>
                    <a:pt x="2371" y="105"/>
                    <a:pt x="2374" y="100"/>
                  </a:cubicBezTo>
                  <a:close/>
                  <a:moveTo>
                    <a:pt x="2360" y="100"/>
                  </a:moveTo>
                  <a:cubicBezTo>
                    <a:pt x="2366" y="100"/>
                    <a:pt x="2369" y="102"/>
                    <a:pt x="2368" y="107"/>
                  </a:cubicBezTo>
                  <a:cubicBezTo>
                    <a:pt x="2365" y="107"/>
                    <a:pt x="2361" y="107"/>
                    <a:pt x="2360" y="110"/>
                  </a:cubicBezTo>
                  <a:cubicBezTo>
                    <a:pt x="2352" y="108"/>
                    <a:pt x="2363" y="105"/>
                    <a:pt x="2360" y="100"/>
                  </a:cubicBezTo>
                  <a:close/>
                  <a:moveTo>
                    <a:pt x="2349" y="115"/>
                  </a:moveTo>
                  <a:cubicBezTo>
                    <a:pt x="2346" y="113"/>
                    <a:pt x="2344" y="110"/>
                    <a:pt x="2344" y="105"/>
                  </a:cubicBezTo>
                  <a:cubicBezTo>
                    <a:pt x="2347" y="106"/>
                    <a:pt x="2349" y="105"/>
                    <a:pt x="2349" y="103"/>
                  </a:cubicBezTo>
                  <a:cubicBezTo>
                    <a:pt x="2352" y="103"/>
                    <a:pt x="2351" y="105"/>
                    <a:pt x="2349" y="105"/>
                  </a:cubicBezTo>
                  <a:cubicBezTo>
                    <a:pt x="2349" y="112"/>
                    <a:pt x="2354" y="110"/>
                    <a:pt x="2349" y="115"/>
                  </a:cubicBezTo>
                  <a:close/>
                  <a:moveTo>
                    <a:pt x="2347" y="124"/>
                  </a:moveTo>
                  <a:cubicBezTo>
                    <a:pt x="2350" y="121"/>
                    <a:pt x="2352" y="122"/>
                    <a:pt x="2352" y="126"/>
                  </a:cubicBezTo>
                  <a:cubicBezTo>
                    <a:pt x="2346" y="127"/>
                    <a:pt x="2344" y="125"/>
                    <a:pt x="2344" y="119"/>
                  </a:cubicBezTo>
                  <a:cubicBezTo>
                    <a:pt x="2347" y="119"/>
                    <a:pt x="2346" y="122"/>
                    <a:pt x="2347" y="124"/>
                  </a:cubicBezTo>
                  <a:close/>
                  <a:moveTo>
                    <a:pt x="2349" y="86"/>
                  </a:moveTo>
                  <a:cubicBezTo>
                    <a:pt x="2357" y="88"/>
                    <a:pt x="2345" y="90"/>
                    <a:pt x="2346" y="94"/>
                  </a:cubicBezTo>
                  <a:cubicBezTo>
                    <a:pt x="2337" y="91"/>
                    <a:pt x="2349" y="89"/>
                    <a:pt x="2349" y="86"/>
                  </a:cubicBezTo>
                  <a:close/>
                  <a:moveTo>
                    <a:pt x="2327" y="94"/>
                  </a:moveTo>
                  <a:cubicBezTo>
                    <a:pt x="2330" y="94"/>
                    <a:pt x="2329" y="98"/>
                    <a:pt x="2330" y="101"/>
                  </a:cubicBezTo>
                  <a:cubicBezTo>
                    <a:pt x="2330" y="104"/>
                    <a:pt x="2335" y="103"/>
                    <a:pt x="2338" y="103"/>
                  </a:cubicBezTo>
                  <a:cubicBezTo>
                    <a:pt x="2336" y="105"/>
                    <a:pt x="2335" y="109"/>
                    <a:pt x="2336" y="113"/>
                  </a:cubicBezTo>
                  <a:cubicBezTo>
                    <a:pt x="2334" y="111"/>
                    <a:pt x="2331" y="110"/>
                    <a:pt x="2327" y="110"/>
                  </a:cubicBezTo>
                  <a:cubicBezTo>
                    <a:pt x="2328" y="106"/>
                    <a:pt x="2327" y="103"/>
                    <a:pt x="2322" y="103"/>
                  </a:cubicBezTo>
                  <a:cubicBezTo>
                    <a:pt x="2322" y="99"/>
                    <a:pt x="2329" y="100"/>
                    <a:pt x="2327" y="94"/>
                  </a:cubicBezTo>
                  <a:close/>
                  <a:moveTo>
                    <a:pt x="2322" y="125"/>
                  </a:moveTo>
                  <a:cubicBezTo>
                    <a:pt x="2327" y="125"/>
                    <a:pt x="2324" y="132"/>
                    <a:pt x="2328" y="134"/>
                  </a:cubicBezTo>
                  <a:cubicBezTo>
                    <a:pt x="2332" y="134"/>
                    <a:pt x="2338" y="135"/>
                    <a:pt x="2339" y="131"/>
                  </a:cubicBezTo>
                  <a:cubicBezTo>
                    <a:pt x="2343" y="132"/>
                    <a:pt x="2338" y="134"/>
                    <a:pt x="2339" y="138"/>
                  </a:cubicBezTo>
                  <a:cubicBezTo>
                    <a:pt x="2334" y="139"/>
                    <a:pt x="2334" y="136"/>
                    <a:pt x="2331" y="136"/>
                  </a:cubicBezTo>
                  <a:cubicBezTo>
                    <a:pt x="2327" y="139"/>
                    <a:pt x="2326" y="143"/>
                    <a:pt x="2317" y="141"/>
                  </a:cubicBezTo>
                  <a:cubicBezTo>
                    <a:pt x="2320" y="134"/>
                    <a:pt x="2320" y="134"/>
                    <a:pt x="2309" y="134"/>
                  </a:cubicBezTo>
                  <a:cubicBezTo>
                    <a:pt x="2299" y="129"/>
                    <a:pt x="2330" y="137"/>
                    <a:pt x="2322" y="125"/>
                  </a:cubicBezTo>
                  <a:close/>
                  <a:moveTo>
                    <a:pt x="2339" y="162"/>
                  </a:moveTo>
                  <a:cubicBezTo>
                    <a:pt x="2344" y="162"/>
                    <a:pt x="2341" y="170"/>
                    <a:pt x="2348" y="169"/>
                  </a:cubicBezTo>
                  <a:cubicBezTo>
                    <a:pt x="2345" y="175"/>
                    <a:pt x="2332" y="165"/>
                    <a:pt x="2339" y="162"/>
                  </a:cubicBezTo>
                  <a:close/>
                  <a:moveTo>
                    <a:pt x="2351" y="211"/>
                  </a:moveTo>
                  <a:cubicBezTo>
                    <a:pt x="2350" y="214"/>
                    <a:pt x="2348" y="216"/>
                    <a:pt x="2343" y="216"/>
                  </a:cubicBezTo>
                  <a:cubicBezTo>
                    <a:pt x="2342" y="211"/>
                    <a:pt x="2347" y="211"/>
                    <a:pt x="2351" y="211"/>
                  </a:cubicBezTo>
                  <a:close/>
                  <a:moveTo>
                    <a:pt x="2321" y="202"/>
                  </a:moveTo>
                  <a:cubicBezTo>
                    <a:pt x="2322" y="203"/>
                    <a:pt x="2331" y="208"/>
                    <a:pt x="2332" y="202"/>
                  </a:cubicBezTo>
                  <a:cubicBezTo>
                    <a:pt x="2337" y="205"/>
                    <a:pt x="2329" y="210"/>
                    <a:pt x="2335" y="216"/>
                  </a:cubicBezTo>
                  <a:cubicBezTo>
                    <a:pt x="2332" y="216"/>
                    <a:pt x="2330" y="217"/>
                    <a:pt x="2329" y="218"/>
                  </a:cubicBezTo>
                  <a:cubicBezTo>
                    <a:pt x="2326" y="218"/>
                    <a:pt x="2326" y="211"/>
                    <a:pt x="2329" y="211"/>
                  </a:cubicBezTo>
                  <a:cubicBezTo>
                    <a:pt x="2328" y="207"/>
                    <a:pt x="2319" y="210"/>
                    <a:pt x="2321" y="202"/>
                  </a:cubicBezTo>
                  <a:close/>
                  <a:moveTo>
                    <a:pt x="2309" y="141"/>
                  </a:moveTo>
                  <a:cubicBezTo>
                    <a:pt x="2304" y="142"/>
                    <a:pt x="2303" y="138"/>
                    <a:pt x="2298" y="139"/>
                  </a:cubicBezTo>
                  <a:cubicBezTo>
                    <a:pt x="2297" y="135"/>
                    <a:pt x="2313" y="135"/>
                    <a:pt x="2309" y="141"/>
                  </a:cubicBezTo>
                  <a:close/>
                  <a:moveTo>
                    <a:pt x="2287" y="132"/>
                  </a:moveTo>
                  <a:cubicBezTo>
                    <a:pt x="2289" y="132"/>
                    <a:pt x="2292" y="132"/>
                    <a:pt x="2295" y="132"/>
                  </a:cubicBezTo>
                  <a:cubicBezTo>
                    <a:pt x="2293" y="134"/>
                    <a:pt x="2294" y="140"/>
                    <a:pt x="2292" y="142"/>
                  </a:cubicBezTo>
                  <a:cubicBezTo>
                    <a:pt x="2292" y="142"/>
                    <a:pt x="2290" y="141"/>
                    <a:pt x="2290" y="142"/>
                  </a:cubicBezTo>
                  <a:cubicBezTo>
                    <a:pt x="2288" y="146"/>
                    <a:pt x="2294" y="155"/>
                    <a:pt x="2284" y="153"/>
                  </a:cubicBezTo>
                  <a:cubicBezTo>
                    <a:pt x="2289" y="149"/>
                    <a:pt x="2286" y="140"/>
                    <a:pt x="2287" y="132"/>
                  </a:cubicBezTo>
                  <a:close/>
                  <a:moveTo>
                    <a:pt x="2291" y="252"/>
                  </a:moveTo>
                  <a:cubicBezTo>
                    <a:pt x="2291" y="254"/>
                    <a:pt x="2291" y="255"/>
                    <a:pt x="2292" y="257"/>
                  </a:cubicBezTo>
                  <a:cubicBezTo>
                    <a:pt x="2290" y="257"/>
                    <a:pt x="2288" y="257"/>
                    <a:pt x="2286" y="257"/>
                  </a:cubicBezTo>
                  <a:cubicBezTo>
                    <a:pt x="2286" y="255"/>
                    <a:pt x="2286" y="254"/>
                    <a:pt x="2286" y="252"/>
                  </a:cubicBezTo>
                  <a:cubicBezTo>
                    <a:pt x="2288" y="252"/>
                    <a:pt x="2290" y="252"/>
                    <a:pt x="2291" y="252"/>
                  </a:cubicBezTo>
                  <a:close/>
                  <a:moveTo>
                    <a:pt x="2285" y="210"/>
                  </a:moveTo>
                  <a:cubicBezTo>
                    <a:pt x="2297" y="211"/>
                    <a:pt x="2283" y="223"/>
                    <a:pt x="2285" y="210"/>
                  </a:cubicBezTo>
                  <a:close/>
                  <a:moveTo>
                    <a:pt x="2278" y="283"/>
                  </a:moveTo>
                  <a:cubicBezTo>
                    <a:pt x="2279" y="280"/>
                    <a:pt x="2284" y="280"/>
                    <a:pt x="2284" y="283"/>
                  </a:cubicBezTo>
                  <a:cubicBezTo>
                    <a:pt x="2287" y="282"/>
                    <a:pt x="2286" y="278"/>
                    <a:pt x="2286" y="276"/>
                  </a:cubicBezTo>
                  <a:cubicBezTo>
                    <a:pt x="2289" y="277"/>
                    <a:pt x="2291" y="278"/>
                    <a:pt x="2292" y="275"/>
                  </a:cubicBezTo>
                  <a:cubicBezTo>
                    <a:pt x="2299" y="281"/>
                    <a:pt x="2284" y="287"/>
                    <a:pt x="2278" y="283"/>
                  </a:cubicBezTo>
                  <a:close/>
                  <a:moveTo>
                    <a:pt x="2303" y="282"/>
                  </a:moveTo>
                  <a:cubicBezTo>
                    <a:pt x="2303" y="281"/>
                    <a:pt x="2303" y="279"/>
                    <a:pt x="2303" y="278"/>
                  </a:cubicBezTo>
                  <a:cubicBezTo>
                    <a:pt x="2305" y="278"/>
                    <a:pt x="2307" y="278"/>
                    <a:pt x="2308" y="278"/>
                  </a:cubicBezTo>
                  <a:cubicBezTo>
                    <a:pt x="2308" y="279"/>
                    <a:pt x="2308" y="281"/>
                    <a:pt x="2308" y="282"/>
                  </a:cubicBezTo>
                  <a:cubicBezTo>
                    <a:pt x="2307" y="282"/>
                    <a:pt x="2305" y="282"/>
                    <a:pt x="2303" y="282"/>
                  </a:cubicBezTo>
                  <a:close/>
                  <a:moveTo>
                    <a:pt x="2311" y="278"/>
                  </a:moveTo>
                  <a:cubicBezTo>
                    <a:pt x="2316" y="277"/>
                    <a:pt x="2316" y="280"/>
                    <a:pt x="2319" y="280"/>
                  </a:cubicBezTo>
                  <a:cubicBezTo>
                    <a:pt x="2321" y="284"/>
                    <a:pt x="2307" y="283"/>
                    <a:pt x="2311" y="278"/>
                  </a:cubicBezTo>
                  <a:close/>
                  <a:moveTo>
                    <a:pt x="2311" y="254"/>
                  </a:moveTo>
                  <a:cubicBezTo>
                    <a:pt x="2313" y="254"/>
                    <a:pt x="2313" y="253"/>
                    <a:pt x="2313" y="252"/>
                  </a:cubicBezTo>
                  <a:cubicBezTo>
                    <a:pt x="2319" y="251"/>
                    <a:pt x="2318" y="262"/>
                    <a:pt x="2311" y="259"/>
                  </a:cubicBezTo>
                  <a:cubicBezTo>
                    <a:pt x="2311" y="257"/>
                    <a:pt x="2311" y="256"/>
                    <a:pt x="2311" y="254"/>
                  </a:cubicBezTo>
                  <a:close/>
                  <a:moveTo>
                    <a:pt x="2318" y="221"/>
                  </a:moveTo>
                  <a:cubicBezTo>
                    <a:pt x="2313" y="224"/>
                    <a:pt x="2314" y="217"/>
                    <a:pt x="2313" y="216"/>
                  </a:cubicBezTo>
                  <a:cubicBezTo>
                    <a:pt x="2307" y="216"/>
                    <a:pt x="2307" y="222"/>
                    <a:pt x="2308" y="231"/>
                  </a:cubicBezTo>
                  <a:cubicBezTo>
                    <a:pt x="2310" y="231"/>
                    <a:pt x="2310" y="230"/>
                    <a:pt x="2310" y="228"/>
                  </a:cubicBezTo>
                  <a:cubicBezTo>
                    <a:pt x="2319" y="229"/>
                    <a:pt x="2300" y="236"/>
                    <a:pt x="2310" y="238"/>
                  </a:cubicBezTo>
                  <a:cubicBezTo>
                    <a:pt x="2310" y="241"/>
                    <a:pt x="2303" y="239"/>
                    <a:pt x="2302" y="238"/>
                  </a:cubicBezTo>
                  <a:cubicBezTo>
                    <a:pt x="2301" y="234"/>
                    <a:pt x="2305" y="233"/>
                    <a:pt x="2305" y="231"/>
                  </a:cubicBezTo>
                  <a:cubicBezTo>
                    <a:pt x="2304" y="225"/>
                    <a:pt x="2302" y="221"/>
                    <a:pt x="2305" y="219"/>
                  </a:cubicBezTo>
                  <a:cubicBezTo>
                    <a:pt x="2306" y="211"/>
                    <a:pt x="2291" y="218"/>
                    <a:pt x="2293" y="210"/>
                  </a:cubicBezTo>
                  <a:cubicBezTo>
                    <a:pt x="2300" y="204"/>
                    <a:pt x="2307" y="219"/>
                    <a:pt x="2302" y="205"/>
                  </a:cubicBezTo>
                  <a:cubicBezTo>
                    <a:pt x="2307" y="205"/>
                    <a:pt x="2313" y="205"/>
                    <a:pt x="2318" y="205"/>
                  </a:cubicBezTo>
                  <a:cubicBezTo>
                    <a:pt x="2317" y="212"/>
                    <a:pt x="2325" y="216"/>
                    <a:pt x="2318" y="221"/>
                  </a:cubicBezTo>
                  <a:close/>
                  <a:moveTo>
                    <a:pt x="2321" y="228"/>
                  </a:moveTo>
                  <a:cubicBezTo>
                    <a:pt x="2321" y="226"/>
                    <a:pt x="2321" y="225"/>
                    <a:pt x="2321" y="223"/>
                  </a:cubicBezTo>
                  <a:cubicBezTo>
                    <a:pt x="2323" y="223"/>
                    <a:pt x="2325" y="223"/>
                    <a:pt x="2327" y="223"/>
                  </a:cubicBezTo>
                  <a:cubicBezTo>
                    <a:pt x="2327" y="225"/>
                    <a:pt x="2327" y="226"/>
                    <a:pt x="2327" y="228"/>
                  </a:cubicBezTo>
                  <a:cubicBezTo>
                    <a:pt x="2325" y="228"/>
                    <a:pt x="2323" y="228"/>
                    <a:pt x="2321" y="228"/>
                  </a:cubicBezTo>
                  <a:close/>
                  <a:moveTo>
                    <a:pt x="2327" y="258"/>
                  </a:moveTo>
                  <a:cubicBezTo>
                    <a:pt x="2339" y="259"/>
                    <a:pt x="2325" y="272"/>
                    <a:pt x="2327" y="258"/>
                  </a:cubicBezTo>
                  <a:close/>
                  <a:moveTo>
                    <a:pt x="2338" y="249"/>
                  </a:moveTo>
                  <a:cubicBezTo>
                    <a:pt x="2336" y="248"/>
                    <a:pt x="2335" y="247"/>
                    <a:pt x="2333" y="247"/>
                  </a:cubicBezTo>
                  <a:cubicBezTo>
                    <a:pt x="2333" y="245"/>
                    <a:pt x="2335" y="244"/>
                    <a:pt x="2335" y="242"/>
                  </a:cubicBezTo>
                  <a:cubicBezTo>
                    <a:pt x="2337" y="242"/>
                    <a:pt x="2338" y="244"/>
                    <a:pt x="2341" y="244"/>
                  </a:cubicBezTo>
                  <a:cubicBezTo>
                    <a:pt x="2340" y="246"/>
                    <a:pt x="2338" y="246"/>
                    <a:pt x="2338" y="249"/>
                  </a:cubicBezTo>
                  <a:close/>
                  <a:moveTo>
                    <a:pt x="2341" y="239"/>
                  </a:moveTo>
                  <a:cubicBezTo>
                    <a:pt x="2342" y="236"/>
                    <a:pt x="2349" y="237"/>
                    <a:pt x="2346" y="230"/>
                  </a:cubicBezTo>
                  <a:cubicBezTo>
                    <a:pt x="2351" y="234"/>
                    <a:pt x="2351" y="238"/>
                    <a:pt x="2349" y="244"/>
                  </a:cubicBezTo>
                  <a:cubicBezTo>
                    <a:pt x="2346" y="242"/>
                    <a:pt x="2346" y="239"/>
                    <a:pt x="2341" y="239"/>
                  </a:cubicBezTo>
                  <a:close/>
                  <a:moveTo>
                    <a:pt x="2352" y="282"/>
                  </a:moveTo>
                  <a:cubicBezTo>
                    <a:pt x="2351" y="286"/>
                    <a:pt x="2347" y="283"/>
                    <a:pt x="2349" y="274"/>
                  </a:cubicBezTo>
                  <a:cubicBezTo>
                    <a:pt x="2351" y="268"/>
                    <a:pt x="2353" y="280"/>
                    <a:pt x="2352" y="282"/>
                  </a:cubicBezTo>
                  <a:close/>
                  <a:moveTo>
                    <a:pt x="2347" y="138"/>
                  </a:moveTo>
                  <a:cubicBezTo>
                    <a:pt x="2345" y="138"/>
                    <a:pt x="2344" y="139"/>
                    <a:pt x="2344" y="141"/>
                  </a:cubicBezTo>
                  <a:cubicBezTo>
                    <a:pt x="2334" y="139"/>
                    <a:pt x="2360" y="133"/>
                    <a:pt x="2344" y="134"/>
                  </a:cubicBezTo>
                  <a:cubicBezTo>
                    <a:pt x="2344" y="126"/>
                    <a:pt x="2351" y="134"/>
                    <a:pt x="2355" y="133"/>
                  </a:cubicBezTo>
                  <a:cubicBezTo>
                    <a:pt x="2358" y="133"/>
                    <a:pt x="2389" y="124"/>
                    <a:pt x="2377" y="140"/>
                  </a:cubicBezTo>
                  <a:cubicBezTo>
                    <a:pt x="2371" y="141"/>
                    <a:pt x="2374" y="133"/>
                    <a:pt x="2369" y="133"/>
                  </a:cubicBezTo>
                  <a:cubicBezTo>
                    <a:pt x="2365" y="138"/>
                    <a:pt x="2354" y="143"/>
                    <a:pt x="2347" y="138"/>
                  </a:cubicBezTo>
                  <a:close/>
                  <a:moveTo>
                    <a:pt x="2354" y="213"/>
                  </a:moveTo>
                  <a:cubicBezTo>
                    <a:pt x="2356" y="211"/>
                    <a:pt x="2358" y="207"/>
                    <a:pt x="2354" y="206"/>
                  </a:cubicBezTo>
                  <a:cubicBezTo>
                    <a:pt x="2355" y="201"/>
                    <a:pt x="2367" y="205"/>
                    <a:pt x="2373" y="204"/>
                  </a:cubicBezTo>
                  <a:cubicBezTo>
                    <a:pt x="2382" y="205"/>
                    <a:pt x="2368" y="207"/>
                    <a:pt x="2365" y="206"/>
                  </a:cubicBezTo>
                  <a:cubicBezTo>
                    <a:pt x="2358" y="205"/>
                    <a:pt x="2363" y="215"/>
                    <a:pt x="2354" y="213"/>
                  </a:cubicBezTo>
                  <a:close/>
                  <a:moveTo>
                    <a:pt x="2373" y="218"/>
                  </a:moveTo>
                  <a:cubicBezTo>
                    <a:pt x="2371" y="215"/>
                    <a:pt x="2363" y="217"/>
                    <a:pt x="2365" y="211"/>
                  </a:cubicBezTo>
                  <a:cubicBezTo>
                    <a:pt x="2371" y="210"/>
                    <a:pt x="2374" y="213"/>
                    <a:pt x="2373" y="218"/>
                  </a:cubicBezTo>
                  <a:close/>
                  <a:moveTo>
                    <a:pt x="2363" y="263"/>
                  </a:moveTo>
                  <a:cubicBezTo>
                    <a:pt x="2362" y="262"/>
                    <a:pt x="2357" y="267"/>
                    <a:pt x="2358" y="267"/>
                  </a:cubicBezTo>
                  <a:cubicBezTo>
                    <a:pt x="2351" y="265"/>
                    <a:pt x="2366" y="255"/>
                    <a:pt x="2366" y="265"/>
                  </a:cubicBezTo>
                  <a:cubicBezTo>
                    <a:pt x="2363" y="266"/>
                    <a:pt x="2364" y="263"/>
                    <a:pt x="2363" y="263"/>
                  </a:cubicBezTo>
                  <a:close/>
                  <a:moveTo>
                    <a:pt x="2374" y="255"/>
                  </a:moveTo>
                  <a:cubicBezTo>
                    <a:pt x="2366" y="252"/>
                    <a:pt x="2360" y="247"/>
                    <a:pt x="2368" y="241"/>
                  </a:cubicBezTo>
                  <a:cubicBezTo>
                    <a:pt x="2367" y="238"/>
                    <a:pt x="2363" y="239"/>
                    <a:pt x="2363" y="241"/>
                  </a:cubicBezTo>
                  <a:cubicBezTo>
                    <a:pt x="2356" y="240"/>
                    <a:pt x="2361" y="230"/>
                    <a:pt x="2368" y="232"/>
                  </a:cubicBezTo>
                  <a:cubicBezTo>
                    <a:pt x="2367" y="229"/>
                    <a:pt x="2363" y="230"/>
                    <a:pt x="2360" y="230"/>
                  </a:cubicBezTo>
                  <a:cubicBezTo>
                    <a:pt x="2360" y="225"/>
                    <a:pt x="2367" y="227"/>
                    <a:pt x="2365" y="220"/>
                  </a:cubicBezTo>
                  <a:cubicBezTo>
                    <a:pt x="2369" y="223"/>
                    <a:pt x="2371" y="232"/>
                    <a:pt x="2368" y="234"/>
                  </a:cubicBezTo>
                  <a:cubicBezTo>
                    <a:pt x="2366" y="238"/>
                    <a:pt x="2381" y="238"/>
                    <a:pt x="2379" y="234"/>
                  </a:cubicBezTo>
                  <a:cubicBezTo>
                    <a:pt x="2385" y="235"/>
                    <a:pt x="2374" y="244"/>
                    <a:pt x="2371" y="239"/>
                  </a:cubicBezTo>
                  <a:cubicBezTo>
                    <a:pt x="2370" y="243"/>
                    <a:pt x="2373" y="243"/>
                    <a:pt x="2376" y="244"/>
                  </a:cubicBezTo>
                  <a:cubicBezTo>
                    <a:pt x="2378" y="249"/>
                    <a:pt x="2371" y="249"/>
                    <a:pt x="2374" y="255"/>
                  </a:cubicBezTo>
                  <a:close/>
                  <a:moveTo>
                    <a:pt x="2377" y="283"/>
                  </a:moveTo>
                  <a:cubicBezTo>
                    <a:pt x="2375" y="283"/>
                    <a:pt x="2375" y="284"/>
                    <a:pt x="2374" y="286"/>
                  </a:cubicBezTo>
                  <a:cubicBezTo>
                    <a:pt x="2367" y="283"/>
                    <a:pt x="2381" y="279"/>
                    <a:pt x="2388" y="281"/>
                  </a:cubicBezTo>
                  <a:cubicBezTo>
                    <a:pt x="2388" y="283"/>
                    <a:pt x="2388" y="286"/>
                    <a:pt x="2388" y="288"/>
                  </a:cubicBezTo>
                  <a:cubicBezTo>
                    <a:pt x="2380" y="291"/>
                    <a:pt x="2381" y="284"/>
                    <a:pt x="2377" y="283"/>
                  </a:cubicBezTo>
                  <a:close/>
                  <a:moveTo>
                    <a:pt x="2381" y="218"/>
                  </a:moveTo>
                  <a:cubicBezTo>
                    <a:pt x="2378" y="217"/>
                    <a:pt x="2379" y="213"/>
                    <a:pt x="2376" y="213"/>
                  </a:cubicBezTo>
                  <a:cubicBezTo>
                    <a:pt x="2377" y="205"/>
                    <a:pt x="2383" y="215"/>
                    <a:pt x="2387" y="215"/>
                  </a:cubicBezTo>
                  <a:cubicBezTo>
                    <a:pt x="2387" y="215"/>
                    <a:pt x="2390" y="215"/>
                    <a:pt x="2390" y="215"/>
                  </a:cubicBezTo>
                  <a:cubicBezTo>
                    <a:pt x="2392" y="221"/>
                    <a:pt x="2379" y="212"/>
                    <a:pt x="2381" y="218"/>
                  </a:cubicBezTo>
                  <a:close/>
                  <a:moveTo>
                    <a:pt x="2409" y="224"/>
                  </a:moveTo>
                  <a:cubicBezTo>
                    <a:pt x="2413" y="225"/>
                    <a:pt x="2416" y="227"/>
                    <a:pt x="2420" y="229"/>
                  </a:cubicBezTo>
                  <a:cubicBezTo>
                    <a:pt x="2419" y="234"/>
                    <a:pt x="2407" y="229"/>
                    <a:pt x="2409" y="224"/>
                  </a:cubicBezTo>
                  <a:close/>
                  <a:moveTo>
                    <a:pt x="2425" y="217"/>
                  </a:moveTo>
                  <a:cubicBezTo>
                    <a:pt x="2426" y="211"/>
                    <a:pt x="2435" y="216"/>
                    <a:pt x="2436" y="217"/>
                  </a:cubicBezTo>
                  <a:cubicBezTo>
                    <a:pt x="2435" y="224"/>
                    <a:pt x="2430" y="214"/>
                    <a:pt x="2425" y="217"/>
                  </a:cubicBezTo>
                  <a:close/>
                  <a:moveTo>
                    <a:pt x="2436" y="212"/>
                  </a:moveTo>
                  <a:cubicBezTo>
                    <a:pt x="2437" y="211"/>
                    <a:pt x="2442" y="208"/>
                    <a:pt x="2444" y="209"/>
                  </a:cubicBezTo>
                  <a:cubicBezTo>
                    <a:pt x="2451" y="214"/>
                    <a:pt x="2433" y="220"/>
                    <a:pt x="2436" y="212"/>
                  </a:cubicBezTo>
                  <a:close/>
                  <a:moveTo>
                    <a:pt x="2453" y="259"/>
                  </a:moveTo>
                  <a:cubicBezTo>
                    <a:pt x="2451" y="259"/>
                    <a:pt x="2448" y="259"/>
                    <a:pt x="2445" y="259"/>
                  </a:cubicBezTo>
                  <a:cubicBezTo>
                    <a:pt x="2447" y="252"/>
                    <a:pt x="2449" y="256"/>
                    <a:pt x="2456" y="256"/>
                  </a:cubicBezTo>
                  <a:cubicBezTo>
                    <a:pt x="2456" y="260"/>
                    <a:pt x="2456" y="263"/>
                    <a:pt x="2459" y="263"/>
                  </a:cubicBezTo>
                  <a:cubicBezTo>
                    <a:pt x="2458" y="270"/>
                    <a:pt x="2450" y="263"/>
                    <a:pt x="2453" y="259"/>
                  </a:cubicBezTo>
                  <a:close/>
                  <a:moveTo>
                    <a:pt x="2464" y="237"/>
                  </a:moveTo>
                  <a:cubicBezTo>
                    <a:pt x="2460" y="238"/>
                    <a:pt x="2463" y="244"/>
                    <a:pt x="2459" y="244"/>
                  </a:cubicBezTo>
                  <a:cubicBezTo>
                    <a:pt x="2457" y="240"/>
                    <a:pt x="2460" y="238"/>
                    <a:pt x="2461" y="235"/>
                  </a:cubicBezTo>
                  <a:cubicBezTo>
                    <a:pt x="2466" y="234"/>
                    <a:pt x="2467" y="237"/>
                    <a:pt x="2464" y="237"/>
                  </a:cubicBezTo>
                  <a:close/>
                  <a:moveTo>
                    <a:pt x="2478" y="246"/>
                  </a:moveTo>
                  <a:cubicBezTo>
                    <a:pt x="2484" y="241"/>
                    <a:pt x="2475" y="239"/>
                    <a:pt x="2481" y="235"/>
                  </a:cubicBezTo>
                  <a:cubicBezTo>
                    <a:pt x="2485" y="234"/>
                    <a:pt x="2486" y="250"/>
                    <a:pt x="2478" y="246"/>
                  </a:cubicBezTo>
                  <a:close/>
                  <a:moveTo>
                    <a:pt x="2497" y="253"/>
                  </a:moveTo>
                  <a:cubicBezTo>
                    <a:pt x="2497" y="251"/>
                    <a:pt x="2501" y="251"/>
                    <a:pt x="2503" y="251"/>
                  </a:cubicBezTo>
                  <a:cubicBezTo>
                    <a:pt x="2505" y="251"/>
                    <a:pt x="2508" y="251"/>
                    <a:pt x="2511" y="251"/>
                  </a:cubicBezTo>
                  <a:cubicBezTo>
                    <a:pt x="2512" y="256"/>
                    <a:pt x="2501" y="252"/>
                    <a:pt x="2497" y="253"/>
                  </a:cubicBezTo>
                  <a:close/>
                  <a:moveTo>
                    <a:pt x="2503" y="248"/>
                  </a:moveTo>
                  <a:cubicBezTo>
                    <a:pt x="2503" y="245"/>
                    <a:pt x="2503" y="242"/>
                    <a:pt x="2503" y="239"/>
                  </a:cubicBezTo>
                  <a:cubicBezTo>
                    <a:pt x="2505" y="239"/>
                    <a:pt x="2505" y="242"/>
                    <a:pt x="2505" y="244"/>
                  </a:cubicBezTo>
                  <a:cubicBezTo>
                    <a:pt x="2509" y="244"/>
                    <a:pt x="2510" y="243"/>
                    <a:pt x="2511" y="241"/>
                  </a:cubicBezTo>
                  <a:cubicBezTo>
                    <a:pt x="2519" y="244"/>
                    <a:pt x="2507" y="249"/>
                    <a:pt x="2503" y="248"/>
                  </a:cubicBezTo>
                  <a:close/>
                  <a:moveTo>
                    <a:pt x="2517" y="269"/>
                  </a:moveTo>
                  <a:cubicBezTo>
                    <a:pt x="2512" y="275"/>
                    <a:pt x="2517" y="268"/>
                    <a:pt x="2517" y="265"/>
                  </a:cubicBezTo>
                  <a:cubicBezTo>
                    <a:pt x="2517" y="256"/>
                    <a:pt x="2524" y="271"/>
                    <a:pt x="2517" y="269"/>
                  </a:cubicBezTo>
                  <a:close/>
                  <a:moveTo>
                    <a:pt x="2535" y="241"/>
                  </a:moveTo>
                  <a:cubicBezTo>
                    <a:pt x="2533" y="237"/>
                    <a:pt x="2522" y="241"/>
                    <a:pt x="2524" y="234"/>
                  </a:cubicBezTo>
                  <a:cubicBezTo>
                    <a:pt x="2527" y="232"/>
                    <a:pt x="2532" y="231"/>
                    <a:pt x="2538" y="231"/>
                  </a:cubicBezTo>
                  <a:cubicBezTo>
                    <a:pt x="2538" y="235"/>
                    <a:pt x="2535" y="236"/>
                    <a:pt x="2535" y="241"/>
                  </a:cubicBezTo>
                  <a:close/>
                  <a:moveTo>
                    <a:pt x="2543" y="219"/>
                  </a:moveTo>
                  <a:cubicBezTo>
                    <a:pt x="2538" y="215"/>
                    <a:pt x="2538" y="221"/>
                    <a:pt x="2530" y="220"/>
                  </a:cubicBezTo>
                  <a:cubicBezTo>
                    <a:pt x="2526" y="217"/>
                    <a:pt x="2529" y="216"/>
                    <a:pt x="2530" y="213"/>
                  </a:cubicBezTo>
                  <a:cubicBezTo>
                    <a:pt x="2524" y="212"/>
                    <a:pt x="2521" y="215"/>
                    <a:pt x="2521" y="220"/>
                  </a:cubicBezTo>
                  <a:cubicBezTo>
                    <a:pt x="2511" y="215"/>
                    <a:pt x="2520" y="208"/>
                    <a:pt x="2529" y="208"/>
                  </a:cubicBezTo>
                  <a:cubicBezTo>
                    <a:pt x="2529" y="203"/>
                    <a:pt x="2521" y="208"/>
                    <a:pt x="2521" y="208"/>
                  </a:cubicBezTo>
                  <a:cubicBezTo>
                    <a:pt x="2518" y="208"/>
                    <a:pt x="2517" y="204"/>
                    <a:pt x="2513" y="203"/>
                  </a:cubicBezTo>
                  <a:cubicBezTo>
                    <a:pt x="2513" y="209"/>
                    <a:pt x="2518" y="209"/>
                    <a:pt x="2513" y="213"/>
                  </a:cubicBezTo>
                  <a:cubicBezTo>
                    <a:pt x="2511" y="215"/>
                    <a:pt x="2519" y="239"/>
                    <a:pt x="2508" y="236"/>
                  </a:cubicBezTo>
                  <a:cubicBezTo>
                    <a:pt x="2507" y="233"/>
                    <a:pt x="2510" y="232"/>
                    <a:pt x="2511" y="229"/>
                  </a:cubicBezTo>
                  <a:cubicBezTo>
                    <a:pt x="2508" y="225"/>
                    <a:pt x="2504" y="222"/>
                    <a:pt x="2499" y="220"/>
                  </a:cubicBezTo>
                  <a:cubicBezTo>
                    <a:pt x="2499" y="216"/>
                    <a:pt x="2501" y="211"/>
                    <a:pt x="2497" y="211"/>
                  </a:cubicBezTo>
                  <a:cubicBezTo>
                    <a:pt x="2493" y="211"/>
                    <a:pt x="2496" y="214"/>
                    <a:pt x="2497" y="213"/>
                  </a:cubicBezTo>
                  <a:cubicBezTo>
                    <a:pt x="2492" y="219"/>
                    <a:pt x="2486" y="214"/>
                    <a:pt x="2483" y="220"/>
                  </a:cubicBezTo>
                  <a:cubicBezTo>
                    <a:pt x="2481" y="219"/>
                    <a:pt x="2479" y="218"/>
                    <a:pt x="2475" y="218"/>
                  </a:cubicBezTo>
                  <a:cubicBezTo>
                    <a:pt x="2474" y="226"/>
                    <a:pt x="2487" y="222"/>
                    <a:pt x="2483" y="232"/>
                  </a:cubicBezTo>
                  <a:cubicBezTo>
                    <a:pt x="2479" y="233"/>
                    <a:pt x="2478" y="230"/>
                    <a:pt x="2478" y="228"/>
                  </a:cubicBezTo>
                  <a:cubicBezTo>
                    <a:pt x="2478" y="225"/>
                    <a:pt x="2473" y="227"/>
                    <a:pt x="2472" y="225"/>
                  </a:cubicBezTo>
                  <a:cubicBezTo>
                    <a:pt x="2472" y="225"/>
                    <a:pt x="2472" y="216"/>
                    <a:pt x="2469" y="218"/>
                  </a:cubicBezTo>
                  <a:cubicBezTo>
                    <a:pt x="2467" y="220"/>
                    <a:pt x="2464" y="221"/>
                    <a:pt x="2464" y="211"/>
                  </a:cubicBezTo>
                  <a:cubicBezTo>
                    <a:pt x="2459" y="214"/>
                    <a:pt x="2460" y="221"/>
                    <a:pt x="2450" y="219"/>
                  </a:cubicBezTo>
                  <a:cubicBezTo>
                    <a:pt x="2450" y="216"/>
                    <a:pt x="2449" y="214"/>
                    <a:pt x="2447" y="214"/>
                  </a:cubicBezTo>
                  <a:cubicBezTo>
                    <a:pt x="2446" y="210"/>
                    <a:pt x="2449" y="210"/>
                    <a:pt x="2453" y="209"/>
                  </a:cubicBezTo>
                  <a:cubicBezTo>
                    <a:pt x="2452" y="207"/>
                    <a:pt x="2447" y="208"/>
                    <a:pt x="2447" y="205"/>
                  </a:cubicBezTo>
                  <a:cubicBezTo>
                    <a:pt x="2436" y="206"/>
                    <a:pt x="2426" y="206"/>
                    <a:pt x="2414" y="205"/>
                  </a:cubicBezTo>
                  <a:cubicBezTo>
                    <a:pt x="2406" y="208"/>
                    <a:pt x="2418" y="211"/>
                    <a:pt x="2412" y="215"/>
                  </a:cubicBezTo>
                  <a:cubicBezTo>
                    <a:pt x="2408" y="215"/>
                    <a:pt x="2404" y="215"/>
                    <a:pt x="2401" y="215"/>
                  </a:cubicBezTo>
                  <a:cubicBezTo>
                    <a:pt x="2400" y="211"/>
                    <a:pt x="2403" y="211"/>
                    <a:pt x="2403" y="208"/>
                  </a:cubicBezTo>
                  <a:cubicBezTo>
                    <a:pt x="2400" y="201"/>
                    <a:pt x="2389" y="208"/>
                    <a:pt x="2384" y="208"/>
                  </a:cubicBezTo>
                  <a:cubicBezTo>
                    <a:pt x="2378" y="197"/>
                    <a:pt x="2422" y="207"/>
                    <a:pt x="2411" y="201"/>
                  </a:cubicBezTo>
                  <a:cubicBezTo>
                    <a:pt x="2412" y="198"/>
                    <a:pt x="2414" y="199"/>
                    <a:pt x="2414" y="200"/>
                  </a:cubicBezTo>
                  <a:cubicBezTo>
                    <a:pt x="2421" y="203"/>
                    <a:pt x="2431" y="203"/>
                    <a:pt x="2442" y="202"/>
                  </a:cubicBezTo>
                  <a:cubicBezTo>
                    <a:pt x="2444" y="201"/>
                    <a:pt x="2446" y="200"/>
                    <a:pt x="2450" y="200"/>
                  </a:cubicBezTo>
                  <a:cubicBezTo>
                    <a:pt x="2450" y="198"/>
                    <a:pt x="2450" y="195"/>
                    <a:pt x="2450" y="193"/>
                  </a:cubicBezTo>
                  <a:cubicBezTo>
                    <a:pt x="2456" y="187"/>
                    <a:pt x="2447" y="202"/>
                    <a:pt x="2458" y="202"/>
                  </a:cubicBezTo>
                  <a:cubicBezTo>
                    <a:pt x="2463" y="202"/>
                    <a:pt x="2468" y="203"/>
                    <a:pt x="2463" y="204"/>
                  </a:cubicBezTo>
                  <a:cubicBezTo>
                    <a:pt x="2460" y="206"/>
                    <a:pt x="2455" y="203"/>
                    <a:pt x="2455" y="207"/>
                  </a:cubicBezTo>
                  <a:cubicBezTo>
                    <a:pt x="2453" y="211"/>
                    <a:pt x="2468" y="210"/>
                    <a:pt x="2466" y="207"/>
                  </a:cubicBezTo>
                  <a:cubicBezTo>
                    <a:pt x="2469" y="205"/>
                    <a:pt x="2469" y="201"/>
                    <a:pt x="2474" y="202"/>
                  </a:cubicBezTo>
                  <a:cubicBezTo>
                    <a:pt x="2474" y="198"/>
                    <a:pt x="2477" y="198"/>
                    <a:pt x="2477" y="195"/>
                  </a:cubicBezTo>
                  <a:cubicBezTo>
                    <a:pt x="2481" y="195"/>
                    <a:pt x="2478" y="202"/>
                    <a:pt x="2483" y="202"/>
                  </a:cubicBezTo>
                  <a:cubicBezTo>
                    <a:pt x="2490" y="202"/>
                    <a:pt x="2492" y="198"/>
                    <a:pt x="2491" y="192"/>
                  </a:cubicBezTo>
                  <a:cubicBezTo>
                    <a:pt x="2499" y="194"/>
                    <a:pt x="2494" y="196"/>
                    <a:pt x="2494" y="201"/>
                  </a:cubicBezTo>
                  <a:cubicBezTo>
                    <a:pt x="2500" y="202"/>
                    <a:pt x="2504" y="201"/>
                    <a:pt x="2505" y="197"/>
                  </a:cubicBezTo>
                  <a:cubicBezTo>
                    <a:pt x="2508" y="196"/>
                    <a:pt x="2506" y="200"/>
                    <a:pt x="2507" y="201"/>
                  </a:cubicBezTo>
                  <a:cubicBezTo>
                    <a:pt x="2511" y="203"/>
                    <a:pt x="2519" y="200"/>
                    <a:pt x="2524" y="201"/>
                  </a:cubicBezTo>
                  <a:cubicBezTo>
                    <a:pt x="2527" y="200"/>
                    <a:pt x="2529" y="198"/>
                    <a:pt x="2529" y="194"/>
                  </a:cubicBezTo>
                  <a:cubicBezTo>
                    <a:pt x="2540" y="192"/>
                    <a:pt x="2540" y="192"/>
                    <a:pt x="2551" y="193"/>
                  </a:cubicBezTo>
                  <a:cubicBezTo>
                    <a:pt x="2553" y="201"/>
                    <a:pt x="2548" y="202"/>
                    <a:pt x="2549" y="208"/>
                  </a:cubicBezTo>
                  <a:cubicBezTo>
                    <a:pt x="2546" y="206"/>
                    <a:pt x="2542" y="205"/>
                    <a:pt x="2538" y="205"/>
                  </a:cubicBezTo>
                  <a:cubicBezTo>
                    <a:pt x="2537" y="212"/>
                    <a:pt x="2544" y="213"/>
                    <a:pt x="2543" y="219"/>
                  </a:cubicBezTo>
                  <a:close/>
                  <a:moveTo>
                    <a:pt x="2549" y="212"/>
                  </a:moveTo>
                  <a:cubicBezTo>
                    <a:pt x="2550" y="209"/>
                    <a:pt x="2552" y="213"/>
                    <a:pt x="2557" y="212"/>
                  </a:cubicBezTo>
                  <a:cubicBezTo>
                    <a:pt x="2559" y="219"/>
                    <a:pt x="2547" y="215"/>
                    <a:pt x="2552" y="224"/>
                  </a:cubicBezTo>
                  <a:cubicBezTo>
                    <a:pt x="2539" y="223"/>
                    <a:pt x="2556" y="214"/>
                    <a:pt x="2549" y="212"/>
                  </a:cubicBezTo>
                  <a:close/>
                  <a:moveTo>
                    <a:pt x="2549" y="238"/>
                  </a:moveTo>
                  <a:cubicBezTo>
                    <a:pt x="2548" y="233"/>
                    <a:pt x="2554" y="235"/>
                    <a:pt x="2554" y="231"/>
                  </a:cubicBezTo>
                  <a:cubicBezTo>
                    <a:pt x="2558" y="231"/>
                    <a:pt x="2557" y="235"/>
                    <a:pt x="2557" y="238"/>
                  </a:cubicBezTo>
                  <a:cubicBezTo>
                    <a:pt x="2555" y="238"/>
                    <a:pt x="2552" y="238"/>
                    <a:pt x="2549" y="238"/>
                  </a:cubicBezTo>
                  <a:close/>
                  <a:moveTo>
                    <a:pt x="2553" y="146"/>
                  </a:moveTo>
                  <a:cubicBezTo>
                    <a:pt x="2555" y="146"/>
                    <a:pt x="2557" y="146"/>
                    <a:pt x="2559" y="146"/>
                  </a:cubicBezTo>
                  <a:cubicBezTo>
                    <a:pt x="2559" y="153"/>
                    <a:pt x="2538" y="146"/>
                    <a:pt x="2553" y="146"/>
                  </a:cubicBezTo>
                  <a:close/>
                  <a:moveTo>
                    <a:pt x="2570" y="167"/>
                  </a:moveTo>
                  <a:cubicBezTo>
                    <a:pt x="2567" y="175"/>
                    <a:pt x="2562" y="165"/>
                    <a:pt x="2564" y="160"/>
                  </a:cubicBezTo>
                  <a:cubicBezTo>
                    <a:pt x="2568" y="161"/>
                    <a:pt x="2565" y="167"/>
                    <a:pt x="2570" y="167"/>
                  </a:cubicBezTo>
                  <a:close/>
                  <a:moveTo>
                    <a:pt x="2567" y="137"/>
                  </a:moveTo>
                  <a:cubicBezTo>
                    <a:pt x="2570" y="138"/>
                    <a:pt x="2572" y="140"/>
                    <a:pt x="2572" y="144"/>
                  </a:cubicBezTo>
                  <a:cubicBezTo>
                    <a:pt x="2569" y="143"/>
                    <a:pt x="2566" y="141"/>
                    <a:pt x="2567" y="137"/>
                  </a:cubicBezTo>
                  <a:close/>
                  <a:moveTo>
                    <a:pt x="2568" y="191"/>
                  </a:moveTo>
                  <a:cubicBezTo>
                    <a:pt x="2570" y="191"/>
                    <a:pt x="2573" y="191"/>
                    <a:pt x="2576" y="191"/>
                  </a:cubicBezTo>
                  <a:cubicBezTo>
                    <a:pt x="2575" y="196"/>
                    <a:pt x="2564" y="192"/>
                    <a:pt x="2559" y="193"/>
                  </a:cubicBezTo>
                  <a:cubicBezTo>
                    <a:pt x="2560" y="190"/>
                    <a:pt x="2564" y="191"/>
                    <a:pt x="2568" y="191"/>
                  </a:cubicBezTo>
                  <a:close/>
                  <a:moveTo>
                    <a:pt x="2559" y="200"/>
                  </a:moveTo>
                  <a:cubicBezTo>
                    <a:pt x="2562" y="205"/>
                    <a:pt x="2573" y="201"/>
                    <a:pt x="2565" y="198"/>
                  </a:cubicBezTo>
                  <a:cubicBezTo>
                    <a:pt x="2567" y="194"/>
                    <a:pt x="2569" y="198"/>
                    <a:pt x="2576" y="195"/>
                  </a:cubicBezTo>
                  <a:cubicBezTo>
                    <a:pt x="2576" y="199"/>
                    <a:pt x="2564" y="203"/>
                    <a:pt x="2576" y="202"/>
                  </a:cubicBezTo>
                  <a:cubicBezTo>
                    <a:pt x="2586" y="207"/>
                    <a:pt x="2561" y="202"/>
                    <a:pt x="2562" y="207"/>
                  </a:cubicBezTo>
                  <a:cubicBezTo>
                    <a:pt x="2560" y="208"/>
                    <a:pt x="2560" y="206"/>
                    <a:pt x="2560" y="205"/>
                  </a:cubicBezTo>
                  <a:cubicBezTo>
                    <a:pt x="2560" y="203"/>
                    <a:pt x="2560" y="202"/>
                    <a:pt x="2559" y="200"/>
                  </a:cubicBezTo>
                  <a:close/>
                  <a:moveTo>
                    <a:pt x="2595" y="219"/>
                  </a:moveTo>
                  <a:cubicBezTo>
                    <a:pt x="2593" y="223"/>
                    <a:pt x="2594" y="216"/>
                    <a:pt x="2590" y="216"/>
                  </a:cubicBezTo>
                  <a:cubicBezTo>
                    <a:pt x="2587" y="216"/>
                    <a:pt x="2585" y="212"/>
                    <a:pt x="2584" y="207"/>
                  </a:cubicBezTo>
                  <a:cubicBezTo>
                    <a:pt x="2588" y="207"/>
                    <a:pt x="2592" y="207"/>
                    <a:pt x="2595" y="207"/>
                  </a:cubicBezTo>
                  <a:cubicBezTo>
                    <a:pt x="2597" y="214"/>
                    <a:pt x="2590" y="214"/>
                    <a:pt x="2595" y="219"/>
                  </a:cubicBezTo>
                  <a:close/>
                  <a:moveTo>
                    <a:pt x="2591" y="263"/>
                  </a:moveTo>
                  <a:cubicBezTo>
                    <a:pt x="2589" y="268"/>
                    <a:pt x="2586" y="265"/>
                    <a:pt x="2588" y="256"/>
                  </a:cubicBezTo>
                  <a:cubicBezTo>
                    <a:pt x="2590" y="250"/>
                    <a:pt x="2591" y="262"/>
                    <a:pt x="2591" y="263"/>
                  </a:cubicBezTo>
                  <a:close/>
                  <a:moveTo>
                    <a:pt x="2582" y="230"/>
                  </a:moveTo>
                  <a:cubicBezTo>
                    <a:pt x="2594" y="232"/>
                    <a:pt x="2580" y="245"/>
                    <a:pt x="2582" y="230"/>
                  </a:cubicBezTo>
                  <a:close/>
                  <a:moveTo>
                    <a:pt x="2571" y="228"/>
                  </a:moveTo>
                  <a:cubicBezTo>
                    <a:pt x="2572" y="226"/>
                    <a:pt x="2573" y="224"/>
                    <a:pt x="2576" y="224"/>
                  </a:cubicBezTo>
                  <a:cubicBezTo>
                    <a:pt x="2575" y="220"/>
                    <a:pt x="2568" y="222"/>
                    <a:pt x="2571" y="214"/>
                  </a:cubicBezTo>
                  <a:cubicBezTo>
                    <a:pt x="2579" y="214"/>
                    <a:pt x="2580" y="220"/>
                    <a:pt x="2582" y="226"/>
                  </a:cubicBezTo>
                  <a:cubicBezTo>
                    <a:pt x="2579" y="228"/>
                    <a:pt x="2576" y="228"/>
                    <a:pt x="2571" y="228"/>
                  </a:cubicBezTo>
                  <a:close/>
                  <a:moveTo>
                    <a:pt x="2560" y="221"/>
                  </a:moveTo>
                  <a:cubicBezTo>
                    <a:pt x="2560" y="219"/>
                    <a:pt x="2560" y="217"/>
                    <a:pt x="2560" y="214"/>
                  </a:cubicBezTo>
                  <a:cubicBezTo>
                    <a:pt x="2562" y="214"/>
                    <a:pt x="2565" y="214"/>
                    <a:pt x="2568" y="214"/>
                  </a:cubicBezTo>
                  <a:cubicBezTo>
                    <a:pt x="2565" y="217"/>
                    <a:pt x="2567" y="223"/>
                    <a:pt x="2560" y="221"/>
                  </a:cubicBezTo>
                  <a:close/>
                  <a:moveTo>
                    <a:pt x="2568" y="231"/>
                  </a:moveTo>
                  <a:cubicBezTo>
                    <a:pt x="2578" y="230"/>
                    <a:pt x="2572" y="243"/>
                    <a:pt x="2577" y="247"/>
                  </a:cubicBezTo>
                  <a:cubicBezTo>
                    <a:pt x="2566" y="249"/>
                    <a:pt x="2569" y="238"/>
                    <a:pt x="2568" y="231"/>
                  </a:cubicBezTo>
                  <a:close/>
                  <a:moveTo>
                    <a:pt x="2569" y="254"/>
                  </a:moveTo>
                  <a:cubicBezTo>
                    <a:pt x="2568" y="251"/>
                    <a:pt x="2576" y="246"/>
                    <a:pt x="2577" y="252"/>
                  </a:cubicBezTo>
                  <a:cubicBezTo>
                    <a:pt x="2576" y="254"/>
                    <a:pt x="2578" y="254"/>
                    <a:pt x="2580" y="254"/>
                  </a:cubicBezTo>
                  <a:cubicBezTo>
                    <a:pt x="2578" y="261"/>
                    <a:pt x="2574" y="252"/>
                    <a:pt x="2569" y="254"/>
                  </a:cubicBezTo>
                  <a:close/>
                  <a:moveTo>
                    <a:pt x="2579" y="242"/>
                  </a:moveTo>
                  <a:cubicBezTo>
                    <a:pt x="2578" y="238"/>
                    <a:pt x="2592" y="239"/>
                    <a:pt x="2588" y="244"/>
                  </a:cubicBezTo>
                  <a:cubicBezTo>
                    <a:pt x="2586" y="245"/>
                    <a:pt x="2584" y="245"/>
                    <a:pt x="2582" y="245"/>
                  </a:cubicBezTo>
                  <a:cubicBezTo>
                    <a:pt x="2583" y="243"/>
                    <a:pt x="2581" y="242"/>
                    <a:pt x="2579" y="242"/>
                  </a:cubicBezTo>
                  <a:close/>
                  <a:moveTo>
                    <a:pt x="2585" y="275"/>
                  </a:moveTo>
                  <a:cubicBezTo>
                    <a:pt x="2586" y="269"/>
                    <a:pt x="2596" y="271"/>
                    <a:pt x="2596" y="266"/>
                  </a:cubicBezTo>
                  <a:cubicBezTo>
                    <a:pt x="2603" y="268"/>
                    <a:pt x="2595" y="278"/>
                    <a:pt x="2585" y="275"/>
                  </a:cubicBezTo>
                  <a:close/>
                  <a:moveTo>
                    <a:pt x="2631" y="232"/>
                  </a:moveTo>
                  <a:cubicBezTo>
                    <a:pt x="2638" y="234"/>
                    <a:pt x="2643" y="237"/>
                    <a:pt x="2643" y="246"/>
                  </a:cubicBezTo>
                  <a:cubicBezTo>
                    <a:pt x="2637" y="247"/>
                    <a:pt x="2639" y="243"/>
                    <a:pt x="2637" y="241"/>
                  </a:cubicBezTo>
                  <a:cubicBezTo>
                    <a:pt x="2635" y="239"/>
                    <a:pt x="2630" y="235"/>
                    <a:pt x="2631" y="232"/>
                  </a:cubicBezTo>
                  <a:close/>
                  <a:moveTo>
                    <a:pt x="2613" y="263"/>
                  </a:moveTo>
                  <a:cubicBezTo>
                    <a:pt x="2615" y="262"/>
                    <a:pt x="2622" y="254"/>
                    <a:pt x="2615" y="253"/>
                  </a:cubicBezTo>
                  <a:cubicBezTo>
                    <a:pt x="2616" y="247"/>
                    <a:pt x="2624" y="253"/>
                    <a:pt x="2621" y="258"/>
                  </a:cubicBezTo>
                  <a:cubicBezTo>
                    <a:pt x="2630" y="261"/>
                    <a:pt x="2623" y="250"/>
                    <a:pt x="2632" y="253"/>
                  </a:cubicBezTo>
                  <a:cubicBezTo>
                    <a:pt x="2632" y="255"/>
                    <a:pt x="2631" y="255"/>
                    <a:pt x="2629" y="255"/>
                  </a:cubicBezTo>
                  <a:cubicBezTo>
                    <a:pt x="2629" y="262"/>
                    <a:pt x="2633" y="260"/>
                    <a:pt x="2629" y="267"/>
                  </a:cubicBezTo>
                  <a:cubicBezTo>
                    <a:pt x="2628" y="270"/>
                    <a:pt x="2629" y="272"/>
                    <a:pt x="2624" y="272"/>
                  </a:cubicBezTo>
                  <a:cubicBezTo>
                    <a:pt x="2621" y="265"/>
                    <a:pt x="2628" y="266"/>
                    <a:pt x="2626" y="260"/>
                  </a:cubicBezTo>
                  <a:cubicBezTo>
                    <a:pt x="2620" y="259"/>
                    <a:pt x="2621" y="264"/>
                    <a:pt x="2621" y="267"/>
                  </a:cubicBezTo>
                  <a:cubicBezTo>
                    <a:pt x="2611" y="266"/>
                    <a:pt x="2598" y="263"/>
                    <a:pt x="2604" y="254"/>
                  </a:cubicBezTo>
                  <a:cubicBezTo>
                    <a:pt x="2600" y="253"/>
                    <a:pt x="2599" y="255"/>
                    <a:pt x="2599" y="258"/>
                  </a:cubicBezTo>
                  <a:cubicBezTo>
                    <a:pt x="2591" y="257"/>
                    <a:pt x="2601" y="253"/>
                    <a:pt x="2599" y="249"/>
                  </a:cubicBezTo>
                  <a:cubicBezTo>
                    <a:pt x="2604" y="251"/>
                    <a:pt x="2608" y="253"/>
                    <a:pt x="2607" y="261"/>
                  </a:cubicBezTo>
                  <a:cubicBezTo>
                    <a:pt x="2610" y="260"/>
                    <a:pt x="2612" y="261"/>
                    <a:pt x="2613" y="263"/>
                  </a:cubicBezTo>
                  <a:close/>
                  <a:moveTo>
                    <a:pt x="2607" y="232"/>
                  </a:moveTo>
                  <a:cubicBezTo>
                    <a:pt x="2605" y="239"/>
                    <a:pt x="2611" y="238"/>
                    <a:pt x="2610" y="244"/>
                  </a:cubicBezTo>
                  <a:cubicBezTo>
                    <a:pt x="2607" y="244"/>
                    <a:pt x="2604" y="244"/>
                    <a:pt x="2601" y="244"/>
                  </a:cubicBezTo>
                  <a:cubicBezTo>
                    <a:pt x="2601" y="240"/>
                    <a:pt x="2605" y="239"/>
                    <a:pt x="2604" y="235"/>
                  </a:cubicBezTo>
                  <a:cubicBezTo>
                    <a:pt x="2601" y="236"/>
                    <a:pt x="2598" y="238"/>
                    <a:pt x="2599" y="242"/>
                  </a:cubicBezTo>
                  <a:cubicBezTo>
                    <a:pt x="2594" y="240"/>
                    <a:pt x="2594" y="234"/>
                    <a:pt x="2593" y="230"/>
                  </a:cubicBezTo>
                  <a:cubicBezTo>
                    <a:pt x="2596" y="232"/>
                    <a:pt x="2600" y="233"/>
                    <a:pt x="2607" y="232"/>
                  </a:cubicBezTo>
                  <a:close/>
                  <a:moveTo>
                    <a:pt x="2584" y="198"/>
                  </a:moveTo>
                  <a:cubicBezTo>
                    <a:pt x="2586" y="194"/>
                    <a:pt x="2591" y="196"/>
                    <a:pt x="2592" y="197"/>
                  </a:cubicBezTo>
                  <a:cubicBezTo>
                    <a:pt x="2593" y="198"/>
                    <a:pt x="2597" y="197"/>
                    <a:pt x="2598" y="197"/>
                  </a:cubicBezTo>
                  <a:cubicBezTo>
                    <a:pt x="2599" y="198"/>
                    <a:pt x="2598" y="204"/>
                    <a:pt x="2603" y="202"/>
                  </a:cubicBezTo>
                  <a:cubicBezTo>
                    <a:pt x="2596" y="210"/>
                    <a:pt x="2590" y="198"/>
                    <a:pt x="2584" y="198"/>
                  </a:cubicBezTo>
                  <a:close/>
                  <a:moveTo>
                    <a:pt x="2586" y="146"/>
                  </a:moveTo>
                  <a:cubicBezTo>
                    <a:pt x="2591" y="147"/>
                    <a:pt x="2598" y="146"/>
                    <a:pt x="2597" y="153"/>
                  </a:cubicBezTo>
                  <a:cubicBezTo>
                    <a:pt x="2591" y="149"/>
                    <a:pt x="2594" y="153"/>
                    <a:pt x="2586" y="153"/>
                  </a:cubicBezTo>
                  <a:cubicBezTo>
                    <a:pt x="2586" y="151"/>
                    <a:pt x="2586" y="148"/>
                    <a:pt x="2586" y="146"/>
                  </a:cubicBezTo>
                  <a:close/>
                  <a:moveTo>
                    <a:pt x="2625" y="171"/>
                  </a:moveTo>
                  <a:cubicBezTo>
                    <a:pt x="2625" y="167"/>
                    <a:pt x="2625" y="163"/>
                    <a:pt x="2625" y="159"/>
                  </a:cubicBezTo>
                  <a:cubicBezTo>
                    <a:pt x="2633" y="155"/>
                    <a:pt x="2633" y="174"/>
                    <a:pt x="2625" y="171"/>
                  </a:cubicBezTo>
                  <a:close/>
                  <a:moveTo>
                    <a:pt x="2639" y="182"/>
                  </a:moveTo>
                  <a:cubicBezTo>
                    <a:pt x="2631" y="179"/>
                    <a:pt x="2636" y="177"/>
                    <a:pt x="2633" y="168"/>
                  </a:cubicBezTo>
                  <a:cubicBezTo>
                    <a:pt x="2636" y="168"/>
                    <a:pt x="2638" y="168"/>
                    <a:pt x="2641" y="168"/>
                  </a:cubicBezTo>
                  <a:cubicBezTo>
                    <a:pt x="2638" y="171"/>
                    <a:pt x="2638" y="177"/>
                    <a:pt x="2639" y="182"/>
                  </a:cubicBezTo>
                  <a:close/>
                  <a:moveTo>
                    <a:pt x="2655" y="173"/>
                  </a:moveTo>
                  <a:cubicBezTo>
                    <a:pt x="2662" y="173"/>
                    <a:pt x="2656" y="181"/>
                    <a:pt x="2655" y="182"/>
                  </a:cubicBezTo>
                  <a:cubicBezTo>
                    <a:pt x="2647" y="181"/>
                    <a:pt x="2658" y="177"/>
                    <a:pt x="2655" y="173"/>
                  </a:cubicBezTo>
                  <a:close/>
                  <a:moveTo>
                    <a:pt x="2663" y="189"/>
                  </a:moveTo>
                  <a:cubicBezTo>
                    <a:pt x="2661" y="187"/>
                    <a:pt x="2657" y="187"/>
                    <a:pt x="2652" y="187"/>
                  </a:cubicBezTo>
                  <a:cubicBezTo>
                    <a:pt x="2652" y="183"/>
                    <a:pt x="2668" y="182"/>
                    <a:pt x="2663" y="189"/>
                  </a:cubicBezTo>
                  <a:close/>
                  <a:moveTo>
                    <a:pt x="2660" y="154"/>
                  </a:moveTo>
                  <a:cubicBezTo>
                    <a:pt x="2656" y="157"/>
                    <a:pt x="2653" y="157"/>
                    <a:pt x="2649" y="154"/>
                  </a:cubicBezTo>
                  <a:cubicBezTo>
                    <a:pt x="2651" y="146"/>
                    <a:pt x="2656" y="154"/>
                    <a:pt x="2666" y="151"/>
                  </a:cubicBezTo>
                  <a:cubicBezTo>
                    <a:pt x="2668" y="150"/>
                    <a:pt x="2668" y="146"/>
                    <a:pt x="2674" y="147"/>
                  </a:cubicBezTo>
                  <a:cubicBezTo>
                    <a:pt x="2675" y="151"/>
                    <a:pt x="2672" y="151"/>
                    <a:pt x="2668" y="151"/>
                  </a:cubicBezTo>
                  <a:cubicBezTo>
                    <a:pt x="2668" y="154"/>
                    <a:pt x="2669" y="156"/>
                    <a:pt x="2671" y="156"/>
                  </a:cubicBezTo>
                  <a:cubicBezTo>
                    <a:pt x="2671" y="162"/>
                    <a:pt x="2661" y="156"/>
                    <a:pt x="2660" y="154"/>
                  </a:cubicBezTo>
                  <a:close/>
                  <a:moveTo>
                    <a:pt x="2669" y="168"/>
                  </a:moveTo>
                  <a:cubicBezTo>
                    <a:pt x="2669" y="166"/>
                    <a:pt x="2669" y="165"/>
                    <a:pt x="2669" y="163"/>
                  </a:cubicBezTo>
                  <a:cubicBezTo>
                    <a:pt x="2670" y="163"/>
                    <a:pt x="2672" y="163"/>
                    <a:pt x="2674" y="163"/>
                  </a:cubicBezTo>
                  <a:cubicBezTo>
                    <a:pt x="2674" y="165"/>
                    <a:pt x="2674" y="166"/>
                    <a:pt x="2674" y="168"/>
                  </a:cubicBezTo>
                  <a:cubicBezTo>
                    <a:pt x="2672" y="168"/>
                    <a:pt x="2670" y="168"/>
                    <a:pt x="2669" y="168"/>
                  </a:cubicBezTo>
                  <a:close/>
                  <a:moveTo>
                    <a:pt x="2685" y="184"/>
                  </a:moveTo>
                  <a:cubicBezTo>
                    <a:pt x="2679" y="185"/>
                    <a:pt x="2681" y="180"/>
                    <a:pt x="2677" y="179"/>
                  </a:cubicBezTo>
                  <a:cubicBezTo>
                    <a:pt x="2678" y="174"/>
                    <a:pt x="2688" y="179"/>
                    <a:pt x="2685" y="184"/>
                  </a:cubicBezTo>
                  <a:close/>
                  <a:moveTo>
                    <a:pt x="2682" y="135"/>
                  </a:moveTo>
                  <a:cubicBezTo>
                    <a:pt x="2682" y="141"/>
                    <a:pt x="2671" y="138"/>
                    <a:pt x="2671" y="144"/>
                  </a:cubicBezTo>
                  <a:cubicBezTo>
                    <a:pt x="2669" y="142"/>
                    <a:pt x="2661" y="135"/>
                    <a:pt x="2663" y="147"/>
                  </a:cubicBezTo>
                  <a:cubicBezTo>
                    <a:pt x="2659" y="148"/>
                    <a:pt x="2661" y="140"/>
                    <a:pt x="2660" y="140"/>
                  </a:cubicBezTo>
                  <a:cubicBezTo>
                    <a:pt x="2657" y="139"/>
                    <a:pt x="2654" y="144"/>
                    <a:pt x="2649" y="140"/>
                  </a:cubicBezTo>
                  <a:cubicBezTo>
                    <a:pt x="2647" y="139"/>
                    <a:pt x="2630" y="144"/>
                    <a:pt x="2632" y="136"/>
                  </a:cubicBezTo>
                  <a:cubicBezTo>
                    <a:pt x="2628" y="135"/>
                    <a:pt x="2627" y="137"/>
                    <a:pt x="2627" y="140"/>
                  </a:cubicBezTo>
                  <a:cubicBezTo>
                    <a:pt x="2620" y="142"/>
                    <a:pt x="2621" y="136"/>
                    <a:pt x="2616" y="136"/>
                  </a:cubicBezTo>
                  <a:cubicBezTo>
                    <a:pt x="2613" y="137"/>
                    <a:pt x="2614" y="141"/>
                    <a:pt x="2610" y="141"/>
                  </a:cubicBezTo>
                  <a:cubicBezTo>
                    <a:pt x="2606" y="142"/>
                    <a:pt x="2605" y="139"/>
                    <a:pt x="2605" y="136"/>
                  </a:cubicBezTo>
                  <a:cubicBezTo>
                    <a:pt x="2593" y="134"/>
                    <a:pt x="2592" y="141"/>
                    <a:pt x="2583" y="141"/>
                  </a:cubicBezTo>
                  <a:cubicBezTo>
                    <a:pt x="2583" y="139"/>
                    <a:pt x="2583" y="136"/>
                    <a:pt x="2583" y="134"/>
                  </a:cubicBezTo>
                  <a:cubicBezTo>
                    <a:pt x="2573" y="133"/>
                    <a:pt x="2581" y="141"/>
                    <a:pt x="2572" y="137"/>
                  </a:cubicBezTo>
                  <a:cubicBezTo>
                    <a:pt x="2572" y="137"/>
                    <a:pt x="2568" y="134"/>
                    <a:pt x="2569" y="134"/>
                  </a:cubicBezTo>
                  <a:cubicBezTo>
                    <a:pt x="2568" y="134"/>
                    <a:pt x="2561" y="140"/>
                    <a:pt x="2561" y="134"/>
                  </a:cubicBezTo>
                  <a:cubicBezTo>
                    <a:pt x="2558" y="135"/>
                    <a:pt x="2560" y="137"/>
                    <a:pt x="2561" y="137"/>
                  </a:cubicBezTo>
                  <a:cubicBezTo>
                    <a:pt x="2562" y="142"/>
                    <a:pt x="2551" y="138"/>
                    <a:pt x="2547" y="139"/>
                  </a:cubicBezTo>
                  <a:cubicBezTo>
                    <a:pt x="2547" y="137"/>
                    <a:pt x="2551" y="138"/>
                    <a:pt x="2553" y="137"/>
                  </a:cubicBezTo>
                  <a:cubicBezTo>
                    <a:pt x="2561" y="132"/>
                    <a:pt x="2569" y="128"/>
                    <a:pt x="2577" y="127"/>
                  </a:cubicBezTo>
                  <a:cubicBezTo>
                    <a:pt x="2578" y="127"/>
                    <a:pt x="2577" y="132"/>
                    <a:pt x="2578" y="132"/>
                  </a:cubicBezTo>
                  <a:cubicBezTo>
                    <a:pt x="2580" y="134"/>
                    <a:pt x="2586" y="128"/>
                    <a:pt x="2586" y="127"/>
                  </a:cubicBezTo>
                  <a:cubicBezTo>
                    <a:pt x="2587" y="128"/>
                    <a:pt x="2589" y="128"/>
                    <a:pt x="2591" y="129"/>
                  </a:cubicBezTo>
                  <a:cubicBezTo>
                    <a:pt x="2594" y="131"/>
                    <a:pt x="2595" y="131"/>
                    <a:pt x="2599" y="131"/>
                  </a:cubicBezTo>
                  <a:cubicBezTo>
                    <a:pt x="2601" y="132"/>
                    <a:pt x="2603" y="134"/>
                    <a:pt x="2602" y="134"/>
                  </a:cubicBezTo>
                  <a:cubicBezTo>
                    <a:pt x="2606" y="134"/>
                    <a:pt x="2608" y="130"/>
                    <a:pt x="2616" y="131"/>
                  </a:cubicBezTo>
                  <a:cubicBezTo>
                    <a:pt x="2617" y="131"/>
                    <a:pt x="2619" y="133"/>
                    <a:pt x="2619" y="133"/>
                  </a:cubicBezTo>
                  <a:cubicBezTo>
                    <a:pt x="2621" y="134"/>
                    <a:pt x="2623" y="131"/>
                    <a:pt x="2627" y="131"/>
                  </a:cubicBezTo>
                  <a:cubicBezTo>
                    <a:pt x="2626" y="131"/>
                    <a:pt x="2631" y="135"/>
                    <a:pt x="2632" y="133"/>
                  </a:cubicBezTo>
                  <a:cubicBezTo>
                    <a:pt x="2635" y="130"/>
                    <a:pt x="2634" y="133"/>
                    <a:pt x="2638" y="133"/>
                  </a:cubicBezTo>
                  <a:cubicBezTo>
                    <a:pt x="2642" y="133"/>
                    <a:pt x="2643" y="131"/>
                    <a:pt x="2646" y="131"/>
                  </a:cubicBezTo>
                  <a:cubicBezTo>
                    <a:pt x="2657" y="131"/>
                    <a:pt x="2670" y="132"/>
                    <a:pt x="2682" y="135"/>
                  </a:cubicBezTo>
                  <a:close/>
                  <a:moveTo>
                    <a:pt x="2665" y="116"/>
                  </a:moveTo>
                  <a:cubicBezTo>
                    <a:pt x="2665" y="119"/>
                    <a:pt x="2662" y="118"/>
                    <a:pt x="2660" y="119"/>
                  </a:cubicBezTo>
                  <a:cubicBezTo>
                    <a:pt x="2657" y="120"/>
                    <a:pt x="2657" y="124"/>
                    <a:pt x="2651" y="124"/>
                  </a:cubicBezTo>
                  <a:cubicBezTo>
                    <a:pt x="2653" y="122"/>
                    <a:pt x="2654" y="120"/>
                    <a:pt x="2654" y="116"/>
                  </a:cubicBezTo>
                  <a:cubicBezTo>
                    <a:pt x="2650" y="116"/>
                    <a:pt x="2645" y="126"/>
                    <a:pt x="2646" y="117"/>
                  </a:cubicBezTo>
                  <a:cubicBezTo>
                    <a:pt x="2650" y="117"/>
                    <a:pt x="2651" y="115"/>
                    <a:pt x="2651" y="112"/>
                  </a:cubicBezTo>
                  <a:cubicBezTo>
                    <a:pt x="2660" y="110"/>
                    <a:pt x="2657" y="118"/>
                    <a:pt x="2665" y="116"/>
                  </a:cubicBezTo>
                  <a:close/>
                  <a:moveTo>
                    <a:pt x="2673" y="107"/>
                  </a:moveTo>
                  <a:cubicBezTo>
                    <a:pt x="2664" y="110"/>
                    <a:pt x="2671" y="99"/>
                    <a:pt x="2662" y="102"/>
                  </a:cubicBezTo>
                  <a:cubicBezTo>
                    <a:pt x="2664" y="92"/>
                    <a:pt x="2681" y="102"/>
                    <a:pt x="2673" y="107"/>
                  </a:cubicBezTo>
                  <a:close/>
                  <a:moveTo>
                    <a:pt x="2724" y="24"/>
                  </a:moveTo>
                  <a:cubicBezTo>
                    <a:pt x="2718" y="17"/>
                    <a:pt x="2716" y="33"/>
                    <a:pt x="2715" y="19"/>
                  </a:cubicBezTo>
                  <a:cubicBezTo>
                    <a:pt x="2721" y="18"/>
                    <a:pt x="2724" y="19"/>
                    <a:pt x="2724" y="24"/>
                  </a:cubicBezTo>
                  <a:close/>
                  <a:moveTo>
                    <a:pt x="2694" y="71"/>
                  </a:moveTo>
                  <a:cubicBezTo>
                    <a:pt x="2697" y="71"/>
                    <a:pt x="2697" y="74"/>
                    <a:pt x="2697" y="76"/>
                  </a:cubicBezTo>
                  <a:cubicBezTo>
                    <a:pt x="2700" y="76"/>
                    <a:pt x="2702" y="75"/>
                    <a:pt x="2703" y="73"/>
                  </a:cubicBezTo>
                  <a:cubicBezTo>
                    <a:pt x="2706" y="75"/>
                    <a:pt x="2708" y="78"/>
                    <a:pt x="2708" y="83"/>
                  </a:cubicBezTo>
                  <a:cubicBezTo>
                    <a:pt x="2703" y="77"/>
                    <a:pt x="2689" y="81"/>
                    <a:pt x="2694" y="71"/>
                  </a:cubicBezTo>
                  <a:close/>
                  <a:moveTo>
                    <a:pt x="2700" y="106"/>
                  </a:moveTo>
                  <a:cubicBezTo>
                    <a:pt x="2698" y="104"/>
                    <a:pt x="2690" y="106"/>
                    <a:pt x="2692" y="99"/>
                  </a:cubicBezTo>
                  <a:cubicBezTo>
                    <a:pt x="2698" y="99"/>
                    <a:pt x="2701" y="101"/>
                    <a:pt x="2700" y="106"/>
                  </a:cubicBezTo>
                  <a:close/>
                  <a:moveTo>
                    <a:pt x="2698" y="97"/>
                  </a:moveTo>
                  <a:cubicBezTo>
                    <a:pt x="2698" y="95"/>
                    <a:pt x="2701" y="95"/>
                    <a:pt x="2703" y="94"/>
                  </a:cubicBezTo>
                  <a:cubicBezTo>
                    <a:pt x="2705" y="94"/>
                    <a:pt x="2707" y="94"/>
                    <a:pt x="2708" y="94"/>
                  </a:cubicBezTo>
                  <a:cubicBezTo>
                    <a:pt x="2708" y="98"/>
                    <a:pt x="2702" y="96"/>
                    <a:pt x="2698" y="97"/>
                  </a:cubicBezTo>
                  <a:close/>
                  <a:moveTo>
                    <a:pt x="2722" y="99"/>
                  </a:moveTo>
                  <a:cubicBezTo>
                    <a:pt x="2722" y="101"/>
                    <a:pt x="2725" y="101"/>
                    <a:pt x="2725" y="101"/>
                  </a:cubicBezTo>
                  <a:cubicBezTo>
                    <a:pt x="2725" y="105"/>
                    <a:pt x="2721" y="107"/>
                    <a:pt x="2725" y="108"/>
                  </a:cubicBezTo>
                  <a:cubicBezTo>
                    <a:pt x="2726" y="109"/>
                    <a:pt x="2720" y="111"/>
                    <a:pt x="2720" y="111"/>
                  </a:cubicBezTo>
                  <a:cubicBezTo>
                    <a:pt x="2717" y="108"/>
                    <a:pt x="2722" y="104"/>
                    <a:pt x="2717" y="104"/>
                  </a:cubicBezTo>
                  <a:cubicBezTo>
                    <a:pt x="2713" y="103"/>
                    <a:pt x="2717" y="101"/>
                    <a:pt x="2717" y="99"/>
                  </a:cubicBezTo>
                  <a:cubicBezTo>
                    <a:pt x="2717" y="97"/>
                    <a:pt x="2716" y="97"/>
                    <a:pt x="2714" y="97"/>
                  </a:cubicBezTo>
                  <a:cubicBezTo>
                    <a:pt x="2707" y="92"/>
                    <a:pt x="2720" y="98"/>
                    <a:pt x="2725" y="96"/>
                  </a:cubicBezTo>
                  <a:cubicBezTo>
                    <a:pt x="2727" y="99"/>
                    <a:pt x="2722" y="98"/>
                    <a:pt x="2722" y="99"/>
                  </a:cubicBezTo>
                  <a:close/>
                  <a:moveTo>
                    <a:pt x="2733" y="99"/>
                  </a:moveTo>
                  <a:cubicBezTo>
                    <a:pt x="2732" y="91"/>
                    <a:pt x="2741" y="92"/>
                    <a:pt x="2741" y="87"/>
                  </a:cubicBezTo>
                  <a:cubicBezTo>
                    <a:pt x="2744" y="79"/>
                    <a:pt x="2745" y="104"/>
                    <a:pt x="2733" y="99"/>
                  </a:cubicBezTo>
                  <a:close/>
                  <a:moveTo>
                    <a:pt x="2736" y="106"/>
                  </a:moveTo>
                  <a:cubicBezTo>
                    <a:pt x="2736" y="102"/>
                    <a:pt x="2748" y="108"/>
                    <a:pt x="2747" y="112"/>
                  </a:cubicBezTo>
                  <a:cubicBezTo>
                    <a:pt x="2738" y="115"/>
                    <a:pt x="2741" y="106"/>
                    <a:pt x="2736" y="106"/>
                  </a:cubicBezTo>
                  <a:close/>
                  <a:moveTo>
                    <a:pt x="2766" y="79"/>
                  </a:moveTo>
                  <a:cubicBezTo>
                    <a:pt x="2767" y="75"/>
                    <a:pt x="2769" y="81"/>
                    <a:pt x="2769" y="84"/>
                  </a:cubicBezTo>
                  <a:cubicBezTo>
                    <a:pt x="2768" y="88"/>
                    <a:pt x="2765" y="82"/>
                    <a:pt x="2766" y="79"/>
                  </a:cubicBezTo>
                  <a:close/>
                  <a:moveTo>
                    <a:pt x="2762" y="23"/>
                  </a:moveTo>
                  <a:cubicBezTo>
                    <a:pt x="2767" y="22"/>
                    <a:pt x="2766" y="33"/>
                    <a:pt x="2759" y="30"/>
                  </a:cubicBezTo>
                  <a:cubicBezTo>
                    <a:pt x="2759" y="28"/>
                    <a:pt x="2759" y="27"/>
                    <a:pt x="2759" y="25"/>
                  </a:cubicBezTo>
                  <a:cubicBezTo>
                    <a:pt x="2762" y="26"/>
                    <a:pt x="2762" y="24"/>
                    <a:pt x="2762" y="23"/>
                  </a:cubicBezTo>
                  <a:close/>
                  <a:moveTo>
                    <a:pt x="2757" y="35"/>
                  </a:moveTo>
                  <a:cubicBezTo>
                    <a:pt x="2761" y="35"/>
                    <a:pt x="2758" y="42"/>
                    <a:pt x="2762" y="42"/>
                  </a:cubicBezTo>
                  <a:cubicBezTo>
                    <a:pt x="2759" y="49"/>
                    <a:pt x="2751" y="37"/>
                    <a:pt x="2757" y="35"/>
                  </a:cubicBezTo>
                  <a:close/>
                  <a:moveTo>
                    <a:pt x="2761" y="100"/>
                  </a:moveTo>
                  <a:cubicBezTo>
                    <a:pt x="2757" y="99"/>
                    <a:pt x="2756" y="96"/>
                    <a:pt x="2755" y="91"/>
                  </a:cubicBezTo>
                  <a:cubicBezTo>
                    <a:pt x="2763" y="89"/>
                    <a:pt x="2760" y="96"/>
                    <a:pt x="2761" y="100"/>
                  </a:cubicBezTo>
                  <a:close/>
                  <a:moveTo>
                    <a:pt x="2769" y="112"/>
                  </a:moveTo>
                  <a:cubicBezTo>
                    <a:pt x="2767" y="112"/>
                    <a:pt x="2765" y="112"/>
                    <a:pt x="2764" y="112"/>
                  </a:cubicBezTo>
                  <a:cubicBezTo>
                    <a:pt x="2764" y="110"/>
                    <a:pt x="2763" y="110"/>
                    <a:pt x="2761" y="110"/>
                  </a:cubicBezTo>
                  <a:cubicBezTo>
                    <a:pt x="2760" y="105"/>
                    <a:pt x="2773" y="106"/>
                    <a:pt x="2769" y="112"/>
                  </a:cubicBezTo>
                  <a:close/>
                  <a:moveTo>
                    <a:pt x="2780" y="86"/>
                  </a:moveTo>
                  <a:cubicBezTo>
                    <a:pt x="2775" y="84"/>
                    <a:pt x="2779" y="82"/>
                    <a:pt x="2780" y="79"/>
                  </a:cubicBezTo>
                  <a:cubicBezTo>
                    <a:pt x="2785" y="81"/>
                    <a:pt x="2780" y="83"/>
                    <a:pt x="2780" y="86"/>
                  </a:cubicBezTo>
                  <a:close/>
                  <a:moveTo>
                    <a:pt x="2787" y="11"/>
                  </a:moveTo>
                  <a:cubicBezTo>
                    <a:pt x="2783" y="10"/>
                    <a:pt x="2784" y="5"/>
                    <a:pt x="2784" y="1"/>
                  </a:cubicBezTo>
                  <a:cubicBezTo>
                    <a:pt x="2795" y="0"/>
                    <a:pt x="2785" y="6"/>
                    <a:pt x="2787" y="11"/>
                  </a:cubicBezTo>
                  <a:close/>
                  <a:moveTo>
                    <a:pt x="2795" y="43"/>
                  </a:moveTo>
                  <a:cubicBezTo>
                    <a:pt x="2792" y="43"/>
                    <a:pt x="2793" y="39"/>
                    <a:pt x="2793" y="36"/>
                  </a:cubicBezTo>
                  <a:cubicBezTo>
                    <a:pt x="2797" y="35"/>
                    <a:pt x="2798" y="38"/>
                    <a:pt x="2798" y="41"/>
                  </a:cubicBezTo>
                  <a:cubicBezTo>
                    <a:pt x="2796" y="41"/>
                    <a:pt x="2795" y="42"/>
                    <a:pt x="2795" y="43"/>
                  </a:cubicBezTo>
                  <a:close/>
                  <a:moveTo>
                    <a:pt x="2791" y="123"/>
                  </a:moveTo>
                  <a:cubicBezTo>
                    <a:pt x="2792" y="121"/>
                    <a:pt x="2794" y="121"/>
                    <a:pt x="2794" y="119"/>
                  </a:cubicBezTo>
                  <a:cubicBezTo>
                    <a:pt x="2796" y="119"/>
                    <a:pt x="2798" y="119"/>
                    <a:pt x="2799" y="119"/>
                  </a:cubicBezTo>
                  <a:cubicBezTo>
                    <a:pt x="2801" y="124"/>
                    <a:pt x="2796" y="123"/>
                    <a:pt x="2791" y="123"/>
                  </a:cubicBezTo>
                  <a:close/>
                  <a:moveTo>
                    <a:pt x="2808" y="126"/>
                  </a:moveTo>
                  <a:cubicBezTo>
                    <a:pt x="2802" y="125"/>
                    <a:pt x="2802" y="120"/>
                    <a:pt x="2802" y="114"/>
                  </a:cubicBezTo>
                  <a:cubicBezTo>
                    <a:pt x="2805" y="118"/>
                    <a:pt x="2813" y="121"/>
                    <a:pt x="2808" y="126"/>
                  </a:cubicBezTo>
                  <a:close/>
                  <a:moveTo>
                    <a:pt x="2819" y="114"/>
                  </a:moveTo>
                  <a:cubicBezTo>
                    <a:pt x="2815" y="114"/>
                    <a:pt x="2817" y="116"/>
                    <a:pt x="2819" y="116"/>
                  </a:cubicBezTo>
                  <a:cubicBezTo>
                    <a:pt x="2812" y="124"/>
                    <a:pt x="2808" y="109"/>
                    <a:pt x="2810" y="102"/>
                  </a:cubicBezTo>
                  <a:cubicBezTo>
                    <a:pt x="2814" y="103"/>
                    <a:pt x="2816" y="105"/>
                    <a:pt x="2816" y="109"/>
                  </a:cubicBezTo>
                  <a:cubicBezTo>
                    <a:pt x="2823" y="106"/>
                    <a:pt x="2821" y="98"/>
                    <a:pt x="2827" y="109"/>
                  </a:cubicBezTo>
                  <a:cubicBezTo>
                    <a:pt x="2827" y="110"/>
                    <a:pt x="2829" y="108"/>
                    <a:pt x="2830" y="111"/>
                  </a:cubicBezTo>
                  <a:cubicBezTo>
                    <a:pt x="2830" y="113"/>
                    <a:pt x="2829" y="116"/>
                    <a:pt x="2830" y="118"/>
                  </a:cubicBezTo>
                  <a:cubicBezTo>
                    <a:pt x="2822" y="120"/>
                    <a:pt x="2824" y="113"/>
                    <a:pt x="2819" y="114"/>
                  </a:cubicBezTo>
                  <a:close/>
                  <a:moveTo>
                    <a:pt x="2846" y="111"/>
                  </a:moveTo>
                  <a:cubicBezTo>
                    <a:pt x="2845" y="114"/>
                    <a:pt x="2843" y="116"/>
                    <a:pt x="2838" y="116"/>
                  </a:cubicBezTo>
                  <a:cubicBezTo>
                    <a:pt x="2839" y="113"/>
                    <a:pt x="2841" y="111"/>
                    <a:pt x="2846" y="111"/>
                  </a:cubicBezTo>
                  <a:close/>
                  <a:moveTo>
                    <a:pt x="2851" y="64"/>
                  </a:moveTo>
                  <a:cubicBezTo>
                    <a:pt x="2860" y="64"/>
                    <a:pt x="2850" y="70"/>
                    <a:pt x="2856" y="71"/>
                  </a:cubicBezTo>
                  <a:cubicBezTo>
                    <a:pt x="2853" y="78"/>
                    <a:pt x="2848" y="68"/>
                    <a:pt x="2851" y="64"/>
                  </a:cubicBezTo>
                  <a:close/>
                  <a:moveTo>
                    <a:pt x="2862" y="87"/>
                  </a:moveTo>
                  <a:cubicBezTo>
                    <a:pt x="2860" y="80"/>
                    <a:pt x="2866" y="81"/>
                    <a:pt x="2865" y="75"/>
                  </a:cubicBezTo>
                  <a:cubicBezTo>
                    <a:pt x="2868" y="75"/>
                    <a:pt x="2866" y="78"/>
                    <a:pt x="2867" y="80"/>
                  </a:cubicBezTo>
                  <a:cubicBezTo>
                    <a:pt x="2867" y="80"/>
                    <a:pt x="2873" y="84"/>
                    <a:pt x="2873" y="82"/>
                  </a:cubicBezTo>
                  <a:cubicBezTo>
                    <a:pt x="2872" y="86"/>
                    <a:pt x="2868" y="85"/>
                    <a:pt x="2862" y="87"/>
                  </a:cubicBezTo>
                  <a:close/>
                  <a:moveTo>
                    <a:pt x="2867" y="54"/>
                  </a:moveTo>
                  <a:cubicBezTo>
                    <a:pt x="2868" y="53"/>
                    <a:pt x="2871" y="54"/>
                    <a:pt x="2870" y="52"/>
                  </a:cubicBezTo>
                  <a:cubicBezTo>
                    <a:pt x="2883" y="60"/>
                    <a:pt x="2857" y="64"/>
                    <a:pt x="2867" y="54"/>
                  </a:cubicBezTo>
                  <a:close/>
                  <a:moveTo>
                    <a:pt x="2875" y="40"/>
                  </a:moveTo>
                  <a:cubicBezTo>
                    <a:pt x="2876" y="34"/>
                    <a:pt x="2879" y="29"/>
                    <a:pt x="2869" y="28"/>
                  </a:cubicBezTo>
                  <a:cubicBezTo>
                    <a:pt x="2875" y="17"/>
                    <a:pt x="2888" y="40"/>
                    <a:pt x="2875" y="40"/>
                  </a:cubicBezTo>
                  <a:close/>
                  <a:moveTo>
                    <a:pt x="2881" y="91"/>
                  </a:moveTo>
                  <a:cubicBezTo>
                    <a:pt x="2881" y="90"/>
                    <a:pt x="2881" y="88"/>
                    <a:pt x="2881" y="87"/>
                  </a:cubicBezTo>
                  <a:cubicBezTo>
                    <a:pt x="2883" y="87"/>
                    <a:pt x="2885" y="87"/>
                    <a:pt x="2887" y="87"/>
                  </a:cubicBezTo>
                  <a:cubicBezTo>
                    <a:pt x="2887" y="88"/>
                    <a:pt x="2887" y="90"/>
                    <a:pt x="2887" y="91"/>
                  </a:cubicBezTo>
                  <a:cubicBezTo>
                    <a:pt x="2885" y="91"/>
                    <a:pt x="2883" y="91"/>
                    <a:pt x="288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9" name="Freeform 20"/>
            <p:cNvSpPr>
              <a:spLocks/>
            </p:cNvSpPr>
            <p:nvPr userDrawn="1"/>
          </p:nvSpPr>
          <p:spPr bwMode="auto">
            <a:xfrm>
              <a:off x="5827" y="2112"/>
              <a:ext cx="11" cy="12"/>
            </a:xfrm>
            <a:custGeom>
              <a:avLst/>
              <a:gdLst>
                <a:gd name="T0" fmla="*/ 0 w 5"/>
                <a:gd name="T1" fmla="*/ 5 h 5"/>
                <a:gd name="T2" fmla="*/ 5 w 5"/>
                <a:gd name="T3" fmla="*/ 5 h 5"/>
                <a:gd name="T4" fmla="*/ 5 w 5"/>
                <a:gd name="T5" fmla="*/ 0 h 5"/>
                <a:gd name="T6" fmla="*/ 0 w 5"/>
                <a:gd name="T7" fmla="*/ 0 h 5"/>
                <a:gd name="T8" fmla="*/ 0 w 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cubicBezTo>
                    <a:pt x="1" y="5"/>
                    <a:pt x="3" y="5"/>
                    <a:pt x="5" y="5"/>
                  </a:cubicBezTo>
                  <a:cubicBezTo>
                    <a:pt x="5" y="3"/>
                    <a:pt x="5" y="2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2"/>
                    <a:pt x="0" y="3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0" name="Freeform 21"/>
            <p:cNvSpPr>
              <a:spLocks/>
            </p:cNvSpPr>
            <p:nvPr userDrawn="1"/>
          </p:nvSpPr>
          <p:spPr bwMode="auto">
            <a:xfrm>
              <a:off x="5373" y="2207"/>
              <a:ext cx="33" cy="47"/>
            </a:xfrm>
            <a:custGeom>
              <a:avLst/>
              <a:gdLst>
                <a:gd name="T0" fmla="*/ 11 w 14"/>
                <a:gd name="T1" fmla="*/ 1 h 20"/>
                <a:gd name="T2" fmla="*/ 12 w 14"/>
                <a:gd name="T3" fmla="*/ 20 h 20"/>
                <a:gd name="T4" fmla="*/ 11 w 14"/>
                <a:gd name="T5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0">
                  <a:moveTo>
                    <a:pt x="11" y="1"/>
                  </a:moveTo>
                  <a:cubicBezTo>
                    <a:pt x="0" y="0"/>
                    <a:pt x="6" y="19"/>
                    <a:pt x="12" y="20"/>
                  </a:cubicBezTo>
                  <a:cubicBezTo>
                    <a:pt x="14" y="10"/>
                    <a:pt x="5" y="6"/>
                    <a:pt x="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1" name="Freeform 22"/>
            <p:cNvSpPr>
              <a:spLocks/>
            </p:cNvSpPr>
            <p:nvPr userDrawn="1"/>
          </p:nvSpPr>
          <p:spPr bwMode="auto">
            <a:xfrm>
              <a:off x="6280" y="2349"/>
              <a:ext cx="12" cy="12"/>
            </a:xfrm>
            <a:custGeom>
              <a:avLst/>
              <a:gdLst>
                <a:gd name="T0" fmla="*/ 1 w 5"/>
                <a:gd name="T1" fmla="*/ 5 h 5"/>
                <a:gd name="T2" fmla="*/ 5 w 5"/>
                <a:gd name="T3" fmla="*/ 4 h 5"/>
                <a:gd name="T4" fmla="*/ 5 w 5"/>
                <a:gd name="T5" fmla="*/ 0 h 5"/>
                <a:gd name="T6" fmla="*/ 1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1" y="5"/>
                  </a:moveTo>
                  <a:cubicBezTo>
                    <a:pt x="3" y="4"/>
                    <a:pt x="4" y="4"/>
                    <a:pt x="5" y="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2" name="Freeform 23"/>
            <p:cNvSpPr>
              <a:spLocks/>
            </p:cNvSpPr>
            <p:nvPr userDrawn="1"/>
          </p:nvSpPr>
          <p:spPr bwMode="auto">
            <a:xfrm>
              <a:off x="4920" y="2209"/>
              <a:ext cx="21" cy="14"/>
            </a:xfrm>
            <a:custGeom>
              <a:avLst/>
              <a:gdLst>
                <a:gd name="T0" fmla="*/ 0 w 9"/>
                <a:gd name="T1" fmla="*/ 1 h 6"/>
                <a:gd name="T2" fmla="*/ 0 w 9"/>
                <a:gd name="T3" fmla="*/ 6 h 6"/>
                <a:gd name="T4" fmla="*/ 8 w 9"/>
                <a:gd name="T5" fmla="*/ 6 h 6"/>
                <a:gd name="T6" fmla="*/ 0 w 9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6">
                  <a:moveTo>
                    <a:pt x="0" y="1"/>
                  </a:moveTo>
                  <a:cubicBezTo>
                    <a:pt x="0" y="3"/>
                    <a:pt x="0" y="4"/>
                    <a:pt x="0" y="6"/>
                  </a:cubicBezTo>
                  <a:cubicBezTo>
                    <a:pt x="3" y="6"/>
                    <a:pt x="6" y="6"/>
                    <a:pt x="8" y="6"/>
                  </a:cubicBezTo>
                  <a:cubicBezTo>
                    <a:pt x="9" y="1"/>
                    <a:pt x="6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3" name="Freeform 24"/>
            <p:cNvSpPr>
              <a:spLocks/>
            </p:cNvSpPr>
            <p:nvPr userDrawn="1"/>
          </p:nvSpPr>
          <p:spPr bwMode="auto">
            <a:xfrm>
              <a:off x="5647" y="2205"/>
              <a:ext cx="31" cy="16"/>
            </a:xfrm>
            <a:custGeom>
              <a:avLst/>
              <a:gdLst>
                <a:gd name="T0" fmla="*/ 13 w 13"/>
                <a:gd name="T1" fmla="*/ 2 h 7"/>
                <a:gd name="T2" fmla="*/ 8 w 13"/>
                <a:gd name="T3" fmla="*/ 0 h 7"/>
                <a:gd name="T4" fmla="*/ 13 w 13"/>
                <a:gd name="T5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7">
                  <a:moveTo>
                    <a:pt x="13" y="2"/>
                  </a:moveTo>
                  <a:cubicBezTo>
                    <a:pt x="10" y="2"/>
                    <a:pt x="10" y="0"/>
                    <a:pt x="8" y="0"/>
                  </a:cubicBezTo>
                  <a:cubicBezTo>
                    <a:pt x="0" y="5"/>
                    <a:pt x="13" y="7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4" name="Freeform 25"/>
            <p:cNvSpPr>
              <a:spLocks/>
            </p:cNvSpPr>
            <p:nvPr userDrawn="1"/>
          </p:nvSpPr>
          <p:spPr bwMode="auto">
            <a:xfrm>
              <a:off x="5928" y="2372"/>
              <a:ext cx="31" cy="36"/>
            </a:xfrm>
            <a:custGeom>
              <a:avLst/>
              <a:gdLst>
                <a:gd name="T0" fmla="*/ 0 w 13"/>
                <a:gd name="T1" fmla="*/ 7 h 15"/>
                <a:gd name="T2" fmla="*/ 8 w 13"/>
                <a:gd name="T3" fmla="*/ 4 h 15"/>
                <a:gd name="T4" fmla="*/ 13 w 13"/>
                <a:gd name="T5" fmla="*/ 9 h 15"/>
                <a:gd name="T6" fmla="*/ 11 w 13"/>
                <a:gd name="T7" fmla="*/ 7 h 15"/>
                <a:gd name="T8" fmla="*/ 13 w 13"/>
                <a:gd name="T9" fmla="*/ 0 h 15"/>
                <a:gd name="T10" fmla="*/ 0 w 13"/>
                <a:gd name="T1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cubicBezTo>
                    <a:pt x="3" y="7"/>
                    <a:pt x="6" y="6"/>
                    <a:pt x="8" y="4"/>
                  </a:cubicBezTo>
                  <a:cubicBezTo>
                    <a:pt x="5" y="9"/>
                    <a:pt x="12" y="15"/>
                    <a:pt x="13" y="9"/>
                  </a:cubicBezTo>
                  <a:cubicBezTo>
                    <a:pt x="12" y="9"/>
                    <a:pt x="10" y="8"/>
                    <a:pt x="11" y="7"/>
                  </a:cubicBezTo>
                  <a:cubicBezTo>
                    <a:pt x="11" y="6"/>
                    <a:pt x="12" y="0"/>
                    <a:pt x="13" y="0"/>
                  </a:cubicBezTo>
                  <a:cubicBezTo>
                    <a:pt x="10" y="3"/>
                    <a:pt x="0" y="1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5" name="Freeform 26"/>
            <p:cNvSpPr>
              <a:spLocks/>
            </p:cNvSpPr>
            <p:nvPr userDrawn="1"/>
          </p:nvSpPr>
          <p:spPr bwMode="auto">
            <a:xfrm>
              <a:off x="5361" y="2202"/>
              <a:ext cx="19" cy="14"/>
            </a:xfrm>
            <a:custGeom>
              <a:avLst/>
              <a:gdLst>
                <a:gd name="T0" fmla="*/ 0 w 8"/>
                <a:gd name="T1" fmla="*/ 1 h 6"/>
                <a:gd name="T2" fmla="*/ 0 w 8"/>
                <a:gd name="T3" fmla="*/ 6 h 6"/>
                <a:gd name="T4" fmla="*/ 8 w 8"/>
                <a:gd name="T5" fmla="*/ 5 h 6"/>
                <a:gd name="T6" fmla="*/ 0 w 8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6">
                  <a:moveTo>
                    <a:pt x="0" y="1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2" y="5"/>
                    <a:pt x="5" y="5"/>
                    <a:pt x="8" y="5"/>
                  </a:cubicBezTo>
                  <a:cubicBezTo>
                    <a:pt x="8" y="1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6" name="Freeform 27"/>
            <p:cNvSpPr>
              <a:spLocks/>
            </p:cNvSpPr>
            <p:nvPr userDrawn="1"/>
          </p:nvSpPr>
          <p:spPr bwMode="auto">
            <a:xfrm>
              <a:off x="5990" y="2375"/>
              <a:ext cx="21" cy="33"/>
            </a:xfrm>
            <a:custGeom>
              <a:avLst/>
              <a:gdLst>
                <a:gd name="T0" fmla="*/ 4 w 9"/>
                <a:gd name="T1" fmla="*/ 1 h 14"/>
                <a:gd name="T2" fmla="*/ 1 w 9"/>
                <a:gd name="T3" fmla="*/ 10 h 14"/>
                <a:gd name="T4" fmla="*/ 4 w 9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4" y="1"/>
                  </a:moveTo>
                  <a:cubicBezTo>
                    <a:pt x="3" y="4"/>
                    <a:pt x="0" y="5"/>
                    <a:pt x="1" y="10"/>
                  </a:cubicBezTo>
                  <a:cubicBezTo>
                    <a:pt x="9" y="14"/>
                    <a:pt x="9" y="0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</p:grp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46618" y="1930400"/>
            <a:ext cx="11169649" cy="38703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buClr>
                <a:srgbClr val="49853E"/>
              </a:buClr>
              <a:buNone/>
              <a:defRPr sz="2000"/>
            </a:lvl1pPr>
            <a:lvl2pPr marL="179388" indent="-179388">
              <a:lnSpc>
                <a:spcPct val="95000"/>
              </a:lnSpc>
              <a:spcBef>
                <a:spcPts val="1000"/>
              </a:spcBef>
              <a:buClr>
                <a:srgbClr val="442E54"/>
              </a:buClr>
              <a:buFont typeface="Arial" panose="020B0604020202020204" pitchFamily="34" charset="0"/>
              <a:buChar char="•"/>
              <a:defRPr sz="2000"/>
            </a:lvl2pPr>
            <a:lvl3pPr marL="358775" indent="-179388">
              <a:lnSpc>
                <a:spcPct val="95000"/>
              </a:lnSpc>
              <a:spcBef>
                <a:spcPts val="400"/>
              </a:spcBef>
              <a:buClr>
                <a:srgbClr val="442E54"/>
              </a:buClr>
              <a:buFont typeface="Arial" panose="020B0604020202020204" pitchFamily="34" charset="0"/>
              <a:buChar char="–"/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46618" y="1440000"/>
            <a:ext cx="11169649" cy="381000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2400" b="0">
                <a:solidFill>
                  <a:srgbClr val="442E54"/>
                </a:solidFill>
                <a:latin typeface="Fungo" pitchFamily="50" charset="0"/>
              </a:defRPr>
            </a:lvl1pPr>
          </a:lstStyle>
          <a:p>
            <a:pPr lvl="0"/>
            <a:r>
              <a:rPr lang="en-US"/>
              <a:t>Sub heading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2905390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Group 5"/>
          <p:cNvGrpSpPr>
            <a:grpSpLocks noChangeAspect="1"/>
          </p:cNvGrpSpPr>
          <p:nvPr userDrawn="1"/>
        </p:nvGrpSpPr>
        <p:grpSpPr bwMode="auto">
          <a:xfrm>
            <a:off x="-12000" y="0"/>
            <a:ext cx="12216000" cy="1178432"/>
            <a:chOff x="-530" y="1723"/>
            <a:chExt cx="6834" cy="879"/>
          </a:xfrm>
          <a:solidFill>
            <a:schemeClr val="accent1"/>
          </a:solidFill>
        </p:grpSpPr>
        <p:sp>
          <p:nvSpPr>
            <p:cNvPr id="58" name="Freeform 6"/>
            <p:cNvSpPr>
              <a:spLocks/>
            </p:cNvSpPr>
            <p:nvPr userDrawn="1"/>
          </p:nvSpPr>
          <p:spPr bwMode="auto">
            <a:xfrm>
              <a:off x="4076" y="2427"/>
              <a:ext cx="45" cy="49"/>
            </a:xfrm>
            <a:custGeom>
              <a:avLst/>
              <a:gdLst>
                <a:gd name="T0" fmla="*/ 8 w 19"/>
                <a:gd name="T1" fmla="*/ 14 h 21"/>
                <a:gd name="T2" fmla="*/ 11 w 19"/>
                <a:gd name="T3" fmla="*/ 21 h 21"/>
                <a:gd name="T4" fmla="*/ 16 w 19"/>
                <a:gd name="T5" fmla="*/ 2 h 21"/>
                <a:gd name="T6" fmla="*/ 8 w 19"/>
                <a:gd name="T7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8" y="14"/>
                  </a:moveTo>
                  <a:cubicBezTo>
                    <a:pt x="9" y="17"/>
                    <a:pt x="7" y="21"/>
                    <a:pt x="11" y="21"/>
                  </a:cubicBezTo>
                  <a:cubicBezTo>
                    <a:pt x="16" y="14"/>
                    <a:pt x="19" y="12"/>
                    <a:pt x="16" y="2"/>
                  </a:cubicBezTo>
                  <a:cubicBezTo>
                    <a:pt x="0" y="0"/>
                    <a:pt x="7" y="11"/>
                    <a:pt x="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9" name="Freeform 7"/>
            <p:cNvSpPr>
              <a:spLocks/>
            </p:cNvSpPr>
            <p:nvPr userDrawn="1"/>
          </p:nvSpPr>
          <p:spPr bwMode="auto">
            <a:xfrm>
              <a:off x="5264" y="2389"/>
              <a:ext cx="22" cy="12"/>
            </a:xfrm>
            <a:custGeom>
              <a:avLst/>
              <a:gdLst>
                <a:gd name="T0" fmla="*/ 1 w 9"/>
                <a:gd name="T1" fmla="*/ 5 h 5"/>
                <a:gd name="T2" fmla="*/ 9 w 9"/>
                <a:gd name="T3" fmla="*/ 0 h 5"/>
                <a:gd name="T4" fmla="*/ 1 w 9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5">
                  <a:moveTo>
                    <a:pt x="1" y="5"/>
                  </a:moveTo>
                  <a:cubicBezTo>
                    <a:pt x="6" y="5"/>
                    <a:pt x="8" y="3"/>
                    <a:pt x="9" y="0"/>
                  </a:cubicBezTo>
                  <a:cubicBezTo>
                    <a:pt x="5" y="0"/>
                    <a:pt x="0" y="0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0" name="Freeform 8"/>
            <p:cNvSpPr>
              <a:spLocks/>
            </p:cNvSpPr>
            <p:nvPr userDrawn="1"/>
          </p:nvSpPr>
          <p:spPr bwMode="auto">
            <a:xfrm>
              <a:off x="5659" y="2375"/>
              <a:ext cx="28" cy="35"/>
            </a:xfrm>
            <a:custGeom>
              <a:avLst/>
              <a:gdLst>
                <a:gd name="T0" fmla="*/ 7 w 12"/>
                <a:gd name="T1" fmla="*/ 5 h 15"/>
                <a:gd name="T2" fmla="*/ 4 w 12"/>
                <a:gd name="T3" fmla="*/ 8 h 15"/>
                <a:gd name="T4" fmla="*/ 1 w 12"/>
                <a:gd name="T5" fmla="*/ 6 h 15"/>
                <a:gd name="T6" fmla="*/ 4 w 12"/>
                <a:gd name="T7" fmla="*/ 15 h 15"/>
                <a:gd name="T8" fmla="*/ 7 w 12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7" y="5"/>
                  </a:moveTo>
                  <a:cubicBezTo>
                    <a:pt x="7" y="7"/>
                    <a:pt x="6" y="8"/>
                    <a:pt x="4" y="8"/>
                  </a:cubicBezTo>
                  <a:cubicBezTo>
                    <a:pt x="4" y="6"/>
                    <a:pt x="4" y="5"/>
                    <a:pt x="1" y="6"/>
                  </a:cubicBezTo>
                  <a:cubicBezTo>
                    <a:pt x="2" y="9"/>
                    <a:pt x="0" y="14"/>
                    <a:pt x="4" y="15"/>
                  </a:cubicBezTo>
                  <a:cubicBezTo>
                    <a:pt x="6" y="13"/>
                    <a:pt x="12" y="0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1" name="Freeform 9"/>
            <p:cNvSpPr>
              <a:spLocks/>
            </p:cNvSpPr>
            <p:nvPr userDrawn="1"/>
          </p:nvSpPr>
          <p:spPr bwMode="auto">
            <a:xfrm>
              <a:off x="6155" y="2018"/>
              <a:ext cx="68" cy="35"/>
            </a:xfrm>
            <a:custGeom>
              <a:avLst/>
              <a:gdLst>
                <a:gd name="T0" fmla="*/ 16 w 29"/>
                <a:gd name="T1" fmla="*/ 12 h 15"/>
                <a:gd name="T2" fmla="*/ 27 w 29"/>
                <a:gd name="T3" fmla="*/ 7 h 15"/>
                <a:gd name="T4" fmla="*/ 5 w 29"/>
                <a:gd name="T5" fmla="*/ 0 h 15"/>
                <a:gd name="T6" fmla="*/ 3 w 29"/>
                <a:gd name="T7" fmla="*/ 12 h 15"/>
                <a:gd name="T8" fmla="*/ 16 w 29"/>
                <a:gd name="T9" fmla="*/ 7 h 15"/>
                <a:gd name="T10" fmla="*/ 16 w 29"/>
                <a:gd name="T11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5">
                  <a:moveTo>
                    <a:pt x="16" y="12"/>
                  </a:moveTo>
                  <a:cubicBezTo>
                    <a:pt x="21" y="15"/>
                    <a:pt x="29" y="8"/>
                    <a:pt x="27" y="7"/>
                  </a:cubicBezTo>
                  <a:cubicBezTo>
                    <a:pt x="24" y="1"/>
                    <a:pt x="11" y="3"/>
                    <a:pt x="5" y="0"/>
                  </a:cubicBezTo>
                  <a:cubicBezTo>
                    <a:pt x="6" y="6"/>
                    <a:pt x="0" y="5"/>
                    <a:pt x="3" y="12"/>
                  </a:cubicBezTo>
                  <a:cubicBezTo>
                    <a:pt x="11" y="15"/>
                    <a:pt x="10" y="8"/>
                    <a:pt x="16" y="7"/>
                  </a:cubicBezTo>
                  <a:cubicBezTo>
                    <a:pt x="16" y="7"/>
                    <a:pt x="16" y="11"/>
                    <a:pt x="1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2" name="Freeform 10"/>
            <p:cNvSpPr>
              <a:spLocks/>
            </p:cNvSpPr>
            <p:nvPr userDrawn="1"/>
          </p:nvSpPr>
          <p:spPr bwMode="auto">
            <a:xfrm>
              <a:off x="5633" y="2365"/>
              <a:ext cx="24" cy="29"/>
            </a:xfrm>
            <a:custGeom>
              <a:avLst/>
              <a:gdLst>
                <a:gd name="T0" fmla="*/ 4 w 10"/>
                <a:gd name="T1" fmla="*/ 0 h 12"/>
                <a:gd name="T2" fmla="*/ 7 w 10"/>
                <a:gd name="T3" fmla="*/ 12 h 12"/>
                <a:gd name="T4" fmla="*/ 4 w 10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4" y="0"/>
                  </a:moveTo>
                  <a:cubicBezTo>
                    <a:pt x="0" y="3"/>
                    <a:pt x="3" y="9"/>
                    <a:pt x="7" y="12"/>
                  </a:cubicBezTo>
                  <a:cubicBezTo>
                    <a:pt x="10" y="9"/>
                    <a:pt x="8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3" name="Freeform 11"/>
            <p:cNvSpPr>
              <a:spLocks/>
            </p:cNvSpPr>
            <p:nvPr userDrawn="1"/>
          </p:nvSpPr>
          <p:spPr bwMode="auto">
            <a:xfrm>
              <a:off x="4187" y="2453"/>
              <a:ext cx="33" cy="21"/>
            </a:xfrm>
            <a:custGeom>
              <a:avLst/>
              <a:gdLst>
                <a:gd name="T0" fmla="*/ 7 w 14"/>
                <a:gd name="T1" fmla="*/ 0 h 9"/>
                <a:gd name="T2" fmla="*/ 2 w 14"/>
                <a:gd name="T3" fmla="*/ 7 h 9"/>
                <a:gd name="T4" fmla="*/ 7 w 14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9">
                  <a:moveTo>
                    <a:pt x="7" y="0"/>
                  </a:moveTo>
                  <a:cubicBezTo>
                    <a:pt x="7" y="3"/>
                    <a:pt x="0" y="2"/>
                    <a:pt x="2" y="7"/>
                  </a:cubicBezTo>
                  <a:cubicBezTo>
                    <a:pt x="8" y="9"/>
                    <a:pt x="14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4" name="Freeform 12"/>
            <p:cNvSpPr>
              <a:spLocks/>
            </p:cNvSpPr>
            <p:nvPr userDrawn="1"/>
          </p:nvSpPr>
          <p:spPr bwMode="auto">
            <a:xfrm>
              <a:off x="5678" y="2379"/>
              <a:ext cx="40" cy="31"/>
            </a:xfrm>
            <a:custGeom>
              <a:avLst/>
              <a:gdLst>
                <a:gd name="T0" fmla="*/ 7 w 17"/>
                <a:gd name="T1" fmla="*/ 6 h 13"/>
                <a:gd name="T2" fmla="*/ 4 w 17"/>
                <a:gd name="T3" fmla="*/ 6 h 13"/>
                <a:gd name="T4" fmla="*/ 7 w 17"/>
                <a:gd name="T5" fmla="*/ 8 h 13"/>
                <a:gd name="T6" fmla="*/ 15 w 17"/>
                <a:gd name="T7" fmla="*/ 1 h 13"/>
                <a:gd name="T8" fmla="*/ 7 w 17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3">
                  <a:moveTo>
                    <a:pt x="7" y="6"/>
                  </a:moveTo>
                  <a:cubicBezTo>
                    <a:pt x="7" y="4"/>
                    <a:pt x="5" y="3"/>
                    <a:pt x="4" y="6"/>
                  </a:cubicBezTo>
                  <a:cubicBezTo>
                    <a:pt x="6" y="6"/>
                    <a:pt x="8" y="6"/>
                    <a:pt x="7" y="8"/>
                  </a:cubicBezTo>
                  <a:cubicBezTo>
                    <a:pt x="0" y="13"/>
                    <a:pt x="17" y="6"/>
                    <a:pt x="15" y="1"/>
                  </a:cubicBezTo>
                  <a:cubicBezTo>
                    <a:pt x="10" y="0"/>
                    <a:pt x="10" y="4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5" name="Freeform 13"/>
            <p:cNvSpPr>
              <a:spLocks/>
            </p:cNvSpPr>
            <p:nvPr userDrawn="1"/>
          </p:nvSpPr>
          <p:spPr bwMode="auto">
            <a:xfrm>
              <a:off x="6219" y="2016"/>
              <a:ext cx="73" cy="35"/>
            </a:xfrm>
            <a:custGeom>
              <a:avLst/>
              <a:gdLst>
                <a:gd name="T0" fmla="*/ 20 w 31"/>
                <a:gd name="T1" fmla="*/ 10 h 15"/>
                <a:gd name="T2" fmla="*/ 19 w 31"/>
                <a:gd name="T3" fmla="*/ 0 h 15"/>
                <a:gd name="T4" fmla="*/ 11 w 31"/>
                <a:gd name="T5" fmla="*/ 5 h 15"/>
                <a:gd name="T6" fmla="*/ 0 w 31"/>
                <a:gd name="T7" fmla="*/ 1 h 15"/>
                <a:gd name="T8" fmla="*/ 9 w 31"/>
                <a:gd name="T9" fmla="*/ 15 h 15"/>
                <a:gd name="T10" fmla="*/ 11 w 31"/>
                <a:gd name="T11" fmla="*/ 7 h 15"/>
                <a:gd name="T12" fmla="*/ 11 w 31"/>
                <a:gd name="T13" fmla="*/ 12 h 15"/>
                <a:gd name="T14" fmla="*/ 31 w 31"/>
                <a:gd name="T15" fmla="*/ 11 h 15"/>
                <a:gd name="T16" fmla="*/ 31 w 31"/>
                <a:gd name="T17" fmla="*/ 2 h 15"/>
                <a:gd name="T18" fmla="*/ 20 w 31"/>
                <a:gd name="T1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15">
                  <a:moveTo>
                    <a:pt x="20" y="10"/>
                  </a:moveTo>
                  <a:cubicBezTo>
                    <a:pt x="15" y="5"/>
                    <a:pt x="20" y="7"/>
                    <a:pt x="19" y="0"/>
                  </a:cubicBezTo>
                  <a:cubicBezTo>
                    <a:pt x="14" y="0"/>
                    <a:pt x="14" y="4"/>
                    <a:pt x="11" y="5"/>
                  </a:cubicBezTo>
                  <a:cubicBezTo>
                    <a:pt x="9" y="2"/>
                    <a:pt x="5" y="1"/>
                    <a:pt x="0" y="1"/>
                  </a:cubicBezTo>
                  <a:cubicBezTo>
                    <a:pt x="2" y="6"/>
                    <a:pt x="2" y="13"/>
                    <a:pt x="9" y="15"/>
                  </a:cubicBezTo>
                  <a:cubicBezTo>
                    <a:pt x="9" y="12"/>
                    <a:pt x="8" y="8"/>
                    <a:pt x="11" y="7"/>
                  </a:cubicBezTo>
                  <a:cubicBezTo>
                    <a:pt x="11" y="9"/>
                    <a:pt x="11" y="11"/>
                    <a:pt x="11" y="12"/>
                  </a:cubicBezTo>
                  <a:cubicBezTo>
                    <a:pt x="19" y="12"/>
                    <a:pt x="26" y="12"/>
                    <a:pt x="31" y="1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6" y="3"/>
                    <a:pt x="28" y="11"/>
                    <a:pt x="2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6" name="Freeform 14"/>
            <p:cNvSpPr>
              <a:spLocks/>
            </p:cNvSpPr>
            <p:nvPr userDrawn="1"/>
          </p:nvSpPr>
          <p:spPr bwMode="auto">
            <a:xfrm>
              <a:off x="4256" y="2441"/>
              <a:ext cx="24" cy="21"/>
            </a:xfrm>
            <a:custGeom>
              <a:avLst/>
              <a:gdLst>
                <a:gd name="T0" fmla="*/ 0 w 10"/>
                <a:gd name="T1" fmla="*/ 7 h 9"/>
                <a:gd name="T2" fmla="*/ 9 w 10"/>
                <a:gd name="T3" fmla="*/ 9 h 9"/>
                <a:gd name="T4" fmla="*/ 0 w 10"/>
                <a:gd name="T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7"/>
                  </a:moveTo>
                  <a:cubicBezTo>
                    <a:pt x="4" y="6"/>
                    <a:pt x="6" y="8"/>
                    <a:pt x="9" y="9"/>
                  </a:cubicBezTo>
                  <a:cubicBezTo>
                    <a:pt x="10" y="2"/>
                    <a:pt x="1" y="0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7" name="Freeform 15"/>
            <p:cNvSpPr>
              <a:spLocks/>
            </p:cNvSpPr>
            <p:nvPr userDrawn="1"/>
          </p:nvSpPr>
          <p:spPr bwMode="auto">
            <a:xfrm>
              <a:off x="3859" y="2455"/>
              <a:ext cx="14" cy="31"/>
            </a:xfrm>
            <a:custGeom>
              <a:avLst/>
              <a:gdLst>
                <a:gd name="T0" fmla="*/ 1 w 6"/>
                <a:gd name="T1" fmla="*/ 8 h 13"/>
                <a:gd name="T2" fmla="*/ 4 w 6"/>
                <a:gd name="T3" fmla="*/ 13 h 13"/>
                <a:gd name="T4" fmla="*/ 1 w 6"/>
                <a:gd name="T5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3">
                  <a:moveTo>
                    <a:pt x="1" y="8"/>
                  </a:moveTo>
                  <a:cubicBezTo>
                    <a:pt x="0" y="10"/>
                    <a:pt x="2" y="13"/>
                    <a:pt x="4" y="13"/>
                  </a:cubicBezTo>
                  <a:cubicBezTo>
                    <a:pt x="6" y="13"/>
                    <a:pt x="5" y="0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8" name="Freeform 16"/>
            <p:cNvSpPr>
              <a:spLocks/>
            </p:cNvSpPr>
            <p:nvPr userDrawn="1"/>
          </p:nvSpPr>
          <p:spPr bwMode="auto">
            <a:xfrm>
              <a:off x="3982" y="2455"/>
              <a:ext cx="38" cy="31"/>
            </a:xfrm>
            <a:custGeom>
              <a:avLst/>
              <a:gdLst>
                <a:gd name="T0" fmla="*/ 10 w 16"/>
                <a:gd name="T1" fmla="*/ 12 h 13"/>
                <a:gd name="T2" fmla="*/ 15 w 16"/>
                <a:gd name="T3" fmla="*/ 2 h 13"/>
                <a:gd name="T4" fmla="*/ 10 w 16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10" y="12"/>
                  </a:moveTo>
                  <a:cubicBezTo>
                    <a:pt x="11" y="12"/>
                    <a:pt x="16" y="5"/>
                    <a:pt x="15" y="2"/>
                  </a:cubicBezTo>
                  <a:cubicBezTo>
                    <a:pt x="0" y="0"/>
                    <a:pt x="4" y="13"/>
                    <a:pt x="1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9" name="Freeform 17"/>
            <p:cNvSpPr>
              <a:spLocks/>
            </p:cNvSpPr>
            <p:nvPr userDrawn="1"/>
          </p:nvSpPr>
          <p:spPr bwMode="auto">
            <a:xfrm>
              <a:off x="5872" y="2004"/>
              <a:ext cx="56" cy="54"/>
            </a:xfrm>
            <a:custGeom>
              <a:avLst/>
              <a:gdLst>
                <a:gd name="T0" fmla="*/ 18 w 24"/>
                <a:gd name="T1" fmla="*/ 13 h 23"/>
                <a:gd name="T2" fmla="*/ 24 w 24"/>
                <a:gd name="T3" fmla="*/ 15 h 23"/>
                <a:gd name="T4" fmla="*/ 18 w 24"/>
                <a:gd name="T5" fmla="*/ 8 h 23"/>
                <a:gd name="T6" fmla="*/ 16 w 24"/>
                <a:gd name="T7" fmla="*/ 10 h 23"/>
                <a:gd name="T8" fmla="*/ 2 w 24"/>
                <a:gd name="T9" fmla="*/ 1 h 23"/>
                <a:gd name="T10" fmla="*/ 5 w 24"/>
                <a:gd name="T11" fmla="*/ 8 h 23"/>
                <a:gd name="T12" fmla="*/ 5 w 24"/>
                <a:gd name="T13" fmla="*/ 15 h 23"/>
                <a:gd name="T14" fmla="*/ 10 w 24"/>
                <a:gd name="T15" fmla="*/ 20 h 23"/>
                <a:gd name="T16" fmla="*/ 18 w 24"/>
                <a:gd name="T17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3">
                  <a:moveTo>
                    <a:pt x="18" y="13"/>
                  </a:moveTo>
                  <a:cubicBezTo>
                    <a:pt x="19" y="14"/>
                    <a:pt x="21" y="15"/>
                    <a:pt x="24" y="15"/>
                  </a:cubicBezTo>
                  <a:cubicBezTo>
                    <a:pt x="24" y="12"/>
                    <a:pt x="21" y="7"/>
                    <a:pt x="18" y="8"/>
                  </a:cubicBezTo>
                  <a:cubicBezTo>
                    <a:pt x="18" y="8"/>
                    <a:pt x="18" y="12"/>
                    <a:pt x="16" y="10"/>
                  </a:cubicBezTo>
                  <a:cubicBezTo>
                    <a:pt x="13" y="9"/>
                    <a:pt x="12" y="0"/>
                    <a:pt x="2" y="1"/>
                  </a:cubicBezTo>
                  <a:cubicBezTo>
                    <a:pt x="2" y="4"/>
                    <a:pt x="3" y="6"/>
                    <a:pt x="5" y="8"/>
                  </a:cubicBezTo>
                  <a:cubicBezTo>
                    <a:pt x="4" y="11"/>
                    <a:pt x="0" y="14"/>
                    <a:pt x="5" y="15"/>
                  </a:cubicBezTo>
                  <a:cubicBezTo>
                    <a:pt x="7" y="5"/>
                    <a:pt x="16" y="16"/>
                    <a:pt x="10" y="20"/>
                  </a:cubicBezTo>
                  <a:cubicBezTo>
                    <a:pt x="20" y="23"/>
                    <a:pt x="12" y="12"/>
                    <a:pt x="1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0" name="Freeform 18"/>
            <p:cNvSpPr>
              <a:spLocks/>
            </p:cNvSpPr>
            <p:nvPr userDrawn="1"/>
          </p:nvSpPr>
          <p:spPr bwMode="auto">
            <a:xfrm>
              <a:off x="6129" y="2051"/>
              <a:ext cx="26" cy="31"/>
            </a:xfrm>
            <a:custGeom>
              <a:avLst/>
              <a:gdLst>
                <a:gd name="T0" fmla="*/ 3 w 11"/>
                <a:gd name="T1" fmla="*/ 5 h 13"/>
                <a:gd name="T2" fmla="*/ 0 w 11"/>
                <a:gd name="T3" fmla="*/ 0 h 13"/>
                <a:gd name="T4" fmla="*/ 0 w 11"/>
                <a:gd name="T5" fmla="*/ 12 h 13"/>
                <a:gd name="T6" fmla="*/ 11 w 11"/>
                <a:gd name="T7" fmla="*/ 7 h 13"/>
                <a:gd name="T8" fmla="*/ 3 w 11"/>
                <a:gd name="T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3" y="5"/>
                  </a:moveTo>
                  <a:cubicBezTo>
                    <a:pt x="2" y="3"/>
                    <a:pt x="3" y="0"/>
                    <a:pt x="0" y="0"/>
                  </a:cubicBezTo>
                  <a:cubicBezTo>
                    <a:pt x="0" y="4"/>
                    <a:pt x="0" y="8"/>
                    <a:pt x="0" y="12"/>
                  </a:cubicBezTo>
                  <a:cubicBezTo>
                    <a:pt x="6" y="13"/>
                    <a:pt x="11" y="11"/>
                    <a:pt x="11" y="7"/>
                  </a:cubicBezTo>
                  <a:cubicBezTo>
                    <a:pt x="8" y="7"/>
                    <a:pt x="3" y="8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1" name="Freeform 19"/>
            <p:cNvSpPr>
              <a:spLocks noEditPoints="1"/>
            </p:cNvSpPr>
            <p:nvPr userDrawn="1"/>
          </p:nvSpPr>
          <p:spPr bwMode="auto">
            <a:xfrm>
              <a:off x="-530" y="1723"/>
              <a:ext cx="6834" cy="879"/>
            </a:xfrm>
            <a:custGeom>
              <a:avLst/>
              <a:gdLst>
                <a:gd name="T0" fmla="*/ 389 w 2893"/>
                <a:gd name="T1" fmla="*/ 342 h 372"/>
                <a:gd name="T2" fmla="*/ 740 w 2893"/>
                <a:gd name="T3" fmla="*/ 359 h 372"/>
                <a:gd name="T4" fmla="*/ 1103 w 2893"/>
                <a:gd name="T5" fmla="*/ 367 h 372"/>
                <a:gd name="T6" fmla="*/ 1426 w 2893"/>
                <a:gd name="T7" fmla="*/ 356 h 372"/>
                <a:gd name="T8" fmla="*/ 1695 w 2893"/>
                <a:gd name="T9" fmla="*/ 331 h 372"/>
                <a:gd name="T10" fmla="*/ 1895 w 2893"/>
                <a:gd name="T11" fmla="*/ 320 h 372"/>
                <a:gd name="T12" fmla="*/ 2114 w 2893"/>
                <a:gd name="T13" fmla="*/ 302 h 372"/>
                <a:gd name="T14" fmla="*/ 2309 w 2893"/>
                <a:gd name="T15" fmla="*/ 287 h 372"/>
                <a:gd name="T16" fmla="*/ 2459 w 2893"/>
                <a:gd name="T17" fmla="*/ 275 h 372"/>
                <a:gd name="T18" fmla="*/ 2597 w 2893"/>
                <a:gd name="T19" fmla="*/ 289 h 372"/>
                <a:gd name="T20" fmla="*/ 2723 w 2893"/>
                <a:gd name="T21" fmla="*/ 280 h 372"/>
                <a:gd name="T22" fmla="*/ 2838 w 2893"/>
                <a:gd name="T23" fmla="*/ 287 h 372"/>
                <a:gd name="T24" fmla="*/ 2866 w 2893"/>
                <a:gd name="T25" fmla="*/ 183 h 372"/>
                <a:gd name="T26" fmla="*/ 2808 w 2893"/>
                <a:gd name="T27" fmla="*/ 147 h 372"/>
                <a:gd name="T28" fmla="*/ 2631 w 2893"/>
                <a:gd name="T29" fmla="*/ 218 h 372"/>
                <a:gd name="T30" fmla="*/ 2665 w 2893"/>
                <a:gd name="T31" fmla="*/ 112 h 372"/>
                <a:gd name="T32" fmla="*/ 2857 w 2893"/>
                <a:gd name="T33" fmla="*/ 113 h 372"/>
                <a:gd name="T34" fmla="*/ 485 w 2893"/>
                <a:gd name="T35" fmla="*/ 201 h 372"/>
                <a:gd name="T36" fmla="*/ 777 w 2893"/>
                <a:gd name="T37" fmla="*/ 267 h 372"/>
                <a:gd name="T38" fmla="*/ 1016 w 2893"/>
                <a:gd name="T39" fmla="*/ 272 h 372"/>
                <a:gd name="T40" fmla="*/ 1266 w 2893"/>
                <a:gd name="T41" fmla="*/ 265 h 372"/>
                <a:gd name="T42" fmla="*/ 1356 w 2893"/>
                <a:gd name="T43" fmla="*/ 252 h 372"/>
                <a:gd name="T44" fmla="*/ 1456 w 2893"/>
                <a:gd name="T45" fmla="*/ 330 h 372"/>
                <a:gd name="T46" fmla="*/ 1548 w 2893"/>
                <a:gd name="T47" fmla="*/ 241 h 372"/>
                <a:gd name="T48" fmla="*/ 1656 w 2893"/>
                <a:gd name="T49" fmla="*/ 331 h 372"/>
                <a:gd name="T50" fmla="*/ 1709 w 2893"/>
                <a:gd name="T51" fmla="*/ 232 h 372"/>
                <a:gd name="T52" fmla="*/ 1779 w 2893"/>
                <a:gd name="T53" fmla="*/ 259 h 372"/>
                <a:gd name="T54" fmla="*/ 1829 w 2893"/>
                <a:gd name="T55" fmla="*/ 147 h 372"/>
                <a:gd name="T56" fmla="*/ 1920 w 2893"/>
                <a:gd name="T57" fmla="*/ 193 h 372"/>
                <a:gd name="T58" fmla="*/ 1900 w 2893"/>
                <a:gd name="T59" fmla="*/ 151 h 372"/>
                <a:gd name="T60" fmla="*/ 1948 w 2893"/>
                <a:gd name="T61" fmla="*/ 220 h 372"/>
                <a:gd name="T62" fmla="*/ 2044 w 2893"/>
                <a:gd name="T63" fmla="*/ 214 h 372"/>
                <a:gd name="T64" fmla="*/ 2069 w 2893"/>
                <a:gd name="T65" fmla="*/ 218 h 372"/>
                <a:gd name="T66" fmla="*/ 2172 w 2893"/>
                <a:gd name="T67" fmla="*/ 167 h 372"/>
                <a:gd name="T68" fmla="*/ 2111 w 2893"/>
                <a:gd name="T69" fmla="*/ 107 h 372"/>
                <a:gd name="T70" fmla="*/ 2115 w 2893"/>
                <a:gd name="T71" fmla="*/ 217 h 372"/>
                <a:gd name="T72" fmla="*/ 2157 w 2893"/>
                <a:gd name="T73" fmla="*/ 236 h 372"/>
                <a:gd name="T74" fmla="*/ 2191 w 2893"/>
                <a:gd name="T75" fmla="*/ 148 h 372"/>
                <a:gd name="T76" fmla="*/ 2262 w 2893"/>
                <a:gd name="T77" fmla="*/ 135 h 372"/>
                <a:gd name="T78" fmla="*/ 2862 w 2893"/>
                <a:gd name="T79" fmla="*/ 247 h 372"/>
                <a:gd name="T80" fmla="*/ 2740 w 2893"/>
                <a:gd name="T81" fmla="*/ 190 h 372"/>
                <a:gd name="T82" fmla="*/ 2824 w 2893"/>
                <a:gd name="T83" fmla="*/ 259 h 372"/>
                <a:gd name="T84" fmla="*/ 2831 w 2893"/>
                <a:gd name="T85" fmla="*/ 198 h 372"/>
                <a:gd name="T86" fmla="*/ 2792 w 2893"/>
                <a:gd name="T87" fmla="*/ 177 h 372"/>
                <a:gd name="T88" fmla="*/ 2732 w 2893"/>
                <a:gd name="T89" fmla="*/ 181 h 372"/>
                <a:gd name="T90" fmla="*/ 2702 w 2893"/>
                <a:gd name="T91" fmla="*/ 207 h 372"/>
                <a:gd name="T92" fmla="*/ 2674 w 2893"/>
                <a:gd name="T93" fmla="*/ 8 h 372"/>
                <a:gd name="T94" fmla="*/ 2563 w 2893"/>
                <a:gd name="T95" fmla="*/ 116 h 372"/>
                <a:gd name="T96" fmla="*/ 2514 w 2893"/>
                <a:gd name="T97" fmla="*/ 121 h 372"/>
                <a:gd name="T98" fmla="*/ 2453 w 2893"/>
                <a:gd name="T99" fmla="*/ 101 h 372"/>
                <a:gd name="T100" fmla="*/ 2349 w 2893"/>
                <a:gd name="T101" fmla="*/ 103 h 372"/>
                <a:gd name="T102" fmla="*/ 2298 w 2893"/>
                <a:gd name="T103" fmla="*/ 139 h 372"/>
                <a:gd name="T104" fmla="*/ 2305 w 2893"/>
                <a:gd name="T105" fmla="*/ 231 h 372"/>
                <a:gd name="T106" fmla="*/ 2365 w 2893"/>
                <a:gd name="T107" fmla="*/ 211 h 372"/>
                <a:gd name="T108" fmla="*/ 2456 w 2893"/>
                <a:gd name="T109" fmla="*/ 256 h 372"/>
                <a:gd name="T110" fmla="*/ 2497 w 2893"/>
                <a:gd name="T111" fmla="*/ 213 h 372"/>
                <a:gd name="T112" fmla="*/ 2543 w 2893"/>
                <a:gd name="T113" fmla="*/ 219 h 372"/>
                <a:gd name="T114" fmla="*/ 2582 w 2893"/>
                <a:gd name="T115" fmla="*/ 230 h 372"/>
                <a:gd name="T116" fmla="*/ 2599 w 2893"/>
                <a:gd name="T117" fmla="*/ 258 h 372"/>
                <a:gd name="T118" fmla="*/ 2671 w 2893"/>
                <a:gd name="T119" fmla="*/ 156 h 372"/>
                <a:gd name="T120" fmla="*/ 2638 w 2893"/>
                <a:gd name="T121" fmla="*/ 133 h 372"/>
                <a:gd name="T122" fmla="*/ 2741 w 2893"/>
                <a:gd name="T123" fmla="*/ 87 h 372"/>
                <a:gd name="T124" fmla="*/ 2808 w 2893"/>
                <a:gd name="T125" fmla="*/ 12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93" h="372">
                  <a:moveTo>
                    <a:pt x="288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1"/>
                    <a:pt x="1" y="320"/>
                    <a:pt x="2" y="320"/>
                  </a:cubicBezTo>
                  <a:cubicBezTo>
                    <a:pt x="1" y="331"/>
                    <a:pt x="12" y="320"/>
                    <a:pt x="15" y="320"/>
                  </a:cubicBezTo>
                  <a:cubicBezTo>
                    <a:pt x="16" y="328"/>
                    <a:pt x="25" y="329"/>
                    <a:pt x="35" y="329"/>
                  </a:cubicBezTo>
                  <a:cubicBezTo>
                    <a:pt x="35" y="327"/>
                    <a:pt x="35" y="324"/>
                    <a:pt x="37" y="324"/>
                  </a:cubicBezTo>
                  <a:cubicBezTo>
                    <a:pt x="39" y="331"/>
                    <a:pt x="43" y="322"/>
                    <a:pt x="48" y="324"/>
                  </a:cubicBezTo>
                  <a:cubicBezTo>
                    <a:pt x="50" y="329"/>
                    <a:pt x="56" y="325"/>
                    <a:pt x="62" y="326"/>
                  </a:cubicBezTo>
                  <a:cubicBezTo>
                    <a:pt x="70" y="328"/>
                    <a:pt x="66" y="332"/>
                    <a:pt x="70" y="328"/>
                  </a:cubicBezTo>
                  <a:cubicBezTo>
                    <a:pt x="77" y="323"/>
                    <a:pt x="90" y="333"/>
                    <a:pt x="87" y="333"/>
                  </a:cubicBezTo>
                  <a:cubicBezTo>
                    <a:pt x="102" y="336"/>
                    <a:pt x="117" y="327"/>
                    <a:pt x="136" y="330"/>
                  </a:cubicBezTo>
                  <a:cubicBezTo>
                    <a:pt x="139" y="338"/>
                    <a:pt x="156" y="332"/>
                    <a:pt x="167" y="334"/>
                  </a:cubicBezTo>
                  <a:cubicBezTo>
                    <a:pt x="170" y="334"/>
                    <a:pt x="170" y="336"/>
                    <a:pt x="175" y="336"/>
                  </a:cubicBezTo>
                  <a:cubicBezTo>
                    <a:pt x="178" y="336"/>
                    <a:pt x="179" y="334"/>
                    <a:pt x="183" y="333"/>
                  </a:cubicBezTo>
                  <a:cubicBezTo>
                    <a:pt x="190" y="333"/>
                    <a:pt x="194" y="335"/>
                    <a:pt x="200" y="336"/>
                  </a:cubicBezTo>
                  <a:cubicBezTo>
                    <a:pt x="202" y="332"/>
                    <a:pt x="204" y="328"/>
                    <a:pt x="210" y="328"/>
                  </a:cubicBezTo>
                  <a:cubicBezTo>
                    <a:pt x="211" y="331"/>
                    <a:pt x="210" y="335"/>
                    <a:pt x="213" y="335"/>
                  </a:cubicBezTo>
                  <a:cubicBezTo>
                    <a:pt x="216" y="328"/>
                    <a:pt x="221" y="337"/>
                    <a:pt x="222" y="337"/>
                  </a:cubicBezTo>
                  <a:cubicBezTo>
                    <a:pt x="225" y="339"/>
                    <a:pt x="233" y="339"/>
                    <a:pt x="238" y="340"/>
                  </a:cubicBezTo>
                  <a:cubicBezTo>
                    <a:pt x="246" y="340"/>
                    <a:pt x="240" y="332"/>
                    <a:pt x="246" y="337"/>
                  </a:cubicBezTo>
                  <a:cubicBezTo>
                    <a:pt x="248" y="338"/>
                    <a:pt x="255" y="336"/>
                    <a:pt x="257" y="337"/>
                  </a:cubicBezTo>
                  <a:cubicBezTo>
                    <a:pt x="259" y="338"/>
                    <a:pt x="260" y="343"/>
                    <a:pt x="266" y="341"/>
                  </a:cubicBezTo>
                  <a:cubicBezTo>
                    <a:pt x="275" y="336"/>
                    <a:pt x="294" y="346"/>
                    <a:pt x="307" y="341"/>
                  </a:cubicBezTo>
                  <a:cubicBezTo>
                    <a:pt x="309" y="340"/>
                    <a:pt x="309" y="334"/>
                    <a:pt x="312" y="334"/>
                  </a:cubicBezTo>
                  <a:cubicBezTo>
                    <a:pt x="312" y="335"/>
                    <a:pt x="312" y="337"/>
                    <a:pt x="312" y="338"/>
                  </a:cubicBezTo>
                  <a:cubicBezTo>
                    <a:pt x="315" y="339"/>
                    <a:pt x="321" y="337"/>
                    <a:pt x="323" y="338"/>
                  </a:cubicBezTo>
                  <a:cubicBezTo>
                    <a:pt x="323" y="338"/>
                    <a:pt x="323" y="340"/>
                    <a:pt x="323" y="340"/>
                  </a:cubicBezTo>
                  <a:cubicBezTo>
                    <a:pt x="327" y="341"/>
                    <a:pt x="334" y="339"/>
                    <a:pt x="340" y="340"/>
                  </a:cubicBezTo>
                  <a:cubicBezTo>
                    <a:pt x="342" y="341"/>
                    <a:pt x="343" y="342"/>
                    <a:pt x="345" y="342"/>
                  </a:cubicBezTo>
                  <a:cubicBezTo>
                    <a:pt x="345" y="342"/>
                    <a:pt x="345" y="340"/>
                    <a:pt x="348" y="340"/>
                  </a:cubicBezTo>
                  <a:cubicBezTo>
                    <a:pt x="349" y="340"/>
                    <a:pt x="347" y="343"/>
                    <a:pt x="351" y="342"/>
                  </a:cubicBezTo>
                  <a:cubicBezTo>
                    <a:pt x="352" y="342"/>
                    <a:pt x="354" y="338"/>
                    <a:pt x="356" y="338"/>
                  </a:cubicBezTo>
                  <a:cubicBezTo>
                    <a:pt x="355" y="338"/>
                    <a:pt x="360" y="341"/>
                    <a:pt x="361" y="337"/>
                  </a:cubicBezTo>
                  <a:cubicBezTo>
                    <a:pt x="361" y="339"/>
                    <a:pt x="361" y="341"/>
                    <a:pt x="362" y="342"/>
                  </a:cubicBezTo>
                  <a:cubicBezTo>
                    <a:pt x="370" y="341"/>
                    <a:pt x="374" y="337"/>
                    <a:pt x="381" y="335"/>
                  </a:cubicBezTo>
                  <a:cubicBezTo>
                    <a:pt x="381" y="341"/>
                    <a:pt x="376" y="340"/>
                    <a:pt x="381" y="344"/>
                  </a:cubicBezTo>
                  <a:cubicBezTo>
                    <a:pt x="387" y="347"/>
                    <a:pt x="389" y="333"/>
                    <a:pt x="389" y="342"/>
                  </a:cubicBezTo>
                  <a:cubicBezTo>
                    <a:pt x="389" y="345"/>
                    <a:pt x="400" y="345"/>
                    <a:pt x="403" y="346"/>
                  </a:cubicBezTo>
                  <a:cubicBezTo>
                    <a:pt x="403" y="344"/>
                    <a:pt x="403" y="341"/>
                    <a:pt x="405" y="341"/>
                  </a:cubicBezTo>
                  <a:cubicBezTo>
                    <a:pt x="405" y="345"/>
                    <a:pt x="407" y="346"/>
                    <a:pt x="408" y="348"/>
                  </a:cubicBezTo>
                  <a:cubicBezTo>
                    <a:pt x="423" y="348"/>
                    <a:pt x="437" y="348"/>
                    <a:pt x="452" y="348"/>
                  </a:cubicBezTo>
                  <a:cubicBezTo>
                    <a:pt x="453" y="346"/>
                    <a:pt x="452" y="343"/>
                    <a:pt x="455" y="343"/>
                  </a:cubicBezTo>
                  <a:cubicBezTo>
                    <a:pt x="453" y="352"/>
                    <a:pt x="461" y="345"/>
                    <a:pt x="463" y="345"/>
                  </a:cubicBezTo>
                  <a:cubicBezTo>
                    <a:pt x="465" y="345"/>
                    <a:pt x="466" y="349"/>
                    <a:pt x="469" y="350"/>
                  </a:cubicBezTo>
                  <a:cubicBezTo>
                    <a:pt x="469" y="350"/>
                    <a:pt x="471" y="345"/>
                    <a:pt x="474" y="347"/>
                  </a:cubicBezTo>
                  <a:cubicBezTo>
                    <a:pt x="475" y="351"/>
                    <a:pt x="481" y="349"/>
                    <a:pt x="485" y="349"/>
                  </a:cubicBezTo>
                  <a:cubicBezTo>
                    <a:pt x="485" y="345"/>
                    <a:pt x="487" y="341"/>
                    <a:pt x="490" y="340"/>
                  </a:cubicBezTo>
                  <a:cubicBezTo>
                    <a:pt x="491" y="343"/>
                    <a:pt x="490" y="349"/>
                    <a:pt x="493" y="349"/>
                  </a:cubicBezTo>
                  <a:cubicBezTo>
                    <a:pt x="494" y="345"/>
                    <a:pt x="503" y="348"/>
                    <a:pt x="504" y="344"/>
                  </a:cubicBezTo>
                  <a:cubicBezTo>
                    <a:pt x="506" y="341"/>
                    <a:pt x="501" y="332"/>
                    <a:pt x="507" y="332"/>
                  </a:cubicBezTo>
                  <a:cubicBezTo>
                    <a:pt x="506" y="340"/>
                    <a:pt x="512" y="341"/>
                    <a:pt x="510" y="349"/>
                  </a:cubicBezTo>
                  <a:cubicBezTo>
                    <a:pt x="515" y="350"/>
                    <a:pt x="515" y="346"/>
                    <a:pt x="518" y="344"/>
                  </a:cubicBezTo>
                  <a:cubicBezTo>
                    <a:pt x="518" y="356"/>
                    <a:pt x="541" y="354"/>
                    <a:pt x="551" y="351"/>
                  </a:cubicBezTo>
                  <a:cubicBezTo>
                    <a:pt x="552" y="346"/>
                    <a:pt x="547" y="345"/>
                    <a:pt x="551" y="343"/>
                  </a:cubicBezTo>
                  <a:cubicBezTo>
                    <a:pt x="555" y="344"/>
                    <a:pt x="553" y="349"/>
                    <a:pt x="554" y="353"/>
                  </a:cubicBezTo>
                  <a:cubicBezTo>
                    <a:pt x="563" y="352"/>
                    <a:pt x="578" y="356"/>
                    <a:pt x="578" y="348"/>
                  </a:cubicBezTo>
                  <a:cubicBezTo>
                    <a:pt x="576" y="347"/>
                    <a:pt x="573" y="348"/>
                    <a:pt x="573" y="345"/>
                  </a:cubicBezTo>
                  <a:cubicBezTo>
                    <a:pt x="575" y="346"/>
                    <a:pt x="577" y="345"/>
                    <a:pt x="578" y="345"/>
                  </a:cubicBezTo>
                  <a:cubicBezTo>
                    <a:pt x="582" y="346"/>
                    <a:pt x="579" y="348"/>
                    <a:pt x="581" y="350"/>
                  </a:cubicBezTo>
                  <a:cubicBezTo>
                    <a:pt x="583" y="351"/>
                    <a:pt x="587" y="349"/>
                    <a:pt x="587" y="352"/>
                  </a:cubicBezTo>
                  <a:cubicBezTo>
                    <a:pt x="601" y="349"/>
                    <a:pt x="614" y="358"/>
                    <a:pt x="622" y="352"/>
                  </a:cubicBezTo>
                  <a:cubicBezTo>
                    <a:pt x="619" y="351"/>
                    <a:pt x="616" y="348"/>
                    <a:pt x="620" y="347"/>
                  </a:cubicBezTo>
                  <a:cubicBezTo>
                    <a:pt x="623" y="348"/>
                    <a:pt x="625" y="350"/>
                    <a:pt x="625" y="354"/>
                  </a:cubicBezTo>
                  <a:cubicBezTo>
                    <a:pt x="630" y="356"/>
                    <a:pt x="634" y="351"/>
                    <a:pt x="636" y="351"/>
                  </a:cubicBezTo>
                  <a:cubicBezTo>
                    <a:pt x="636" y="351"/>
                    <a:pt x="638" y="356"/>
                    <a:pt x="639" y="356"/>
                  </a:cubicBezTo>
                  <a:cubicBezTo>
                    <a:pt x="641" y="357"/>
                    <a:pt x="645" y="356"/>
                    <a:pt x="647" y="356"/>
                  </a:cubicBezTo>
                  <a:cubicBezTo>
                    <a:pt x="649" y="356"/>
                    <a:pt x="649" y="358"/>
                    <a:pt x="650" y="358"/>
                  </a:cubicBezTo>
                  <a:cubicBezTo>
                    <a:pt x="656" y="359"/>
                    <a:pt x="655" y="355"/>
                    <a:pt x="658" y="358"/>
                  </a:cubicBezTo>
                  <a:cubicBezTo>
                    <a:pt x="659" y="359"/>
                    <a:pt x="663" y="358"/>
                    <a:pt x="664" y="358"/>
                  </a:cubicBezTo>
                  <a:cubicBezTo>
                    <a:pt x="673" y="359"/>
                    <a:pt x="674" y="359"/>
                    <a:pt x="680" y="360"/>
                  </a:cubicBezTo>
                  <a:cubicBezTo>
                    <a:pt x="690" y="350"/>
                    <a:pt x="712" y="364"/>
                    <a:pt x="721" y="355"/>
                  </a:cubicBezTo>
                  <a:cubicBezTo>
                    <a:pt x="720" y="356"/>
                    <a:pt x="716" y="350"/>
                    <a:pt x="721" y="350"/>
                  </a:cubicBezTo>
                  <a:cubicBezTo>
                    <a:pt x="724" y="355"/>
                    <a:pt x="726" y="361"/>
                    <a:pt x="738" y="359"/>
                  </a:cubicBezTo>
                  <a:cubicBezTo>
                    <a:pt x="741" y="353"/>
                    <a:pt x="727" y="352"/>
                    <a:pt x="735" y="350"/>
                  </a:cubicBezTo>
                  <a:cubicBezTo>
                    <a:pt x="740" y="350"/>
                    <a:pt x="741" y="354"/>
                    <a:pt x="740" y="359"/>
                  </a:cubicBezTo>
                  <a:cubicBezTo>
                    <a:pt x="750" y="362"/>
                    <a:pt x="742" y="351"/>
                    <a:pt x="749" y="352"/>
                  </a:cubicBezTo>
                  <a:cubicBezTo>
                    <a:pt x="749" y="356"/>
                    <a:pt x="756" y="355"/>
                    <a:pt x="754" y="361"/>
                  </a:cubicBezTo>
                  <a:cubicBezTo>
                    <a:pt x="785" y="357"/>
                    <a:pt x="804" y="370"/>
                    <a:pt x="820" y="360"/>
                  </a:cubicBezTo>
                  <a:cubicBezTo>
                    <a:pt x="821" y="363"/>
                    <a:pt x="826" y="363"/>
                    <a:pt x="828" y="364"/>
                  </a:cubicBezTo>
                  <a:cubicBezTo>
                    <a:pt x="833" y="360"/>
                    <a:pt x="828" y="362"/>
                    <a:pt x="828" y="355"/>
                  </a:cubicBezTo>
                  <a:cubicBezTo>
                    <a:pt x="837" y="363"/>
                    <a:pt x="829" y="348"/>
                    <a:pt x="839" y="350"/>
                  </a:cubicBezTo>
                  <a:cubicBezTo>
                    <a:pt x="838" y="356"/>
                    <a:pt x="834" y="360"/>
                    <a:pt x="839" y="364"/>
                  </a:cubicBezTo>
                  <a:cubicBezTo>
                    <a:pt x="851" y="363"/>
                    <a:pt x="864" y="362"/>
                    <a:pt x="875" y="364"/>
                  </a:cubicBezTo>
                  <a:cubicBezTo>
                    <a:pt x="873" y="357"/>
                    <a:pt x="881" y="359"/>
                    <a:pt x="883" y="356"/>
                  </a:cubicBezTo>
                  <a:cubicBezTo>
                    <a:pt x="884" y="362"/>
                    <a:pt x="887" y="366"/>
                    <a:pt x="894" y="366"/>
                  </a:cubicBezTo>
                  <a:cubicBezTo>
                    <a:pt x="894" y="365"/>
                    <a:pt x="895" y="360"/>
                    <a:pt x="897" y="361"/>
                  </a:cubicBezTo>
                  <a:cubicBezTo>
                    <a:pt x="898" y="361"/>
                    <a:pt x="896" y="365"/>
                    <a:pt x="897" y="366"/>
                  </a:cubicBezTo>
                  <a:cubicBezTo>
                    <a:pt x="900" y="367"/>
                    <a:pt x="905" y="364"/>
                    <a:pt x="908" y="365"/>
                  </a:cubicBezTo>
                  <a:cubicBezTo>
                    <a:pt x="908" y="366"/>
                    <a:pt x="908" y="368"/>
                    <a:pt x="908" y="368"/>
                  </a:cubicBezTo>
                  <a:cubicBezTo>
                    <a:pt x="915" y="368"/>
                    <a:pt x="927" y="366"/>
                    <a:pt x="935" y="367"/>
                  </a:cubicBezTo>
                  <a:cubicBezTo>
                    <a:pt x="939" y="368"/>
                    <a:pt x="939" y="370"/>
                    <a:pt x="941" y="367"/>
                  </a:cubicBezTo>
                  <a:cubicBezTo>
                    <a:pt x="943" y="365"/>
                    <a:pt x="958" y="367"/>
                    <a:pt x="960" y="367"/>
                  </a:cubicBezTo>
                  <a:cubicBezTo>
                    <a:pt x="964" y="366"/>
                    <a:pt x="963" y="364"/>
                    <a:pt x="966" y="367"/>
                  </a:cubicBezTo>
                  <a:cubicBezTo>
                    <a:pt x="968" y="370"/>
                    <a:pt x="980" y="364"/>
                    <a:pt x="982" y="367"/>
                  </a:cubicBezTo>
                  <a:cubicBezTo>
                    <a:pt x="986" y="361"/>
                    <a:pt x="975" y="358"/>
                    <a:pt x="982" y="357"/>
                  </a:cubicBezTo>
                  <a:cubicBezTo>
                    <a:pt x="988" y="362"/>
                    <a:pt x="987" y="365"/>
                    <a:pt x="990" y="366"/>
                  </a:cubicBezTo>
                  <a:cubicBezTo>
                    <a:pt x="988" y="365"/>
                    <a:pt x="995" y="358"/>
                    <a:pt x="993" y="366"/>
                  </a:cubicBezTo>
                  <a:cubicBezTo>
                    <a:pt x="1002" y="368"/>
                    <a:pt x="1002" y="363"/>
                    <a:pt x="1007" y="361"/>
                  </a:cubicBezTo>
                  <a:cubicBezTo>
                    <a:pt x="1006" y="361"/>
                    <a:pt x="1009" y="364"/>
                    <a:pt x="1011" y="362"/>
                  </a:cubicBezTo>
                  <a:cubicBezTo>
                    <a:pt x="1008" y="367"/>
                    <a:pt x="1012" y="366"/>
                    <a:pt x="1018" y="366"/>
                  </a:cubicBezTo>
                  <a:cubicBezTo>
                    <a:pt x="1020" y="366"/>
                    <a:pt x="1020" y="368"/>
                    <a:pt x="1020" y="368"/>
                  </a:cubicBezTo>
                  <a:cubicBezTo>
                    <a:pt x="1028" y="369"/>
                    <a:pt x="1040" y="368"/>
                    <a:pt x="1042" y="365"/>
                  </a:cubicBezTo>
                  <a:cubicBezTo>
                    <a:pt x="1042" y="368"/>
                    <a:pt x="1044" y="367"/>
                    <a:pt x="1045" y="368"/>
                  </a:cubicBezTo>
                  <a:cubicBezTo>
                    <a:pt x="1045" y="368"/>
                    <a:pt x="1049" y="370"/>
                    <a:pt x="1048" y="370"/>
                  </a:cubicBezTo>
                  <a:cubicBezTo>
                    <a:pt x="1058" y="372"/>
                    <a:pt x="1076" y="367"/>
                    <a:pt x="1078" y="367"/>
                  </a:cubicBezTo>
                  <a:cubicBezTo>
                    <a:pt x="1081" y="367"/>
                    <a:pt x="1082" y="369"/>
                    <a:pt x="1086" y="369"/>
                  </a:cubicBezTo>
                  <a:cubicBezTo>
                    <a:pt x="1087" y="369"/>
                    <a:pt x="1086" y="367"/>
                    <a:pt x="1089" y="367"/>
                  </a:cubicBezTo>
                  <a:cubicBezTo>
                    <a:pt x="1090" y="367"/>
                    <a:pt x="1089" y="370"/>
                    <a:pt x="1092" y="369"/>
                  </a:cubicBezTo>
                  <a:cubicBezTo>
                    <a:pt x="1091" y="369"/>
                    <a:pt x="1094" y="367"/>
                    <a:pt x="1095" y="367"/>
                  </a:cubicBezTo>
                  <a:cubicBezTo>
                    <a:pt x="1097" y="366"/>
                    <a:pt x="1099" y="365"/>
                    <a:pt x="1100" y="362"/>
                  </a:cubicBezTo>
                  <a:cubicBezTo>
                    <a:pt x="1097" y="362"/>
                    <a:pt x="1096" y="360"/>
                    <a:pt x="1094" y="357"/>
                  </a:cubicBezTo>
                  <a:cubicBezTo>
                    <a:pt x="1098" y="357"/>
                    <a:pt x="1100" y="356"/>
                    <a:pt x="1103" y="355"/>
                  </a:cubicBezTo>
                  <a:cubicBezTo>
                    <a:pt x="1105" y="362"/>
                    <a:pt x="1105" y="359"/>
                    <a:pt x="1103" y="367"/>
                  </a:cubicBezTo>
                  <a:cubicBezTo>
                    <a:pt x="1112" y="371"/>
                    <a:pt x="1115" y="365"/>
                    <a:pt x="1127" y="366"/>
                  </a:cubicBezTo>
                  <a:cubicBezTo>
                    <a:pt x="1131" y="365"/>
                    <a:pt x="1128" y="357"/>
                    <a:pt x="1133" y="357"/>
                  </a:cubicBezTo>
                  <a:cubicBezTo>
                    <a:pt x="1132" y="364"/>
                    <a:pt x="1133" y="370"/>
                    <a:pt x="1141" y="368"/>
                  </a:cubicBezTo>
                  <a:cubicBezTo>
                    <a:pt x="1143" y="364"/>
                    <a:pt x="1133" y="359"/>
                    <a:pt x="1141" y="357"/>
                  </a:cubicBezTo>
                  <a:cubicBezTo>
                    <a:pt x="1145" y="359"/>
                    <a:pt x="1144" y="366"/>
                    <a:pt x="1152" y="366"/>
                  </a:cubicBezTo>
                  <a:cubicBezTo>
                    <a:pt x="1152" y="363"/>
                    <a:pt x="1153" y="360"/>
                    <a:pt x="1158" y="361"/>
                  </a:cubicBezTo>
                  <a:cubicBezTo>
                    <a:pt x="1158" y="357"/>
                    <a:pt x="1157" y="353"/>
                    <a:pt x="1163" y="354"/>
                  </a:cubicBezTo>
                  <a:cubicBezTo>
                    <a:pt x="1167" y="363"/>
                    <a:pt x="1155" y="359"/>
                    <a:pt x="1158" y="366"/>
                  </a:cubicBezTo>
                  <a:cubicBezTo>
                    <a:pt x="1172" y="369"/>
                    <a:pt x="1165" y="355"/>
                    <a:pt x="1174" y="354"/>
                  </a:cubicBezTo>
                  <a:cubicBezTo>
                    <a:pt x="1182" y="360"/>
                    <a:pt x="1176" y="360"/>
                    <a:pt x="1174" y="368"/>
                  </a:cubicBezTo>
                  <a:cubicBezTo>
                    <a:pt x="1185" y="370"/>
                    <a:pt x="1191" y="370"/>
                    <a:pt x="1199" y="365"/>
                  </a:cubicBezTo>
                  <a:cubicBezTo>
                    <a:pt x="1202" y="369"/>
                    <a:pt x="1216" y="362"/>
                    <a:pt x="1221" y="367"/>
                  </a:cubicBezTo>
                  <a:cubicBezTo>
                    <a:pt x="1221" y="365"/>
                    <a:pt x="1221" y="362"/>
                    <a:pt x="1223" y="362"/>
                  </a:cubicBezTo>
                  <a:cubicBezTo>
                    <a:pt x="1223" y="364"/>
                    <a:pt x="1223" y="365"/>
                    <a:pt x="1223" y="367"/>
                  </a:cubicBezTo>
                  <a:cubicBezTo>
                    <a:pt x="1233" y="362"/>
                    <a:pt x="1233" y="372"/>
                    <a:pt x="1240" y="367"/>
                  </a:cubicBezTo>
                  <a:cubicBezTo>
                    <a:pt x="1240" y="363"/>
                    <a:pt x="1239" y="359"/>
                    <a:pt x="1237" y="357"/>
                  </a:cubicBezTo>
                  <a:cubicBezTo>
                    <a:pt x="1242" y="358"/>
                    <a:pt x="1243" y="355"/>
                    <a:pt x="1248" y="355"/>
                  </a:cubicBezTo>
                  <a:cubicBezTo>
                    <a:pt x="1247" y="358"/>
                    <a:pt x="1244" y="359"/>
                    <a:pt x="1243" y="362"/>
                  </a:cubicBezTo>
                  <a:cubicBezTo>
                    <a:pt x="1252" y="364"/>
                    <a:pt x="1246" y="352"/>
                    <a:pt x="1256" y="355"/>
                  </a:cubicBezTo>
                  <a:cubicBezTo>
                    <a:pt x="1255" y="359"/>
                    <a:pt x="1250" y="361"/>
                    <a:pt x="1251" y="367"/>
                  </a:cubicBezTo>
                  <a:cubicBezTo>
                    <a:pt x="1261" y="366"/>
                    <a:pt x="1261" y="363"/>
                    <a:pt x="1270" y="366"/>
                  </a:cubicBezTo>
                  <a:cubicBezTo>
                    <a:pt x="1284" y="364"/>
                    <a:pt x="1292" y="371"/>
                    <a:pt x="1298" y="363"/>
                  </a:cubicBezTo>
                  <a:cubicBezTo>
                    <a:pt x="1302" y="371"/>
                    <a:pt x="1312" y="359"/>
                    <a:pt x="1317" y="365"/>
                  </a:cubicBezTo>
                  <a:cubicBezTo>
                    <a:pt x="1315" y="360"/>
                    <a:pt x="1314" y="356"/>
                    <a:pt x="1319" y="351"/>
                  </a:cubicBezTo>
                  <a:cubicBezTo>
                    <a:pt x="1324" y="356"/>
                    <a:pt x="1318" y="356"/>
                    <a:pt x="1319" y="363"/>
                  </a:cubicBezTo>
                  <a:cubicBezTo>
                    <a:pt x="1328" y="365"/>
                    <a:pt x="1324" y="358"/>
                    <a:pt x="1325" y="353"/>
                  </a:cubicBezTo>
                  <a:cubicBezTo>
                    <a:pt x="1329" y="353"/>
                    <a:pt x="1336" y="345"/>
                    <a:pt x="1338" y="351"/>
                  </a:cubicBezTo>
                  <a:cubicBezTo>
                    <a:pt x="1334" y="351"/>
                    <a:pt x="1331" y="353"/>
                    <a:pt x="1330" y="356"/>
                  </a:cubicBezTo>
                  <a:cubicBezTo>
                    <a:pt x="1340" y="356"/>
                    <a:pt x="1325" y="364"/>
                    <a:pt x="1333" y="363"/>
                  </a:cubicBezTo>
                  <a:cubicBezTo>
                    <a:pt x="1337" y="358"/>
                    <a:pt x="1343" y="365"/>
                    <a:pt x="1350" y="360"/>
                  </a:cubicBezTo>
                  <a:cubicBezTo>
                    <a:pt x="1353" y="365"/>
                    <a:pt x="1369" y="361"/>
                    <a:pt x="1377" y="362"/>
                  </a:cubicBezTo>
                  <a:cubicBezTo>
                    <a:pt x="1378" y="358"/>
                    <a:pt x="1374" y="348"/>
                    <a:pt x="1379" y="348"/>
                  </a:cubicBezTo>
                  <a:cubicBezTo>
                    <a:pt x="1389" y="350"/>
                    <a:pt x="1381" y="352"/>
                    <a:pt x="1382" y="360"/>
                  </a:cubicBezTo>
                  <a:cubicBezTo>
                    <a:pt x="1388" y="358"/>
                    <a:pt x="1401" y="362"/>
                    <a:pt x="1402" y="357"/>
                  </a:cubicBezTo>
                  <a:cubicBezTo>
                    <a:pt x="1399" y="356"/>
                    <a:pt x="1395" y="353"/>
                    <a:pt x="1399" y="352"/>
                  </a:cubicBezTo>
                  <a:cubicBezTo>
                    <a:pt x="1401" y="355"/>
                    <a:pt x="1409" y="353"/>
                    <a:pt x="1407" y="359"/>
                  </a:cubicBezTo>
                  <a:cubicBezTo>
                    <a:pt x="1418" y="359"/>
                    <a:pt x="1409" y="352"/>
                    <a:pt x="1415" y="357"/>
                  </a:cubicBezTo>
                  <a:cubicBezTo>
                    <a:pt x="1421" y="361"/>
                    <a:pt x="1422" y="357"/>
                    <a:pt x="1426" y="356"/>
                  </a:cubicBezTo>
                  <a:cubicBezTo>
                    <a:pt x="1438" y="354"/>
                    <a:pt x="1439" y="354"/>
                    <a:pt x="1446" y="358"/>
                  </a:cubicBezTo>
                  <a:cubicBezTo>
                    <a:pt x="1446" y="355"/>
                    <a:pt x="1445" y="350"/>
                    <a:pt x="1451" y="351"/>
                  </a:cubicBezTo>
                  <a:cubicBezTo>
                    <a:pt x="1451" y="347"/>
                    <a:pt x="1448" y="346"/>
                    <a:pt x="1448" y="342"/>
                  </a:cubicBezTo>
                  <a:cubicBezTo>
                    <a:pt x="1451" y="342"/>
                    <a:pt x="1454" y="342"/>
                    <a:pt x="1456" y="342"/>
                  </a:cubicBezTo>
                  <a:cubicBezTo>
                    <a:pt x="1457" y="346"/>
                    <a:pt x="1453" y="347"/>
                    <a:pt x="1454" y="351"/>
                  </a:cubicBezTo>
                  <a:cubicBezTo>
                    <a:pt x="1460" y="350"/>
                    <a:pt x="1464" y="352"/>
                    <a:pt x="1465" y="356"/>
                  </a:cubicBezTo>
                  <a:cubicBezTo>
                    <a:pt x="1473" y="356"/>
                    <a:pt x="1481" y="355"/>
                    <a:pt x="1489" y="355"/>
                  </a:cubicBezTo>
                  <a:cubicBezTo>
                    <a:pt x="1492" y="353"/>
                    <a:pt x="1494" y="347"/>
                    <a:pt x="1497" y="346"/>
                  </a:cubicBezTo>
                  <a:cubicBezTo>
                    <a:pt x="1502" y="345"/>
                    <a:pt x="1504" y="349"/>
                    <a:pt x="1508" y="348"/>
                  </a:cubicBezTo>
                  <a:cubicBezTo>
                    <a:pt x="1508" y="343"/>
                    <a:pt x="1509" y="339"/>
                    <a:pt x="1514" y="338"/>
                  </a:cubicBezTo>
                  <a:cubicBezTo>
                    <a:pt x="1515" y="346"/>
                    <a:pt x="1508" y="348"/>
                    <a:pt x="1514" y="352"/>
                  </a:cubicBezTo>
                  <a:cubicBezTo>
                    <a:pt x="1526" y="355"/>
                    <a:pt x="1523" y="344"/>
                    <a:pt x="1533" y="345"/>
                  </a:cubicBezTo>
                  <a:cubicBezTo>
                    <a:pt x="1534" y="347"/>
                    <a:pt x="1533" y="350"/>
                    <a:pt x="1536" y="350"/>
                  </a:cubicBezTo>
                  <a:cubicBezTo>
                    <a:pt x="1539" y="350"/>
                    <a:pt x="1540" y="353"/>
                    <a:pt x="1541" y="350"/>
                  </a:cubicBezTo>
                  <a:cubicBezTo>
                    <a:pt x="1537" y="349"/>
                    <a:pt x="1543" y="344"/>
                    <a:pt x="1541" y="340"/>
                  </a:cubicBezTo>
                  <a:cubicBezTo>
                    <a:pt x="1541" y="339"/>
                    <a:pt x="1533" y="341"/>
                    <a:pt x="1536" y="336"/>
                  </a:cubicBezTo>
                  <a:cubicBezTo>
                    <a:pt x="1540" y="336"/>
                    <a:pt x="1545" y="336"/>
                    <a:pt x="1549" y="335"/>
                  </a:cubicBezTo>
                  <a:cubicBezTo>
                    <a:pt x="1553" y="343"/>
                    <a:pt x="1552" y="345"/>
                    <a:pt x="1547" y="350"/>
                  </a:cubicBezTo>
                  <a:cubicBezTo>
                    <a:pt x="1555" y="349"/>
                    <a:pt x="1563" y="349"/>
                    <a:pt x="1572" y="349"/>
                  </a:cubicBezTo>
                  <a:cubicBezTo>
                    <a:pt x="1573" y="346"/>
                    <a:pt x="1574" y="344"/>
                    <a:pt x="1577" y="342"/>
                  </a:cubicBezTo>
                  <a:cubicBezTo>
                    <a:pt x="1579" y="353"/>
                    <a:pt x="1592" y="340"/>
                    <a:pt x="1599" y="346"/>
                  </a:cubicBezTo>
                  <a:cubicBezTo>
                    <a:pt x="1600" y="345"/>
                    <a:pt x="1599" y="342"/>
                    <a:pt x="1602" y="342"/>
                  </a:cubicBezTo>
                  <a:cubicBezTo>
                    <a:pt x="1604" y="345"/>
                    <a:pt x="1609" y="340"/>
                    <a:pt x="1615" y="344"/>
                  </a:cubicBezTo>
                  <a:cubicBezTo>
                    <a:pt x="1619" y="338"/>
                    <a:pt x="1617" y="328"/>
                    <a:pt x="1626" y="327"/>
                  </a:cubicBezTo>
                  <a:cubicBezTo>
                    <a:pt x="1629" y="330"/>
                    <a:pt x="1629" y="336"/>
                    <a:pt x="1632" y="339"/>
                  </a:cubicBezTo>
                  <a:cubicBezTo>
                    <a:pt x="1628" y="339"/>
                    <a:pt x="1623" y="329"/>
                    <a:pt x="1624" y="339"/>
                  </a:cubicBezTo>
                  <a:cubicBezTo>
                    <a:pt x="1627" y="342"/>
                    <a:pt x="1633" y="343"/>
                    <a:pt x="1640" y="343"/>
                  </a:cubicBezTo>
                  <a:cubicBezTo>
                    <a:pt x="1640" y="340"/>
                    <a:pt x="1639" y="335"/>
                    <a:pt x="1643" y="334"/>
                  </a:cubicBezTo>
                  <a:cubicBezTo>
                    <a:pt x="1642" y="340"/>
                    <a:pt x="1647" y="341"/>
                    <a:pt x="1651" y="343"/>
                  </a:cubicBezTo>
                  <a:cubicBezTo>
                    <a:pt x="1651" y="340"/>
                    <a:pt x="1656" y="341"/>
                    <a:pt x="1656" y="338"/>
                  </a:cubicBezTo>
                  <a:cubicBezTo>
                    <a:pt x="1655" y="338"/>
                    <a:pt x="1653" y="336"/>
                    <a:pt x="1656" y="336"/>
                  </a:cubicBezTo>
                  <a:cubicBezTo>
                    <a:pt x="1662" y="335"/>
                    <a:pt x="1663" y="338"/>
                    <a:pt x="1667" y="338"/>
                  </a:cubicBezTo>
                  <a:cubicBezTo>
                    <a:pt x="1667" y="338"/>
                    <a:pt x="1669" y="334"/>
                    <a:pt x="1670" y="333"/>
                  </a:cubicBezTo>
                  <a:cubicBezTo>
                    <a:pt x="1670" y="333"/>
                    <a:pt x="1678" y="338"/>
                    <a:pt x="1681" y="336"/>
                  </a:cubicBezTo>
                  <a:cubicBezTo>
                    <a:pt x="1682" y="330"/>
                    <a:pt x="1676" y="330"/>
                    <a:pt x="1678" y="324"/>
                  </a:cubicBezTo>
                  <a:cubicBezTo>
                    <a:pt x="1682" y="323"/>
                    <a:pt x="1683" y="320"/>
                    <a:pt x="1686" y="319"/>
                  </a:cubicBezTo>
                  <a:cubicBezTo>
                    <a:pt x="1686" y="322"/>
                    <a:pt x="1691" y="321"/>
                    <a:pt x="1692" y="324"/>
                  </a:cubicBezTo>
                  <a:cubicBezTo>
                    <a:pt x="1681" y="324"/>
                    <a:pt x="1694" y="328"/>
                    <a:pt x="1695" y="331"/>
                  </a:cubicBezTo>
                  <a:cubicBezTo>
                    <a:pt x="1695" y="330"/>
                    <a:pt x="1687" y="343"/>
                    <a:pt x="1695" y="340"/>
                  </a:cubicBezTo>
                  <a:cubicBezTo>
                    <a:pt x="1694" y="335"/>
                    <a:pt x="1705" y="339"/>
                    <a:pt x="1709" y="337"/>
                  </a:cubicBezTo>
                  <a:cubicBezTo>
                    <a:pt x="1709" y="335"/>
                    <a:pt x="1712" y="334"/>
                    <a:pt x="1714" y="333"/>
                  </a:cubicBezTo>
                  <a:cubicBezTo>
                    <a:pt x="1714" y="335"/>
                    <a:pt x="1715" y="338"/>
                    <a:pt x="1720" y="337"/>
                  </a:cubicBezTo>
                  <a:cubicBezTo>
                    <a:pt x="1716" y="330"/>
                    <a:pt x="1728" y="335"/>
                    <a:pt x="1725" y="328"/>
                  </a:cubicBezTo>
                  <a:cubicBezTo>
                    <a:pt x="1721" y="327"/>
                    <a:pt x="1715" y="329"/>
                    <a:pt x="1714" y="326"/>
                  </a:cubicBezTo>
                  <a:cubicBezTo>
                    <a:pt x="1717" y="322"/>
                    <a:pt x="1718" y="318"/>
                    <a:pt x="1722" y="316"/>
                  </a:cubicBezTo>
                  <a:cubicBezTo>
                    <a:pt x="1718" y="324"/>
                    <a:pt x="1731" y="317"/>
                    <a:pt x="1730" y="323"/>
                  </a:cubicBezTo>
                  <a:cubicBezTo>
                    <a:pt x="1727" y="323"/>
                    <a:pt x="1727" y="329"/>
                    <a:pt x="1730" y="330"/>
                  </a:cubicBezTo>
                  <a:cubicBezTo>
                    <a:pt x="1734" y="325"/>
                    <a:pt x="1735" y="318"/>
                    <a:pt x="1744" y="318"/>
                  </a:cubicBezTo>
                  <a:cubicBezTo>
                    <a:pt x="1741" y="323"/>
                    <a:pt x="1735" y="326"/>
                    <a:pt x="1733" y="332"/>
                  </a:cubicBezTo>
                  <a:cubicBezTo>
                    <a:pt x="1748" y="334"/>
                    <a:pt x="1742" y="318"/>
                    <a:pt x="1760" y="322"/>
                  </a:cubicBezTo>
                  <a:cubicBezTo>
                    <a:pt x="1767" y="320"/>
                    <a:pt x="1754" y="312"/>
                    <a:pt x="1763" y="308"/>
                  </a:cubicBezTo>
                  <a:cubicBezTo>
                    <a:pt x="1759" y="319"/>
                    <a:pt x="1769" y="319"/>
                    <a:pt x="1774" y="322"/>
                  </a:cubicBezTo>
                  <a:cubicBezTo>
                    <a:pt x="1773" y="327"/>
                    <a:pt x="1760" y="323"/>
                    <a:pt x="1763" y="332"/>
                  </a:cubicBezTo>
                  <a:cubicBezTo>
                    <a:pt x="1770" y="333"/>
                    <a:pt x="1769" y="327"/>
                    <a:pt x="1777" y="329"/>
                  </a:cubicBezTo>
                  <a:cubicBezTo>
                    <a:pt x="1776" y="324"/>
                    <a:pt x="1779" y="322"/>
                    <a:pt x="1785" y="322"/>
                  </a:cubicBezTo>
                  <a:cubicBezTo>
                    <a:pt x="1783" y="330"/>
                    <a:pt x="1790" y="330"/>
                    <a:pt x="1796" y="331"/>
                  </a:cubicBezTo>
                  <a:cubicBezTo>
                    <a:pt x="1793" y="321"/>
                    <a:pt x="1802" y="324"/>
                    <a:pt x="1807" y="322"/>
                  </a:cubicBezTo>
                  <a:cubicBezTo>
                    <a:pt x="1809" y="320"/>
                    <a:pt x="1810" y="315"/>
                    <a:pt x="1815" y="317"/>
                  </a:cubicBezTo>
                  <a:cubicBezTo>
                    <a:pt x="1818" y="323"/>
                    <a:pt x="1811" y="323"/>
                    <a:pt x="1813" y="329"/>
                  </a:cubicBezTo>
                  <a:cubicBezTo>
                    <a:pt x="1818" y="329"/>
                    <a:pt x="1817" y="327"/>
                    <a:pt x="1818" y="324"/>
                  </a:cubicBezTo>
                  <a:cubicBezTo>
                    <a:pt x="1818" y="323"/>
                    <a:pt x="1821" y="324"/>
                    <a:pt x="1821" y="324"/>
                  </a:cubicBezTo>
                  <a:cubicBezTo>
                    <a:pt x="1822" y="321"/>
                    <a:pt x="1820" y="317"/>
                    <a:pt x="1821" y="314"/>
                  </a:cubicBezTo>
                  <a:cubicBezTo>
                    <a:pt x="1822" y="303"/>
                    <a:pt x="1828" y="308"/>
                    <a:pt x="1823" y="314"/>
                  </a:cubicBezTo>
                  <a:cubicBezTo>
                    <a:pt x="1834" y="316"/>
                    <a:pt x="1825" y="302"/>
                    <a:pt x="1837" y="305"/>
                  </a:cubicBezTo>
                  <a:cubicBezTo>
                    <a:pt x="1834" y="311"/>
                    <a:pt x="1833" y="322"/>
                    <a:pt x="1843" y="323"/>
                  </a:cubicBezTo>
                  <a:cubicBezTo>
                    <a:pt x="1849" y="318"/>
                    <a:pt x="1839" y="319"/>
                    <a:pt x="1840" y="312"/>
                  </a:cubicBezTo>
                  <a:cubicBezTo>
                    <a:pt x="1843" y="312"/>
                    <a:pt x="1844" y="315"/>
                    <a:pt x="1848" y="314"/>
                  </a:cubicBezTo>
                  <a:cubicBezTo>
                    <a:pt x="1853" y="308"/>
                    <a:pt x="1844" y="304"/>
                    <a:pt x="1851" y="300"/>
                  </a:cubicBezTo>
                  <a:cubicBezTo>
                    <a:pt x="1858" y="309"/>
                    <a:pt x="1841" y="322"/>
                    <a:pt x="1854" y="328"/>
                  </a:cubicBezTo>
                  <a:cubicBezTo>
                    <a:pt x="1853" y="321"/>
                    <a:pt x="1854" y="316"/>
                    <a:pt x="1859" y="314"/>
                  </a:cubicBezTo>
                  <a:cubicBezTo>
                    <a:pt x="1868" y="315"/>
                    <a:pt x="1866" y="307"/>
                    <a:pt x="1873" y="306"/>
                  </a:cubicBezTo>
                  <a:cubicBezTo>
                    <a:pt x="1875" y="314"/>
                    <a:pt x="1870" y="316"/>
                    <a:pt x="1867" y="320"/>
                  </a:cubicBezTo>
                  <a:cubicBezTo>
                    <a:pt x="1878" y="323"/>
                    <a:pt x="1872" y="312"/>
                    <a:pt x="1881" y="313"/>
                  </a:cubicBezTo>
                  <a:cubicBezTo>
                    <a:pt x="1881" y="316"/>
                    <a:pt x="1878" y="317"/>
                    <a:pt x="1878" y="320"/>
                  </a:cubicBezTo>
                  <a:cubicBezTo>
                    <a:pt x="1884" y="321"/>
                    <a:pt x="1884" y="317"/>
                    <a:pt x="1886" y="315"/>
                  </a:cubicBezTo>
                  <a:cubicBezTo>
                    <a:pt x="1891" y="316"/>
                    <a:pt x="1889" y="321"/>
                    <a:pt x="1895" y="320"/>
                  </a:cubicBezTo>
                  <a:cubicBezTo>
                    <a:pt x="1897" y="315"/>
                    <a:pt x="1895" y="308"/>
                    <a:pt x="1903" y="303"/>
                  </a:cubicBezTo>
                  <a:cubicBezTo>
                    <a:pt x="1903" y="307"/>
                    <a:pt x="1904" y="309"/>
                    <a:pt x="1906" y="310"/>
                  </a:cubicBezTo>
                  <a:cubicBezTo>
                    <a:pt x="1895" y="307"/>
                    <a:pt x="1905" y="325"/>
                    <a:pt x="1906" y="325"/>
                  </a:cubicBezTo>
                  <a:cubicBezTo>
                    <a:pt x="1909" y="319"/>
                    <a:pt x="1905" y="320"/>
                    <a:pt x="1908" y="313"/>
                  </a:cubicBezTo>
                  <a:cubicBezTo>
                    <a:pt x="1919" y="315"/>
                    <a:pt x="1916" y="307"/>
                    <a:pt x="1925" y="308"/>
                  </a:cubicBezTo>
                  <a:cubicBezTo>
                    <a:pt x="1929" y="309"/>
                    <a:pt x="1925" y="317"/>
                    <a:pt x="1930" y="317"/>
                  </a:cubicBezTo>
                  <a:cubicBezTo>
                    <a:pt x="1936" y="311"/>
                    <a:pt x="1927" y="306"/>
                    <a:pt x="1933" y="303"/>
                  </a:cubicBezTo>
                  <a:cubicBezTo>
                    <a:pt x="1937" y="303"/>
                    <a:pt x="1935" y="309"/>
                    <a:pt x="1939" y="310"/>
                  </a:cubicBezTo>
                  <a:cubicBezTo>
                    <a:pt x="1939" y="308"/>
                    <a:pt x="1941" y="307"/>
                    <a:pt x="1944" y="307"/>
                  </a:cubicBezTo>
                  <a:cubicBezTo>
                    <a:pt x="1948" y="307"/>
                    <a:pt x="1955" y="298"/>
                    <a:pt x="1949" y="298"/>
                  </a:cubicBezTo>
                  <a:cubicBezTo>
                    <a:pt x="1950" y="303"/>
                    <a:pt x="1941" y="298"/>
                    <a:pt x="1941" y="296"/>
                  </a:cubicBezTo>
                  <a:cubicBezTo>
                    <a:pt x="1952" y="300"/>
                    <a:pt x="1950" y="292"/>
                    <a:pt x="1955" y="295"/>
                  </a:cubicBezTo>
                  <a:cubicBezTo>
                    <a:pt x="1957" y="297"/>
                    <a:pt x="1963" y="294"/>
                    <a:pt x="1966" y="295"/>
                  </a:cubicBezTo>
                  <a:cubicBezTo>
                    <a:pt x="1966" y="293"/>
                    <a:pt x="1966" y="291"/>
                    <a:pt x="1968" y="291"/>
                  </a:cubicBezTo>
                  <a:cubicBezTo>
                    <a:pt x="1968" y="295"/>
                    <a:pt x="1972" y="295"/>
                    <a:pt x="1974" y="297"/>
                  </a:cubicBezTo>
                  <a:cubicBezTo>
                    <a:pt x="1975" y="302"/>
                    <a:pt x="1971" y="303"/>
                    <a:pt x="1971" y="307"/>
                  </a:cubicBezTo>
                  <a:cubicBezTo>
                    <a:pt x="1978" y="311"/>
                    <a:pt x="1992" y="309"/>
                    <a:pt x="1999" y="306"/>
                  </a:cubicBezTo>
                  <a:cubicBezTo>
                    <a:pt x="1999" y="304"/>
                    <a:pt x="1998" y="300"/>
                    <a:pt x="2001" y="299"/>
                  </a:cubicBezTo>
                  <a:cubicBezTo>
                    <a:pt x="2004" y="301"/>
                    <a:pt x="2011" y="310"/>
                    <a:pt x="2013" y="304"/>
                  </a:cubicBezTo>
                  <a:cubicBezTo>
                    <a:pt x="2011" y="304"/>
                    <a:pt x="2009" y="302"/>
                    <a:pt x="2012" y="301"/>
                  </a:cubicBezTo>
                  <a:cubicBezTo>
                    <a:pt x="2013" y="298"/>
                    <a:pt x="2011" y="296"/>
                    <a:pt x="2010" y="295"/>
                  </a:cubicBezTo>
                  <a:cubicBezTo>
                    <a:pt x="2017" y="296"/>
                    <a:pt x="2017" y="291"/>
                    <a:pt x="2023" y="292"/>
                  </a:cubicBezTo>
                  <a:cubicBezTo>
                    <a:pt x="2024" y="298"/>
                    <a:pt x="2019" y="297"/>
                    <a:pt x="2023" y="301"/>
                  </a:cubicBezTo>
                  <a:cubicBezTo>
                    <a:pt x="2021" y="301"/>
                    <a:pt x="2020" y="305"/>
                    <a:pt x="2024" y="306"/>
                  </a:cubicBezTo>
                  <a:cubicBezTo>
                    <a:pt x="2025" y="297"/>
                    <a:pt x="2032" y="305"/>
                    <a:pt x="2034" y="303"/>
                  </a:cubicBezTo>
                  <a:cubicBezTo>
                    <a:pt x="2036" y="303"/>
                    <a:pt x="2034" y="298"/>
                    <a:pt x="2037" y="299"/>
                  </a:cubicBezTo>
                  <a:cubicBezTo>
                    <a:pt x="2037" y="303"/>
                    <a:pt x="2045" y="300"/>
                    <a:pt x="2045" y="303"/>
                  </a:cubicBezTo>
                  <a:cubicBezTo>
                    <a:pt x="2038" y="300"/>
                    <a:pt x="2033" y="310"/>
                    <a:pt x="2040" y="310"/>
                  </a:cubicBezTo>
                  <a:cubicBezTo>
                    <a:pt x="2040" y="304"/>
                    <a:pt x="2048" y="306"/>
                    <a:pt x="2051" y="303"/>
                  </a:cubicBezTo>
                  <a:cubicBezTo>
                    <a:pt x="2053" y="301"/>
                    <a:pt x="2050" y="291"/>
                    <a:pt x="2059" y="294"/>
                  </a:cubicBezTo>
                  <a:cubicBezTo>
                    <a:pt x="2057" y="299"/>
                    <a:pt x="2051" y="301"/>
                    <a:pt x="2051" y="308"/>
                  </a:cubicBezTo>
                  <a:cubicBezTo>
                    <a:pt x="2061" y="307"/>
                    <a:pt x="2062" y="299"/>
                    <a:pt x="2073" y="298"/>
                  </a:cubicBezTo>
                  <a:cubicBezTo>
                    <a:pt x="2072" y="294"/>
                    <a:pt x="2064" y="279"/>
                    <a:pt x="2075" y="279"/>
                  </a:cubicBezTo>
                  <a:cubicBezTo>
                    <a:pt x="2072" y="288"/>
                    <a:pt x="2072" y="298"/>
                    <a:pt x="2084" y="303"/>
                  </a:cubicBezTo>
                  <a:cubicBezTo>
                    <a:pt x="2085" y="299"/>
                    <a:pt x="2080" y="297"/>
                    <a:pt x="2084" y="296"/>
                  </a:cubicBezTo>
                  <a:cubicBezTo>
                    <a:pt x="2090" y="299"/>
                    <a:pt x="2088" y="301"/>
                    <a:pt x="2087" y="307"/>
                  </a:cubicBezTo>
                  <a:cubicBezTo>
                    <a:pt x="2095" y="308"/>
                    <a:pt x="2096" y="298"/>
                    <a:pt x="2103" y="305"/>
                  </a:cubicBezTo>
                  <a:cubicBezTo>
                    <a:pt x="2102" y="295"/>
                    <a:pt x="2109" y="303"/>
                    <a:pt x="2114" y="302"/>
                  </a:cubicBezTo>
                  <a:cubicBezTo>
                    <a:pt x="2115" y="299"/>
                    <a:pt x="2118" y="298"/>
                    <a:pt x="2117" y="293"/>
                  </a:cubicBezTo>
                  <a:cubicBezTo>
                    <a:pt x="2122" y="293"/>
                    <a:pt x="2122" y="289"/>
                    <a:pt x="2125" y="288"/>
                  </a:cubicBezTo>
                  <a:cubicBezTo>
                    <a:pt x="2124" y="293"/>
                    <a:pt x="2119" y="301"/>
                    <a:pt x="2128" y="302"/>
                  </a:cubicBezTo>
                  <a:cubicBezTo>
                    <a:pt x="2128" y="300"/>
                    <a:pt x="2128" y="297"/>
                    <a:pt x="2130" y="297"/>
                  </a:cubicBezTo>
                  <a:cubicBezTo>
                    <a:pt x="2127" y="305"/>
                    <a:pt x="2139" y="299"/>
                    <a:pt x="2136" y="306"/>
                  </a:cubicBezTo>
                  <a:cubicBezTo>
                    <a:pt x="2135" y="306"/>
                    <a:pt x="2133" y="308"/>
                    <a:pt x="2136" y="309"/>
                  </a:cubicBezTo>
                  <a:cubicBezTo>
                    <a:pt x="2137" y="306"/>
                    <a:pt x="2140" y="304"/>
                    <a:pt x="2139" y="299"/>
                  </a:cubicBezTo>
                  <a:cubicBezTo>
                    <a:pt x="2146" y="298"/>
                    <a:pt x="2149" y="288"/>
                    <a:pt x="2152" y="285"/>
                  </a:cubicBezTo>
                  <a:cubicBezTo>
                    <a:pt x="2154" y="292"/>
                    <a:pt x="2154" y="289"/>
                    <a:pt x="2152" y="297"/>
                  </a:cubicBezTo>
                  <a:cubicBezTo>
                    <a:pt x="2166" y="292"/>
                    <a:pt x="2160" y="304"/>
                    <a:pt x="2169" y="303"/>
                  </a:cubicBezTo>
                  <a:cubicBezTo>
                    <a:pt x="2175" y="311"/>
                    <a:pt x="2170" y="295"/>
                    <a:pt x="2174" y="294"/>
                  </a:cubicBezTo>
                  <a:cubicBezTo>
                    <a:pt x="2176" y="294"/>
                    <a:pt x="2179" y="297"/>
                    <a:pt x="2180" y="296"/>
                  </a:cubicBezTo>
                  <a:cubicBezTo>
                    <a:pt x="2182" y="294"/>
                    <a:pt x="2177" y="287"/>
                    <a:pt x="2182" y="287"/>
                  </a:cubicBezTo>
                  <a:cubicBezTo>
                    <a:pt x="2187" y="286"/>
                    <a:pt x="2184" y="294"/>
                    <a:pt x="2188" y="294"/>
                  </a:cubicBezTo>
                  <a:cubicBezTo>
                    <a:pt x="2189" y="285"/>
                    <a:pt x="2188" y="282"/>
                    <a:pt x="2190" y="280"/>
                  </a:cubicBezTo>
                  <a:cubicBezTo>
                    <a:pt x="2201" y="287"/>
                    <a:pt x="2186" y="293"/>
                    <a:pt x="2193" y="294"/>
                  </a:cubicBezTo>
                  <a:cubicBezTo>
                    <a:pt x="2200" y="294"/>
                    <a:pt x="2195" y="303"/>
                    <a:pt x="2196" y="305"/>
                  </a:cubicBezTo>
                  <a:cubicBezTo>
                    <a:pt x="2208" y="306"/>
                    <a:pt x="2196" y="302"/>
                    <a:pt x="2199" y="296"/>
                  </a:cubicBezTo>
                  <a:cubicBezTo>
                    <a:pt x="2205" y="293"/>
                    <a:pt x="2206" y="296"/>
                    <a:pt x="2213" y="291"/>
                  </a:cubicBezTo>
                  <a:cubicBezTo>
                    <a:pt x="2218" y="293"/>
                    <a:pt x="2212" y="304"/>
                    <a:pt x="2218" y="305"/>
                  </a:cubicBezTo>
                  <a:cubicBezTo>
                    <a:pt x="2219" y="299"/>
                    <a:pt x="2223" y="297"/>
                    <a:pt x="2226" y="293"/>
                  </a:cubicBezTo>
                  <a:cubicBezTo>
                    <a:pt x="2227" y="299"/>
                    <a:pt x="2231" y="290"/>
                    <a:pt x="2237" y="293"/>
                  </a:cubicBezTo>
                  <a:cubicBezTo>
                    <a:pt x="2244" y="290"/>
                    <a:pt x="2232" y="284"/>
                    <a:pt x="2240" y="281"/>
                  </a:cubicBezTo>
                  <a:cubicBezTo>
                    <a:pt x="2243" y="281"/>
                    <a:pt x="2242" y="285"/>
                    <a:pt x="2245" y="286"/>
                  </a:cubicBezTo>
                  <a:cubicBezTo>
                    <a:pt x="2253" y="281"/>
                    <a:pt x="2242" y="274"/>
                    <a:pt x="2248" y="274"/>
                  </a:cubicBezTo>
                  <a:cubicBezTo>
                    <a:pt x="2250" y="274"/>
                    <a:pt x="2252" y="274"/>
                    <a:pt x="2253" y="274"/>
                  </a:cubicBezTo>
                  <a:cubicBezTo>
                    <a:pt x="2250" y="277"/>
                    <a:pt x="2250" y="280"/>
                    <a:pt x="2254" y="283"/>
                  </a:cubicBezTo>
                  <a:cubicBezTo>
                    <a:pt x="2250" y="286"/>
                    <a:pt x="2245" y="287"/>
                    <a:pt x="2243" y="290"/>
                  </a:cubicBezTo>
                  <a:cubicBezTo>
                    <a:pt x="2247" y="290"/>
                    <a:pt x="2252" y="290"/>
                    <a:pt x="2257" y="290"/>
                  </a:cubicBezTo>
                  <a:cubicBezTo>
                    <a:pt x="2256" y="296"/>
                    <a:pt x="2257" y="299"/>
                    <a:pt x="2262" y="300"/>
                  </a:cubicBezTo>
                  <a:cubicBezTo>
                    <a:pt x="2263" y="295"/>
                    <a:pt x="2259" y="288"/>
                    <a:pt x="2267" y="290"/>
                  </a:cubicBezTo>
                  <a:cubicBezTo>
                    <a:pt x="2268" y="293"/>
                    <a:pt x="2264" y="294"/>
                    <a:pt x="2268" y="295"/>
                  </a:cubicBezTo>
                  <a:cubicBezTo>
                    <a:pt x="2272" y="288"/>
                    <a:pt x="2276" y="301"/>
                    <a:pt x="2281" y="302"/>
                  </a:cubicBezTo>
                  <a:cubicBezTo>
                    <a:pt x="2281" y="295"/>
                    <a:pt x="2280" y="288"/>
                    <a:pt x="2287" y="287"/>
                  </a:cubicBezTo>
                  <a:cubicBezTo>
                    <a:pt x="2287" y="292"/>
                    <a:pt x="2289" y="295"/>
                    <a:pt x="2292" y="297"/>
                  </a:cubicBezTo>
                  <a:cubicBezTo>
                    <a:pt x="2293" y="294"/>
                    <a:pt x="2295" y="295"/>
                    <a:pt x="2298" y="297"/>
                  </a:cubicBezTo>
                  <a:cubicBezTo>
                    <a:pt x="2298" y="294"/>
                    <a:pt x="2297" y="290"/>
                    <a:pt x="2300" y="289"/>
                  </a:cubicBezTo>
                  <a:cubicBezTo>
                    <a:pt x="2303" y="298"/>
                    <a:pt x="2306" y="286"/>
                    <a:pt x="2309" y="287"/>
                  </a:cubicBezTo>
                  <a:cubicBezTo>
                    <a:pt x="2311" y="288"/>
                    <a:pt x="2311" y="294"/>
                    <a:pt x="2314" y="294"/>
                  </a:cubicBezTo>
                  <a:cubicBezTo>
                    <a:pt x="2318" y="288"/>
                    <a:pt x="2307" y="285"/>
                    <a:pt x="2314" y="284"/>
                  </a:cubicBezTo>
                  <a:cubicBezTo>
                    <a:pt x="2321" y="283"/>
                    <a:pt x="2319" y="289"/>
                    <a:pt x="2322" y="291"/>
                  </a:cubicBezTo>
                  <a:cubicBezTo>
                    <a:pt x="2319" y="291"/>
                    <a:pt x="2313" y="298"/>
                    <a:pt x="2320" y="299"/>
                  </a:cubicBezTo>
                  <a:cubicBezTo>
                    <a:pt x="2320" y="296"/>
                    <a:pt x="2323" y="295"/>
                    <a:pt x="2325" y="294"/>
                  </a:cubicBezTo>
                  <a:cubicBezTo>
                    <a:pt x="2326" y="290"/>
                    <a:pt x="2317" y="282"/>
                    <a:pt x="2325" y="280"/>
                  </a:cubicBezTo>
                  <a:cubicBezTo>
                    <a:pt x="2330" y="280"/>
                    <a:pt x="2326" y="301"/>
                    <a:pt x="2331" y="294"/>
                  </a:cubicBezTo>
                  <a:cubicBezTo>
                    <a:pt x="2331" y="284"/>
                    <a:pt x="2328" y="271"/>
                    <a:pt x="2338" y="270"/>
                  </a:cubicBezTo>
                  <a:cubicBezTo>
                    <a:pt x="2332" y="275"/>
                    <a:pt x="2338" y="281"/>
                    <a:pt x="2339" y="286"/>
                  </a:cubicBezTo>
                  <a:cubicBezTo>
                    <a:pt x="2339" y="289"/>
                    <a:pt x="2336" y="289"/>
                    <a:pt x="2336" y="291"/>
                  </a:cubicBezTo>
                  <a:cubicBezTo>
                    <a:pt x="2336" y="294"/>
                    <a:pt x="2340" y="295"/>
                    <a:pt x="2342" y="296"/>
                  </a:cubicBezTo>
                  <a:cubicBezTo>
                    <a:pt x="2342" y="292"/>
                    <a:pt x="2340" y="287"/>
                    <a:pt x="2344" y="286"/>
                  </a:cubicBezTo>
                  <a:cubicBezTo>
                    <a:pt x="2348" y="286"/>
                    <a:pt x="2347" y="290"/>
                    <a:pt x="2350" y="291"/>
                  </a:cubicBezTo>
                  <a:cubicBezTo>
                    <a:pt x="2352" y="278"/>
                    <a:pt x="2350" y="297"/>
                    <a:pt x="2358" y="293"/>
                  </a:cubicBezTo>
                  <a:cubicBezTo>
                    <a:pt x="2362" y="286"/>
                    <a:pt x="2357" y="286"/>
                    <a:pt x="2358" y="277"/>
                  </a:cubicBezTo>
                  <a:cubicBezTo>
                    <a:pt x="2363" y="278"/>
                    <a:pt x="2361" y="271"/>
                    <a:pt x="2366" y="270"/>
                  </a:cubicBezTo>
                  <a:cubicBezTo>
                    <a:pt x="2369" y="269"/>
                    <a:pt x="2374" y="270"/>
                    <a:pt x="2374" y="272"/>
                  </a:cubicBezTo>
                  <a:cubicBezTo>
                    <a:pt x="2371" y="273"/>
                    <a:pt x="2367" y="274"/>
                    <a:pt x="2366" y="277"/>
                  </a:cubicBezTo>
                  <a:cubicBezTo>
                    <a:pt x="2366" y="276"/>
                    <a:pt x="2371" y="279"/>
                    <a:pt x="2369" y="281"/>
                  </a:cubicBezTo>
                  <a:cubicBezTo>
                    <a:pt x="2365" y="285"/>
                    <a:pt x="2368" y="284"/>
                    <a:pt x="2369" y="288"/>
                  </a:cubicBezTo>
                  <a:cubicBezTo>
                    <a:pt x="2369" y="288"/>
                    <a:pt x="2363" y="293"/>
                    <a:pt x="2369" y="293"/>
                  </a:cubicBezTo>
                  <a:cubicBezTo>
                    <a:pt x="2374" y="285"/>
                    <a:pt x="2379" y="296"/>
                    <a:pt x="2386" y="295"/>
                  </a:cubicBezTo>
                  <a:cubicBezTo>
                    <a:pt x="2387" y="295"/>
                    <a:pt x="2385" y="289"/>
                    <a:pt x="2388" y="290"/>
                  </a:cubicBezTo>
                  <a:cubicBezTo>
                    <a:pt x="2389" y="296"/>
                    <a:pt x="2397" y="291"/>
                    <a:pt x="2399" y="290"/>
                  </a:cubicBezTo>
                  <a:cubicBezTo>
                    <a:pt x="2399" y="282"/>
                    <a:pt x="2392" y="273"/>
                    <a:pt x="2401" y="267"/>
                  </a:cubicBezTo>
                  <a:cubicBezTo>
                    <a:pt x="2397" y="274"/>
                    <a:pt x="2403" y="277"/>
                    <a:pt x="2402" y="288"/>
                  </a:cubicBezTo>
                  <a:cubicBezTo>
                    <a:pt x="2407" y="288"/>
                    <a:pt x="2409" y="292"/>
                    <a:pt x="2413" y="294"/>
                  </a:cubicBezTo>
                  <a:cubicBezTo>
                    <a:pt x="2411" y="288"/>
                    <a:pt x="2417" y="288"/>
                    <a:pt x="2415" y="283"/>
                  </a:cubicBezTo>
                  <a:cubicBezTo>
                    <a:pt x="2412" y="282"/>
                    <a:pt x="2408" y="283"/>
                    <a:pt x="2407" y="281"/>
                  </a:cubicBezTo>
                  <a:cubicBezTo>
                    <a:pt x="2420" y="283"/>
                    <a:pt x="2414" y="269"/>
                    <a:pt x="2423" y="269"/>
                  </a:cubicBezTo>
                  <a:cubicBezTo>
                    <a:pt x="2419" y="274"/>
                    <a:pt x="2426" y="278"/>
                    <a:pt x="2426" y="283"/>
                  </a:cubicBezTo>
                  <a:cubicBezTo>
                    <a:pt x="2427" y="285"/>
                    <a:pt x="2421" y="288"/>
                    <a:pt x="2427" y="290"/>
                  </a:cubicBezTo>
                  <a:cubicBezTo>
                    <a:pt x="2428" y="286"/>
                    <a:pt x="2430" y="290"/>
                    <a:pt x="2435" y="289"/>
                  </a:cubicBezTo>
                  <a:cubicBezTo>
                    <a:pt x="2438" y="284"/>
                    <a:pt x="2424" y="282"/>
                    <a:pt x="2432" y="280"/>
                  </a:cubicBezTo>
                  <a:cubicBezTo>
                    <a:pt x="2441" y="278"/>
                    <a:pt x="2436" y="288"/>
                    <a:pt x="2443" y="287"/>
                  </a:cubicBezTo>
                  <a:cubicBezTo>
                    <a:pt x="2441" y="278"/>
                    <a:pt x="2434" y="268"/>
                    <a:pt x="2443" y="261"/>
                  </a:cubicBezTo>
                  <a:cubicBezTo>
                    <a:pt x="2448" y="268"/>
                    <a:pt x="2439" y="284"/>
                    <a:pt x="2451" y="289"/>
                  </a:cubicBezTo>
                  <a:cubicBezTo>
                    <a:pt x="2449" y="280"/>
                    <a:pt x="2456" y="279"/>
                    <a:pt x="2459" y="275"/>
                  </a:cubicBezTo>
                  <a:cubicBezTo>
                    <a:pt x="2458" y="280"/>
                    <a:pt x="2467" y="277"/>
                    <a:pt x="2468" y="282"/>
                  </a:cubicBezTo>
                  <a:cubicBezTo>
                    <a:pt x="2459" y="285"/>
                    <a:pt x="2472" y="291"/>
                    <a:pt x="2465" y="294"/>
                  </a:cubicBezTo>
                  <a:cubicBezTo>
                    <a:pt x="2473" y="295"/>
                    <a:pt x="2470" y="289"/>
                    <a:pt x="2476" y="289"/>
                  </a:cubicBezTo>
                  <a:cubicBezTo>
                    <a:pt x="2476" y="292"/>
                    <a:pt x="2477" y="294"/>
                    <a:pt x="2482" y="293"/>
                  </a:cubicBezTo>
                  <a:cubicBezTo>
                    <a:pt x="2479" y="288"/>
                    <a:pt x="2479" y="284"/>
                    <a:pt x="2484" y="279"/>
                  </a:cubicBezTo>
                  <a:cubicBezTo>
                    <a:pt x="2489" y="278"/>
                    <a:pt x="2500" y="282"/>
                    <a:pt x="2500" y="277"/>
                  </a:cubicBezTo>
                  <a:cubicBezTo>
                    <a:pt x="2499" y="277"/>
                    <a:pt x="2497" y="275"/>
                    <a:pt x="2500" y="274"/>
                  </a:cubicBezTo>
                  <a:cubicBezTo>
                    <a:pt x="2501" y="277"/>
                    <a:pt x="2504" y="279"/>
                    <a:pt x="2503" y="284"/>
                  </a:cubicBezTo>
                  <a:cubicBezTo>
                    <a:pt x="2500" y="281"/>
                    <a:pt x="2479" y="277"/>
                    <a:pt x="2484" y="289"/>
                  </a:cubicBezTo>
                  <a:cubicBezTo>
                    <a:pt x="2493" y="290"/>
                    <a:pt x="2493" y="285"/>
                    <a:pt x="2498" y="284"/>
                  </a:cubicBezTo>
                  <a:cubicBezTo>
                    <a:pt x="2496" y="288"/>
                    <a:pt x="2502" y="287"/>
                    <a:pt x="2503" y="288"/>
                  </a:cubicBezTo>
                  <a:cubicBezTo>
                    <a:pt x="2505" y="290"/>
                    <a:pt x="2503" y="295"/>
                    <a:pt x="2509" y="293"/>
                  </a:cubicBezTo>
                  <a:cubicBezTo>
                    <a:pt x="2507" y="284"/>
                    <a:pt x="2508" y="287"/>
                    <a:pt x="2506" y="276"/>
                  </a:cubicBezTo>
                  <a:cubicBezTo>
                    <a:pt x="2512" y="282"/>
                    <a:pt x="2523" y="270"/>
                    <a:pt x="2525" y="281"/>
                  </a:cubicBezTo>
                  <a:cubicBezTo>
                    <a:pt x="2522" y="278"/>
                    <a:pt x="2515" y="278"/>
                    <a:pt x="2511" y="281"/>
                  </a:cubicBezTo>
                  <a:cubicBezTo>
                    <a:pt x="2512" y="287"/>
                    <a:pt x="2514" y="291"/>
                    <a:pt x="2520" y="293"/>
                  </a:cubicBezTo>
                  <a:cubicBezTo>
                    <a:pt x="2522" y="289"/>
                    <a:pt x="2526" y="288"/>
                    <a:pt x="2531" y="288"/>
                  </a:cubicBezTo>
                  <a:cubicBezTo>
                    <a:pt x="2531" y="290"/>
                    <a:pt x="2531" y="292"/>
                    <a:pt x="2534" y="292"/>
                  </a:cubicBezTo>
                  <a:cubicBezTo>
                    <a:pt x="2531" y="284"/>
                    <a:pt x="2533" y="284"/>
                    <a:pt x="2528" y="276"/>
                  </a:cubicBezTo>
                  <a:cubicBezTo>
                    <a:pt x="2531" y="274"/>
                    <a:pt x="2535" y="273"/>
                    <a:pt x="2542" y="273"/>
                  </a:cubicBezTo>
                  <a:cubicBezTo>
                    <a:pt x="2540" y="277"/>
                    <a:pt x="2538" y="278"/>
                    <a:pt x="2542" y="281"/>
                  </a:cubicBezTo>
                  <a:cubicBezTo>
                    <a:pt x="2544" y="282"/>
                    <a:pt x="2539" y="291"/>
                    <a:pt x="2545" y="290"/>
                  </a:cubicBezTo>
                  <a:cubicBezTo>
                    <a:pt x="2549" y="285"/>
                    <a:pt x="2551" y="283"/>
                    <a:pt x="2547" y="276"/>
                  </a:cubicBezTo>
                  <a:cubicBezTo>
                    <a:pt x="2558" y="280"/>
                    <a:pt x="2550" y="270"/>
                    <a:pt x="2555" y="269"/>
                  </a:cubicBezTo>
                  <a:cubicBezTo>
                    <a:pt x="2554" y="269"/>
                    <a:pt x="2564" y="276"/>
                    <a:pt x="2572" y="273"/>
                  </a:cubicBezTo>
                  <a:cubicBezTo>
                    <a:pt x="2573" y="272"/>
                    <a:pt x="2571" y="266"/>
                    <a:pt x="2577" y="268"/>
                  </a:cubicBezTo>
                  <a:cubicBezTo>
                    <a:pt x="2578" y="274"/>
                    <a:pt x="2576" y="278"/>
                    <a:pt x="2572" y="280"/>
                  </a:cubicBezTo>
                  <a:cubicBezTo>
                    <a:pt x="2571" y="277"/>
                    <a:pt x="2569" y="276"/>
                    <a:pt x="2566" y="275"/>
                  </a:cubicBezTo>
                  <a:cubicBezTo>
                    <a:pt x="2567" y="286"/>
                    <a:pt x="2558" y="276"/>
                    <a:pt x="2555" y="276"/>
                  </a:cubicBezTo>
                  <a:cubicBezTo>
                    <a:pt x="2552" y="281"/>
                    <a:pt x="2562" y="284"/>
                    <a:pt x="2555" y="285"/>
                  </a:cubicBezTo>
                  <a:cubicBezTo>
                    <a:pt x="2554" y="285"/>
                    <a:pt x="2552" y="285"/>
                    <a:pt x="2553" y="287"/>
                  </a:cubicBezTo>
                  <a:cubicBezTo>
                    <a:pt x="2560" y="288"/>
                    <a:pt x="2561" y="284"/>
                    <a:pt x="2566" y="282"/>
                  </a:cubicBezTo>
                  <a:cubicBezTo>
                    <a:pt x="2571" y="290"/>
                    <a:pt x="2578" y="281"/>
                    <a:pt x="2580" y="289"/>
                  </a:cubicBezTo>
                  <a:cubicBezTo>
                    <a:pt x="2580" y="291"/>
                    <a:pt x="2581" y="292"/>
                    <a:pt x="2583" y="292"/>
                  </a:cubicBezTo>
                  <a:cubicBezTo>
                    <a:pt x="2583" y="287"/>
                    <a:pt x="2580" y="286"/>
                    <a:pt x="2580" y="282"/>
                  </a:cubicBezTo>
                  <a:cubicBezTo>
                    <a:pt x="2583" y="282"/>
                    <a:pt x="2583" y="280"/>
                    <a:pt x="2585" y="280"/>
                  </a:cubicBezTo>
                  <a:cubicBezTo>
                    <a:pt x="2586" y="290"/>
                    <a:pt x="2587" y="280"/>
                    <a:pt x="2591" y="280"/>
                  </a:cubicBezTo>
                  <a:cubicBezTo>
                    <a:pt x="2589" y="285"/>
                    <a:pt x="2594" y="295"/>
                    <a:pt x="2597" y="289"/>
                  </a:cubicBezTo>
                  <a:cubicBezTo>
                    <a:pt x="2594" y="289"/>
                    <a:pt x="2593" y="285"/>
                    <a:pt x="2597" y="284"/>
                  </a:cubicBezTo>
                  <a:cubicBezTo>
                    <a:pt x="2600" y="284"/>
                    <a:pt x="2599" y="288"/>
                    <a:pt x="2602" y="289"/>
                  </a:cubicBezTo>
                  <a:cubicBezTo>
                    <a:pt x="2606" y="287"/>
                    <a:pt x="2602" y="283"/>
                    <a:pt x="2602" y="279"/>
                  </a:cubicBezTo>
                  <a:cubicBezTo>
                    <a:pt x="2602" y="277"/>
                    <a:pt x="2605" y="278"/>
                    <a:pt x="2605" y="277"/>
                  </a:cubicBezTo>
                  <a:cubicBezTo>
                    <a:pt x="2606" y="274"/>
                    <a:pt x="2601" y="266"/>
                    <a:pt x="2607" y="265"/>
                  </a:cubicBezTo>
                  <a:cubicBezTo>
                    <a:pt x="2614" y="270"/>
                    <a:pt x="2618" y="277"/>
                    <a:pt x="2629" y="277"/>
                  </a:cubicBezTo>
                  <a:cubicBezTo>
                    <a:pt x="2633" y="277"/>
                    <a:pt x="2632" y="272"/>
                    <a:pt x="2635" y="272"/>
                  </a:cubicBezTo>
                  <a:cubicBezTo>
                    <a:pt x="2638" y="271"/>
                    <a:pt x="2643" y="272"/>
                    <a:pt x="2643" y="269"/>
                  </a:cubicBezTo>
                  <a:cubicBezTo>
                    <a:pt x="2628" y="273"/>
                    <a:pt x="2637" y="256"/>
                    <a:pt x="2637" y="255"/>
                  </a:cubicBezTo>
                  <a:cubicBezTo>
                    <a:pt x="2642" y="248"/>
                    <a:pt x="2636" y="253"/>
                    <a:pt x="2634" y="248"/>
                  </a:cubicBezTo>
                  <a:cubicBezTo>
                    <a:pt x="2639" y="249"/>
                    <a:pt x="2644" y="250"/>
                    <a:pt x="2645" y="253"/>
                  </a:cubicBezTo>
                  <a:cubicBezTo>
                    <a:pt x="2641" y="253"/>
                    <a:pt x="2639" y="255"/>
                    <a:pt x="2640" y="260"/>
                  </a:cubicBezTo>
                  <a:cubicBezTo>
                    <a:pt x="2650" y="264"/>
                    <a:pt x="2655" y="257"/>
                    <a:pt x="2662" y="262"/>
                  </a:cubicBezTo>
                  <a:cubicBezTo>
                    <a:pt x="2658" y="265"/>
                    <a:pt x="2661" y="274"/>
                    <a:pt x="2654" y="274"/>
                  </a:cubicBezTo>
                  <a:cubicBezTo>
                    <a:pt x="2649" y="268"/>
                    <a:pt x="2658" y="265"/>
                    <a:pt x="2648" y="265"/>
                  </a:cubicBezTo>
                  <a:cubicBezTo>
                    <a:pt x="2646" y="276"/>
                    <a:pt x="2650" y="280"/>
                    <a:pt x="2646" y="290"/>
                  </a:cubicBezTo>
                  <a:cubicBezTo>
                    <a:pt x="2654" y="292"/>
                    <a:pt x="2649" y="286"/>
                    <a:pt x="2651" y="283"/>
                  </a:cubicBezTo>
                  <a:cubicBezTo>
                    <a:pt x="2653" y="282"/>
                    <a:pt x="2658" y="284"/>
                    <a:pt x="2657" y="281"/>
                  </a:cubicBezTo>
                  <a:cubicBezTo>
                    <a:pt x="2654" y="280"/>
                    <a:pt x="2650" y="277"/>
                    <a:pt x="2654" y="276"/>
                  </a:cubicBezTo>
                  <a:cubicBezTo>
                    <a:pt x="2661" y="278"/>
                    <a:pt x="2660" y="287"/>
                    <a:pt x="2668" y="288"/>
                  </a:cubicBezTo>
                  <a:cubicBezTo>
                    <a:pt x="2669" y="285"/>
                    <a:pt x="2672" y="282"/>
                    <a:pt x="2673" y="285"/>
                  </a:cubicBezTo>
                  <a:cubicBezTo>
                    <a:pt x="2674" y="287"/>
                    <a:pt x="2674" y="290"/>
                    <a:pt x="2676" y="290"/>
                  </a:cubicBezTo>
                  <a:cubicBezTo>
                    <a:pt x="2676" y="283"/>
                    <a:pt x="2677" y="278"/>
                    <a:pt x="2681" y="276"/>
                  </a:cubicBezTo>
                  <a:cubicBezTo>
                    <a:pt x="2684" y="283"/>
                    <a:pt x="2687" y="273"/>
                    <a:pt x="2690" y="273"/>
                  </a:cubicBezTo>
                  <a:cubicBezTo>
                    <a:pt x="2690" y="276"/>
                    <a:pt x="2692" y="276"/>
                    <a:pt x="2692" y="278"/>
                  </a:cubicBezTo>
                  <a:cubicBezTo>
                    <a:pt x="2690" y="281"/>
                    <a:pt x="2690" y="287"/>
                    <a:pt x="2684" y="287"/>
                  </a:cubicBezTo>
                  <a:cubicBezTo>
                    <a:pt x="2684" y="286"/>
                    <a:pt x="2682" y="285"/>
                    <a:pt x="2682" y="287"/>
                  </a:cubicBezTo>
                  <a:cubicBezTo>
                    <a:pt x="2689" y="293"/>
                    <a:pt x="2699" y="287"/>
                    <a:pt x="2701" y="287"/>
                  </a:cubicBezTo>
                  <a:cubicBezTo>
                    <a:pt x="2704" y="287"/>
                    <a:pt x="2703" y="283"/>
                    <a:pt x="2706" y="282"/>
                  </a:cubicBezTo>
                  <a:cubicBezTo>
                    <a:pt x="2709" y="282"/>
                    <a:pt x="2710" y="284"/>
                    <a:pt x="2712" y="285"/>
                  </a:cubicBezTo>
                  <a:cubicBezTo>
                    <a:pt x="2715" y="275"/>
                    <a:pt x="2700" y="281"/>
                    <a:pt x="2698" y="275"/>
                  </a:cubicBezTo>
                  <a:cubicBezTo>
                    <a:pt x="2702" y="275"/>
                    <a:pt x="2708" y="276"/>
                    <a:pt x="2709" y="273"/>
                  </a:cubicBezTo>
                  <a:cubicBezTo>
                    <a:pt x="2696" y="273"/>
                    <a:pt x="2699" y="251"/>
                    <a:pt x="2711" y="252"/>
                  </a:cubicBezTo>
                  <a:cubicBezTo>
                    <a:pt x="2712" y="255"/>
                    <a:pt x="2710" y="260"/>
                    <a:pt x="2714" y="261"/>
                  </a:cubicBezTo>
                  <a:cubicBezTo>
                    <a:pt x="2720" y="259"/>
                    <a:pt x="2713" y="248"/>
                    <a:pt x="2719" y="247"/>
                  </a:cubicBezTo>
                  <a:cubicBezTo>
                    <a:pt x="2715" y="256"/>
                    <a:pt x="2725" y="258"/>
                    <a:pt x="2725" y="263"/>
                  </a:cubicBezTo>
                  <a:cubicBezTo>
                    <a:pt x="2725" y="263"/>
                    <a:pt x="2720" y="263"/>
                    <a:pt x="2720" y="263"/>
                  </a:cubicBezTo>
                  <a:cubicBezTo>
                    <a:pt x="2719" y="264"/>
                    <a:pt x="2719" y="272"/>
                    <a:pt x="2723" y="280"/>
                  </a:cubicBezTo>
                  <a:cubicBezTo>
                    <a:pt x="2719" y="280"/>
                    <a:pt x="2717" y="279"/>
                    <a:pt x="2714" y="277"/>
                  </a:cubicBezTo>
                  <a:cubicBezTo>
                    <a:pt x="2714" y="281"/>
                    <a:pt x="2716" y="283"/>
                    <a:pt x="2717" y="285"/>
                  </a:cubicBezTo>
                  <a:cubicBezTo>
                    <a:pt x="2723" y="284"/>
                    <a:pt x="2723" y="288"/>
                    <a:pt x="2726" y="289"/>
                  </a:cubicBezTo>
                  <a:cubicBezTo>
                    <a:pt x="2726" y="284"/>
                    <a:pt x="2731" y="273"/>
                    <a:pt x="2731" y="275"/>
                  </a:cubicBezTo>
                  <a:cubicBezTo>
                    <a:pt x="2731" y="273"/>
                    <a:pt x="2728" y="268"/>
                    <a:pt x="2728" y="268"/>
                  </a:cubicBezTo>
                  <a:cubicBezTo>
                    <a:pt x="2729" y="266"/>
                    <a:pt x="2735" y="265"/>
                    <a:pt x="2736" y="263"/>
                  </a:cubicBezTo>
                  <a:cubicBezTo>
                    <a:pt x="2739" y="259"/>
                    <a:pt x="2735" y="255"/>
                    <a:pt x="2741" y="254"/>
                  </a:cubicBezTo>
                  <a:cubicBezTo>
                    <a:pt x="2745" y="254"/>
                    <a:pt x="2747" y="256"/>
                    <a:pt x="2747" y="260"/>
                  </a:cubicBezTo>
                  <a:cubicBezTo>
                    <a:pt x="2742" y="260"/>
                    <a:pt x="2741" y="263"/>
                    <a:pt x="2736" y="263"/>
                  </a:cubicBezTo>
                  <a:cubicBezTo>
                    <a:pt x="2738" y="266"/>
                    <a:pt x="2733" y="275"/>
                    <a:pt x="2739" y="275"/>
                  </a:cubicBezTo>
                  <a:cubicBezTo>
                    <a:pt x="2742" y="270"/>
                    <a:pt x="2738" y="264"/>
                    <a:pt x="2750" y="263"/>
                  </a:cubicBezTo>
                  <a:cubicBezTo>
                    <a:pt x="2751" y="268"/>
                    <a:pt x="2745" y="268"/>
                    <a:pt x="2747" y="275"/>
                  </a:cubicBezTo>
                  <a:cubicBezTo>
                    <a:pt x="2748" y="274"/>
                    <a:pt x="2752" y="275"/>
                    <a:pt x="2753" y="275"/>
                  </a:cubicBezTo>
                  <a:cubicBezTo>
                    <a:pt x="2753" y="273"/>
                    <a:pt x="2752" y="271"/>
                    <a:pt x="2753" y="270"/>
                  </a:cubicBezTo>
                  <a:cubicBezTo>
                    <a:pt x="2754" y="265"/>
                    <a:pt x="2759" y="256"/>
                    <a:pt x="2755" y="251"/>
                  </a:cubicBezTo>
                  <a:cubicBezTo>
                    <a:pt x="2764" y="252"/>
                    <a:pt x="2766" y="250"/>
                    <a:pt x="2769" y="253"/>
                  </a:cubicBezTo>
                  <a:cubicBezTo>
                    <a:pt x="2768" y="255"/>
                    <a:pt x="2767" y="256"/>
                    <a:pt x="2763" y="256"/>
                  </a:cubicBezTo>
                  <a:cubicBezTo>
                    <a:pt x="2763" y="257"/>
                    <a:pt x="2763" y="260"/>
                    <a:pt x="2761" y="260"/>
                  </a:cubicBezTo>
                  <a:cubicBezTo>
                    <a:pt x="2763" y="264"/>
                    <a:pt x="2762" y="272"/>
                    <a:pt x="2767" y="274"/>
                  </a:cubicBezTo>
                  <a:cubicBezTo>
                    <a:pt x="2769" y="266"/>
                    <a:pt x="2780" y="274"/>
                    <a:pt x="2783" y="269"/>
                  </a:cubicBezTo>
                  <a:cubicBezTo>
                    <a:pt x="2779" y="269"/>
                    <a:pt x="2783" y="260"/>
                    <a:pt x="2783" y="260"/>
                  </a:cubicBezTo>
                  <a:cubicBezTo>
                    <a:pt x="2784" y="259"/>
                    <a:pt x="2788" y="262"/>
                    <a:pt x="2788" y="262"/>
                  </a:cubicBezTo>
                  <a:cubicBezTo>
                    <a:pt x="2789" y="257"/>
                    <a:pt x="2783" y="255"/>
                    <a:pt x="2785" y="246"/>
                  </a:cubicBezTo>
                  <a:cubicBezTo>
                    <a:pt x="2789" y="246"/>
                    <a:pt x="2789" y="243"/>
                    <a:pt x="2793" y="243"/>
                  </a:cubicBezTo>
                  <a:cubicBezTo>
                    <a:pt x="2796" y="252"/>
                    <a:pt x="2787" y="256"/>
                    <a:pt x="2794" y="262"/>
                  </a:cubicBezTo>
                  <a:cubicBezTo>
                    <a:pt x="2789" y="262"/>
                    <a:pt x="2787" y="264"/>
                    <a:pt x="2786" y="267"/>
                  </a:cubicBezTo>
                  <a:cubicBezTo>
                    <a:pt x="2792" y="267"/>
                    <a:pt x="2789" y="268"/>
                    <a:pt x="2788" y="272"/>
                  </a:cubicBezTo>
                  <a:cubicBezTo>
                    <a:pt x="2787" y="278"/>
                    <a:pt x="2792" y="281"/>
                    <a:pt x="2791" y="283"/>
                  </a:cubicBezTo>
                  <a:cubicBezTo>
                    <a:pt x="2791" y="283"/>
                    <a:pt x="2781" y="286"/>
                    <a:pt x="2789" y="288"/>
                  </a:cubicBezTo>
                  <a:cubicBezTo>
                    <a:pt x="2792" y="284"/>
                    <a:pt x="2797" y="279"/>
                    <a:pt x="2791" y="274"/>
                  </a:cubicBezTo>
                  <a:cubicBezTo>
                    <a:pt x="2795" y="274"/>
                    <a:pt x="2797" y="273"/>
                    <a:pt x="2799" y="271"/>
                  </a:cubicBezTo>
                  <a:cubicBezTo>
                    <a:pt x="2799" y="274"/>
                    <a:pt x="2800" y="286"/>
                    <a:pt x="2802" y="278"/>
                  </a:cubicBezTo>
                  <a:cubicBezTo>
                    <a:pt x="2799" y="266"/>
                    <a:pt x="2808" y="278"/>
                    <a:pt x="2810" y="271"/>
                  </a:cubicBezTo>
                  <a:cubicBezTo>
                    <a:pt x="2805" y="272"/>
                    <a:pt x="2806" y="260"/>
                    <a:pt x="2813" y="264"/>
                  </a:cubicBezTo>
                  <a:cubicBezTo>
                    <a:pt x="2811" y="266"/>
                    <a:pt x="2807" y="273"/>
                    <a:pt x="2816" y="271"/>
                  </a:cubicBezTo>
                  <a:cubicBezTo>
                    <a:pt x="2817" y="268"/>
                    <a:pt x="2812" y="259"/>
                    <a:pt x="2818" y="259"/>
                  </a:cubicBezTo>
                  <a:cubicBezTo>
                    <a:pt x="2817" y="267"/>
                    <a:pt x="2826" y="270"/>
                    <a:pt x="2830" y="275"/>
                  </a:cubicBezTo>
                  <a:cubicBezTo>
                    <a:pt x="2832" y="279"/>
                    <a:pt x="2829" y="288"/>
                    <a:pt x="2838" y="287"/>
                  </a:cubicBezTo>
                  <a:cubicBezTo>
                    <a:pt x="2838" y="283"/>
                    <a:pt x="2830" y="274"/>
                    <a:pt x="2838" y="271"/>
                  </a:cubicBezTo>
                  <a:cubicBezTo>
                    <a:pt x="2842" y="271"/>
                    <a:pt x="2841" y="276"/>
                    <a:pt x="2843" y="278"/>
                  </a:cubicBezTo>
                  <a:cubicBezTo>
                    <a:pt x="2836" y="272"/>
                    <a:pt x="2837" y="282"/>
                    <a:pt x="2841" y="285"/>
                  </a:cubicBezTo>
                  <a:cubicBezTo>
                    <a:pt x="2861" y="284"/>
                    <a:pt x="2841" y="259"/>
                    <a:pt x="2859" y="254"/>
                  </a:cubicBezTo>
                  <a:cubicBezTo>
                    <a:pt x="2859" y="257"/>
                    <a:pt x="2861" y="259"/>
                    <a:pt x="2862" y="261"/>
                  </a:cubicBezTo>
                  <a:cubicBezTo>
                    <a:pt x="2856" y="261"/>
                    <a:pt x="2861" y="269"/>
                    <a:pt x="2860" y="273"/>
                  </a:cubicBezTo>
                  <a:cubicBezTo>
                    <a:pt x="2855" y="271"/>
                    <a:pt x="2855" y="284"/>
                    <a:pt x="2860" y="282"/>
                  </a:cubicBezTo>
                  <a:cubicBezTo>
                    <a:pt x="2860" y="279"/>
                    <a:pt x="2863" y="278"/>
                    <a:pt x="2865" y="277"/>
                  </a:cubicBezTo>
                  <a:cubicBezTo>
                    <a:pt x="2870" y="283"/>
                    <a:pt x="2861" y="286"/>
                    <a:pt x="2871" y="287"/>
                  </a:cubicBezTo>
                  <a:cubicBezTo>
                    <a:pt x="2873" y="278"/>
                    <a:pt x="2862" y="271"/>
                    <a:pt x="2876" y="270"/>
                  </a:cubicBezTo>
                  <a:cubicBezTo>
                    <a:pt x="2879" y="277"/>
                    <a:pt x="2872" y="276"/>
                    <a:pt x="2874" y="282"/>
                  </a:cubicBezTo>
                  <a:cubicBezTo>
                    <a:pt x="2885" y="280"/>
                    <a:pt x="2879" y="273"/>
                    <a:pt x="2879" y="265"/>
                  </a:cubicBezTo>
                  <a:cubicBezTo>
                    <a:pt x="2881" y="265"/>
                    <a:pt x="2884" y="265"/>
                    <a:pt x="2884" y="263"/>
                  </a:cubicBezTo>
                  <a:cubicBezTo>
                    <a:pt x="2886" y="263"/>
                    <a:pt x="2887" y="261"/>
                    <a:pt x="2884" y="260"/>
                  </a:cubicBezTo>
                  <a:cubicBezTo>
                    <a:pt x="2884" y="264"/>
                    <a:pt x="2880" y="261"/>
                    <a:pt x="2879" y="258"/>
                  </a:cubicBezTo>
                  <a:cubicBezTo>
                    <a:pt x="2884" y="259"/>
                    <a:pt x="2884" y="255"/>
                    <a:pt x="2887" y="253"/>
                  </a:cubicBezTo>
                  <a:cubicBezTo>
                    <a:pt x="2887" y="255"/>
                    <a:pt x="2887" y="256"/>
                    <a:pt x="2888" y="257"/>
                  </a:cubicBezTo>
                  <a:cubicBezTo>
                    <a:pt x="2888" y="244"/>
                    <a:pt x="2888" y="244"/>
                    <a:pt x="2888" y="244"/>
                  </a:cubicBezTo>
                  <a:cubicBezTo>
                    <a:pt x="2887" y="244"/>
                    <a:pt x="2885" y="244"/>
                    <a:pt x="2884" y="244"/>
                  </a:cubicBezTo>
                  <a:cubicBezTo>
                    <a:pt x="2884" y="242"/>
                    <a:pt x="2884" y="239"/>
                    <a:pt x="2884" y="237"/>
                  </a:cubicBezTo>
                  <a:cubicBezTo>
                    <a:pt x="2886" y="237"/>
                    <a:pt x="2887" y="238"/>
                    <a:pt x="2888" y="239"/>
                  </a:cubicBezTo>
                  <a:cubicBezTo>
                    <a:pt x="2888" y="205"/>
                    <a:pt x="2888" y="205"/>
                    <a:pt x="2888" y="205"/>
                  </a:cubicBezTo>
                  <a:cubicBezTo>
                    <a:pt x="2885" y="205"/>
                    <a:pt x="2883" y="205"/>
                    <a:pt x="2881" y="209"/>
                  </a:cubicBezTo>
                  <a:cubicBezTo>
                    <a:pt x="2884" y="211"/>
                    <a:pt x="2893" y="228"/>
                    <a:pt x="2881" y="228"/>
                  </a:cubicBezTo>
                  <a:cubicBezTo>
                    <a:pt x="2886" y="223"/>
                    <a:pt x="2880" y="220"/>
                    <a:pt x="2875" y="218"/>
                  </a:cubicBezTo>
                  <a:cubicBezTo>
                    <a:pt x="2875" y="222"/>
                    <a:pt x="2876" y="227"/>
                    <a:pt x="2873" y="228"/>
                  </a:cubicBezTo>
                  <a:cubicBezTo>
                    <a:pt x="2872" y="222"/>
                    <a:pt x="2871" y="217"/>
                    <a:pt x="2862" y="219"/>
                  </a:cubicBezTo>
                  <a:cubicBezTo>
                    <a:pt x="2860" y="224"/>
                    <a:pt x="2865" y="236"/>
                    <a:pt x="2859" y="237"/>
                  </a:cubicBezTo>
                  <a:cubicBezTo>
                    <a:pt x="2855" y="232"/>
                    <a:pt x="2852" y="240"/>
                    <a:pt x="2851" y="235"/>
                  </a:cubicBezTo>
                  <a:cubicBezTo>
                    <a:pt x="2851" y="231"/>
                    <a:pt x="2851" y="228"/>
                    <a:pt x="2853" y="226"/>
                  </a:cubicBezTo>
                  <a:cubicBezTo>
                    <a:pt x="2851" y="225"/>
                    <a:pt x="2848" y="226"/>
                    <a:pt x="2848" y="223"/>
                  </a:cubicBezTo>
                  <a:cubicBezTo>
                    <a:pt x="2857" y="221"/>
                    <a:pt x="2854" y="229"/>
                    <a:pt x="2859" y="230"/>
                  </a:cubicBezTo>
                  <a:cubicBezTo>
                    <a:pt x="2857" y="227"/>
                    <a:pt x="2862" y="218"/>
                    <a:pt x="2856" y="219"/>
                  </a:cubicBezTo>
                  <a:cubicBezTo>
                    <a:pt x="2856" y="221"/>
                    <a:pt x="2851" y="222"/>
                    <a:pt x="2851" y="219"/>
                  </a:cubicBezTo>
                  <a:cubicBezTo>
                    <a:pt x="2851" y="209"/>
                    <a:pt x="2859" y="220"/>
                    <a:pt x="2861" y="214"/>
                  </a:cubicBezTo>
                  <a:cubicBezTo>
                    <a:pt x="2857" y="213"/>
                    <a:pt x="2859" y="209"/>
                    <a:pt x="2861" y="207"/>
                  </a:cubicBezTo>
                  <a:cubicBezTo>
                    <a:pt x="2855" y="204"/>
                    <a:pt x="2860" y="192"/>
                    <a:pt x="2858" y="186"/>
                  </a:cubicBezTo>
                  <a:cubicBezTo>
                    <a:pt x="2862" y="185"/>
                    <a:pt x="2862" y="183"/>
                    <a:pt x="2866" y="183"/>
                  </a:cubicBezTo>
                  <a:cubicBezTo>
                    <a:pt x="2860" y="196"/>
                    <a:pt x="2870" y="207"/>
                    <a:pt x="2864" y="216"/>
                  </a:cubicBezTo>
                  <a:cubicBezTo>
                    <a:pt x="2867" y="216"/>
                    <a:pt x="2870" y="216"/>
                    <a:pt x="2873" y="216"/>
                  </a:cubicBezTo>
                  <a:cubicBezTo>
                    <a:pt x="2869" y="209"/>
                    <a:pt x="2873" y="210"/>
                    <a:pt x="2870" y="204"/>
                  </a:cubicBezTo>
                  <a:cubicBezTo>
                    <a:pt x="2874" y="204"/>
                    <a:pt x="2871" y="198"/>
                    <a:pt x="2875" y="197"/>
                  </a:cubicBezTo>
                  <a:cubicBezTo>
                    <a:pt x="2876" y="200"/>
                    <a:pt x="2878" y="202"/>
                    <a:pt x="2881" y="204"/>
                  </a:cubicBezTo>
                  <a:cubicBezTo>
                    <a:pt x="2877" y="196"/>
                    <a:pt x="2884" y="198"/>
                    <a:pt x="2888" y="197"/>
                  </a:cubicBezTo>
                  <a:cubicBezTo>
                    <a:pt x="2888" y="191"/>
                    <a:pt x="2888" y="191"/>
                    <a:pt x="2888" y="191"/>
                  </a:cubicBezTo>
                  <a:cubicBezTo>
                    <a:pt x="2888" y="190"/>
                    <a:pt x="2888" y="189"/>
                    <a:pt x="2888" y="188"/>
                  </a:cubicBezTo>
                  <a:cubicBezTo>
                    <a:pt x="2888" y="159"/>
                    <a:pt x="2888" y="159"/>
                    <a:pt x="2888" y="159"/>
                  </a:cubicBezTo>
                  <a:cubicBezTo>
                    <a:pt x="2885" y="158"/>
                    <a:pt x="2882" y="158"/>
                    <a:pt x="2877" y="160"/>
                  </a:cubicBezTo>
                  <a:cubicBezTo>
                    <a:pt x="2877" y="157"/>
                    <a:pt x="2880" y="158"/>
                    <a:pt x="2882" y="157"/>
                  </a:cubicBezTo>
                  <a:cubicBezTo>
                    <a:pt x="2883" y="155"/>
                    <a:pt x="2881" y="155"/>
                    <a:pt x="2880" y="155"/>
                  </a:cubicBezTo>
                  <a:cubicBezTo>
                    <a:pt x="2879" y="151"/>
                    <a:pt x="2884" y="152"/>
                    <a:pt x="2888" y="152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2" y="148"/>
                    <a:pt x="2884" y="141"/>
                    <a:pt x="2877" y="143"/>
                  </a:cubicBezTo>
                  <a:cubicBezTo>
                    <a:pt x="2876" y="145"/>
                    <a:pt x="2877" y="148"/>
                    <a:pt x="2874" y="148"/>
                  </a:cubicBezTo>
                  <a:cubicBezTo>
                    <a:pt x="2874" y="140"/>
                    <a:pt x="2871" y="146"/>
                    <a:pt x="2866" y="146"/>
                  </a:cubicBezTo>
                  <a:cubicBezTo>
                    <a:pt x="2866" y="146"/>
                    <a:pt x="2866" y="143"/>
                    <a:pt x="2866" y="143"/>
                  </a:cubicBezTo>
                  <a:cubicBezTo>
                    <a:pt x="2863" y="142"/>
                    <a:pt x="2859" y="146"/>
                    <a:pt x="2858" y="146"/>
                  </a:cubicBezTo>
                  <a:cubicBezTo>
                    <a:pt x="2855" y="145"/>
                    <a:pt x="2855" y="141"/>
                    <a:pt x="2849" y="141"/>
                  </a:cubicBezTo>
                  <a:cubicBezTo>
                    <a:pt x="2848" y="141"/>
                    <a:pt x="2849" y="147"/>
                    <a:pt x="2847" y="146"/>
                  </a:cubicBezTo>
                  <a:cubicBezTo>
                    <a:pt x="2849" y="138"/>
                    <a:pt x="2838" y="143"/>
                    <a:pt x="2835" y="139"/>
                  </a:cubicBezTo>
                  <a:cubicBezTo>
                    <a:pt x="2829" y="145"/>
                    <a:pt x="2836" y="151"/>
                    <a:pt x="2836" y="158"/>
                  </a:cubicBezTo>
                  <a:cubicBezTo>
                    <a:pt x="2832" y="157"/>
                    <a:pt x="2826" y="160"/>
                    <a:pt x="2822" y="158"/>
                  </a:cubicBezTo>
                  <a:cubicBezTo>
                    <a:pt x="2821" y="158"/>
                    <a:pt x="2822" y="151"/>
                    <a:pt x="2816" y="153"/>
                  </a:cubicBezTo>
                  <a:cubicBezTo>
                    <a:pt x="2818" y="161"/>
                    <a:pt x="2815" y="164"/>
                    <a:pt x="2814" y="170"/>
                  </a:cubicBezTo>
                  <a:cubicBezTo>
                    <a:pt x="2823" y="172"/>
                    <a:pt x="2818" y="162"/>
                    <a:pt x="2825" y="163"/>
                  </a:cubicBezTo>
                  <a:cubicBezTo>
                    <a:pt x="2825" y="166"/>
                    <a:pt x="2826" y="168"/>
                    <a:pt x="2828" y="170"/>
                  </a:cubicBezTo>
                  <a:cubicBezTo>
                    <a:pt x="2821" y="171"/>
                    <a:pt x="2822" y="177"/>
                    <a:pt x="2817" y="179"/>
                  </a:cubicBezTo>
                  <a:cubicBezTo>
                    <a:pt x="2818" y="174"/>
                    <a:pt x="2816" y="171"/>
                    <a:pt x="2811" y="170"/>
                  </a:cubicBezTo>
                  <a:cubicBezTo>
                    <a:pt x="2811" y="173"/>
                    <a:pt x="2812" y="177"/>
                    <a:pt x="2809" y="177"/>
                  </a:cubicBezTo>
                  <a:cubicBezTo>
                    <a:pt x="2810" y="171"/>
                    <a:pt x="2798" y="175"/>
                    <a:pt x="2798" y="170"/>
                  </a:cubicBezTo>
                  <a:cubicBezTo>
                    <a:pt x="2805" y="172"/>
                    <a:pt x="2795" y="159"/>
                    <a:pt x="2803" y="161"/>
                  </a:cubicBezTo>
                  <a:cubicBezTo>
                    <a:pt x="2803" y="164"/>
                    <a:pt x="2802" y="169"/>
                    <a:pt x="2806" y="170"/>
                  </a:cubicBezTo>
                  <a:cubicBezTo>
                    <a:pt x="2808" y="158"/>
                    <a:pt x="2819" y="154"/>
                    <a:pt x="2814" y="142"/>
                  </a:cubicBezTo>
                  <a:cubicBezTo>
                    <a:pt x="2815" y="142"/>
                    <a:pt x="2817" y="140"/>
                    <a:pt x="2814" y="139"/>
                  </a:cubicBezTo>
                  <a:cubicBezTo>
                    <a:pt x="2812" y="142"/>
                    <a:pt x="2811" y="145"/>
                    <a:pt x="2808" y="147"/>
                  </a:cubicBezTo>
                  <a:cubicBezTo>
                    <a:pt x="2803" y="140"/>
                    <a:pt x="2792" y="144"/>
                    <a:pt x="2784" y="147"/>
                  </a:cubicBezTo>
                  <a:cubicBezTo>
                    <a:pt x="2787" y="139"/>
                    <a:pt x="2775" y="145"/>
                    <a:pt x="2778" y="138"/>
                  </a:cubicBezTo>
                  <a:cubicBezTo>
                    <a:pt x="2768" y="138"/>
                    <a:pt x="2772" y="150"/>
                    <a:pt x="2759" y="147"/>
                  </a:cubicBezTo>
                  <a:cubicBezTo>
                    <a:pt x="2759" y="144"/>
                    <a:pt x="2759" y="141"/>
                    <a:pt x="2759" y="138"/>
                  </a:cubicBezTo>
                  <a:cubicBezTo>
                    <a:pt x="2749" y="139"/>
                    <a:pt x="2748" y="142"/>
                    <a:pt x="2739" y="138"/>
                  </a:cubicBezTo>
                  <a:cubicBezTo>
                    <a:pt x="2739" y="143"/>
                    <a:pt x="2738" y="146"/>
                    <a:pt x="2734" y="148"/>
                  </a:cubicBezTo>
                  <a:cubicBezTo>
                    <a:pt x="2736" y="143"/>
                    <a:pt x="2733" y="130"/>
                    <a:pt x="2728" y="139"/>
                  </a:cubicBezTo>
                  <a:cubicBezTo>
                    <a:pt x="2733" y="139"/>
                    <a:pt x="2729" y="142"/>
                    <a:pt x="2729" y="146"/>
                  </a:cubicBezTo>
                  <a:cubicBezTo>
                    <a:pt x="2729" y="148"/>
                    <a:pt x="2731" y="148"/>
                    <a:pt x="2731" y="150"/>
                  </a:cubicBezTo>
                  <a:cubicBezTo>
                    <a:pt x="2731" y="150"/>
                    <a:pt x="2728" y="151"/>
                    <a:pt x="2729" y="153"/>
                  </a:cubicBezTo>
                  <a:cubicBezTo>
                    <a:pt x="2729" y="153"/>
                    <a:pt x="2733" y="153"/>
                    <a:pt x="2731" y="155"/>
                  </a:cubicBezTo>
                  <a:cubicBezTo>
                    <a:pt x="2727" y="155"/>
                    <a:pt x="2721" y="156"/>
                    <a:pt x="2720" y="153"/>
                  </a:cubicBezTo>
                  <a:cubicBezTo>
                    <a:pt x="2722" y="148"/>
                    <a:pt x="2728" y="148"/>
                    <a:pt x="2726" y="141"/>
                  </a:cubicBezTo>
                  <a:cubicBezTo>
                    <a:pt x="2717" y="144"/>
                    <a:pt x="2716" y="140"/>
                    <a:pt x="2707" y="144"/>
                  </a:cubicBezTo>
                  <a:cubicBezTo>
                    <a:pt x="2710" y="139"/>
                    <a:pt x="2702" y="133"/>
                    <a:pt x="2701" y="139"/>
                  </a:cubicBezTo>
                  <a:cubicBezTo>
                    <a:pt x="2710" y="142"/>
                    <a:pt x="2694" y="142"/>
                    <a:pt x="2690" y="142"/>
                  </a:cubicBezTo>
                  <a:cubicBezTo>
                    <a:pt x="2688" y="149"/>
                    <a:pt x="2697" y="146"/>
                    <a:pt x="2698" y="151"/>
                  </a:cubicBezTo>
                  <a:cubicBezTo>
                    <a:pt x="2693" y="152"/>
                    <a:pt x="2698" y="161"/>
                    <a:pt x="2693" y="163"/>
                  </a:cubicBezTo>
                  <a:cubicBezTo>
                    <a:pt x="2696" y="164"/>
                    <a:pt x="2699" y="165"/>
                    <a:pt x="2702" y="167"/>
                  </a:cubicBezTo>
                  <a:cubicBezTo>
                    <a:pt x="2701" y="172"/>
                    <a:pt x="2696" y="174"/>
                    <a:pt x="2693" y="177"/>
                  </a:cubicBezTo>
                  <a:cubicBezTo>
                    <a:pt x="2699" y="182"/>
                    <a:pt x="2691" y="188"/>
                    <a:pt x="2699" y="193"/>
                  </a:cubicBezTo>
                  <a:cubicBezTo>
                    <a:pt x="2696" y="194"/>
                    <a:pt x="2694" y="196"/>
                    <a:pt x="2694" y="200"/>
                  </a:cubicBezTo>
                  <a:cubicBezTo>
                    <a:pt x="2697" y="207"/>
                    <a:pt x="2694" y="206"/>
                    <a:pt x="2700" y="210"/>
                  </a:cubicBezTo>
                  <a:cubicBezTo>
                    <a:pt x="2698" y="213"/>
                    <a:pt x="2695" y="215"/>
                    <a:pt x="2691" y="217"/>
                  </a:cubicBezTo>
                  <a:cubicBezTo>
                    <a:pt x="2689" y="215"/>
                    <a:pt x="2688" y="202"/>
                    <a:pt x="2683" y="210"/>
                  </a:cubicBezTo>
                  <a:cubicBezTo>
                    <a:pt x="2690" y="213"/>
                    <a:pt x="2683" y="220"/>
                    <a:pt x="2683" y="224"/>
                  </a:cubicBezTo>
                  <a:cubicBezTo>
                    <a:pt x="2683" y="226"/>
                    <a:pt x="2681" y="227"/>
                    <a:pt x="2681" y="226"/>
                  </a:cubicBezTo>
                  <a:cubicBezTo>
                    <a:pt x="2680" y="231"/>
                    <a:pt x="2684" y="232"/>
                    <a:pt x="2683" y="236"/>
                  </a:cubicBezTo>
                  <a:cubicBezTo>
                    <a:pt x="2680" y="233"/>
                    <a:pt x="2673" y="234"/>
                    <a:pt x="2672" y="229"/>
                  </a:cubicBezTo>
                  <a:cubicBezTo>
                    <a:pt x="2677" y="224"/>
                    <a:pt x="2676" y="212"/>
                    <a:pt x="2669" y="210"/>
                  </a:cubicBezTo>
                  <a:cubicBezTo>
                    <a:pt x="2668" y="216"/>
                    <a:pt x="2673" y="227"/>
                    <a:pt x="2667" y="229"/>
                  </a:cubicBezTo>
                  <a:cubicBezTo>
                    <a:pt x="2662" y="229"/>
                    <a:pt x="2665" y="222"/>
                    <a:pt x="2661" y="222"/>
                  </a:cubicBezTo>
                  <a:cubicBezTo>
                    <a:pt x="2662" y="222"/>
                    <a:pt x="2658" y="231"/>
                    <a:pt x="2653" y="227"/>
                  </a:cubicBezTo>
                  <a:cubicBezTo>
                    <a:pt x="2653" y="222"/>
                    <a:pt x="2661" y="224"/>
                    <a:pt x="2658" y="217"/>
                  </a:cubicBezTo>
                  <a:cubicBezTo>
                    <a:pt x="2650" y="215"/>
                    <a:pt x="2652" y="221"/>
                    <a:pt x="2648" y="222"/>
                  </a:cubicBezTo>
                  <a:cubicBezTo>
                    <a:pt x="2647" y="213"/>
                    <a:pt x="2640" y="222"/>
                    <a:pt x="2634" y="218"/>
                  </a:cubicBezTo>
                  <a:cubicBezTo>
                    <a:pt x="2634" y="224"/>
                    <a:pt x="2635" y="229"/>
                    <a:pt x="2629" y="230"/>
                  </a:cubicBezTo>
                  <a:cubicBezTo>
                    <a:pt x="2627" y="224"/>
                    <a:pt x="2633" y="224"/>
                    <a:pt x="2631" y="218"/>
                  </a:cubicBezTo>
                  <a:cubicBezTo>
                    <a:pt x="2627" y="216"/>
                    <a:pt x="2622" y="221"/>
                    <a:pt x="2620" y="220"/>
                  </a:cubicBezTo>
                  <a:cubicBezTo>
                    <a:pt x="2616" y="219"/>
                    <a:pt x="2619" y="205"/>
                    <a:pt x="2612" y="214"/>
                  </a:cubicBezTo>
                  <a:cubicBezTo>
                    <a:pt x="2616" y="212"/>
                    <a:pt x="2616" y="225"/>
                    <a:pt x="2612" y="223"/>
                  </a:cubicBezTo>
                  <a:cubicBezTo>
                    <a:pt x="2614" y="212"/>
                    <a:pt x="2603" y="213"/>
                    <a:pt x="2598" y="209"/>
                  </a:cubicBezTo>
                  <a:cubicBezTo>
                    <a:pt x="2609" y="212"/>
                    <a:pt x="2608" y="205"/>
                    <a:pt x="2612" y="202"/>
                  </a:cubicBezTo>
                  <a:cubicBezTo>
                    <a:pt x="2621" y="200"/>
                    <a:pt x="2637" y="204"/>
                    <a:pt x="2642" y="199"/>
                  </a:cubicBezTo>
                  <a:cubicBezTo>
                    <a:pt x="2638" y="193"/>
                    <a:pt x="2634" y="203"/>
                    <a:pt x="2631" y="197"/>
                  </a:cubicBezTo>
                  <a:cubicBezTo>
                    <a:pt x="2635" y="196"/>
                    <a:pt x="2635" y="193"/>
                    <a:pt x="2639" y="192"/>
                  </a:cubicBezTo>
                  <a:cubicBezTo>
                    <a:pt x="2643" y="195"/>
                    <a:pt x="2642" y="202"/>
                    <a:pt x="2650" y="201"/>
                  </a:cubicBezTo>
                  <a:cubicBezTo>
                    <a:pt x="2647" y="194"/>
                    <a:pt x="2659" y="198"/>
                    <a:pt x="2661" y="194"/>
                  </a:cubicBezTo>
                  <a:cubicBezTo>
                    <a:pt x="2662" y="199"/>
                    <a:pt x="2666" y="200"/>
                    <a:pt x="2669" y="203"/>
                  </a:cubicBezTo>
                  <a:cubicBezTo>
                    <a:pt x="2665" y="203"/>
                    <a:pt x="2662" y="205"/>
                    <a:pt x="2661" y="208"/>
                  </a:cubicBezTo>
                  <a:cubicBezTo>
                    <a:pt x="2669" y="206"/>
                    <a:pt x="2671" y="210"/>
                    <a:pt x="2678" y="210"/>
                  </a:cubicBezTo>
                  <a:cubicBezTo>
                    <a:pt x="2678" y="205"/>
                    <a:pt x="2674" y="205"/>
                    <a:pt x="2672" y="203"/>
                  </a:cubicBezTo>
                  <a:cubicBezTo>
                    <a:pt x="2679" y="199"/>
                    <a:pt x="2680" y="204"/>
                    <a:pt x="2683" y="203"/>
                  </a:cubicBezTo>
                  <a:cubicBezTo>
                    <a:pt x="2684" y="202"/>
                    <a:pt x="2682" y="197"/>
                    <a:pt x="2683" y="196"/>
                  </a:cubicBezTo>
                  <a:cubicBezTo>
                    <a:pt x="2685" y="194"/>
                    <a:pt x="2686" y="198"/>
                    <a:pt x="2686" y="198"/>
                  </a:cubicBezTo>
                  <a:cubicBezTo>
                    <a:pt x="2690" y="199"/>
                    <a:pt x="2695" y="192"/>
                    <a:pt x="2694" y="189"/>
                  </a:cubicBezTo>
                  <a:cubicBezTo>
                    <a:pt x="2687" y="186"/>
                    <a:pt x="2684" y="199"/>
                    <a:pt x="2680" y="191"/>
                  </a:cubicBezTo>
                  <a:cubicBezTo>
                    <a:pt x="2682" y="188"/>
                    <a:pt x="2686" y="187"/>
                    <a:pt x="2691" y="186"/>
                  </a:cubicBezTo>
                  <a:cubicBezTo>
                    <a:pt x="2691" y="182"/>
                    <a:pt x="2691" y="179"/>
                    <a:pt x="2693" y="177"/>
                  </a:cubicBezTo>
                  <a:cubicBezTo>
                    <a:pt x="2690" y="175"/>
                    <a:pt x="2688" y="172"/>
                    <a:pt x="2688" y="167"/>
                  </a:cubicBezTo>
                  <a:cubicBezTo>
                    <a:pt x="2684" y="167"/>
                    <a:pt x="2681" y="167"/>
                    <a:pt x="2682" y="163"/>
                  </a:cubicBezTo>
                  <a:cubicBezTo>
                    <a:pt x="2688" y="168"/>
                    <a:pt x="2689" y="159"/>
                    <a:pt x="2693" y="156"/>
                  </a:cubicBezTo>
                  <a:cubicBezTo>
                    <a:pt x="2690" y="155"/>
                    <a:pt x="2685" y="156"/>
                    <a:pt x="2685" y="154"/>
                  </a:cubicBezTo>
                  <a:cubicBezTo>
                    <a:pt x="2688" y="147"/>
                    <a:pt x="2688" y="141"/>
                    <a:pt x="2685" y="135"/>
                  </a:cubicBezTo>
                  <a:cubicBezTo>
                    <a:pt x="2694" y="138"/>
                    <a:pt x="2686" y="127"/>
                    <a:pt x="2693" y="128"/>
                  </a:cubicBezTo>
                  <a:cubicBezTo>
                    <a:pt x="2696" y="128"/>
                    <a:pt x="2696" y="131"/>
                    <a:pt x="2695" y="134"/>
                  </a:cubicBezTo>
                  <a:cubicBezTo>
                    <a:pt x="2702" y="130"/>
                    <a:pt x="2705" y="137"/>
                    <a:pt x="2709" y="132"/>
                  </a:cubicBezTo>
                  <a:cubicBezTo>
                    <a:pt x="2706" y="130"/>
                    <a:pt x="2704" y="127"/>
                    <a:pt x="2701" y="125"/>
                  </a:cubicBezTo>
                  <a:cubicBezTo>
                    <a:pt x="2705" y="125"/>
                    <a:pt x="2710" y="125"/>
                    <a:pt x="2709" y="120"/>
                  </a:cubicBezTo>
                  <a:cubicBezTo>
                    <a:pt x="2701" y="123"/>
                    <a:pt x="2701" y="120"/>
                    <a:pt x="2690" y="121"/>
                  </a:cubicBezTo>
                  <a:cubicBezTo>
                    <a:pt x="2690" y="126"/>
                    <a:pt x="2688" y="128"/>
                    <a:pt x="2682" y="128"/>
                  </a:cubicBezTo>
                  <a:cubicBezTo>
                    <a:pt x="2682" y="125"/>
                    <a:pt x="2685" y="124"/>
                    <a:pt x="2684" y="121"/>
                  </a:cubicBezTo>
                  <a:cubicBezTo>
                    <a:pt x="2672" y="118"/>
                    <a:pt x="2679" y="130"/>
                    <a:pt x="2668" y="128"/>
                  </a:cubicBezTo>
                  <a:cubicBezTo>
                    <a:pt x="2674" y="124"/>
                    <a:pt x="2667" y="121"/>
                    <a:pt x="2668" y="119"/>
                  </a:cubicBezTo>
                  <a:cubicBezTo>
                    <a:pt x="2668" y="118"/>
                    <a:pt x="2673" y="117"/>
                    <a:pt x="2670" y="114"/>
                  </a:cubicBezTo>
                  <a:cubicBezTo>
                    <a:pt x="2670" y="113"/>
                    <a:pt x="2664" y="114"/>
                    <a:pt x="2665" y="112"/>
                  </a:cubicBezTo>
                  <a:cubicBezTo>
                    <a:pt x="2678" y="107"/>
                    <a:pt x="2672" y="119"/>
                    <a:pt x="2681" y="118"/>
                  </a:cubicBezTo>
                  <a:cubicBezTo>
                    <a:pt x="2691" y="118"/>
                    <a:pt x="2676" y="111"/>
                    <a:pt x="2684" y="111"/>
                  </a:cubicBezTo>
                  <a:cubicBezTo>
                    <a:pt x="2687" y="112"/>
                    <a:pt x="2687" y="115"/>
                    <a:pt x="2687" y="118"/>
                  </a:cubicBezTo>
                  <a:cubicBezTo>
                    <a:pt x="2699" y="117"/>
                    <a:pt x="2715" y="120"/>
                    <a:pt x="2723" y="115"/>
                  </a:cubicBezTo>
                  <a:cubicBezTo>
                    <a:pt x="2727" y="117"/>
                    <a:pt x="2722" y="127"/>
                    <a:pt x="2731" y="124"/>
                  </a:cubicBezTo>
                  <a:cubicBezTo>
                    <a:pt x="2731" y="122"/>
                    <a:pt x="2730" y="118"/>
                    <a:pt x="2734" y="117"/>
                  </a:cubicBezTo>
                  <a:cubicBezTo>
                    <a:pt x="2737" y="117"/>
                    <a:pt x="2741" y="117"/>
                    <a:pt x="2745" y="117"/>
                  </a:cubicBezTo>
                  <a:cubicBezTo>
                    <a:pt x="2744" y="123"/>
                    <a:pt x="2745" y="126"/>
                    <a:pt x="2747" y="129"/>
                  </a:cubicBezTo>
                  <a:cubicBezTo>
                    <a:pt x="2739" y="126"/>
                    <a:pt x="2740" y="128"/>
                    <a:pt x="2737" y="134"/>
                  </a:cubicBezTo>
                  <a:cubicBezTo>
                    <a:pt x="2748" y="138"/>
                    <a:pt x="2756" y="128"/>
                    <a:pt x="2758" y="129"/>
                  </a:cubicBezTo>
                  <a:cubicBezTo>
                    <a:pt x="2762" y="129"/>
                    <a:pt x="2763" y="138"/>
                    <a:pt x="2767" y="136"/>
                  </a:cubicBezTo>
                  <a:cubicBezTo>
                    <a:pt x="2764" y="127"/>
                    <a:pt x="2779" y="132"/>
                    <a:pt x="2775" y="121"/>
                  </a:cubicBezTo>
                  <a:cubicBezTo>
                    <a:pt x="2765" y="119"/>
                    <a:pt x="2771" y="130"/>
                    <a:pt x="2761" y="129"/>
                  </a:cubicBezTo>
                  <a:cubicBezTo>
                    <a:pt x="2770" y="121"/>
                    <a:pt x="2751" y="126"/>
                    <a:pt x="2753" y="117"/>
                  </a:cubicBezTo>
                  <a:cubicBezTo>
                    <a:pt x="2759" y="122"/>
                    <a:pt x="2765" y="117"/>
                    <a:pt x="2769" y="114"/>
                  </a:cubicBezTo>
                  <a:cubicBezTo>
                    <a:pt x="2770" y="117"/>
                    <a:pt x="2772" y="118"/>
                    <a:pt x="2775" y="119"/>
                  </a:cubicBezTo>
                  <a:cubicBezTo>
                    <a:pt x="2778" y="115"/>
                    <a:pt x="2772" y="107"/>
                    <a:pt x="2780" y="102"/>
                  </a:cubicBezTo>
                  <a:cubicBezTo>
                    <a:pt x="2779" y="108"/>
                    <a:pt x="2781" y="112"/>
                    <a:pt x="2783" y="114"/>
                  </a:cubicBezTo>
                  <a:cubicBezTo>
                    <a:pt x="2780" y="114"/>
                    <a:pt x="2780" y="118"/>
                    <a:pt x="2783" y="119"/>
                  </a:cubicBezTo>
                  <a:cubicBezTo>
                    <a:pt x="2784" y="117"/>
                    <a:pt x="2785" y="116"/>
                    <a:pt x="2788" y="116"/>
                  </a:cubicBezTo>
                  <a:cubicBezTo>
                    <a:pt x="2789" y="112"/>
                    <a:pt x="2785" y="111"/>
                    <a:pt x="2786" y="107"/>
                  </a:cubicBezTo>
                  <a:cubicBezTo>
                    <a:pt x="2790" y="107"/>
                    <a:pt x="2796" y="106"/>
                    <a:pt x="2797" y="109"/>
                  </a:cubicBezTo>
                  <a:cubicBezTo>
                    <a:pt x="2797" y="114"/>
                    <a:pt x="2794" y="117"/>
                    <a:pt x="2788" y="116"/>
                  </a:cubicBezTo>
                  <a:cubicBezTo>
                    <a:pt x="2791" y="124"/>
                    <a:pt x="2785" y="124"/>
                    <a:pt x="2778" y="124"/>
                  </a:cubicBezTo>
                  <a:cubicBezTo>
                    <a:pt x="2775" y="129"/>
                    <a:pt x="2782" y="137"/>
                    <a:pt x="2783" y="131"/>
                  </a:cubicBezTo>
                  <a:cubicBezTo>
                    <a:pt x="2780" y="131"/>
                    <a:pt x="2780" y="127"/>
                    <a:pt x="2783" y="126"/>
                  </a:cubicBezTo>
                  <a:cubicBezTo>
                    <a:pt x="2790" y="133"/>
                    <a:pt x="2785" y="127"/>
                    <a:pt x="2794" y="126"/>
                  </a:cubicBezTo>
                  <a:cubicBezTo>
                    <a:pt x="2794" y="130"/>
                    <a:pt x="2797" y="131"/>
                    <a:pt x="2797" y="135"/>
                  </a:cubicBezTo>
                  <a:cubicBezTo>
                    <a:pt x="2806" y="138"/>
                    <a:pt x="2799" y="127"/>
                    <a:pt x="2808" y="130"/>
                  </a:cubicBezTo>
                  <a:cubicBezTo>
                    <a:pt x="2808" y="133"/>
                    <a:pt x="2804" y="133"/>
                    <a:pt x="2805" y="137"/>
                  </a:cubicBezTo>
                  <a:cubicBezTo>
                    <a:pt x="2816" y="140"/>
                    <a:pt x="2809" y="128"/>
                    <a:pt x="2819" y="130"/>
                  </a:cubicBezTo>
                  <a:cubicBezTo>
                    <a:pt x="2817" y="132"/>
                    <a:pt x="2813" y="139"/>
                    <a:pt x="2822" y="137"/>
                  </a:cubicBezTo>
                  <a:cubicBezTo>
                    <a:pt x="2822" y="128"/>
                    <a:pt x="2825" y="128"/>
                    <a:pt x="2821" y="121"/>
                  </a:cubicBezTo>
                  <a:cubicBezTo>
                    <a:pt x="2830" y="123"/>
                    <a:pt x="2842" y="119"/>
                    <a:pt x="2854" y="122"/>
                  </a:cubicBezTo>
                  <a:cubicBezTo>
                    <a:pt x="2855" y="118"/>
                    <a:pt x="2851" y="118"/>
                    <a:pt x="2849" y="115"/>
                  </a:cubicBezTo>
                  <a:cubicBezTo>
                    <a:pt x="2852" y="109"/>
                    <a:pt x="2840" y="104"/>
                    <a:pt x="2849" y="101"/>
                  </a:cubicBezTo>
                  <a:cubicBezTo>
                    <a:pt x="2850" y="101"/>
                    <a:pt x="2852" y="101"/>
                    <a:pt x="2854" y="101"/>
                  </a:cubicBezTo>
                  <a:cubicBezTo>
                    <a:pt x="2856" y="105"/>
                    <a:pt x="2851" y="113"/>
                    <a:pt x="2857" y="113"/>
                  </a:cubicBezTo>
                  <a:cubicBezTo>
                    <a:pt x="2856" y="103"/>
                    <a:pt x="2863" y="111"/>
                    <a:pt x="2868" y="110"/>
                  </a:cubicBezTo>
                  <a:cubicBezTo>
                    <a:pt x="2868" y="107"/>
                    <a:pt x="2867" y="102"/>
                    <a:pt x="2871" y="101"/>
                  </a:cubicBezTo>
                  <a:cubicBezTo>
                    <a:pt x="2869" y="104"/>
                    <a:pt x="2874" y="113"/>
                    <a:pt x="2868" y="113"/>
                  </a:cubicBezTo>
                  <a:cubicBezTo>
                    <a:pt x="2858" y="108"/>
                    <a:pt x="2860" y="115"/>
                    <a:pt x="2857" y="122"/>
                  </a:cubicBezTo>
                  <a:cubicBezTo>
                    <a:pt x="2862" y="124"/>
                    <a:pt x="2866" y="120"/>
                    <a:pt x="2868" y="120"/>
                  </a:cubicBezTo>
                  <a:cubicBezTo>
                    <a:pt x="2871" y="120"/>
                    <a:pt x="2873" y="123"/>
                    <a:pt x="2876" y="122"/>
                  </a:cubicBezTo>
                  <a:cubicBezTo>
                    <a:pt x="2878" y="121"/>
                    <a:pt x="2876" y="116"/>
                    <a:pt x="2879" y="117"/>
                  </a:cubicBezTo>
                  <a:cubicBezTo>
                    <a:pt x="2877" y="123"/>
                    <a:pt x="2883" y="122"/>
                    <a:pt x="2888" y="122"/>
                  </a:cubicBezTo>
                  <a:cubicBezTo>
                    <a:pt x="2888" y="114"/>
                    <a:pt x="2888" y="114"/>
                    <a:pt x="2888" y="114"/>
                  </a:cubicBezTo>
                  <a:cubicBezTo>
                    <a:pt x="2885" y="113"/>
                    <a:pt x="2882" y="111"/>
                    <a:pt x="2876" y="113"/>
                  </a:cubicBezTo>
                  <a:cubicBezTo>
                    <a:pt x="2877" y="110"/>
                    <a:pt x="2881" y="110"/>
                    <a:pt x="2884" y="110"/>
                  </a:cubicBezTo>
                  <a:cubicBezTo>
                    <a:pt x="2887" y="110"/>
                    <a:pt x="2886" y="107"/>
                    <a:pt x="2887" y="105"/>
                  </a:cubicBezTo>
                  <a:cubicBezTo>
                    <a:pt x="2887" y="105"/>
                    <a:pt x="2888" y="105"/>
                    <a:pt x="2888" y="105"/>
                  </a:cubicBezTo>
                  <a:cubicBezTo>
                    <a:pt x="2888" y="74"/>
                    <a:pt x="2888" y="74"/>
                    <a:pt x="2888" y="74"/>
                  </a:cubicBezTo>
                  <a:cubicBezTo>
                    <a:pt x="2887" y="73"/>
                    <a:pt x="2887" y="72"/>
                    <a:pt x="2888" y="70"/>
                  </a:cubicBezTo>
                  <a:lnTo>
                    <a:pt x="2888" y="0"/>
                  </a:lnTo>
                  <a:close/>
                  <a:moveTo>
                    <a:pt x="220" y="274"/>
                  </a:moveTo>
                  <a:cubicBezTo>
                    <a:pt x="213" y="274"/>
                    <a:pt x="214" y="263"/>
                    <a:pt x="217" y="260"/>
                  </a:cubicBezTo>
                  <a:cubicBezTo>
                    <a:pt x="224" y="260"/>
                    <a:pt x="219" y="270"/>
                    <a:pt x="220" y="274"/>
                  </a:cubicBezTo>
                  <a:close/>
                  <a:moveTo>
                    <a:pt x="227" y="203"/>
                  </a:moveTo>
                  <a:cubicBezTo>
                    <a:pt x="224" y="203"/>
                    <a:pt x="225" y="199"/>
                    <a:pt x="225" y="196"/>
                  </a:cubicBezTo>
                  <a:cubicBezTo>
                    <a:pt x="229" y="195"/>
                    <a:pt x="230" y="198"/>
                    <a:pt x="230" y="201"/>
                  </a:cubicBezTo>
                  <a:cubicBezTo>
                    <a:pt x="228" y="201"/>
                    <a:pt x="228" y="202"/>
                    <a:pt x="227" y="203"/>
                  </a:cubicBezTo>
                  <a:close/>
                  <a:moveTo>
                    <a:pt x="305" y="256"/>
                  </a:moveTo>
                  <a:cubicBezTo>
                    <a:pt x="297" y="258"/>
                    <a:pt x="298" y="253"/>
                    <a:pt x="291" y="254"/>
                  </a:cubicBezTo>
                  <a:cubicBezTo>
                    <a:pt x="292" y="247"/>
                    <a:pt x="306" y="249"/>
                    <a:pt x="305" y="256"/>
                  </a:cubicBezTo>
                  <a:close/>
                  <a:moveTo>
                    <a:pt x="340" y="197"/>
                  </a:moveTo>
                  <a:cubicBezTo>
                    <a:pt x="342" y="197"/>
                    <a:pt x="343" y="197"/>
                    <a:pt x="345" y="197"/>
                  </a:cubicBezTo>
                  <a:cubicBezTo>
                    <a:pt x="346" y="203"/>
                    <a:pt x="325" y="196"/>
                    <a:pt x="340" y="197"/>
                  </a:cubicBezTo>
                  <a:close/>
                  <a:moveTo>
                    <a:pt x="357" y="258"/>
                  </a:moveTo>
                  <a:cubicBezTo>
                    <a:pt x="359" y="255"/>
                    <a:pt x="361" y="253"/>
                    <a:pt x="357" y="253"/>
                  </a:cubicBezTo>
                  <a:cubicBezTo>
                    <a:pt x="361" y="245"/>
                    <a:pt x="364" y="258"/>
                    <a:pt x="371" y="255"/>
                  </a:cubicBezTo>
                  <a:cubicBezTo>
                    <a:pt x="372" y="260"/>
                    <a:pt x="361" y="256"/>
                    <a:pt x="357" y="258"/>
                  </a:cubicBezTo>
                  <a:close/>
                  <a:moveTo>
                    <a:pt x="415" y="259"/>
                  </a:moveTo>
                  <a:cubicBezTo>
                    <a:pt x="409" y="260"/>
                    <a:pt x="405" y="259"/>
                    <a:pt x="401" y="257"/>
                  </a:cubicBezTo>
                  <a:cubicBezTo>
                    <a:pt x="401" y="253"/>
                    <a:pt x="419" y="252"/>
                    <a:pt x="415" y="259"/>
                  </a:cubicBezTo>
                  <a:close/>
                  <a:moveTo>
                    <a:pt x="480" y="201"/>
                  </a:moveTo>
                  <a:cubicBezTo>
                    <a:pt x="482" y="201"/>
                    <a:pt x="484" y="201"/>
                    <a:pt x="485" y="201"/>
                  </a:cubicBezTo>
                  <a:cubicBezTo>
                    <a:pt x="486" y="208"/>
                    <a:pt x="465" y="201"/>
                    <a:pt x="480" y="201"/>
                  </a:cubicBezTo>
                  <a:close/>
                  <a:moveTo>
                    <a:pt x="502" y="201"/>
                  </a:moveTo>
                  <a:cubicBezTo>
                    <a:pt x="514" y="202"/>
                    <a:pt x="499" y="215"/>
                    <a:pt x="502" y="201"/>
                  </a:cubicBezTo>
                  <a:close/>
                  <a:moveTo>
                    <a:pt x="538" y="205"/>
                  </a:moveTo>
                  <a:cubicBezTo>
                    <a:pt x="538" y="200"/>
                    <a:pt x="545" y="200"/>
                    <a:pt x="548" y="203"/>
                  </a:cubicBezTo>
                  <a:cubicBezTo>
                    <a:pt x="548" y="206"/>
                    <a:pt x="542" y="205"/>
                    <a:pt x="538" y="205"/>
                  </a:cubicBezTo>
                  <a:close/>
                  <a:moveTo>
                    <a:pt x="552" y="264"/>
                  </a:moveTo>
                  <a:cubicBezTo>
                    <a:pt x="551" y="259"/>
                    <a:pt x="554" y="257"/>
                    <a:pt x="555" y="254"/>
                  </a:cubicBezTo>
                  <a:cubicBezTo>
                    <a:pt x="561" y="256"/>
                    <a:pt x="563" y="264"/>
                    <a:pt x="552" y="264"/>
                  </a:cubicBezTo>
                  <a:close/>
                  <a:moveTo>
                    <a:pt x="573" y="204"/>
                  </a:moveTo>
                  <a:cubicBezTo>
                    <a:pt x="574" y="199"/>
                    <a:pt x="587" y="203"/>
                    <a:pt x="592" y="202"/>
                  </a:cubicBezTo>
                  <a:cubicBezTo>
                    <a:pt x="591" y="207"/>
                    <a:pt x="579" y="203"/>
                    <a:pt x="573" y="204"/>
                  </a:cubicBezTo>
                  <a:close/>
                  <a:moveTo>
                    <a:pt x="592" y="199"/>
                  </a:moveTo>
                  <a:cubicBezTo>
                    <a:pt x="587" y="198"/>
                    <a:pt x="592" y="195"/>
                    <a:pt x="592" y="192"/>
                  </a:cubicBezTo>
                  <a:cubicBezTo>
                    <a:pt x="597" y="194"/>
                    <a:pt x="593" y="197"/>
                    <a:pt x="592" y="199"/>
                  </a:cubicBezTo>
                  <a:close/>
                  <a:moveTo>
                    <a:pt x="624" y="265"/>
                  </a:moveTo>
                  <a:cubicBezTo>
                    <a:pt x="625" y="262"/>
                    <a:pt x="627" y="260"/>
                    <a:pt x="632" y="260"/>
                  </a:cubicBezTo>
                  <a:cubicBezTo>
                    <a:pt x="631" y="263"/>
                    <a:pt x="628" y="265"/>
                    <a:pt x="624" y="265"/>
                  </a:cubicBezTo>
                  <a:close/>
                  <a:moveTo>
                    <a:pt x="653" y="203"/>
                  </a:moveTo>
                  <a:cubicBezTo>
                    <a:pt x="655" y="203"/>
                    <a:pt x="658" y="203"/>
                    <a:pt x="661" y="203"/>
                  </a:cubicBezTo>
                  <a:cubicBezTo>
                    <a:pt x="661" y="208"/>
                    <a:pt x="651" y="204"/>
                    <a:pt x="647" y="205"/>
                  </a:cubicBezTo>
                  <a:cubicBezTo>
                    <a:pt x="647" y="203"/>
                    <a:pt x="651" y="204"/>
                    <a:pt x="653" y="203"/>
                  </a:cubicBezTo>
                  <a:close/>
                  <a:moveTo>
                    <a:pt x="656" y="264"/>
                  </a:moveTo>
                  <a:cubicBezTo>
                    <a:pt x="650" y="263"/>
                    <a:pt x="639" y="267"/>
                    <a:pt x="643" y="260"/>
                  </a:cubicBezTo>
                  <a:cubicBezTo>
                    <a:pt x="652" y="263"/>
                    <a:pt x="661" y="258"/>
                    <a:pt x="667" y="264"/>
                  </a:cubicBezTo>
                  <a:cubicBezTo>
                    <a:pt x="676" y="266"/>
                    <a:pt x="663" y="265"/>
                    <a:pt x="656" y="264"/>
                  </a:cubicBezTo>
                  <a:close/>
                  <a:moveTo>
                    <a:pt x="690" y="266"/>
                  </a:moveTo>
                  <a:cubicBezTo>
                    <a:pt x="697" y="257"/>
                    <a:pt x="707" y="271"/>
                    <a:pt x="690" y="266"/>
                  </a:cubicBezTo>
                  <a:close/>
                  <a:moveTo>
                    <a:pt x="714" y="263"/>
                  </a:moveTo>
                  <a:cubicBezTo>
                    <a:pt x="716" y="263"/>
                    <a:pt x="718" y="263"/>
                    <a:pt x="720" y="263"/>
                  </a:cubicBezTo>
                  <a:cubicBezTo>
                    <a:pt x="720" y="270"/>
                    <a:pt x="699" y="263"/>
                    <a:pt x="714" y="263"/>
                  </a:cubicBezTo>
                  <a:close/>
                  <a:moveTo>
                    <a:pt x="738" y="209"/>
                  </a:moveTo>
                  <a:cubicBezTo>
                    <a:pt x="737" y="208"/>
                    <a:pt x="745" y="206"/>
                    <a:pt x="743" y="204"/>
                  </a:cubicBezTo>
                  <a:cubicBezTo>
                    <a:pt x="753" y="208"/>
                    <a:pt x="740" y="210"/>
                    <a:pt x="738" y="209"/>
                  </a:cubicBezTo>
                  <a:close/>
                  <a:moveTo>
                    <a:pt x="777" y="267"/>
                  </a:moveTo>
                  <a:cubicBezTo>
                    <a:pt x="773" y="266"/>
                    <a:pt x="763" y="269"/>
                    <a:pt x="766" y="262"/>
                  </a:cubicBezTo>
                  <a:cubicBezTo>
                    <a:pt x="773" y="263"/>
                    <a:pt x="779" y="265"/>
                    <a:pt x="788" y="264"/>
                  </a:cubicBezTo>
                  <a:cubicBezTo>
                    <a:pt x="788" y="270"/>
                    <a:pt x="782" y="267"/>
                    <a:pt x="777" y="267"/>
                  </a:cubicBezTo>
                  <a:close/>
                  <a:moveTo>
                    <a:pt x="791" y="269"/>
                  </a:moveTo>
                  <a:cubicBezTo>
                    <a:pt x="793" y="266"/>
                    <a:pt x="797" y="264"/>
                    <a:pt x="802" y="264"/>
                  </a:cubicBezTo>
                  <a:cubicBezTo>
                    <a:pt x="801" y="268"/>
                    <a:pt x="797" y="269"/>
                    <a:pt x="791" y="269"/>
                  </a:cubicBezTo>
                  <a:close/>
                  <a:moveTo>
                    <a:pt x="810" y="261"/>
                  </a:moveTo>
                  <a:cubicBezTo>
                    <a:pt x="814" y="263"/>
                    <a:pt x="815" y="266"/>
                    <a:pt x="816" y="271"/>
                  </a:cubicBezTo>
                  <a:cubicBezTo>
                    <a:pt x="807" y="272"/>
                    <a:pt x="806" y="265"/>
                    <a:pt x="810" y="261"/>
                  </a:cubicBezTo>
                  <a:close/>
                  <a:moveTo>
                    <a:pt x="824" y="264"/>
                  </a:moveTo>
                  <a:cubicBezTo>
                    <a:pt x="830" y="269"/>
                    <a:pt x="836" y="261"/>
                    <a:pt x="840" y="266"/>
                  </a:cubicBezTo>
                  <a:cubicBezTo>
                    <a:pt x="836" y="270"/>
                    <a:pt x="824" y="273"/>
                    <a:pt x="824" y="264"/>
                  </a:cubicBezTo>
                  <a:close/>
                  <a:moveTo>
                    <a:pt x="865" y="268"/>
                  </a:moveTo>
                  <a:cubicBezTo>
                    <a:pt x="867" y="267"/>
                    <a:pt x="869" y="267"/>
                    <a:pt x="871" y="267"/>
                  </a:cubicBezTo>
                  <a:cubicBezTo>
                    <a:pt x="871" y="274"/>
                    <a:pt x="850" y="267"/>
                    <a:pt x="865" y="268"/>
                  </a:cubicBezTo>
                  <a:close/>
                  <a:moveTo>
                    <a:pt x="866" y="326"/>
                  </a:moveTo>
                  <a:cubicBezTo>
                    <a:pt x="866" y="325"/>
                    <a:pt x="866" y="323"/>
                    <a:pt x="866" y="321"/>
                  </a:cubicBezTo>
                  <a:cubicBezTo>
                    <a:pt x="868" y="321"/>
                    <a:pt x="870" y="321"/>
                    <a:pt x="871" y="321"/>
                  </a:cubicBezTo>
                  <a:cubicBezTo>
                    <a:pt x="872" y="323"/>
                    <a:pt x="872" y="325"/>
                    <a:pt x="872" y="326"/>
                  </a:cubicBezTo>
                  <a:cubicBezTo>
                    <a:pt x="870" y="326"/>
                    <a:pt x="868" y="326"/>
                    <a:pt x="866" y="326"/>
                  </a:cubicBezTo>
                  <a:close/>
                  <a:moveTo>
                    <a:pt x="903" y="269"/>
                  </a:moveTo>
                  <a:cubicBezTo>
                    <a:pt x="912" y="260"/>
                    <a:pt x="913" y="276"/>
                    <a:pt x="903" y="269"/>
                  </a:cubicBezTo>
                  <a:close/>
                  <a:moveTo>
                    <a:pt x="925" y="266"/>
                  </a:moveTo>
                  <a:cubicBezTo>
                    <a:pt x="930" y="266"/>
                    <a:pt x="931" y="269"/>
                    <a:pt x="936" y="269"/>
                  </a:cubicBezTo>
                  <a:cubicBezTo>
                    <a:pt x="937" y="273"/>
                    <a:pt x="921" y="273"/>
                    <a:pt x="925" y="266"/>
                  </a:cubicBezTo>
                  <a:close/>
                  <a:moveTo>
                    <a:pt x="947" y="271"/>
                  </a:moveTo>
                  <a:cubicBezTo>
                    <a:pt x="945" y="264"/>
                    <a:pt x="953" y="266"/>
                    <a:pt x="958" y="266"/>
                  </a:cubicBezTo>
                  <a:cubicBezTo>
                    <a:pt x="958" y="270"/>
                    <a:pt x="954" y="271"/>
                    <a:pt x="947" y="271"/>
                  </a:cubicBezTo>
                  <a:close/>
                  <a:moveTo>
                    <a:pt x="961" y="271"/>
                  </a:moveTo>
                  <a:cubicBezTo>
                    <a:pt x="963" y="269"/>
                    <a:pt x="964" y="267"/>
                    <a:pt x="964" y="263"/>
                  </a:cubicBezTo>
                  <a:cubicBezTo>
                    <a:pt x="971" y="263"/>
                    <a:pt x="972" y="267"/>
                    <a:pt x="978" y="268"/>
                  </a:cubicBezTo>
                  <a:cubicBezTo>
                    <a:pt x="977" y="273"/>
                    <a:pt x="966" y="269"/>
                    <a:pt x="961" y="271"/>
                  </a:cubicBezTo>
                  <a:close/>
                  <a:moveTo>
                    <a:pt x="986" y="275"/>
                  </a:moveTo>
                  <a:cubicBezTo>
                    <a:pt x="985" y="273"/>
                    <a:pt x="987" y="273"/>
                    <a:pt x="989" y="272"/>
                  </a:cubicBezTo>
                  <a:cubicBezTo>
                    <a:pt x="985" y="269"/>
                    <a:pt x="980" y="268"/>
                    <a:pt x="986" y="263"/>
                  </a:cubicBezTo>
                  <a:cubicBezTo>
                    <a:pt x="994" y="261"/>
                    <a:pt x="989" y="271"/>
                    <a:pt x="1000" y="268"/>
                  </a:cubicBezTo>
                  <a:cubicBezTo>
                    <a:pt x="995" y="270"/>
                    <a:pt x="993" y="274"/>
                    <a:pt x="986" y="275"/>
                  </a:cubicBezTo>
                  <a:close/>
                  <a:moveTo>
                    <a:pt x="1011" y="272"/>
                  </a:moveTo>
                  <a:cubicBezTo>
                    <a:pt x="1011" y="270"/>
                    <a:pt x="1011" y="269"/>
                    <a:pt x="1010" y="267"/>
                  </a:cubicBezTo>
                  <a:cubicBezTo>
                    <a:pt x="1012" y="267"/>
                    <a:pt x="1014" y="267"/>
                    <a:pt x="1016" y="267"/>
                  </a:cubicBezTo>
                  <a:cubicBezTo>
                    <a:pt x="1016" y="269"/>
                    <a:pt x="1016" y="270"/>
                    <a:pt x="1016" y="272"/>
                  </a:cubicBezTo>
                  <a:cubicBezTo>
                    <a:pt x="1014" y="272"/>
                    <a:pt x="1012" y="272"/>
                    <a:pt x="1011" y="272"/>
                  </a:cubicBezTo>
                  <a:close/>
                  <a:moveTo>
                    <a:pt x="1150" y="270"/>
                  </a:moveTo>
                  <a:cubicBezTo>
                    <a:pt x="1150" y="268"/>
                    <a:pt x="1150" y="266"/>
                    <a:pt x="1150" y="265"/>
                  </a:cubicBezTo>
                  <a:cubicBezTo>
                    <a:pt x="1152" y="265"/>
                    <a:pt x="1154" y="265"/>
                    <a:pt x="1156" y="265"/>
                  </a:cubicBezTo>
                  <a:cubicBezTo>
                    <a:pt x="1156" y="266"/>
                    <a:pt x="1156" y="268"/>
                    <a:pt x="1156" y="269"/>
                  </a:cubicBezTo>
                  <a:cubicBezTo>
                    <a:pt x="1154" y="270"/>
                    <a:pt x="1152" y="270"/>
                    <a:pt x="1150" y="270"/>
                  </a:cubicBezTo>
                  <a:close/>
                  <a:moveTo>
                    <a:pt x="1170" y="269"/>
                  </a:moveTo>
                  <a:cubicBezTo>
                    <a:pt x="1170" y="268"/>
                    <a:pt x="1170" y="266"/>
                    <a:pt x="1170" y="265"/>
                  </a:cubicBezTo>
                  <a:cubicBezTo>
                    <a:pt x="1171" y="265"/>
                    <a:pt x="1173" y="265"/>
                    <a:pt x="1175" y="264"/>
                  </a:cubicBezTo>
                  <a:cubicBezTo>
                    <a:pt x="1175" y="266"/>
                    <a:pt x="1175" y="268"/>
                    <a:pt x="1175" y="269"/>
                  </a:cubicBezTo>
                  <a:cubicBezTo>
                    <a:pt x="1173" y="269"/>
                    <a:pt x="1171" y="269"/>
                    <a:pt x="1170" y="269"/>
                  </a:cubicBezTo>
                  <a:close/>
                  <a:moveTo>
                    <a:pt x="1194" y="271"/>
                  </a:moveTo>
                  <a:cubicBezTo>
                    <a:pt x="1195" y="263"/>
                    <a:pt x="1187" y="272"/>
                    <a:pt x="1181" y="267"/>
                  </a:cubicBezTo>
                  <a:cubicBezTo>
                    <a:pt x="1179" y="261"/>
                    <a:pt x="1191" y="267"/>
                    <a:pt x="1194" y="264"/>
                  </a:cubicBezTo>
                  <a:cubicBezTo>
                    <a:pt x="1194" y="264"/>
                    <a:pt x="1194" y="262"/>
                    <a:pt x="1194" y="262"/>
                  </a:cubicBezTo>
                  <a:cubicBezTo>
                    <a:pt x="1200" y="261"/>
                    <a:pt x="1208" y="268"/>
                    <a:pt x="1211" y="261"/>
                  </a:cubicBezTo>
                  <a:cubicBezTo>
                    <a:pt x="1221" y="266"/>
                    <a:pt x="1208" y="265"/>
                    <a:pt x="1205" y="266"/>
                  </a:cubicBezTo>
                  <a:cubicBezTo>
                    <a:pt x="1201" y="268"/>
                    <a:pt x="1198" y="272"/>
                    <a:pt x="1194" y="271"/>
                  </a:cubicBezTo>
                  <a:close/>
                  <a:moveTo>
                    <a:pt x="1199" y="353"/>
                  </a:moveTo>
                  <a:cubicBezTo>
                    <a:pt x="1207" y="350"/>
                    <a:pt x="1205" y="357"/>
                    <a:pt x="1210" y="358"/>
                  </a:cubicBezTo>
                  <a:cubicBezTo>
                    <a:pt x="1209" y="363"/>
                    <a:pt x="1194" y="361"/>
                    <a:pt x="1199" y="353"/>
                  </a:cubicBezTo>
                  <a:close/>
                  <a:moveTo>
                    <a:pt x="1212" y="355"/>
                  </a:moveTo>
                  <a:cubicBezTo>
                    <a:pt x="1215" y="349"/>
                    <a:pt x="1216" y="353"/>
                    <a:pt x="1223" y="353"/>
                  </a:cubicBezTo>
                  <a:cubicBezTo>
                    <a:pt x="1223" y="358"/>
                    <a:pt x="1216" y="358"/>
                    <a:pt x="1212" y="355"/>
                  </a:cubicBezTo>
                  <a:close/>
                  <a:moveTo>
                    <a:pt x="1227" y="261"/>
                  </a:moveTo>
                  <a:cubicBezTo>
                    <a:pt x="1232" y="261"/>
                    <a:pt x="1234" y="265"/>
                    <a:pt x="1235" y="261"/>
                  </a:cubicBezTo>
                  <a:cubicBezTo>
                    <a:pt x="1247" y="264"/>
                    <a:pt x="1223" y="271"/>
                    <a:pt x="1227" y="261"/>
                  </a:cubicBezTo>
                  <a:close/>
                  <a:moveTo>
                    <a:pt x="1237" y="195"/>
                  </a:moveTo>
                  <a:cubicBezTo>
                    <a:pt x="1237" y="194"/>
                    <a:pt x="1237" y="192"/>
                    <a:pt x="1237" y="191"/>
                  </a:cubicBezTo>
                  <a:cubicBezTo>
                    <a:pt x="1239" y="190"/>
                    <a:pt x="1240" y="190"/>
                    <a:pt x="1242" y="190"/>
                  </a:cubicBezTo>
                  <a:cubicBezTo>
                    <a:pt x="1242" y="192"/>
                    <a:pt x="1242" y="194"/>
                    <a:pt x="1242" y="195"/>
                  </a:cubicBezTo>
                  <a:cubicBezTo>
                    <a:pt x="1241" y="195"/>
                    <a:pt x="1239" y="195"/>
                    <a:pt x="1237" y="195"/>
                  </a:cubicBezTo>
                  <a:close/>
                  <a:moveTo>
                    <a:pt x="1259" y="195"/>
                  </a:moveTo>
                  <a:cubicBezTo>
                    <a:pt x="1252" y="196"/>
                    <a:pt x="1252" y="190"/>
                    <a:pt x="1250" y="186"/>
                  </a:cubicBezTo>
                  <a:cubicBezTo>
                    <a:pt x="1258" y="185"/>
                    <a:pt x="1258" y="190"/>
                    <a:pt x="1259" y="195"/>
                  </a:cubicBezTo>
                  <a:close/>
                  <a:moveTo>
                    <a:pt x="1252" y="261"/>
                  </a:moveTo>
                  <a:cubicBezTo>
                    <a:pt x="1256" y="260"/>
                    <a:pt x="1262" y="262"/>
                    <a:pt x="1263" y="258"/>
                  </a:cubicBezTo>
                  <a:cubicBezTo>
                    <a:pt x="1266" y="259"/>
                    <a:pt x="1265" y="262"/>
                    <a:pt x="1266" y="265"/>
                  </a:cubicBezTo>
                  <a:cubicBezTo>
                    <a:pt x="1263" y="268"/>
                    <a:pt x="1252" y="268"/>
                    <a:pt x="1252" y="261"/>
                  </a:cubicBezTo>
                  <a:close/>
                  <a:moveTo>
                    <a:pt x="1279" y="267"/>
                  </a:moveTo>
                  <a:cubicBezTo>
                    <a:pt x="1271" y="269"/>
                    <a:pt x="1269" y="262"/>
                    <a:pt x="1274" y="258"/>
                  </a:cubicBezTo>
                  <a:cubicBezTo>
                    <a:pt x="1279" y="259"/>
                    <a:pt x="1280" y="262"/>
                    <a:pt x="1279" y="267"/>
                  </a:cubicBezTo>
                  <a:close/>
                  <a:moveTo>
                    <a:pt x="1282" y="260"/>
                  </a:moveTo>
                  <a:cubicBezTo>
                    <a:pt x="1283" y="254"/>
                    <a:pt x="1287" y="263"/>
                    <a:pt x="1293" y="260"/>
                  </a:cubicBezTo>
                  <a:cubicBezTo>
                    <a:pt x="1291" y="268"/>
                    <a:pt x="1287" y="262"/>
                    <a:pt x="1282" y="260"/>
                  </a:cubicBezTo>
                  <a:close/>
                  <a:moveTo>
                    <a:pt x="1312" y="257"/>
                  </a:moveTo>
                  <a:cubicBezTo>
                    <a:pt x="1308" y="258"/>
                    <a:pt x="1310" y="265"/>
                    <a:pt x="1301" y="262"/>
                  </a:cubicBezTo>
                  <a:cubicBezTo>
                    <a:pt x="1300" y="255"/>
                    <a:pt x="1310" y="257"/>
                    <a:pt x="1315" y="255"/>
                  </a:cubicBezTo>
                  <a:cubicBezTo>
                    <a:pt x="1316" y="259"/>
                    <a:pt x="1312" y="260"/>
                    <a:pt x="1312" y="257"/>
                  </a:cubicBezTo>
                  <a:close/>
                  <a:moveTo>
                    <a:pt x="1479" y="238"/>
                  </a:moveTo>
                  <a:cubicBezTo>
                    <a:pt x="1478" y="239"/>
                    <a:pt x="1476" y="232"/>
                    <a:pt x="1474" y="233"/>
                  </a:cubicBezTo>
                  <a:cubicBezTo>
                    <a:pt x="1478" y="225"/>
                    <a:pt x="1481" y="236"/>
                    <a:pt x="1479" y="238"/>
                  </a:cubicBezTo>
                  <a:close/>
                  <a:moveTo>
                    <a:pt x="1448" y="177"/>
                  </a:moveTo>
                  <a:cubicBezTo>
                    <a:pt x="1447" y="180"/>
                    <a:pt x="1445" y="182"/>
                    <a:pt x="1440" y="182"/>
                  </a:cubicBezTo>
                  <a:cubicBezTo>
                    <a:pt x="1438" y="177"/>
                    <a:pt x="1444" y="178"/>
                    <a:pt x="1448" y="177"/>
                  </a:cubicBezTo>
                  <a:close/>
                  <a:moveTo>
                    <a:pt x="1424" y="248"/>
                  </a:moveTo>
                  <a:cubicBezTo>
                    <a:pt x="1429" y="248"/>
                    <a:pt x="1429" y="250"/>
                    <a:pt x="1433" y="251"/>
                  </a:cubicBezTo>
                  <a:cubicBezTo>
                    <a:pt x="1434" y="255"/>
                    <a:pt x="1420" y="254"/>
                    <a:pt x="1424" y="248"/>
                  </a:cubicBezTo>
                  <a:close/>
                  <a:moveTo>
                    <a:pt x="1334" y="259"/>
                  </a:moveTo>
                  <a:cubicBezTo>
                    <a:pt x="1334" y="257"/>
                    <a:pt x="1331" y="258"/>
                    <a:pt x="1329" y="257"/>
                  </a:cubicBezTo>
                  <a:cubicBezTo>
                    <a:pt x="1331" y="252"/>
                    <a:pt x="1344" y="256"/>
                    <a:pt x="1350" y="254"/>
                  </a:cubicBezTo>
                  <a:cubicBezTo>
                    <a:pt x="1347" y="261"/>
                    <a:pt x="1344" y="256"/>
                    <a:pt x="1334" y="259"/>
                  </a:cubicBezTo>
                  <a:close/>
                  <a:moveTo>
                    <a:pt x="1392" y="279"/>
                  </a:moveTo>
                  <a:cubicBezTo>
                    <a:pt x="1392" y="278"/>
                    <a:pt x="1392" y="276"/>
                    <a:pt x="1392" y="275"/>
                  </a:cubicBezTo>
                  <a:cubicBezTo>
                    <a:pt x="1394" y="275"/>
                    <a:pt x="1396" y="275"/>
                    <a:pt x="1397" y="275"/>
                  </a:cubicBezTo>
                  <a:cubicBezTo>
                    <a:pt x="1398" y="276"/>
                    <a:pt x="1398" y="278"/>
                    <a:pt x="1398" y="279"/>
                  </a:cubicBezTo>
                  <a:cubicBezTo>
                    <a:pt x="1396" y="279"/>
                    <a:pt x="1394" y="279"/>
                    <a:pt x="1392" y="279"/>
                  </a:cubicBezTo>
                  <a:close/>
                  <a:moveTo>
                    <a:pt x="1394" y="258"/>
                  </a:moveTo>
                  <a:cubicBezTo>
                    <a:pt x="1394" y="261"/>
                    <a:pt x="1392" y="260"/>
                    <a:pt x="1392" y="258"/>
                  </a:cubicBezTo>
                  <a:cubicBezTo>
                    <a:pt x="1388" y="259"/>
                    <a:pt x="1384" y="259"/>
                    <a:pt x="1383" y="256"/>
                  </a:cubicBezTo>
                  <a:cubicBezTo>
                    <a:pt x="1381" y="258"/>
                    <a:pt x="1376" y="260"/>
                    <a:pt x="1375" y="256"/>
                  </a:cubicBezTo>
                  <a:cubicBezTo>
                    <a:pt x="1373" y="257"/>
                    <a:pt x="1372" y="259"/>
                    <a:pt x="1370" y="259"/>
                  </a:cubicBezTo>
                  <a:cubicBezTo>
                    <a:pt x="1369" y="261"/>
                    <a:pt x="1371" y="261"/>
                    <a:pt x="1373" y="261"/>
                  </a:cubicBezTo>
                  <a:cubicBezTo>
                    <a:pt x="1373" y="267"/>
                    <a:pt x="1365" y="260"/>
                    <a:pt x="1367" y="256"/>
                  </a:cubicBezTo>
                  <a:cubicBezTo>
                    <a:pt x="1362" y="257"/>
                    <a:pt x="1365" y="266"/>
                    <a:pt x="1356" y="264"/>
                  </a:cubicBezTo>
                  <a:cubicBezTo>
                    <a:pt x="1358" y="256"/>
                    <a:pt x="1351" y="256"/>
                    <a:pt x="1356" y="252"/>
                  </a:cubicBezTo>
                  <a:cubicBezTo>
                    <a:pt x="1360" y="249"/>
                    <a:pt x="1366" y="255"/>
                    <a:pt x="1367" y="254"/>
                  </a:cubicBezTo>
                  <a:cubicBezTo>
                    <a:pt x="1367" y="254"/>
                    <a:pt x="1367" y="252"/>
                    <a:pt x="1367" y="252"/>
                  </a:cubicBezTo>
                  <a:cubicBezTo>
                    <a:pt x="1370" y="251"/>
                    <a:pt x="1372" y="254"/>
                    <a:pt x="1372" y="254"/>
                  </a:cubicBezTo>
                  <a:cubicBezTo>
                    <a:pt x="1379" y="253"/>
                    <a:pt x="1377" y="249"/>
                    <a:pt x="1383" y="249"/>
                  </a:cubicBezTo>
                  <a:cubicBezTo>
                    <a:pt x="1383" y="249"/>
                    <a:pt x="1384" y="255"/>
                    <a:pt x="1386" y="254"/>
                  </a:cubicBezTo>
                  <a:cubicBezTo>
                    <a:pt x="1392" y="254"/>
                    <a:pt x="1387" y="245"/>
                    <a:pt x="1389" y="242"/>
                  </a:cubicBezTo>
                  <a:cubicBezTo>
                    <a:pt x="1391" y="243"/>
                    <a:pt x="1393" y="244"/>
                    <a:pt x="1397" y="244"/>
                  </a:cubicBezTo>
                  <a:cubicBezTo>
                    <a:pt x="1396" y="246"/>
                    <a:pt x="1395" y="248"/>
                    <a:pt x="1392" y="249"/>
                  </a:cubicBezTo>
                  <a:cubicBezTo>
                    <a:pt x="1391" y="255"/>
                    <a:pt x="1404" y="247"/>
                    <a:pt x="1400" y="256"/>
                  </a:cubicBezTo>
                  <a:cubicBezTo>
                    <a:pt x="1395" y="255"/>
                    <a:pt x="1390" y="258"/>
                    <a:pt x="1394" y="258"/>
                  </a:cubicBezTo>
                  <a:close/>
                  <a:moveTo>
                    <a:pt x="1405" y="258"/>
                  </a:moveTo>
                  <a:cubicBezTo>
                    <a:pt x="1407" y="258"/>
                    <a:pt x="1409" y="258"/>
                    <a:pt x="1411" y="258"/>
                  </a:cubicBezTo>
                  <a:cubicBezTo>
                    <a:pt x="1412" y="265"/>
                    <a:pt x="1390" y="258"/>
                    <a:pt x="1405" y="258"/>
                  </a:cubicBezTo>
                  <a:close/>
                  <a:moveTo>
                    <a:pt x="1403" y="279"/>
                  </a:moveTo>
                  <a:cubicBezTo>
                    <a:pt x="1403" y="277"/>
                    <a:pt x="1406" y="277"/>
                    <a:pt x="1408" y="277"/>
                  </a:cubicBezTo>
                  <a:cubicBezTo>
                    <a:pt x="1410" y="277"/>
                    <a:pt x="1412" y="277"/>
                    <a:pt x="1414" y="277"/>
                  </a:cubicBezTo>
                  <a:cubicBezTo>
                    <a:pt x="1413" y="280"/>
                    <a:pt x="1407" y="279"/>
                    <a:pt x="1403" y="279"/>
                  </a:cubicBezTo>
                  <a:close/>
                  <a:moveTo>
                    <a:pt x="1416" y="256"/>
                  </a:moveTo>
                  <a:cubicBezTo>
                    <a:pt x="1412" y="256"/>
                    <a:pt x="1407" y="256"/>
                    <a:pt x="1403" y="256"/>
                  </a:cubicBezTo>
                  <a:cubicBezTo>
                    <a:pt x="1401" y="247"/>
                    <a:pt x="1411" y="248"/>
                    <a:pt x="1419" y="248"/>
                  </a:cubicBezTo>
                  <a:cubicBezTo>
                    <a:pt x="1419" y="254"/>
                    <a:pt x="1424" y="256"/>
                    <a:pt x="1419" y="260"/>
                  </a:cubicBezTo>
                  <a:cubicBezTo>
                    <a:pt x="1416" y="260"/>
                    <a:pt x="1417" y="257"/>
                    <a:pt x="1416" y="256"/>
                  </a:cubicBezTo>
                  <a:close/>
                  <a:moveTo>
                    <a:pt x="1418" y="352"/>
                  </a:moveTo>
                  <a:cubicBezTo>
                    <a:pt x="1417" y="348"/>
                    <a:pt x="1423" y="346"/>
                    <a:pt x="1418" y="345"/>
                  </a:cubicBezTo>
                  <a:cubicBezTo>
                    <a:pt x="1420" y="342"/>
                    <a:pt x="1424" y="342"/>
                    <a:pt x="1423" y="338"/>
                  </a:cubicBezTo>
                  <a:cubicBezTo>
                    <a:pt x="1428" y="340"/>
                    <a:pt x="1430" y="344"/>
                    <a:pt x="1426" y="347"/>
                  </a:cubicBezTo>
                  <a:cubicBezTo>
                    <a:pt x="1427" y="352"/>
                    <a:pt x="1433" y="344"/>
                    <a:pt x="1440" y="347"/>
                  </a:cubicBezTo>
                  <a:cubicBezTo>
                    <a:pt x="1439" y="354"/>
                    <a:pt x="1426" y="351"/>
                    <a:pt x="1418" y="352"/>
                  </a:cubicBezTo>
                  <a:close/>
                  <a:moveTo>
                    <a:pt x="1433" y="281"/>
                  </a:moveTo>
                  <a:cubicBezTo>
                    <a:pt x="1435" y="277"/>
                    <a:pt x="1438" y="281"/>
                    <a:pt x="1441" y="281"/>
                  </a:cubicBezTo>
                  <a:cubicBezTo>
                    <a:pt x="1440" y="285"/>
                    <a:pt x="1437" y="281"/>
                    <a:pt x="1433" y="281"/>
                  </a:cubicBezTo>
                  <a:close/>
                  <a:moveTo>
                    <a:pt x="1438" y="250"/>
                  </a:moveTo>
                  <a:cubicBezTo>
                    <a:pt x="1435" y="241"/>
                    <a:pt x="1455" y="254"/>
                    <a:pt x="1452" y="241"/>
                  </a:cubicBezTo>
                  <a:cubicBezTo>
                    <a:pt x="1457" y="241"/>
                    <a:pt x="1454" y="249"/>
                    <a:pt x="1460" y="248"/>
                  </a:cubicBezTo>
                  <a:cubicBezTo>
                    <a:pt x="1459" y="250"/>
                    <a:pt x="1439" y="253"/>
                    <a:pt x="1438" y="250"/>
                  </a:cubicBezTo>
                  <a:close/>
                  <a:moveTo>
                    <a:pt x="1456" y="330"/>
                  </a:moveTo>
                  <a:cubicBezTo>
                    <a:pt x="1459" y="331"/>
                    <a:pt x="1462" y="333"/>
                    <a:pt x="1462" y="337"/>
                  </a:cubicBezTo>
                  <a:cubicBezTo>
                    <a:pt x="1458" y="336"/>
                    <a:pt x="1456" y="334"/>
                    <a:pt x="1456" y="330"/>
                  </a:cubicBezTo>
                  <a:close/>
                  <a:moveTo>
                    <a:pt x="1485" y="250"/>
                  </a:moveTo>
                  <a:cubicBezTo>
                    <a:pt x="1485" y="251"/>
                    <a:pt x="1485" y="253"/>
                    <a:pt x="1485" y="254"/>
                  </a:cubicBezTo>
                  <a:cubicBezTo>
                    <a:pt x="1482" y="254"/>
                    <a:pt x="1483" y="251"/>
                    <a:pt x="1482" y="250"/>
                  </a:cubicBezTo>
                  <a:cubicBezTo>
                    <a:pt x="1477" y="251"/>
                    <a:pt x="1466" y="247"/>
                    <a:pt x="1466" y="252"/>
                  </a:cubicBezTo>
                  <a:cubicBezTo>
                    <a:pt x="1462" y="252"/>
                    <a:pt x="1463" y="246"/>
                    <a:pt x="1463" y="243"/>
                  </a:cubicBezTo>
                  <a:cubicBezTo>
                    <a:pt x="1468" y="244"/>
                    <a:pt x="1471" y="242"/>
                    <a:pt x="1471" y="238"/>
                  </a:cubicBezTo>
                  <a:cubicBezTo>
                    <a:pt x="1476" y="242"/>
                    <a:pt x="1478" y="248"/>
                    <a:pt x="1487" y="247"/>
                  </a:cubicBezTo>
                  <a:cubicBezTo>
                    <a:pt x="1488" y="249"/>
                    <a:pt x="1486" y="249"/>
                    <a:pt x="1485" y="250"/>
                  </a:cubicBezTo>
                  <a:close/>
                  <a:moveTo>
                    <a:pt x="1493" y="233"/>
                  </a:moveTo>
                  <a:cubicBezTo>
                    <a:pt x="1505" y="234"/>
                    <a:pt x="1490" y="247"/>
                    <a:pt x="1493" y="233"/>
                  </a:cubicBezTo>
                  <a:close/>
                  <a:moveTo>
                    <a:pt x="1529" y="251"/>
                  </a:moveTo>
                  <a:cubicBezTo>
                    <a:pt x="1523" y="254"/>
                    <a:pt x="1525" y="247"/>
                    <a:pt x="1523" y="247"/>
                  </a:cubicBezTo>
                  <a:cubicBezTo>
                    <a:pt x="1516" y="244"/>
                    <a:pt x="1502" y="249"/>
                    <a:pt x="1493" y="247"/>
                  </a:cubicBezTo>
                  <a:cubicBezTo>
                    <a:pt x="1492" y="243"/>
                    <a:pt x="1499" y="246"/>
                    <a:pt x="1501" y="245"/>
                  </a:cubicBezTo>
                  <a:cubicBezTo>
                    <a:pt x="1504" y="242"/>
                    <a:pt x="1505" y="245"/>
                    <a:pt x="1512" y="242"/>
                  </a:cubicBezTo>
                  <a:cubicBezTo>
                    <a:pt x="1513" y="242"/>
                    <a:pt x="1517" y="243"/>
                    <a:pt x="1518" y="242"/>
                  </a:cubicBezTo>
                  <a:cubicBezTo>
                    <a:pt x="1519" y="240"/>
                    <a:pt x="1519" y="240"/>
                    <a:pt x="1520" y="242"/>
                  </a:cubicBezTo>
                  <a:cubicBezTo>
                    <a:pt x="1525" y="242"/>
                    <a:pt x="1526" y="239"/>
                    <a:pt x="1531" y="239"/>
                  </a:cubicBezTo>
                  <a:cubicBezTo>
                    <a:pt x="1532" y="245"/>
                    <a:pt x="1526" y="245"/>
                    <a:pt x="1529" y="251"/>
                  </a:cubicBezTo>
                  <a:close/>
                  <a:moveTo>
                    <a:pt x="1606" y="125"/>
                  </a:moveTo>
                  <a:cubicBezTo>
                    <a:pt x="1608" y="119"/>
                    <a:pt x="1609" y="131"/>
                    <a:pt x="1609" y="132"/>
                  </a:cubicBezTo>
                  <a:cubicBezTo>
                    <a:pt x="1608" y="137"/>
                    <a:pt x="1604" y="134"/>
                    <a:pt x="1606" y="125"/>
                  </a:cubicBezTo>
                  <a:close/>
                  <a:moveTo>
                    <a:pt x="1536" y="181"/>
                  </a:moveTo>
                  <a:cubicBezTo>
                    <a:pt x="1539" y="181"/>
                    <a:pt x="1541" y="180"/>
                    <a:pt x="1544" y="180"/>
                  </a:cubicBezTo>
                  <a:cubicBezTo>
                    <a:pt x="1546" y="182"/>
                    <a:pt x="1547" y="178"/>
                    <a:pt x="1547" y="178"/>
                  </a:cubicBezTo>
                  <a:cubicBezTo>
                    <a:pt x="1560" y="181"/>
                    <a:pt x="1525" y="188"/>
                    <a:pt x="1536" y="181"/>
                  </a:cubicBezTo>
                  <a:close/>
                  <a:moveTo>
                    <a:pt x="1566" y="340"/>
                  </a:moveTo>
                  <a:cubicBezTo>
                    <a:pt x="1566" y="338"/>
                    <a:pt x="1566" y="337"/>
                    <a:pt x="1566" y="335"/>
                  </a:cubicBezTo>
                  <a:cubicBezTo>
                    <a:pt x="1571" y="334"/>
                    <a:pt x="1574" y="335"/>
                    <a:pt x="1574" y="340"/>
                  </a:cubicBezTo>
                  <a:cubicBezTo>
                    <a:pt x="1571" y="340"/>
                    <a:pt x="1569" y="340"/>
                    <a:pt x="1566" y="340"/>
                  </a:cubicBezTo>
                  <a:close/>
                  <a:moveTo>
                    <a:pt x="1582" y="342"/>
                  </a:moveTo>
                  <a:cubicBezTo>
                    <a:pt x="1581" y="343"/>
                    <a:pt x="1574" y="336"/>
                    <a:pt x="1580" y="333"/>
                  </a:cubicBezTo>
                  <a:cubicBezTo>
                    <a:pt x="1582" y="332"/>
                    <a:pt x="1584" y="340"/>
                    <a:pt x="1582" y="342"/>
                  </a:cubicBezTo>
                  <a:close/>
                  <a:moveTo>
                    <a:pt x="1573" y="248"/>
                  </a:moveTo>
                  <a:cubicBezTo>
                    <a:pt x="1569" y="250"/>
                    <a:pt x="1569" y="237"/>
                    <a:pt x="1564" y="241"/>
                  </a:cubicBezTo>
                  <a:cubicBezTo>
                    <a:pt x="1564" y="241"/>
                    <a:pt x="1565" y="243"/>
                    <a:pt x="1564" y="244"/>
                  </a:cubicBezTo>
                  <a:cubicBezTo>
                    <a:pt x="1559" y="245"/>
                    <a:pt x="1545" y="243"/>
                    <a:pt x="1537" y="244"/>
                  </a:cubicBezTo>
                  <a:cubicBezTo>
                    <a:pt x="1537" y="236"/>
                    <a:pt x="1545" y="242"/>
                    <a:pt x="1548" y="241"/>
                  </a:cubicBezTo>
                  <a:cubicBezTo>
                    <a:pt x="1550" y="241"/>
                    <a:pt x="1550" y="239"/>
                    <a:pt x="1551" y="239"/>
                  </a:cubicBezTo>
                  <a:cubicBezTo>
                    <a:pt x="1553" y="239"/>
                    <a:pt x="1557" y="243"/>
                    <a:pt x="1556" y="237"/>
                  </a:cubicBezTo>
                  <a:cubicBezTo>
                    <a:pt x="1558" y="238"/>
                    <a:pt x="1559" y="238"/>
                    <a:pt x="1561" y="239"/>
                  </a:cubicBezTo>
                  <a:cubicBezTo>
                    <a:pt x="1562" y="239"/>
                    <a:pt x="1566" y="238"/>
                    <a:pt x="1567" y="239"/>
                  </a:cubicBezTo>
                  <a:cubicBezTo>
                    <a:pt x="1569" y="241"/>
                    <a:pt x="1568" y="240"/>
                    <a:pt x="1578" y="239"/>
                  </a:cubicBezTo>
                  <a:cubicBezTo>
                    <a:pt x="1580" y="238"/>
                    <a:pt x="1588" y="240"/>
                    <a:pt x="1589" y="238"/>
                  </a:cubicBezTo>
                  <a:cubicBezTo>
                    <a:pt x="1592" y="235"/>
                    <a:pt x="1589" y="239"/>
                    <a:pt x="1600" y="238"/>
                  </a:cubicBezTo>
                  <a:cubicBezTo>
                    <a:pt x="1605" y="238"/>
                    <a:pt x="1606" y="236"/>
                    <a:pt x="1611" y="236"/>
                  </a:cubicBezTo>
                  <a:cubicBezTo>
                    <a:pt x="1613" y="249"/>
                    <a:pt x="1568" y="231"/>
                    <a:pt x="1573" y="248"/>
                  </a:cubicBezTo>
                  <a:close/>
                  <a:moveTo>
                    <a:pt x="1593" y="337"/>
                  </a:moveTo>
                  <a:cubicBezTo>
                    <a:pt x="1596" y="328"/>
                    <a:pt x="1599" y="337"/>
                    <a:pt x="1604" y="337"/>
                  </a:cubicBezTo>
                  <a:cubicBezTo>
                    <a:pt x="1606" y="337"/>
                    <a:pt x="1609" y="333"/>
                    <a:pt x="1612" y="334"/>
                  </a:cubicBezTo>
                  <a:cubicBezTo>
                    <a:pt x="1610" y="343"/>
                    <a:pt x="1601" y="336"/>
                    <a:pt x="1593" y="337"/>
                  </a:cubicBezTo>
                  <a:close/>
                  <a:moveTo>
                    <a:pt x="1619" y="238"/>
                  </a:moveTo>
                  <a:cubicBezTo>
                    <a:pt x="1618" y="242"/>
                    <a:pt x="1626" y="239"/>
                    <a:pt x="1627" y="240"/>
                  </a:cubicBezTo>
                  <a:cubicBezTo>
                    <a:pt x="1630" y="244"/>
                    <a:pt x="1618" y="241"/>
                    <a:pt x="1619" y="247"/>
                  </a:cubicBezTo>
                  <a:cubicBezTo>
                    <a:pt x="1615" y="245"/>
                    <a:pt x="1616" y="237"/>
                    <a:pt x="1613" y="233"/>
                  </a:cubicBezTo>
                  <a:cubicBezTo>
                    <a:pt x="1618" y="237"/>
                    <a:pt x="1623" y="231"/>
                    <a:pt x="1633" y="233"/>
                  </a:cubicBezTo>
                  <a:cubicBezTo>
                    <a:pt x="1636" y="241"/>
                    <a:pt x="1624" y="237"/>
                    <a:pt x="1619" y="238"/>
                  </a:cubicBezTo>
                  <a:close/>
                  <a:moveTo>
                    <a:pt x="1642" y="320"/>
                  </a:moveTo>
                  <a:cubicBezTo>
                    <a:pt x="1644" y="319"/>
                    <a:pt x="1647" y="313"/>
                    <a:pt x="1648" y="313"/>
                  </a:cubicBezTo>
                  <a:cubicBezTo>
                    <a:pt x="1651" y="312"/>
                    <a:pt x="1651" y="320"/>
                    <a:pt x="1642" y="320"/>
                  </a:cubicBezTo>
                  <a:close/>
                  <a:moveTo>
                    <a:pt x="1644" y="249"/>
                  </a:moveTo>
                  <a:cubicBezTo>
                    <a:pt x="1652" y="240"/>
                    <a:pt x="1653" y="256"/>
                    <a:pt x="1644" y="249"/>
                  </a:cubicBezTo>
                  <a:close/>
                  <a:moveTo>
                    <a:pt x="1638" y="245"/>
                  </a:moveTo>
                  <a:cubicBezTo>
                    <a:pt x="1634" y="243"/>
                    <a:pt x="1638" y="242"/>
                    <a:pt x="1641" y="242"/>
                  </a:cubicBezTo>
                  <a:cubicBezTo>
                    <a:pt x="1642" y="238"/>
                    <a:pt x="1638" y="237"/>
                    <a:pt x="1638" y="240"/>
                  </a:cubicBezTo>
                  <a:cubicBezTo>
                    <a:pt x="1637" y="241"/>
                    <a:pt x="1635" y="236"/>
                    <a:pt x="1635" y="235"/>
                  </a:cubicBezTo>
                  <a:cubicBezTo>
                    <a:pt x="1636" y="234"/>
                    <a:pt x="1640" y="236"/>
                    <a:pt x="1641" y="235"/>
                  </a:cubicBezTo>
                  <a:cubicBezTo>
                    <a:pt x="1642" y="235"/>
                    <a:pt x="1640" y="231"/>
                    <a:pt x="1641" y="230"/>
                  </a:cubicBezTo>
                  <a:cubicBezTo>
                    <a:pt x="1644" y="229"/>
                    <a:pt x="1643" y="235"/>
                    <a:pt x="1644" y="235"/>
                  </a:cubicBezTo>
                  <a:cubicBezTo>
                    <a:pt x="1644" y="236"/>
                    <a:pt x="1650" y="232"/>
                    <a:pt x="1652" y="235"/>
                  </a:cubicBezTo>
                  <a:cubicBezTo>
                    <a:pt x="1649" y="238"/>
                    <a:pt x="1637" y="240"/>
                    <a:pt x="1652" y="240"/>
                  </a:cubicBezTo>
                  <a:cubicBezTo>
                    <a:pt x="1648" y="247"/>
                    <a:pt x="1643" y="241"/>
                    <a:pt x="1638" y="245"/>
                  </a:cubicBezTo>
                  <a:close/>
                  <a:moveTo>
                    <a:pt x="1739" y="203"/>
                  </a:moveTo>
                  <a:cubicBezTo>
                    <a:pt x="1739" y="206"/>
                    <a:pt x="1731" y="204"/>
                    <a:pt x="1731" y="208"/>
                  </a:cubicBezTo>
                  <a:cubicBezTo>
                    <a:pt x="1722" y="205"/>
                    <a:pt x="1734" y="201"/>
                    <a:pt x="1739" y="203"/>
                  </a:cubicBezTo>
                  <a:close/>
                  <a:moveTo>
                    <a:pt x="1656" y="331"/>
                  </a:moveTo>
                  <a:cubicBezTo>
                    <a:pt x="1656" y="330"/>
                    <a:pt x="1656" y="328"/>
                    <a:pt x="1656" y="327"/>
                  </a:cubicBezTo>
                  <a:cubicBezTo>
                    <a:pt x="1660" y="326"/>
                    <a:pt x="1664" y="326"/>
                    <a:pt x="1667" y="326"/>
                  </a:cubicBezTo>
                  <a:cubicBezTo>
                    <a:pt x="1670" y="333"/>
                    <a:pt x="1661" y="331"/>
                    <a:pt x="1656" y="331"/>
                  </a:cubicBezTo>
                  <a:close/>
                  <a:moveTo>
                    <a:pt x="1662" y="315"/>
                  </a:moveTo>
                  <a:cubicBezTo>
                    <a:pt x="1663" y="315"/>
                    <a:pt x="1665" y="315"/>
                    <a:pt x="1667" y="315"/>
                  </a:cubicBezTo>
                  <a:cubicBezTo>
                    <a:pt x="1668" y="321"/>
                    <a:pt x="1647" y="314"/>
                    <a:pt x="1662" y="315"/>
                  </a:cubicBezTo>
                  <a:close/>
                  <a:moveTo>
                    <a:pt x="1669" y="289"/>
                  </a:moveTo>
                  <a:cubicBezTo>
                    <a:pt x="1662" y="297"/>
                    <a:pt x="1652" y="284"/>
                    <a:pt x="1669" y="289"/>
                  </a:cubicBezTo>
                  <a:close/>
                  <a:moveTo>
                    <a:pt x="1663" y="268"/>
                  </a:moveTo>
                  <a:cubicBezTo>
                    <a:pt x="1664" y="268"/>
                    <a:pt x="1666" y="263"/>
                    <a:pt x="1666" y="263"/>
                  </a:cubicBezTo>
                  <a:cubicBezTo>
                    <a:pt x="1666" y="263"/>
                    <a:pt x="1666" y="261"/>
                    <a:pt x="1666" y="261"/>
                  </a:cubicBezTo>
                  <a:cubicBezTo>
                    <a:pt x="1676" y="259"/>
                    <a:pt x="1667" y="271"/>
                    <a:pt x="1663" y="268"/>
                  </a:cubicBezTo>
                  <a:close/>
                  <a:moveTo>
                    <a:pt x="1697" y="293"/>
                  </a:moveTo>
                  <a:cubicBezTo>
                    <a:pt x="1695" y="297"/>
                    <a:pt x="1694" y="292"/>
                    <a:pt x="1694" y="288"/>
                  </a:cubicBezTo>
                  <a:cubicBezTo>
                    <a:pt x="1686" y="285"/>
                    <a:pt x="1700" y="286"/>
                    <a:pt x="1697" y="293"/>
                  </a:cubicBezTo>
                  <a:close/>
                  <a:moveTo>
                    <a:pt x="1705" y="269"/>
                  </a:moveTo>
                  <a:cubicBezTo>
                    <a:pt x="1700" y="269"/>
                    <a:pt x="1698" y="265"/>
                    <a:pt x="1699" y="260"/>
                  </a:cubicBezTo>
                  <a:cubicBezTo>
                    <a:pt x="1704" y="260"/>
                    <a:pt x="1705" y="264"/>
                    <a:pt x="1705" y="269"/>
                  </a:cubicBezTo>
                  <a:close/>
                  <a:moveTo>
                    <a:pt x="1718" y="269"/>
                  </a:moveTo>
                  <a:cubicBezTo>
                    <a:pt x="1713" y="268"/>
                    <a:pt x="1716" y="260"/>
                    <a:pt x="1710" y="260"/>
                  </a:cubicBezTo>
                  <a:cubicBezTo>
                    <a:pt x="1710" y="257"/>
                    <a:pt x="1715" y="258"/>
                    <a:pt x="1718" y="257"/>
                  </a:cubicBezTo>
                  <a:cubicBezTo>
                    <a:pt x="1717" y="265"/>
                    <a:pt x="1723" y="264"/>
                    <a:pt x="1718" y="269"/>
                  </a:cubicBezTo>
                  <a:close/>
                  <a:moveTo>
                    <a:pt x="1718" y="238"/>
                  </a:moveTo>
                  <a:cubicBezTo>
                    <a:pt x="1720" y="234"/>
                    <a:pt x="1726" y="233"/>
                    <a:pt x="1734" y="234"/>
                  </a:cubicBezTo>
                  <a:cubicBezTo>
                    <a:pt x="1731" y="237"/>
                    <a:pt x="1725" y="238"/>
                    <a:pt x="1718" y="238"/>
                  </a:cubicBezTo>
                  <a:close/>
                  <a:moveTo>
                    <a:pt x="1738" y="309"/>
                  </a:moveTo>
                  <a:cubicBezTo>
                    <a:pt x="1739" y="306"/>
                    <a:pt x="1742" y="304"/>
                    <a:pt x="1746" y="304"/>
                  </a:cubicBezTo>
                  <a:cubicBezTo>
                    <a:pt x="1745" y="307"/>
                    <a:pt x="1743" y="309"/>
                    <a:pt x="1738" y="309"/>
                  </a:cubicBezTo>
                  <a:close/>
                  <a:moveTo>
                    <a:pt x="1747" y="318"/>
                  </a:moveTo>
                  <a:cubicBezTo>
                    <a:pt x="1747" y="316"/>
                    <a:pt x="1747" y="315"/>
                    <a:pt x="1747" y="313"/>
                  </a:cubicBezTo>
                  <a:cubicBezTo>
                    <a:pt x="1748" y="313"/>
                    <a:pt x="1750" y="313"/>
                    <a:pt x="1752" y="313"/>
                  </a:cubicBezTo>
                  <a:cubicBezTo>
                    <a:pt x="1752" y="315"/>
                    <a:pt x="1752" y="316"/>
                    <a:pt x="1752" y="318"/>
                  </a:cubicBezTo>
                  <a:cubicBezTo>
                    <a:pt x="1750" y="318"/>
                    <a:pt x="1748" y="318"/>
                    <a:pt x="1747" y="318"/>
                  </a:cubicBezTo>
                  <a:close/>
                  <a:moveTo>
                    <a:pt x="1745" y="236"/>
                  </a:moveTo>
                  <a:cubicBezTo>
                    <a:pt x="1752" y="231"/>
                    <a:pt x="1741" y="225"/>
                    <a:pt x="1740" y="233"/>
                  </a:cubicBezTo>
                  <a:cubicBezTo>
                    <a:pt x="1733" y="231"/>
                    <a:pt x="1714" y="229"/>
                    <a:pt x="1712" y="234"/>
                  </a:cubicBezTo>
                  <a:cubicBezTo>
                    <a:pt x="1712" y="234"/>
                    <a:pt x="1713" y="239"/>
                    <a:pt x="1712" y="239"/>
                  </a:cubicBezTo>
                  <a:cubicBezTo>
                    <a:pt x="1708" y="239"/>
                    <a:pt x="1712" y="233"/>
                    <a:pt x="1709" y="232"/>
                  </a:cubicBezTo>
                  <a:cubicBezTo>
                    <a:pt x="1705" y="230"/>
                    <a:pt x="1701" y="234"/>
                    <a:pt x="1699" y="234"/>
                  </a:cubicBezTo>
                  <a:cubicBezTo>
                    <a:pt x="1694" y="235"/>
                    <a:pt x="1683" y="231"/>
                    <a:pt x="1685" y="239"/>
                  </a:cubicBezTo>
                  <a:cubicBezTo>
                    <a:pt x="1683" y="237"/>
                    <a:pt x="1677" y="236"/>
                    <a:pt x="1677" y="239"/>
                  </a:cubicBezTo>
                  <a:cubicBezTo>
                    <a:pt x="1674" y="239"/>
                    <a:pt x="1675" y="237"/>
                    <a:pt x="1677" y="237"/>
                  </a:cubicBezTo>
                  <a:cubicBezTo>
                    <a:pt x="1678" y="235"/>
                    <a:pt x="1670" y="233"/>
                    <a:pt x="1668" y="235"/>
                  </a:cubicBezTo>
                  <a:cubicBezTo>
                    <a:pt x="1665" y="237"/>
                    <a:pt x="1667" y="234"/>
                    <a:pt x="1663" y="235"/>
                  </a:cubicBezTo>
                  <a:cubicBezTo>
                    <a:pt x="1660" y="235"/>
                    <a:pt x="1658" y="235"/>
                    <a:pt x="1657" y="237"/>
                  </a:cubicBezTo>
                  <a:cubicBezTo>
                    <a:pt x="1653" y="236"/>
                    <a:pt x="1659" y="234"/>
                    <a:pt x="1657" y="230"/>
                  </a:cubicBezTo>
                  <a:cubicBezTo>
                    <a:pt x="1660" y="229"/>
                    <a:pt x="1660" y="232"/>
                    <a:pt x="1660" y="232"/>
                  </a:cubicBezTo>
                  <a:cubicBezTo>
                    <a:pt x="1663" y="233"/>
                    <a:pt x="1663" y="230"/>
                    <a:pt x="1663" y="230"/>
                  </a:cubicBezTo>
                  <a:cubicBezTo>
                    <a:pt x="1666" y="230"/>
                    <a:pt x="1669" y="233"/>
                    <a:pt x="1671" y="232"/>
                  </a:cubicBezTo>
                  <a:cubicBezTo>
                    <a:pt x="1675" y="231"/>
                    <a:pt x="1680" y="223"/>
                    <a:pt x="1687" y="230"/>
                  </a:cubicBezTo>
                  <a:cubicBezTo>
                    <a:pt x="1691" y="229"/>
                    <a:pt x="1690" y="225"/>
                    <a:pt x="1690" y="223"/>
                  </a:cubicBezTo>
                  <a:cubicBezTo>
                    <a:pt x="1696" y="223"/>
                    <a:pt x="1699" y="222"/>
                    <a:pt x="1698" y="218"/>
                  </a:cubicBezTo>
                  <a:cubicBezTo>
                    <a:pt x="1707" y="219"/>
                    <a:pt x="1704" y="228"/>
                    <a:pt x="1693" y="225"/>
                  </a:cubicBezTo>
                  <a:cubicBezTo>
                    <a:pt x="1692" y="229"/>
                    <a:pt x="1696" y="229"/>
                    <a:pt x="1696" y="232"/>
                  </a:cubicBezTo>
                  <a:cubicBezTo>
                    <a:pt x="1699" y="233"/>
                    <a:pt x="1697" y="228"/>
                    <a:pt x="1698" y="227"/>
                  </a:cubicBezTo>
                  <a:cubicBezTo>
                    <a:pt x="1701" y="226"/>
                    <a:pt x="1701" y="229"/>
                    <a:pt x="1701" y="229"/>
                  </a:cubicBezTo>
                  <a:cubicBezTo>
                    <a:pt x="1701" y="229"/>
                    <a:pt x="1710" y="227"/>
                    <a:pt x="1712" y="227"/>
                  </a:cubicBezTo>
                  <a:cubicBezTo>
                    <a:pt x="1714" y="226"/>
                    <a:pt x="1719" y="222"/>
                    <a:pt x="1720" y="229"/>
                  </a:cubicBezTo>
                  <a:cubicBezTo>
                    <a:pt x="1723" y="230"/>
                    <a:pt x="1722" y="225"/>
                    <a:pt x="1723" y="224"/>
                  </a:cubicBezTo>
                  <a:cubicBezTo>
                    <a:pt x="1734" y="222"/>
                    <a:pt x="1746" y="228"/>
                    <a:pt x="1756" y="224"/>
                  </a:cubicBezTo>
                  <a:cubicBezTo>
                    <a:pt x="1754" y="229"/>
                    <a:pt x="1753" y="235"/>
                    <a:pt x="1745" y="236"/>
                  </a:cubicBezTo>
                  <a:close/>
                  <a:moveTo>
                    <a:pt x="1753" y="186"/>
                  </a:moveTo>
                  <a:cubicBezTo>
                    <a:pt x="1755" y="187"/>
                    <a:pt x="1755" y="189"/>
                    <a:pt x="1758" y="188"/>
                  </a:cubicBezTo>
                  <a:cubicBezTo>
                    <a:pt x="1758" y="194"/>
                    <a:pt x="1745" y="191"/>
                    <a:pt x="1753" y="186"/>
                  </a:cubicBezTo>
                  <a:close/>
                  <a:moveTo>
                    <a:pt x="1831" y="110"/>
                  </a:moveTo>
                  <a:cubicBezTo>
                    <a:pt x="1831" y="108"/>
                    <a:pt x="1831" y="107"/>
                    <a:pt x="1831" y="105"/>
                  </a:cubicBezTo>
                  <a:cubicBezTo>
                    <a:pt x="1837" y="104"/>
                    <a:pt x="1832" y="113"/>
                    <a:pt x="1834" y="117"/>
                  </a:cubicBezTo>
                  <a:cubicBezTo>
                    <a:pt x="1831" y="115"/>
                    <a:pt x="1829" y="114"/>
                    <a:pt x="1828" y="117"/>
                  </a:cubicBezTo>
                  <a:cubicBezTo>
                    <a:pt x="1819" y="115"/>
                    <a:pt x="1831" y="112"/>
                    <a:pt x="1831" y="110"/>
                  </a:cubicBezTo>
                  <a:close/>
                  <a:moveTo>
                    <a:pt x="1792" y="230"/>
                  </a:moveTo>
                  <a:cubicBezTo>
                    <a:pt x="1789" y="237"/>
                    <a:pt x="1781" y="233"/>
                    <a:pt x="1775" y="233"/>
                  </a:cubicBezTo>
                  <a:cubicBezTo>
                    <a:pt x="1776" y="228"/>
                    <a:pt x="1787" y="232"/>
                    <a:pt x="1792" y="230"/>
                  </a:cubicBezTo>
                  <a:close/>
                  <a:moveTo>
                    <a:pt x="1779" y="259"/>
                  </a:moveTo>
                  <a:cubicBezTo>
                    <a:pt x="1776" y="258"/>
                    <a:pt x="1776" y="256"/>
                    <a:pt x="1773" y="256"/>
                  </a:cubicBezTo>
                  <a:cubicBezTo>
                    <a:pt x="1773" y="255"/>
                    <a:pt x="1773" y="253"/>
                    <a:pt x="1773" y="252"/>
                  </a:cubicBezTo>
                  <a:cubicBezTo>
                    <a:pt x="1779" y="250"/>
                    <a:pt x="1778" y="255"/>
                    <a:pt x="1779" y="259"/>
                  </a:cubicBezTo>
                  <a:close/>
                  <a:moveTo>
                    <a:pt x="1771" y="310"/>
                  </a:moveTo>
                  <a:cubicBezTo>
                    <a:pt x="1777" y="309"/>
                    <a:pt x="1775" y="315"/>
                    <a:pt x="1780" y="315"/>
                  </a:cubicBezTo>
                  <a:cubicBezTo>
                    <a:pt x="1780" y="319"/>
                    <a:pt x="1769" y="315"/>
                    <a:pt x="1771" y="310"/>
                  </a:cubicBezTo>
                  <a:close/>
                  <a:moveTo>
                    <a:pt x="1790" y="280"/>
                  </a:moveTo>
                  <a:cubicBezTo>
                    <a:pt x="1788" y="283"/>
                    <a:pt x="1792" y="288"/>
                    <a:pt x="1785" y="287"/>
                  </a:cubicBezTo>
                  <a:cubicBezTo>
                    <a:pt x="1789" y="283"/>
                    <a:pt x="1786" y="274"/>
                    <a:pt x="1795" y="275"/>
                  </a:cubicBezTo>
                  <a:cubicBezTo>
                    <a:pt x="1796" y="278"/>
                    <a:pt x="1791" y="278"/>
                    <a:pt x="1790" y="280"/>
                  </a:cubicBezTo>
                  <a:close/>
                  <a:moveTo>
                    <a:pt x="1789" y="226"/>
                  </a:moveTo>
                  <a:cubicBezTo>
                    <a:pt x="1787" y="225"/>
                    <a:pt x="1786" y="226"/>
                    <a:pt x="1786" y="228"/>
                  </a:cubicBezTo>
                  <a:cubicBezTo>
                    <a:pt x="1784" y="228"/>
                    <a:pt x="1784" y="225"/>
                    <a:pt x="1783" y="223"/>
                  </a:cubicBezTo>
                  <a:cubicBezTo>
                    <a:pt x="1785" y="223"/>
                    <a:pt x="1787" y="223"/>
                    <a:pt x="1789" y="223"/>
                  </a:cubicBezTo>
                  <a:cubicBezTo>
                    <a:pt x="1787" y="218"/>
                    <a:pt x="1781" y="219"/>
                    <a:pt x="1786" y="214"/>
                  </a:cubicBezTo>
                  <a:cubicBezTo>
                    <a:pt x="1791" y="214"/>
                    <a:pt x="1792" y="218"/>
                    <a:pt x="1792" y="223"/>
                  </a:cubicBezTo>
                  <a:cubicBezTo>
                    <a:pt x="1798" y="219"/>
                    <a:pt x="1803" y="224"/>
                    <a:pt x="1805" y="221"/>
                  </a:cubicBezTo>
                  <a:cubicBezTo>
                    <a:pt x="1809" y="222"/>
                    <a:pt x="1807" y="224"/>
                    <a:pt x="1805" y="225"/>
                  </a:cubicBezTo>
                  <a:cubicBezTo>
                    <a:pt x="1799" y="229"/>
                    <a:pt x="1799" y="225"/>
                    <a:pt x="1789" y="226"/>
                  </a:cubicBezTo>
                  <a:close/>
                  <a:moveTo>
                    <a:pt x="1800" y="235"/>
                  </a:moveTo>
                  <a:cubicBezTo>
                    <a:pt x="1792" y="232"/>
                    <a:pt x="1806" y="225"/>
                    <a:pt x="1808" y="230"/>
                  </a:cubicBezTo>
                  <a:cubicBezTo>
                    <a:pt x="1808" y="233"/>
                    <a:pt x="1800" y="231"/>
                    <a:pt x="1800" y="235"/>
                  </a:cubicBezTo>
                  <a:close/>
                  <a:moveTo>
                    <a:pt x="1812" y="314"/>
                  </a:moveTo>
                  <a:cubicBezTo>
                    <a:pt x="1808" y="312"/>
                    <a:pt x="1806" y="308"/>
                    <a:pt x="1810" y="305"/>
                  </a:cubicBezTo>
                  <a:cubicBezTo>
                    <a:pt x="1814" y="307"/>
                    <a:pt x="1816" y="311"/>
                    <a:pt x="1812" y="314"/>
                  </a:cubicBezTo>
                  <a:close/>
                  <a:moveTo>
                    <a:pt x="1811" y="258"/>
                  </a:moveTo>
                  <a:cubicBezTo>
                    <a:pt x="1811" y="256"/>
                    <a:pt x="1811" y="255"/>
                    <a:pt x="1811" y="253"/>
                  </a:cubicBezTo>
                  <a:cubicBezTo>
                    <a:pt x="1817" y="252"/>
                    <a:pt x="1817" y="257"/>
                    <a:pt x="1817" y="260"/>
                  </a:cubicBezTo>
                  <a:cubicBezTo>
                    <a:pt x="1815" y="260"/>
                    <a:pt x="1814" y="258"/>
                    <a:pt x="1811" y="258"/>
                  </a:cubicBezTo>
                  <a:close/>
                  <a:moveTo>
                    <a:pt x="1822" y="225"/>
                  </a:moveTo>
                  <a:cubicBezTo>
                    <a:pt x="1819" y="225"/>
                    <a:pt x="1816" y="225"/>
                    <a:pt x="1814" y="225"/>
                  </a:cubicBezTo>
                  <a:cubicBezTo>
                    <a:pt x="1816" y="218"/>
                    <a:pt x="1810" y="219"/>
                    <a:pt x="1811" y="213"/>
                  </a:cubicBezTo>
                  <a:cubicBezTo>
                    <a:pt x="1815" y="212"/>
                    <a:pt x="1823" y="218"/>
                    <a:pt x="1816" y="218"/>
                  </a:cubicBezTo>
                  <a:cubicBezTo>
                    <a:pt x="1818" y="220"/>
                    <a:pt x="1823" y="220"/>
                    <a:pt x="1822" y="225"/>
                  </a:cubicBezTo>
                  <a:close/>
                  <a:moveTo>
                    <a:pt x="1815" y="155"/>
                  </a:moveTo>
                  <a:cubicBezTo>
                    <a:pt x="1817" y="153"/>
                    <a:pt x="1818" y="151"/>
                    <a:pt x="1818" y="147"/>
                  </a:cubicBezTo>
                  <a:cubicBezTo>
                    <a:pt x="1821" y="148"/>
                    <a:pt x="1822" y="152"/>
                    <a:pt x="1826" y="152"/>
                  </a:cubicBezTo>
                  <a:cubicBezTo>
                    <a:pt x="1825" y="155"/>
                    <a:pt x="1819" y="154"/>
                    <a:pt x="1815" y="155"/>
                  </a:cubicBezTo>
                  <a:close/>
                  <a:moveTo>
                    <a:pt x="1829" y="147"/>
                  </a:moveTo>
                  <a:cubicBezTo>
                    <a:pt x="1832" y="148"/>
                    <a:pt x="1831" y="152"/>
                    <a:pt x="1834" y="152"/>
                  </a:cubicBezTo>
                  <a:cubicBezTo>
                    <a:pt x="1833" y="158"/>
                    <a:pt x="1826" y="152"/>
                    <a:pt x="1829" y="147"/>
                  </a:cubicBezTo>
                  <a:close/>
                  <a:moveTo>
                    <a:pt x="1830" y="229"/>
                  </a:moveTo>
                  <a:cubicBezTo>
                    <a:pt x="1826" y="225"/>
                    <a:pt x="1830" y="226"/>
                    <a:pt x="1830" y="220"/>
                  </a:cubicBezTo>
                  <a:cubicBezTo>
                    <a:pt x="1835" y="220"/>
                    <a:pt x="1837" y="224"/>
                    <a:pt x="1838" y="220"/>
                  </a:cubicBezTo>
                  <a:cubicBezTo>
                    <a:pt x="1843" y="220"/>
                    <a:pt x="1836" y="230"/>
                    <a:pt x="1830" y="229"/>
                  </a:cubicBezTo>
                  <a:close/>
                  <a:moveTo>
                    <a:pt x="1850" y="137"/>
                  </a:moveTo>
                  <a:cubicBezTo>
                    <a:pt x="1850" y="140"/>
                    <a:pt x="1845" y="139"/>
                    <a:pt x="1845" y="142"/>
                  </a:cubicBezTo>
                  <a:cubicBezTo>
                    <a:pt x="1842" y="142"/>
                    <a:pt x="1843" y="139"/>
                    <a:pt x="1842" y="138"/>
                  </a:cubicBezTo>
                  <a:cubicBezTo>
                    <a:pt x="1846" y="135"/>
                    <a:pt x="1847" y="137"/>
                    <a:pt x="1850" y="137"/>
                  </a:cubicBezTo>
                  <a:close/>
                  <a:moveTo>
                    <a:pt x="1845" y="154"/>
                  </a:moveTo>
                  <a:cubicBezTo>
                    <a:pt x="1844" y="154"/>
                    <a:pt x="1842" y="151"/>
                    <a:pt x="1843" y="149"/>
                  </a:cubicBezTo>
                  <a:cubicBezTo>
                    <a:pt x="1846" y="141"/>
                    <a:pt x="1848" y="154"/>
                    <a:pt x="1845" y="154"/>
                  </a:cubicBezTo>
                  <a:close/>
                  <a:moveTo>
                    <a:pt x="1841" y="227"/>
                  </a:moveTo>
                  <a:cubicBezTo>
                    <a:pt x="1840" y="223"/>
                    <a:pt x="1847" y="224"/>
                    <a:pt x="1849" y="222"/>
                  </a:cubicBezTo>
                  <a:cubicBezTo>
                    <a:pt x="1855" y="217"/>
                    <a:pt x="1850" y="226"/>
                    <a:pt x="1841" y="227"/>
                  </a:cubicBezTo>
                  <a:close/>
                  <a:moveTo>
                    <a:pt x="1855" y="220"/>
                  </a:moveTo>
                  <a:cubicBezTo>
                    <a:pt x="1864" y="221"/>
                    <a:pt x="1851" y="235"/>
                    <a:pt x="1858" y="234"/>
                  </a:cubicBezTo>
                  <a:cubicBezTo>
                    <a:pt x="1848" y="244"/>
                    <a:pt x="1856" y="220"/>
                    <a:pt x="1852" y="229"/>
                  </a:cubicBezTo>
                  <a:cubicBezTo>
                    <a:pt x="1844" y="227"/>
                    <a:pt x="1858" y="225"/>
                    <a:pt x="1855" y="220"/>
                  </a:cubicBezTo>
                  <a:close/>
                  <a:moveTo>
                    <a:pt x="1853" y="255"/>
                  </a:moveTo>
                  <a:cubicBezTo>
                    <a:pt x="1849" y="254"/>
                    <a:pt x="1850" y="249"/>
                    <a:pt x="1850" y="246"/>
                  </a:cubicBezTo>
                  <a:cubicBezTo>
                    <a:pt x="1856" y="246"/>
                    <a:pt x="1856" y="252"/>
                    <a:pt x="1853" y="255"/>
                  </a:cubicBezTo>
                  <a:close/>
                  <a:moveTo>
                    <a:pt x="1859" y="309"/>
                  </a:moveTo>
                  <a:cubicBezTo>
                    <a:pt x="1856" y="308"/>
                    <a:pt x="1857" y="304"/>
                    <a:pt x="1853" y="304"/>
                  </a:cubicBezTo>
                  <a:cubicBezTo>
                    <a:pt x="1854" y="302"/>
                    <a:pt x="1858" y="302"/>
                    <a:pt x="1862" y="302"/>
                  </a:cubicBezTo>
                  <a:cubicBezTo>
                    <a:pt x="1862" y="306"/>
                    <a:pt x="1859" y="306"/>
                    <a:pt x="1859" y="309"/>
                  </a:cubicBezTo>
                  <a:close/>
                  <a:moveTo>
                    <a:pt x="1848" y="154"/>
                  </a:moveTo>
                  <a:cubicBezTo>
                    <a:pt x="1849" y="150"/>
                    <a:pt x="1852" y="148"/>
                    <a:pt x="1853" y="144"/>
                  </a:cubicBezTo>
                  <a:cubicBezTo>
                    <a:pt x="1857" y="145"/>
                    <a:pt x="1860" y="149"/>
                    <a:pt x="1856" y="149"/>
                  </a:cubicBezTo>
                  <a:cubicBezTo>
                    <a:pt x="1856" y="151"/>
                    <a:pt x="1860" y="151"/>
                    <a:pt x="1862" y="151"/>
                  </a:cubicBezTo>
                  <a:cubicBezTo>
                    <a:pt x="1871" y="154"/>
                    <a:pt x="1852" y="154"/>
                    <a:pt x="1848" y="154"/>
                  </a:cubicBezTo>
                  <a:close/>
                  <a:moveTo>
                    <a:pt x="1928" y="178"/>
                  </a:moveTo>
                  <a:cubicBezTo>
                    <a:pt x="1929" y="177"/>
                    <a:pt x="1931" y="176"/>
                    <a:pt x="1931" y="174"/>
                  </a:cubicBezTo>
                  <a:cubicBezTo>
                    <a:pt x="1933" y="174"/>
                    <a:pt x="1934" y="174"/>
                    <a:pt x="1936" y="174"/>
                  </a:cubicBezTo>
                  <a:cubicBezTo>
                    <a:pt x="1938" y="179"/>
                    <a:pt x="1932" y="178"/>
                    <a:pt x="1928" y="178"/>
                  </a:cubicBezTo>
                  <a:close/>
                  <a:moveTo>
                    <a:pt x="1930" y="138"/>
                  </a:moveTo>
                  <a:cubicBezTo>
                    <a:pt x="1937" y="141"/>
                    <a:pt x="1932" y="154"/>
                    <a:pt x="1922" y="150"/>
                  </a:cubicBezTo>
                  <a:cubicBezTo>
                    <a:pt x="1919" y="142"/>
                    <a:pt x="1928" y="143"/>
                    <a:pt x="1930" y="138"/>
                  </a:cubicBezTo>
                  <a:close/>
                  <a:moveTo>
                    <a:pt x="1920" y="193"/>
                  </a:moveTo>
                  <a:cubicBezTo>
                    <a:pt x="1929" y="190"/>
                    <a:pt x="1922" y="200"/>
                    <a:pt x="1931" y="197"/>
                  </a:cubicBezTo>
                  <a:cubicBezTo>
                    <a:pt x="1930" y="202"/>
                    <a:pt x="1918" y="198"/>
                    <a:pt x="1920" y="193"/>
                  </a:cubicBezTo>
                  <a:close/>
                  <a:moveTo>
                    <a:pt x="1892" y="144"/>
                  </a:moveTo>
                  <a:cubicBezTo>
                    <a:pt x="1896" y="145"/>
                    <a:pt x="1894" y="147"/>
                    <a:pt x="1892" y="149"/>
                  </a:cubicBezTo>
                  <a:cubicBezTo>
                    <a:pt x="1887" y="152"/>
                    <a:pt x="1885" y="151"/>
                    <a:pt x="1892" y="144"/>
                  </a:cubicBezTo>
                  <a:close/>
                  <a:moveTo>
                    <a:pt x="1875" y="123"/>
                  </a:moveTo>
                  <a:cubicBezTo>
                    <a:pt x="1878" y="124"/>
                    <a:pt x="1877" y="128"/>
                    <a:pt x="1881" y="128"/>
                  </a:cubicBezTo>
                  <a:cubicBezTo>
                    <a:pt x="1880" y="130"/>
                    <a:pt x="1877" y="129"/>
                    <a:pt x="1875" y="130"/>
                  </a:cubicBezTo>
                  <a:cubicBezTo>
                    <a:pt x="1872" y="127"/>
                    <a:pt x="1874" y="126"/>
                    <a:pt x="1875" y="123"/>
                  </a:cubicBezTo>
                  <a:close/>
                  <a:moveTo>
                    <a:pt x="1867" y="147"/>
                  </a:moveTo>
                  <a:cubicBezTo>
                    <a:pt x="1869" y="138"/>
                    <a:pt x="1883" y="151"/>
                    <a:pt x="1883" y="144"/>
                  </a:cubicBezTo>
                  <a:cubicBezTo>
                    <a:pt x="1880" y="141"/>
                    <a:pt x="1883" y="143"/>
                    <a:pt x="1886" y="144"/>
                  </a:cubicBezTo>
                  <a:cubicBezTo>
                    <a:pt x="1882" y="147"/>
                    <a:pt x="1883" y="155"/>
                    <a:pt x="1873" y="154"/>
                  </a:cubicBezTo>
                  <a:cubicBezTo>
                    <a:pt x="1874" y="149"/>
                    <a:pt x="1872" y="146"/>
                    <a:pt x="1867" y="147"/>
                  </a:cubicBezTo>
                  <a:close/>
                  <a:moveTo>
                    <a:pt x="1877" y="229"/>
                  </a:moveTo>
                  <a:cubicBezTo>
                    <a:pt x="1878" y="231"/>
                    <a:pt x="1880" y="232"/>
                    <a:pt x="1880" y="236"/>
                  </a:cubicBezTo>
                  <a:cubicBezTo>
                    <a:pt x="1877" y="236"/>
                    <a:pt x="1874" y="236"/>
                    <a:pt x="1871" y="236"/>
                  </a:cubicBezTo>
                  <a:cubicBezTo>
                    <a:pt x="1874" y="234"/>
                    <a:pt x="1874" y="230"/>
                    <a:pt x="1874" y="226"/>
                  </a:cubicBezTo>
                  <a:cubicBezTo>
                    <a:pt x="1877" y="226"/>
                    <a:pt x="1879" y="226"/>
                    <a:pt x="1882" y="226"/>
                  </a:cubicBezTo>
                  <a:cubicBezTo>
                    <a:pt x="1887" y="228"/>
                    <a:pt x="1881" y="229"/>
                    <a:pt x="1877" y="229"/>
                  </a:cubicBezTo>
                  <a:close/>
                  <a:moveTo>
                    <a:pt x="1884" y="182"/>
                  </a:moveTo>
                  <a:cubicBezTo>
                    <a:pt x="1881" y="170"/>
                    <a:pt x="1883" y="167"/>
                    <a:pt x="1881" y="156"/>
                  </a:cubicBezTo>
                  <a:cubicBezTo>
                    <a:pt x="1884" y="155"/>
                    <a:pt x="1886" y="156"/>
                    <a:pt x="1886" y="158"/>
                  </a:cubicBezTo>
                  <a:cubicBezTo>
                    <a:pt x="1887" y="161"/>
                    <a:pt x="1892" y="160"/>
                    <a:pt x="1892" y="163"/>
                  </a:cubicBezTo>
                  <a:cubicBezTo>
                    <a:pt x="1894" y="168"/>
                    <a:pt x="1887" y="166"/>
                    <a:pt x="1887" y="170"/>
                  </a:cubicBezTo>
                  <a:cubicBezTo>
                    <a:pt x="1886" y="174"/>
                    <a:pt x="1889" y="174"/>
                    <a:pt x="1892" y="174"/>
                  </a:cubicBezTo>
                  <a:cubicBezTo>
                    <a:pt x="1892" y="178"/>
                    <a:pt x="1881" y="179"/>
                    <a:pt x="1892" y="179"/>
                  </a:cubicBezTo>
                  <a:cubicBezTo>
                    <a:pt x="1893" y="181"/>
                    <a:pt x="1891" y="181"/>
                    <a:pt x="1890" y="181"/>
                  </a:cubicBezTo>
                  <a:cubicBezTo>
                    <a:pt x="1888" y="181"/>
                    <a:pt x="1886" y="181"/>
                    <a:pt x="1884" y="182"/>
                  </a:cubicBezTo>
                  <a:close/>
                  <a:moveTo>
                    <a:pt x="1888" y="238"/>
                  </a:moveTo>
                  <a:cubicBezTo>
                    <a:pt x="1888" y="236"/>
                    <a:pt x="1888" y="235"/>
                    <a:pt x="1888" y="233"/>
                  </a:cubicBezTo>
                  <a:cubicBezTo>
                    <a:pt x="1890" y="233"/>
                    <a:pt x="1892" y="233"/>
                    <a:pt x="1893" y="233"/>
                  </a:cubicBezTo>
                  <a:cubicBezTo>
                    <a:pt x="1893" y="235"/>
                    <a:pt x="1893" y="236"/>
                    <a:pt x="1893" y="238"/>
                  </a:cubicBezTo>
                  <a:cubicBezTo>
                    <a:pt x="1892" y="238"/>
                    <a:pt x="1890" y="238"/>
                    <a:pt x="1888" y="238"/>
                  </a:cubicBezTo>
                  <a:close/>
                  <a:moveTo>
                    <a:pt x="1888" y="228"/>
                  </a:moveTo>
                  <a:cubicBezTo>
                    <a:pt x="1889" y="225"/>
                    <a:pt x="1894" y="224"/>
                    <a:pt x="1899" y="224"/>
                  </a:cubicBezTo>
                  <a:cubicBezTo>
                    <a:pt x="1901" y="231"/>
                    <a:pt x="1893" y="228"/>
                    <a:pt x="1888" y="228"/>
                  </a:cubicBezTo>
                  <a:close/>
                  <a:moveTo>
                    <a:pt x="1900" y="151"/>
                  </a:moveTo>
                  <a:cubicBezTo>
                    <a:pt x="1896" y="152"/>
                    <a:pt x="1898" y="157"/>
                    <a:pt x="1897" y="160"/>
                  </a:cubicBezTo>
                  <a:cubicBezTo>
                    <a:pt x="1890" y="154"/>
                    <a:pt x="1894" y="148"/>
                    <a:pt x="1900" y="144"/>
                  </a:cubicBezTo>
                  <a:cubicBezTo>
                    <a:pt x="1905" y="143"/>
                    <a:pt x="1905" y="145"/>
                    <a:pt x="1906" y="148"/>
                  </a:cubicBezTo>
                  <a:cubicBezTo>
                    <a:pt x="1910" y="146"/>
                    <a:pt x="1911" y="141"/>
                    <a:pt x="1919" y="141"/>
                  </a:cubicBezTo>
                  <a:cubicBezTo>
                    <a:pt x="1921" y="148"/>
                    <a:pt x="1912" y="147"/>
                    <a:pt x="1911" y="153"/>
                  </a:cubicBezTo>
                  <a:cubicBezTo>
                    <a:pt x="1914" y="155"/>
                    <a:pt x="1912" y="162"/>
                    <a:pt x="1919" y="160"/>
                  </a:cubicBezTo>
                  <a:cubicBezTo>
                    <a:pt x="1919" y="168"/>
                    <a:pt x="1910" y="155"/>
                    <a:pt x="1911" y="162"/>
                  </a:cubicBezTo>
                  <a:cubicBezTo>
                    <a:pt x="1900" y="162"/>
                    <a:pt x="1915" y="150"/>
                    <a:pt x="1900" y="151"/>
                  </a:cubicBezTo>
                  <a:close/>
                  <a:moveTo>
                    <a:pt x="1908" y="310"/>
                  </a:moveTo>
                  <a:cubicBezTo>
                    <a:pt x="1909" y="307"/>
                    <a:pt x="1913" y="307"/>
                    <a:pt x="1914" y="303"/>
                  </a:cubicBezTo>
                  <a:cubicBezTo>
                    <a:pt x="1921" y="304"/>
                    <a:pt x="1914" y="312"/>
                    <a:pt x="1908" y="310"/>
                  </a:cubicBezTo>
                  <a:close/>
                  <a:moveTo>
                    <a:pt x="1915" y="235"/>
                  </a:moveTo>
                  <a:cubicBezTo>
                    <a:pt x="1917" y="233"/>
                    <a:pt x="1920" y="231"/>
                    <a:pt x="1923" y="230"/>
                  </a:cubicBezTo>
                  <a:cubicBezTo>
                    <a:pt x="1923" y="227"/>
                    <a:pt x="1917" y="228"/>
                    <a:pt x="1912" y="228"/>
                  </a:cubicBezTo>
                  <a:cubicBezTo>
                    <a:pt x="1919" y="222"/>
                    <a:pt x="1906" y="222"/>
                    <a:pt x="1909" y="212"/>
                  </a:cubicBezTo>
                  <a:cubicBezTo>
                    <a:pt x="1918" y="212"/>
                    <a:pt x="1913" y="223"/>
                    <a:pt x="1918" y="226"/>
                  </a:cubicBezTo>
                  <a:cubicBezTo>
                    <a:pt x="1923" y="224"/>
                    <a:pt x="1923" y="218"/>
                    <a:pt x="1929" y="223"/>
                  </a:cubicBezTo>
                  <a:cubicBezTo>
                    <a:pt x="1928" y="232"/>
                    <a:pt x="1922" y="232"/>
                    <a:pt x="1926" y="240"/>
                  </a:cubicBezTo>
                  <a:cubicBezTo>
                    <a:pt x="1922" y="239"/>
                    <a:pt x="1924" y="232"/>
                    <a:pt x="1915" y="235"/>
                  </a:cubicBezTo>
                  <a:close/>
                  <a:moveTo>
                    <a:pt x="1930" y="287"/>
                  </a:moveTo>
                  <a:cubicBezTo>
                    <a:pt x="1923" y="294"/>
                    <a:pt x="1917" y="280"/>
                    <a:pt x="1930" y="287"/>
                  </a:cubicBezTo>
                  <a:close/>
                  <a:moveTo>
                    <a:pt x="1918" y="219"/>
                  </a:moveTo>
                  <a:cubicBezTo>
                    <a:pt x="1915" y="212"/>
                    <a:pt x="1924" y="214"/>
                    <a:pt x="1929" y="214"/>
                  </a:cubicBezTo>
                  <a:cubicBezTo>
                    <a:pt x="1929" y="210"/>
                    <a:pt x="1926" y="208"/>
                    <a:pt x="1923" y="207"/>
                  </a:cubicBezTo>
                  <a:cubicBezTo>
                    <a:pt x="1923" y="204"/>
                    <a:pt x="1928" y="205"/>
                    <a:pt x="1931" y="204"/>
                  </a:cubicBezTo>
                  <a:cubicBezTo>
                    <a:pt x="1930" y="209"/>
                    <a:pt x="1933" y="210"/>
                    <a:pt x="1934" y="214"/>
                  </a:cubicBezTo>
                  <a:cubicBezTo>
                    <a:pt x="1936" y="216"/>
                    <a:pt x="1940" y="216"/>
                    <a:pt x="1940" y="221"/>
                  </a:cubicBezTo>
                  <a:cubicBezTo>
                    <a:pt x="1936" y="217"/>
                    <a:pt x="1926" y="219"/>
                    <a:pt x="1918" y="219"/>
                  </a:cubicBezTo>
                  <a:close/>
                  <a:moveTo>
                    <a:pt x="1943" y="258"/>
                  </a:moveTo>
                  <a:cubicBezTo>
                    <a:pt x="1938" y="258"/>
                    <a:pt x="1937" y="254"/>
                    <a:pt x="1937" y="249"/>
                  </a:cubicBezTo>
                  <a:cubicBezTo>
                    <a:pt x="1946" y="246"/>
                    <a:pt x="1942" y="254"/>
                    <a:pt x="1943" y="258"/>
                  </a:cubicBezTo>
                  <a:close/>
                  <a:moveTo>
                    <a:pt x="1945" y="216"/>
                  </a:moveTo>
                  <a:cubicBezTo>
                    <a:pt x="1947" y="214"/>
                    <a:pt x="1948" y="212"/>
                    <a:pt x="1948" y="209"/>
                  </a:cubicBezTo>
                  <a:cubicBezTo>
                    <a:pt x="1951" y="209"/>
                    <a:pt x="1950" y="213"/>
                    <a:pt x="1953" y="213"/>
                  </a:cubicBezTo>
                  <a:cubicBezTo>
                    <a:pt x="1954" y="215"/>
                    <a:pt x="1952" y="215"/>
                    <a:pt x="1951" y="216"/>
                  </a:cubicBezTo>
                  <a:cubicBezTo>
                    <a:pt x="1949" y="216"/>
                    <a:pt x="1947" y="216"/>
                    <a:pt x="1945" y="216"/>
                  </a:cubicBezTo>
                  <a:close/>
                  <a:moveTo>
                    <a:pt x="1948" y="225"/>
                  </a:moveTo>
                  <a:cubicBezTo>
                    <a:pt x="1948" y="224"/>
                    <a:pt x="1948" y="222"/>
                    <a:pt x="1948" y="220"/>
                  </a:cubicBezTo>
                  <a:cubicBezTo>
                    <a:pt x="1953" y="220"/>
                    <a:pt x="1957" y="221"/>
                    <a:pt x="1956" y="225"/>
                  </a:cubicBezTo>
                  <a:cubicBezTo>
                    <a:pt x="1954" y="225"/>
                    <a:pt x="1951" y="225"/>
                    <a:pt x="1948" y="225"/>
                  </a:cubicBezTo>
                  <a:close/>
                  <a:moveTo>
                    <a:pt x="2054" y="169"/>
                  </a:moveTo>
                  <a:cubicBezTo>
                    <a:pt x="2050" y="171"/>
                    <a:pt x="2055" y="181"/>
                    <a:pt x="2046" y="179"/>
                  </a:cubicBezTo>
                  <a:cubicBezTo>
                    <a:pt x="2045" y="173"/>
                    <a:pt x="2047" y="169"/>
                    <a:pt x="2054" y="169"/>
                  </a:cubicBezTo>
                  <a:close/>
                  <a:moveTo>
                    <a:pt x="1985" y="145"/>
                  </a:moveTo>
                  <a:cubicBezTo>
                    <a:pt x="1984" y="151"/>
                    <a:pt x="1981" y="141"/>
                    <a:pt x="1977" y="142"/>
                  </a:cubicBezTo>
                  <a:cubicBezTo>
                    <a:pt x="1979" y="135"/>
                    <a:pt x="1982" y="145"/>
                    <a:pt x="1985" y="145"/>
                  </a:cubicBezTo>
                  <a:close/>
                  <a:moveTo>
                    <a:pt x="1985" y="274"/>
                  </a:moveTo>
                  <a:cubicBezTo>
                    <a:pt x="1984" y="278"/>
                    <a:pt x="1981" y="272"/>
                    <a:pt x="1982" y="269"/>
                  </a:cubicBezTo>
                  <a:cubicBezTo>
                    <a:pt x="1983" y="265"/>
                    <a:pt x="1985" y="271"/>
                    <a:pt x="1985" y="274"/>
                  </a:cubicBezTo>
                  <a:close/>
                  <a:moveTo>
                    <a:pt x="1979" y="255"/>
                  </a:moveTo>
                  <a:cubicBezTo>
                    <a:pt x="1978" y="250"/>
                    <a:pt x="1981" y="248"/>
                    <a:pt x="1987" y="248"/>
                  </a:cubicBezTo>
                  <a:cubicBezTo>
                    <a:pt x="1984" y="250"/>
                    <a:pt x="1986" y="257"/>
                    <a:pt x="1979" y="255"/>
                  </a:cubicBezTo>
                  <a:close/>
                  <a:moveTo>
                    <a:pt x="1998" y="252"/>
                  </a:moveTo>
                  <a:cubicBezTo>
                    <a:pt x="1993" y="260"/>
                    <a:pt x="1990" y="247"/>
                    <a:pt x="1990" y="243"/>
                  </a:cubicBezTo>
                  <a:cubicBezTo>
                    <a:pt x="1993" y="243"/>
                    <a:pt x="1991" y="241"/>
                    <a:pt x="1989" y="241"/>
                  </a:cubicBezTo>
                  <a:cubicBezTo>
                    <a:pt x="1989" y="239"/>
                    <a:pt x="1991" y="239"/>
                    <a:pt x="1992" y="238"/>
                  </a:cubicBezTo>
                  <a:cubicBezTo>
                    <a:pt x="1994" y="238"/>
                    <a:pt x="1996" y="238"/>
                    <a:pt x="1998" y="238"/>
                  </a:cubicBezTo>
                  <a:cubicBezTo>
                    <a:pt x="2001" y="245"/>
                    <a:pt x="1993" y="252"/>
                    <a:pt x="1998" y="252"/>
                  </a:cubicBezTo>
                  <a:close/>
                  <a:moveTo>
                    <a:pt x="1999" y="285"/>
                  </a:moveTo>
                  <a:cubicBezTo>
                    <a:pt x="2002" y="279"/>
                    <a:pt x="2005" y="276"/>
                    <a:pt x="2001" y="269"/>
                  </a:cubicBezTo>
                  <a:cubicBezTo>
                    <a:pt x="2009" y="268"/>
                    <a:pt x="2004" y="278"/>
                    <a:pt x="2009" y="278"/>
                  </a:cubicBezTo>
                  <a:cubicBezTo>
                    <a:pt x="2009" y="281"/>
                    <a:pt x="2007" y="279"/>
                    <a:pt x="2007" y="278"/>
                  </a:cubicBezTo>
                  <a:cubicBezTo>
                    <a:pt x="2000" y="277"/>
                    <a:pt x="2008" y="289"/>
                    <a:pt x="1999" y="285"/>
                  </a:cubicBezTo>
                  <a:close/>
                  <a:moveTo>
                    <a:pt x="2001" y="297"/>
                  </a:moveTo>
                  <a:cubicBezTo>
                    <a:pt x="2005" y="293"/>
                    <a:pt x="2007" y="288"/>
                    <a:pt x="2015" y="287"/>
                  </a:cubicBezTo>
                  <a:cubicBezTo>
                    <a:pt x="2012" y="291"/>
                    <a:pt x="2009" y="297"/>
                    <a:pt x="2001" y="297"/>
                  </a:cubicBezTo>
                  <a:close/>
                  <a:moveTo>
                    <a:pt x="2017" y="266"/>
                  </a:moveTo>
                  <a:cubicBezTo>
                    <a:pt x="2018" y="261"/>
                    <a:pt x="2025" y="261"/>
                    <a:pt x="2028" y="264"/>
                  </a:cubicBezTo>
                  <a:cubicBezTo>
                    <a:pt x="2028" y="267"/>
                    <a:pt x="2021" y="266"/>
                    <a:pt x="2017" y="266"/>
                  </a:cubicBezTo>
                  <a:close/>
                  <a:moveTo>
                    <a:pt x="2042" y="254"/>
                  </a:moveTo>
                  <a:cubicBezTo>
                    <a:pt x="2042" y="252"/>
                    <a:pt x="2042" y="251"/>
                    <a:pt x="2042" y="249"/>
                  </a:cubicBezTo>
                  <a:cubicBezTo>
                    <a:pt x="2044" y="249"/>
                    <a:pt x="2045" y="249"/>
                    <a:pt x="2047" y="249"/>
                  </a:cubicBezTo>
                  <a:cubicBezTo>
                    <a:pt x="2047" y="251"/>
                    <a:pt x="2047" y="252"/>
                    <a:pt x="2047" y="254"/>
                  </a:cubicBezTo>
                  <a:cubicBezTo>
                    <a:pt x="2046" y="254"/>
                    <a:pt x="2044" y="254"/>
                    <a:pt x="2042" y="254"/>
                  </a:cubicBezTo>
                  <a:close/>
                  <a:moveTo>
                    <a:pt x="2044" y="221"/>
                  </a:moveTo>
                  <a:cubicBezTo>
                    <a:pt x="2044" y="219"/>
                    <a:pt x="2044" y="216"/>
                    <a:pt x="2044" y="214"/>
                  </a:cubicBezTo>
                  <a:cubicBezTo>
                    <a:pt x="2038" y="213"/>
                    <a:pt x="2039" y="217"/>
                    <a:pt x="2039" y="221"/>
                  </a:cubicBezTo>
                  <a:cubicBezTo>
                    <a:pt x="2034" y="222"/>
                    <a:pt x="2025" y="219"/>
                    <a:pt x="2028" y="226"/>
                  </a:cubicBezTo>
                  <a:cubicBezTo>
                    <a:pt x="2018" y="222"/>
                    <a:pt x="2031" y="219"/>
                    <a:pt x="2033" y="217"/>
                  </a:cubicBezTo>
                  <a:cubicBezTo>
                    <a:pt x="2032" y="211"/>
                    <a:pt x="2021" y="216"/>
                    <a:pt x="2016" y="214"/>
                  </a:cubicBezTo>
                  <a:cubicBezTo>
                    <a:pt x="2013" y="222"/>
                    <a:pt x="2025" y="216"/>
                    <a:pt x="2022" y="224"/>
                  </a:cubicBezTo>
                  <a:cubicBezTo>
                    <a:pt x="2018" y="224"/>
                    <a:pt x="2014" y="224"/>
                    <a:pt x="2014" y="226"/>
                  </a:cubicBezTo>
                  <a:cubicBezTo>
                    <a:pt x="2011" y="226"/>
                    <a:pt x="2012" y="222"/>
                    <a:pt x="2008" y="222"/>
                  </a:cubicBezTo>
                  <a:cubicBezTo>
                    <a:pt x="2001" y="221"/>
                    <a:pt x="2016" y="231"/>
                    <a:pt x="2003" y="229"/>
                  </a:cubicBezTo>
                  <a:cubicBezTo>
                    <a:pt x="2001" y="236"/>
                    <a:pt x="2007" y="235"/>
                    <a:pt x="2006" y="241"/>
                  </a:cubicBezTo>
                  <a:cubicBezTo>
                    <a:pt x="1999" y="239"/>
                    <a:pt x="1997" y="231"/>
                    <a:pt x="2000" y="227"/>
                  </a:cubicBezTo>
                  <a:cubicBezTo>
                    <a:pt x="2001" y="226"/>
                    <a:pt x="2006" y="227"/>
                    <a:pt x="2006" y="226"/>
                  </a:cubicBezTo>
                  <a:cubicBezTo>
                    <a:pt x="2006" y="224"/>
                    <a:pt x="1999" y="222"/>
                    <a:pt x="2006" y="217"/>
                  </a:cubicBezTo>
                  <a:cubicBezTo>
                    <a:pt x="2005" y="214"/>
                    <a:pt x="1999" y="215"/>
                    <a:pt x="1994" y="215"/>
                  </a:cubicBezTo>
                  <a:cubicBezTo>
                    <a:pt x="1987" y="217"/>
                    <a:pt x="1992" y="218"/>
                    <a:pt x="1992" y="224"/>
                  </a:cubicBezTo>
                  <a:cubicBezTo>
                    <a:pt x="1983" y="227"/>
                    <a:pt x="1988" y="217"/>
                    <a:pt x="1984" y="215"/>
                  </a:cubicBezTo>
                  <a:cubicBezTo>
                    <a:pt x="1976" y="215"/>
                    <a:pt x="1980" y="222"/>
                    <a:pt x="1978" y="225"/>
                  </a:cubicBezTo>
                  <a:cubicBezTo>
                    <a:pt x="1978" y="225"/>
                    <a:pt x="1973" y="224"/>
                    <a:pt x="1973" y="225"/>
                  </a:cubicBezTo>
                  <a:cubicBezTo>
                    <a:pt x="1971" y="226"/>
                    <a:pt x="1974" y="230"/>
                    <a:pt x="1973" y="232"/>
                  </a:cubicBezTo>
                  <a:cubicBezTo>
                    <a:pt x="1967" y="230"/>
                    <a:pt x="1967" y="228"/>
                    <a:pt x="1970" y="225"/>
                  </a:cubicBezTo>
                  <a:cubicBezTo>
                    <a:pt x="1965" y="224"/>
                    <a:pt x="1965" y="227"/>
                    <a:pt x="1965" y="230"/>
                  </a:cubicBezTo>
                  <a:cubicBezTo>
                    <a:pt x="1961" y="229"/>
                    <a:pt x="1962" y="224"/>
                    <a:pt x="1962" y="220"/>
                  </a:cubicBezTo>
                  <a:cubicBezTo>
                    <a:pt x="1966" y="220"/>
                    <a:pt x="1971" y="220"/>
                    <a:pt x="1975" y="220"/>
                  </a:cubicBezTo>
                  <a:cubicBezTo>
                    <a:pt x="1976" y="214"/>
                    <a:pt x="1960" y="222"/>
                    <a:pt x="1964" y="213"/>
                  </a:cubicBezTo>
                  <a:cubicBezTo>
                    <a:pt x="1974" y="212"/>
                    <a:pt x="1988" y="216"/>
                    <a:pt x="1986" y="206"/>
                  </a:cubicBezTo>
                  <a:cubicBezTo>
                    <a:pt x="1992" y="205"/>
                    <a:pt x="1995" y="207"/>
                    <a:pt x="1994" y="213"/>
                  </a:cubicBezTo>
                  <a:cubicBezTo>
                    <a:pt x="2004" y="211"/>
                    <a:pt x="2003" y="210"/>
                    <a:pt x="2011" y="212"/>
                  </a:cubicBezTo>
                  <a:cubicBezTo>
                    <a:pt x="2015" y="211"/>
                    <a:pt x="2010" y="209"/>
                    <a:pt x="2011" y="205"/>
                  </a:cubicBezTo>
                  <a:cubicBezTo>
                    <a:pt x="2018" y="204"/>
                    <a:pt x="2021" y="206"/>
                    <a:pt x="2019" y="212"/>
                  </a:cubicBezTo>
                  <a:cubicBezTo>
                    <a:pt x="2024" y="212"/>
                    <a:pt x="2026" y="210"/>
                    <a:pt x="2027" y="207"/>
                  </a:cubicBezTo>
                  <a:cubicBezTo>
                    <a:pt x="2031" y="208"/>
                    <a:pt x="2032" y="211"/>
                    <a:pt x="2036" y="212"/>
                  </a:cubicBezTo>
                  <a:cubicBezTo>
                    <a:pt x="2039" y="212"/>
                    <a:pt x="2037" y="210"/>
                    <a:pt x="2038" y="209"/>
                  </a:cubicBezTo>
                  <a:cubicBezTo>
                    <a:pt x="2041" y="209"/>
                    <a:pt x="2045" y="214"/>
                    <a:pt x="2047" y="207"/>
                  </a:cubicBezTo>
                  <a:cubicBezTo>
                    <a:pt x="2051" y="208"/>
                    <a:pt x="2049" y="214"/>
                    <a:pt x="2058" y="211"/>
                  </a:cubicBezTo>
                  <a:cubicBezTo>
                    <a:pt x="2066" y="214"/>
                    <a:pt x="2050" y="214"/>
                    <a:pt x="2047" y="214"/>
                  </a:cubicBezTo>
                  <a:cubicBezTo>
                    <a:pt x="2047" y="220"/>
                    <a:pt x="2057" y="218"/>
                    <a:pt x="2060" y="221"/>
                  </a:cubicBezTo>
                  <a:cubicBezTo>
                    <a:pt x="2057" y="225"/>
                    <a:pt x="2054" y="221"/>
                    <a:pt x="2044" y="221"/>
                  </a:cubicBezTo>
                  <a:close/>
                  <a:moveTo>
                    <a:pt x="2063" y="221"/>
                  </a:moveTo>
                  <a:cubicBezTo>
                    <a:pt x="2063" y="218"/>
                    <a:pt x="2067" y="219"/>
                    <a:pt x="2069" y="218"/>
                  </a:cubicBezTo>
                  <a:cubicBezTo>
                    <a:pt x="2069" y="214"/>
                    <a:pt x="2069" y="210"/>
                    <a:pt x="2068" y="207"/>
                  </a:cubicBezTo>
                  <a:cubicBezTo>
                    <a:pt x="2080" y="203"/>
                    <a:pt x="2069" y="219"/>
                    <a:pt x="2077" y="218"/>
                  </a:cubicBezTo>
                  <a:cubicBezTo>
                    <a:pt x="2077" y="223"/>
                    <a:pt x="2067" y="219"/>
                    <a:pt x="2063" y="221"/>
                  </a:cubicBezTo>
                  <a:close/>
                  <a:moveTo>
                    <a:pt x="2074" y="239"/>
                  </a:moveTo>
                  <a:cubicBezTo>
                    <a:pt x="2073" y="239"/>
                    <a:pt x="2071" y="239"/>
                    <a:pt x="2069" y="239"/>
                  </a:cubicBezTo>
                  <a:cubicBezTo>
                    <a:pt x="2069" y="237"/>
                    <a:pt x="2069" y="235"/>
                    <a:pt x="2069" y="232"/>
                  </a:cubicBezTo>
                  <a:cubicBezTo>
                    <a:pt x="2073" y="232"/>
                    <a:pt x="2074" y="235"/>
                    <a:pt x="2077" y="235"/>
                  </a:cubicBezTo>
                  <a:cubicBezTo>
                    <a:pt x="2077" y="237"/>
                    <a:pt x="2074" y="237"/>
                    <a:pt x="2074" y="239"/>
                  </a:cubicBezTo>
                  <a:close/>
                  <a:moveTo>
                    <a:pt x="2200" y="66"/>
                  </a:moveTo>
                  <a:cubicBezTo>
                    <a:pt x="2203" y="68"/>
                    <a:pt x="2211" y="66"/>
                    <a:pt x="2209" y="72"/>
                  </a:cubicBezTo>
                  <a:cubicBezTo>
                    <a:pt x="2206" y="70"/>
                    <a:pt x="2199" y="72"/>
                    <a:pt x="2200" y="66"/>
                  </a:cubicBezTo>
                  <a:close/>
                  <a:moveTo>
                    <a:pt x="2184" y="71"/>
                  </a:moveTo>
                  <a:cubicBezTo>
                    <a:pt x="2184" y="72"/>
                    <a:pt x="2184" y="74"/>
                    <a:pt x="2184" y="75"/>
                  </a:cubicBezTo>
                  <a:cubicBezTo>
                    <a:pt x="2182" y="75"/>
                    <a:pt x="2180" y="75"/>
                    <a:pt x="2179" y="75"/>
                  </a:cubicBezTo>
                  <a:cubicBezTo>
                    <a:pt x="2179" y="74"/>
                    <a:pt x="2179" y="72"/>
                    <a:pt x="2179" y="71"/>
                  </a:cubicBezTo>
                  <a:cubicBezTo>
                    <a:pt x="2180" y="71"/>
                    <a:pt x="2182" y="71"/>
                    <a:pt x="2184" y="71"/>
                  </a:cubicBezTo>
                  <a:close/>
                  <a:moveTo>
                    <a:pt x="2180" y="132"/>
                  </a:moveTo>
                  <a:cubicBezTo>
                    <a:pt x="2179" y="136"/>
                    <a:pt x="2175" y="141"/>
                    <a:pt x="2174" y="144"/>
                  </a:cubicBezTo>
                  <a:cubicBezTo>
                    <a:pt x="2172" y="142"/>
                    <a:pt x="2170" y="141"/>
                    <a:pt x="2166" y="141"/>
                  </a:cubicBezTo>
                  <a:cubicBezTo>
                    <a:pt x="2162" y="135"/>
                    <a:pt x="2171" y="136"/>
                    <a:pt x="2171" y="132"/>
                  </a:cubicBezTo>
                  <a:cubicBezTo>
                    <a:pt x="2172" y="129"/>
                    <a:pt x="2177" y="130"/>
                    <a:pt x="2180" y="129"/>
                  </a:cubicBezTo>
                  <a:cubicBezTo>
                    <a:pt x="2180" y="127"/>
                    <a:pt x="2178" y="127"/>
                    <a:pt x="2177" y="127"/>
                  </a:cubicBezTo>
                  <a:cubicBezTo>
                    <a:pt x="2185" y="120"/>
                    <a:pt x="2181" y="128"/>
                    <a:pt x="2180" y="132"/>
                  </a:cubicBezTo>
                  <a:close/>
                  <a:moveTo>
                    <a:pt x="2183" y="174"/>
                  </a:moveTo>
                  <a:cubicBezTo>
                    <a:pt x="2180" y="173"/>
                    <a:pt x="2179" y="170"/>
                    <a:pt x="2175" y="169"/>
                  </a:cubicBezTo>
                  <a:cubicBezTo>
                    <a:pt x="2175" y="167"/>
                    <a:pt x="2178" y="168"/>
                    <a:pt x="2178" y="169"/>
                  </a:cubicBezTo>
                  <a:cubicBezTo>
                    <a:pt x="2180" y="169"/>
                    <a:pt x="2180" y="166"/>
                    <a:pt x="2180" y="165"/>
                  </a:cubicBezTo>
                  <a:cubicBezTo>
                    <a:pt x="2184" y="165"/>
                    <a:pt x="2183" y="170"/>
                    <a:pt x="2183" y="174"/>
                  </a:cubicBezTo>
                  <a:close/>
                  <a:moveTo>
                    <a:pt x="2177" y="120"/>
                  </a:moveTo>
                  <a:cubicBezTo>
                    <a:pt x="2176" y="125"/>
                    <a:pt x="2164" y="121"/>
                    <a:pt x="2166" y="116"/>
                  </a:cubicBezTo>
                  <a:cubicBezTo>
                    <a:pt x="2173" y="114"/>
                    <a:pt x="2171" y="120"/>
                    <a:pt x="2177" y="120"/>
                  </a:cubicBezTo>
                  <a:close/>
                  <a:moveTo>
                    <a:pt x="2166" y="108"/>
                  </a:moveTo>
                  <a:cubicBezTo>
                    <a:pt x="2166" y="108"/>
                    <a:pt x="2168" y="109"/>
                    <a:pt x="2168" y="108"/>
                  </a:cubicBezTo>
                  <a:cubicBezTo>
                    <a:pt x="2169" y="108"/>
                    <a:pt x="2169" y="102"/>
                    <a:pt x="2171" y="104"/>
                  </a:cubicBezTo>
                  <a:cubicBezTo>
                    <a:pt x="2179" y="111"/>
                    <a:pt x="2155" y="110"/>
                    <a:pt x="2166" y="108"/>
                  </a:cubicBezTo>
                  <a:close/>
                  <a:moveTo>
                    <a:pt x="2177" y="146"/>
                  </a:moveTo>
                  <a:cubicBezTo>
                    <a:pt x="2172" y="149"/>
                    <a:pt x="2177" y="160"/>
                    <a:pt x="2169" y="160"/>
                  </a:cubicBezTo>
                  <a:cubicBezTo>
                    <a:pt x="2171" y="162"/>
                    <a:pt x="2172" y="164"/>
                    <a:pt x="2172" y="167"/>
                  </a:cubicBezTo>
                  <a:cubicBezTo>
                    <a:pt x="2164" y="171"/>
                    <a:pt x="2163" y="152"/>
                    <a:pt x="2172" y="155"/>
                  </a:cubicBezTo>
                  <a:cubicBezTo>
                    <a:pt x="2171" y="151"/>
                    <a:pt x="2167" y="150"/>
                    <a:pt x="2161" y="151"/>
                  </a:cubicBezTo>
                  <a:cubicBezTo>
                    <a:pt x="2164" y="147"/>
                    <a:pt x="2170" y="146"/>
                    <a:pt x="2177" y="146"/>
                  </a:cubicBezTo>
                  <a:close/>
                  <a:moveTo>
                    <a:pt x="2164" y="205"/>
                  </a:moveTo>
                  <a:cubicBezTo>
                    <a:pt x="2165" y="200"/>
                    <a:pt x="2174" y="207"/>
                    <a:pt x="2173" y="212"/>
                  </a:cubicBezTo>
                  <a:cubicBezTo>
                    <a:pt x="2170" y="212"/>
                    <a:pt x="2167" y="212"/>
                    <a:pt x="2165" y="212"/>
                  </a:cubicBezTo>
                  <a:cubicBezTo>
                    <a:pt x="2166" y="210"/>
                    <a:pt x="2169" y="205"/>
                    <a:pt x="2164" y="205"/>
                  </a:cubicBezTo>
                  <a:close/>
                  <a:moveTo>
                    <a:pt x="2164" y="186"/>
                  </a:moveTo>
                  <a:cubicBezTo>
                    <a:pt x="2166" y="173"/>
                    <a:pt x="2181" y="193"/>
                    <a:pt x="2167" y="193"/>
                  </a:cubicBezTo>
                  <a:cubicBezTo>
                    <a:pt x="2167" y="191"/>
                    <a:pt x="2170" y="191"/>
                    <a:pt x="2170" y="188"/>
                  </a:cubicBezTo>
                  <a:cubicBezTo>
                    <a:pt x="2170" y="186"/>
                    <a:pt x="2166" y="187"/>
                    <a:pt x="2164" y="186"/>
                  </a:cubicBezTo>
                  <a:close/>
                  <a:moveTo>
                    <a:pt x="2154" y="99"/>
                  </a:moveTo>
                  <a:cubicBezTo>
                    <a:pt x="2166" y="98"/>
                    <a:pt x="2156" y="104"/>
                    <a:pt x="2157" y="109"/>
                  </a:cubicBezTo>
                  <a:cubicBezTo>
                    <a:pt x="2149" y="108"/>
                    <a:pt x="2150" y="117"/>
                    <a:pt x="2144" y="111"/>
                  </a:cubicBezTo>
                  <a:cubicBezTo>
                    <a:pt x="2145" y="106"/>
                    <a:pt x="2158" y="109"/>
                    <a:pt x="2154" y="99"/>
                  </a:cubicBezTo>
                  <a:close/>
                  <a:moveTo>
                    <a:pt x="2159" y="207"/>
                  </a:moveTo>
                  <a:cubicBezTo>
                    <a:pt x="2146" y="210"/>
                    <a:pt x="2154" y="195"/>
                    <a:pt x="2159" y="203"/>
                  </a:cubicBezTo>
                  <a:cubicBezTo>
                    <a:pt x="2159" y="204"/>
                    <a:pt x="2159" y="206"/>
                    <a:pt x="2159" y="207"/>
                  </a:cubicBezTo>
                  <a:close/>
                  <a:moveTo>
                    <a:pt x="2141" y="130"/>
                  </a:moveTo>
                  <a:cubicBezTo>
                    <a:pt x="2150" y="127"/>
                    <a:pt x="2143" y="138"/>
                    <a:pt x="2152" y="135"/>
                  </a:cubicBezTo>
                  <a:cubicBezTo>
                    <a:pt x="2150" y="139"/>
                    <a:pt x="2147" y="143"/>
                    <a:pt x="2139" y="142"/>
                  </a:cubicBezTo>
                  <a:cubicBezTo>
                    <a:pt x="2137" y="136"/>
                    <a:pt x="2144" y="137"/>
                    <a:pt x="2141" y="130"/>
                  </a:cubicBezTo>
                  <a:close/>
                  <a:moveTo>
                    <a:pt x="2115" y="189"/>
                  </a:moveTo>
                  <a:cubicBezTo>
                    <a:pt x="2120" y="183"/>
                    <a:pt x="2127" y="192"/>
                    <a:pt x="2134" y="187"/>
                  </a:cubicBezTo>
                  <a:cubicBezTo>
                    <a:pt x="2135" y="195"/>
                    <a:pt x="2119" y="190"/>
                    <a:pt x="2115" y="194"/>
                  </a:cubicBezTo>
                  <a:cubicBezTo>
                    <a:pt x="2117" y="192"/>
                    <a:pt x="2118" y="190"/>
                    <a:pt x="2115" y="189"/>
                  </a:cubicBezTo>
                  <a:close/>
                  <a:moveTo>
                    <a:pt x="2128" y="140"/>
                  </a:moveTo>
                  <a:cubicBezTo>
                    <a:pt x="2125" y="148"/>
                    <a:pt x="2122" y="137"/>
                    <a:pt x="2119" y="138"/>
                  </a:cubicBezTo>
                  <a:cubicBezTo>
                    <a:pt x="2114" y="135"/>
                    <a:pt x="2116" y="142"/>
                    <a:pt x="2114" y="142"/>
                  </a:cubicBezTo>
                  <a:cubicBezTo>
                    <a:pt x="2112" y="143"/>
                    <a:pt x="2108" y="139"/>
                    <a:pt x="2103" y="142"/>
                  </a:cubicBezTo>
                  <a:cubicBezTo>
                    <a:pt x="2103" y="140"/>
                    <a:pt x="2103" y="138"/>
                    <a:pt x="2103" y="135"/>
                  </a:cubicBezTo>
                  <a:cubicBezTo>
                    <a:pt x="2114" y="137"/>
                    <a:pt x="2112" y="136"/>
                    <a:pt x="2125" y="135"/>
                  </a:cubicBezTo>
                  <a:cubicBezTo>
                    <a:pt x="2124" y="138"/>
                    <a:pt x="2126" y="139"/>
                    <a:pt x="2128" y="140"/>
                  </a:cubicBezTo>
                  <a:close/>
                  <a:moveTo>
                    <a:pt x="2130" y="107"/>
                  </a:moveTo>
                  <a:cubicBezTo>
                    <a:pt x="2124" y="116"/>
                    <a:pt x="2136" y="115"/>
                    <a:pt x="2133" y="128"/>
                  </a:cubicBezTo>
                  <a:cubicBezTo>
                    <a:pt x="2130" y="128"/>
                    <a:pt x="2131" y="124"/>
                    <a:pt x="2130" y="121"/>
                  </a:cubicBezTo>
                  <a:cubicBezTo>
                    <a:pt x="2129" y="118"/>
                    <a:pt x="2117" y="107"/>
                    <a:pt x="2130" y="107"/>
                  </a:cubicBezTo>
                  <a:close/>
                  <a:moveTo>
                    <a:pt x="2111" y="107"/>
                  </a:moveTo>
                  <a:cubicBezTo>
                    <a:pt x="2110" y="110"/>
                    <a:pt x="2099" y="112"/>
                    <a:pt x="2111" y="112"/>
                  </a:cubicBezTo>
                  <a:cubicBezTo>
                    <a:pt x="2110" y="115"/>
                    <a:pt x="2106" y="114"/>
                    <a:pt x="2102" y="114"/>
                  </a:cubicBezTo>
                  <a:cubicBezTo>
                    <a:pt x="2098" y="107"/>
                    <a:pt x="2103" y="102"/>
                    <a:pt x="2111" y="107"/>
                  </a:cubicBezTo>
                  <a:close/>
                  <a:moveTo>
                    <a:pt x="2088" y="251"/>
                  </a:moveTo>
                  <a:cubicBezTo>
                    <a:pt x="2084" y="249"/>
                    <a:pt x="2081" y="243"/>
                    <a:pt x="2085" y="239"/>
                  </a:cubicBezTo>
                  <a:cubicBezTo>
                    <a:pt x="2091" y="239"/>
                    <a:pt x="2087" y="247"/>
                    <a:pt x="2088" y="251"/>
                  </a:cubicBezTo>
                  <a:close/>
                  <a:moveTo>
                    <a:pt x="2085" y="227"/>
                  </a:moveTo>
                  <a:cubicBezTo>
                    <a:pt x="2075" y="221"/>
                    <a:pt x="2088" y="214"/>
                    <a:pt x="2082" y="204"/>
                  </a:cubicBezTo>
                  <a:cubicBezTo>
                    <a:pt x="2085" y="205"/>
                    <a:pt x="2085" y="209"/>
                    <a:pt x="2090" y="209"/>
                  </a:cubicBezTo>
                  <a:cubicBezTo>
                    <a:pt x="2090" y="216"/>
                    <a:pt x="2083" y="218"/>
                    <a:pt x="2085" y="227"/>
                  </a:cubicBezTo>
                  <a:close/>
                  <a:moveTo>
                    <a:pt x="2103" y="168"/>
                  </a:moveTo>
                  <a:cubicBezTo>
                    <a:pt x="2105" y="169"/>
                    <a:pt x="2096" y="175"/>
                    <a:pt x="2093" y="171"/>
                  </a:cubicBezTo>
                  <a:cubicBezTo>
                    <a:pt x="2092" y="169"/>
                    <a:pt x="2102" y="167"/>
                    <a:pt x="2103" y="168"/>
                  </a:cubicBezTo>
                  <a:close/>
                  <a:moveTo>
                    <a:pt x="2095" y="293"/>
                  </a:moveTo>
                  <a:cubicBezTo>
                    <a:pt x="2095" y="289"/>
                    <a:pt x="2104" y="291"/>
                    <a:pt x="2103" y="286"/>
                  </a:cubicBezTo>
                  <a:cubicBezTo>
                    <a:pt x="2107" y="287"/>
                    <a:pt x="2105" y="293"/>
                    <a:pt x="2114" y="290"/>
                  </a:cubicBezTo>
                  <a:cubicBezTo>
                    <a:pt x="2108" y="295"/>
                    <a:pt x="2101" y="295"/>
                    <a:pt x="2095" y="293"/>
                  </a:cubicBezTo>
                  <a:close/>
                  <a:moveTo>
                    <a:pt x="2094" y="270"/>
                  </a:moveTo>
                  <a:cubicBezTo>
                    <a:pt x="2095" y="265"/>
                    <a:pt x="2098" y="271"/>
                    <a:pt x="2097" y="274"/>
                  </a:cubicBezTo>
                  <a:cubicBezTo>
                    <a:pt x="2096" y="279"/>
                    <a:pt x="2094" y="273"/>
                    <a:pt x="2094" y="270"/>
                  </a:cubicBezTo>
                  <a:close/>
                  <a:moveTo>
                    <a:pt x="2102" y="225"/>
                  </a:moveTo>
                  <a:cubicBezTo>
                    <a:pt x="2094" y="222"/>
                    <a:pt x="2109" y="208"/>
                    <a:pt x="2102" y="225"/>
                  </a:cubicBezTo>
                  <a:close/>
                  <a:moveTo>
                    <a:pt x="2110" y="218"/>
                  </a:moveTo>
                  <a:cubicBezTo>
                    <a:pt x="2117" y="218"/>
                    <a:pt x="2111" y="226"/>
                    <a:pt x="2110" y="227"/>
                  </a:cubicBezTo>
                  <a:cubicBezTo>
                    <a:pt x="2102" y="226"/>
                    <a:pt x="2112" y="222"/>
                    <a:pt x="2110" y="218"/>
                  </a:cubicBezTo>
                  <a:close/>
                  <a:moveTo>
                    <a:pt x="2119" y="281"/>
                  </a:moveTo>
                  <a:cubicBezTo>
                    <a:pt x="2117" y="288"/>
                    <a:pt x="2115" y="277"/>
                    <a:pt x="2116" y="274"/>
                  </a:cubicBezTo>
                  <a:cubicBezTo>
                    <a:pt x="2113" y="277"/>
                    <a:pt x="2112" y="275"/>
                    <a:pt x="2108" y="274"/>
                  </a:cubicBezTo>
                  <a:cubicBezTo>
                    <a:pt x="2110" y="272"/>
                    <a:pt x="2114" y="271"/>
                    <a:pt x="2113" y="267"/>
                  </a:cubicBezTo>
                  <a:cubicBezTo>
                    <a:pt x="2118" y="269"/>
                    <a:pt x="2120" y="274"/>
                    <a:pt x="2119" y="281"/>
                  </a:cubicBezTo>
                  <a:close/>
                  <a:moveTo>
                    <a:pt x="2121" y="246"/>
                  </a:moveTo>
                  <a:cubicBezTo>
                    <a:pt x="2121" y="246"/>
                    <a:pt x="2116" y="243"/>
                    <a:pt x="2116" y="243"/>
                  </a:cubicBezTo>
                  <a:cubicBezTo>
                    <a:pt x="2116" y="240"/>
                    <a:pt x="2120" y="243"/>
                    <a:pt x="2121" y="241"/>
                  </a:cubicBezTo>
                  <a:cubicBezTo>
                    <a:pt x="2121" y="240"/>
                    <a:pt x="2122" y="234"/>
                    <a:pt x="2124" y="236"/>
                  </a:cubicBezTo>
                  <a:cubicBezTo>
                    <a:pt x="2124" y="237"/>
                    <a:pt x="2121" y="245"/>
                    <a:pt x="2121" y="246"/>
                  </a:cubicBezTo>
                  <a:close/>
                  <a:moveTo>
                    <a:pt x="2115" y="217"/>
                  </a:moveTo>
                  <a:cubicBezTo>
                    <a:pt x="2117" y="212"/>
                    <a:pt x="2129" y="216"/>
                    <a:pt x="2126" y="222"/>
                  </a:cubicBezTo>
                  <a:cubicBezTo>
                    <a:pt x="2122" y="221"/>
                    <a:pt x="2119" y="219"/>
                    <a:pt x="2115" y="217"/>
                  </a:cubicBezTo>
                  <a:close/>
                  <a:moveTo>
                    <a:pt x="2122" y="276"/>
                  </a:moveTo>
                  <a:cubicBezTo>
                    <a:pt x="2122" y="272"/>
                    <a:pt x="2126" y="271"/>
                    <a:pt x="2133" y="271"/>
                  </a:cubicBezTo>
                  <a:cubicBezTo>
                    <a:pt x="2132" y="275"/>
                    <a:pt x="2128" y="277"/>
                    <a:pt x="2122" y="276"/>
                  </a:cubicBezTo>
                  <a:close/>
                  <a:moveTo>
                    <a:pt x="2129" y="243"/>
                  </a:moveTo>
                  <a:cubicBezTo>
                    <a:pt x="2129" y="241"/>
                    <a:pt x="2129" y="240"/>
                    <a:pt x="2129" y="238"/>
                  </a:cubicBezTo>
                  <a:cubicBezTo>
                    <a:pt x="2131" y="238"/>
                    <a:pt x="2133" y="238"/>
                    <a:pt x="2135" y="238"/>
                  </a:cubicBezTo>
                  <a:cubicBezTo>
                    <a:pt x="2135" y="240"/>
                    <a:pt x="2135" y="241"/>
                    <a:pt x="2135" y="243"/>
                  </a:cubicBezTo>
                  <a:cubicBezTo>
                    <a:pt x="2133" y="243"/>
                    <a:pt x="2131" y="243"/>
                    <a:pt x="2129" y="243"/>
                  </a:cubicBezTo>
                  <a:close/>
                  <a:moveTo>
                    <a:pt x="2134" y="210"/>
                  </a:moveTo>
                  <a:cubicBezTo>
                    <a:pt x="2132" y="212"/>
                    <a:pt x="2130" y="212"/>
                    <a:pt x="2126" y="213"/>
                  </a:cubicBezTo>
                  <a:cubicBezTo>
                    <a:pt x="2126" y="213"/>
                    <a:pt x="2126" y="210"/>
                    <a:pt x="2126" y="210"/>
                  </a:cubicBezTo>
                  <a:cubicBezTo>
                    <a:pt x="2124" y="211"/>
                    <a:pt x="2124" y="213"/>
                    <a:pt x="2123" y="213"/>
                  </a:cubicBezTo>
                  <a:cubicBezTo>
                    <a:pt x="2121" y="213"/>
                    <a:pt x="2120" y="210"/>
                    <a:pt x="2121" y="210"/>
                  </a:cubicBezTo>
                  <a:cubicBezTo>
                    <a:pt x="2121" y="210"/>
                    <a:pt x="2113" y="212"/>
                    <a:pt x="2112" y="213"/>
                  </a:cubicBezTo>
                  <a:cubicBezTo>
                    <a:pt x="2110" y="215"/>
                    <a:pt x="2112" y="213"/>
                    <a:pt x="2101" y="213"/>
                  </a:cubicBezTo>
                  <a:cubicBezTo>
                    <a:pt x="2103" y="207"/>
                    <a:pt x="2100" y="205"/>
                    <a:pt x="2093" y="206"/>
                  </a:cubicBezTo>
                  <a:cubicBezTo>
                    <a:pt x="2092" y="203"/>
                    <a:pt x="2097" y="205"/>
                    <a:pt x="2099" y="204"/>
                  </a:cubicBezTo>
                  <a:cubicBezTo>
                    <a:pt x="2103" y="199"/>
                    <a:pt x="2097" y="191"/>
                    <a:pt x="2107" y="192"/>
                  </a:cubicBezTo>
                  <a:cubicBezTo>
                    <a:pt x="2101" y="197"/>
                    <a:pt x="2105" y="205"/>
                    <a:pt x="2107" y="211"/>
                  </a:cubicBezTo>
                  <a:cubicBezTo>
                    <a:pt x="2112" y="208"/>
                    <a:pt x="2122" y="210"/>
                    <a:pt x="2121" y="203"/>
                  </a:cubicBezTo>
                  <a:cubicBezTo>
                    <a:pt x="2123" y="205"/>
                    <a:pt x="2125" y="207"/>
                    <a:pt x="2126" y="210"/>
                  </a:cubicBezTo>
                  <a:cubicBezTo>
                    <a:pt x="2130" y="206"/>
                    <a:pt x="2135" y="204"/>
                    <a:pt x="2134" y="196"/>
                  </a:cubicBezTo>
                  <a:cubicBezTo>
                    <a:pt x="2138" y="196"/>
                    <a:pt x="2135" y="203"/>
                    <a:pt x="2140" y="203"/>
                  </a:cubicBezTo>
                  <a:cubicBezTo>
                    <a:pt x="2138" y="205"/>
                    <a:pt x="2133" y="206"/>
                    <a:pt x="2134" y="210"/>
                  </a:cubicBezTo>
                  <a:close/>
                  <a:moveTo>
                    <a:pt x="2144" y="285"/>
                  </a:moveTo>
                  <a:cubicBezTo>
                    <a:pt x="2139" y="283"/>
                    <a:pt x="2136" y="275"/>
                    <a:pt x="2141" y="271"/>
                  </a:cubicBezTo>
                  <a:cubicBezTo>
                    <a:pt x="2147" y="271"/>
                    <a:pt x="2142" y="281"/>
                    <a:pt x="2144" y="285"/>
                  </a:cubicBezTo>
                  <a:close/>
                  <a:moveTo>
                    <a:pt x="2143" y="215"/>
                  </a:moveTo>
                  <a:cubicBezTo>
                    <a:pt x="2146" y="216"/>
                    <a:pt x="2148" y="218"/>
                    <a:pt x="2148" y="222"/>
                  </a:cubicBezTo>
                  <a:cubicBezTo>
                    <a:pt x="2145" y="221"/>
                    <a:pt x="2143" y="219"/>
                    <a:pt x="2143" y="215"/>
                  </a:cubicBezTo>
                  <a:close/>
                  <a:moveTo>
                    <a:pt x="2147" y="156"/>
                  </a:moveTo>
                  <a:cubicBezTo>
                    <a:pt x="2143" y="154"/>
                    <a:pt x="2148" y="152"/>
                    <a:pt x="2144" y="146"/>
                  </a:cubicBezTo>
                  <a:cubicBezTo>
                    <a:pt x="2154" y="144"/>
                    <a:pt x="2150" y="154"/>
                    <a:pt x="2155" y="156"/>
                  </a:cubicBezTo>
                  <a:cubicBezTo>
                    <a:pt x="2154" y="159"/>
                    <a:pt x="2151" y="156"/>
                    <a:pt x="2150" y="153"/>
                  </a:cubicBezTo>
                  <a:cubicBezTo>
                    <a:pt x="2147" y="153"/>
                    <a:pt x="2147" y="154"/>
                    <a:pt x="2147" y="156"/>
                  </a:cubicBezTo>
                  <a:close/>
                  <a:moveTo>
                    <a:pt x="2157" y="250"/>
                  </a:moveTo>
                  <a:cubicBezTo>
                    <a:pt x="2153" y="249"/>
                    <a:pt x="2156" y="243"/>
                    <a:pt x="2151" y="243"/>
                  </a:cubicBezTo>
                  <a:cubicBezTo>
                    <a:pt x="2153" y="240"/>
                    <a:pt x="2158" y="240"/>
                    <a:pt x="2157" y="236"/>
                  </a:cubicBezTo>
                  <a:cubicBezTo>
                    <a:pt x="2164" y="238"/>
                    <a:pt x="2156" y="246"/>
                    <a:pt x="2157" y="250"/>
                  </a:cubicBezTo>
                  <a:close/>
                  <a:moveTo>
                    <a:pt x="2159" y="221"/>
                  </a:moveTo>
                  <a:cubicBezTo>
                    <a:pt x="2160" y="224"/>
                    <a:pt x="2159" y="236"/>
                    <a:pt x="2157" y="228"/>
                  </a:cubicBezTo>
                  <a:cubicBezTo>
                    <a:pt x="2157" y="224"/>
                    <a:pt x="2156" y="219"/>
                    <a:pt x="2156" y="214"/>
                  </a:cubicBezTo>
                  <a:cubicBezTo>
                    <a:pt x="2160" y="214"/>
                    <a:pt x="2164" y="214"/>
                    <a:pt x="2167" y="214"/>
                  </a:cubicBezTo>
                  <a:cubicBezTo>
                    <a:pt x="2168" y="219"/>
                    <a:pt x="2165" y="222"/>
                    <a:pt x="2159" y="221"/>
                  </a:cubicBezTo>
                  <a:close/>
                  <a:moveTo>
                    <a:pt x="2168" y="273"/>
                  </a:moveTo>
                  <a:cubicBezTo>
                    <a:pt x="2171" y="274"/>
                    <a:pt x="2173" y="275"/>
                    <a:pt x="2177" y="275"/>
                  </a:cubicBezTo>
                  <a:cubicBezTo>
                    <a:pt x="2176" y="284"/>
                    <a:pt x="2173" y="284"/>
                    <a:pt x="2177" y="292"/>
                  </a:cubicBezTo>
                  <a:cubicBezTo>
                    <a:pt x="2165" y="293"/>
                    <a:pt x="2169" y="281"/>
                    <a:pt x="2168" y="273"/>
                  </a:cubicBezTo>
                  <a:close/>
                  <a:moveTo>
                    <a:pt x="2174" y="273"/>
                  </a:moveTo>
                  <a:cubicBezTo>
                    <a:pt x="2174" y="271"/>
                    <a:pt x="2174" y="270"/>
                    <a:pt x="2174" y="268"/>
                  </a:cubicBezTo>
                  <a:cubicBezTo>
                    <a:pt x="2176" y="268"/>
                    <a:pt x="2177" y="268"/>
                    <a:pt x="2179" y="268"/>
                  </a:cubicBezTo>
                  <a:cubicBezTo>
                    <a:pt x="2179" y="270"/>
                    <a:pt x="2179" y="271"/>
                    <a:pt x="2179" y="273"/>
                  </a:cubicBezTo>
                  <a:cubicBezTo>
                    <a:pt x="2177" y="273"/>
                    <a:pt x="2176" y="273"/>
                    <a:pt x="2174" y="273"/>
                  </a:cubicBezTo>
                  <a:close/>
                  <a:moveTo>
                    <a:pt x="2170" y="217"/>
                  </a:moveTo>
                  <a:cubicBezTo>
                    <a:pt x="2171" y="213"/>
                    <a:pt x="2177" y="214"/>
                    <a:pt x="2181" y="214"/>
                  </a:cubicBezTo>
                  <a:cubicBezTo>
                    <a:pt x="2180" y="219"/>
                    <a:pt x="2174" y="220"/>
                    <a:pt x="2170" y="217"/>
                  </a:cubicBezTo>
                  <a:close/>
                  <a:moveTo>
                    <a:pt x="2181" y="197"/>
                  </a:moveTo>
                  <a:cubicBezTo>
                    <a:pt x="2173" y="193"/>
                    <a:pt x="2182" y="183"/>
                    <a:pt x="2183" y="179"/>
                  </a:cubicBezTo>
                  <a:cubicBezTo>
                    <a:pt x="2189" y="182"/>
                    <a:pt x="2180" y="191"/>
                    <a:pt x="2181" y="197"/>
                  </a:cubicBezTo>
                  <a:close/>
                  <a:moveTo>
                    <a:pt x="2188" y="136"/>
                  </a:moveTo>
                  <a:cubicBezTo>
                    <a:pt x="2190" y="136"/>
                    <a:pt x="2192" y="136"/>
                    <a:pt x="2193" y="136"/>
                  </a:cubicBezTo>
                  <a:cubicBezTo>
                    <a:pt x="2195" y="141"/>
                    <a:pt x="2190" y="141"/>
                    <a:pt x="2185" y="141"/>
                  </a:cubicBezTo>
                  <a:cubicBezTo>
                    <a:pt x="2186" y="139"/>
                    <a:pt x="2188" y="139"/>
                    <a:pt x="2188" y="136"/>
                  </a:cubicBezTo>
                  <a:close/>
                  <a:moveTo>
                    <a:pt x="2189" y="204"/>
                  </a:moveTo>
                  <a:cubicBezTo>
                    <a:pt x="2188" y="209"/>
                    <a:pt x="2186" y="203"/>
                    <a:pt x="2186" y="200"/>
                  </a:cubicBezTo>
                  <a:cubicBezTo>
                    <a:pt x="2187" y="195"/>
                    <a:pt x="2190" y="201"/>
                    <a:pt x="2189" y="204"/>
                  </a:cubicBezTo>
                  <a:close/>
                  <a:moveTo>
                    <a:pt x="2189" y="214"/>
                  </a:moveTo>
                  <a:cubicBezTo>
                    <a:pt x="2194" y="213"/>
                    <a:pt x="2194" y="216"/>
                    <a:pt x="2198" y="216"/>
                  </a:cubicBezTo>
                  <a:cubicBezTo>
                    <a:pt x="2195" y="223"/>
                    <a:pt x="2195" y="223"/>
                    <a:pt x="2198" y="230"/>
                  </a:cubicBezTo>
                  <a:cubicBezTo>
                    <a:pt x="2190" y="229"/>
                    <a:pt x="2193" y="219"/>
                    <a:pt x="2189" y="214"/>
                  </a:cubicBezTo>
                  <a:close/>
                  <a:moveTo>
                    <a:pt x="2191" y="148"/>
                  </a:moveTo>
                  <a:cubicBezTo>
                    <a:pt x="2192" y="145"/>
                    <a:pt x="2198" y="146"/>
                    <a:pt x="2202" y="145"/>
                  </a:cubicBezTo>
                  <a:cubicBezTo>
                    <a:pt x="2201" y="137"/>
                    <a:pt x="2204" y="132"/>
                    <a:pt x="2213" y="131"/>
                  </a:cubicBezTo>
                  <a:cubicBezTo>
                    <a:pt x="2207" y="140"/>
                    <a:pt x="2204" y="142"/>
                    <a:pt x="2207" y="155"/>
                  </a:cubicBezTo>
                  <a:cubicBezTo>
                    <a:pt x="2200" y="155"/>
                    <a:pt x="2204" y="153"/>
                    <a:pt x="2205" y="150"/>
                  </a:cubicBezTo>
                  <a:cubicBezTo>
                    <a:pt x="2200" y="145"/>
                    <a:pt x="2198" y="152"/>
                    <a:pt x="2191" y="148"/>
                  </a:cubicBezTo>
                  <a:close/>
                  <a:moveTo>
                    <a:pt x="2214" y="220"/>
                  </a:moveTo>
                  <a:cubicBezTo>
                    <a:pt x="2205" y="222"/>
                    <a:pt x="2213" y="209"/>
                    <a:pt x="2203" y="211"/>
                  </a:cubicBezTo>
                  <a:cubicBezTo>
                    <a:pt x="2203" y="208"/>
                    <a:pt x="2208" y="209"/>
                    <a:pt x="2211" y="209"/>
                  </a:cubicBezTo>
                  <a:cubicBezTo>
                    <a:pt x="2209" y="215"/>
                    <a:pt x="2215" y="215"/>
                    <a:pt x="2214" y="220"/>
                  </a:cubicBezTo>
                  <a:close/>
                  <a:moveTo>
                    <a:pt x="2211" y="202"/>
                  </a:moveTo>
                  <a:cubicBezTo>
                    <a:pt x="2208" y="201"/>
                    <a:pt x="2206" y="202"/>
                    <a:pt x="2206" y="204"/>
                  </a:cubicBezTo>
                  <a:cubicBezTo>
                    <a:pt x="2201" y="203"/>
                    <a:pt x="2207" y="201"/>
                    <a:pt x="2206" y="197"/>
                  </a:cubicBezTo>
                  <a:cubicBezTo>
                    <a:pt x="2209" y="201"/>
                    <a:pt x="2217" y="200"/>
                    <a:pt x="2217" y="206"/>
                  </a:cubicBezTo>
                  <a:cubicBezTo>
                    <a:pt x="2214" y="205"/>
                    <a:pt x="2212" y="204"/>
                    <a:pt x="2211" y="202"/>
                  </a:cubicBezTo>
                  <a:close/>
                  <a:moveTo>
                    <a:pt x="2222" y="223"/>
                  </a:moveTo>
                  <a:cubicBezTo>
                    <a:pt x="2219" y="222"/>
                    <a:pt x="2220" y="217"/>
                    <a:pt x="2219" y="213"/>
                  </a:cubicBezTo>
                  <a:cubicBezTo>
                    <a:pt x="2222" y="213"/>
                    <a:pt x="2225" y="213"/>
                    <a:pt x="2228" y="213"/>
                  </a:cubicBezTo>
                  <a:cubicBezTo>
                    <a:pt x="2231" y="221"/>
                    <a:pt x="2219" y="215"/>
                    <a:pt x="2222" y="223"/>
                  </a:cubicBezTo>
                  <a:close/>
                  <a:moveTo>
                    <a:pt x="2233" y="187"/>
                  </a:moveTo>
                  <a:cubicBezTo>
                    <a:pt x="2235" y="187"/>
                    <a:pt x="2236" y="187"/>
                    <a:pt x="2238" y="187"/>
                  </a:cubicBezTo>
                  <a:cubicBezTo>
                    <a:pt x="2240" y="192"/>
                    <a:pt x="2234" y="192"/>
                    <a:pt x="2230" y="192"/>
                  </a:cubicBezTo>
                  <a:cubicBezTo>
                    <a:pt x="2231" y="190"/>
                    <a:pt x="2233" y="190"/>
                    <a:pt x="2233" y="187"/>
                  </a:cubicBezTo>
                  <a:close/>
                  <a:moveTo>
                    <a:pt x="2236" y="225"/>
                  </a:moveTo>
                  <a:cubicBezTo>
                    <a:pt x="2234" y="223"/>
                    <a:pt x="2230" y="215"/>
                    <a:pt x="2230" y="208"/>
                  </a:cubicBezTo>
                  <a:cubicBezTo>
                    <a:pt x="2230" y="207"/>
                    <a:pt x="2235" y="207"/>
                    <a:pt x="2236" y="206"/>
                  </a:cubicBezTo>
                  <a:cubicBezTo>
                    <a:pt x="2237" y="205"/>
                    <a:pt x="2232" y="201"/>
                    <a:pt x="2236" y="199"/>
                  </a:cubicBezTo>
                  <a:cubicBezTo>
                    <a:pt x="2244" y="199"/>
                    <a:pt x="2230" y="217"/>
                    <a:pt x="2239" y="211"/>
                  </a:cubicBezTo>
                  <a:cubicBezTo>
                    <a:pt x="2247" y="214"/>
                    <a:pt x="2234" y="219"/>
                    <a:pt x="2236" y="225"/>
                  </a:cubicBezTo>
                  <a:close/>
                  <a:moveTo>
                    <a:pt x="2264" y="104"/>
                  </a:moveTo>
                  <a:cubicBezTo>
                    <a:pt x="2271" y="105"/>
                    <a:pt x="2267" y="115"/>
                    <a:pt x="2259" y="112"/>
                  </a:cubicBezTo>
                  <a:cubicBezTo>
                    <a:pt x="2261" y="109"/>
                    <a:pt x="2265" y="109"/>
                    <a:pt x="2264" y="104"/>
                  </a:cubicBezTo>
                  <a:close/>
                  <a:moveTo>
                    <a:pt x="2267" y="128"/>
                  </a:moveTo>
                  <a:cubicBezTo>
                    <a:pt x="2277" y="126"/>
                    <a:pt x="2268" y="138"/>
                    <a:pt x="2265" y="135"/>
                  </a:cubicBezTo>
                  <a:cubicBezTo>
                    <a:pt x="2265" y="135"/>
                    <a:pt x="2267" y="130"/>
                    <a:pt x="2267" y="130"/>
                  </a:cubicBezTo>
                  <a:cubicBezTo>
                    <a:pt x="2268" y="130"/>
                    <a:pt x="2267" y="128"/>
                    <a:pt x="2267" y="128"/>
                  </a:cubicBezTo>
                  <a:close/>
                  <a:moveTo>
                    <a:pt x="2265" y="121"/>
                  </a:moveTo>
                  <a:cubicBezTo>
                    <a:pt x="2266" y="120"/>
                    <a:pt x="2256" y="119"/>
                    <a:pt x="2256" y="119"/>
                  </a:cubicBezTo>
                  <a:cubicBezTo>
                    <a:pt x="2255" y="115"/>
                    <a:pt x="2271" y="115"/>
                    <a:pt x="2265" y="121"/>
                  </a:cubicBezTo>
                  <a:close/>
                  <a:moveTo>
                    <a:pt x="2243" y="135"/>
                  </a:moveTo>
                  <a:cubicBezTo>
                    <a:pt x="2245" y="134"/>
                    <a:pt x="2245" y="138"/>
                    <a:pt x="2246" y="138"/>
                  </a:cubicBezTo>
                  <a:cubicBezTo>
                    <a:pt x="2248" y="138"/>
                    <a:pt x="2248" y="135"/>
                    <a:pt x="2248" y="135"/>
                  </a:cubicBezTo>
                  <a:cubicBezTo>
                    <a:pt x="2252" y="135"/>
                    <a:pt x="2258" y="140"/>
                    <a:pt x="2259" y="135"/>
                  </a:cubicBezTo>
                  <a:cubicBezTo>
                    <a:pt x="2255" y="132"/>
                    <a:pt x="2259" y="134"/>
                    <a:pt x="2262" y="135"/>
                  </a:cubicBezTo>
                  <a:cubicBezTo>
                    <a:pt x="2261" y="135"/>
                    <a:pt x="2260" y="139"/>
                    <a:pt x="2259" y="140"/>
                  </a:cubicBezTo>
                  <a:cubicBezTo>
                    <a:pt x="2256" y="141"/>
                    <a:pt x="2255" y="137"/>
                    <a:pt x="2254" y="137"/>
                  </a:cubicBezTo>
                  <a:cubicBezTo>
                    <a:pt x="2249" y="138"/>
                    <a:pt x="2241" y="144"/>
                    <a:pt x="2243" y="135"/>
                  </a:cubicBezTo>
                  <a:close/>
                  <a:moveTo>
                    <a:pt x="2247" y="220"/>
                  </a:moveTo>
                  <a:cubicBezTo>
                    <a:pt x="2252" y="215"/>
                    <a:pt x="2247" y="217"/>
                    <a:pt x="2247" y="210"/>
                  </a:cubicBezTo>
                  <a:cubicBezTo>
                    <a:pt x="2256" y="210"/>
                    <a:pt x="2258" y="221"/>
                    <a:pt x="2247" y="220"/>
                  </a:cubicBezTo>
                  <a:close/>
                  <a:moveTo>
                    <a:pt x="2244" y="192"/>
                  </a:moveTo>
                  <a:cubicBezTo>
                    <a:pt x="2237" y="190"/>
                    <a:pt x="2252" y="187"/>
                    <a:pt x="2257" y="187"/>
                  </a:cubicBezTo>
                  <a:cubicBezTo>
                    <a:pt x="2255" y="190"/>
                    <a:pt x="2249" y="190"/>
                    <a:pt x="2244" y="192"/>
                  </a:cubicBezTo>
                  <a:close/>
                  <a:moveTo>
                    <a:pt x="2249" y="182"/>
                  </a:moveTo>
                  <a:cubicBezTo>
                    <a:pt x="2251" y="180"/>
                    <a:pt x="2252" y="178"/>
                    <a:pt x="2252" y="175"/>
                  </a:cubicBezTo>
                  <a:cubicBezTo>
                    <a:pt x="2255" y="175"/>
                    <a:pt x="2257" y="175"/>
                    <a:pt x="2260" y="175"/>
                  </a:cubicBezTo>
                  <a:cubicBezTo>
                    <a:pt x="2258" y="178"/>
                    <a:pt x="2256" y="183"/>
                    <a:pt x="2249" y="182"/>
                  </a:cubicBezTo>
                  <a:close/>
                  <a:moveTo>
                    <a:pt x="2261" y="227"/>
                  </a:moveTo>
                  <a:cubicBezTo>
                    <a:pt x="2261" y="221"/>
                    <a:pt x="2266" y="230"/>
                    <a:pt x="2272" y="226"/>
                  </a:cubicBezTo>
                  <a:cubicBezTo>
                    <a:pt x="2272" y="232"/>
                    <a:pt x="2263" y="227"/>
                    <a:pt x="2261" y="227"/>
                  </a:cubicBezTo>
                  <a:close/>
                  <a:moveTo>
                    <a:pt x="2269" y="234"/>
                  </a:moveTo>
                  <a:cubicBezTo>
                    <a:pt x="2281" y="234"/>
                    <a:pt x="2267" y="247"/>
                    <a:pt x="2269" y="234"/>
                  </a:cubicBezTo>
                  <a:close/>
                  <a:moveTo>
                    <a:pt x="2273" y="109"/>
                  </a:moveTo>
                  <a:cubicBezTo>
                    <a:pt x="2269" y="106"/>
                    <a:pt x="2266" y="97"/>
                    <a:pt x="2269" y="95"/>
                  </a:cubicBezTo>
                  <a:cubicBezTo>
                    <a:pt x="2273" y="98"/>
                    <a:pt x="2276" y="106"/>
                    <a:pt x="2273" y="109"/>
                  </a:cubicBezTo>
                  <a:close/>
                  <a:moveTo>
                    <a:pt x="2886" y="232"/>
                  </a:moveTo>
                  <a:cubicBezTo>
                    <a:pt x="2880" y="240"/>
                    <a:pt x="2873" y="226"/>
                    <a:pt x="2886" y="232"/>
                  </a:cubicBezTo>
                  <a:close/>
                  <a:moveTo>
                    <a:pt x="2865" y="263"/>
                  </a:moveTo>
                  <a:cubicBezTo>
                    <a:pt x="2870" y="263"/>
                    <a:pt x="2871" y="266"/>
                    <a:pt x="2876" y="265"/>
                  </a:cubicBezTo>
                  <a:cubicBezTo>
                    <a:pt x="2877" y="269"/>
                    <a:pt x="2861" y="270"/>
                    <a:pt x="2865" y="263"/>
                  </a:cubicBezTo>
                  <a:close/>
                  <a:moveTo>
                    <a:pt x="2865" y="230"/>
                  </a:moveTo>
                  <a:cubicBezTo>
                    <a:pt x="2876" y="227"/>
                    <a:pt x="2872" y="238"/>
                    <a:pt x="2878" y="239"/>
                  </a:cubicBezTo>
                  <a:cubicBezTo>
                    <a:pt x="2877" y="243"/>
                    <a:pt x="2872" y="241"/>
                    <a:pt x="2873" y="237"/>
                  </a:cubicBezTo>
                  <a:cubicBezTo>
                    <a:pt x="2865" y="239"/>
                    <a:pt x="2875" y="246"/>
                    <a:pt x="2879" y="246"/>
                  </a:cubicBezTo>
                  <a:cubicBezTo>
                    <a:pt x="2876" y="250"/>
                    <a:pt x="2877" y="256"/>
                    <a:pt x="2868" y="254"/>
                  </a:cubicBezTo>
                  <a:cubicBezTo>
                    <a:pt x="2866" y="252"/>
                    <a:pt x="2873" y="249"/>
                    <a:pt x="2873" y="249"/>
                  </a:cubicBezTo>
                  <a:cubicBezTo>
                    <a:pt x="2873" y="246"/>
                    <a:pt x="2869" y="248"/>
                    <a:pt x="2867" y="247"/>
                  </a:cubicBezTo>
                  <a:cubicBezTo>
                    <a:pt x="2867" y="246"/>
                    <a:pt x="2868" y="243"/>
                    <a:pt x="2867" y="242"/>
                  </a:cubicBezTo>
                  <a:cubicBezTo>
                    <a:pt x="2866" y="241"/>
                    <a:pt x="2863" y="237"/>
                    <a:pt x="2865" y="230"/>
                  </a:cubicBezTo>
                  <a:close/>
                  <a:moveTo>
                    <a:pt x="2862" y="247"/>
                  </a:moveTo>
                  <a:cubicBezTo>
                    <a:pt x="2860" y="251"/>
                    <a:pt x="2859" y="245"/>
                    <a:pt x="2859" y="242"/>
                  </a:cubicBezTo>
                  <a:cubicBezTo>
                    <a:pt x="2851" y="239"/>
                    <a:pt x="2866" y="240"/>
                    <a:pt x="2862" y="247"/>
                  </a:cubicBezTo>
                  <a:close/>
                  <a:moveTo>
                    <a:pt x="2869" y="193"/>
                  </a:moveTo>
                  <a:cubicBezTo>
                    <a:pt x="2871" y="190"/>
                    <a:pt x="2873" y="188"/>
                    <a:pt x="2869" y="188"/>
                  </a:cubicBezTo>
                  <a:cubicBezTo>
                    <a:pt x="2872" y="178"/>
                    <a:pt x="2881" y="196"/>
                    <a:pt x="2869" y="193"/>
                  </a:cubicBezTo>
                  <a:close/>
                  <a:moveTo>
                    <a:pt x="2872" y="160"/>
                  </a:moveTo>
                  <a:cubicBezTo>
                    <a:pt x="2866" y="156"/>
                    <a:pt x="2868" y="160"/>
                    <a:pt x="2861" y="160"/>
                  </a:cubicBezTo>
                  <a:cubicBezTo>
                    <a:pt x="2860" y="158"/>
                    <a:pt x="2862" y="158"/>
                    <a:pt x="2863" y="157"/>
                  </a:cubicBezTo>
                  <a:cubicBezTo>
                    <a:pt x="2863" y="155"/>
                    <a:pt x="2860" y="156"/>
                    <a:pt x="2858" y="155"/>
                  </a:cubicBezTo>
                  <a:cubicBezTo>
                    <a:pt x="2859" y="147"/>
                    <a:pt x="2872" y="152"/>
                    <a:pt x="2872" y="160"/>
                  </a:cubicBezTo>
                  <a:close/>
                  <a:moveTo>
                    <a:pt x="2705" y="221"/>
                  </a:moveTo>
                  <a:cubicBezTo>
                    <a:pt x="2707" y="221"/>
                    <a:pt x="2709" y="221"/>
                    <a:pt x="2711" y="221"/>
                  </a:cubicBezTo>
                  <a:cubicBezTo>
                    <a:pt x="2711" y="223"/>
                    <a:pt x="2711" y="224"/>
                    <a:pt x="2711" y="226"/>
                  </a:cubicBezTo>
                  <a:cubicBezTo>
                    <a:pt x="2709" y="226"/>
                    <a:pt x="2707" y="226"/>
                    <a:pt x="2705" y="226"/>
                  </a:cubicBezTo>
                  <a:cubicBezTo>
                    <a:pt x="2705" y="224"/>
                    <a:pt x="2705" y="223"/>
                    <a:pt x="2705" y="221"/>
                  </a:cubicBezTo>
                  <a:close/>
                  <a:moveTo>
                    <a:pt x="2714" y="245"/>
                  </a:moveTo>
                  <a:cubicBezTo>
                    <a:pt x="2718" y="236"/>
                    <a:pt x="2706" y="240"/>
                    <a:pt x="2708" y="233"/>
                  </a:cubicBezTo>
                  <a:cubicBezTo>
                    <a:pt x="2713" y="233"/>
                    <a:pt x="2714" y="230"/>
                    <a:pt x="2719" y="230"/>
                  </a:cubicBezTo>
                  <a:cubicBezTo>
                    <a:pt x="2725" y="236"/>
                    <a:pt x="2714" y="241"/>
                    <a:pt x="2725" y="242"/>
                  </a:cubicBezTo>
                  <a:cubicBezTo>
                    <a:pt x="2724" y="245"/>
                    <a:pt x="2718" y="244"/>
                    <a:pt x="2714" y="245"/>
                  </a:cubicBezTo>
                  <a:close/>
                  <a:moveTo>
                    <a:pt x="2727" y="237"/>
                  </a:moveTo>
                  <a:cubicBezTo>
                    <a:pt x="2730" y="232"/>
                    <a:pt x="2734" y="229"/>
                    <a:pt x="2733" y="221"/>
                  </a:cubicBezTo>
                  <a:cubicBezTo>
                    <a:pt x="2743" y="224"/>
                    <a:pt x="2734" y="228"/>
                    <a:pt x="2738" y="235"/>
                  </a:cubicBezTo>
                  <a:cubicBezTo>
                    <a:pt x="2733" y="235"/>
                    <a:pt x="2733" y="238"/>
                    <a:pt x="2727" y="237"/>
                  </a:cubicBezTo>
                  <a:close/>
                  <a:moveTo>
                    <a:pt x="2733" y="242"/>
                  </a:moveTo>
                  <a:cubicBezTo>
                    <a:pt x="2735" y="244"/>
                    <a:pt x="2739" y="244"/>
                    <a:pt x="2739" y="249"/>
                  </a:cubicBezTo>
                  <a:cubicBezTo>
                    <a:pt x="2731" y="250"/>
                    <a:pt x="2731" y="244"/>
                    <a:pt x="2730" y="240"/>
                  </a:cubicBezTo>
                  <a:cubicBezTo>
                    <a:pt x="2735" y="240"/>
                    <a:pt x="2736" y="237"/>
                    <a:pt x="2741" y="237"/>
                  </a:cubicBezTo>
                  <a:cubicBezTo>
                    <a:pt x="2743" y="242"/>
                    <a:pt x="2737" y="242"/>
                    <a:pt x="2733" y="242"/>
                  </a:cubicBezTo>
                  <a:close/>
                  <a:moveTo>
                    <a:pt x="2730" y="218"/>
                  </a:moveTo>
                  <a:cubicBezTo>
                    <a:pt x="2727" y="211"/>
                    <a:pt x="2747" y="206"/>
                    <a:pt x="2730" y="207"/>
                  </a:cubicBezTo>
                  <a:cubicBezTo>
                    <a:pt x="2729" y="198"/>
                    <a:pt x="2749" y="206"/>
                    <a:pt x="2751" y="199"/>
                  </a:cubicBezTo>
                  <a:cubicBezTo>
                    <a:pt x="2758" y="201"/>
                    <a:pt x="2748" y="208"/>
                    <a:pt x="2752" y="216"/>
                  </a:cubicBezTo>
                  <a:cubicBezTo>
                    <a:pt x="2746" y="217"/>
                    <a:pt x="2748" y="211"/>
                    <a:pt x="2743" y="211"/>
                  </a:cubicBezTo>
                  <a:cubicBezTo>
                    <a:pt x="2735" y="213"/>
                    <a:pt x="2750" y="215"/>
                    <a:pt x="2746" y="221"/>
                  </a:cubicBezTo>
                  <a:cubicBezTo>
                    <a:pt x="2741" y="218"/>
                    <a:pt x="2738" y="222"/>
                    <a:pt x="2730" y="218"/>
                  </a:cubicBezTo>
                  <a:close/>
                  <a:moveTo>
                    <a:pt x="2740" y="185"/>
                  </a:moveTo>
                  <a:cubicBezTo>
                    <a:pt x="2742" y="185"/>
                    <a:pt x="2744" y="185"/>
                    <a:pt x="2746" y="185"/>
                  </a:cubicBezTo>
                  <a:cubicBezTo>
                    <a:pt x="2746" y="187"/>
                    <a:pt x="2746" y="188"/>
                    <a:pt x="2746" y="190"/>
                  </a:cubicBezTo>
                  <a:cubicBezTo>
                    <a:pt x="2744" y="190"/>
                    <a:pt x="2742" y="190"/>
                    <a:pt x="2740" y="190"/>
                  </a:cubicBezTo>
                  <a:cubicBezTo>
                    <a:pt x="2740" y="189"/>
                    <a:pt x="2740" y="187"/>
                    <a:pt x="2740" y="185"/>
                  </a:cubicBezTo>
                  <a:close/>
                  <a:moveTo>
                    <a:pt x="2755" y="242"/>
                  </a:moveTo>
                  <a:cubicBezTo>
                    <a:pt x="2751" y="242"/>
                    <a:pt x="2748" y="242"/>
                    <a:pt x="2744" y="242"/>
                  </a:cubicBezTo>
                  <a:cubicBezTo>
                    <a:pt x="2743" y="237"/>
                    <a:pt x="2751" y="238"/>
                    <a:pt x="2749" y="239"/>
                  </a:cubicBezTo>
                  <a:cubicBezTo>
                    <a:pt x="2755" y="235"/>
                    <a:pt x="2752" y="229"/>
                    <a:pt x="2763" y="230"/>
                  </a:cubicBezTo>
                  <a:cubicBezTo>
                    <a:pt x="2766" y="238"/>
                    <a:pt x="2750" y="231"/>
                    <a:pt x="2755" y="242"/>
                  </a:cubicBezTo>
                  <a:close/>
                  <a:moveTo>
                    <a:pt x="2763" y="248"/>
                  </a:moveTo>
                  <a:cubicBezTo>
                    <a:pt x="2760" y="248"/>
                    <a:pt x="2761" y="244"/>
                    <a:pt x="2760" y="241"/>
                  </a:cubicBezTo>
                  <a:cubicBezTo>
                    <a:pt x="2763" y="241"/>
                    <a:pt x="2766" y="241"/>
                    <a:pt x="2769" y="241"/>
                  </a:cubicBezTo>
                  <a:cubicBezTo>
                    <a:pt x="2768" y="244"/>
                    <a:pt x="2764" y="245"/>
                    <a:pt x="2763" y="248"/>
                  </a:cubicBezTo>
                  <a:close/>
                  <a:moveTo>
                    <a:pt x="2771" y="222"/>
                  </a:moveTo>
                  <a:cubicBezTo>
                    <a:pt x="2784" y="224"/>
                    <a:pt x="2769" y="237"/>
                    <a:pt x="2771" y="222"/>
                  </a:cubicBezTo>
                  <a:close/>
                  <a:moveTo>
                    <a:pt x="2777" y="262"/>
                  </a:moveTo>
                  <a:cubicBezTo>
                    <a:pt x="2771" y="261"/>
                    <a:pt x="2775" y="250"/>
                    <a:pt x="2777" y="248"/>
                  </a:cubicBezTo>
                  <a:cubicBezTo>
                    <a:pt x="2783" y="249"/>
                    <a:pt x="2779" y="261"/>
                    <a:pt x="2777" y="262"/>
                  </a:cubicBezTo>
                  <a:close/>
                  <a:moveTo>
                    <a:pt x="2782" y="236"/>
                  </a:moveTo>
                  <a:cubicBezTo>
                    <a:pt x="2781" y="236"/>
                    <a:pt x="2779" y="236"/>
                    <a:pt x="2777" y="237"/>
                  </a:cubicBezTo>
                  <a:cubicBezTo>
                    <a:pt x="2777" y="234"/>
                    <a:pt x="2776" y="234"/>
                    <a:pt x="2774" y="234"/>
                  </a:cubicBezTo>
                  <a:cubicBezTo>
                    <a:pt x="2773" y="230"/>
                    <a:pt x="2786" y="231"/>
                    <a:pt x="2782" y="236"/>
                  </a:cubicBezTo>
                  <a:close/>
                  <a:moveTo>
                    <a:pt x="2794" y="269"/>
                  </a:moveTo>
                  <a:cubicBezTo>
                    <a:pt x="2794" y="268"/>
                    <a:pt x="2794" y="266"/>
                    <a:pt x="2794" y="264"/>
                  </a:cubicBezTo>
                  <a:cubicBezTo>
                    <a:pt x="2796" y="264"/>
                    <a:pt x="2797" y="264"/>
                    <a:pt x="2799" y="264"/>
                  </a:cubicBezTo>
                  <a:cubicBezTo>
                    <a:pt x="2799" y="266"/>
                    <a:pt x="2799" y="267"/>
                    <a:pt x="2799" y="269"/>
                  </a:cubicBezTo>
                  <a:cubicBezTo>
                    <a:pt x="2798" y="269"/>
                    <a:pt x="2796" y="269"/>
                    <a:pt x="2794" y="269"/>
                  </a:cubicBezTo>
                  <a:close/>
                  <a:moveTo>
                    <a:pt x="2807" y="259"/>
                  </a:moveTo>
                  <a:cubicBezTo>
                    <a:pt x="2804" y="256"/>
                    <a:pt x="2796" y="257"/>
                    <a:pt x="2796" y="250"/>
                  </a:cubicBezTo>
                  <a:cubicBezTo>
                    <a:pt x="2804" y="253"/>
                    <a:pt x="2809" y="244"/>
                    <a:pt x="2799" y="245"/>
                  </a:cubicBezTo>
                  <a:cubicBezTo>
                    <a:pt x="2799" y="242"/>
                    <a:pt x="2806" y="238"/>
                    <a:pt x="2804" y="245"/>
                  </a:cubicBezTo>
                  <a:cubicBezTo>
                    <a:pt x="2808" y="245"/>
                    <a:pt x="2809" y="246"/>
                    <a:pt x="2810" y="248"/>
                  </a:cubicBezTo>
                  <a:cubicBezTo>
                    <a:pt x="2819" y="247"/>
                    <a:pt x="2802" y="239"/>
                    <a:pt x="2815" y="241"/>
                  </a:cubicBezTo>
                  <a:cubicBezTo>
                    <a:pt x="2815" y="245"/>
                    <a:pt x="2815" y="250"/>
                    <a:pt x="2816" y="255"/>
                  </a:cubicBezTo>
                  <a:cubicBezTo>
                    <a:pt x="2810" y="254"/>
                    <a:pt x="2807" y="255"/>
                    <a:pt x="2807" y="259"/>
                  </a:cubicBezTo>
                  <a:close/>
                  <a:moveTo>
                    <a:pt x="2810" y="231"/>
                  </a:moveTo>
                  <a:cubicBezTo>
                    <a:pt x="2809" y="234"/>
                    <a:pt x="2806" y="236"/>
                    <a:pt x="2801" y="236"/>
                  </a:cubicBezTo>
                  <a:cubicBezTo>
                    <a:pt x="2800" y="231"/>
                    <a:pt x="2805" y="232"/>
                    <a:pt x="2810" y="231"/>
                  </a:cubicBezTo>
                  <a:close/>
                  <a:moveTo>
                    <a:pt x="2824" y="259"/>
                  </a:moveTo>
                  <a:cubicBezTo>
                    <a:pt x="2834" y="255"/>
                    <a:pt x="2826" y="267"/>
                    <a:pt x="2832" y="266"/>
                  </a:cubicBezTo>
                  <a:cubicBezTo>
                    <a:pt x="2830" y="272"/>
                    <a:pt x="2821" y="265"/>
                    <a:pt x="2824" y="259"/>
                  </a:cubicBezTo>
                  <a:close/>
                  <a:moveTo>
                    <a:pt x="2838" y="268"/>
                  </a:moveTo>
                  <a:cubicBezTo>
                    <a:pt x="2838" y="267"/>
                    <a:pt x="2838" y="265"/>
                    <a:pt x="2838" y="264"/>
                  </a:cubicBezTo>
                  <a:cubicBezTo>
                    <a:pt x="2840" y="264"/>
                    <a:pt x="2841" y="264"/>
                    <a:pt x="2843" y="264"/>
                  </a:cubicBezTo>
                  <a:cubicBezTo>
                    <a:pt x="2843" y="265"/>
                    <a:pt x="2843" y="267"/>
                    <a:pt x="2843" y="268"/>
                  </a:cubicBezTo>
                  <a:cubicBezTo>
                    <a:pt x="2841" y="268"/>
                    <a:pt x="2840" y="268"/>
                    <a:pt x="2838" y="268"/>
                  </a:cubicBezTo>
                  <a:close/>
                  <a:moveTo>
                    <a:pt x="2833" y="163"/>
                  </a:moveTo>
                  <a:cubicBezTo>
                    <a:pt x="2839" y="163"/>
                    <a:pt x="2835" y="173"/>
                    <a:pt x="2836" y="177"/>
                  </a:cubicBezTo>
                  <a:cubicBezTo>
                    <a:pt x="2840" y="176"/>
                    <a:pt x="2838" y="171"/>
                    <a:pt x="2839" y="167"/>
                  </a:cubicBezTo>
                  <a:cubicBezTo>
                    <a:pt x="2849" y="167"/>
                    <a:pt x="2846" y="180"/>
                    <a:pt x="2850" y="186"/>
                  </a:cubicBezTo>
                  <a:cubicBezTo>
                    <a:pt x="2845" y="186"/>
                    <a:pt x="2847" y="192"/>
                    <a:pt x="2839" y="191"/>
                  </a:cubicBezTo>
                  <a:cubicBezTo>
                    <a:pt x="2838" y="181"/>
                    <a:pt x="2852" y="178"/>
                    <a:pt x="2833" y="179"/>
                  </a:cubicBezTo>
                  <a:cubicBezTo>
                    <a:pt x="2836" y="171"/>
                    <a:pt x="2827" y="168"/>
                    <a:pt x="2833" y="163"/>
                  </a:cubicBezTo>
                  <a:close/>
                  <a:moveTo>
                    <a:pt x="2850" y="198"/>
                  </a:moveTo>
                  <a:cubicBezTo>
                    <a:pt x="2847" y="202"/>
                    <a:pt x="2834" y="210"/>
                    <a:pt x="2834" y="198"/>
                  </a:cubicBezTo>
                  <a:cubicBezTo>
                    <a:pt x="2843" y="200"/>
                    <a:pt x="2845" y="193"/>
                    <a:pt x="2850" y="198"/>
                  </a:cubicBezTo>
                  <a:close/>
                  <a:moveTo>
                    <a:pt x="2836" y="191"/>
                  </a:moveTo>
                  <a:cubicBezTo>
                    <a:pt x="2834" y="190"/>
                    <a:pt x="2834" y="192"/>
                    <a:pt x="2834" y="193"/>
                  </a:cubicBezTo>
                  <a:cubicBezTo>
                    <a:pt x="2830" y="193"/>
                    <a:pt x="2831" y="189"/>
                    <a:pt x="2831" y="186"/>
                  </a:cubicBezTo>
                  <a:cubicBezTo>
                    <a:pt x="2835" y="185"/>
                    <a:pt x="2836" y="188"/>
                    <a:pt x="2836" y="191"/>
                  </a:cubicBezTo>
                  <a:close/>
                  <a:moveTo>
                    <a:pt x="2825" y="175"/>
                  </a:moveTo>
                  <a:cubicBezTo>
                    <a:pt x="2831" y="176"/>
                    <a:pt x="2831" y="178"/>
                    <a:pt x="2828" y="182"/>
                  </a:cubicBezTo>
                  <a:cubicBezTo>
                    <a:pt x="2826" y="182"/>
                    <a:pt x="2824" y="182"/>
                    <a:pt x="2822" y="182"/>
                  </a:cubicBezTo>
                  <a:cubicBezTo>
                    <a:pt x="2822" y="178"/>
                    <a:pt x="2825" y="178"/>
                    <a:pt x="2825" y="175"/>
                  </a:cubicBezTo>
                  <a:close/>
                  <a:moveTo>
                    <a:pt x="2812" y="184"/>
                  </a:moveTo>
                  <a:cubicBezTo>
                    <a:pt x="2823" y="185"/>
                    <a:pt x="2812" y="190"/>
                    <a:pt x="2817" y="196"/>
                  </a:cubicBezTo>
                  <a:cubicBezTo>
                    <a:pt x="2808" y="198"/>
                    <a:pt x="2813" y="189"/>
                    <a:pt x="2812" y="184"/>
                  </a:cubicBezTo>
                  <a:close/>
                  <a:moveTo>
                    <a:pt x="2801" y="182"/>
                  </a:moveTo>
                  <a:cubicBezTo>
                    <a:pt x="2802" y="182"/>
                    <a:pt x="2804" y="182"/>
                    <a:pt x="2806" y="182"/>
                  </a:cubicBezTo>
                  <a:cubicBezTo>
                    <a:pt x="2806" y="184"/>
                    <a:pt x="2807" y="184"/>
                    <a:pt x="2809" y="184"/>
                  </a:cubicBezTo>
                  <a:cubicBezTo>
                    <a:pt x="2809" y="187"/>
                    <a:pt x="2805" y="186"/>
                    <a:pt x="2803" y="187"/>
                  </a:cubicBezTo>
                  <a:cubicBezTo>
                    <a:pt x="2805" y="189"/>
                    <a:pt x="2806" y="190"/>
                    <a:pt x="2806" y="194"/>
                  </a:cubicBezTo>
                  <a:cubicBezTo>
                    <a:pt x="2795" y="194"/>
                    <a:pt x="2799" y="188"/>
                    <a:pt x="2801" y="182"/>
                  </a:cubicBezTo>
                  <a:close/>
                  <a:moveTo>
                    <a:pt x="2801" y="215"/>
                  </a:moveTo>
                  <a:cubicBezTo>
                    <a:pt x="2811" y="212"/>
                    <a:pt x="2811" y="209"/>
                    <a:pt x="2820" y="215"/>
                  </a:cubicBezTo>
                  <a:cubicBezTo>
                    <a:pt x="2823" y="214"/>
                    <a:pt x="2822" y="212"/>
                    <a:pt x="2823" y="210"/>
                  </a:cubicBezTo>
                  <a:cubicBezTo>
                    <a:pt x="2822" y="208"/>
                    <a:pt x="2811" y="204"/>
                    <a:pt x="2812" y="208"/>
                  </a:cubicBezTo>
                  <a:cubicBezTo>
                    <a:pt x="2803" y="206"/>
                    <a:pt x="2815" y="203"/>
                    <a:pt x="2815" y="201"/>
                  </a:cubicBezTo>
                  <a:cubicBezTo>
                    <a:pt x="2815" y="197"/>
                    <a:pt x="2827" y="197"/>
                    <a:pt x="2831" y="198"/>
                  </a:cubicBezTo>
                  <a:cubicBezTo>
                    <a:pt x="2830" y="200"/>
                    <a:pt x="2826" y="200"/>
                    <a:pt x="2826" y="203"/>
                  </a:cubicBezTo>
                  <a:cubicBezTo>
                    <a:pt x="2825" y="206"/>
                    <a:pt x="2831" y="204"/>
                    <a:pt x="2831" y="205"/>
                  </a:cubicBezTo>
                  <a:cubicBezTo>
                    <a:pt x="2832" y="206"/>
                    <a:pt x="2825" y="218"/>
                    <a:pt x="2840" y="214"/>
                  </a:cubicBezTo>
                  <a:cubicBezTo>
                    <a:pt x="2843" y="212"/>
                    <a:pt x="2844" y="207"/>
                    <a:pt x="2853" y="209"/>
                  </a:cubicBezTo>
                  <a:cubicBezTo>
                    <a:pt x="2846" y="218"/>
                    <a:pt x="2842" y="225"/>
                    <a:pt x="2845" y="238"/>
                  </a:cubicBezTo>
                  <a:cubicBezTo>
                    <a:pt x="2842" y="238"/>
                    <a:pt x="2838" y="238"/>
                    <a:pt x="2834" y="238"/>
                  </a:cubicBezTo>
                  <a:cubicBezTo>
                    <a:pt x="2835" y="235"/>
                    <a:pt x="2839" y="236"/>
                    <a:pt x="2843" y="235"/>
                  </a:cubicBezTo>
                  <a:cubicBezTo>
                    <a:pt x="2844" y="230"/>
                    <a:pt x="2837" y="232"/>
                    <a:pt x="2837" y="228"/>
                  </a:cubicBezTo>
                  <a:cubicBezTo>
                    <a:pt x="2835" y="223"/>
                    <a:pt x="2841" y="225"/>
                    <a:pt x="2842" y="224"/>
                  </a:cubicBezTo>
                  <a:cubicBezTo>
                    <a:pt x="2844" y="222"/>
                    <a:pt x="2842" y="218"/>
                    <a:pt x="2845" y="219"/>
                  </a:cubicBezTo>
                  <a:cubicBezTo>
                    <a:pt x="2844" y="215"/>
                    <a:pt x="2842" y="220"/>
                    <a:pt x="2837" y="219"/>
                  </a:cubicBezTo>
                  <a:cubicBezTo>
                    <a:pt x="2838" y="215"/>
                    <a:pt x="2821" y="215"/>
                    <a:pt x="2826" y="222"/>
                  </a:cubicBezTo>
                  <a:cubicBezTo>
                    <a:pt x="2820" y="218"/>
                    <a:pt x="2816" y="223"/>
                    <a:pt x="2812" y="222"/>
                  </a:cubicBezTo>
                  <a:cubicBezTo>
                    <a:pt x="2811" y="221"/>
                    <a:pt x="2813" y="216"/>
                    <a:pt x="2809" y="217"/>
                  </a:cubicBezTo>
                  <a:cubicBezTo>
                    <a:pt x="2806" y="218"/>
                    <a:pt x="2807" y="221"/>
                    <a:pt x="2807" y="224"/>
                  </a:cubicBezTo>
                  <a:cubicBezTo>
                    <a:pt x="2800" y="225"/>
                    <a:pt x="2804" y="217"/>
                    <a:pt x="2798" y="217"/>
                  </a:cubicBezTo>
                  <a:cubicBezTo>
                    <a:pt x="2788" y="223"/>
                    <a:pt x="2807" y="240"/>
                    <a:pt x="2791" y="239"/>
                  </a:cubicBezTo>
                  <a:cubicBezTo>
                    <a:pt x="2791" y="237"/>
                    <a:pt x="2787" y="236"/>
                    <a:pt x="2788" y="234"/>
                  </a:cubicBezTo>
                  <a:cubicBezTo>
                    <a:pt x="2788" y="233"/>
                    <a:pt x="2793" y="232"/>
                    <a:pt x="2793" y="231"/>
                  </a:cubicBezTo>
                  <a:cubicBezTo>
                    <a:pt x="2793" y="227"/>
                    <a:pt x="2787" y="225"/>
                    <a:pt x="2790" y="217"/>
                  </a:cubicBezTo>
                  <a:cubicBezTo>
                    <a:pt x="2788" y="219"/>
                    <a:pt x="2783" y="219"/>
                    <a:pt x="2782" y="222"/>
                  </a:cubicBezTo>
                  <a:cubicBezTo>
                    <a:pt x="2777" y="220"/>
                    <a:pt x="2776" y="213"/>
                    <a:pt x="2771" y="211"/>
                  </a:cubicBezTo>
                  <a:cubicBezTo>
                    <a:pt x="2773" y="206"/>
                    <a:pt x="2776" y="210"/>
                    <a:pt x="2779" y="211"/>
                  </a:cubicBezTo>
                  <a:cubicBezTo>
                    <a:pt x="2776" y="203"/>
                    <a:pt x="2777" y="201"/>
                    <a:pt x="2782" y="196"/>
                  </a:cubicBezTo>
                  <a:cubicBezTo>
                    <a:pt x="2789" y="200"/>
                    <a:pt x="2782" y="211"/>
                    <a:pt x="2779" y="213"/>
                  </a:cubicBezTo>
                  <a:cubicBezTo>
                    <a:pt x="2780" y="219"/>
                    <a:pt x="2801" y="204"/>
                    <a:pt x="2793" y="215"/>
                  </a:cubicBezTo>
                  <a:cubicBezTo>
                    <a:pt x="2795" y="214"/>
                    <a:pt x="2798" y="213"/>
                    <a:pt x="2798" y="210"/>
                  </a:cubicBezTo>
                  <a:cubicBezTo>
                    <a:pt x="2798" y="208"/>
                    <a:pt x="2793" y="208"/>
                    <a:pt x="2790" y="208"/>
                  </a:cubicBezTo>
                  <a:cubicBezTo>
                    <a:pt x="2790" y="204"/>
                    <a:pt x="2790" y="200"/>
                    <a:pt x="2790" y="196"/>
                  </a:cubicBezTo>
                  <a:cubicBezTo>
                    <a:pt x="2807" y="195"/>
                    <a:pt x="2808" y="206"/>
                    <a:pt x="2801" y="215"/>
                  </a:cubicBezTo>
                  <a:close/>
                  <a:moveTo>
                    <a:pt x="2781" y="180"/>
                  </a:moveTo>
                  <a:cubicBezTo>
                    <a:pt x="2794" y="180"/>
                    <a:pt x="2782" y="188"/>
                    <a:pt x="2784" y="194"/>
                  </a:cubicBezTo>
                  <a:cubicBezTo>
                    <a:pt x="2778" y="194"/>
                    <a:pt x="2783" y="184"/>
                    <a:pt x="2781" y="180"/>
                  </a:cubicBezTo>
                  <a:close/>
                  <a:moveTo>
                    <a:pt x="2797" y="159"/>
                  </a:moveTo>
                  <a:cubicBezTo>
                    <a:pt x="2802" y="154"/>
                    <a:pt x="2797" y="156"/>
                    <a:pt x="2797" y="149"/>
                  </a:cubicBezTo>
                  <a:cubicBezTo>
                    <a:pt x="2803" y="148"/>
                    <a:pt x="2807" y="161"/>
                    <a:pt x="2797" y="159"/>
                  </a:cubicBezTo>
                  <a:close/>
                  <a:moveTo>
                    <a:pt x="2792" y="177"/>
                  </a:moveTo>
                  <a:cubicBezTo>
                    <a:pt x="2805" y="179"/>
                    <a:pt x="2790" y="192"/>
                    <a:pt x="2792" y="177"/>
                  </a:cubicBezTo>
                  <a:close/>
                  <a:moveTo>
                    <a:pt x="2784" y="149"/>
                  </a:moveTo>
                  <a:cubicBezTo>
                    <a:pt x="2786" y="149"/>
                    <a:pt x="2786" y="152"/>
                    <a:pt x="2786" y="154"/>
                  </a:cubicBezTo>
                  <a:cubicBezTo>
                    <a:pt x="2790" y="154"/>
                    <a:pt x="2791" y="153"/>
                    <a:pt x="2792" y="152"/>
                  </a:cubicBezTo>
                  <a:cubicBezTo>
                    <a:pt x="2802" y="156"/>
                    <a:pt x="2784" y="157"/>
                    <a:pt x="2778" y="157"/>
                  </a:cubicBezTo>
                  <a:cubicBezTo>
                    <a:pt x="2779" y="153"/>
                    <a:pt x="2783" y="153"/>
                    <a:pt x="2784" y="149"/>
                  </a:cubicBezTo>
                  <a:close/>
                  <a:moveTo>
                    <a:pt x="2776" y="166"/>
                  </a:moveTo>
                  <a:cubicBezTo>
                    <a:pt x="2779" y="167"/>
                    <a:pt x="2778" y="171"/>
                    <a:pt x="2781" y="171"/>
                  </a:cubicBezTo>
                  <a:cubicBezTo>
                    <a:pt x="2780" y="177"/>
                    <a:pt x="2772" y="171"/>
                    <a:pt x="2776" y="166"/>
                  </a:cubicBezTo>
                  <a:close/>
                  <a:moveTo>
                    <a:pt x="2770" y="175"/>
                  </a:moveTo>
                  <a:cubicBezTo>
                    <a:pt x="2770" y="178"/>
                    <a:pt x="2774" y="177"/>
                    <a:pt x="2776" y="178"/>
                  </a:cubicBezTo>
                  <a:cubicBezTo>
                    <a:pt x="2774" y="181"/>
                    <a:pt x="2779" y="190"/>
                    <a:pt x="2773" y="190"/>
                  </a:cubicBezTo>
                  <a:cubicBezTo>
                    <a:pt x="2773" y="203"/>
                    <a:pt x="2772" y="201"/>
                    <a:pt x="2768" y="211"/>
                  </a:cubicBezTo>
                  <a:cubicBezTo>
                    <a:pt x="2769" y="213"/>
                    <a:pt x="2771" y="215"/>
                    <a:pt x="2774" y="215"/>
                  </a:cubicBezTo>
                  <a:cubicBezTo>
                    <a:pt x="2773" y="218"/>
                    <a:pt x="2768" y="217"/>
                    <a:pt x="2768" y="220"/>
                  </a:cubicBezTo>
                  <a:cubicBezTo>
                    <a:pt x="2764" y="220"/>
                    <a:pt x="2767" y="213"/>
                    <a:pt x="2763" y="213"/>
                  </a:cubicBezTo>
                  <a:cubicBezTo>
                    <a:pt x="2753" y="215"/>
                    <a:pt x="2764" y="220"/>
                    <a:pt x="2757" y="225"/>
                  </a:cubicBezTo>
                  <a:cubicBezTo>
                    <a:pt x="2755" y="224"/>
                    <a:pt x="2752" y="223"/>
                    <a:pt x="2752" y="220"/>
                  </a:cubicBezTo>
                  <a:cubicBezTo>
                    <a:pt x="2752" y="218"/>
                    <a:pt x="2757" y="217"/>
                    <a:pt x="2757" y="216"/>
                  </a:cubicBezTo>
                  <a:cubicBezTo>
                    <a:pt x="2759" y="209"/>
                    <a:pt x="2756" y="199"/>
                    <a:pt x="2768" y="201"/>
                  </a:cubicBezTo>
                  <a:cubicBezTo>
                    <a:pt x="2762" y="195"/>
                    <a:pt x="2768" y="193"/>
                    <a:pt x="2768" y="183"/>
                  </a:cubicBezTo>
                  <a:cubicBezTo>
                    <a:pt x="2768" y="182"/>
                    <a:pt x="2768" y="178"/>
                    <a:pt x="2768" y="178"/>
                  </a:cubicBezTo>
                  <a:cubicBezTo>
                    <a:pt x="2767" y="178"/>
                    <a:pt x="2765" y="178"/>
                    <a:pt x="2765" y="178"/>
                  </a:cubicBezTo>
                  <a:cubicBezTo>
                    <a:pt x="2765" y="177"/>
                    <a:pt x="2767" y="175"/>
                    <a:pt x="2768" y="176"/>
                  </a:cubicBezTo>
                  <a:cubicBezTo>
                    <a:pt x="2767" y="174"/>
                    <a:pt x="2762" y="171"/>
                    <a:pt x="2762" y="171"/>
                  </a:cubicBezTo>
                  <a:cubicBezTo>
                    <a:pt x="2761" y="167"/>
                    <a:pt x="2764" y="167"/>
                    <a:pt x="2765" y="164"/>
                  </a:cubicBezTo>
                  <a:cubicBezTo>
                    <a:pt x="2765" y="159"/>
                    <a:pt x="2762" y="157"/>
                    <a:pt x="2762" y="152"/>
                  </a:cubicBezTo>
                  <a:cubicBezTo>
                    <a:pt x="2775" y="151"/>
                    <a:pt x="2768" y="167"/>
                    <a:pt x="2770" y="175"/>
                  </a:cubicBezTo>
                  <a:close/>
                  <a:moveTo>
                    <a:pt x="2757" y="185"/>
                  </a:moveTo>
                  <a:cubicBezTo>
                    <a:pt x="2768" y="184"/>
                    <a:pt x="2759" y="193"/>
                    <a:pt x="2760" y="197"/>
                  </a:cubicBezTo>
                  <a:cubicBezTo>
                    <a:pt x="2754" y="197"/>
                    <a:pt x="2758" y="189"/>
                    <a:pt x="2757" y="185"/>
                  </a:cubicBezTo>
                  <a:close/>
                  <a:moveTo>
                    <a:pt x="2734" y="153"/>
                  </a:moveTo>
                  <a:cubicBezTo>
                    <a:pt x="2748" y="151"/>
                    <a:pt x="2748" y="152"/>
                    <a:pt x="2759" y="150"/>
                  </a:cubicBezTo>
                  <a:cubicBezTo>
                    <a:pt x="2757" y="157"/>
                    <a:pt x="2761" y="159"/>
                    <a:pt x="2759" y="164"/>
                  </a:cubicBezTo>
                  <a:cubicBezTo>
                    <a:pt x="2759" y="164"/>
                    <a:pt x="2755" y="161"/>
                    <a:pt x="2754" y="162"/>
                  </a:cubicBezTo>
                  <a:cubicBezTo>
                    <a:pt x="2752" y="162"/>
                    <a:pt x="2749" y="168"/>
                    <a:pt x="2756" y="169"/>
                  </a:cubicBezTo>
                  <a:cubicBezTo>
                    <a:pt x="2754" y="171"/>
                    <a:pt x="2739" y="181"/>
                    <a:pt x="2751" y="181"/>
                  </a:cubicBezTo>
                  <a:cubicBezTo>
                    <a:pt x="2761" y="181"/>
                    <a:pt x="2743" y="187"/>
                    <a:pt x="2746" y="181"/>
                  </a:cubicBezTo>
                  <a:cubicBezTo>
                    <a:pt x="2739" y="181"/>
                    <a:pt x="2737" y="185"/>
                    <a:pt x="2732" y="181"/>
                  </a:cubicBezTo>
                  <a:cubicBezTo>
                    <a:pt x="2734" y="177"/>
                    <a:pt x="2741" y="177"/>
                    <a:pt x="2746" y="176"/>
                  </a:cubicBezTo>
                  <a:cubicBezTo>
                    <a:pt x="2743" y="172"/>
                    <a:pt x="2754" y="168"/>
                    <a:pt x="2745" y="166"/>
                  </a:cubicBezTo>
                  <a:cubicBezTo>
                    <a:pt x="2748" y="164"/>
                    <a:pt x="2751" y="162"/>
                    <a:pt x="2754" y="159"/>
                  </a:cubicBezTo>
                  <a:cubicBezTo>
                    <a:pt x="2751" y="151"/>
                    <a:pt x="2737" y="166"/>
                    <a:pt x="2740" y="155"/>
                  </a:cubicBezTo>
                  <a:cubicBezTo>
                    <a:pt x="2736" y="156"/>
                    <a:pt x="2733" y="159"/>
                    <a:pt x="2732" y="162"/>
                  </a:cubicBezTo>
                  <a:cubicBezTo>
                    <a:pt x="2723" y="160"/>
                    <a:pt x="2735" y="156"/>
                    <a:pt x="2734" y="153"/>
                  </a:cubicBezTo>
                  <a:close/>
                  <a:moveTo>
                    <a:pt x="2724" y="169"/>
                  </a:moveTo>
                  <a:cubicBezTo>
                    <a:pt x="2728" y="170"/>
                    <a:pt x="2729" y="167"/>
                    <a:pt x="2729" y="164"/>
                  </a:cubicBezTo>
                  <a:cubicBezTo>
                    <a:pt x="2734" y="165"/>
                    <a:pt x="2735" y="161"/>
                    <a:pt x="2740" y="162"/>
                  </a:cubicBezTo>
                  <a:cubicBezTo>
                    <a:pt x="2739" y="165"/>
                    <a:pt x="2741" y="166"/>
                    <a:pt x="2743" y="167"/>
                  </a:cubicBezTo>
                  <a:cubicBezTo>
                    <a:pt x="2740" y="170"/>
                    <a:pt x="2735" y="173"/>
                    <a:pt x="2732" y="176"/>
                  </a:cubicBezTo>
                  <a:cubicBezTo>
                    <a:pt x="2729" y="177"/>
                    <a:pt x="2730" y="172"/>
                    <a:pt x="2729" y="171"/>
                  </a:cubicBezTo>
                  <a:cubicBezTo>
                    <a:pt x="2725" y="170"/>
                    <a:pt x="2721" y="176"/>
                    <a:pt x="2715" y="172"/>
                  </a:cubicBezTo>
                  <a:cubicBezTo>
                    <a:pt x="2708" y="172"/>
                    <a:pt x="2719" y="176"/>
                    <a:pt x="2716" y="181"/>
                  </a:cubicBezTo>
                  <a:cubicBezTo>
                    <a:pt x="2705" y="180"/>
                    <a:pt x="2718" y="171"/>
                    <a:pt x="2704" y="172"/>
                  </a:cubicBezTo>
                  <a:cubicBezTo>
                    <a:pt x="2711" y="167"/>
                    <a:pt x="2699" y="160"/>
                    <a:pt x="2712" y="160"/>
                  </a:cubicBezTo>
                  <a:cubicBezTo>
                    <a:pt x="2711" y="166"/>
                    <a:pt x="2708" y="169"/>
                    <a:pt x="2718" y="169"/>
                  </a:cubicBezTo>
                  <a:cubicBezTo>
                    <a:pt x="2722" y="169"/>
                    <a:pt x="2722" y="149"/>
                    <a:pt x="2724" y="169"/>
                  </a:cubicBezTo>
                  <a:close/>
                  <a:moveTo>
                    <a:pt x="2701" y="151"/>
                  </a:moveTo>
                  <a:cubicBezTo>
                    <a:pt x="2704" y="148"/>
                    <a:pt x="2711" y="148"/>
                    <a:pt x="2718" y="148"/>
                  </a:cubicBezTo>
                  <a:cubicBezTo>
                    <a:pt x="2722" y="156"/>
                    <a:pt x="2700" y="160"/>
                    <a:pt x="2701" y="151"/>
                  </a:cubicBezTo>
                  <a:close/>
                  <a:moveTo>
                    <a:pt x="2699" y="203"/>
                  </a:moveTo>
                  <a:cubicBezTo>
                    <a:pt x="2699" y="198"/>
                    <a:pt x="2704" y="198"/>
                    <a:pt x="2705" y="193"/>
                  </a:cubicBezTo>
                  <a:cubicBezTo>
                    <a:pt x="2706" y="187"/>
                    <a:pt x="2702" y="187"/>
                    <a:pt x="2702" y="181"/>
                  </a:cubicBezTo>
                  <a:cubicBezTo>
                    <a:pt x="2717" y="180"/>
                    <a:pt x="2702" y="192"/>
                    <a:pt x="2710" y="195"/>
                  </a:cubicBezTo>
                  <a:cubicBezTo>
                    <a:pt x="2713" y="195"/>
                    <a:pt x="2712" y="193"/>
                    <a:pt x="2710" y="193"/>
                  </a:cubicBezTo>
                  <a:cubicBezTo>
                    <a:pt x="2712" y="190"/>
                    <a:pt x="2716" y="189"/>
                    <a:pt x="2721" y="188"/>
                  </a:cubicBezTo>
                  <a:cubicBezTo>
                    <a:pt x="2722" y="184"/>
                    <a:pt x="2718" y="176"/>
                    <a:pt x="2726" y="179"/>
                  </a:cubicBezTo>
                  <a:cubicBezTo>
                    <a:pt x="2723" y="186"/>
                    <a:pt x="2728" y="187"/>
                    <a:pt x="2727" y="197"/>
                  </a:cubicBezTo>
                  <a:cubicBezTo>
                    <a:pt x="2724" y="196"/>
                    <a:pt x="2723" y="193"/>
                    <a:pt x="2721" y="190"/>
                  </a:cubicBezTo>
                  <a:cubicBezTo>
                    <a:pt x="2713" y="192"/>
                    <a:pt x="2724" y="208"/>
                    <a:pt x="2727" y="200"/>
                  </a:cubicBezTo>
                  <a:cubicBezTo>
                    <a:pt x="2733" y="201"/>
                    <a:pt x="2724" y="203"/>
                    <a:pt x="2724" y="205"/>
                  </a:cubicBezTo>
                  <a:cubicBezTo>
                    <a:pt x="2723" y="210"/>
                    <a:pt x="2726" y="213"/>
                    <a:pt x="2727" y="219"/>
                  </a:cubicBezTo>
                  <a:cubicBezTo>
                    <a:pt x="2714" y="218"/>
                    <a:pt x="2724" y="222"/>
                    <a:pt x="2719" y="226"/>
                  </a:cubicBezTo>
                  <a:cubicBezTo>
                    <a:pt x="2711" y="223"/>
                    <a:pt x="2722" y="218"/>
                    <a:pt x="2719" y="212"/>
                  </a:cubicBezTo>
                  <a:cubicBezTo>
                    <a:pt x="2716" y="212"/>
                    <a:pt x="2717" y="215"/>
                    <a:pt x="2716" y="216"/>
                  </a:cubicBezTo>
                  <a:cubicBezTo>
                    <a:pt x="2714" y="215"/>
                    <a:pt x="2709" y="213"/>
                    <a:pt x="2708" y="217"/>
                  </a:cubicBezTo>
                  <a:cubicBezTo>
                    <a:pt x="2701" y="216"/>
                    <a:pt x="2703" y="210"/>
                    <a:pt x="2702" y="207"/>
                  </a:cubicBezTo>
                  <a:cubicBezTo>
                    <a:pt x="2702" y="205"/>
                    <a:pt x="2700" y="205"/>
                    <a:pt x="2699" y="203"/>
                  </a:cubicBezTo>
                  <a:close/>
                  <a:moveTo>
                    <a:pt x="2698" y="280"/>
                  </a:moveTo>
                  <a:cubicBezTo>
                    <a:pt x="2698" y="282"/>
                    <a:pt x="2698" y="283"/>
                    <a:pt x="2698" y="285"/>
                  </a:cubicBezTo>
                  <a:cubicBezTo>
                    <a:pt x="2696" y="285"/>
                    <a:pt x="2694" y="285"/>
                    <a:pt x="2693" y="285"/>
                  </a:cubicBezTo>
                  <a:cubicBezTo>
                    <a:pt x="2693" y="283"/>
                    <a:pt x="2693" y="282"/>
                    <a:pt x="2693" y="280"/>
                  </a:cubicBezTo>
                  <a:cubicBezTo>
                    <a:pt x="2694" y="280"/>
                    <a:pt x="2696" y="280"/>
                    <a:pt x="2698" y="280"/>
                  </a:cubicBezTo>
                  <a:close/>
                  <a:moveTo>
                    <a:pt x="2694" y="226"/>
                  </a:moveTo>
                  <a:cubicBezTo>
                    <a:pt x="2689" y="233"/>
                    <a:pt x="2695" y="245"/>
                    <a:pt x="2698" y="252"/>
                  </a:cubicBezTo>
                  <a:cubicBezTo>
                    <a:pt x="2695" y="259"/>
                    <a:pt x="2695" y="245"/>
                    <a:pt x="2689" y="247"/>
                  </a:cubicBezTo>
                  <a:cubicBezTo>
                    <a:pt x="2692" y="241"/>
                    <a:pt x="2683" y="225"/>
                    <a:pt x="2694" y="226"/>
                  </a:cubicBezTo>
                  <a:close/>
                  <a:moveTo>
                    <a:pt x="2695" y="259"/>
                  </a:moveTo>
                  <a:cubicBezTo>
                    <a:pt x="2695" y="264"/>
                    <a:pt x="2695" y="268"/>
                    <a:pt x="2695" y="273"/>
                  </a:cubicBezTo>
                  <a:cubicBezTo>
                    <a:pt x="2691" y="271"/>
                    <a:pt x="2689" y="267"/>
                    <a:pt x="2692" y="264"/>
                  </a:cubicBezTo>
                  <a:cubicBezTo>
                    <a:pt x="2682" y="261"/>
                    <a:pt x="2692" y="274"/>
                    <a:pt x="2681" y="271"/>
                  </a:cubicBezTo>
                  <a:cubicBezTo>
                    <a:pt x="2680" y="265"/>
                    <a:pt x="2686" y="266"/>
                    <a:pt x="2684" y="259"/>
                  </a:cubicBezTo>
                  <a:cubicBezTo>
                    <a:pt x="2688" y="259"/>
                    <a:pt x="2691" y="259"/>
                    <a:pt x="2695" y="259"/>
                  </a:cubicBezTo>
                  <a:close/>
                  <a:moveTo>
                    <a:pt x="2687" y="252"/>
                  </a:moveTo>
                  <a:cubicBezTo>
                    <a:pt x="2687" y="254"/>
                    <a:pt x="2687" y="255"/>
                    <a:pt x="2687" y="257"/>
                  </a:cubicBezTo>
                  <a:cubicBezTo>
                    <a:pt x="2685" y="257"/>
                    <a:pt x="2683" y="257"/>
                    <a:pt x="2681" y="257"/>
                  </a:cubicBezTo>
                  <a:cubicBezTo>
                    <a:pt x="2681" y="255"/>
                    <a:pt x="2681" y="254"/>
                    <a:pt x="2681" y="252"/>
                  </a:cubicBezTo>
                  <a:cubicBezTo>
                    <a:pt x="2683" y="252"/>
                    <a:pt x="2685" y="252"/>
                    <a:pt x="2687" y="252"/>
                  </a:cubicBezTo>
                  <a:close/>
                  <a:moveTo>
                    <a:pt x="2679" y="271"/>
                  </a:moveTo>
                  <a:cubicBezTo>
                    <a:pt x="2676" y="275"/>
                    <a:pt x="2674" y="279"/>
                    <a:pt x="2665" y="278"/>
                  </a:cubicBezTo>
                  <a:cubicBezTo>
                    <a:pt x="2667" y="276"/>
                    <a:pt x="2668" y="274"/>
                    <a:pt x="2665" y="274"/>
                  </a:cubicBezTo>
                  <a:cubicBezTo>
                    <a:pt x="2664" y="269"/>
                    <a:pt x="2675" y="272"/>
                    <a:pt x="2679" y="271"/>
                  </a:cubicBezTo>
                  <a:close/>
                  <a:moveTo>
                    <a:pt x="2673" y="259"/>
                  </a:moveTo>
                  <a:cubicBezTo>
                    <a:pt x="2671" y="262"/>
                    <a:pt x="2667" y="268"/>
                    <a:pt x="2676" y="266"/>
                  </a:cubicBezTo>
                  <a:cubicBezTo>
                    <a:pt x="2669" y="276"/>
                    <a:pt x="2657" y="258"/>
                    <a:pt x="2673" y="259"/>
                  </a:cubicBezTo>
                  <a:close/>
                  <a:moveTo>
                    <a:pt x="2676" y="255"/>
                  </a:moveTo>
                  <a:cubicBezTo>
                    <a:pt x="2673" y="253"/>
                    <a:pt x="2669" y="252"/>
                    <a:pt x="2665" y="253"/>
                  </a:cubicBezTo>
                  <a:cubicBezTo>
                    <a:pt x="2669" y="245"/>
                    <a:pt x="2664" y="243"/>
                    <a:pt x="2667" y="238"/>
                  </a:cubicBezTo>
                  <a:cubicBezTo>
                    <a:pt x="2673" y="239"/>
                    <a:pt x="2674" y="245"/>
                    <a:pt x="2670" y="248"/>
                  </a:cubicBezTo>
                  <a:cubicBezTo>
                    <a:pt x="2672" y="250"/>
                    <a:pt x="2676" y="250"/>
                    <a:pt x="2676" y="255"/>
                  </a:cubicBezTo>
                  <a:close/>
                  <a:moveTo>
                    <a:pt x="2672" y="234"/>
                  </a:moveTo>
                  <a:cubicBezTo>
                    <a:pt x="2665" y="242"/>
                    <a:pt x="2655" y="229"/>
                    <a:pt x="2672" y="234"/>
                  </a:cubicBezTo>
                  <a:close/>
                  <a:moveTo>
                    <a:pt x="2653" y="234"/>
                  </a:moveTo>
                  <a:cubicBezTo>
                    <a:pt x="2647" y="242"/>
                    <a:pt x="2642" y="226"/>
                    <a:pt x="2653" y="234"/>
                  </a:cubicBezTo>
                  <a:close/>
                  <a:moveTo>
                    <a:pt x="2674" y="8"/>
                  </a:moveTo>
                  <a:cubicBezTo>
                    <a:pt x="2674" y="13"/>
                    <a:pt x="2662" y="10"/>
                    <a:pt x="2660" y="8"/>
                  </a:cubicBezTo>
                  <a:cubicBezTo>
                    <a:pt x="2663" y="1"/>
                    <a:pt x="2669" y="9"/>
                    <a:pt x="2674" y="8"/>
                  </a:cubicBezTo>
                  <a:close/>
                  <a:moveTo>
                    <a:pt x="2646" y="124"/>
                  </a:moveTo>
                  <a:cubicBezTo>
                    <a:pt x="2655" y="127"/>
                    <a:pt x="2636" y="126"/>
                    <a:pt x="2632" y="126"/>
                  </a:cubicBezTo>
                  <a:cubicBezTo>
                    <a:pt x="2632" y="124"/>
                    <a:pt x="2636" y="124"/>
                    <a:pt x="2638" y="124"/>
                  </a:cubicBezTo>
                  <a:cubicBezTo>
                    <a:pt x="2636" y="122"/>
                    <a:pt x="2635" y="120"/>
                    <a:pt x="2632" y="119"/>
                  </a:cubicBezTo>
                  <a:cubicBezTo>
                    <a:pt x="2633" y="116"/>
                    <a:pt x="2639" y="117"/>
                    <a:pt x="2643" y="117"/>
                  </a:cubicBezTo>
                  <a:cubicBezTo>
                    <a:pt x="2643" y="119"/>
                    <a:pt x="2640" y="119"/>
                    <a:pt x="2640" y="121"/>
                  </a:cubicBezTo>
                  <a:cubicBezTo>
                    <a:pt x="2641" y="124"/>
                    <a:pt x="2644" y="123"/>
                    <a:pt x="2646" y="124"/>
                  </a:cubicBezTo>
                  <a:close/>
                  <a:moveTo>
                    <a:pt x="2640" y="100"/>
                  </a:moveTo>
                  <a:cubicBezTo>
                    <a:pt x="2639" y="103"/>
                    <a:pt x="2635" y="104"/>
                    <a:pt x="2635" y="107"/>
                  </a:cubicBezTo>
                  <a:cubicBezTo>
                    <a:pt x="2628" y="107"/>
                    <a:pt x="2634" y="98"/>
                    <a:pt x="2640" y="100"/>
                  </a:cubicBezTo>
                  <a:close/>
                  <a:moveTo>
                    <a:pt x="2626" y="103"/>
                  </a:moveTo>
                  <a:cubicBezTo>
                    <a:pt x="2622" y="104"/>
                    <a:pt x="2623" y="105"/>
                    <a:pt x="2618" y="103"/>
                  </a:cubicBezTo>
                  <a:cubicBezTo>
                    <a:pt x="2615" y="101"/>
                    <a:pt x="2634" y="100"/>
                    <a:pt x="2626" y="103"/>
                  </a:cubicBezTo>
                  <a:close/>
                  <a:moveTo>
                    <a:pt x="2618" y="82"/>
                  </a:moveTo>
                  <a:cubicBezTo>
                    <a:pt x="2623" y="83"/>
                    <a:pt x="2618" y="86"/>
                    <a:pt x="2618" y="89"/>
                  </a:cubicBezTo>
                  <a:cubicBezTo>
                    <a:pt x="2613" y="87"/>
                    <a:pt x="2617" y="85"/>
                    <a:pt x="2618" y="82"/>
                  </a:cubicBezTo>
                  <a:close/>
                  <a:moveTo>
                    <a:pt x="2616" y="117"/>
                  </a:moveTo>
                  <a:cubicBezTo>
                    <a:pt x="2621" y="116"/>
                    <a:pt x="2621" y="119"/>
                    <a:pt x="2618" y="119"/>
                  </a:cubicBezTo>
                  <a:cubicBezTo>
                    <a:pt x="2615" y="117"/>
                    <a:pt x="2607" y="122"/>
                    <a:pt x="2608" y="122"/>
                  </a:cubicBezTo>
                  <a:cubicBezTo>
                    <a:pt x="2600" y="121"/>
                    <a:pt x="2606" y="115"/>
                    <a:pt x="2616" y="117"/>
                  </a:cubicBezTo>
                  <a:close/>
                  <a:moveTo>
                    <a:pt x="2588" y="99"/>
                  </a:moveTo>
                  <a:cubicBezTo>
                    <a:pt x="2592" y="99"/>
                    <a:pt x="2590" y="105"/>
                    <a:pt x="2591" y="108"/>
                  </a:cubicBezTo>
                  <a:cubicBezTo>
                    <a:pt x="2588" y="107"/>
                    <a:pt x="2586" y="105"/>
                    <a:pt x="2585" y="108"/>
                  </a:cubicBezTo>
                  <a:cubicBezTo>
                    <a:pt x="2577" y="106"/>
                    <a:pt x="2592" y="105"/>
                    <a:pt x="2588" y="99"/>
                  </a:cubicBezTo>
                  <a:close/>
                  <a:moveTo>
                    <a:pt x="2584" y="38"/>
                  </a:moveTo>
                  <a:cubicBezTo>
                    <a:pt x="2583" y="43"/>
                    <a:pt x="2577" y="43"/>
                    <a:pt x="2573" y="40"/>
                  </a:cubicBezTo>
                  <a:cubicBezTo>
                    <a:pt x="2574" y="37"/>
                    <a:pt x="2580" y="38"/>
                    <a:pt x="2584" y="38"/>
                  </a:cubicBezTo>
                  <a:close/>
                  <a:moveTo>
                    <a:pt x="2563" y="116"/>
                  </a:moveTo>
                  <a:cubicBezTo>
                    <a:pt x="2565" y="112"/>
                    <a:pt x="2561" y="107"/>
                    <a:pt x="2563" y="104"/>
                  </a:cubicBezTo>
                  <a:cubicBezTo>
                    <a:pt x="2564" y="102"/>
                    <a:pt x="2573" y="103"/>
                    <a:pt x="2571" y="99"/>
                  </a:cubicBezTo>
                  <a:cubicBezTo>
                    <a:pt x="2580" y="103"/>
                    <a:pt x="2563" y="104"/>
                    <a:pt x="2569" y="113"/>
                  </a:cubicBezTo>
                  <a:cubicBezTo>
                    <a:pt x="2569" y="118"/>
                    <a:pt x="2579" y="114"/>
                    <a:pt x="2583" y="115"/>
                  </a:cubicBezTo>
                  <a:cubicBezTo>
                    <a:pt x="2590" y="121"/>
                    <a:pt x="2556" y="112"/>
                    <a:pt x="2566" y="127"/>
                  </a:cubicBezTo>
                  <a:cubicBezTo>
                    <a:pt x="2562" y="128"/>
                    <a:pt x="2561" y="126"/>
                    <a:pt x="2561" y="123"/>
                  </a:cubicBezTo>
                  <a:cubicBezTo>
                    <a:pt x="2559" y="121"/>
                    <a:pt x="2556" y="119"/>
                    <a:pt x="2552" y="118"/>
                  </a:cubicBezTo>
                  <a:cubicBezTo>
                    <a:pt x="2553" y="115"/>
                    <a:pt x="2559" y="116"/>
                    <a:pt x="2563" y="116"/>
                  </a:cubicBezTo>
                  <a:close/>
                  <a:moveTo>
                    <a:pt x="2544" y="121"/>
                  </a:moveTo>
                  <a:cubicBezTo>
                    <a:pt x="2542" y="119"/>
                    <a:pt x="2540" y="118"/>
                    <a:pt x="2536" y="118"/>
                  </a:cubicBezTo>
                  <a:cubicBezTo>
                    <a:pt x="2537" y="112"/>
                    <a:pt x="2546" y="113"/>
                    <a:pt x="2544" y="121"/>
                  </a:cubicBezTo>
                  <a:close/>
                  <a:moveTo>
                    <a:pt x="2554" y="179"/>
                  </a:moveTo>
                  <a:cubicBezTo>
                    <a:pt x="2555" y="184"/>
                    <a:pt x="2552" y="186"/>
                    <a:pt x="2551" y="189"/>
                  </a:cubicBezTo>
                  <a:cubicBezTo>
                    <a:pt x="2548" y="186"/>
                    <a:pt x="2546" y="182"/>
                    <a:pt x="2537" y="184"/>
                  </a:cubicBezTo>
                  <a:cubicBezTo>
                    <a:pt x="2536" y="179"/>
                    <a:pt x="2542" y="179"/>
                    <a:pt x="2540" y="172"/>
                  </a:cubicBezTo>
                  <a:cubicBezTo>
                    <a:pt x="2538" y="172"/>
                    <a:pt x="2536" y="173"/>
                    <a:pt x="2534" y="173"/>
                  </a:cubicBezTo>
                  <a:cubicBezTo>
                    <a:pt x="2535" y="170"/>
                    <a:pt x="2539" y="170"/>
                    <a:pt x="2542" y="170"/>
                  </a:cubicBezTo>
                  <a:cubicBezTo>
                    <a:pt x="2540" y="178"/>
                    <a:pt x="2544" y="181"/>
                    <a:pt x="2554" y="179"/>
                  </a:cubicBezTo>
                  <a:close/>
                  <a:moveTo>
                    <a:pt x="2548" y="168"/>
                  </a:moveTo>
                  <a:cubicBezTo>
                    <a:pt x="2552" y="168"/>
                    <a:pt x="2552" y="172"/>
                    <a:pt x="2556" y="172"/>
                  </a:cubicBezTo>
                  <a:cubicBezTo>
                    <a:pt x="2556" y="175"/>
                    <a:pt x="2553" y="173"/>
                    <a:pt x="2553" y="172"/>
                  </a:cubicBezTo>
                  <a:cubicBezTo>
                    <a:pt x="2551" y="172"/>
                    <a:pt x="2551" y="173"/>
                    <a:pt x="2551" y="175"/>
                  </a:cubicBezTo>
                  <a:cubicBezTo>
                    <a:pt x="2548" y="174"/>
                    <a:pt x="2548" y="170"/>
                    <a:pt x="2548" y="168"/>
                  </a:cubicBezTo>
                  <a:close/>
                  <a:moveTo>
                    <a:pt x="2531" y="130"/>
                  </a:moveTo>
                  <a:cubicBezTo>
                    <a:pt x="2543" y="132"/>
                    <a:pt x="2529" y="145"/>
                    <a:pt x="2531" y="130"/>
                  </a:cubicBezTo>
                  <a:close/>
                  <a:moveTo>
                    <a:pt x="2519" y="72"/>
                  </a:moveTo>
                  <a:cubicBezTo>
                    <a:pt x="2522" y="73"/>
                    <a:pt x="2523" y="76"/>
                    <a:pt x="2527" y="76"/>
                  </a:cubicBezTo>
                  <a:cubicBezTo>
                    <a:pt x="2526" y="82"/>
                    <a:pt x="2517" y="77"/>
                    <a:pt x="2519" y="72"/>
                  </a:cubicBezTo>
                  <a:close/>
                  <a:moveTo>
                    <a:pt x="2517" y="131"/>
                  </a:moveTo>
                  <a:cubicBezTo>
                    <a:pt x="2520" y="133"/>
                    <a:pt x="2527" y="131"/>
                    <a:pt x="2525" y="137"/>
                  </a:cubicBezTo>
                  <a:cubicBezTo>
                    <a:pt x="2523" y="135"/>
                    <a:pt x="2515" y="137"/>
                    <a:pt x="2517" y="131"/>
                  </a:cubicBezTo>
                  <a:close/>
                  <a:moveTo>
                    <a:pt x="2520" y="166"/>
                  </a:moveTo>
                  <a:cubicBezTo>
                    <a:pt x="2520" y="169"/>
                    <a:pt x="2514" y="168"/>
                    <a:pt x="2510" y="168"/>
                  </a:cubicBezTo>
                  <a:cubicBezTo>
                    <a:pt x="2511" y="166"/>
                    <a:pt x="2516" y="166"/>
                    <a:pt x="2515" y="161"/>
                  </a:cubicBezTo>
                  <a:cubicBezTo>
                    <a:pt x="2518" y="162"/>
                    <a:pt x="2517" y="166"/>
                    <a:pt x="2520" y="166"/>
                  </a:cubicBezTo>
                  <a:close/>
                  <a:moveTo>
                    <a:pt x="2518" y="196"/>
                  </a:moveTo>
                  <a:cubicBezTo>
                    <a:pt x="2517" y="197"/>
                    <a:pt x="2515" y="191"/>
                    <a:pt x="2513" y="192"/>
                  </a:cubicBezTo>
                  <a:cubicBezTo>
                    <a:pt x="2517" y="184"/>
                    <a:pt x="2520" y="194"/>
                    <a:pt x="2518" y="196"/>
                  </a:cubicBezTo>
                  <a:close/>
                  <a:moveTo>
                    <a:pt x="2513" y="185"/>
                  </a:moveTo>
                  <a:cubicBezTo>
                    <a:pt x="2512" y="187"/>
                    <a:pt x="2507" y="186"/>
                    <a:pt x="2507" y="189"/>
                  </a:cubicBezTo>
                  <a:cubicBezTo>
                    <a:pt x="2507" y="198"/>
                    <a:pt x="2497" y="182"/>
                    <a:pt x="2513" y="185"/>
                  </a:cubicBezTo>
                  <a:close/>
                  <a:moveTo>
                    <a:pt x="2514" y="121"/>
                  </a:moveTo>
                  <a:cubicBezTo>
                    <a:pt x="2514" y="123"/>
                    <a:pt x="2514" y="124"/>
                    <a:pt x="2514" y="126"/>
                  </a:cubicBezTo>
                  <a:cubicBezTo>
                    <a:pt x="2512" y="126"/>
                    <a:pt x="2511" y="126"/>
                    <a:pt x="2509" y="126"/>
                  </a:cubicBezTo>
                  <a:cubicBezTo>
                    <a:pt x="2509" y="124"/>
                    <a:pt x="2509" y="123"/>
                    <a:pt x="2509" y="121"/>
                  </a:cubicBezTo>
                  <a:cubicBezTo>
                    <a:pt x="2510" y="121"/>
                    <a:pt x="2512" y="121"/>
                    <a:pt x="2514" y="121"/>
                  </a:cubicBezTo>
                  <a:close/>
                  <a:moveTo>
                    <a:pt x="2503" y="131"/>
                  </a:moveTo>
                  <a:cubicBezTo>
                    <a:pt x="2503" y="131"/>
                    <a:pt x="2505" y="135"/>
                    <a:pt x="2506" y="133"/>
                  </a:cubicBezTo>
                  <a:cubicBezTo>
                    <a:pt x="2508" y="131"/>
                    <a:pt x="2508" y="131"/>
                    <a:pt x="2509" y="133"/>
                  </a:cubicBezTo>
                  <a:cubicBezTo>
                    <a:pt x="2512" y="133"/>
                    <a:pt x="2511" y="137"/>
                    <a:pt x="2512" y="140"/>
                  </a:cubicBezTo>
                  <a:cubicBezTo>
                    <a:pt x="2506" y="136"/>
                    <a:pt x="2492" y="139"/>
                    <a:pt x="2482" y="138"/>
                  </a:cubicBezTo>
                  <a:cubicBezTo>
                    <a:pt x="2483" y="136"/>
                    <a:pt x="2485" y="134"/>
                    <a:pt x="2481" y="133"/>
                  </a:cubicBezTo>
                  <a:cubicBezTo>
                    <a:pt x="2485" y="130"/>
                    <a:pt x="2497" y="130"/>
                    <a:pt x="2503" y="131"/>
                  </a:cubicBezTo>
                  <a:close/>
                  <a:moveTo>
                    <a:pt x="2488" y="190"/>
                  </a:moveTo>
                  <a:cubicBezTo>
                    <a:pt x="2488" y="188"/>
                    <a:pt x="2488" y="187"/>
                    <a:pt x="2488" y="185"/>
                  </a:cubicBezTo>
                  <a:cubicBezTo>
                    <a:pt x="2492" y="185"/>
                    <a:pt x="2495" y="185"/>
                    <a:pt x="2499" y="185"/>
                  </a:cubicBezTo>
                  <a:cubicBezTo>
                    <a:pt x="2502" y="192"/>
                    <a:pt x="2493" y="189"/>
                    <a:pt x="2488" y="190"/>
                  </a:cubicBezTo>
                  <a:close/>
                  <a:moveTo>
                    <a:pt x="2480" y="185"/>
                  </a:moveTo>
                  <a:cubicBezTo>
                    <a:pt x="2485" y="187"/>
                    <a:pt x="2480" y="190"/>
                    <a:pt x="2480" y="192"/>
                  </a:cubicBezTo>
                  <a:cubicBezTo>
                    <a:pt x="2475" y="191"/>
                    <a:pt x="2479" y="188"/>
                    <a:pt x="2480" y="185"/>
                  </a:cubicBezTo>
                  <a:close/>
                  <a:moveTo>
                    <a:pt x="2465" y="115"/>
                  </a:moveTo>
                  <a:cubicBezTo>
                    <a:pt x="2474" y="111"/>
                    <a:pt x="2467" y="123"/>
                    <a:pt x="2473" y="122"/>
                  </a:cubicBezTo>
                  <a:cubicBezTo>
                    <a:pt x="2470" y="129"/>
                    <a:pt x="2464" y="119"/>
                    <a:pt x="2465" y="115"/>
                  </a:cubicBezTo>
                  <a:close/>
                  <a:moveTo>
                    <a:pt x="2432" y="134"/>
                  </a:moveTo>
                  <a:cubicBezTo>
                    <a:pt x="2436" y="128"/>
                    <a:pt x="2446" y="135"/>
                    <a:pt x="2449" y="136"/>
                  </a:cubicBezTo>
                  <a:cubicBezTo>
                    <a:pt x="2446" y="142"/>
                    <a:pt x="2440" y="131"/>
                    <a:pt x="2432" y="134"/>
                  </a:cubicBezTo>
                  <a:close/>
                  <a:moveTo>
                    <a:pt x="2427" y="170"/>
                  </a:moveTo>
                  <a:cubicBezTo>
                    <a:pt x="2428" y="166"/>
                    <a:pt x="2432" y="164"/>
                    <a:pt x="2438" y="165"/>
                  </a:cubicBezTo>
                  <a:cubicBezTo>
                    <a:pt x="2441" y="172"/>
                    <a:pt x="2432" y="169"/>
                    <a:pt x="2427" y="170"/>
                  </a:cubicBezTo>
                  <a:close/>
                  <a:moveTo>
                    <a:pt x="2454" y="160"/>
                  </a:moveTo>
                  <a:cubicBezTo>
                    <a:pt x="2454" y="160"/>
                    <a:pt x="2455" y="158"/>
                    <a:pt x="2454" y="158"/>
                  </a:cubicBezTo>
                  <a:cubicBezTo>
                    <a:pt x="2464" y="158"/>
                    <a:pt x="2450" y="165"/>
                    <a:pt x="2446" y="162"/>
                  </a:cubicBezTo>
                  <a:cubicBezTo>
                    <a:pt x="2444" y="161"/>
                    <a:pt x="2453" y="160"/>
                    <a:pt x="2454" y="160"/>
                  </a:cubicBezTo>
                  <a:close/>
                  <a:moveTo>
                    <a:pt x="2457" y="132"/>
                  </a:moveTo>
                  <a:cubicBezTo>
                    <a:pt x="2461" y="123"/>
                    <a:pt x="2462" y="136"/>
                    <a:pt x="2460" y="136"/>
                  </a:cubicBezTo>
                  <a:cubicBezTo>
                    <a:pt x="2458" y="137"/>
                    <a:pt x="2456" y="133"/>
                    <a:pt x="2457" y="132"/>
                  </a:cubicBezTo>
                  <a:close/>
                  <a:moveTo>
                    <a:pt x="2463" y="169"/>
                  </a:moveTo>
                  <a:cubicBezTo>
                    <a:pt x="2462" y="172"/>
                    <a:pt x="2456" y="171"/>
                    <a:pt x="2452" y="172"/>
                  </a:cubicBezTo>
                  <a:cubicBezTo>
                    <a:pt x="2453" y="166"/>
                    <a:pt x="2459" y="166"/>
                    <a:pt x="2463" y="169"/>
                  </a:cubicBezTo>
                  <a:close/>
                  <a:moveTo>
                    <a:pt x="2456" y="110"/>
                  </a:moveTo>
                  <a:cubicBezTo>
                    <a:pt x="2466" y="108"/>
                    <a:pt x="2464" y="125"/>
                    <a:pt x="2454" y="120"/>
                  </a:cubicBezTo>
                  <a:cubicBezTo>
                    <a:pt x="2456" y="118"/>
                    <a:pt x="2457" y="115"/>
                    <a:pt x="2456" y="110"/>
                  </a:cubicBezTo>
                  <a:close/>
                  <a:moveTo>
                    <a:pt x="2448" y="96"/>
                  </a:moveTo>
                  <a:cubicBezTo>
                    <a:pt x="2451" y="97"/>
                    <a:pt x="2450" y="101"/>
                    <a:pt x="2453" y="101"/>
                  </a:cubicBezTo>
                  <a:cubicBezTo>
                    <a:pt x="2452" y="108"/>
                    <a:pt x="2445" y="101"/>
                    <a:pt x="2448" y="96"/>
                  </a:cubicBezTo>
                  <a:close/>
                  <a:moveTo>
                    <a:pt x="2451" y="108"/>
                  </a:moveTo>
                  <a:cubicBezTo>
                    <a:pt x="2443" y="117"/>
                    <a:pt x="2441" y="101"/>
                    <a:pt x="2451" y="108"/>
                  </a:cubicBezTo>
                  <a:close/>
                  <a:moveTo>
                    <a:pt x="2440" y="101"/>
                  </a:moveTo>
                  <a:cubicBezTo>
                    <a:pt x="2435" y="103"/>
                    <a:pt x="2441" y="113"/>
                    <a:pt x="2432" y="111"/>
                  </a:cubicBezTo>
                  <a:cubicBezTo>
                    <a:pt x="2431" y="105"/>
                    <a:pt x="2433" y="101"/>
                    <a:pt x="2440" y="101"/>
                  </a:cubicBezTo>
                  <a:close/>
                  <a:moveTo>
                    <a:pt x="2419" y="149"/>
                  </a:moveTo>
                  <a:cubicBezTo>
                    <a:pt x="2419" y="143"/>
                    <a:pt x="2428" y="148"/>
                    <a:pt x="2430" y="149"/>
                  </a:cubicBezTo>
                  <a:cubicBezTo>
                    <a:pt x="2428" y="156"/>
                    <a:pt x="2424" y="146"/>
                    <a:pt x="2419" y="149"/>
                  </a:cubicBezTo>
                  <a:close/>
                  <a:moveTo>
                    <a:pt x="2427" y="139"/>
                  </a:moveTo>
                  <a:cubicBezTo>
                    <a:pt x="2423" y="139"/>
                    <a:pt x="2419" y="139"/>
                    <a:pt x="2416" y="139"/>
                  </a:cubicBezTo>
                  <a:cubicBezTo>
                    <a:pt x="2417" y="137"/>
                    <a:pt x="2419" y="135"/>
                    <a:pt x="2416" y="135"/>
                  </a:cubicBezTo>
                  <a:cubicBezTo>
                    <a:pt x="2416" y="131"/>
                    <a:pt x="2424" y="134"/>
                    <a:pt x="2424" y="130"/>
                  </a:cubicBezTo>
                  <a:cubicBezTo>
                    <a:pt x="2427" y="131"/>
                    <a:pt x="2426" y="136"/>
                    <a:pt x="2427" y="139"/>
                  </a:cubicBezTo>
                  <a:close/>
                  <a:moveTo>
                    <a:pt x="2410" y="114"/>
                  </a:moveTo>
                  <a:cubicBezTo>
                    <a:pt x="2413" y="116"/>
                    <a:pt x="2417" y="117"/>
                    <a:pt x="2424" y="116"/>
                  </a:cubicBezTo>
                  <a:cubicBezTo>
                    <a:pt x="2421" y="121"/>
                    <a:pt x="2408" y="123"/>
                    <a:pt x="2410" y="114"/>
                  </a:cubicBezTo>
                  <a:close/>
                  <a:moveTo>
                    <a:pt x="2413" y="130"/>
                  </a:moveTo>
                  <a:cubicBezTo>
                    <a:pt x="2414" y="140"/>
                    <a:pt x="2398" y="133"/>
                    <a:pt x="2394" y="133"/>
                  </a:cubicBezTo>
                  <a:cubicBezTo>
                    <a:pt x="2399" y="122"/>
                    <a:pt x="2404" y="136"/>
                    <a:pt x="2413" y="130"/>
                  </a:cubicBezTo>
                  <a:close/>
                  <a:moveTo>
                    <a:pt x="2405" y="151"/>
                  </a:moveTo>
                  <a:cubicBezTo>
                    <a:pt x="2402" y="159"/>
                    <a:pt x="2398" y="149"/>
                    <a:pt x="2394" y="149"/>
                  </a:cubicBezTo>
                  <a:cubicBezTo>
                    <a:pt x="2397" y="146"/>
                    <a:pt x="2404" y="144"/>
                    <a:pt x="2408" y="147"/>
                  </a:cubicBezTo>
                  <a:cubicBezTo>
                    <a:pt x="2408" y="149"/>
                    <a:pt x="2404" y="148"/>
                    <a:pt x="2402" y="149"/>
                  </a:cubicBezTo>
                  <a:cubicBezTo>
                    <a:pt x="2402" y="151"/>
                    <a:pt x="2403" y="151"/>
                    <a:pt x="2405" y="151"/>
                  </a:cubicBezTo>
                  <a:close/>
                  <a:moveTo>
                    <a:pt x="2393" y="116"/>
                  </a:moveTo>
                  <a:cubicBezTo>
                    <a:pt x="2392" y="119"/>
                    <a:pt x="2390" y="121"/>
                    <a:pt x="2385" y="121"/>
                  </a:cubicBezTo>
                  <a:cubicBezTo>
                    <a:pt x="2384" y="116"/>
                    <a:pt x="2389" y="117"/>
                    <a:pt x="2393" y="116"/>
                  </a:cubicBezTo>
                  <a:close/>
                  <a:moveTo>
                    <a:pt x="2374" y="100"/>
                  </a:moveTo>
                  <a:cubicBezTo>
                    <a:pt x="2374" y="100"/>
                    <a:pt x="2380" y="96"/>
                    <a:pt x="2382" y="98"/>
                  </a:cubicBezTo>
                  <a:cubicBezTo>
                    <a:pt x="2384" y="99"/>
                    <a:pt x="2371" y="105"/>
                    <a:pt x="2374" y="100"/>
                  </a:cubicBezTo>
                  <a:close/>
                  <a:moveTo>
                    <a:pt x="2360" y="100"/>
                  </a:moveTo>
                  <a:cubicBezTo>
                    <a:pt x="2366" y="100"/>
                    <a:pt x="2369" y="102"/>
                    <a:pt x="2368" y="107"/>
                  </a:cubicBezTo>
                  <a:cubicBezTo>
                    <a:pt x="2365" y="107"/>
                    <a:pt x="2361" y="107"/>
                    <a:pt x="2360" y="110"/>
                  </a:cubicBezTo>
                  <a:cubicBezTo>
                    <a:pt x="2352" y="108"/>
                    <a:pt x="2363" y="105"/>
                    <a:pt x="2360" y="100"/>
                  </a:cubicBezTo>
                  <a:close/>
                  <a:moveTo>
                    <a:pt x="2349" y="115"/>
                  </a:moveTo>
                  <a:cubicBezTo>
                    <a:pt x="2346" y="113"/>
                    <a:pt x="2344" y="110"/>
                    <a:pt x="2344" y="105"/>
                  </a:cubicBezTo>
                  <a:cubicBezTo>
                    <a:pt x="2347" y="106"/>
                    <a:pt x="2349" y="105"/>
                    <a:pt x="2349" y="103"/>
                  </a:cubicBezTo>
                  <a:cubicBezTo>
                    <a:pt x="2352" y="103"/>
                    <a:pt x="2351" y="105"/>
                    <a:pt x="2349" y="105"/>
                  </a:cubicBezTo>
                  <a:cubicBezTo>
                    <a:pt x="2349" y="112"/>
                    <a:pt x="2354" y="110"/>
                    <a:pt x="2349" y="115"/>
                  </a:cubicBezTo>
                  <a:close/>
                  <a:moveTo>
                    <a:pt x="2347" y="124"/>
                  </a:moveTo>
                  <a:cubicBezTo>
                    <a:pt x="2350" y="121"/>
                    <a:pt x="2352" y="122"/>
                    <a:pt x="2352" y="126"/>
                  </a:cubicBezTo>
                  <a:cubicBezTo>
                    <a:pt x="2346" y="127"/>
                    <a:pt x="2344" y="125"/>
                    <a:pt x="2344" y="119"/>
                  </a:cubicBezTo>
                  <a:cubicBezTo>
                    <a:pt x="2347" y="119"/>
                    <a:pt x="2346" y="122"/>
                    <a:pt x="2347" y="124"/>
                  </a:cubicBezTo>
                  <a:close/>
                  <a:moveTo>
                    <a:pt x="2349" y="86"/>
                  </a:moveTo>
                  <a:cubicBezTo>
                    <a:pt x="2357" y="88"/>
                    <a:pt x="2345" y="90"/>
                    <a:pt x="2346" y="94"/>
                  </a:cubicBezTo>
                  <a:cubicBezTo>
                    <a:pt x="2337" y="91"/>
                    <a:pt x="2349" y="89"/>
                    <a:pt x="2349" y="86"/>
                  </a:cubicBezTo>
                  <a:close/>
                  <a:moveTo>
                    <a:pt x="2327" y="94"/>
                  </a:moveTo>
                  <a:cubicBezTo>
                    <a:pt x="2330" y="94"/>
                    <a:pt x="2329" y="98"/>
                    <a:pt x="2330" y="101"/>
                  </a:cubicBezTo>
                  <a:cubicBezTo>
                    <a:pt x="2330" y="104"/>
                    <a:pt x="2335" y="103"/>
                    <a:pt x="2338" y="103"/>
                  </a:cubicBezTo>
                  <a:cubicBezTo>
                    <a:pt x="2336" y="105"/>
                    <a:pt x="2335" y="109"/>
                    <a:pt x="2336" y="113"/>
                  </a:cubicBezTo>
                  <a:cubicBezTo>
                    <a:pt x="2334" y="111"/>
                    <a:pt x="2331" y="110"/>
                    <a:pt x="2327" y="110"/>
                  </a:cubicBezTo>
                  <a:cubicBezTo>
                    <a:pt x="2328" y="106"/>
                    <a:pt x="2327" y="103"/>
                    <a:pt x="2322" y="103"/>
                  </a:cubicBezTo>
                  <a:cubicBezTo>
                    <a:pt x="2322" y="99"/>
                    <a:pt x="2329" y="100"/>
                    <a:pt x="2327" y="94"/>
                  </a:cubicBezTo>
                  <a:close/>
                  <a:moveTo>
                    <a:pt x="2322" y="125"/>
                  </a:moveTo>
                  <a:cubicBezTo>
                    <a:pt x="2327" y="125"/>
                    <a:pt x="2324" y="132"/>
                    <a:pt x="2328" y="134"/>
                  </a:cubicBezTo>
                  <a:cubicBezTo>
                    <a:pt x="2332" y="134"/>
                    <a:pt x="2338" y="135"/>
                    <a:pt x="2339" y="131"/>
                  </a:cubicBezTo>
                  <a:cubicBezTo>
                    <a:pt x="2343" y="132"/>
                    <a:pt x="2338" y="134"/>
                    <a:pt x="2339" y="138"/>
                  </a:cubicBezTo>
                  <a:cubicBezTo>
                    <a:pt x="2334" y="139"/>
                    <a:pt x="2334" y="136"/>
                    <a:pt x="2331" y="136"/>
                  </a:cubicBezTo>
                  <a:cubicBezTo>
                    <a:pt x="2327" y="139"/>
                    <a:pt x="2326" y="143"/>
                    <a:pt x="2317" y="141"/>
                  </a:cubicBezTo>
                  <a:cubicBezTo>
                    <a:pt x="2320" y="134"/>
                    <a:pt x="2320" y="134"/>
                    <a:pt x="2309" y="134"/>
                  </a:cubicBezTo>
                  <a:cubicBezTo>
                    <a:pt x="2299" y="129"/>
                    <a:pt x="2330" y="137"/>
                    <a:pt x="2322" y="125"/>
                  </a:cubicBezTo>
                  <a:close/>
                  <a:moveTo>
                    <a:pt x="2339" y="162"/>
                  </a:moveTo>
                  <a:cubicBezTo>
                    <a:pt x="2344" y="162"/>
                    <a:pt x="2341" y="170"/>
                    <a:pt x="2348" y="169"/>
                  </a:cubicBezTo>
                  <a:cubicBezTo>
                    <a:pt x="2345" y="175"/>
                    <a:pt x="2332" y="165"/>
                    <a:pt x="2339" y="162"/>
                  </a:cubicBezTo>
                  <a:close/>
                  <a:moveTo>
                    <a:pt x="2351" y="211"/>
                  </a:moveTo>
                  <a:cubicBezTo>
                    <a:pt x="2350" y="214"/>
                    <a:pt x="2348" y="216"/>
                    <a:pt x="2343" y="216"/>
                  </a:cubicBezTo>
                  <a:cubicBezTo>
                    <a:pt x="2342" y="211"/>
                    <a:pt x="2347" y="211"/>
                    <a:pt x="2351" y="211"/>
                  </a:cubicBezTo>
                  <a:close/>
                  <a:moveTo>
                    <a:pt x="2321" y="202"/>
                  </a:moveTo>
                  <a:cubicBezTo>
                    <a:pt x="2322" y="203"/>
                    <a:pt x="2331" y="208"/>
                    <a:pt x="2332" y="202"/>
                  </a:cubicBezTo>
                  <a:cubicBezTo>
                    <a:pt x="2337" y="205"/>
                    <a:pt x="2329" y="210"/>
                    <a:pt x="2335" y="216"/>
                  </a:cubicBezTo>
                  <a:cubicBezTo>
                    <a:pt x="2332" y="216"/>
                    <a:pt x="2330" y="217"/>
                    <a:pt x="2329" y="218"/>
                  </a:cubicBezTo>
                  <a:cubicBezTo>
                    <a:pt x="2326" y="218"/>
                    <a:pt x="2326" y="211"/>
                    <a:pt x="2329" y="211"/>
                  </a:cubicBezTo>
                  <a:cubicBezTo>
                    <a:pt x="2328" y="207"/>
                    <a:pt x="2319" y="210"/>
                    <a:pt x="2321" y="202"/>
                  </a:cubicBezTo>
                  <a:close/>
                  <a:moveTo>
                    <a:pt x="2309" y="141"/>
                  </a:moveTo>
                  <a:cubicBezTo>
                    <a:pt x="2304" y="142"/>
                    <a:pt x="2303" y="138"/>
                    <a:pt x="2298" y="139"/>
                  </a:cubicBezTo>
                  <a:cubicBezTo>
                    <a:pt x="2297" y="135"/>
                    <a:pt x="2313" y="135"/>
                    <a:pt x="2309" y="141"/>
                  </a:cubicBezTo>
                  <a:close/>
                  <a:moveTo>
                    <a:pt x="2287" y="132"/>
                  </a:moveTo>
                  <a:cubicBezTo>
                    <a:pt x="2289" y="132"/>
                    <a:pt x="2292" y="132"/>
                    <a:pt x="2295" y="132"/>
                  </a:cubicBezTo>
                  <a:cubicBezTo>
                    <a:pt x="2293" y="134"/>
                    <a:pt x="2294" y="140"/>
                    <a:pt x="2292" y="142"/>
                  </a:cubicBezTo>
                  <a:cubicBezTo>
                    <a:pt x="2292" y="142"/>
                    <a:pt x="2290" y="141"/>
                    <a:pt x="2290" y="142"/>
                  </a:cubicBezTo>
                  <a:cubicBezTo>
                    <a:pt x="2288" y="146"/>
                    <a:pt x="2294" y="155"/>
                    <a:pt x="2284" y="153"/>
                  </a:cubicBezTo>
                  <a:cubicBezTo>
                    <a:pt x="2289" y="149"/>
                    <a:pt x="2286" y="140"/>
                    <a:pt x="2287" y="132"/>
                  </a:cubicBezTo>
                  <a:close/>
                  <a:moveTo>
                    <a:pt x="2291" y="252"/>
                  </a:moveTo>
                  <a:cubicBezTo>
                    <a:pt x="2291" y="254"/>
                    <a:pt x="2291" y="255"/>
                    <a:pt x="2292" y="257"/>
                  </a:cubicBezTo>
                  <a:cubicBezTo>
                    <a:pt x="2290" y="257"/>
                    <a:pt x="2288" y="257"/>
                    <a:pt x="2286" y="257"/>
                  </a:cubicBezTo>
                  <a:cubicBezTo>
                    <a:pt x="2286" y="255"/>
                    <a:pt x="2286" y="254"/>
                    <a:pt x="2286" y="252"/>
                  </a:cubicBezTo>
                  <a:cubicBezTo>
                    <a:pt x="2288" y="252"/>
                    <a:pt x="2290" y="252"/>
                    <a:pt x="2291" y="252"/>
                  </a:cubicBezTo>
                  <a:close/>
                  <a:moveTo>
                    <a:pt x="2285" y="210"/>
                  </a:moveTo>
                  <a:cubicBezTo>
                    <a:pt x="2297" y="211"/>
                    <a:pt x="2283" y="223"/>
                    <a:pt x="2285" y="210"/>
                  </a:cubicBezTo>
                  <a:close/>
                  <a:moveTo>
                    <a:pt x="2278" y="283"/>
                  </a:moveTo>
                  <a:cubicBezTo>
                    <a:pt x="2279" y="280"/>
                    <a:pt x="2284" y="280"/>
                    <a:pt x="2284" y="283"/>
                  </a:cubicBezTo>
                  <a:cubicBezTo>
                    <a:pt x="2287" y="282"/>
                    <a:pt x="2286" y="278"/>
                    <a:pt x="2286" y="276"/>
                  </a:cubicBezTo>
                  <a:cubicBezTo>
                    <a:pt x="2289" y="277"/>
                    <a:pt x="2291" y="278"/>
                    <a:pt x="2292" y="275"/>
                  </a:cubicBezTo>
                  <a:cubicBezTo>
                    <a:pt x="2299" y="281"/>
                    <a:pt x="2284" y="287"/>
                    <a:pt x="2278" y="283"/>
                  </a:cubicBezTo>
                  <a:close/>
                  <a:moveTo>
                    <a:pt x="2303" y="282"/>
                  </a:moveTo>
                  <a:cubicBezTo>
                    <a:pt x="2303" y="281"/>
                    <a:pt x="2303" y="279"/>
                    <a:pt x="2303" y="278"/>
                  </a:cubicBezTo>
                  <a:cubicBezTo>
                    <a:pt x="2305" y="278"/>
                    <a:pt x="2307" y="278"/>
                    <a:pt x="2308" y="278"/>
                  </a:cubicBezTo>
                  <a:cubicBezTo>
                    <a:pt x="2308" y="279"/>
                    <a:pt x="2308" y="281"/>
                    <a:pt x="2308" y="282"/>
                  </a:cubicBezTo>
                  <a:cubicBezTo>
                    <a:pt x="2307" y="282"/>
                    <a:pt x="2305" y="282"/>
                    <a:pt x="2303" y="282"/>
                  </a:cubicBezTo>
                  <a:close/>
                  <a:moveTo>
                    <a:pt x="2311" y="278"/>
                  </a:moveTo>
                  <a:cubicBezTo>
                    <a:pt x="2316" y="277"/>
                    <a:pt x="2316" y="280"/>
                    <a:pt x="2319" y="280"/>
                  </a:cubicBezTo>
                  <a:cubicBezTo>
                    <a:pt x="2321" y="284"/>
                    <a:pt x="2307" y="283"/>
                    <a:pt x="2311" y="278"/>
                  </a:cubicBezTo>
                  <a:close/>
                  <a:moveTo>
                    <a:pt x="2311" y="254"/>
                  </a:moveTo>
                  <a:cubicBezTo>
                    <a:pt x="2313" y="254"/>
                    <a:pt x="2313" y="253"/>
                    <a:pt x="2313" y="252"/>
                  </a:cubicBezTo>
                  <a:cubicBezTo>
                    <a:pt x="2319" y="251"/>
                    <a:pt x="2318" y="262"/>
                    <a:pt x="2311" y="259"/>
                  </a:cubicBezTo>
                  <a:cubicBezTo>
                    <a:pt x="2311" y="257"/>
                    <a:pt x="2311" y="256"/>
                    <a:pt x="2311" y="254"/>
                  </a:cubicBezTo>
                  <a:close/>
                  <a:moveTo>
                    <a:pt x="2318" y="221"/>
                  </a:moveTo>
                  <a:cubicBezTo>
                    <a:pt x="2313" y="224"/>
                    <a:pt x="2314" y="217"/>
                    <a:pt x="2313" y="216"/>
                  </a:cubicBezTo>
                  <a:cubicBezTo>
                    <a:pt x="2307" y="216"/>
                    <a:pt x="2307" y="222"/>
                    <a:pt x="2308" y="231"/>
                  </a:cubicBezTo>
                  <a:cubicBezTo>
                    <a:pt x="2310" y="231"/>
                    <a:pt x="2310" y="230"/>
                    <a:pt x="2310" y="228"/>
                  </a:cubicBezTo>
                  <a:cubicBezTo>
                    <a:pt x="2319" y="229"/>
                    <a:pt x="2300" y="236"/>
                    <a:pt x="2310" y="238"/>
                  </a:cubicBezTo>
                  <a:cubicBezTo>
                    <a:pt x="2310" y="241"/>
                    <a:pt x="2303" y="239"/>
                    <a:pt x="2302" y="238"/>
                  </a:cubicBezTo>
                  <a:cubicBezTo>
                    <a:pt x="2301" y="234"/>
                    <a:pt x="2305" y="233"/>
                    <a:pt x="2305" y="231"/>
                  </a:cubicBezTo>
                  <a:cubicBezTo>
                    <a:pt x="2304" y="225"/>
                    <a:pt x="2302" y="221"/>
                    <a:pt x="2305" y="219"/>
                  </a:cubicBezTo>
                  <a:cubicBezTo>
                    <a:pt x="2306" y="211"/>
                    <a:pt x="2291" y="218"/>
                    <a:pt x="2293" y="210"/>
                  </a:cubicBezTo>
                  <a:cubicBezTo>
                    <a:pt x="2300" y="204"/>
                    <a:pt x="2307" y="219"/>
                    <a:pt x="2302" y="205"/>
                  </a:cubicBezTo>
                  <a:cubicBezTo>
                    <a:pt x="2307" y="205"/>
                    <a:pt x="2313" y="205"/>
                    <a:pt x="2318" y="205"/>
                  </a:cubicBezTo>
                  <a:cubicBezTo>
                    <a:pt x="2317" y="212"/>
                    <a:pt x="2325" y="216"/>
                    <a:pt x="2318" y="221"/>
                  </a:cubicBezTo>
                  <a:close/>
                  <a:moveTo>
                    <a:pt x="2321" y="228"/>
                  </a:moveTo>
                  <a:cubicBezTo>
                    <a:pt x="2321" y="226"/>
                    <a:pt x="2321" y="225"/>
                    <a:pt x="2321" y="223"/>
                  </a:cubicBezTo>
                  <a:cubicBezTo>
                    <a:pt x="2323" y="223"/>
                    <a:pt x="2325" y="223"/>
                    <a:pt x="2327" y="223"/>
                  </a:cubicBezTo>
                  <a:cubicBezTo>
                    <a:pt x="2327" y="225"/>
                    <a:pt x="2327" y="226"/>
                    <a:pt x="2327" y="228"/>
                  </a:cubicBezTo>
                  <a:cubicBezTo>
                    <a:pt x="2325" y="228"/>
                    <a:pt x="2323" y="228"/>
                    <a:pt x="2321" y="228"/>
                  </a:cubicBezTo>
                  <a:close/>
                  <a:moveTo>
                    <a:pt x="2327" y="258"/>
                  </a:moveTo>
                  <a:cubicBezTo>
                    <a:pt x="2339" y="259"/>
                    <a:pt x="2325" y="272"/>
                    <a:pt x="2327" y="258"/>
                  </a:cubicBezTo>
                  <a:close/>
                  <a:moveTo>
                    <a:pt x="2338" y="249"/>
                  </a:moveTo>
                  <a:cubicBezTo>
                    <a:pt x="2336" y="248"/>
                    <a:pt x="2335" y="247"/>
                    <a:pt x="2333" y="247"/>
                  </a:cubicBezTo>
                  <a:cubicBezTo>
                    <a:pt x="2333" y="245"/>
                    <a:pt x="2335" y="244"/>
                    <a:pt x="2335" y="242"/>
                  </a:cubicBezTo>
                  <a:cubicBezTo>
                    <a:pt x="2337" y="242"/>
                    <a:pt x="2338" y="244"/>
                    <a:pt x="2341" y="244"/>
                  </a:cubicBezTo>
                  <a:cubicBezTo>
                    <a:pt x="2340" y="246"/>
                    <a:pt x="2338" y="246"/>
                    <a:pt x="2338" y="249"/>
                  </a:cubicBezTo>
                  <a:close/>
                  <a:moveTo>
                    <a:pt x="2341" y="239"/>
                  </a:moveTo>
                  <a:cubicBezTo>
                    <a:pt x="2342" y="236"/>
                    <a:pt x="2349" y="237"/>
                    <a:pt x="2346" y="230"/>
                  </a:cubicBezTo>
                  <a:cubicBezTo>
                    <a:pt x="2351" y="234"/>
                    <a:pt x="2351" y="238"/>
                    <a:pt x="2349" y="244"/>
                  </a:cubicBezTo>
                  <a:cubicBezTo>
                    <a:pt x="2346" y="242"/>
                    <a:pt x="2346" y="239"/>
                    <a:pt x="2341" y="239"/>
                  </a:cubicBezTo>
                  <a:close/>
                  <a:moveTo>
                    <a:pt x="2352" y="282"/>
                  </a:moveTo>
                  <a:cubicBezTo>
                    <a:pt x="2351" y="286"/>
                    <a:pt x="2347" y="283"/>
                    <a:pt x="2349" y="274"/>
                  </a:cubicBezTo>
                  <a:cubicBezTo>
                    <a:pt x="2351" y="268"/>
                    <a:pt x="2353" y="280"/>
                    <a:pt x="2352" y="282"/>
                  </a:cubicBezTo>
                  <a:close/>
                  <a:moveTo>
                    <a:pt x="2347" y="138"/>
                  </a:moveTo>
                  <a:cubicBezTo>
                    <a:pt x="2345" y="138"/>
                    <a:pt x="2344" y="139"/>
                    <a:pt x="2344" y="141"/>
                  </a:cubicBezTo>
                  <a:cubicBezTo>
                    <a:pt x="2334" y="139"/>
                    <a:pt x="2360" y="133"/>
                    <a:pt x="2344" y="134"/>
                  </a:cubicBezTo>
                  <a:cubicBezTo>
                    <a:pt x="2344" y="126"/>
                    <a:pt x="2351" y="134"/>
                    <a:pt x="2355" y="133"/>
                  </a:cubicBezTo>
                  <a:cubicBezTo>
                    <a:pt x="2358" y="133"/>
                    <a:pt x="2389" y="124"/>
                    <a:pt x="2377" y="140"/>
                  </a:cubicBezTo>
                  <a:cubicBezTo>
                    <a:pt x="2371" y="141"/>
                    <a:pt x="2374" y="133"/>
                    <a:pt x="2369" y="133"/>
                  </a:cubicBezTo>
                  <a:cubicBezTo>
                    <a:pt x="2365" y="138"/>
                    <a:pt x="2354" y="143"/>
                    <a:pt x="2347" y="138"/>
                  </a:cubicBezTo>
                  <a:close/>
                  <a:moveTo>
                    <a:pt x="2354" y="213"/>
                  </a:moveTo>
                  <a:cubicBezTo>
                    <a:pt x="2356" y="211"/>
                    <a:pt x="2358" y="207"/>
                    <a:pt x="2354" y="206"/>
                  </a:cubicBezTo>
                  <a:cubicBezTo>
                    <a:pt x="2355" y="201"/>
                    <a:pt x="2367" y="205"/>
                    <a:pt x="2373" y="204"/>
                  </a:cubicBezTo>
                  <a:cubicBezTo>
                    <a:pt x="2382" y="205"/>
                    <a:pt x="2368" y="207"/>
                    <a:pt x="2365" y="206"/>
                  </a:cubicBezTo>
                  <a:cubicBezTo>
                    <a:pt x="2358" y="205"/>
                    <a:pt x="2363" y="215"/>
                    <a:pt x="2354" y="213"/>
                  </a:cubicBezTo>
                  <a:close/>
                  <a:moveTo>
                    <a:pt x="2373" y="218"/>
                  </a:moveTo>
                  <a:cubicBezTo>
                    <a:pt x="2371" y="215"/>
                    <a:pt x="2363" y="217"/>
                    <a:pt x="2365" y="211"/>
                  </a:cubicBezTo>
                  <a:cubicBezTo>
                    <a:pt x="2371" y="210"/>
                    <a:pt x="2374" y="213"/>
                    <a:pt x="2373" y="218"/>
                  </a:cubicBezTo>
                  <a:close/>
                  <a:moveTo>
                    <a:pt x="2363" y="263"/>
                  </a:moveTo>
                  <a:cubicBezTo>
                    <a:pt x="2362" y="262"/>
                    <a:pt x="2357" y="267"/>
                    <a:pt x="2358" y="267"/>
                  </a:cubicBezTo>
                  <a:cubicBezTo>
                    <a:pt x="2351" y="265"/>
                    <a:pt x="2366" y="255"/>
                    <a:pt x="2366" y="265"/>
                  </a:cubicBezTo>
                  <a:cubicBezTo>
                    <a:pt x="2363" y="266"/>
                    <a:pt x="2364" y="263"/>
                    <a:pt x="2363" y="263"/>
                  </a:cubicBezTo>
                  <a:close/>
                  <a:moveTo>
                    <a:pt x="2374" y="255"/>
                  </a:moveTo>
                  <a:cubicBezTo>
                    <a:pt x="2366" y="252"/>
                    <a:pt x="2360" y="247"/>
                    <a:pt x="2368" y="241"/>
                  </a:cubicBezTo>
                  <a:cubicBezTo>
                    <a:pt x="2367" y="238"/>
                    <a:pt x="2363" y="239"/>
                    <a:pt x="2363" y="241"/>
                  </a:cubicBezTo>
                  <a:cubicBezTo>
                    <a:pt x="2356" y="240"/>
                    <a:pt x="2361" y="230"/>
                    <a:pt x="2368" y="232"/>
                  </a:cubicBezTo>
                  <a:cubicBezTo>
                    <a:pt x="2367" y="229"/>
                    <a:pt x="2363" y="230"/>
                    <a:pt x="2360" y="230"/>
                  </a:cubicBezTo>
                  <a:cubicBezTo>
                    <a:pt x="2360" y="225"/>
                    <a:pt x="2367" y="227"/>
                    <a:pt x="2365" y="220"/>
                  </a:cubicBezTo>
                  <a:cubicBezTo>
                    <a:pt x="2369" y="223"/>
                    <a:pt x="2371" y="232"/>
                    <a:pt x="2368" y="234"/>
                  </a:cubicBezTo>
                  <a:cubicBezTo>
                    <a:pt x="2366" y="238"/>
                    <a:pt x="2381" y="238"/>
                    <a:pt x="2379" y="234"/>
                  </a:cubicBezTo>
                  <a:cubicBezTo>
                    <a:pt x="2385" y="235"/>
                    <a:pt x="2374" y="244"/>
                    <a:pt x="2371" y="239"/>
                  </a:cubicBezTo>
                  <a:cubicBezTo>
                    <a:pt x="2370" y="243"/>
                    <a:pt x="2373" y="243"/>
                    <a:pt x="2376" y="244"/>
                  </a:cubicBezTo>
                  <a:cubicBezTo>
                    <a:pt x="2378" y="249"/>
                    <a:pt x="2371" y="249"/>
                    <a:pt x="2374" y="255"/>
                  </a:cubicBezTo>
                  <a:close/>
                  <a:moveTo>
                    <a:pt x="2377" y="283"/>
                  </a:moveTo>
                  <a:cubicBezTo>
                    <a:pt x="2375" y="283"/>
                    <a:pt x="2375" y="284"/>
                    <a:pt x="2374" y="286"/>
                  </a:cubicBezTo>
                  <a:cubicBezTo>
                    <a:pt x="2367" y="283"/>
                    <a:pt x="2381" y="279"/>
                    <a:pt x="2388" y="281"/>
                  </a:cubicBezTo>
                  <a:cubicBezTo>
                    <a:pt x="2388" y="283"/>
                    <a:pt x="2388" y="286"/>
                    <a:pt x="2388" y="288"/>
                  </a:cubicBezTo>
                  <a:cubicBezTo>
                    <a:pt x="2380" y="291"/>
                    <a:pt x="2381" y="284"/>
                    <a:pt x="2377" y="283"/>
                  </a:cubicBezTo>
                  <a:close/>
                  <a:moveTo>
                    <a:pt x="2381" y="218"/>
                  </a:moveTo>
                  <a:cubicBezTo>
                    <a:pt x="2378" y="217"/>
                    <a:pt x="2379" y="213"/>
                    <a:pt x="2376" y="213"/>
                  </a:cubicBezTo>
                  <a:cubicBezTo>
                    <a:pt x="2377" y="205"/>
                    <a:pt x="2383" y="215"/>
                    <a:pt x="2387" y="215"/>
                  </a:cubicBezTo>
                  <a:cubicBezTo>
                    <a:pt x="2387" y="215"/>
                    <a:pt x="2390" y="215"/>
                    <a:pt x="2390" y="215"/>
                  </a:cubicBezTo>
                  <a:cubicBezTo>
                    <a:pt x="2392" y="221"/>
                    <a:pt x="2379" y="212"/>
                    <a:pt x="2381" y="218"/>
                  </a:cubicBezTo>
                  <a:close/>
                  <a:moveTo>
                    <a:pt x="2409" y="224"/>
                  </a:moveTo>
                  <a:cubicBezTo>
                    <a:pt x="2413" y="225"/>
                    <a:pt x="2416" y="227"/>
                    <a:pt x="2420" y="229"/>
                  </a:cubicBezTo>
                  <a:cubicBezTo>
                    <a:pt x="2419" y="234"/>
                    <a:pt x="2407" y="229"/>
                    <a:pt x="2409" y="224"/>
                  </a:cubicBezTo>
                  <a:close/>
                  <a:moveTo>
                    <a:pt x="2425" y="217"/>
                  </a:moveTo>
                  <a:cubicBezTo>
                    <a:pt x="2426" y="211"/>
                    <a:pt x="2435" y="216"/>
                    <a:pt x="2436" y="217"/>
                  </a:cubicBezTo>
                  <a:cubicBezTo>
                    <a:pt x="2435" y="224"/>
                    <a:pt x="2430" y="214"/>
                    <a:pt x="2425" y="217"/>
                  </a:cubicBezTo>
                  <a:close/>
                  <a:moveTo>
                    <a:pt x="2436" y="212"/>
                  </a:moveTo>
                  <a:cubicBezTo>
                    <a:pt x="2437" y="211"/>
                    <a:pt x="2442" y="208"/>
                    <a:pt x="2444" y="209"/>
                  </a:cubicBezTo>
                  <a:cubicBezTo>
                    <a:pt x="2451" y="214"/>
                    <a:pt x="2433" y="220"/>
                    <a:pt x="2436" y="212"/>
                  </a:cubicBezTo>
                  <a:close/>
                  <a:moveTo>
                    <a:pt x="2453" y="259"/>
                  </a:moveTo>
                  <a:cubicBezTo>
                    <a:pt x="2451" y="259"/>
                    <a:pt x="2448" y="259"/>
                    <a:pt x="2445" y="259"/>
                  </a:cubicBezTo>
                  <a:cubicBezTo>
                    <a:pt x="2447" y="252"/>
                    <a:pt x="2449" y="256"/>
                    <a:pt x="2456" y="256"/>
                  </a:cubicBezTo>
                  <a:cubicBezTo>
                    <a:pt x="2456" y="260"/>
                    <a:pt x="2456" y="263"/>
                    <a:pt x="2459" y="263"/>
                  </a:cubicBezTo>
                  <a:cubicBezTo>
                    <a:pt x="2458" y="270"/>
                    <a:pt x="2450" y="263"/>
                    <a:pt x="2453" y="259"/>
                  </a:cubicBezTo>
                  <a:close/>
                  <a:moveTo>
                    <a:pt x="2464" y="237"/>
                  </a:moveTo>
                  <a:cubicBezTo>
                    <a:pt x="2460" y="238"/>
                    <a:pt x="2463" y="244"/>
                    <a:pt x="2459" y="244"/>
                  </a:cubicBezTo>
                  <a:cubicBezTo>
                    <a:pt x="2457" y="240"/>
                    <a:pt x="2460" y="238"/>
                    <a:pt x="2461" y="235"/>
                  </a:cubicBezTo>
                  <a:cubicBezTo>
                    <a:pt x="2466" y="234"/>
                    <a:pt x="2467" y="237"/>
                    <a:pt x="2464" y="237"/>
                  </a:cubicBezTo>
                  <a:close/>
                  <a:moveTo>
                    <a:pt x="2478" y="246"/>
                  </a:moveTo>
                  <a:cubicBezTo>
                    <a:pt x="2484" y="241"/>
                    <a:pt x="2475" y="239"/>
                    <a:pt x="2481" y="235"/>
                  </a:cubicBezTo>
                  <a:cubicBezTo>
                    <a:pt x="2485" y="234"/>
                    <a:pt x="2486" y="250"/>
                    <a:pt x="2478" y="246"/>
                  </a:cubicBezTo>
                  <a:close/>
                  <a:moveTo>
                    <a:pt x="2497" y="253"/>
                  </a:moveTo>
                  <a:cubicBezTo>
                    <a:pt x="2497" y="251"/>
                    <a:pt x="2501" y="251"/>
                    <a:pt x="2503" y="251"/>
                  </a:cubicBezTo>
                  <a:cubicBezTo>
                    <a:pt x="2505" y="251"/>
                    <a:pt x="2508" y="251"/>
                    <a:pt x="2511" y="251"/>
                  </a:cubicBezTo>
                  <a:cubicBezTo>
                    <a:pt x="2512" y="256"/>
                    <a:pt x="2501" y="252"/>
                    <a:pt x="2497" y="253"/>
                  </a:cubicBezTo>
                  <a:close/>
                  <a:moveTo>
                    <a:pt x="2503" y="248"/>
                  </a:moveTo>
                  <a:cubicBezTo>
                    <a:pt x="2503" y="245"/>
                    <a:pt x="2503" y="242"/>
                    <a:pt x="2503" y="239"/>
                  </a:cubicBezTo>
                  <a:cubicBezTo>
                    <a:pt x="2505" y="239"/>
                    <a:pt x="2505" y="242"/>
                    <a:pt x="2505" y="244"/>
                  </a:cubicBezTo>
                  <a:cubicBezTo>
                    <a:pt x="2509" y="244"/>
                    <a:pt x="2510" y="243"/>
                    <a:pt x="2511" y="241"/>
                  </a:cubicBezTo>
                  <a:cubicBezTo>
                    <a:pt x="2519" y="244"/>
                    <a:pt x="2507" y="249"/>
                    <a:pt x="2503" y="248"/>
                  </a:cubicBezTo>
                  <a:close/>
                  <a:moveTo>
                    <a:pt x="2517" y="269"/>
                  </a:moveTo>
                  <a:cubicBezTo>
                    <a:pt x="2512" y="275"/>
                    <a:pt x="2517" y="268"/>
                    <a:pt x="2517" y="265"/>
                  </a:cubicBezTo>
                  <a:cubicBezTo>
                    <a:pt x="2517" y="256"/>
                    <a:pt x="2524" y="271"/>
                    <a:pt x="2517" y="269"/>
                  </a:cubicBezTo>
                  <a:close/>
                  <a:moveTo>
                    <a:pt x="2535" y="241"/>
                  </a:moveTo>
                  <a:cubicBezTo>
                    <a:pt x="2533" y="237"/>
                    <a:pt x="2522" y="241"/>
                    <a:pt x="2524" y="234"/>
                  </a:cubicBezTo>
                  <a:cubicBezTo>
                    <a:pt x="2527" y="232"/>
                    <a:pt x="2532" y="231"/>
                    <a:pt x="2538" y="231"/>
                  </a:cubicBezTo>
                  <a:cubicBezTo>
                    <a:pt x="2538" y="235"/>
                    <a:pt x="2535" y="236"/>
                    <a:pt x="2535" y="241"/>
                  </a:cubicBezTo>
                  <a:close/>
                  <a:moveTo>
                    <a:pt x="2543" y="219"/>
                  </a:moveTo>
                  <a:cubicBezTo>
                    <a:pt x="2538" y="215"/>
                    <a:pt x="2538" y="221"/>
                    <a:pt x="2530" y="220"/>
                  </a:cubicBezTo>
                  <a:cubicBezTo>
                    <a:pt x="2526" y="217"/>
                    <a:pt x="2529" y="216"/>
                    <a:pt x="2530" y="213"/>
                  </a:cubicBezTo>
                  <a:cubicBezTo>
                    <a:pt x="2524" y="212"/>
                    <a:pt x="2521" y="215"/>
                    <a:pt x="2521" y="220"/>
                  </a:cubicBezTo>
                  <a:cubicBezTo>
                    <a:pt x="2511" y="215"/>
                    <a:pt x="2520" y="208"/>
                    <a:pt x="2529" y="208"/>
                  </a:cubicBezTo>
                  <a:cubicBezTo>
                    <a:pt x="2529" y="203"/>
                    <a:pt x="2521" y="208"/>
                    <a:pt x="2521" y="208"/>
                  </a:cubicBezTo>
                  <a:cubicBezTo>
                    <a:pt x="2518" y="208"/>
                    <a:pt x="2517" y="204"/>
                    <a:pt x="2513" y="203"/>
                  </a:cubicBezTo>
                  <a:cubicBezTo>
                    <a:pt x="2513" y="209"/>
                    <a:pt x="2518" y="209"/>
                    <a:pt x="2513" y="213"/>
                  </a:cubicBezTo>
                  <a:cubicBezTo>
                    <a:pt x="2511" y="215"/>
                    <a:pt x="2519" y="239"/>
                    <a:pt x="2508" y="236"/>
                  </a:cubicBezTo>
                  <a:cubicBezTo>
                    <a:pt x="2507" y="233"/>
                    <a:pt x="2510" y="232"/>
                    <a:pt x="2511" y="229"/>
                  </a:cubicBezTo>
                  <a:cubicBezTo>
                    <a:pt x="2508" y="225"/>
                    <a:pt x="2504" y="222"/>
                    <a:pt x="2499" y="220"/>
                  </a:cubicBezTo>
                  <a:cubicBezTo>
                    <a:pt x="2499" y="216"/>
                    <a:pt x="2501" y="211"/>
                    <a:pt x="2497" y="211"/>
                  </a:cubicBezTo>
                  <a:cubicBezTo>
                    <a:pt x="2493" y="211"/>
                    <a:pt x="2496" y="214"/>
                    <a:pt x="2497" y="213"/>
                  </a:cubicBezTo>
                  <a:cubicBezTo>
                    <a:pt x="2492" y="219"/>
                    <a:pt x="2486" y="214"/>
                    <a:pt x="2483" y="220"/>
                  </a:cubicBezTo>
                  <a:cubicBezTo>
                    <a:pt x="2481" y="219"/>
                    <a:pt x="2479" y="218"/>
                    <a:pt x="2475" y="218"/>
                  </a:cubicBezTo>
                  <a:cubicBezTo>
                    <a:pt x="2474" y="226"/>
                    <a:pt x="2487" y="222"/>
                    <a:pt x="2483" y="232"/>
                  </a:cubicBezTo>
                  <a:cubicBezTo>
                    <a:pt x="2479" y="233"/>
                    <a:pt x="2478" y="230"/>
                    <a:pt x="2478" y="228"/>
                  </a:cubicBezTo>
                  <a:cubicBezTo>
                    <a:pt x="2478" y="225"/>
                    <a:pt x="2473" y="227"/>
                    <a:pt x="2472" y="225"/>
                  </a:cubicBezTo>
                  <a:cubicBezTo>
                    <a:pt x="2472" y="225"/>
                    <a:pt x="2472" y="216"/>
                    <a:pt x="2469" y="218"/>
                  </a:cubicBezTo>
                  <a:cubicBezTo>
                    <a:pt x="2467" y="220"/>
                    <a:pt x="2464" y="221"/>
                    <a:pt x="2464" y="211"/>
                  </a:cubicBezTo>
                  <a:cubicBezTo>
                    <a:pt x="2459" y="214"/>
                    <a:pt x="2460" y="221"/>
                    <a:pt x="2450" y="219"/>
                  </a:cubicBezTo>
                  <a:cubicBezTo>
                    <a:pt x="2450" y="216"/>
                    <a:pt x="2449" y="214"/>
                    <a:pt x="2447" y="214"/>
                  </a:cubicBezTo>
                  <a:cubicBezTo>
                    <a:pt x="2446" y="210"/>
                    <a:pt x="2449" y="210"/>
                    <a:pt x="2453" y="209"/>
                  </a:cubicBezTo>
                  <a:cubicBezTo>
                    <a:pt x="2452" y="207"/>
                    <a:pt x="2447" y="208"/>
                    <a:pt x="2447" y="205"/>
                  </a:cubicBezTo>
                  <a:cubicBezTo>
                    <a:pt x="2436" y="206"/>
                    <a:pt x="2426" y="206"/>
                    <a:pt x="2414" y="205"/>
                  </a:cubicBezTo>
                  <a:cubicBezTo>
                    <a:pt x="2406" y="208"/>
                    <a:pt x="2418" y="211"/>
                    <a:pt x="2412" y="215"/>
                  </a:cubicBezTo>
                  <a:cubicBezTo>
                    <a:pt x="2408" y="215"/>
                    <a:pt x="2404" y="215"/>
                    <a:pt x="2401" y="215"/>
                  </a:cubicBezTo>
                  <a:cubicBezTo>
                    <a:pt x="2400" y="211"/>
                    <a:pt x="2403" y="211"/>
                    <a:pt x="2403" y="208"/>
                  </a:cubicBezTo>
                  <a:cubicBezTo>
                    <a:pt x="2400" y="201"/>
                    <a:pt x="2389" y="208"/>
                    <a:pt x="2384" y="208"/>
                  </a:cubicBezTo>
                  <a:cubicBezTo>
                    <a:pt x="2378" y="197"/>
                    <a:pt x="2422" y="207"/>
                    <a:pt x="2411" y="201"/>
                  </a:cubicBezTo>
                  <a:cubicBezTo>
                    <a:pt x="2412" y="198"/>
                    <a:pt x="2414" y="199"/>
                    <a:pt x="2414" y="200"/>
                  </a:cubicBezTo>
                  <a:cubicBezTo>
                    <a:pt x="2421" y="203"/>
                    <a:pt x="2431" y="203"/>
                    <a:pt x="2442" y="202"/>
                  </a:cubicBezTo>
                  <a:cubicBezTo>
                    <a:pt x="2444" y="201"/>
                    <a:pt x="2446" y="200"/>
                    <a:pt x="2450" y="200"/>
                  </a:cubicBezTo>
                  <a:cubicBezTo>
                    <a:pt x="2450" y="198"/>
                    <a:pt x="2450" y="195"/>
                    <a:pt x="2450" y="193"/>
                  </a:cubicBezTo>
                  <a:cubicBezTo>
                    <a:pt x="2456" y="187"/>
                    <a:pt x="2447" y="202"/>
                    <a:pt x="2458" y="202"/>
                  </a:cubicBezTo>
                  <a:cubicBezTo>
                    <a:pt x="2463" y="202"/>
                    <a:pt x="2468" y="203"/>
                    <a:pt x="2463" y="204"/>
                  </a:cubicBezTo>
                  <a:cubicBezTo>
                    <a:pt x="2460" y="206"/>
                    <a:pt x="2455" y="203"/>
                    <a:pt x="2455" y="207"/>
                  </a:cubicBezTo>
                  <a:cubicBezTo>
                    <a:pt x="2453" y="211"/>
                    <a:pt x="2468" y="210"/>
                    <a:pt x="2466" y="207"/>
                  </a:cubicBezTo>
                  <a:cubicBezTo>
                    <a:pt x="2469" y="205"/>
                    <a:pt x="2469" y="201"/>
                    <a:pt x="2474" y="202"/>
                  </a:cubicBezTo>
                  <a:cubicBezTo>
                    <a:pt x="2474" y="198"/>
                    <a:pt x="2477" y="198"/>
                    <a:pt x="2477" y="195"/>
                  </a:cubicBezTo>
                  <a:cubicBezTo>
                    <a:pt x="2481" y="195"/>
                    <a:pt x="2478" y="202"/>
                    <a:pt x="2483" y="202"/>
                  </a:cubicBezTo>
                  <a:cubicBezTo>
                    <a:pt x="2490" y="202"/>
                    <a:pt x="2492" y="198"/>
                    <a:pt x="2491" y="192"/>
                  </a:cubicBezTo>
                  <a:cubicBezTo>
                    <a:pt x="2499" y="194"/>
                    <a:pt x="2494" y="196"/>
                    <a:pt x="2494" y="201"/>
                  </a:cubicBezTo>
                  <a:cubicBezTo>
                    <a:pt x="2500" y="202"/>
                    <a:pt x="2504" y="201"/>
                    <a:pt x="2505" y="197"/>
                  </a:cubicBezTo>
                  <a:cubicBezTo>
                    <a:pt x="2508" y="196"/>
                    <a:pt x="2506" y="200"/>
                    <a:pt x="2507" y="201"/>
                  </a:cubicBezTo>
                  <a:cubicBezTo>
                    <a:pt x="2511" y="203"/>
                    <a:pt x="2519" y="200"/>
                    <a:pt x="2524" y="201"/>
                  </a:cubicBezTo>
                  <a:cubicBezTo>
                    <a:pt x="2527" y="200"/>
                    <a:pt x="2529" y="198"/>
                    <a:pt x="2529" y="194"/>
                  </a:cubicBezTo>
                  <a:cubicBezTo>
                    <a:pt x="2540" y="192"/>
                    <a:pt x="2540" y="192"/>
                    <a:pt x="2551" y="193"/>
                  </a:cubicBezTo>
                  <a:cubicBezTo>
                    <a:pt x="2553" y="201"/>
                    <a:pt x="2548" y="202"/>
                    <a:pt x="2549" y="208"/>
                  </a:cubicBezTo>
                  <a:cubicBezTo>
                    <a:pt x="2546" y="206"/>
                    <a:pt x="2542" y="205"/>
                    <a:pt x="2538" y="205"/>
                  </a:cubicBezTo>
                  <a:cubicBezTo>
                    <a:pt x="2537" y="212"/>
                    <a:pt x="2544" y="213"/>
                    <a:pt x="2543" y="219"/>
                  </a:cubicBezTo>
                  <a:close/>
                  <a:moveTo>
                    <a:pt x="2549" y="212"/>
                  </a:moveTo>
                  <a:cubicBezTo>
                    <a:pt x="2550" y="209"/>
                    <a:pt x="2552" y="213"/>
                    <a:pt x="2557" y="212"/>
                  </a:cubicBezTo>
                  <a:cubicBezTo>
                    <a:pt x="2559" y="219"/>
                    <a:pt x="2547" y="215"/>
                    <a:pt x="2552" y="224"/>
                  </a:cubicBezTo>
                  <a:cubicBezTo>
                    <a:pt x="2539" y="223"/>
                    <a:pt x="2556" y="214"/>
                    <a:pt x="2549" y="212"/>
                  </a:cubicBezTo>
                  <a:close/>
                  <a:moveTo>
                    <a:pt x="2549" y="238"/>
                  </a:moveTo>
                  <a:cubicBezTo>
                    <a:pt x="2548" y="233"/>
                    <a:pt x="2554" y="235"/>
                    <a:pt x="2554" y="231"/>
                  </a:cubicBezTo>
                  <a:cubicBezTo>
                    <a:pt x="2558" y="231"/>
                    <a:pt x="2557" y="235"/>
                    <a:pt x="2557" y="238"/>
                  </a:cubicBezTo>
                  <a:cubicBezTo>
                    <a:pt x="2555" y="238"/>
                    <a:pt x="2552" y="238"/>
                    <a:pt x="2549" y="238"/>
                  </a:cubicBezTo>
                  <a:close/>
                  <a:moveTo>
                    <a:pt x="2553" y="146"/>
                  </a:moveTo>
                  <a:cubicBezTo>
                    <a:pt x="2555" y="146"/>
                    <a:pt x="2557" y="146"/>
                    <a:pt x="2559" y="146"/>
                  </a:cubicBezTo>
                  <a:cubicBezTo>
                    <a:pt x="2559" y="153"/>
                    <a:pt x="2538" y="146"/>
                    <a:pt x="2553" y="146"/>
                  </a:cubicBezTo>
                  <a:close/>
                  <a:moveTo>
                    <a:pt x="2570" y="167"/>
                  </a:moveTo>
                  <a:cubicBezTo>
                    <a:pt x="2567" y="175"/>
                    <a:pt x="2562" y="165"/>
                    <a:pt x="2564" y="160"/>
                  </a:cubicBezTo>
                  <a:cubicBezTo>
                    <a:pt x="2568" y="161"/>
                    <a:pt x="2565" y="167"/>
                    <a:pt x="2570" y="167"/>
                  </a:cubicBezTo>
                  <a:close/>
                  <a:moveTo>
                    <a:pt x="2567" y="137"/>
                  </a:moveTo>
                  <a:cubicBezTo>
                    <a:pt x="2570" y="138"/>
                    <a:pt x="2572" y="140"/>
                    <a:pt x="2572" y="144"/>
                  </a:cubicBezTo>
                  <a:cubicBezTo>
                    <a:pt x="2569" y="143"/>
                    <a:pt x="2566" y="141"/>
                    <a:pt x="2567" y="137"/>
                  </a:cubicBezTo>
                  <a:close/>
                  <a:moveTo>
                    <a:pt x="2568" y="191"/>
                  </a:moveTo>
                  <a:cubicBezTo>
                    <a:pt x="2570" y="191"/>
                    <a:pt x="2573" y="191"/>
                    <a:pt x="2576" y="191"/>
                  </a:cubicBezTo>
                  <a:cubicBezTo>
                    <a:pt x="2575" y="196"/>
                    <a:pt x="2564" y="192"/>
                    <a:pt x="2559" y="193"/>
                  </a:cubicBezTo>
                  <a:cubicBezTo>
                    <a:pt x="2560" y="190"/>
                    <a:pt x="2564" y="191"/>
                    <a:pt x="2568" y="191"/>
                  </a:cubicBezTo>
                  <a:close/>
                  <a:moveTo>
                    <a:pt x="2559" y="200"/>
                  </a:moveTo>
                  <a:cubicBezTo>
                    <a:pt x="2562" y="205"/>
                    <a:pt x="2573" y="201"/>
                    <a:pt x="2565" y="198"/>
                  </a:cubicBezTo>
                  <a:cubicBezTo>
                    <a:pt x="2567" y="194"/>
                    <a:pt x="2569" y="198"/>
                    <a:pt x="2576" y="195"/>
                  </a:cubicBezTo>
                  <a:cubicBezTo>
                    <a:pt x="2576" y="199"/>
                    <a:pt x="2564" y="203"/>
                    <a:pt x="2576" y="202"/>
                  </a:cubicBezTo>
                  <a:cubicBezTo>
                    <a:pt x="2586" y="207"/>
                    <a:pt x="2561" y="202"/>
                    <a:pt x="2562" y="207"/>
                  </a:cubicBezTo>
                  <a:cubicBezTo>
                    <a:pt x="2560" y="208"/>
                    <a:pt x="2560" y="206"/>
                    <a:pt x="2560" y="205"/>
                  </a:cubicBezTo>
                  <a:cubicBezTo>
                    <a:pt x="2560" y="203"/>
                    <a:pt x="2560" y="202"/>
                    <a:pt x="2559" y="200"/>
                  </a:cubicBezTo>
                  <a:close/>
                  <a:moveTo>
                    <a:pt x="2595" y="219"/>
                  </a:moveTo>
                  <a:cubicBezTo>
                    <a:pt x="2593" y="223"/>
                    <a:pt x="2594" y="216"/>
                    <a:pt x="2590" y="216"/>
                  </a:cubicBezTo>
                  <a:cubicBezTo>
                    <a:pt x="2587" y="216"/>
                    <a:pt x="2585" y="212"/>
                    <a:pt x="2584" y="207"/>
                  </a:cubicBezTo>
                  <a:cubicBezTo>
                    <a:pt x="2588" y="207"/>
                    <a:pt x="2592" y="207"/>
                    <a:pt x="2595" y="207"/>
                  </a:cubicBezTo>
                  <a:cubicBezTo>
                    <a:pt x="2597" y="214"/>
                    <a:pt x="2590" y="214"/>
                    <a:pt x="2595" y="219"/>
                  </a:cubicBezTo>
                  <a:close/>
                  <a:moveTo>
                    <a:pt x="2591" y="263"/>
                  </a:moveTo>
                  <a:cubicBezTo>
                    <a:pt x="2589" y="268"/>
                    <a:pt x="2586" y="265"/>
                    <a:pt x="2588" y="256"/>
                  </a:cubicBezTo>
                  <a:cubicBezTo>
                    <a:pt x="2590" y="250"/>
                    <a:pt x="2591" y="262"/>
                    <a:pt x="2591" y="263"/>
                  </a:cubicBezTo>
                  <a:close/>
                  <a:moveTo>
                    <a:pt x="2582" y="230"/>
                  </a:moveTo>
                  <a:cubicBezTo>
                    <a:pt x="2594" y="232"/>
                    <a:pt x="2580" y="245"/>
                    <a:pt x="2582" y="230"/>
                  </a:cubicBezTo>
                  <a:close/>
                  <a:moveTo>
                    <a:pt x="2571" y="228"/>
                  </a:moveTo>
                  <a:cubicBezTo>
                    <a:pt x="2572" y="226"/>
                    <a:pt x="2573" y="224"/>
                    <a:pt x="2576" y="224"/>
                  </a:cubicBezTo>
                  <a:cubicBezTo>
                    <a:pt x="2575" y="220"/>
                    <a:pt x="2568" y="222"/>
                    <a:pt x="2571" y="214"/>
                  </a:cubicBezTo>
                  <a:cubicBezTo>
                    <a:pt x="2579" y="214"/>
                    <a:pt x="2580" y="220"/>
                    <a:pt x="2582" y="226"/>
                  </a:cubicBezTo>
                  <a:cubicBezTo>
                    <a:pt x="2579" y="228"/>
                    <a:pt x="2576" y="228"/>
                    <a:pt x="2571" y="228"/>
                  </a:cubicBezTo>
                  <a:close/>
                  <a:moveTo>
                    <a:pt x="2560" y="221"/>
                  </a:moveTo>
                  <a:cubicBezTo>
                    <a:pt x="2560" y="219"/>
                    <a:pt x="2560" y="217"/>
                    <a:pt x="2560" y="214"/>
                  </a:cubicBezTo>
                  <a:cubicBezTo>
                    <a:pt x="2562" y="214"/>
                    <a:pt x="2565" y="214"/>
                    <a:pt x="2568" y="214"/>
                  </a:cubicBezTo>
                  <a:cubicBezTo>
                    <a:pt x="2565" y="217"/>
                    <a:pt x="2567" y="223"/>
                    <a:pt x="2560" y="221"/>
                  </a:cubicBezTo>
                  <a:close/>
                  <a:moveTo>
                    <a:pt x="2568" y="231"/>
                  </a:moveTo>
                  <a:cubicBezTo>
                    <a:pt x="2578" y="230"/>
                    <a:pt x="2572" y="243"/>
                    <a:pt x="2577" y="247"/>
                  </a:cubicBezTo>
                  <a:cubicBezTo>
                    <a:pt x="2566" y="249"/>
                    <a:pt x="2569" y="238"/>
                    <a:pt x="2568" y="231"/>
                  </a:cubicBezTo>
                  <a:close/>
                  <a:moveTo>
                    <a:pt x="2569" y="254"/>
                  </a:moveTo>
                  <a:cubicBezTo>
                    <a:pt x="2568" y="251"/>
                    <a:pt x="2576" y="246"/>
                    <a:pt x="2577" y="252"/>
                  </a:cubicBezTo>
                  <a:cubicBezTo>
                    <a:pt x="2576" y="254"/>
                    <a:pt x="2578" y="254"/>
                    <a:pt x="2580" y="254"/>
                  </a:cubicBezTo>
                  <a:cubicBezTo>
                    <a:pt x="2578" y="261"/>
                    <a:pt x="2574" y="252"/>
                    <a:pt x="2569" y="254"/>
                  </a:cubicBezTo>
                  <a:close/>
                  <a:moveTo>
                    <a:pt x="2579" y="242"/>
                  </a:moveTo>
                  <a:cubicBezTo>
                    <a:pt x="2578" y="238"/>
                    <a:pt x="2592" y="239"/>
                    <a:pt x="2588" y="244"/>
                  </a:cubicBezTo>
                  <a:cubicBezTo>
                    <a:pt x="2586" y="245"/>
                    <a:pt x="2584" y="245"/>
                    <a:pt x="2582" y="245"/>
                  </a:cubicBezTo>
                  <a:cubicBezTo>
                    <a:pt x="2583" y="243"/>
                    <a:pt x="2581" y="242"/>
                    <a:pt x="2579" y="242"/>
                  </a:cubicBezTo>
                  <a:close/>
                  <a:moveTo>
                    <a:pt x="2585" y="275"/>
                  </a:moveTo>
                  <a:cubicBezTo>
                    <a:pt x="2586" y="269"/>
                    <a:pt x="2596" y="271"/>
                    <a:pt x="2596" y="266"/>
                  </a:cubicBezTo>
                  <a:cubicBezTo>
                    <a:pt x="2603" y="268"/>
                    <a:pt x="2595" y="278"/>
                    <a:pt x="2585" y="275"/>
                  </a:cubicBezTo>
                  <a:close/>
                  <a:moveTo>
                    <a:pt x="2631" y="232"/>
                  </a:moveTo>
                  <a:cubicBezTo>
                    <a:pt x="2638" y="234"/>
                    <a:pt x="2643" y="237"/>
                    <a:pt x="2643" y="246"/>
                  </a:cubicBezTo>
                  <a:cubicBezTo>
                    <a:pt x="2637" y="247"/>
                    <a:pt x="2639" y="243"/>
                    <a:pt x="2637" y="241"/>
                  </a:cubicBezTo>
                  <a:cubicBezTo>
                    <a:pt x="2635" y="239"/>
                    <a:pt x="2630" y="235"/>
                    <a:pt x="2631" y="232"/>
                  </a:cubicBezTo>
                  <a:close/>
                  <a:moveTo>
                    <a:pt x="2613" y="263"/>
                  </a:moveTo>
                  <a:cubicBezTo>
                    <a:pt x="2615" y="262"/>
                    <a:pt x="2622" y="254"/>
                    <a:pt x="2615" y="253"/>
                  </a:cubicBezTo>
                  <a:cubicBezTo>
                    <a:pt x="2616" y="247"/>
                    <a:pt x="2624" y="253"/>
                    <a:pt x="2621" y="258"/>
                  </a:cubicBezTo>
                  <a:cubicBezTo>
                    <a:pt x="2630" y="261"/>
                    <a:pt x="2623" y="250"/>
                    <a:pt x="2632" y="253"/>
                  </a:cubicBezTo>
                  <a:cubicBezTo>
                    <a:pt x="2632" y="255"/>
                    <a:pt x="2631" y="255"/>
                    <a:pt x="2629" y="255"/>
                  </a:cubicBezTo>
                  <a:cubicBezTo>
                    <a:pt x="2629" y="262"/>
                    <a:pt x="2633" y="260"/>
                    <a:pt x="2629" y="267"/>
                  </a:cubicBezTo>
                  <a:cubicBezTo>
                    <a:pt x="2628" y="270"/>
                    <a:pt x="2629" y="272"/>
                    <a:pt x="2624" y="272"/>
                  </a:cubicBezTo>
                  <a:cubicBezTo>
                    <a:pt x="2621" y="265"/>
                    <a:pt x="2628" y="266"/>
                    <a:pt x="2626" y="260"/>
                  </a:cubicBezTo>
                  <a:cubicBezTo>
                    <a:pt x="2620" y="259"/>
                    <a:pt x="2621" y="264"/>
                    <a:pt x="2621" y="267"/>
                  </a:cubicBezTo>
                  <a:cubicBezTo>
                    <a:pt x="2611" y="266"/>
                    <a:pt x="2598" y="263"/>
                    <a:pt x="2604" y="254"/>
                  </a:cubicBezTo>
                  <a:cubicBezTo>
                    <a:pt x="2600" y="253"/>
                    <a:pt x="2599" y="255"/>
                    <a:pt x="2599" y="258"/>
                  </a:cubicBezTo>
                  <a:cubicBezTo>
                    <a:pt x="2591" y="257"/>
                    <a:pt x="2601" y="253"/>
                    <a:pt x="2599" y="249"/>
                  </a:cubicBezTo>
                  <a:cubicBezTo>
                    <a:pt x="2604" y="251"/>
                    <a:pt x="2608" y="253"/>
                    <a:pt x="2607" y="261"/>
                  </a:cubicBezTo>
                  <a:cubicBezTo>
                    <a:pt x="2610" y="260"/>
                    <a:pt x="2612" y="261"/>
                    <a:pt x="2613" y="263"/>
                  </a:cubicBezTo>
                  <a:close/>
                  <a:moveTo>
                    <a:pt x="2607" y="232"/>
                  </a:moveTo>
                  <a:cubicBezTo>
                    <a:pt x="2605" y="239"/>
                    <a:pt x="2611" y="238"/>
                    <a:pt x="2610" y="244"/>
                  </a:cubicBezTo>
                  <a:cubicBezTo>
                    <a:pt x="2607" y="244"/>
                    <a:pt x="2604" y="244"/>
                    <a:pt x="2601" y="244"/>
                  </a:cubicBezTo>
                  <a:cubicBezTo>
                    <a:pt x="2601" y="240"/>
                    <a:pt x="2605" y="239"/>
                    <a:pt x="2604" y="235"/>
                  </a:cubicBezTo>
                  <a:cubicBezTo>
                    <a:pt x="2601" y="236"/>
                    <a:pt x="2598" y="238"/>
                    <a:pt x="2599" y="242"/>
                  </a:cubicBezTo>
                  <a:cubicBezTo>
                    <a:pt x="2594" y="240"/>
                    <a:pt x="2594" y="234"/>
                    <a:pt x="2593" y="230"/>
                  </a:cubicBezTo>
                  <a:cubicBezTo>
                    <a:pt x="2596" y="232"/>
                    <a:pt x="2600" y="233"/>
                    <a:pt x="2607" y="232"/>
                  </a:cubicBezTo>
                  <a:close/>
                  <a:moveTo>
                    <a:pt x="2584" y="198"/>
                  </a:moveTo>
                  <a:cubicBezTo>
                    <a:pt x="2586" y="194"/>
                    <a:pt x="2591" y="196"/>
                    <a:pt x="2592" y="197"/>
                  </a:cubicBezTo>
                  <a:cubicBezTo>
                    <a:pt x="2593" y="198"/>
                    <a:pt x="2597" y="197"/>
                    <a:pt x="2598" y="197"/>
                  </a:cubicBezTo>
                  <a:cubicBezTo>
                    <a:pt x="2599" y="198"/>
                    <a:pt x="2598" y="204"/>
                    <a:pt x="2603" y="202"/>
                  </a:cubicBezTo>
                  <a:cubicBezTo>
                    <a:pt x="2596" y="210"/>
                    <a:pt x="2590" y="198"/>
                    <a:pt x="2584" y="198"/>
                  </a:cubicBezTo>
                  <a:close/>
                  <a:moveTo>
                    <a:pt x="2586" y="146"/>
                  </a:moveTo>
                  <a:cubicBezTo>
                    <a:pt x="2591" y="147"/>
                    <a:pt x="2598" y="146"/>
                    <a:pt x="2597" y="153"/>
                  </a:cubicBezTo>
                  <a:cubicBezTo>
                    <a:pt x="2591" y="149"/>
                    <a:pt x="2594" y="153"/>
                    <a:pt x="2586" y="153"/>
                  </a:cubicBezTo>
                  <a:cubicBezTo>
                    <a:pt x="2586" y="151"/>
                    <a:pt x="2586" y="148"/>
                    <a:pt x="2586" y="146"/>
                  </a:cubicBezTo>
                  <a:close/>
                  <a:moveTo>
                    <a:pt x="2625" y="171"/>
                  </a:moveTo>
                  <a:cubicBezTo>
                    <a:pt x="2625" y="167"/>
                    <a:pt x="2625" y="163"/>
                    <a:pt x="2625" y="159"/>
                  </a:cubicBezTo>
                  <a:cubicBezTo>
                    <a:pt x="2633" y="155"/>
                    <a:pt x="2633" y="174"/>
                    <a:pt x="2625" y="171"/>
                  </a:cubicBezTo>
                  <a:close/>
                  <a:moveTo>
                    <a:pt x="2639" y="182"/>
                  </a:moveTo>
                  <a:cubicBezTo>
                    <a:pt x="2631" y="179"/>
                    <a:pt x="2636" y="177"/>
                    <a:pt x="2633" y="168"/>
                  </a:cubicBezTo>
                  <a:cubicBezTo>
                    <a:pt x="2636" y="168"/>
                    <a:pt x="2638" y="168"/>
                    <a:pt x="2641" y="168"/>
                  </a:cubicBezTo>
                  <a:cubicBezTo>
                    <a:pt x="2638" y="171"/>
                    <a:pt x="2638" y="177"/>
                    <a:pt x="2639" y="182"/>
                  </a:cubicBezTo>
                  <a:close/>
                  <a:moveTo>
                    <a:pt x="2655" y="173"/>
                  </a:moveTo>
                  <a:cubicBezTo>
                    <a:pt x="2662" y="173"/>
                    <a:pt x="2656" y="181"/>
                    <a:pt x="2655" y="182"/>
                  </a:cubicBezTo>
                  <a:cubicBezTo>
                    <a:pt x="2647" y="181"/>
                    <a:pt x="2658" y="177"/>
                    <a:pt x="2655" y="173"/>
                  </a:cubicBezTo>
                  <a:close/>
                  <a:moveTo>
                    <a:pt x="2663" y="189"/>
                  </a:moveTo>
                  <a:cubicBezTo>
                    <a:pt x="2661" y="187"/>
                    <a:pt x="2657" y="187"/>
                    <a:pt x="2652" y="187"/>
                  </a:cubicBezTo>
                  <a:cubicBezTo>
                    <a:pt x="2652" y="183"/>
                    <a:pt x="2668" y="182"/>
                    <a:pt x="2663" y="189"/>
                  </a:cubicBezTo>
                  <a:close/>
                  <a:moveTo>
                    <a:pt x="2660" y="154"/>
                  </a:moveTo>
                  <a:cubicBezTo>
                    <a:pt x="2656" y="157"/>
                    <a:pt x="2653" y="157"/>
                    <a:pt x="2649" y="154"/>
                  </a:cubicBezTo>
                  <a:cubicBezTo>
                    <a:pt x="2651" y="146"/>
                    <a:pt x="2656" y="154"/>
                    <a:pt x="2666" y="151"/>
                  </a:cubicBezTo>
                  <a:cubicBezTo>
                    <a:pt x="2668" y="150"/>
                    <a:pt x="2668" y="146"/>
                    <a:pt x="2674" y="147"/>
                  </a:cubicBezTo>
                  <a:cubicBezTo>
                    <a:pt x="2675" y="151"/>
                    <a:pt x="2672" y="151"/>
                    <a:pt x="2668" y="151"/>
                  </a:cubicBezTo>
                  <a:cubicBezTo>
                    <a:pt x="2668" y="154"/>
                    <a:pt x="2669" y="156"/>
                    <a:pt x="2671" y="156"/>
                  </a:cubicBezTo>
                  <a:cubicBezTo>
                    <a:pt x="2671" y="162"/>
                    <a:pt x="2661" y="156"/>
                    <a:pt x="2660" y="154"/>
                  </a:cubicBezTo>
                  <a:close/>
                  <a:moveTo>
                    <a:pt x="2669" y="168"/>
                  </a:moveTo>
                  <a:cubicBezTo>
                    <a:pt x="2669" y="166"/>
                    <a:pt x="2669" y="165"/>
                    <a:pt x="2669" y="163"/>
                  </a:cubicBezTo>
                  <a:cubicBezTo>
                    <a:pt x="2670" y="163"/>
                    <a:pt x="2672" y="163"/>
                    <a:pt x="2674" y="163"/>
                  </a:cubicBezTo>
                  <a:cubicBezTo>
                    <a:pt x="2674" y="165"/>
                    <a:pt x="2674" y="166"/>
                    <a:pt x="2674" y="168"/>
                  </a:cubicBezTo>
                  <a:cubicBezTo>
                    <a:pt x="2672" y="168"/>
                    <a:pt x="2670" y="168"/>
                    <a:pt x="2669" y="168"/>
                  </a:cubicBezTo>
                  <a:close/>
                  <a:moveTo>
                    <a:pt x="2685" y="184"/>
                  </a:moveTo>
                  <a:cubicBezTo>
                    <a:pt x="2679" y="185"/>
                    <a:pt x="2681" y="180"/>
                    <a:pt x="2677" y="179"/>
                  </a:cubicBezTo>
                  <a:cubicBezTo>
                    <a:pt x="2678" y="174"/>
                    <a:pt x="2688" y="179"/>
                    <a:pt x="2685" y="184"/>
                  </a:cubicBezTo>
                  <a:close/>
                  <a:moveTo>
                    <a:pt x="2682" y="135"/>
                  </a:moveTo>
                  <a:cubicBezTo>
                    <a:pt x="2682" y="141"/>
                    <a:pt x="2671" y="138"/>
                    <a:pt x="2671" y="144"/>
                  </a:cubicBezTo>
                  <a:cubicBezTo>
                    <a:pt x="2669" y="142"/>
                    <a:pt x="2661" y="135"/>
                    <a:pt x="2663" y="147"/>
                  </a:cubicBezTo>
                  <a:cubicBezTo>
                    <a:pt x="2659" y="148"/>
                    <a:pt x="2661" y="140"/>
                    <a:pt x="2660" y="140"/>
                  </a:cubicBezTo>
                  <a:cubicBezTo>
                    <a:pt x="2657" y="139"/>
                    <a:pt x="2654" y="144"/>
                    <a:pt x="2649" y="140"/>
                  </a:cubicBezTo>
                  <a:cubicBezTo>
                    <a:pt x="2647" y="139"/>
                    <a:pt x="2630" y="144"/>
                    <a:pt x="2632" y="136"/>
                  </a:cubicBezTo>
                  <a:cubicBezTo>
                    <a:pt x="2628" y="135"/>
                    <a:pt x="2627" y="137"/>
                    <a:pt x="2627" y="140"/>
                  </a:cubicBezTo>
                  <a:cubicBezTo>
                    <a:pt x="2620" y="142"/>
                    <a:pt x="2621" y="136"/>
                    <a:pt x="2616" y="136"/>
                  </a:cubicBezTo>
                  <a:cubicBezTo>
                    <a:pt x="2613" y="137"/>
                    <a:pt x="2614" y="141"/>
                    <a:pt x="2610" y="141"/>
                  </a:cubicBezTo>
                  <a:cubicBezTo>
                    <a:pt x="2606" y="142"/>
                    <a:pt x="2605" y="139"/>
                    <a:pt x="2605" y="136"/>
                  </a:cubicBezTo>
                  <a:cubicBezTo>
                    <a:pt x="2593" y="134"/>
                    <a:pt x="2592" y="141"/>
                    <a:pt x="2583" y="141"/>
                  </a:cubicBezTo>
                  <a:cubicBezTo>
                    <a:pt x="2583" y="139"/>
                    <a:pt x="2583" y="136"/>
                    <a:pt x="2583" y="134"/>
                  </a:cubicBezTo>
                  <a:cubicBezTo>
                    <a:pt x="2573" y="133"/>
                    <a:pt x="2581" y="141"/>
                    <a:pt x="2572" y="137"/>
                  </a:cubicBezTo>
                  <a:cubicBezTo>
                    <a:pt x="2572" y="137"/>
                    <a:pt x="2568" y="134"/>
                    <a:pt x="2569" y="134"/>
                  </a:cubicBezTo>
                  <a:cubicBezTo>
                    <a:pt x="2568" y="134"/>
                    <a:pt x="2561" y="140"/>
                    <a:pt x="2561" y="134"/>
                  </a:cubicBezTo>
                  <a:cubicBezTo>
                    <a:pt x="2558" y="135"/>
                    <a:pt x="2560" y="137"/>
                    <a:pt x="2561" y="137"/>
                  </a:cubicBezTo>
                  <a:cubicBezTo>
                    <a:pt x="2562" y="142"/>
                    <a:pt x="2551" y="138"/>
                    <a:pt x="2547" y="139"/>
                  </a:cubicBezTo>
                  <a:cubicBezTo>
                    <a:pt x="2547" y="137"/>
                    <a:pt x="2551" y="138"/>
                    <a:pt x="2553" y="137"/>
                  </a:cubicBezTo>
                  <a:cubicBezTo>
                    <a:pt x="2561" y="132"/>
                    <a:pt x="2569" y="128"/>
                    <a:pt x="2577" y="127"/>
                  </a:cubicBezTo>
                  <a:cubicBezTo>
                    <a:pt x="2578" y="127"/>
                    <a:pt x="2577" y="132"/>
                    <a:pt x="2578" y="132"/>
                  </a:cubicBezTo>
                  <a:cubicBezTo>
                    <a:pt x="2580" y="134"/>
                    <a:pt x="2586" y="128"/>
                    <a:pt x="2586" y="127"/>
                  </a:cubicBezTo>
                  <a:cubicBezTo>
                    <a:pt x="2587" y="128"/>
                    <a:pt x="2589" y="128"/>
                    <a:pt x="2591" y="129"/>
                  </a:cubicBezTo>
                  <a:cubicBezTo>
                    <a:pt x="2594" y="131"/>
                    <a:pt x="2595" y="131"/>
                    <a:pt x="2599" y="131"/>
                  </a:cubicBezTo>
                  <a:cubicBezTo>
                    <a:pt x="2601" y="132"/>
                    <a:pt x="2603" y="134"/>
                    <a:pt x="2602" y="134"/>
                  </a:cubicBezTo>
                  <a:cubicBezTo>
                    <a:pt x="2606" y="134"/>
                    <a:pt x="2608" y="130"/>
                    <a:pt x="2616" y="131"/>
                  </a:cubicBezTo>
                  <a:cubicBezTo>
                    <a:pt x="2617" y="131"/>
                    <a:pt x="2619" y="133"/>
                    <a:pt x="2619" y="133"/>
                  </a:cubicBezTo>
                  <a:cubicBezTo>
                    <a:pt x="2621" y="134"/>
                    <a:pt x="2623" y="131"/>
                    <a:pt x="2627" y="131"/>
                  </a:cubicBezTo>
                  <a:cubicBezTo>
                    <a:pt x="2626" y="131"/>
                    <a:pt x="2631" y="135"/>
                    <a:pt x="2632" y="133"/>
                  </a:cubicBezTo>
                  <a:cubicBezTo>
                    <a:pt x="2635" y="130"/>
                    <a:pt x="2634" y="133"/>
                    <a:pt x="2638" y="133"/>
                  </a:cubicBezTo>
                  <a:cubicBezTo>
                    <a:pt x="2642" y="133"/>
                    <a:pt x="2643" y="131"/>
                    <a:pt x="2646" y="131"/>
                  </a:cubicBezTo>
                  <a:cubicBezTo>
                    <a:pt x="2657" y="131"/>
                    <a:pt x="2670" y="132"/>
                    <a:pt x="2682" y="135"/>
                  </a:cubicBezTo>
                  <a:close/>
                  <a:moveTo>
                    <a:pt x="2665" y="116"/>
                  </a:moveTo>
                  <a:cubicBezTo>
                    <a:pt x="2665" y="119"/>
                    <a:pt x="2662" y="118"/>
                    <a:pt x="2660" y="119"/>
                  </a:cubicBezTo>
                  <a:cubicBezTo>
                    <a:pt x="2657" y="120"/>
                    <a:pt x="2657" y="124"/>
                    <a:pt x="2651" y="124"/>
                  </a:cubicBezTo>
                  <a:cubicBezTo>
                    <a:pt x="2653" y="122"/>
                    <a:pt x="2654" y="120"/>
                    <a:pt x="2654" y="116"/>
                  </a:cubicBezTo>
                  <a:cubicBezTo>
                    <a:pt x="2650" y="116"/>
                    <a:pt x="2645" y="126"/>
                    <a:pt x="2646" y="117"/>
                  </a:cubicBezTo>
                  <a:cubicBezTo>
                    <a:pt x="2650" y="117"/>
                    <a:pt x="2651" y="115"/>
                    <a:pt x="2651" y="112"/>
                  </a:cubicBezTo>
                  <a:cubicBezTo>
                    <a:pt x="2660" y="110"/>
                    <a:pt x="2657" y="118"/>
                    <a:pt x="2665" y="116"/>
                  </a:cubicBezTo>
                  <a:close/>
                  <a:moveTo>
                    <a:pt x="2673" y="107"/>
                  </a:moveTo>
                  <a:cubicBezTo>
                    <a:pt x="2664" y="110"/>
                    <a:pt x="2671" y="99"/>
                    <a:pt x="2662" y="102"/>
                  </a:cubicBezTo>
                  <a:cubicBezTo>
                    <a:pt x="2664" y="92"/>
                    <a:pt x="2681" y="102"/>
                    <a:pt x="2673" y="107"/>
                  </a:cubicBezTo>
                  <a:close/>
                  <a:moveTo>
                    <a:pt x="2724" y="24"/>
                  </a:moveTo>
                  <a:cubicBezTo>
                    <a:pt x="2718" y="17"/>
                    <a:pt x="2716" y="33"/>
                    <a:pt x="2715" y="19"/>
                  </a:cubicBezTo>
                  <a:cubicBezTo>
                    <a:pt x="2721" y="18"/>
                    <a:pt x="2724" y="19"/>
                    <a:pt x="2724" y="24"/>
                  </a:cubicBezTo>
                  <a:close/>
                  <a:moveTo>
                    <a:pt x="2694" y="71"/>
                  </a:moveTo>
                  <a:cubicBezTo>
                    <a:pt x="2697" y="71"/>
                    <a:pt x="2697" y="74"/>
                    <a:pt x="2697" y="76"/>
                  </a:cubicBezTo>
                  <a:cubicBezTo>
                    <a:pt x="2700" y="76"/>
                    <a:pt x="2702" y="75"/>
                    <a:pt x="2703" y="73"/>
                  </a:cubicBezTo>
                  <a:cubicBezTo>
                    <a:pt x="2706" y="75"/>
                    <a:pt x="2708" y="78"/>
                    <a:pt x="2708" y="83"/>
                  </a:cubicBezTo>
                  <a:cubicBezTo>
                    <a:pt x="2703" y="77"/>
                    <a:pt x="2689" y="81"/>
                    <a:pt x="2694" y="71"/>
                  </a:cubicBezTo>
                  <a:close/>
                  <a:moveTo>
                    <a:pt x="2700" y="106"/>
                  </a:moveTo>
                  <a:cubicBezTo>
                    <a:pt x="2698" y="104"/>
                    <a:pt x="2690" y="106"/>
                    <a:pt x="2692" y="99"/>
                  </a:cubicBezTo>
                  <a:cubicBezTo>
                    <a:pt x="2698" y="99"/>
                    <a:pt x="2701" y="101"/>
                    <a:pt x="2700" y="106"/>
                  </a:cubicBezTo>
                  <a:close/>
                  <a:moveTo>
                    <a:pt x="2698" y="97"/>
                  </a:moveTo>
                  <a:cubicBezTo>
                    <a:pt x="2698" y="95"/>
                    <a:pt x="2701" y="95"/>
                    <a:pt x="2703" y="94"/>
                  </a:cubicBezTo>
                  <a:cubicBezTo>
                    <a:pt x="2705" y="94"/>
                    <a:pt x="2707" y="94"/>
                    <a:pt x="2708" y="94"/>
                  </a:cubicBezTo>
                  <a:cubicBezTo>
                    <a:pt x="2708" y="98"/>
                    <a:pt x="2702" y="96"/>
                    <a:pt x="2698" y="97"/>
                  </a:cubicBezTo>
                  <a:close/>
                  <a:moveTo>
                    <a:pt x="2722" y="99"/>
                  </a:moveTo>
                  <a:cubicBezTo>
                    <a:pt x="2722" y="101"/>
                    <a:pt x="2725" y="101"/>
                    <a:pt x="2725" y="101"/>
                  </a:cubicBezTo>
                  <a:cubicBezTo>
                    <a:pt x="2725" y="105"/>
                    <a:pt x="2721" y="107"/>
                    <a:pt x="2725" y="108"/>
                  </a:cubicBezTo>
                  <a:cubicBezTo>
                    <a:pt x="2726" y="109"/>
                    <a:pt x="2720" y="111"/>
                    <a:pt x="2720" y="111"/>
                  </a:cubicBezTo>
                  <a:cubicBezTo>
                    <a:pt x="2717" y="108"/>
                    <a:pt x="2722" y="104"/>
                    <a:pt x="2717" y="104"/>
                  </a:cubicBezTo>
                  <a:cubicBezTo>
                    <a:pt x="2713" y="103"/>
                    <a:pt x="2717" y="101"/>
                    <a:pt x="2717" y="99"/>
                  </a:cubicBezTo>
                  <a:cubicBezTo>
                    <a:pt x="2717" y="97"/>
                    <a:pt x="2716" y="97"/>
                    <a:pt x="2714" y="97"/>
                  </a:cubicBezTo>
                  <a:cubicBezTo>
                    <a:pt x="2707" y="92"/>
                    <a:pt x="2720" y="98"/>
                    <a:pt x="2725" y="96"/>
                  </a:cubicBezTo>
                  <a:cubicBezTo>
                    <a:pt x="2727" y="99"/>
                    <a:pt x="2722" y="98"/>
                    <a:pt x="2722" y="99"/>
                  </a:cubicBezTo>
                  <a:close/>
                  <a:moveTo>
                    <a:pt x="2733" y="99"/>
                  </a:moveTo>
                  <a:cubicBezTo>
                    <a:pt x="2732" y="91"/>
                    <a:pt x="2741" y="92"/>
                    <a:pt x="2741" y="87"/>
                  </a:cubicBezTo>
                  <a:cubicBezTo>
                    <a:pt x="2744" y="79"/>
                    <a:pt x="2745" y="104"/>
                    <a:pt x="2733" y="99"/>
                  </a:cubicBezTo>
                  <a:close/>
                  <a:moveTo>
                    <a:pt x="2736" y="106"/>
                  </a:moveTo>
                  <a:cubicBezTo>
                    <a:pt x="2736" y="102"/>
                    <a:pt x="2748" y="108"/>
                    <a:pt x="2747" y="112"/>
                  </a:cubicBezTo>
                  <a:cubicBezTo>
                    <a:pt x="2738" y="115"/>
                    <a:pt x="2741" y="106"/>
                    <a:pt x="2736" y="106"/>
                  </a:cubicBezTo>
                  <a:close/>
                  <a:moveTo>
                    <a:pt x="2766" y="79"/>
                  </a:moveTo>
                  <a:cubicBezTo>
                    <a:pt x="2767" y="75"/>
                    <a:pt x="2769" y="81"/>
                    <a:pt x="2769" y="84"/>
                  </a:cubicBezTo>
                  <a:cubicBezTo>
                    <a:pt x="2768" y="88"/>
                    <a:pt x="2765" y="82"/>
                    <a:pt x="2766" y="79"/>
                  </a:cubicBezTo>
                  <a:close/>
                  <a:moveTo>
                    <a:pt x="2762" y="23"/>
                  </a:moveTo>
                  <a:cubicBezTo>
                    <a:pt x="2767" y="22"/>
                    <a:pt x="2766" y="33"/>
                    <a:pt x="2759" y="30"/>
                  </a:cubicBezTo>
                  <a:cubicBezTo>
                    <a:pt x="2759" y="28"/>
                    <a:pt x="2759" y="27"/>
                    <a:pt x="2759" y="25"/>
                  </a:cubicBezTo>
                  <a:cubicBezTo>
                    <a:pt x="2762" y="26"/>
                    <a:pt x="2762" y="24"/>
                    <a:pt x="2762" y="23"/>
                  </a:cubicBezTo>
                  <a:close/>
                  <a:moveTo>
                    <a:pt x="2757" y="35"/>
                  </a:moveTo>
                  <a:cubicBezTo>
                    <a:pt x="2761" y="35"/>
                    <a:pt x="2758" y="42"/>
                    <a:pt x="2762" y="42"/>
                  </a:cubicBezTo>
                  <a:cubicBezTo>
                    <a:pt x="2759" y="49"/>
                    <a:pt x="2751" y="37"/>
                    <a:pt x="2757" y="35"/>
                  </a:cubicBezTo>
                  <a:close/>
                  <a:moveTo>
                    <a:pt x="2761" y="100"/>
                  </a:moveTo>
                  <a:cubicBezTo>
                    <a:pt x="2757" y="99"/>
                    <a:pt x="2756" y="96"/>
                    <a:pt x="2755" y="91"/>
                  </a:cubicBezTo>
                  <a:cubicBezTo>
                    <a:pt x="2763" y="89"/>
                    <a:pt x="2760" y="96"/>
                    <a:pt x="2761" y="100"/>
                  </a:cubicBezTo>
                  <a:close/>
                  <a:moveTo>
                    <a:pt x="2769" y="112"/>
                  </a:moveTo>
                  <a:cubicBezTo>
                    <a:pt x="2767" y="112"/>
                    <a:pt x="2765" y="112"/>
                    <a:pt x="2764" y="112"/>
                  </a:cubicBezTo>
                  <a:cubicBezTo>
                    <a:pt x="2764" y="110"/>
                    <a:pt x="2763" y="110"/>
                    <a:pt x="2761" y="110"/>
                  </a:cubicBezTo>
                  <a:cubicBezTo>
                    <a:pt x="2760" y="105"/>
                    <a:pt x="2773" y="106"/>
                    <a:pt x="2769" y="112"/>
                  </a:cubicBezTo>
                  <a:close/>
                  <a:moveTo>
                    <a:pt x="2780" y="86"/>
                  </a:moveTo>
                  <a:cubicBezTo>
                    <a:pt x="2775" y="84"/>
                    <a:pt x="2779" y="82"/>
                    <a:pt x="2780" y="79"/>
                  </a:cubicBezTo>
                  <a:cubicBezTo>
                    <a:pt x="2785" y="81"/>
                    <a:pt x="2780" y="83"/>
                    <a:pt x="2780" y="86"/>
                  </a:cubicBezTo>
                  <a:close/>
                  <a:moveTo>
                    <a:pt x="2787" y="11"/>
                  </a:moveTo>
                  <a:cubicBezTo>
                    <a:pt x="2783" y="10"/>
                    <a:pt x="2784" y="5"/>
                    <a:pt x="2784" y="1"/>
                  </a:cubicBezTo>
                  <a:cubicBezTo>
                    <a:pt x="2795" y="0"/>
                    <a:pt x="2785" y="6"/>
                    <a:pt x="2787" y="11"/>
                  </a:cubicBezTo>
                  <a:close/>
                  <a:moveTo>
                    <a:pt x="2795" y="43"/>
                  </a:moveTo>
                  <a:cubicBezTo>
                    <a:pt x="2792" y="43"/>
                    <a:pt x="2793" y="39"/>
                    <a:pt x="2793" y="36"/>
                  </a:cubicBezTo>
                  <a:cubicBezTo>
                    <a:pt x="2797" y="35"/>
                    <a:pt x="2798" y="38"/>
                    <a:pt x="2798" y="41"/>
                  </a:cubicBezTo>
                  <a:cubicBezTo>
                    <a:pt x="2796" y="41"/>
                    <a:pt x="2795" y="42"/>
                    <a:pt x="2795" y="43"/>
                  </a:cubicBezTo>
                  <a:close/>
                  <a:moveTo>
                    <a:pt x="2791" y="123"/>
                  </a:moveTo>
                  <a:cubicBezTo>
                    <a:pt x="2792" y="121"/>
                    <a:pt x="2794" y="121"/>
                    <a:pt x="2794" y="119"/>
                  </a:cubicBezTo>
                  <a:cubicBezTo>
                    <a:pt x="2796" y="119"/>
                    <a:pt x="2798" y="119"/>
                    <a:pt x="2799" y="119"/>
                  </a:cubicBezTo>
                  <a:cubicBezTo>
                    <a:pt x="2801" y="124"/>
                    <a:pt x="2796" y="123"/>
                    <a:pt x="2791" y="123"/>
                  </a:cubicBezTo>
                  <a:close/>
                  <a:moveTo>
                    <a:pt x="2808" y="126"/>
                  </a:moveTo>
                  <a:cubicBezTo>
                    <a:pt x="2802" y="125"/>
                    <a:pt x="2802" y="120"/>
                    <a:pt x="2802" y="114"/>
                  </a:cubicBezTo>
                  <a:cubicBezTo>
                    <a:pt x="2805" y="118"/>
                    <a:pt x="2813" y="121"/>
                    <a:pt x="2808" y="126"/>
                  </a:cubicBezTo>
                  <a:close/>
                  <a:moveTo>
                    <a:pt x="2819" y="114"/>
                  </a:moveTo>
                  <a:cubicBezTo>
                    <a:pt x="2815" y="114"/>
                    <a:pt x="2817" y="116"/>
                    <a:pt x="2819" y="116"/>
                  </a:cubicBezTo>
                  <a:cubicBezTo>
                    <a:pt x="2812" y="124"/>
                    <a:pt x="2808" y="109"/>
                    <a:pt x="2810" y="102"/>
                  </a:cubicBezTo>
                  <a:cubicBezTo>
                    <a:pt x="2814" y="103"/>
                    <a:pt x="2816" y="105"/>
                    <a:pt x="2816" y="109"/>
                  </a:cubicBezTo>
                  <a:cubicBezTo>
                    <a:pt x="2823" y="106"/>
                    <a:pt x="2821" y="98"/>
                    <a:pt x="2827" y="109"/>
                  </a:cubicBezTo>
                  <a:cubicBezTo>
                    <a:pt x="2827" y="110"/>
                    <a:pt x="2829" y="108"/>
                    <a:pt x="2830" y="111"/>
                  </a:cubicBezTo>
                  <a:cubicBezTo>
                    <a:pt x="2830" y="113"/>
                    <a:pt x="2829" y="116"/>
                    <a:pt x="2830" y="118"/>
                  </a:cubicBezTo>
                  <a:cubicBezTo>
                    <a:pt x="2822" y="120"/>
                    <a:pt x="2824" y="113"/>
                    <a:pt x="2819" y="114"/>
                  </a:cubicBezTo>
                  <a:close/>
                  <a:moveTo>
                    <a:pt x="2846" y="111"/>
                  </a:moveTo>
                  <a:cubicBezTo>
                    <a:pt x="2845" y="114"/>
                    <a:pt x="2843" y="116"/>
                    <a:pt x="2838" y="116"/>
                  </a:cubicBezTo>
                  <a:cubicBezTo>
                    <a:pt x="2839" y="113"/>
                    <a:pt x="2841" y="111"/>
                    <a:pt x="2846" y="111"/>
                  </a:cubicBezTo>
                  <a:close/>
                  <a:moveTo>
                    <a:pt x="2851" y="64"/>
                  </a:moveTo>
                  <a:cubicBezTo>
                    <a:pt x="2860" y="64"/>
                    <a:pt x="2850" y="70"/>
                    <a:pt x="2856" y="71"/>
                  </a:cubicBezTo>
                  <a:cubicBezTo>
                    <a:pt x="2853" y="78"/>
                    <a:pt x="2848" y="68"/>
                    <a:pt x="2851" y="64"/>
                  </a:cubicBezTo>
                  <a:close/>
                  <a:moveTo>
                    <a:pt x="2862" y="87"/>
                  </a:moveTo>
                  <a:cubicBezTo>
                    <a:pt x="2860" y="80"/>
                    <a:pt x="2866" y="81"/>
                    <a:pt x="2865" y="75"/>
                  </a:cubicBezTo>
                  <a:cubicBezTo>
                    <a:pt x="2868" y="75"/>
                    <a:pt x="2866" y="78"/>
                    <a:pt x="2867" y="80"/>
                  </a:cubicBezTo>
                  <a:cubicBezTo>
                    <a:pt x="2867" y="80"/>
                    <a:pt x="2873" y="84"/>
                    <a:pt x="2873" y="82"/>
                  </a:cubicBezTo>
                  <a:cubicBezTo>
                    <a:pt x="2872" y="86"/>
                    <a:pt x="2868" y="85"/>
                    <a:pt x="2862" y="87"/>
                  </a:cubicBezTo>
                  <a:close/>
                  <a:moveTo>
                    <a:pt x="2867" y="54"/>
                  </a:moveTo>
                  <a:cubicBezTo>
                    <a:pt x="2868" y="53"/>
                    <a:pt x="2871" y="54"/>
                    <a:pt x="2870" y="52"/>
                  </a:cubicBezTo>
                  <a:cubicBezTo>
                    <a:pt x="2883" y="60"/>
                    <a:pt x="2857" y="64"/>
                    <a:pt x="2867" y="54"/>
                  </a:cubicBezTo>
                  <a:close/>
                  <a:moveTo>
                    <a:pt x="2875" y="40"/>
                  </a:moveTo>
                  <a:cubicBezTo>
                    <a:pt x="2876" y="34"/>
                    <a:pt x="2879" y="29"/>
                    <a:pt x="2869" y="28"/>
                  </a:cubicBezTo>
                  <a:cubicBezTo>
                    <a:pt x="2875" y="17"/>
                    <a:pt x="2888" y="40"/>
                    <a:pt x="2875" y="40"/>
                  </a:cubicBezTo>
                  <a:close/>
                  <a:moveTo>
                    <a:pt x="2881" y="91"/>
                  </a:moveTo>
                  <a:cubicBezTo>
                    <a:pt x="2881" y="90"/>
                    <a:pt x="2881" y="88"/>
                    <a:pt x="2881" y="87"/>
                  </a:cubicBezTo>
                  <a:cubicBezTo>
                    <a:pt x="2883" y="87"/>
                    <a:pt x="2885" y="87"/>
                    <a:pt x="2887" y="87"/>
                  </a:cubicBezTo>
                  <a:cubicBezTo>
                    <a:pt x="2887" y="88"/>
                    <a:pt x="2887" y="90"/>
                    <a:pt x="2887" y="91"/>
                  </a:cubicBezTo>
                  <a:cubicBezTo>
                    <a:pt x="2885" y="91"/>
                    <a:pt x="2883" y="91"/>
                    <a:pt x="288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2" name="Freeform 20"/>
            <p:cNvSpPr>
              <a:spLocks/>
            </p:cNvSpPr>
            <p:nvPr userDrawn="1"/>
          </p:nvSpPr>
          <p:spPr bwMode="auto">
            <a:xfrm>
              <a:off x="5827" y="2112"/>
              <a:ext cx="11" cy="12"/>
            </a:xfrm>
            <a:custGeom>
              <a:avLst/>
              <a:gdLst>
                <a:gd name="T0" fmla="*/ 0 w 5"/>
                <a:gd name="T1" fmla="*/ 5 h 5"/>
                <a:gd name="T2" fmla="*/ 5 w 5"/>
                <a:gd name="T3" fmla="*/ 5 h 5"/>
                <a:gd name="T4" fmla="*/ 5 w 5"/>
                <a:gd name="T5" fmla="*/ 0 h 5"/>
                <a:gd name="T6" fmla="*/ 0 w 5"/>
                <a:gd name="T7" fmla="*/ 0 h 5"/>
                <a:gd name="T8" fmla="*/ 0 w 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cubicBezTo>
                    <a:pt x="1" y="5"/>
                    <a:pt x="3" y="5"/>
                    <a:pt x="5" y="5"/>
                  </a:cubicBezTo>
                  <a:cubicBezTo>
                    <a:pt x="5" y="3"/>
                    <a:pt x="5" y="2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2"/>
                    <a:pt x="0" y="3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3" name="Freeform 21"/>
            <p:cNvSpPr>
              <a:spLocks/>
            </p:cNvSpPr>
            <p:nvPr userDrawn="1"/>
          </p:nvSpPr>
          <p:spPr bwMode="auto">
            <a:xfrm>
              <a:off x="5373" y="2207"/>
              <a:ext cx="33" cy="47"/>
            </a:xfrm>
            <a:custGeom>
              <a:avLst/>
              <a:gdLst>
                <a:gd name="T0" fmla="*/ 11 w 14"/>
                <a:gd name="T1" fmla="*/ 1 h 20"/>
                <a:gd name="T2" fmla="*/ 12 w 14"/>
                <a:gd name="T3" fmla="*/ 20 h 20"/>
                <a:gd name="T4" fmla="*/ 11 w 14"/>
                <a:gd name="T5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0">
                  <a:moveTo>
                    <a:pt x="11" y="1"/>
                  </a:moveTo>
                  <a:cubicBezTo>
                    <a:pt x="0" y="0"/>
                    <a:pt x="6" y="19"/>
                    <a:pt x="12" y="20"/>
                  </a:cubicBezTo>
                  <a:cubicBezTo>
                    <a:pt x="14" y="10"/>
                    <a:pt x="5" y="6"/>
                    <a:pt x="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4" name="Freeform 22"/>
            <p:cNvSpPr>
              <a:spLocks/>
            </p:cNvSpPr>
            <p:nvPr userDrawn="1"/>
          </p:nvSpPr>
          <p:spPr bwMode="auto">
            <a:xfrm>
              <a:off x="6280" y="2349"/>
              <a:ext cx="12" cy="12"/>
            </a:xfrm>
            <a:custGeom>
              <a:avLst/>
              <a:gdLst>
                <a:gd name="T0" fmla="*/ 1 w 5"/>
                <a:gd name="T1" fmla="*/ 5 h 5"/>
                <a:gd name="T2" fmla="*/ 5 w 5"/>
                <a:gd name="T3" fmla="*/ 4 h 5"/>
                <a:gd name="T4" fmla="*/ 5 w 5"/>
                <a:gd name="T5" fmla="*/ 0 h 5"/>
                <a:gd name="T6" fmla="*/ 1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1" y="5"/>
                  </a:moveTo>
                  <a:cubicBezTo>
                    <a:pt x="3" y="4"/>
                    <a:pt x="4" y="4"/>
                    <a:pt x="5" y="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5" name="Freeform 23"/>
            <p:cNvSpPr>
              <a:spLocks/>
            </p:cNvSpPr>
            <p:nvPr userDrawn="1"/>
          </p:nvSpPr>
          <p:spPr bwMode="auto">
            <a:xfrm>
              <a:off x="4920" y="2209"/>
              <a:ext cx="21" cy="14"/>
            </a:xfrm>
            <a:custGeom>
              <a:avLst/>
              <a:gdLst>
                <a:gd name="T0" fmla="*/ 0 w 9"/>
                <a:gd name="T1" fmla="*/ 1 h 6"/>
                <a:gd name="T2" fmla="*/ 0 w 9"/>
                <a:gd name="T3" fmla="*/ 6 h 6"/>
                <a:gd name="T4" fmla="*/ 8 w 9"/>
                <a:gd name="T5" fmla="*/ 6 h 6"/>
                <a:gd name="T6" fmla="*/ 0 w 9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6">
                  <a:moveTo>
                    <a:pt x="0" y="1"/>
                  </a:moveTo>
                  <a:cubicBezTo>
                    <a:pt x="0" y="3"/>
                    <a:pt x="0" y="4"/>
                    <a:pt x="0" y="6"/>
                  </a:cubicBezTo>
                  <a:cubicBezTo>
                    <a:pt x="3" y="6"/>
                    <a:pt x="6" y="6"/>
                    <a:pt x="8" y="6"/>
                  </a:cubicBezTo>
                  <a:cubicBezTo>
                    <a:pt x="9" y="1"/>
                    <a:pt x="6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6" name="Freeform 24"/>
            <p:cNvSpPr>
              <a:spLocks/>
            </p:cNvSpPr>
            <p:nvPr userDrawn="1"/>
          </p:nvSpPr>
          <p:spPr bwMode="auto">
            <a:xfrm>
              <a:off x="5647" y="2205"/>
              <a:ext cx="31" cy="16"/>
            </a:xfrm>
            <a:custGeom>
              <a:avLst/>
              <a:gdLst>
                <a:gd name="T0" fmla="*/ 13 w 13"/>
                <a:gd name="T1" fmla="*/ 2 h 7"/>
                <a:gd name="T2" fmla="*/ 8 w 13"/>
                <a:gd name="T3" fmla="*/ 0 h 7"/>
                <a:gd name="T4" fmla="*/ 13 w 13"/>
                <a:gd name="T5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7">
                  <a:moveTo>
                    <a:pt x="13" y="2"/>
                  </a:moveTo>
                  <a:cubicBezTo>
                    <a:pt x="10" y="2"/>
                    <a:pt x="10" y="0"/>
                    <a:pt x="8" y="0"/>
                  </a:cubicBezTo>
                  <a:cubicBezTo>
                    <a:pt x="0" y="5"/>
                    <a:pt x="13" y="7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7" name="Freeform 25"/>
            <p:cNvSpPr>
              <a:spLocks/>
            </p:cNvSpPr>
            <p:nvPr userDrawn="1"/>
          </p:nvSpPr>
          <p:spPr bwMode="auto">
            <a:xfrm>
              <a:off x="5928" y="2372"/>
              <a:ext cx="31" cy="36"/>
            </a:xfrm>
            <a:custGeom>
              <a:avLst/>
              <a:gdLst>
                <a:gd name="T0" fmla="*/ 0 w 13"/>
                <a:gd name="T1" fmla="*/ 7 h 15"/>
                <a:gd name="T2" fmla="*/ 8 w 13"/>
                <a:gd name="T3" fmla="*/ 4 h 15"/>
                <a:gd name="T4" fmla="*/ 13 w 13"/>
                <a:gd name="T5" fmla="*/ 9 h 15"/>
                <a:gd name="T6" fmla="*/ 11 w 13"/>
                <a:gd name="T7" fmla="*/ 7 h 15"/>
                <a:gd name="T8" fmla="*/ 13 w 13"/>
                <a:gd name="T9" fmla="*/ 0 h 15"/>
                <a:gd name="T10" fmla="*/ 0 w 13"/>
                <a:gd name="T1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cubicBezTo>
                    <a:pt x="3" y="7"/>
                    <a:pt x="6" y="6"/>
                    <a:pt x="8" y="4"/>
                  </a:cubicBezTo>
                  <a:cubicBezTo>
                    <a:pt x="5" y="9"/>
                    <a:pt x="12" y="15"/>
                    <a:pt x="13" y="9"/>
                  </a:cubicBezTo>
                  <a:cubicBezTo>
                    <a:pt x="12" y="9"/>
                    <a:pt x="10" y="8"/>
                    <a:pt x="11" y="7"/>
                  </a:cubicBezTo>
                  <a:cubicBezTo>
                    <a:pt x="11" y="6"/>
                    <a:pt x="12" y="0"/>
                    <a:pt x="13" y="0"/>
                  </a:cubicBezTo>
                  <a:cubicBezTo>
                    <a:pt x="10" y="3"/>
                    <a:pt x="0" y="1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8" name="Freeform 26"/>
            <p:cNvSpPr>
              <a:spLocks/>
            </p:cNvSpPr>
            <p:nvPr userDrawn="1"/>
          </p:nvSpPr>
          <p:spPr bwMode="auto">
            <a:xfrm>
              <a:off x="5361" y="2202"/>
              <a:ext cx="19" cy="14"/>
            </a:xfrm>
            <a:custGeom>
              <a:avLst/>
              <a:gdLst>
                <a:gd name="T0" fmla="*/ 0 w 8"/>
                <a:gd name="T1" fmla="*/ 1 h 6"/>
                <a:gd name="T2" fmla="*/ 0 w 8"/>
                <a:gd name="T3" fmla="*/ 6 h 6"/>
                <a:gd name="T4" fmla="*/ 8 w 8"/>
                <a:gd name="T5" fmla="*/ 5 h 6"/>
                <a:gd name="T6" fmla="*/ 0 w 8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6">
                  <a:moveTo>
                    <a:pt x="0" y="1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2" y="5"/>
                    <a:pt x="5" y="5"/>
                    <a:pt x="8" y="5"/>
                  </a:cubicBezTo>
                  <a:cubicBezTo>
                    <a:pt x="8" y="1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9" name="Freeform 27"/>
            <p:cNvSpPr>
              <a:spLocks/>
            </p:cNvSpPr>
            <p:nvPr userDrawn="1"/>
          </p:nvSpPr>
          <p:spPr bwMode="auto">
            <a:xfrm>
              <a:off x="5990" y="2375"/>
              <a:ext cx="21" cy="33"/>
            </a:xfrm>
            <a:custGeom>
              <a:avLst/>
              <a:gdLst>
                <a:gd name="T0" fmla="*/ 4 w 9"/>
                <a:gd name="T1" fmla="*/ 1 h 14"/>
                <a:gd name="T2" fmla="*/ 1 w 9"/>
                <a:gd name="T3" fmla="*/ 10 h 14"/>
                <a:gd name="T4" fmla="*/ 4 w 9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4" y="1"/>
                  </a:moveTo>
                  <a:cubicBezTo>
                    <a:pt x="3" y="4"/>
                    <a:pt x="0" y="5"/>
                    <a:pt x="1" y="10"/>
                  </a:cubicBezTo>
                  <a:cubicBezTo>
                    <a:pt x="9" y="14"/>
                    <a:pt x="9" y="0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</p:grp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46618" y="1930400"/>
            <a:ext cx="11169649" cy="38703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buNone/>
              <a:defRPr sz="2000"/>
            </a:lvl1pPr>
            <a:lvl2pPr marL="179388" indent="-179388">
              <a:lnSpc>
                <a:spcPct val="95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000"/>
            </a:lvl2pPr>
            <a:lvl3pPr marL="358775" indent="-179388">
              <a:lnSpc>
                <a:spcPct val="95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46618" y="1440000"/>
            <a:ext cx="11169649" cy="381000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2400" b="0">
                <a:solidFill>
                  <a:schemeClr val="tx2"/>
                </a:solidFill>
                <a:latin typeface="Fungo" pitchFamily="50" charset="0"/>
              </a:defRPr>
            </a:lvl1pPr>
          </a:lstStyle>
          <a:p>
            <a:pPr lvl="0"/>
            <a:r>
              <a:rPr lang="en-US"/>
              <a:t>Sub heading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3877057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Group 5"/>
          <p:cNvGrpSpPr>
            <a:grpSpLocks noChangeAspect="1"/>
          </p:cNvGrpSpPr>
          <p:nvPr userDrawn="1"/>
        </p:nvGrpSpPr>
        <p:grpSpPr bwMode="auto">
          <a:xfrm>
            <a:off x="-12000" y="0"/>
            <a:ext cx="12216000" cy="1178432"/>
            <a:chOff x="-530" y="1723"/>
            <a:chExt cx="6834" cy="879"/>
          </a:xfrm>
          <a:solidFill>
            <a:schemeClr val="accent3"/>
          </a:solidFill>
        </p:grpSpPr>
        <p:sp>
          <p:nvSpPr>
            <p:cNvPr id="58" name="Freeform 6"/>
            <p:cNvSpPr>
              <a:spLocks/>
            </p:cNvSpPr>
            <p:nvPr userDrawn="1"/>
          </p:nvSpPr>
          <p:spPr bwMode="auto">
            <a:xfrm>
              <a:off x="4076" y="2427"/>
              <a:ext cx="45" cy="49"/>
            </a:xfrm>
            <a:custGeom>
              <a:avLst/>
              <a:gdLst>
                <a:gd name="T0" fmla="*/ 8 w 19"/>
                <a:gd name="T1" fmla="*/ 14 h 21"/>
                <a:gd name="T2" fmla="*/ 11 w 19"/>
                <a:gd name="T3" fmla="*/ 21 h 21"/>
                <a:gd name="T4" fmla="*/ 16 w 19"/>
                <a:gd name="T5" fmla="*/ 2 h 21"/>
                <a:gd name="T6" fmla="*/ 8 w 19"/>
                <a:gd name="T7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8" y="14"/>
                  </a:moveTo>
                  <a:cubicBezTo>
                    <a:pt x="9" y="17"/>
                    <a:pt x="7" y="21"/>
                    <a:pt x="11" y="21"/>
                  </a:cubicBezTo>
                  <a:cubicBezTo>
                    <a:pt x="16" y="14"/>
                    <a:pt x="19" y="12"/>
                    <a:pt x="16" y="2"/>
                  </a:cubicBezTo>
                  <a:cubicBezTo>
                    <a:pt x="0" y="0"/>
                    <a:pt x="7" y="11"/>
                    <a:pt x="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9" name="Freeform 7"/>
            <p:cNvSpPr>
              <a:spLocks/>
            </p:cNvSpPr>
            <p:nvPr userDrawn="1"/>
          </p:nvSpPr>
          <p:spPr bwMode="auto">
            <a:xfrm>
              <a:off x="5264" y="2389"/>
              <a:ext cx="22" cy="12"/>
            </a:xfrm>
            <a:custGeom>
              <a:avLst/>
              <a:gdLst>
                <a:gd name="T0" fmla="*/ 1 w 9"/>
                <a:gd name="T1" fmla="*/ 5 h 5"/>
                <a:gd name="T2" fmla="*/ 9 w 9"/>
                <a:gd name="T3" fmla="*/ 0 h 5"/>
                <a:gd name="T4" fmla="*/ 1 w 9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5">
                  <a:moveTo>
                    <a:pt x="1" y="5"/>
                  </a:moveTo>
                  <a:cubicBezTo>
                    <a:pt x="6" y="5"/>
                    <a:pt x="8" y="3"/>
                    <a:pt x="9" y="0"/>
                  </a:cubicBezTo>
                  <a:cubicBezTo>
                    <a:pt x="5" y="0"/>
                    <a:pt x="0" y="0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0" name="Freeform 8"/>
            <p:cNvSpPr>
              <a:spLocks/>
            </p:cNvSpPr>
            <p:nvPr userDrawn="1"/>
          </p:nvSpPr>
          <p:spPr bwMode="auto">
            <a:xfrm>
              <a:off x="5659" y="2375"/>
              <a:ext cx="28" cy="35"/>
            </a:xfrm>
            <a:custGeom>
              <a:avLst/>
              <a:gdLst>
                <a:gd name="T0" fmla="*/ 7 w 12"/>
                <a:gd name="T1" fmla="*/ 5 h 15"/>
                <a:gd name="T2" fmla="*/ 4 w 12"/>
                <a:gd name="T3" fmla="*/ 8 h 15"/>
                <a:gd name="T4" fmla="*/ 1 w 12"/>
                <a:gd name="T5" fmla="*/ 6 h 15"/>
                <a:gd name="T6" fmla="*/ 4 w 12"/>
                <a:gd name="T7" fmla="*/ 15 h 15"/>
                <a:gd name="T8" fmla="*/ 7 w 12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7" y="5"/>
                  </a:moveTo>
                  <a:cubicBezTo>
                    <a:pt x="7" y="7"/>
                    <a:pt x="6" y="8"/>
                    <a:pt x="4" y="8"/>
                  </a:cubicBezTo>
                  <a:cubicBezTo>
                    <a:pt x="4" y="6"/>
                    <a:pt x="4" y="5"/>
                    <a:pt x="1" y="6"/>
                  </a:cubicBezTo>
                  <a:cubicBezTo>
                    <a:pt x="2" y="9"/>
                    <a:pt x="0" y="14"/>
                    <a:pt x="4" y="15"/>
                  </a:cubicBezTo>
                  <a:cubicBezTo>
                    <a:pt x="6" y="13"/>
                    <a:pt x="12" y="0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1" name="Freeform 9"/>
            <p:cNvSpPr>
              <a:spLocks/>
            </p:cNvSpPr>
            <p:nvPr userDrawn="1"/>
          </p:nvSpPr>
          <p:spPr bwMode="auto">
            <a:xfrm>
              <a:off x="6155" y="2018"/>
              <a:ext cx="68" cy="35"/>
            </a:xfrm>
            <a:custGeom>
              <a:avLst/>
              <a:gdLst>
                <a:gd name="T0" fmla="*/ 16 w 29"/>
                <a:gd name="T1" fmla="*/ 12 h 15"/>
                <a:gd name="T2" fmla="*/ 27 w 29"/>
                <a:gd name="T3" fmla="*/ 7 h 15"/>
                <a:gd name="T4" fmla="*/ 5 w 29"/>
                <a:gd name="T5" fmla="*/ 0 h 15"/>
                <a:gd name="T6" fmla="*/ 3 w 29"/>
                <a:gd name="T7" fmla="*/ 12 h 15"/>
                <a:gd name="T8" fmla="*/ 16 w 29"/>
                <a:gd name="T9" fmla="*/ 7 h 15"/>
                <a:gd name="T10" fmla="*/ 16 w 29"/>
                <a:gd name="T11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5">
                  <a:moveTo>
                    <a:pt x="16" y="12"/>
                  </a:moveTo>
                  <a:cubicBezTo>
                    <a:pt x="21" y="15"/>
                    <a:pt x="29" y="8"/>
                    <a:pt x="27" y="7"/>
                  </a:cubicBezTo>
                  <a:cubicBezTo>
                    <a:pt x="24" y="1"/>
                    <a:pt x="11" y="3"/>
                    <a:pt x="5" y="0"/>
                  </a:cubicBezTo>
                  <a:cubicBezTo>
                    <a:pt x="6" y="6"/>
                    <a:pt x="0" y="5"/>
                    <a:pt x="3" y="12"/>
                  </a:cubicBezTo>
                  <a:cubicBezTo>
                    <a:pt x="11" y="15"/>
                    <a:pt x="10" y="8"/>
                    <a:pt x="16" y="7"/>
                  </a:cubicBezTo>
                  <a:cubicBezTo>
                    <a:pt x="16" y="7"/>
                    <a:pt x="16" y="11"/>
                    <a:pt x="1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2" name="Freeform 10"/>
            <p:cNvSpPr>
              <a:spLocks/>
            </p:cNvSpPr>
            <p:nvPr userDrawn="1"/>
          </p:nvSpPr>
          <p:spPr bwMode="auto">
            <a:xfrm>
              <a:off x="5633" y="2365"/>
              <a:ext cx="24" cy="29"/>
            </a:xfrm>
            <a:custGeom>
              <a:avLst/>
              <a:gdLst>
                <a:gd name="T0" fmla="*/ 4 w 10"/>
                <a:gd name="T1" fmla="*/ 0 h 12"/>
                <a:gd name="T2" fmla="*/ 7 w 10"/>
                <a:gd name="T3" fmla="*/ 12 h 12"/>
                <a:gd name="T4" fmla="*/ 4 w 10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4" y="0"/>
                  </a:moveTo>
                  <a:cubicBezTo>
                    <a:pt x="0" y="3"/>
                    <a:pt x="3" y="9"/>
                    <a:pt x="7" y="12"/>
                  </a:cubicBezTo>
                  <a:cubicBezTo>
                    <a:pt x="10" y="9"/>
                    <a:pt x="8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3" name="Freeform 11"/>
            <p:cNvSpPr>
              <a:spLocks/>
            </p:cNvSpPr>
            <p:nvPr userDrawn="1"/>
          </p:nvSpPr>
          <p:spPr bwMode="auto">
            <a:xfrm>
              <a:off x="4187" y="2453"/>
              <a:ext cx="33" cy="21"/>
            </a:xfrm>
            <a:custGeom>
              <a:avLst/>
              <a:gdLst>
                <a:gd name="T0" fmla="*/ 7 w 14"/>
                <a:gd name="T1" fmla="*/ 0 h 9"/>
                <a:gd name="T2" fmla="*/ 2 w 14"/>
                <a:gd name="T3" fmla="*/ 7 h 9"/>
                <a:gd name="T4" fmla="*/ 7 w 14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9">
                  <a:moveTo>
                    <a:pt x="7" y="0"/>
                  </a:moveTo>
                  <a:cubicBezTo>
                    <a:pt x="7" y="3"/>
                    <a:pt x="0" y="2"/>
                    <a:pt x="2" y="7"/>
                  </a:cubicBezTo>
                  <a:cubicBezTo>
                    <a:pt x="8" y="9"/>
                    <a:pt x="14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4" name="Freeform 12"/>
            <p:cNvSpPr>
              <a:spLocks/>
            </p:cNvSpPr>
            <p:nvPr userDrawn="1"/>
          </p:nvSpPr>
          <p:spPr bwMode="auto">
            <a:xfrm>
              <a:off x="5678" y="2379"/>
              <a:ext cx="40" cy="31"/>
            </a:xfrm>
            <a:custGeom>
              <a:avLst/>
              <a:gdLst>
                <a:gd name="T0" fmla="*/ 7 w 17"/>
                <a:gd name="T1" fmla="*/ 6 h 13"/>
                <a:gd name="T2" fmla="*/ 4 w 17"/>
                <a:gd name="T3" fmla="*/ 6 h 13"/>
                <a:gd name="T4" fmla="*/ 7 w 17"/>
                <a:gd name="T5" fmla="*/ 8 h 13"/>
                <a:gd name="T6" fmla="*/ 15 w 17"/>
                <a:gd name="T7" fmla="*/ 1 h 13"/>
                <a:gd name="T8" fmla="*/ 7 w 17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3">
                  <a:moveTo>
                    <a:pt x="7" y="6"/>
                  </a:moveTo>
                  <a:cubicBezTo>
                    <a:pt x="7" y="4"/>
                    <a:pt x="5" y="3"/>
                    <a:pt x="4" y="6"/>
                  </a:cubicBezTo>
                  <a:cubicBezTo>
                    <a:pt x="6" y="6"/>
                    <a:pt x="8" y="6"/>
                    <a:pt x="7" y="8"/>
                  </a:cubicBezTo>
                  <a:cubicBezTo>
                    <a:pt x="0" y="13"/>
                    <a:pt x="17" y="6"/>
                    <a:pt x="15" y="1"/>
                  </a:cubicBezTo>
                  <a:cubicBezTo>
                    <a:pt x="10" y="0"/>
                    <a:pt x="10" y="4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5" name="Freeform 13"/>
            <p:cNvSpPr>
              <a:spLocks/>
            </p:cNvSpPr>
            <p:nvPr userDrawn="1"/>
          </p:nvSpPr>
          <p:spPr bwMode="auto">
            <a:xfrm>
              <a:off x="6219" y="2016"/>
              <a:ext cx="73" cy="35"/>
            </a:xfrm>
            <a:custGeom>
              <a:avLst/>
              <a:gdLst>
                <a:gd name="T0" fmla="*/ 20 w 31"/>
                <a:gd name="T1" fmla="*/ 10 h 15"/>
                <a:gd name="T2" fmla="*/ 19 w 31"/>
                <a:gd name="T3" fmla="*/ 0 h 15"/>
                <a:gd name="T4" fmla="*/ 11 w 31"/>
                <a:gd name="T5" fmla="*/ 5 h 15"/>
                <a:gd name="T6" fmla="*/ 0 w 31"/>
                <a:gd name="T7" fmla="*/ 1 h 15"/>
                <a:gd name="T8" fmla="*/ 9 w 31"/>
                <a:gd name="T9" fmla="*/ 15 h 15"/>
                <a:gd name="T10" fmla="*/ 11 w 31"/>
                <a:gd name="T11" fmla="*/ 7 h 15"/>
                <a:gd name="T12" fmla="*/ 11 w 31"/>
                <a:gd name="T13" fmla="*/ 12 h 15"/>
                <a:gd name="T14" fmla="*/ 31 w 31"/>
                <a:gd name="T15" fmla="*/ 11 h 15"/>
                <a:gd name="T16" fmla="*/ 31 w 31"/>
                <a:gd name="T17" fmla="*/ 2 h 15"/>
                <a:gd name="T18" fmla="*/ 20 w 31"/>
                <a:gd name="T1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15">
                  <a:moveTo>
                    <a:pt x="20" y="10"/>
                  </a:moveTo>
                  <a:cubicBezTo>
                    <a:pt x="15" y="5"/>
                    <a:pt x="20" y="7"/>
                    <a:pt x="19" y="0"/>
                  </a:cubicBezTo>
                  <a:cubicBezTo>
                    <a:pt x="14" y="0"/>
                    <a:pt x="14" y="4"/>
                    <a:pt x="11" y="5"/>
                  </a:cubicBezTo>
                  <a:cubicBezTo>
                    <a:pt x="9" y="2"/>
                    <a:pt x="5" y="1"/>
                    <a:pt x="0" y="1"/>
                  </a:cubicBezTo>
                  <a:cubicBezTo>
                    <a:pt x="2" y="6"/>
                    <a:pt x="2" y="13"/>
                    <a:pt x="9" y="15"/>
                  </a:cubicBezTo>
                  <a:cubicBezTo>
                    <a:pt x="9" y="12"/>
                    <a:pt x="8" y="8"/>
                    <a:pt x="11" y="7"/>
                  </a:cubicBezTo>
                  <a:cubicBezTo>
                    <a:pt x="11" y="9"/>
                    <a:pt x="11" y="11"/>
                    <a:pt x="11" y="12"/>
                  </a:cubicBezTo>
                  <a:cubicBezTo>
                    <a:pt x="19" y="12"/>
                    <a:pt x="26" y="12"/>
                    <a:pt x="31" y="1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6" y="3"/>
                    <a:pt x="28" y="11"/>
                    <a:pt x="2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6" name="Freeform 14"/>
            <p:cNvSpPr>
              <a:spLocks/>
            </p:cNvSpPr>
            <p:nvPr userDrawn="1"/>
          </p:nvSpPr>
          <p:spPr bwMode="auto">
            <a:xfrm>
              <a:off x="4256" y="2441"/>
              <a:ext cx="24" cy="21"/>
            </a:xfrm>
            <a:custGeom>
              <a:avLst/>
              <a:gdLst>
                <a:gd name="T0" fmla="*/ 0 w 10"/>
                <a:gd name="T1" fmla="*/ 7 h 9"/>
                <a:gd name="T2" fmla="*/ 9 w 10"/>
                <a:gd name="T3" fmla="*/ 9 h 9"/>
                <a:gd name="T4" fmla="*/ 0 w 10"/>
                <a:gd name="T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7"/>
                  </a:moveTo>
                  <a:cubicBezTo>
                    <a:pt x="4" y="6"/>
                    <a:pt x="6" y="8"/>
                    <a:pt x="9" y="9"/>
                  </a:cubicBezTo>
                  <a:cubicBezTo>
                    <a:pt x="10" y="2"/>
                    <a:pt x="1" y="0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7" name="Freeform 15"/>
            <p:cNvSpPr>
              <a:spLocks/>
            </p:cNvSpPr>
            <p:nvPr userDrawn="1"/>
          </p:nvSpPr>
          <p:spPr bwMode="auto">
            <a:xfrm>
              <a:off x="3859" y="2455"/>
              <a:ext cx="14" cy="31"/>
            </a:xfrm>
            <a:custGeom>
              <a:avLst/>
              <a:gdLst>
                <a:gd name="T0" fmla="*/ 1 w 6"/>
                <a:gd name="T1" fmla="*/ 8 h 13"/>
                <a:gd name="T2" fmla="*/ 4 w 6"/>
                <a:gd name="T3" fmla="*/ 13 h 13"/>
                <a:gd name="T4" fmla="*/ 1 w 6"/>
                <a:gd name="T5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3">
                  <a:moveTo>
                    <a:pt x="1" y="8"/>
                  </a:moveTo>
                  <a:cubicBezTo>
                    <a:pt x="0" y="10"/>
                    <a:pt x="2" y="13"/>
                    <a:pt x="4" y="13"/>
                  </a:cubicBezTo>
                  <a:cubicBezTo>
                    <a:pt x="6" y="13"/>
                    <a:pt x="5" y="0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8" name="Freeform 16"/>
            <p:cNvSpPr>
              <a:spLocks/>
            </p:cNvSpPr>
            <p:nvPr userDrawn="1"/>
          </p:nvSpPr>
          <p:spPr bwMode="auto">
            <a:xfrm>
              <a:off x="3982" y="2455"/>
              <a:ext cx="38" cy="31"/>
            </a:xfrm>
            <a:custGeom>
              <a:avLst/>
              <a:gdLst>
                <a:gd name="T0" fmla="*/ 10 w 16"/>
                <a:gd name="T1" fmla="*/ 12 h 13"/>
                <a:gd name="T2" fmla="*/ 15 w 16"/>
                <a:gd name="T3" fmla="*/ 2 h 13"/>
                <a:gd name="T4" fmla="*/ 10 w 16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10" y="12"/>
                  </a:moveTo>
                  <a:cubicBezTo>
                    <a:pt x="11" y="12"/>
                    <a:pt x="16" y="5"/>
                    <a:pt x="15" y="2"/>
                  </a:cubicBezTo>
                  <a:cubicBezTo>
                    <a:pt x="0" y="0"/>
                    <a:pt x="4" y="13"/>
                    <a:pt x="1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9" name="Freeform 17"/>
            <p:cNvSpPr>
              <a:spLocks/>
            </p:cNvSpPr>
            <p:nvPr userDrawn="1"/>
          </p:nvSpPr>
          <p:spPr bwMode="auto">
            <a:xfrm>
              <a:off x="5872" y="2004"/>
              <a:ext cx="56" cy="54"/>
            </a:xfrm>
            <a:custGeom>
              <a:avLst/>
              <a:gdLst>
                <a:gd name="T0" fmla="*/ 18 w 24"/>
                <a:gd name="T1" fmla="*/ 13 h 23"/>
                <a:gd name="T2" fmla="*/ 24 w 24"/>
                <a:gd name="T3" fmla="*/ 15 h 23"/>
                <a:gd name="T4" fmla="*/ 18 w 24"/>
                <a:gd name="T5" fmla="*/ 8 h 23"/>
                <a:gd name="T6" fmla="*/ 16 w 24"/>
                <a:gd name="T7" fmla="*/ 10 h 23"/>
                <a:gd name="T8" fmla="*/ 2 w 24"/>
                <a:gd name="T9" fmla="*/ 1 h 23"/>
                <a:gd name="T10" fmla="*/ 5 w 24"/>
                <a:gd name="T11" fmla="*/ 8 h 23"/>
                <a:gd name="T12" fmla="*/ 5 w 24"/>
                <a:gd name="T13" fmla="*/ 15 h 23"/>
                <a:gd name="T14" fmla="*/ 10 w 24"/>
                <a:gd name="T15" fmla="*/ 20 h 23"/>
                <a:gd name="T16" fmla="*/ 18 w 24"/>
                <a:gd name="T17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3">
                  <a:moveTo>
                    <a:pt x="18" y="13"/>
                  </a:moveTo>
                  <a:cubicBezTo>
                    <a:pt x="19" y="14"/>
                    <a:pt x="21" y="15"/>
                    <a:pt x="24" y="15"/>
                  </a:cubicBezTo>
                  <a:cubicBezTo>
                    <a:pt x="24" y="12"/>
                    <a:pt x="21" y="7"/>
                    <a:pt x="18" y="8"/>
                  </a:cubicBezTo>
                  <a:cubicBezTo>
                    <a:pt x="18" y="8"/>
                    <a:pt x="18" y="12"/>
                    <a:pt x="16" y="10"/>
                  </a:cubicBezTo>
                  <a:cubicBezTo>
                    <a:pt x="13" y="9"/>
                    <a:pt x="12" y="0"/>
                    <a:pt x="2" y="1"/>
                  </a:cubicBezTo>
                  <a:cubicBezTo>
                    <a:pt x="2" y="4"/>
                    <a:pt x="3" y="6"/>
                    <a:pt x="5" y="8"/>
                  </a:cubicBezTo>
                  <a:cubicBezTo>
                    <a:pt x="4" y="11"/>
                    <a:pt x="0" y="14"/>
                    <a:pt x="5" y="15"/>
                  </a:cubicBezTo>
                  <a:cubicBezTo>
                    <a:pt x="7" y="5"/>
                    <a:pt x="16" y="16"/>
                    <a:pt x="10" y="20"/>
                  </a:cubicBezTo>
                  <a:cubicBezTo>
                    <a:pt x="20" y="23"/>
                    <a:pt x="12" y="12"/>
                    <a:pt x="1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0" name="Freeform 18"/>
            <p:cNvSpPr>
              <a:spLocks/>
            </p:cNvSpPr>
            <p:nvPr userDrawn="1"/>
          </p:nvSpPr>
          <p:spPr bwMode="auto">
            <a:xfrm>
              <a:off x="6129" y="2051"/>
              <a:ext cx="26" cy="31"/>
            </a:xfrm>
            <a:custGeom>
              <a:avLst/>
              <a:gdLst>
                <a:gd name="T0" fmla="*/ 3 w 11"/>
                <a:gd name="T1" fmla="*/ 5 h 13"/>
                <a:gd name="T2" fmla="*/ 0 w 11"/>
                <a:gd name="T3" fmla="*/ 0 h 13"/>
                <a:gd name="T4" fmla="*/ 0 w 11"/>
                <a:gd name="T5" fmla="*/ 12 h 13"/>
                <a:gd name="T6" fmla="*/ 11 w 11"/>
                <a:gd name="T7" fmla="*/ 7 h 13"/>
                <a:gd name="T8" fmla="*/ 3 w 11"/>
                <a:gd name="T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3" y="5"/>
                  </a:moveTo>
                  <a:cubicBezTo>
                    <a:pt x="2" y="3"/>
                    <a:pt x="3" y="0"/>
                    <a:pt x="0" y="0"/>
                  </a:cubicBezTo>
                  <a:cubicBezTo>
                    <a:pt x="0" y="4"/>
                    <a:pt x="0" y="8"/>
                    <a:pt x="0" y="12"/>
                  </a:cubicBezTo>
                  <a:cubicBezTo>
                    <a:pt x="6" y="13"/>
                    <a:pt x="11" y="11"/>
                    <a:pt x="11" y="7"/>
                  </a:cubicBezTo>
                  <a:cubicBezTo>
                    <a:pt x="8" y="7"/>
                    <a:pt x="3" y="8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1" name="Freeform 19"/>
            <p:cNvSpPr>
              <a:spLocks noEditPoints="1"/>
            </p:cNvSpPr>
            <p:nvPr userDrawn="1"/>
          </p:nvSpPr>
          <p:spPr bwMode="auto">
            <a:xfrm>
              <a:off x="-530" y="1723"/>
              <a:ext cx="6834" cy="879"/>
            </a:xfrm>
            <a:custGeom>
              <a:avLst/>
              <a:gdLst>
                <a:gd name="T0" fmla="*/ 389 w 2893"/>
                <a:gd name="T1" fmla="*/ 342 h 372"/>
                <a:gd name="T2" fmla="*/ 740 w 2893"/>
                <a:gd name="T3" fmla="*/ 359 h 372"/>
                <a:gd name="T4" fmla="*/ 1103 w 2893"/>
                <a:gd name="T5" fmla="*/ 367 h 372"/>
                <a:gd name="T6" fmla="*/ 1426 w 2893"/>
                <a:gd name="T7" fmla="*/ 356 h 372"/>
                <a:gd name="T8" fmla="*/ 1695 w 2893"/>
                <a:gd name="T9" fmla="*/ 331 h 372"/>
                <a:gd name="T10" fmla="*/ 1895 w 2893"/>
                <a:gd name="T11" fmla="*/ 320 h 372"/>
                <a:gd name="T12" fmla="*/ 2114 w 2893"/>
                <a:gd name="T13" fmla="*/ 302 h 372"/>
                <a:gd name="T14" fmla="*/ 2309 w 2893"/>
                <a:gd name="T15" fmla="*/ 287 h 372"/>
                <a:gd name="T16" fmla="*/ 2459 w 2893"/>
                <a:gd name="T17" fmla="*/ 275 h 372"/>
                <a:gd name="T18" fmla="*/ 2597 w 2893"/>
                <a:gd name="T19" fmla="*/ 289 h 372"/>
                <a:gd name="T20" fmla="*/ 2723 w 2893"/>
                <a:gd name="T21" fmla="*/ 280 h 372"/>
                <a:gd name="T22" fmla="*/ 2838 w 2893"/>
                <a:gd name="T23" fmla="*/ 287 h 372"/>
                <a:gd name="T24" fmla="*/ 2866 w 2893"/>
                <a:gd name="T25" fmla="*/ 183 h 372"/>
                <a:gd name="T26" fmla="*/ 2808 w 2893"/>
                <a:gd name="T27" fmla="*/ 147 h 372"/>
                <a:gd name="T28" fmla="*/ 2631 w 2893"/>
                <a:gd name="T29" fmla="*/ 218 h 372"/>
                <a:gd name="T30" fmla="*/ 2665 w 2893"/>
                <a:gd name="T31" fmla="*/ 112 h 372"/>
                <a:gd name="T32" fmla="*/ 2857 w 2893"/>
                <a:gd name="T33" fmla="*/ 113 h 372"/>
                <a:gd name="T34" fmla="*/ 485 w 2893"/>
                <a:gd name="T35" fmla="*/ 201 h 372"/>
                <a:gd name="T36" fmla="*/ 777 w 2893"/>
                <a:gd name="T37" fmla="*/ 267 h 372"/>
                <a:gd name="T38" fmla="*/ 1016 w 2893"/>
                <a:gd name="T39" fmla="*/ 272 h 372"/>
                <a:gd name="T40" fmla="*/ 1266 w 2893"/>
                <a:gd name="T41" fmla="*/ 265 h 372"/>
                <a:gd name="T42" fmla="*/ 1356 w 2893"/>
                <a:gd name="T43" fmla="*/ 252 h 372"/>
                <a:gd name="T44" fmla="*/ 1456 w 2893"/>
                <a:gd name="T45" fmla="*/ 330 h 372"/>
                <a:gd name="T46" fmla="*/ 1548 w 2893"/>
                <a:gd name="T47" fmla="*/ 241 h 372"/>
                <a:gd name="T48" fmla="*/ 1656 w 2893"/>
                <a:gd name="T49" fmla="*/ 331 h 372"/>
                <a:gd name="T50" fmla="*/ 1709 w 2893"/>
                <a:gd name="T51" fmla="*/ 232 h 372"/>
                <a:gd name="T52" fmla="*/ 1779 w 2893"/>
                <a:gd name="T53" fmla="*/ 259 h 372"/>
                <a:gd name="T54" fmla="*/ 1829 w 2893"/>
                <a:gd name="T55" fmla="*/ 147 h 372"/>
                <a:gd name="T56" fmla="*/ 1920 w 2893"/>
                <a:gd name="T57" fmla="*/ 193 h 372"/>
                <a:gd name="T58" fmla="*/ 1900 w 2893"/>
                <a:gd name="T59" fmla="*/ 151 h 372"/>
                <a:gd name="T60" fmla="*/ 1948 w 2893"/>
                <a:gd name="T61" fmla="*/ 220 h 372"/>
                <a:gd name="T62" fmla="*/ 2044 w 2893"/>
                <a:gd name="T63" fmla="*/ 214 h 372"/>
                <a:gd name="T64" fmla="*/ 2069 w 2893"/>
                <a:gd name="T65" fmla="*/ 218 h 372"/>
                <a:gd name="T66" fmla="*/ 2172 w 2893"/>
                <a:gd name="T67" fmla="*/ 167 h 372"/>
                <a:gd name="T68" fmla="*/ 2111 w 2893"/>
                <a:gd name="T69" fmla="*/ 107 h 372"/>
                <a:gd name="T70" fmla="*/ 2115 w 2893"/>
                <a:gd name="T71" fmla="*/ 217 h 372"/>
                <a:gd name="T72" fmla="*/ 2157 w 2893"/>
                <a:gd name="T73" fmla="*/ 236 h 372"/>
                <a:gd name="T74" fmla="*/ 2191 w 2893"/>
                <a:gd name="T75" fmla="*/ 148 h 372"/>
                <a:gd name="T76" fmla="*/ 2262 w 2893"/>
                <a:gd name="T77" fmla="*/ 135 h 372"/>
                <a:gd name="T78" fmla="*/ 2862 w 2893"/>
                <a:gd name="T79" fmla="*/ 247 h 372"/>
                <a:gd name="T80" fmla="*/ 2740 w 2893"/>
                <a:gd name="T81" fmla="*/ 190 h 372"/>
                <a:gd name="T82" fmla="*/ 2824 w 2893"/>
                <a:gd name="T83" fmla="*/ 259 h 372"/>
                <a:gd name="T84" fmla="*/ 2831 w 2893"/>
                <a:gd name="T85" fmla="*/ 198 h 372"/>
                <a:gd name="T86" fmla="*/ 2792 w 2893"/>
                <a:gd name="T87" fmla="*/ 177 h 372"/>
                <a:gd name="T88" fmla="*/ 2732 w 2893"/>
                <a:gd name="T89" fmla="*/ 181 h 372"/>
                <a:gd name="T90" fmla="*/ 2702 w 2893"/>
                <a:gd name="T91" fmla="*/ 207 h 372"/>
                <a:gd name="T92" fmla="*/ 2674 w 2893"/>
                <a:gd name="T93" fmla="*/ 8 h 372"/>
                <a:gd name="T94" fmla="*/ 2563 w 2893"/>
                <a:gd name="T95" fmla="*/ 116 h 372"/>
                <a:gd name="T96" fmla="*/ 2514 w 2893"/>
                <a:gd name="T97" fmla="*/ 121 h 372"/>
                <a:gd name="T98" fmla="*/ 2453 w 2893"/>
                <a:gd name="T99" fmla="*/ 101 h 372"/>
                <a:gd name="T100" fmla="*/ 2349 w 2893"/>
                <a:gd name="T101" fmla="*/ 103 h 372"/>
                <a:gd name="T102" fmla="*/ 2298 w 2893"/>
                <a:gd name="T103" fmla="*/ 139 h 372"/>
                <a:gd name="T104" fmla="*/ 2305 w 2893"/>
                <a:gd name="T105" fmla="*/ 231 h 372"/>
                <a:gd name="T106" fmla="*/ 2365 w 2893"/>
                <a:gd name="T107" fmla="*/ 211 h 372"/>
                <a:gd name="T108" fmla="*/ 2456 w 2893"/>
                <a:gd name="T109" fmla="*/ 256 h 372"/>
                <a:gd name="T110" fmla="*/ 2497 w 2893"/>
                <a:gd name="T111" fmla="*/ 213 h 372"/>
                <a:gd name="T112" fmla="*/ 2543 w 2893"/>
                <a:gd name="T113" fmla="*/ 219 h 372"/>
                <a:gd name="T114" fmla="*/ 2582 w 2893"/>
                <a:gd name="T115" fmla="*/ 230 h 372"/>
                <a:gd name="T116" fmla="*/ 2599 w 2893"/>
                <a:gd name="T117" fmla="*/ 258 h 372"/>
                <a:gd name="T118" fmla="*/ 2671 w 2893"/>
                <a:gd name="T119" fmla="*/ 156 h 372"/>
                <a:gd name="T120" fmla="*/ 2638 w 2893"/>
                <a:gd name="T121" fmla="*/ 133 h 372"/>
                <a:gd name="T122" fmla="*/ 2741 w 2893"/>
                <a:gd name="T123" fmla="*/ 87 h 372"/>
                <a:gd name="T124" fmla="*/ 2808 w 2893"/>
                <a:gd name="T125" fmla="*/ 12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93" h="372">
                  <a:moveTo>
                    <a:pt x="288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1"/>
                    <a:pt x="1" y="320"/>
                    <a:pt x="2" y="320"/>
                  </a:cubicBezTo>
                  <a:cubicBezTo>
                    <a:pt x="1" y="331"/>
                    <a:pt x="12" y="320"/>
                    <a:pt x="15" y="320"/>
                  </a:cubicBezTo>
                  <a:cubicBezTo>
                    <a:pt x="16" y="328"/>
                    <a:pt x="25" y="329"/>
                    <a:pt x="35" y="329"/>
                  </a:cubicBezTo>
                  <a:cubicBezTo>
                    <a:pt x="35" y="327"/>
                    <a:pt x="35" y="324"/>
                    <a:pt x="37" y="324"/>
                  </a:cubicBezTo>
                  <a:cubicBezTo>
                    <a:pt x="39" y="331"/>
                    <a:pt x="43" y="322"/>
                    <a:pt x="48" y="324"/>
                  </a:cubicBezTo>
                  <a:cubicBezTo>
                    <a:pt x="50" y="329"/>
                    <a:pt x="56" y="325"/>
                    <a:pt x="62" y="326"/>
                  </a:cubicBezTo>
                  <a:cubicBezTo>
                    <a:pt x="70" y="328"/>
                    <a:pt x="66" y="332"/>
                    <a:pt x="70" y="328"/>
                  </a:cubicBezTo>
                  <a:cubicBezTo>
                    <a:pt x="77" y="323"/>
                    <a:pt x="90" y="333"/>
                    <a:pt x="87" y="333"/>
                  </a:cubicBezTo>
                  <a:cubicBezTo>
                    <a:pt x="102" y="336"/>
                    <a:pt x="117" y="327"/>
                    <a:pt x="136" y="330"/>
                  </a:cubicBezTo>
                  <a:cubicBezTo>
                    <a:pt x="139" y="338"/>
                    <a:pt x="156" y="332"/>
                    <a:pt x="167" y="334"/>
                  </a:cubicBezTo>
                  <a:cubicBezTo>
                    <a:pt x="170" y="334"/>
                    <a:pt x="170" y="336"/>
                    <a:pt x="175" y="336"/>
                  </a:cubicBezTo>
                  <a:cubicBezTo>
                    <a:pt x="178" y="336"/>
                    <a:pt x="179" y="334"/>
                    <a:pt x="183" y="333"/>
                  </a:cubicBezTo>
                  <a:cubicBezTo>
                    <a:pt x="190" y="333"/>
                    <a:pt x="194" y="335"/>
                    <a:pt x="200" y="336"/>
                  </a:cubicBezTo>
                  <a:cubicBezTo>
                    <a:pt x="202" y="332"/>
                    <a:pt x="204" y="328"/>
                    <a:pt x="210" y="328"/>
                  </a:cubicBezTo>
                  <a:cubicBezTo>
                    <a:pt x="211" y="331"/>
                    <a:pt x="210" y="335"/>
                    <a:pt x="213" y="335"/>
                  </a:cubicBezTo>
                  <a:cubicBezTo>
                    <a:pt x="216" y="328"/>
                    <a:pt x="221" y="337"/>
                    <a:pt x="222" y="337"/>
                  </a:cubicBezTo>
                  <a:cubicBezTo>
                    <a:pt x="225" y="339"/>
                    <a:pt x="233" y="339"/>
                    <a:pt x="238" y="340"/>
                  </a:cubicBezTo>
                  <a:cubicBezTo>
                    <a:pt x="246" y="340"/>
                    <a:pt x="240" y="332"/>
                    <a:pt x="246" y="337"/>
                  </a:cubicBezTo>
                  <a:cubicBezTo>
                    <a:pt x="248" y="338"/>
                    <a:pt x="255" y="336"/>
                    <a:pt x="257" y="337"/>
                  </a:cubicBezTo>
                  <a:cubicBezTo>
                    <a:pt x="259" y="338"/>
                    <a:pt x="260" y="343"/>
                    <a:pt x="266" y="341"/>
                  </a:cubicBezTo>
                  <a:cubicBezTo>
                    <a:pt x="275" y="336"/>
                    <a:pt x="294" y="346"/>
                    <a:pt x="307" y="341"/>
                  </a:cubicBezTo>
                  <a:cubicBezTo>
                    <a:pt x="309" y="340"/>
                    <a:pt x="309" y="334"/>
                    <a:pt x="312" y="334"/>
                  </a:cubicBezTo>
                  <a:cubicBezTo>
                    <a:pt x="312" y="335"/>
                    <a:pt x="312" y="337"/>
                    <a:pt x="312" y="338"/>
                  </a:cubicBezTo>
                  <a:cubicBezTo>
                    <a:pt x="315" y="339"/>
                    <a:pt x="321" y="337"/>
                    <a:pt x="323" y="338"/>
                  </a:cubicBezTo>
                  <a:cubicBezTo>
                    <a:pt x="323" y="338"/>
                    <a:pt x="323" y="340"/>
                    <a:pt x="323" y="340"/>
                  </a:cubicBezTo>
                  <a:cubicBezTo>
                    <a:pt x="327" y="341"/>
                    <a:pt x="334" y="339"/>
                    <a:pt x="340" y="340"/>
                  </a:cubicBezTo>
                  <a:cubicBezTo>
                    <a:pt x="342" y="341"/>
                    <a:pt x="343" y="342"/>
                    <a:pt x="345" y="342"/>
                  </a:cubicBezTo>
                  <a:cubicBezTo>
                    <a:pt x="345" y="342"/>
                    <a:pt x="345" y="340"/>
                    <a:pt x="348" y="340"/>
                  </a:cubicBezTo>
                  <a:cubicBezTo>
                    <a:pt x="349" y="340"/>
                    <a:pt x="347" y="343"/>
                    <a:pt x="351" y="342"/>
                  </a:cubicBezTo>
                  <a:cubicBezTo>
                    <a:pt x="352" y="342"/>
                    <a:pt x="354" y="338"/>
                    <a:pt x="356" y="338"/>
                  </a:cubicBezTo>
                  <a:cubicBezTo>
                    <a:pt x="355" y="338"/>
                    <a:pt x="360" y="341"/>
                    <a:pt x="361" y="337"/>
                  </a:cubicBezTo>
                  <a:cubicBezTo>
                    <a:pt x="361" y="339"/>
                    <a:pt x="361" y="341"/>
                    <a:pt x="362" y="342"/>
                  </a:cubicBezTo>
                  <a:cubicBezTo>
                    <a:pt x="370" y="341"/>
                    <a:pt x="374" y="337"/>
                    <a:pt x="381" y="335"/>
                  </a:cubicBezTo>
                  <a:cubicBezTo>
                    <a:pt x="381" y="341"/>
                    <a:pt x="376" y="340"/>
                    <a:pt x="381" y="344"/>
                  </a:cubicBezTo>
                  <a:cubicBezTo>
                    <a:pt x="387" y="347"/>
                    <a:pt x="389" y="333"/>
                    <a:pt x="389" y="342"/>
                  </a:cubicBezTo>
                  <a:cubicBezTo>
                    <a:pt x="389" y="345"/>
                    <a:pt x="400" y="345"/>
                    <a:pt x="403" y="346"/>
                  </a:cubicBezTo>
                  <a:cubicBezTo>
                    <a:pt x="403" y="344"/>
                    <a:pt x="403" y="341"/>
                    <a:pt x="405" y="341"/>
                  </a:cubicBezTo>
                  <a:cubicBezTo>
                    <a:pt x="405" y="345"/>
                    <a:pt x="407" y="346"/>
                    <a:pt x="408" y="348"/>
                  </a:cubicBezTo>
                  <a:cubicBezTo>
                    <a:pt x="423" y="348"/>
                    <a:pt x="437" y="348"/>
                    <a:pt x="452" y="348"/>
                  </a:cubicBezTo>
                  <a:cubicBezTo>
                    <a:pt x="453" y="346"/>
                    <a:pt x="452" y="343"/>
                    <a:pt x="455" y="343"/>
                  </a:cubicBezTo>
                  <a:cubicBezTo>
                    <a:pt x="453" y="352"/>
                    <a:pt x="461" y="345"/>
                    <a:pt x="463" y="345"/>
                  </a:cubicBezTo>
                  <a:cubicBezTo>
                    <a:pt x="465" y="345"/>
                    <a:pt x="466" y="349"/>
                    <a:pt x="469" y="350"/>
                  </a:cubicBezTo>
                  <a:cubicBezTo>
                    <a:pt x="469" y="350"/>
                    <a:pt x="471" y="345"/>
                    <a:pt x="474" y="347"/>
                  </a:cubicBezTo>
                  <a:cubicBezTo>
                    <a:pt x="475" y="351"/>
                    <a:pt x="481" y="349"/>
                    <a:pt x="485" y="349"/>
                  </a:cubicBezTo>
                  <a:cubicBezTo>
                    <a:pt x="485" y="345"/>
                    <a:pt x="487" y="341"/>
                    <a:pt x="490" y="340"/>
                  </a:cubicBezTo>
                  <a:cubicBezTo>
                    <a:pt x="491" y="343"/>
                    <a:pt x="490" y="349"/>
                    <a:pt x="493" y="349"/>
                  </a:cubicBezTo>
                  <a:cubicBezTo>
                    <a:pt x="494" y="345"/>
                    <a:pt x="503" y="348"/>
                    <a:pt x="504" y="344"/>
                  </a:cubicBezTo>
                  <a:cubicBezTo>
                    <a:pt x="506" y="341"/>
                    <a:pt x="501" y="332"/>
                    <a:pt x="507" y="332"/>
                  </a:cubicBezTo>
                  <a:cubicBezTo>
                    <a:pt x="506" y="340"/>
                    <a:pt x="512" y="341"/>
                    <a:pt x="510" y="349"/>
                  </a:cubicBezTo>
                  <a:cubicBezTo>
                    <a:pt x="515" y="350"/>
                    <a:pt x="515" y="346"/>
                    <a:pt x="518" y="344"/>
                  </a:cubicBezTo>
                  <a:cubicBezTo>
                    <a:pt x="518" y="356"/>
                    <a:pt x="541" y="354"/>
                    <a:pt x="551" y="351"/>
                  </a:cubicBezTo>
                  <a:cubicBezTo>
                    <a:pt x="552" y="346"/>
                    <a:pt x="547" y="345"/>
                    <a:pt x="551" y="343"/>
                  </a:cubicBezTo>
                  <a:cubicBezTo>
                    <a:pt x="555" y="344"/>
                    <a:pt x="553" y="349"/>
                    <a:pt x="554" y="353"/>
                  </a:cubicBezTo>
                  <a:cubicBezTo>
                    <a:pt x="563" y="352"/>
                    <a:pt x="578" y="356"/>
                    <a:pt x="578" y="348"/>
                  </a:cubicBezTo>
                  <a:cubicBezTo>
                    <a:pt x="576" y="347"/>
                    <a:pt x="573" y="348"/>
                    <a:pt x="573" y="345"/>
                  </a:cubicBezTo>
                  <a:cubicBezTo>
                    <a:pt x="575" y="346"/>
                    <a:pt x="577" y="345"/>
                    <a:pt x="578" y="345"/>
                  </a:cubicBezTo>
                  <a:cubicBezTo>
                    <a:pt x="582" y="346"/>
                    <a:pt x="579" y="348"/>
                    <a:pt x="581" y="350"/>
                  </a:cubicBezTo>
                  <a:cubicBezTo>
                    <a:pt x="583" y="351"/>
                    <a:pt x="587" y="349"/>
                    <a:pt x="587" y="352"/>
                  </a:cubicBezTo>
                  <a:cubicBezTo>
                    <a:pt x="601" y="349"/>
                    <a:pt x="614" y="358"/>
                    <a:pt x="622" y="352"/>
                  </a:cubicBezTo>
                  <a:cubicBezTo>
                    <a:pt x="619" y="351"/>
                    <a:pt x="616" y="348"/>
                    <a:pt x="620" y="347"/>
                  </a:cubicBezTo>
                  <a:cubicBezTo>
                    <a:pt x="623" y="348"/>
                    <a:pt x="625" y="350"/>
                    <a:pt x="625" y="354"/>
                  </a:cubicBezTo>
                  <a:cubicBezTo>
                    <a:pt x="630" y="356"/>
                    <a:pt x="634" y="351"/>
                    <a:pt x="636" y="351"/>
                  </a:cubicBezTo>
                  <a:cubicBezTo>
                    <a:pt x="636" y="351"/>
                    <a:pt x="638" y="356"/>
                    <a:pt x="639" y="356"/>
                  </a:cubicBezTo>
                  <a:cubicBezTo>
                    <a:pt x="641" y="357"/>
                    <a:pt x="645" y="356"/>
                    <a:pt x="647" y="356"/>
                  </a:cubicBezTo>
                  <a:cubicBezTo>
                    <a:pt x="649" y="356"/>
                    <a:pt x="649" y="358"/>
                    <a:pt x="650" y="358"/>
                  </a:cubicBezTo>
                  <a:cubicBezTo>
                    <a:pt x="656" y="359"/>
                    <a:pt x="655" y="355"/>
                    <a:pt x="658" y="358"/>
                  </a:cubicBezTo>
                  <a:cubicBezTo>
                    <a:pt x="659" y="359"/>
                    <a:pt x="663" y="358"/>
                    <a:pt x="664" y="358"/>
                  </a:cubicBezTo>
                  <a:cubicBezTo>
                    <a:pt x="673" y="359"/>
                    <a:pt x="674" y="359"/>
                    <a:pt x="680" y="360"/>
                  </a:cubicBezTo>
                  <a:cubicBezTo>
                    <a:pt x="690" y="350"/>
                    <a:pt x="712" y="364"/>
                    <a:pt x="721" y="355"/>
                  </a:cubicBezTo>
                  <a:cubicBezTo>
                    <a:pt x="720" y="356"/>
                    <a:pt x="716" y="350"/>
                    <a:pt x="721" y="350"/>
                  </a:cubicBezTo>
                  <a:cubicBezTo>
                    <a:pt x="724" y="355"/>
                    <a:pt x="726" y="361"/>
                    <a:pt x="738" y="359"/>
                  </a:cubicBezTo>
                  <a:cubicBezTo>
                    <a:pt x="741" y="353"/>
                    <a:pt x="727" y="352"/>
                    <a:pt x="735" y="350"/>
                  </a:cubicBezTo>
                  <a:cubicBezTo>
                    <a:pt x="740" y="350"/>
                    <a:pt x="741" y="354"/>
                    <a:pt x="740" y="359"/>
                  </a:cubicBezTo>
                  <a:cubicBezTo>
                    <a:pt x="750" y="362"/>
                    <a:pt x="742" y="351"/>
                    <a:pt x="749" y="352"/>
                  </a:cubicBezTo>
                  <a:cubicBezTo>
                    <a:pt x="749" y="356"/>
                    <a:pt x="756" y="355"/>
                    <a:pt x="754" y="361"/>
                  </a:cubicBezTo>
                  <a:cubicBezTo>
                    <a:pt x="785" y="357"/>
                    <a:pt x="804" y="370"/>
                    <a:pt x="820" y="360"/>
                  </a:cubicBezTo>
                  <a:cubicBezTo>
                    <a:pt x="821" y="363"/>
                    <a:pt x="826" y="363"/>
                    <a:pt x="828" y="364"/>
                  </a:cubicBezTo>
                  <a:cubicBezTo>
                    <a:pt x="833" y="360"/>
                    <a:pt x="828" y="362"/>
                    <a:pt x="828" y="355"/>
                  </a:cubicBezTo>
                  <a:cubicBezTo>
                    <a:pt x="837" y="363"/>
                    <a:pt x="829" y="348"/>
                    <a:pt x="839" y="350"/>
                  </a:cubicBezTo>
                  <a:cubicBezTo>
                    <a:pt x="838" y="356"/>
                    <a:pt x="834" y="360"/>
                    <a:pt x="839" y="364"/>
                  </a:cubicBezTo>
                  <a:cubicBezTo>
                    <a:pt x="851" y="363"/>
                    <a:pt x="864" y="362"/>
                    <a:pt x="875" y="364"/>
                  </a:cubicBezTo>
                  <a:cubicBezTo>
                    <a:pt x="873" y="357"/>
                    <a:pt x="881" y="359"/>
                    <a:pt x="883" y="356"/>
                  </a:cubicBezTo>
                  <a:cubicBezTo>
                    <a:pt x="884" y="362"/>
                    <a:pt x="887" y="366"/>
                    <a:pt x="894" y="366"/>
                  </a:cubicBezTo>
                  <a:cubicBezTo>
                    <a:pt x="894" y="365"/>
                    <a:pt x="895" y="360"/>
                    <a:pt x="897" y="361"/>
                  </a:cubicBezTo>
                  <a:cubicBezTo>
                    <a:pt x="898" y="361"/>
                    <a:pt x="896" y="365"/>
                    <a:pt x="897" y="366"/>
                  </a:cubicBezTo>
                  <a:cubicBezTo>
                    <a:pt x="900" y="367"/>
                    <a:pt x="905" y="364"/>
                    <a:pt x="908" y="365"/>
                  </a:cubicBezTo>
                  <a:cubicBezTo>
                    <a:pt x="908" y="366"/>
                    <a:pt x="908" y="368"/>
                    <a:pt x="908" y="368"/>
                  </a:cubicBezTo>
                  <a:cubicBezTo>
                    <a:pt x="915" y="368"/>
                    <a:pt x="927" y="366"/>
                    <a:pt x="935" y="367"/>
                  </a:cubicBezTo>
                  <a:cubicBezTo>
                    <a:pt x="939" y="368"/>
                    <a:pt x="939" y="370"/>
                    <a:pt x="941" y="367"/>
                  </a:cubicBezTo>
                  <a:cubicBezTo>
                    <a:pt x="943" y="365"/>
                    <a:pt x="958" y="367"/>
                    <a:pt x="960" y="367"/>
                  </a:cubicBezTo>
                  <a:cubicBezTo>
                    <a:pt x="964" y="366"/>
                    <a:pt x="963" y="364"/>
                    <a:pt x="966" y="367"/>
                  </a:cubicBezTo>
                  <a:cubicBezTo>
                    <a:pt x="968" y="370"/>
                    <a:pt x="980" y="364"/>
                    <a:pt x="982" y="367"/>
                  </a:cubicBezTo>
                  <a:cubicBezTo>
                    <a:pt x="986" y="361"/>
                    <a:pt x="975" y="358"/>
                    <a:pt x="982" y="357"/>
                  </a:cubicBezTo>
                  <a:cubicBezTo>
                    <a:pt x="988" y="362"/>
                    <a:pt x="987" y="365"/>
                    <a:pt x="990" y="366"/>
                  </a:cubicBezTo>
                  <a:cubicBezTo>
                    <a:pt x="988" y="365"/>
                    <a:pt x="995" y="358"/>
                    <a:pt x="993" y="366"/>
                  </a:cubicBezTo>
                  <a:cubicBezTo>
                    <a:pt x="1002" y="368"/>
                    <a:pt x="1002" y="363"/>
                    <a:pt x="1007" y="361"/>
                  </a:cubicBezTo>
                  <a:cubicBezTo>
                    <a:pt x="1006" y="361"/>
                    <a:pt x="1009" y="364"/>
                    <a:pt x="1011" y="362"/>
                  </a:cubicBezTo>
                  <a:cubicBezTo>
                    <a:pt x="1008" y="367"/>
                    <a:pt x="1012" y="366"/>
                    <a:pt x="1018" y="366"/>
                  </a:cubicBezTo>
                  <a:cubicBezTo>
                    <a:pt x="1020" y="366"/>
                    <a:pt x="1020" y="368"/>
                    <a:pt x="1020" y="368"/>
                  </a:cubicBezTo>
                  <a:cubicBezTo>
                    <a:pt x="1028" y="369"/>
                    <a:pt x="1040" y="368"/>
                    <a:pt x="1042" y="365"/>
                  </a:cubicBezTo>
                  <a:cubicBezTo>
                    <a:pt x="1042" y="368"/>
                    <a:pt x="1044" y="367"/>
                    <a:pt x="1045" y="368"/>
                  </a:cubicBezTo>
                  <a:cubicBezTo>
                    <a:pt x="1045" y="368"/>
                    <a:pt x="1049" y="370"/>
                    <a:pt x="1048" y="370"/>
                  </a:cubicBezTo>
                  <a:cubicBezTo>
                    <a:pt x="1058" y="372"/>
                    <a:pt x="1076" y="367"/>
                    <a:pt x="1078" y="367"/>
                  </a:cubicBezTo>
                  <a:cubicBezTo>
                    <a:pt x="1081" y="367"/>
                    <a:pt x="1082" y="369"/>
                    <a:pt x="1086" y="369"/>
                  </a:cubicBezTo>
                  <a:cubicBezTo>
                    <a:pt x="1087" y="369"/>
                    <a:pt x="1086" y="367"/>
                    <a:pt x="1089" y="367"/>
                  </a:cubicBezTo>
                  <a:cubicBezTo>
                    <a:pt x="1090" y="367"/>
                    <a:pt x="1089" y="370"/>
                    <a:pt x="1092" y="369"/>
                  </a:cubicBezTo>
                  <a:cubicBezTo>
                    <a:pt x="1091" y="369"/>
                    <a:pt x="1094" y="367"/>
                    <a:pt x="1095" y="367"/>
                  </a:cubicBezTo>
                  <a:cubicBezTo>
                    <a:pt x="1097" y="366"/>
                    <a:pt x="1099" y="365"/>
                    <a:pt x="1100" y="362"/>
                  </a:cubicBezTo>
                  <a:cubicBezTo>
                    <a:pt x="1097" y="362"/>
                    <a:pt x="1096" y="360"/>
                    <a:pt x="1094" y="357"/>
                  </a:cubicBezTo>
                  <a:cubicBezTo>
                    <a:pt x="1098" y="357"/>
                    <a:pt x="1100" y="356"/>
                    <a:pt x="1103" y="355"/>
                  </a:cubicBezTo>
                  <a:cubicBezTo>
                    <a:pt x="1105" y="362"/>
                    <a:pt x="1105" y="359"/>
                    <a:pt x="1103" y="367"/>
                  </a:cubicBezTo>
                  <a:cubicBezTo>
                    <a:pt x="1112" y="371"/>
                    <a:pt x="1115" y="365"/>
                    <a:pt x="1127" y="366"/>
                  </a:cubicBezTo>
                  <a:cubicBezTo>
                    <a:pt x="1131" y="365"/>
                    <a:pt x="1128" y="357"/>
                    <a:pt x="1133" y="357"/>
                  </a:cubicBezTo>
                  <a:cubicBezTo>
                    <a:pt x="1132" y="364"/>
                    <a:pt x="1133" y="370"/>
                    <a:pt x="1141" y="368"/>
                  </a:cubicBezTo>
                  <a:cubicBezTo>
                    <a:pt x="1143" y="364"/>
                    <a:pt x="1133" y="359"/>
                    <a:pt x="1141" y="357"/>
                  </a:cubicBezTo>
                  <a:cubicBezTo>
                    <a:pt x="1145" y="359"/>
                    <a:pt x="1144" y="366"/>
                    <a:pt x="1152" y="366"/>
                  </a:cubicBezTo>
                  <a:cubicBezTo>
                    <a:pt x="1152" y="363"/>
                    <a:pt x="1153" y="360"/>
                    <a:pt x="1158" y="361"/>
                  </a:cubicBezTo>
                  <a:cubicBezTo>
                    <a:pt x="1158" y="357"/>
                    <a:pt x="1157" y="353"/>
                    <a:pt x="1163" y="354"/>
                  </a:cubicBezTo>
                  <a:cubicBezTo>
                    <a:pt x="1167" y="363"/>
                    <a:pt x="1155" y="359"/>
                    <a:pt x="1158" y="366"/>
                  </a:cubicBezTo>
                  <a:cubicBezTo>
                    <a:pt x="1172" y="369"/>
                    <a:pt x="1165" y="355"/>
                    <a:pt x="1174" y="354"/>
                  </a:cubicBezTo>
                  <a:cubicBezTo>
                    <a:pt x="1182" y="360"/>
                    <a:pt x="1176" y="360"/>
                    <a:pt x="1174" y="368"/>
                  </a:cubicBezTo>
                  <a:cubicBezTo>
                    <a:pt x="1185" y="370"/>
                    <a:pt x="1191" y="370"/>
                    <a:pt x="1199" y="365"/>
                  </a:cubicBezTo>
                  <a:cubicBezTo>
                    <a:pt x="1202" y="369"/>
                    <a:pt x="1216" y="362"/>
                    <a:pt x="1221" y="367"/>
                  </a:cubicBezTo>
                  <a:cubicBezTo>
                    <a:pt x="1221" y="365"/>
                    <a:pt x="1221" y="362"/>
                    <a:pt x="1223" y="362"/>
                  </a:cubicBezTo>
                  <a:cubicBezTo>
                    <a:pt x="1223" y="364"/>
                    <a:pt x="1223" y="365"/>
                    <a:pt x="1223" y="367"/>
                  </a:cubicBezTo>
                  <a:cubicBezTo>
                    <a:pt x="1233" y="362"/>
                    <a:pt x="1233" y="372"/>
                    <a:pt x="1240" y="367"/>
                  </a:cubicBezTo>
                  <a:cubicBezTo>
                    <a:pt x="1240" y="363"/>
                    <a:pt x="1239" y="359"/>
                    <a:pt x="1237" y="357"/>
                  </a:cubicBezTo>
                  <a:cubicBezTo>
                    <a:pt x="1242" y="358"/>
                    <a:pt x="1243" y="355"/>
                    <a:pt x="1248" y="355"/>
                  </a:cubicBezTo>
                  <a:cubicBezTo>
                    <a:pt x="1247" y="358"/>
                    <a:pt x="1244" y="359"/>
                    <a:pt x="1243" y="362"/>
                  </a:cubicBezTo>
                  <a:cubicBezTo>
                    <a:pt x="1252" y="364"/>
                    <a:pt x="1246" y="352"/>
                    <a:pt x="1256" y="355"/>
                  </a:cubicBezTo>
                  <a:cubicBezTo>
                    <a:pt x="1255" y="359"/>
                    <a:pt x="1250" y="361"/>
                    <a:pt x="1251" y="367"/>
                  </a:cubicBezTo>
                  <a:cubicBezTo>
                    <a:pt x="1261" y="366"/>
                    <a:pt x="1261" y="363"/>
                    <a:pt x="1270" y="366"/>
                  </a:cubicBezTo>
                  <a:cubicBezTo>
                    <a:pt x="1284" y="364"/>
                    <a:pt x="1292" y="371"/>
                    <a:pt x="1298" y="363"/>
                  </a:cubicBezTo>
                  <a:cubicBezTo>
                    <a:pt x="1302" y="371"/>
                    <a:pt x="1312" y="359"/>
                    <a:pt x="1317" y="365"/>
                  </a:cubicBezTo>
                  <a:cubicBezTo>
                    <a:pt x="1315" y="360"/>
                    <a:pt x="1314" y="356"/>
                    <a:pt x="1319" y="351"/>
                  </a:cubicBezTo>
                  <a:cubicBezTo>
                    <a:pt x="1324" y="356"/>
                    <a:pt x="1318" y="356"/>
                    <a:pt x="1319" y="363"/>
                  </a:cubicBezTo>
                  <a:cubicBezTo>
                    <a:pt x="1328" y="365"/>
                    <a:pt x="1324" y="358"/>
                    <a:pt x="1325" y="353"/>
                  </a:cubicBezTo>
                  <a:cubicBezTo>
                    <a:pt x="1329" y="353"/>
                    <a:pt x="1336" y="345"/>
                    <a:pt x="1338" y="351"/>
                  </a:cubicBezTo>
                  <a:cubicBezTo>
                    <a:pt x="1334" y="351"/>
                    <a:pt x="1331" y="353"/>
                    <a:pt x="1330" y="356"/>
                  </a:cubicBezTo>
                  <a:cubicBezTo>
                    <a:pt x="1340" y="356"/>
                    <a:pt x="1325" y="364"/>
                    <a:pt x="1333" y="363"/>
                  </a:cubicBezTo>
                  <a:cubicBezTo>
                    <a:pt x="1337" y="358"/>
                    <a:pt x="1343" y="365"/>
                    <a:pt x="1350" y="360"/>
                  </a:cubicBezTo>
                  <a:cubicBezTo>
                    <a:pt x="1353" y="365"/>
                    <a:pt x="1369" y="361"/>
                    <a:pt x="1377" y="362"/>
                  </a:cubicBezTo>
                  <a:cubicBezTo>
                    <a:pt x="1378" y="358"/>
                    <a:pt x="1374" y="348"/>
                    <a:pt x="1379" y="348"/>
                  </a:cubicBezTo>
                  <a:cubicBezTo>
                    <a:pt x="1389" y="350"/>
                    <a:pt x="1381" y="352"/>
                    <a:pt x="1382" y="360"/>
                  </a:cubicBezTo>
                  <a:cubicBezTo>
                    <a:pt x="1388" y="358"/>
                    <a:pt x="1401" y="362"/>
                    <a:pt x="1402" y="357"/>
                  </a:cubicBezTo>
                  <a:cubicBezTo>
                    <a:pt x="1399" y="356"/>
                    <a:pt x="1395" y="353"/>
                    <a:pt x="1399" y="352"/>
                  </a:cubicBezTo>
                  <a:cubicBezTo>
                    <a:pt x="1401" y="355"/>
                    <a:pt x="1409" y="353"/>
                    <a:pt x="1407" y="359"/>
                  </a:cubicBezTo>
                  <a:cubicBezTo>
                    <a:pt x="1418" y="359"/>
                    <a:pt x="1409" y="352"/>
                    <a:pt x="1415" y="357"/>
                  </a:cubicBezTo>
                  <a:cubicBezTo>
                    <a:pt x="1421" y="361"/>
                    <a:pt x="1422" y="357"/>
                    <a:pt x="1426" y="356"/>
                  </a:cubicBezTo>
                  <a:cubicBezTo>
                    <a:pt x="1438" y="354"/>
                    <a:pt x="1439" y="354"/>
                    <a:pt x="1446" y="358"/>
                  </a:cubicBezTo>
                  <a:cubicBezTo>
                    <a:pt x="1446" y="355"/>
                    <a:pt x="1445" y="350"/>
                    <a:pt x="1451" y="351"/>
                  </a:cubicBezTo>
                  <a:cubicBezTo>
                    <a:pt x="1451" y="347"/>
                    <a:pt x="1448" y="346"/>
                    <a:pt x="1448" y="342"/>
                  </a:cubicBezTo>
                  <a:cubicBezTo>
                    <a:pt x="1451" y="342"/>
                    <a:pt x="1454" y="342"/>
                    <a:pt x="1456" y="342"/>
                  </a:cubicBezTo>
                  <a:cubicBezTo>
                    <a:pt x="1457" y="346"/>
                    <a:pt x="1453" y="347"/>
                    <a:pt x="1454" y="351"/>
                  </a:cubicBezTo>
                  <a:cubicBezTo>
                    <a:pt x="1460" y="350"/>
                    <a:pt x="1464" y="352"/>
                    <a:pt x="1465" y="356"/>
                  </a:cubicBezTo>
                  <a:cubicBezTo>
                    <a:pt x="1473" y="356"/>
                    <a:pt x="1481" y="355"/>
                    <a:pt x="1489" y="355"/>
                  </a:cubicBezTo>
                  <a:cubicBezTo>
                    <a:pt x="1492" y="353"/>
                    <a:pt x="1494" y="347"/>
                    <a:pt x="1497" y="346"/>
                  </a:cubicBezTo>
                  <a:cubicBezTo>
                    <a:pt x="1502" y="345"/>
                    <a:pt x="1504" y="349"/>
                    <a:pt x="1508" y="348"/>
                  </a:cubicBezTo>
                  <a:cubicBezTo>
                    <a:pt x="1508" y="343"/>
                    <a:pt x="1509" y="339"/>
                    <a:pt x="1514" y="338"/>
                  </a:cubicBezTo>
                  <a:cubicBezTo>
                    <a:pt x="1515" y="346"/>
                    <a:pt x="1508" y="348"/>
                    <a:pt x="1514" y="352"/>
                  </a:cubicBezTo>
                  <a:cubicBezTo>
                    <a:pt x="1526" y="355"/>
                    <a:pt x="1523" y="344"/>
                    <a:pt x="1533" y="345"/>
                  </a:cubicBezTo>
                  <a:cubicBezTo>
                    <a:pt x="1534" y="347"/>
                    <a:pt x="1533" y="350"/>
                    <a:pt x="1536" y="350"/>
                  </a:cubicBezTo>
                  <a:cubicBezTo>
                    <a:pt x="1539" y="350"/>
                    <a:pt x="1540" y="353"/>
                    <a:pt x="1541" y="350"/>
                  </a:cubicBezTo>
                  <a:cubicBezTo>
                    <a:pt x="1537" y="349"/>
                    <a:pt x="1543" y="344"/>
                    <a:pt x="1541" y="340"/>
                  </a:cubicBezTo>
                  <a:cubicBezTo>
                    <a:pt x="1541" y="339"/>
                    <a:pt x="1533" y="341"/>
                    <a:pt x="1536" y="336"/>
                  </a:cubicBezTo>
                  <a:cubicBezTo>
                    <a:pt x="1540" y="336"/>
                    <a:pt x="1545" y="336"/>
                    <a:pt x="1549" y="335"/>
                  </a:cubicBezTo>
                  <a:cubicBezTo>
                    <a:pt x="1553" y="343"/>
                    <a:pt x="1552" y="345"/>
                    <a:pt x="1547" y="350"/>
                  </a:cubicBezTo>
                  <a:cubicBezTo>
                    <a:pt x="1555" y="349"/>
                    <a:pt x="1563" y="349"/>
                    <a:pt x="1572" y="349"/>
                  </a:cubicBezTo>
                  <a:cubicBezTo>
                    <a:pt x="1573" y="346"/>
                    <a:pt x="1574" y="344"/>
                    <a:pt x="1577" y="342"/>
                  </a:cubicBezTo>
                  <a:cubicBezTo>
                    <a:pt x="1579" y="353"/>
                    <a:pt x="1592" y="340"/>
                    <a:pt x="1599" y="346"/>
                  </a:cubicBezTo>
                  <a:cubicBezTo>
                    <a:pt x="1600" y="345"/>
                    <a:pt x="1599" y="342"/>
                    <a:pt x="1602" y="342"/>
                  </a:cubicBezTo>
                  <a:cubicBezTo>
                    <a:pt x="1604" y="345"/>
                    <a:pt x="1609" y="340"/>
                    <a:pt x="1615" y="344"/>
                  </a:cubicBezTo>
                  <a:cubicBezTo>
                    <a:pt x="1619" y="338"/>
                    <a:pt x="1617" y="328"/>
                    <a:pt x="1626" y="327"/>
                  </a:cubicBezTo>
                  <a:cubicBezTo>
                    <a:pt x="1629" y="330"/>
                    <a:pt x="1629" y="336"/>
                    <a:pt x="1632" y="339"/>
                  </a:cubicBezTo>
                  <a:cubicBezTo>
                    <a:pt x="1628" y="339"/>
                    <a:pt x="1623" y="329"/>
                    <a:pt x="1624" y="339"/>
                  </a:cubicBezTo>
                  <a:cubicBezTo>
                    <a:pt x="1627" y="342"/>
                    <a:pt x="1633" y="343"/>
                    <a:pt x="1640" y="343"/>
                  </a:cubicBezTo>
                  <a:cubicBezTo>
                    <a:pt x="1640" y="340"/>
                    <a:pt x="1639" y="335"/>
                    <a:pt x="1643" y="334"/>
                  </a:cubicBezTo>
                  <a:cubicBezTo>
                    <a:pt x="1642" y="340"/>
                    <a:pt x="1647" y="341"/>
                    <a:pt x="1651" y="343"/>
                  </a:cubicBezTo>
                  <a:cubicBezTo>
                    <a:pt x="1651" y="340"/>
                    <a:pt x="1656" y="341"/>
                    <a:pt x="1656" y="338"/>
                  </a:cubicBezTo>
                  <a:cubicBezTo>
                    <a:pt x="1655" y="338"/>
                    <a:pt x="1653" y="336"/>
                    <a:pt x="1656" y="336"/>
                  </a:cubicBezTo>
                  <a:cubicBezTo>
                    <a:pt x="1662" y="335"/>
                    <a:pt x="1663" y="338"/>
                    <a:pt x="1667" y="338"/>
                  </a:cubicBezTo>
                  <a:cubicBezTo>
                    <a:pt x="1667" y="338"/>
                    <a:pt x="1669" y="334"/>
                    <a:pt x="1670" y="333"/>
                  </a:cubicBezTo>
                  <a:cubicBezTo>
                    <a:pt x="1670" y="333"/>
                    <a:pt x="1678" y="338"/>
                    <a:pt x="1681" y="336"/>
                  </a:cubicBezTo>
                  <a:cubicBezTo>
                    <a:pt x="1682" y="330"/>
                    <a:pt x="1676" y="330"/>
                    <a:pt x="1678" y="324"/>
                  </a:cubicBezTo>
                  <a:cubicBezTo>
                    <a:pt x="1682" y="323"/>
                    <a:pt x="1683" y="320"/>
                    <a:pt x="1686" y="319"/>
                  </a:cubicBezTo>
                  <a:cubicBezTo>
                    <a:pt x="1686" y="322"/>
                    <a:pt x="1691" y="321"/>
                    <a:pt x="1692" y="324"/>
                  </a:cubicBezTo>
                  <a:cubicBezTo>
                    <a:pt x="1681" y="324"/>
                    <a:pt x="1694" y="328"/>
                    <a:pt x="1695" y="331"/>
                  </a:cubicBezTo>
                  <a:cubicBezTo>
                    <a:pt x="1695" y="330"/>
                    <a:pt x="1687" y="343"/>
                    <a:pt x="1695" y="340"/>
                  </a:cubicBezTo>
                  <a:cubicBezTo>
                    <a:pt x="1694" y="335"/>
                    <a:pt x="1705" y="339"/>
                    <a:pt x="1709" y="337"/>
                  </a:cubicBezTo>
                  <a:cubicBezTo>
                    <a:pt x="1709" y="335"/>
                    <a:pt x="1712" y="334"/>
                    <a:pt x="1714" y="333"/>
                  </a:cubicBezTo>
                  <a:cubicBezTo>
                    <a:pt x="1714" y="335"/>
                    <a:pt x="1715" y="338"/>
                    <a:pt x="1720" y="337"/>
                  </a:cubicBezTo>
                  <a:cubicBezTo>
                    <a:pt x="1716" y="330"/>
                    <a:pt x="1728" y="335"/>
                    <a:pt x="1725" y="328"/>
                  </a:cubicBezTo>
                  <a:cubicBezTo>
                    <a:pt x="1721" y="327"/>
                    <a:pt x="1715" y="329"/>
                    <a:pt x="1714" y="326"/>
                  </a:cubicBezTo>
                  <a:cubicBezTo>
                    <a:pt x="1717" y="322"/>
                    <a:pt x="1718" y="318"/>
                    <a:pt x="1722" y="316"/>
                  </a:cubicBezTo>
                  <a:cubicBezTo>
                    <a:pt x="1718" y="324"/>
                    <a:pt x="1731" y="317"/>
                    <a:pt x="1730" y="323"/>
                  </a:cubicBezTo>
                  <a:cubicBezTo>
                    <a:pt x="1727" y="323"/>
                    <a:pt x="1727" y="329"/>
                    <a:pt x="1730" y="330"/>
                  </a:cubicBezTo>
                  <a:cubicBezTo>
                    <a:pt x="1734" y="325"/>
                    <a:pt x="1735" y="318"/>
                    <a:pt x="1744" y="318"/>
                  </a:cubicBezTo>
                  <a:cubicBezTo>
                    <a:pt x="1741" y="323"/>
                    <a:pt x="1735" y="326"/>
                    <a:pt x="1733" y="332"/>
                  </a:cubicBezTo>
                  <a:cubicBezTo>
                    <a:pt x="1748" y="334"/>
                    <a:pt x="1742" y="318"/>
                    <a:pt x="1760" y="322"/>
                  </a:cubicBezTo>
                  <a:cubicBezTo>
                    <a:pt x="1767" y="320"/>
                    <a:pt x="1754" y="312"/>
                    <a:pt x="1763" y="308"/>
                  </a:cubicBezTo>
                  <a:cubicBezTo>
                    <a:pt x="1759" y="319"/>
                    <a:pt x="1769" y="319"/>
                    <a:pt x="1774" y="322"/>
                  </a:cubicBezTo>
                  <a:cubicBezTo>
                    <a:pt x="1773" y="327"/>
                    <a:pt x="1760" y="323"/>
                    <a:pt x="1763" y="332"/>
                  </a:cubicBezTo>
                  <a:cubicBezTo>
                    <a:pt x="1770" y="333"/>
                    <a:pt x="1769" y="327"/>
                    <a:pt x="1777" y="329"/>
                  </a:cubicBezTo>
                  <a:cubicBezTo>
                    <a:pt x="1776" y="324"/>
                    <a:pt x="1779" y="322"/>
                    <a:pt x="1785" y="322"/>
                  </a:cubicBezTo>
                  <a:cubicBezTo>
                    <a:pt x="1783" y="330"/>
                    <a:pt x="1790" y="330"/>
                    <a:pt x="1796" y="331"/>
                  </a:cubicBezTo>
                  <a:cubicBezTo>
                    <a:pt x="1793" y="321"/>
                    <a:pt x="1802" y="324"/>
                    <a:pt x="1807" y="322"/>
                  </a:cubicBezTo>
                  <a:cubicBezTo>
                    <a:pt x="1809" y="320"/>
                    <a:pt x="1810" y="315"/>
                    <a:pt x="1815" y="317"/>
                  </a:cubicBezTo>
                  <a:cubicBezTo>
                    <a:pt x="1818" y="323"/>
                    <a:pt x="1811" y="323"/>
                    <a:pt x="1813" y="329"/>
                  </a:cubicBezTo>
                  <a:cubicBezTo>
                    <a:pt x="1818" y="329"/>
                    <a:pt x="1817" y="327"/>
                    <a:pt x="1818" y="324"/>
                  </a:cubicBezTo>
                  <a:cubicBezTo>
                    <a:pt x="1818" y="323"/>
                    <a:pt x="1821" y="324"/>
                    <a:pt x="1821" y="324"/>
                  </a:cubicBezTo>
                  <a:cubicBezTo>
                    <a:pt x="1822" y="321"/>
                    <a:pt x="1820" y="317"/>
                    <a:pt x="1821" y="314"/>
                  </a:cubicBezTo>
                  <a:cubicBezTo>
                    <a:pt x="1822" y="303"/>
                    <a:pt x="1828" y="308"/>
                    <a:pt x="1823" y="314"/>
                  </a:cubicBezTo>
                  <a:cubicBezTo>
                    <a:pt x="1834" y="316"/>
                    <a:pt x="1825" y="302"/>
                    <a:pt x="1837" y="305"/>
                  </a:cubicBezTo>
                  <a:cubicBezTo>
                    <a:pt x="1834" y="311"/>
                    <a:pt x="1833" y="322"/>
                    <a:pt x="1843" y="323"/>
                  </a:cubicBezTo>
                  <a:cubicBezTo>
                    <a:pt x="1849" y="318"/>
                    <a:pt x="1839" y="319"/>
                    <a:pt x="1840" y="312"/>
                  </a:cubicBezTo>
                  <a:cubicBezTo>
                    <a:pt x="1843" y="312"/>
                    <a:pt x="1844" y="315"/>
                    <a:pt x="1848" y="314"/>
                  </a:cubicBezTo>
                  <a:cubicBezTo>
                    <a:pt x="1853" y="308"/>
                    <a:pt x="1844" y="304"/>
                    <a:pt x="1851" y="300"/>
                  </a:cubicBezTo>
                  <a:cubicBezTo>
                    <a:pt x="1858" y="309"/>
                    <a:pt x="1841" y="322"/>
                    <a:pt x="1854" y="328"/>
                  </a:cubicBezTo>
                  <a:cubicBezTo>
                    <a:pt x="1853" y="321"/>
                    <a:pt x="1854" y="316"/>
                    <a:pt x="1859" y="314"/>
                  </a:cubicBezTo>
                  <a:cubicBezTo>
                    <a:pt x="1868" y="315"/>
                    <a:pt x="1866" y="307"/>
                    <a:pt x="1873" y="306"/>
                  </a:cubicBezTo>
                  <a:cubicBezTo>
                    <a:pt x="1875" y="314"/>
                    <a:pt x="1870" y="316"/>
                    <a:pt x="1867" y="320"/>
                  </a:cubicBezTo>
                  <a:cubicBezTo>
                    <a:pt x="1878" y="323"/>
                    <a:pt x="1872" y="312"/>
                    <a:pt x="1881" y="313"/>
                  </a:cubicBezTo>
                  <a:cubicBezTo>
                    <a:pt x="1881" y="316"/>
                    <a:pt x="1878" y="317"/>
                    <a:pt x="1878" y="320"/>
                  </a:cubicBezTo>
                  <a:cubicBezTo>
                    <a:pt x="1884" y="321"/>
                    <a:pt x="1884" y="317"/>
                    <a:pt x="1886" y="315"/>
                  </a:cubicBezTo>
                  <a:cubicBezTo>
                    <a:pt x="1891" y="316"/>
                    <a:pt x="1889" y="321"/>
                    <a:pt x="1895" y="320"/>
                  </a:cubicBezTo>
                  <a:cubicBezTo>
                    <a:pt x="1897" y="315"/>
                    <a:pt x="1895" y="308"/>
                    <a:pt x="1903" y="303"/>
                  </a:cubicBezTo>
                  <a:cubicBezTo>
                    <a:pt x="1903" y="307"/>
                    <a:pt x="1904" y="309"/>
                    <a:pt x="1906" y="310"/>
                  </a:cubicBezTo>
                  <a:cubicBezTo>
                    <a:pt x="1895" y="307"/>
                    <a:pt x="1905" y="325"/>
                    <a:pt x="1906" y="325"/>
                  </a:cubicBezTo>
                  <a:cubicBezTo>
                    <a:pt x="1909" y="319"/>
                    <a:pt x="1905" y="320"/>
                    <a:pt x="1908" y="313"/>
                  </a:cubicBezTo>
                  <a:cubicBezTo>
                    <a:pt x="1919" y="315"/>
                    <a:pt x="1916" y="307"/>
                    <a:pt x="1925" y="308"/>
                  </a:cubicBezTo>
                  <a:cubicBezTo>
                    <a:pt x="1929" y="309"/>
                    <a:pt x="1925" y="317"/>
                    <a:pt x="1930" y="317"/>
                  </a:cubicBezTo>
                  <a:cubicBezTo>
                    <a:pt x="1936" y="311"/>
                    <a:pt x="1927" y="306"/>
                    <a:pt x="1933" y="303"/>
                  </a:cubicBezTo>
                  <a:cubicBezTo>
                    <a:pt x="1937" y="303"/>
                    <a:pt x="1935" y="309"/>
                    <a:pt x="1939" y="310"/>
                  </a:cubicBezTo>
                  <a:cubicBezTo>
                    <a:pt x="1939" y="308"/>
                    <a:pt x="1941" y="307"/>
                    <a:pt x="1944" y="307"/>
                  </a:cubicBezTo>
                  <a:cubicBezTo>
                    <a:pt x="1948" y="307"/>
                    <a:pt x="1955" y="298"/>
                    <a:pt x="1949" y="298"/>
                  </a:cubicBezTo>
                  <a:cubicBezTo>
                    <a:pt x="1950" y="303"/>
                    <a:pt x="1941" y="298"/>
                    <a:pt x="1941" y="296"/>
                  </a:cubicBezTo>
                  <a:cubicBezTo>
                    <a:pt x="1952" y="300"/>
                    <a:pt x="1950" y="292"/>
                    <a:pt x="1955" y="295"/>
                  </a:cubicBezTo>
                  <a:cubicBezTo>
                    <a:pt x="1957" y="297"/>
                    <a:pt x="1963" y="294"/>
                    <a:pt x="1966" y="295"/>
                  </a:cubicBezTo>
                  <a:cubicBezTo>
                    <a:pt x="1966" y="293"/>
                    <a:pt x="1966" y="291"/>
                    <a:pt x="1968" y="291"/>
                  </a:cubicBezTo>
                  <a:cubicBezTo>
                    <a:pt x="1968" y="295"/>
                    <a:pt x="1972" y="295"/>
                    <a:pt x="1974" y="297"/>
                  </a:cubicBezTo>
                  <a:cubicBezTo>
                    <a:pt x="1975" y="302"/>
                    <a:pt x="1971" y="303"/>
                    <a:pt x="1971" y="307"/>
                  </a:cubicBezTo>
                  <a:cubicBezTo>
                    <a:pt x="1978" y="311"/>
                    <a:pt x="1992" y="309"/>
                    <a:pt x="1999" y="306"/>
                  </a:cubicBezTo>
                  <a:cubicBezTo>
                    <a:pt x="1999" y="304"/>
                    <a:pt x="1998" y="300"/>
                    <a:pt x="2001" y="299"/>
                  </a:cubicBezTo>
                  <a:cubicBezTo>
                    <a:pt x="2004" y="301"/>
                    <a:pt x="2011" y="310"/>
                    <a:pt x="2013" y="304"/>
                  </a:cubicBezTo>
                  <a:cubicBezTo>
                    <a:pt x="2011" y="304"/>
                    <a:pt x="2009" y="302"/>
                    <a:pt x="2012" y="301"/>
                  </a:cubicBezTo>
                  <a:cubicBezTo>
                    <a:pt x="2013" y="298"/>
                    <a:pt x="2011" y="296"/>
                    <a:pt x="2010" y="295"/>
                  </a:cubicBezTo>
                  <a:cubicBezTo>
                    <a:pt x="2017" y="296"/>
                    <a:pt x="2017" y="291"/>
                    <a:pt x="2023" y="292"/>
                  </a:cubicBezTo>
                  <a:cubicBezTo>
                    <a:pt x="2024" y="298"/>
                    <a:pt x="2019" y="297"/>
                    <a:pt x="2023" y="301"/>
                  </a:cubicBezTo>
                  <a:cubicBezTo>
                    <a:pt x="2021" y="301"/>
                    <a:pt x="2020" y="305"/>
                    <a:pt x="2024" y="306"/>
                  </a:cubicBezTo>
                  <a:cubicBezTo>
                    <a:pt x="2025" y="297"/>
                    <a:pt x="2032" y="305"/>
                    <a:pt x="2034" y="303"/>
                  </a:cubicBezTo>
                  <a:cubicBezTo>
                    <a:pt x="2036" y="303"/>
                    <a:pt x="2034" y="298"/>
                    <a:pt x="2037" y="299"/>
                  </a:cubicBezTo>
                  <a:cubicBezTo>
                    <a:pt x="2037" y="303"/>
                    <a:pt x="2045" y="300"/>
                    <a:pt x="2045" y="303"/>
                  </a:cubicBezTo>
                  <a:cubicBezTo>
                    <a:pt x="2038" y="300"/>
                    <a:pt x="2033" y="310"/>
                    <a:pt x="2040" y="310"/>
                  </a:cubicBezTo>
                  <a:cubicBezTo>
                    <a:pt x="2040" y="304"/>
                    <a:pt x="2048" y="306"/>
                    <a:pt x="2051" y="303"/>
                  </a:cubicBezTo>
                  <a:cubicBezTo>
                    <a:pt x="2053" y="301"/>
                    <a:pt x="2050" y="291"/>
                    <a:pt x="2059" y="294"/>
                  </a:cubicBezTo>
                  <a:cubicBezTo>
                    <a:pt x="2057" y="299"/>
                    <a:pt x="2051" y="301"/>
                    <a:pt x="2051" y="308"/>
                  </a:cubicBezTo>
                  <a:cubicBezTo>
                    <a:pt x="2061" y="307"/>
                    <a:pt x="2062" y="299"/>
                    <a:pt x="2073" y="298"/>
                  </a:cubicBezTo>
                  <a:cubicBezTo>
                    <a:pt x="2072" y="294"/>
                    <a:pt x="2064" y="279"/>
                    <a:pt x="2075" y="279"/>
                  </a:cubicBezTo>
                  <a:cubicBezTo>
                    <a:pt x="2072" y="288"/>
                    <a:pt x="2072" y="298"/>
                    <a:pt x="2084" y="303"/>
                  </a:cubicBezTo>
                  <a:cubicBezTo>
                    <a:pt x="2085" y="299"/>
                    <a:pt x="2080" y="297"/>
                    <a:pt x="2084" y="296"/>
                  </a:cubicBezTo>
                  <a:cubicBezTo>
                    <a:pt x="2090" y="299"/>
                    <a:pt x="2088" y="301"/>
                    <a:pt x="2087" y="307"/>
                  </a:cubicBezTo>
                  <a:cubicBezTo>
                    <a:pt x="2095" y="308"/>
                    <a:pt x="2096" y="298"/>
                    <a:pt x="2103" y="305"/>
                  </a:cubicBezTo>
                  <a:cubicBezTo>
                    <a:pt x="2102" y="295"/>
                    <a:pt x="2109" y="303"/>
                    <a:pt x="2114" y="302"/>
                  </a:cubicBezTo>
                  <a:cubicBezTo>
                    <a:pt x="2115" y="299"/>
                    <a:pt x="2118" y="298"/>
                    <a:pt x="2117" y="293"/>
                  </a:cubicBezTo>
                  <a:cubicBezTo>
                    <a:pt x="2122" y="293"/>
                    <a:pt x="2122" y="289"/>
                    <a:pt x="2125" y="288"/>
                  </a:cubicBezTo>
                  <a:cubicBezTo>
                    <a:pt x="2124" y="293"/>
                    <a:pt x="2119" y="301"/>
                    <a:pt x="2128" y="302"/>
                  </a:cubicBezTo>
                  <a:cubicBezTo>
                    <a:pt x="2128" y="300"/>
                    <a:pt x="2128" y="297"/>
                    <a:pt x="2130" y="297"/>
                  </a:cubicBezTo>
                  <a:cubicBezTo>
                    <a:pt x="2127" y="305"/>
                    <a:pt x="2139" y="299"/>
                    <a:pt x="2136" y="306"/>
                  </a:cubicBezTo>
                  <a:cubicBezTo>
                    <a:pt x="2135" y="306"/>
                    <a:pt x="2133" y="308"/>
                    <a:pt x="2136" y="309"/>
                  </a:cubicBezTo>
                  <a:cubicBezTo>
                    <a:pt x="2137" y="306"/>
                    <a:pt x="2140" y="304"/>
                    <a:pt x="2139" y="299"/>
                  </a:cubicBezTo>
                  <a:cubicBezTo>
                    <a:pt x="2146" y="298"/>
                    <a:pt x="2149" y="288"/>
                    <a:pt x="2152" y="285"/>
                  </a:cubicBezTo>
                  <a:cubicBezTo>
                    <a:pt x="2154" y="292"/>
                    <a:pt x="2154" y="289"/>
                    <a:pt x="2152" y="297"/>
                  </a:cubicBezTo>
                  <a:cubicBezTo>
                    <a:pt x="2166" y="292"/>
                    <a:pt x="2160" y="304"/>
                    <a:pt x="2169" y="303"/>
                  </a:cubicBezTo>
                  <a:cubicBezTo>
                    <a:pt x="2175" y="311"/>
                    <a:pt x="2170" y="295"/>
                    <a:pt x="2174" y="294"/>
                  </a:cubicBezTo>
                  <a:cubicBezTo>
                    <a:pt x="2176" y="294"/>
                    <a:pt x="2179" y="297"/>
                    <a:pt x="2180" y="296"/>
                  </a:cubicBezTo>
                  <a:cubicBezTo>
                    <a:pt x="2182" y="294"/>
                    <a:pt x="2177" y="287"/>
                    <a:pt x="2182" y="287"/>
                  </a:cubicBezTo>
                  <a:cubicBezTo>
                    <a:pt x="2187" y="286"/>
                    <a:pt x="2184" y="294"/>
                    <a:pt x="2188" y="294"/>
                  </a:cubicBezTo>
                  <a:cubicBezTo>
                    <a:pt x="2189" y="285"/>
                    <a:pt x="2188" y="282"/>
                    <a:pt x="2190" y="280"/>
                  </a:cubicBezTo>
                  <a:cubicBezTo>
                    <a:pt x="2201" y="287"/>
                    <a:pt x="2186" y="293"/>
                    <a:pt x="2193" y="294"/>
                  </a:cubicBezTo>
                  <a:cubicBezTo>
                    <a:pt x="2200" y="294"/>
                    <a:pt x="2195" y="303"/>
                    <a:pt x="2196" y="305"/>
                  </a:cubicBezTo>
                  <a:cubicBezTo>
                    <a:pt x="2208" y="306"/>
                    <a:pt x="2196" y="302"/>
                    <a:pt x="2199" y="296"/>
                  </a:cubicBezTo>
                  <a:cubicBezTo>
                    <a:pt x="2205" y="293"/>
                    <a:pt x="2206" y="296"/>
                    <a:pt x="2213" y="291"/>
                  </a:cubicBezTo>
                  <a:cubicBezTo>
                    <a:pt x="2218" y="293"/>
                    <a:pt x="2212" y="304"/>
                    <a:pt x="2218" y="305"/>
                  </a:cubicBezTo>
                  <a:cubicBezTo>
                    <a:pt x="2219" y="299"/>
                    <a:pt x="2223" y="297"/>
                    <a:pt x="2226" y="293"/>
                  </a:cubicBezTo>
                  <a:cubicBezTo>
                    <a:pt x="2227" y="299"/>
                    <a:pt x="2231" y="290"/>
                    <a:pt x="2237" y="293"/>
                  </a:cubicBezTo>
                  <a:cubicBezTo>
                    <a:pt x="2244" y="290"/>
                    <a:pt x="2232" y="284"/>
                    <a:pt x="2240" y="281"/>
                  </a:cubicBezTo>
                  <a:cubicBezTo>
                    <a:pt x="2243" y="281"/>
                    <a:pt x="2242" y="285"/>
                    <a:pt x="2245" y="286"/>
                  </a:cubicBezTo>
                  <a:cubicBezTo>
                    <a:pt x="2253" y="281"/>
                    <a:pt x="2242" y="274"/>
                    <a:pt x="2248" y="274"/>
                  </a:cubicBezTo>
                  <a:cubicBezTo>
                    <a:pt x="2250" y="274"/>
                    <a:pt x="2252" y="274"/>
                    <a:pt x="2253" y="274"/>
                  </a:cubicBezTo>
                  <a:cubicBezTo>
                    <a:pt x="2250" y="277"/>
                    <a:pt x="2250" y="280"/>
                    <a:pt x="2254" y="283"/>
                  </a:cubicBezTo>
                  <a:cubicBezTo>
                    <a:pt x="2250" y="286"/>
                    <a:pt x="2245" y="287"/>
                    <a:pt x="2243" y="290"/>
                  </a:cubicBezTo>
                  <a:cubicBezTo>
                    <a:pt x="2247" y="290"/>
                    <a:pt x="2252" y="290"/>
                    <a:pt x="2257" y="290"/>
                  </a:cubicBezTo>
                  <a:cubicBezTo>
                    <a:pt x="2256" y="296"/>
                    <a:pt x="2257" y="299"/>
                    <a:pt x="2262" y="300"/>
                  </a:cubicBezTo>
                  <a:cubicBezTo>
                    <a:pt x="2263" y="295"/>
                    <a:pt x="2259" y="288"/>
                    <a:pt x="2267" y="290"/>
                  </a:cubicBezTo>
                  <a:cubicBezTo>
                    <a:pt x="2268" y="293"/>
                    <a:pt x="2264" y="294"/>
                    <a:pt x="2268" y="295"/>
                  </a:cubicBezTo>
                  <a:cubicBezTo>
                    <a:pt x="2272" y="288"/>
                    <a:pt x="2276" y="301"/>
                    <a:pt x="2281" y="302"/>
                  </a:cubicBezTo>
                  <a:cubicBezTo>
                    <a:pt x="2281" y="295"/>
                    <a:pt x="2280" y="288"/>
                    <a:pt x="2287" y="287"/>
                  </a:cubicBezTo>
                  <a:cubicBezTo>
                    <a:pt x="2287" y="292"/>
                    <a:pt x="2289" y="295"/>
                    <a:pt x="2292" y="297"/>
                  </a:cubicBezTo>
                  <a:cubicBezTo>
                    <a:pt x="2293" y="294"/>
                    <a:pt x="2295" y="295"/>
                    <a:pt x="2298" y="297"/>
                  </a:cubicBezTo>
                  <a:cubicBezTo>
                    <a:pt x="2298" y="294"/>
                    <a:pt x="2297" y="290"/>
                    <a:pt x="2300" y="289"/>
                  </a:cubicBezTo>
                  <a:cubicBezTo>
                    <a:pt x="2303" y="298"/>
                    <a:pt x="2306" y="286"/>
                    <a:pt x="2309" y="287"/>
                  </a:cubicBezTo>
                  <a:cubicBezTo>
                    <a:pt x="2311" y="288"/>
                    <a:pt x="2311" y="294"/>
                    <a:pt x="2314" y="294"/>
                  </a:cubicBezTo>
                  <a:cubicBezTo>
                    <a:pt x="2318" y="288"/>
                    <a:pt x="2307" y="285"/>
                    <a:pt x="2314" y="284"/>
                  </a:cubicBezTo>
                  <a:cubicBezTo>
                    <a:pt x="2321" y="283"/>
                    <a:pt x="2319" y="289"/>
                    <a:pt x="2322" y="291"/>
                  </a:cubicBezTo>
                  <a:cubicBezTo>
                    <a:pt x="2319" y="291"/>
                    <a:pt x="2313" y="298"/>
                    <a:pt x="2320" y="299"/>
                  </a:cubicBezTo>
                  <a:cubicBezTo>
                    <a:pt x="2320" y="296"/>
                    <a:pt x="2323" y="295"/>
                    <a:pt x="2325" y="294"/>
                  </a:cubicBezTo>
                  <a:cubicBezTo>
                    <a:pt x="2326" y="290"/>
                    <a:pt x="2317" y="282"/>
                    <a:pt x="2325" y="280"/>
                  </a:cubicBezTo>
                  <a:cubicBezTo>
                    <a:pt x="2330" y="280"/>
                    <a:pt x="2326" y="301"/>
                    <a:pt x="2331" y="294"/>
                  </a:cubicBezTo>
                  <a:cubicBezTo>
                    <a:pt x="2331" y="284"/>
                    <a:pt x="2328" y="271"/>
                    <a:pt x="2338" y="270"/>
                  </a:cubicBezTo>
                  <a:cubicBezTo>
                    <a:pt x="2332" y="275"/>
                    <a:pt x="2338" y="281"/>
                    <a:pt x="2339" y="286"/>
                  </a:cubicBezTo>
                  <a:cubicBezTo>
                    <a:pt x="2339" y="289"/>
                    <a:pt x="2336" y="289"/>
                    <a:pt x="2336" y="291"/>
                  </a:cubicBezTo>
                  <a:cubicBezTo>
                    <a:pt x="2336" y="294"/>
                    <a:pt x="2340" y="295"/>
                    <a:pt x="2342" y="296"/>
                  </a:cubicBezTo>
                  <a:cubicBezTo>
                    <a:pt x="2342" y="292"/>
                    <a:pt x="2340" y="287"/>
                    <a:pt x="2344" y="286"/>
                  </a:cubicBezTo>
                  <a:cubicBezTo>
                    <a:pt x="2348" y="286"/>
                    <a:pt x="2347" y="290"/>
                    <a:pt x="2350" y="291"/>
                  </a:cubicBezTo>
                  <a:cubicBezTo>
                    <a:pt x="2352" y="278"/>
                    <a:pt x="2350" y="297"/>
                    <a:pt x="2358" y="293"/>
                  </a:cubicBezTo>
                  <a:cubicBezTo>
                    <a:pt x="2362" y="286"/>
                    <a:pt x="2357" y="286"/>
                    <a:pt x="2358" y="277"/>
                  </a:cubicBezTo>
                  <a:cubicBezTo>
                    <a:pt x="2363" y="278"/>
                    <a:pt x="2361" y="271"/>
                    <a:pt x="2366" y="270"/>
                  </a:cubicBezTo>
                  <a:cubicBezTo>
                    <a:pt x="2369" y="269"/>
                    <a:pt x="2374" y="270"/>
                    <a:pt x="2374" y="272"/>
                  </a:cubicBezTo>
                  <a:cubicBezTo>
                    <a:pt x="2371" y="273"/>
                    <a:pt x="2367" y="274"/>
                    <a:pt x="2366" y="277"/>
                  </a:cubicBezTo>
                  <a:cubicBezTo>
                    <a:pt x="2366" y="276"/>
                    <a:pt x="2371" y="279"/>
                    <a:pt x="2369" y="281"/>
                  </a:cubicBezTo>
                  <a:cubicBezTo>
                    <a:pt x="2365" y="285"/>
                    <a:pt x="2368" y="284"/>
                    <a:pt x="2369" y="288"/>
                  </a:cubicBezTo>
                  <a:cubicBezTo>
                    <a:pt x="2369" y="288"/>
                    <a:pt x="2363" y="293"/>
                    <a:pt x="2369" y="293"/>
                  </a:cubicBezTo>
                  <a:cubicBezTo>
                    <a:pt x="2374" y="285"/>
                    <a:pt x="2379" y="296"/>
                    <a:pt x="2386" y="295"/>
                  </a:cubicBezTo>
                  <a:cubicBezTo>
                    <a:pt x="2387" y="295"/>
                    <a:pt x="2385" y="289"/>
                    <a:pt x="2388" y="290"/>
                  </a:cubicBezTo>
                  <a:cubicBezTo>
                    <a:pt x="2389" y="296"/>
                    <a:pt x="2397" y="291"/>
                    <a:pt x="2399" y="290"/>
                  </a:cubicBezTo>
                  <a:cubicBezTo>
                    <a:pt x="2399" y="282"/>
                    <a:pt x="2392" y="273"/>
                    <a:pt x="2401" y="267"/>
                  </a:cubicBezTo>
                  <a:cubicBezTo>
                    <a:pt x="2397" y="274"/>
                    <a:pt x="2403" y="277"/>
                    <a:pt x="2402" y="288"/>
                  </a:cubicBezTo>
                  <a:cubicBezTo>
                    <a:pt x="2407" y="288"/>
                    <a:pt x="2409" y="292"/>
                    <a:pt x="2413" y="294"/>
                  </a:cubicBezTo>
                  <a:cubicBezTo>
                    <a:pt x="2411" y="288"/>
                    <a:pt x="2417" y="288"/>
                    <a:pt x="2415" y="283"/>
                  </a:cubicBezTo>
                  <a:cubicBezTo>
                    <a:pt x="2412" y="282"/>
                    <a:pt x="2408" y="283"/>
                    <a:pt x="2407" y="281"/>
                  </a:cubicBezTo>
                  <a:cubicBezTo>
                    <a:pt x="2420" y="283"/>
                    <a:pt x="2414" y="269"/>
                    <a:pt x="2423" y="269"/>
                  </a:cubicBezTo>
                  <a:cubicBezTo>
                    <a:pt x="2419" y="274"/>
                    <a:pt x="2426" y="278"/>
                    <a:pt x="2426" y="283"/>
                  </a:cubicBezTo>
                  <a:cubicBezTo>
                    <a:pt x="2427" y="285"/>
                    <a:pt x="2421" y="288"/>
                    <a:pt x="2427" y="290"/>
                  </a:cubicBezTo>
                  <a:cubicBezTo>
                    <a:pt x="2428" y="286"/>
                    <a:pt x="2430" y="290"/>
                    <a:pt x="2435" y="289"/>
                  </a:cubicBezTo>
                  <a:cubicBezTo>
                    <a:pt x="2438" y="284"/>
                    <a:pt x="2424" y="282"/>
                    <a:pt x="2432" y="280"/>
                  </a:cubicBezTo>
                  <a:cubicBezTo>
                    <a:pt x="2441" y="278"/>
                    <a:pt x="2436" y="288"/>
                    <a:pt x="2443" y="287"/>
                  </a:cubicBezTo>
                  <a:cubicBezTo>
                    <a:pt x="2441" y="278"/>
                    <a:pt x="2434" y="268"/>
                    <a:pt x="2443" y="261"/>
                  </a:cubicBezTo>
                  <a:cubicBezTo>
                    <a:pt x="2448" y="268"/>
                    <a:pt x="2439" y="284"/>
                    <a:pt x="2451" y="289"/>
                  </a:cubicBezTo>
                  <a:cubicBezTo>
                    <a:pt x="2449" y="280"/>
                    <a:pt x="2456" y="279"/>
                    <a:pt x="2459" y="275"/>
                  </a:cubicBezTo>
                  <a:cubicBezTo>
                    <a:pt x="2458" y="280"/>
                    <a:pt x="2467" y="277"/>
                    <a:pt x="2468" y="282"/>
                  </a:cubicBezTo>
                  <a:cubicBezTo>
                    <a:pt x="2459" y="285"/>
                    <a:pt x="2472" y="291"/>
                    <a:pt x="2465" y="294"/>
                  </a:cubicBezTo>
                  <a:cubicBezTo>
                    <a:pt x="2473" y="295"/>
                    <a:pt x="2470" y="289"/>
                    <a:pt x="2476" y="289"/>
                  </a:cubicBezTo>
                  <a:cubicBezTo>
                    <a:pt x="2476" y="292"/>
                    <a:pt x="2477" y="294"/>
                    <a:pt x="2482" y="293"/>
                  </a:cubicBezTo>
                  <a:cubicBezTo>
                    <a:pt x="2479" y="288"/>
                    <a:pt x="2479" y="284"/>
                    <a:pt x="2484" y="279"/>
                  </a:cubicBezTo>
                  <a:cubicBezTo>
                    <a:pt x="2489" y="278"/>
                    <a:pt x="2500" y="282"/>
                    <a:pt x="2500" y="277"/>
                  </a:cubicBezTo>
                  <a:cubicBezTo>
                    <a:pt x="2499" y="277"/>
                    <a:pt x="2497" y="275"/>
                    <a:pt x="2500" y="274"/>
                  </a:cubicBezTo>
                  <a:cubicBezTo>
                    <a:pt x="2501" y="277"/>
                    <a:pt x="2504" y="279"/>
                    <a:pt x="2503" y="284"/>
                  </a:cubicBezTo>
                  <a:cubicBezTo>
                    <a:pt x="2500" y="281"/>
                    <a:pt x="2479" y="277"/>
                    <a:pt x="2484" y="289"/>
                  </a:cubicBezTo>
                  <a:cubicBezTo>
                    <a:pt x="2493" y="290"/>
                    <a:pt x="2493" y="285"/>
                    <a:pt x="2498" y="284"/>
                  </a:cubicBezTo>
                  <a:cubicBezTo>
                    <a:pt x="2496" y="288"/>
                    <a:pt x="2502" y="287"/>
                    <a:pt x="2503" y="288"/>
                  </a:cubicBezTo>
                  <a:cubicBezTo>
                    <a:pt x="2505" y="290"/>
                    <a:pt x="2503" y="295"/>
                    <a:pt x="2509" y="293"/>
                  </a:cubicBezTo>
                  <a:cubicBezTo>
                    <a:pt x="2507" y="284"/>
                    <a:pt x="2508" y="287"/>
                    <a:pt x="2506" y="276"/>
                  </a:cubicBezTo>
                  <a:cubicBezTo>
                    <a:pt x="2512" y="282"/>
                    <a:pt x="2523" y="270"/>
                    <a:pt x="2525" y="281"/>
                  </a:cubicBezTo>
                  <a:cubicBezTo>
                    <a:pt x="2522" y="278"/>
                    <a:pt x="2515" y="278"/>
                    <a:pt x="2511" y="281"/>
                  </a:cubicBezTo>
                  <a:cubicBezTo>
                    <a:pt x="2512" y="287"/>
                    <a:pt x="2514" y="291"/>
                    <a:pt x="2520" y="293"/>
                  </a:cubicBezTo>
                  <a:cubicBezTo>
                    <a:pt x="2522" y="289"/>
                    <a:pt x="2526" y="288"/>
                    <a:pt x="2531" y="288"/>
                  </a:cubicBezTo>
                  <a:cubicBezTo>
                    <a:pt x="2531" y="290"/>
                    <a:pt x="2531" y="292"/>
                    <a:pt x="2534" y="292"/>
                  </a:cubicBezTo>
                  <a:cubicBezTo>
                    <a:pt x="2531" y="284"/>
                    <a:pt x="2533" y="284"/>
                    <a:pt x="2528" y="276"/>
                  </a:cubicBezTo>
                  <a:cubicBezTo>
                    <a:pt x="2531" y="274"/>
                    <a:pt x="2535" y="273"/>
                    <a:pt x="2542" y="273"/>
                  </a:cubicBezTo>
                  <a:cubicBezTo>
                    <a:pt x="2540" y="277"/>
                    <a:pt x="2538" y="278"/>
                    <a:pt x="2542" y="281"/>
                  </a:cubicBezTo>
                  <a:cubicBezTo>
                    <a:pt x="2544" y="282"/>
                    <a:pt x="2539" y="291"/>
                    <a:pt x="2545" y="290"/>
                  </a:cubicBezTo>
                  <a:cubicBezTo>
                    <a:pt x="2549" y="285"/>
                    <a:pt x="2551" y="283"/>
                    <a:pt x="2547" y="276"/>
                  </a:cubicBezTo>
                  <a:cubicBezTo>
                    <a:pt x="2558" y="280"/>
                    <a:pt x="2550" y="270"/>
                    <a:pt x="2555" y="269"/>
                  </a:cubicBezTo>
                  <a:cubicBezTo>
                    <a:pt x="2554" y="269"/>
                    <a:pt x="2564" y="276"/>
                    <a:pt x="2572" y="273"/>
                  </a:cubicBezTo>
                  <a:cubicBezTo>
                    <a:pt x="2573" y="272"/>
                    <a:pt x="2571" y="266"/>
                    <a:pt x="2577" y="268"/>
                  </a:cubicBezTo>
                  <a:cubicBezTo>
                    <a:pt x="2578" y="274"/>
                    <a:pt x="2576" y="278"/>
                    <a:pt x="2572" y="280"/>
                  </a:cubicBezTo>
                  <a:cubicBezTo>
                    <a:pt x="2571" y="277"/>
                    <a:pt x="2569" y="276"/>
                    <a:pt x="2566" y="275"/>
                  </a:cubicBezTo>
                  <a:cubicBezTo>
                    <a:pt x="2567" y="286"/>
                    <a:pt x="2558" y="276"/>
                    <a:pt x="2555" y="276"/>
                  </a:cubicBezTo>
                  <a:cubicBezTo>
                    <a:pt x="2552" y="281"/>
                    <a:pt x="2562" y="284"/>
                    <a:pt x="2555" y="285"/>
                  </a:cubicBezTo>
                  <a:cubicBezTo>
                    <a:pt x="2554" y="285"/>
                    <a:pt x="2552" y="285"/>
                    <a:pt x="2553" y="287"/>
                  </a:cubicBezTo>
                  <a:cubicBezTo>
                    <a:pt x="2560" y="288"/>
                    <a:pt x="2561" y="284"/>
                    <a:pt x="2566" y="282"/>
                  </a:cubicBezTo>
                  <a:cubicBezTo>
                    <a:pt x="2571" y="290"/>
                    <a:pt x="2578" y="281"/>
                    <a:pt x="2580" y="289"/>
                  </a:cubicBezTo>
                  <a:cubicBezTo>
                    <a:pt x="2580" y="291"/>
                    <a:pt x="2581" y="292"/>
                    <a:pt x="2583" y="292"/>
                  </a:cubicBezTo>
                  <a:cubicBezTo>
                    <a:pt x="2583" y="287"/>
                    <a:pt x="2580" y="286"/>
                    <a:pt x="2580" y="282"/>
                  </a:cubicBezTo>
                  <a:cubicBezTo>
                    <a:pt x="2583" y="282"/>
                    <a:pt x="2583" y="280"/>
                    <a:pt x="2585" y="280"/>
                  </a:cubicBezTo>
                  <a:cubicBezTo>
                    <a:pt x="2586" y="290"/>
                    <a:pt x="2587" y="280"/>
                    <a:pt x="2591" y="280"/>
                  </a:cubicBezTo>
                  <a:cubicBezTo>
                    <a:pt x="2589" y="285"/>
                    <a:pt x="2594" y="295"/>
                    <a:pt x="2597" y="289"/>
                  </a:cubicBezTo>
                  <a:cubicBezTo>
                    <a:pt x="2594" y="289"/>
                    <a:pt x="2593" y="285"/>
                    <a:pt x="2597" y="284"/>
                  </a:cubicBezTo>
                  <a:cubicBezTo>
                    <a:pt x="2600" y="284"/>
                    <a:pt x="2599" y="288"/>
                    <a:pt x="2602" y="289"/>
                  </a:cubicBezTo>
                  <a:cubicBezTo>
                    <a:pt x="2606" y="287"/>
                    <a:pt x="2602" y="283"/>
                    <a:pt x="2602" y="279"/>
                  </a:cubicBezTo>
                  <a:cubicBezTo>
                    <a:pt x="2602" y="277"/>
                    <a:pt x="2605" y="278"/>
                    <a:pt x="2605" y="277"/>
                  </a:cubicBezTo>
                  <a:cubicBezTo>
                    <a:pt x="2606" y="274"/>
                    <a:pt x="2601" y="266"/>
                    <a:pt x="2607" y="265"/>
                  </a:cubicBezTo>
                  <a:cubicBezTo>
                    <a:pt x="2614" y="270"/>
                    <a:pt x="2618" y="277"/>
                    <a:pt x="2629" y="277"/>
                  </a:cubicBezTo>
                  <a:cubicBezTo>
                    <a:pt x="2633" y="277"/>
                    <a:pt x="2632" y="272"/>
                    <a:pt x="2635" y="272"/>
                  </a:cubicBezTo>
                  <a:cubicBezTo>
                    <a:pt x="2638" y="271"/>
                    <a:pt x="2643" y="272"/>
                    <a:pt x="2643" y="269"/>
                  </a:cubicBezTo>
                  <a:cubicBezTo>
                    <a:pt x="2628" y="273"/>
                    <a:pt x="2637" y="256"/>
                    <a:pt x="2637" y="255"/>
                  </a:cubicBezTo>
                  <a:cubicBezTo>
                    <a:pt x="2642" y="248"/>
                    <a:pt x="2636" y="253"/>
                    <a:pt x="2634" y="248"/>
                  </a:cubicBezTo>
                  <a:cubicBezTo>
                    <a:pt x="2639" y="249"/>
                    <a:pt x="2644" y="250"/>
                    <a:pt x="2645" y="253"/>
                  </a:cubicBezTo>
                  <a:cubicBezTo>
                    <a:pt x="2641" y="253"/>
                    <a:pt x="2639" y="255"/>
                    <a:pt x="2640" y="260"/>
                  </a:cubicBezTo>
                  <a:cubicBezTo>
                    <a:pt x="2650" y="264"/>
                    <a:pt x="2655" y="257"/>
                    <a:pt x="2662" y="262"/>
                  </a:cubicBezTo>
                  <a:cubicBezTo>
                    <a:pt x="2658" y="265"/>
                    <a:pt x="2661" y="274"/>
                    <a:pt x="2654" y="274"/>
                  </a:cubicBezTo>
                  <a:cubicBezTo>
                    <a:pt x="2649" y="268"/>
                    <a:pt x="2658" y="265"/>
                    <a:pt x="2648" y="265"/>
                  </a:cubicBezTo>
                  <a:cubicBezTo>
                    <a:pt x="2646" y="276"/>
                    <a:pt x="2650" y="280"/>
                    <a:pt x="2646" y="290"/>
                  </a:cubicBezTo>
                  <a:cubicBezTo>
                    <a:pt x="2654" y="292"/>
                    <a:pt x="2649" y="286"/>
                    <a:pt x="2651" y="283"/>
                  </a:cubicBezTo>
                  <a:cubicBezTo>
                    <a:pt x="2653" y="282"/>
                    <a:pt x="2658" y="284"/>
                    <a:pt x="2657" y="281"/>
                  </a:cubicBezTo>
                  <a:cubicBezTo>
                    <a:pt x="2654" y="280"/>
                    <a:pt x="2650" y="277"/>
                    <a:pt x="2654" y="276"/>
                  </a:cubicBezTo>
                  <a:cubicBezTo>
                    <a:pt x="2661" y="278"/>
                    <a:pt x="2660" y="287"/>
                    <a:pt x="2668" y="288"/>
                  </a:cubicBezTo>
                  <a:cubicBezTo>
                    <a:pt x="2669" y="285"/>
                    <a:pt x="2672" y="282"/>
                    <a:pt x="2673" y="285"/>
                  </a:cubicBezTo>
                  <a:cubicBezTo>
                    <a:pt x="2674" y="287"/>
                    <a:pt x="2674" y="290"/>
                    <a:pt x="2676" y="290"/>
                  </a:cubicBezTo>
                  <a:cubicBezTo>
                    <a:pt x="2676" y="283"/>
                    <a:pt x="2677" y="278"/>
                    <a:pt x="2681" y="276"/>
                  </a:cubicBezTo>
                  <a:cubicBezTo>
                    <a:pt x="2684" y="283"/>
                    <a:pt x="2687" y="273"/>
                    <a:pt x="2690" y="273"/>
                  </a:cubicBezTo>
                  <a:cubicBezTo>
                    <a:pt x="2690" y="276"/>
                    <a:pt x="2692" y="276"/>
                    <a:pt x="2692" y="278"/>
                  </a:cubicBezTo>
                  <a:cubicBezTo>
                    <a:pt x="2690" y="281"/>
                    <a:pt x="2690" y="287"/>
                    <a:pt x="2684" y="287"/>
                  </a:cubicBezTo>
                  <a:cubicBezTo>
                    <a:pt x="2684" y="286"/>
                    <a:pt x="2682" y="285"/>
                    <a:pt x="2682" y="287"/>
                  </a:cubicBezTo>
                  <a:cubicBezTo>
                    <a:pt x="2689" y="293"/>
                    <a:pt x="2699" y="287"/>
                    <a:pt x="2701" y="287"/>
                  </a:cubicBezTo>
                  <a:cubicBezTo>
                    <a:pt x="2704" y="287"/>
                    <a:pt x="2703" y="283"/>
                    <a:pt x="2706" y="282"/>
                  </a:cubicBezTo>
                  <a:cubicBezTo>
                    <a:pt x="2709" y="282"/>
                    <a:pt x="2710" y="284"/>
                    <a:pt x="2712" y="285"/>
                  </a:cubicBezTo>
                  <a:cubicBezTo>
                    <a:pt x="2715" y="275"/>
                    <a:pt x="2700" y="281"/>
                    <a:pt x="2698" y="275"/>
                  </a:cubicBezTo>
                  <a:cubicBezTo>
                    <a:pt x="2702" y="275"/>
                    <a:pt x="2708" y="276"/>
                    <a:pt x="2709" y="273"/>
                  </a:cubicBezTo>
                  <a:cubicBezTo>
                    <a:pt x="2696" y="273"/>
                    <a:pt x="2699" y="251"/>
                    <a:pt x="2711" y="252"/>
                  </a:cubicBezTo>
                  <a:cubicBezTo>
                    <a:pt x="2712" y="255"/>
                    <a:pt x="2710" y="260"/>
                    <a:pt x="2714" y="261"/>
                  </a:cubicBezTo>
                  <a:cubicBezTo>
                    <a:pt x="2720" y="259"/>
                    <a:pt x="2713" y="248"/>
                    <a:pt x="2719" y="247"/>
                  </a:cubicBezTo>
                  <a:cubicBezTo>
                    <a:pt x="2715" y="256"/>
                    <a:pt x="2725" y="258"/>
                    <a:pt x="2725" y="263"/>
                  </a:cubicBezTo>
                  <a:cubicBezTo>
                    <a:pt x="2725" y="263"/>
                    <a:pt x="2720" y="263"/>
                    <a:pt x="2720" y="263"/>
                  </a:cubicBezTo>
                  <a:cubicBezTo>
                    <a:pt x="2719" y="264"/>
                    <a:pt x="2719" y="272"/>
                    <a:pt x="2723" y="280"/>
                  </a:cubicBezTo>
                  <a:cubicBezTo>
                    <a:pt x="2719" y="280"/>
                    <a:pt x="2717" y="279"/>
                    <a:pt x="2714" y="277"/>
                  </a:cubicBezTo>
                  <a:cubicBezTo>
                    <a:pt x="2714" y="281"/>
                    <a:pt x="2716" y="283"/>
                    <a:pt x="2717" y="285"/>
                  </a:cubicBezTo>
                  <a:cubicBezTo>
                    <a:pt x="2723" y="284"/>
                    <a:pt x="2723" y="288"/>
                    <a:pt x="2726" y="289"/>
                  </a:cubicBezTo>
                  <a:cubicBezTo>
                    <a:pt x="2726" y="284"/>
                    <a:pt x="2731" y="273"/>
                    <a:pt x="2731" y="275"/>
                  </a:cubicBezTo>
                  <a:cubicBezTo>
                    <a:pt x="2731" y="273"/>
                    <a:pt x="2728" y="268"/>
                    <a:pt x="2728" y="268"/>
                  </a:cubicBezTo>
                  <a:cubicBezTo>
                    <a:pt x="2729" y="266"/>
                    <a:pt x="2735" y="265"/>
                    <a:pt x="2736" y="263"/>
                  </a:cubicBezTo>
                  <a:cubicBezTo>
                    <a:pt x="2739" y="259"/>
                    <a:pt x="2735" y="255"/>
                    <a:pt x="2741" y="254"/>
                  </a:cubicBezTo>
                  <a:cubicBezTo>
                    <a:pt x="2745" y="254"/>
                    <a:pt x="2747" y="256"/>
                    <a:pt x="2747" y="260"/>
                  </a:cubicBezTo>
                  <a:cubicBezTo>
                    <a:pt x="2742" y="260"/>
                    <a:pt x="2741" y="263"/>
                    <a:pt x="2736" y="263"/>
                  </a:cubicBezTo>
                  <a:cubicBezTo>
                    <a:pt x="2738" y="266"/>
                    <a:pt x="2733" y="275"/>
                    <a:pt x="2739" y="275"/>
                  </a:cubicBezTo>
                  <a:cubicBezTo>
                    <a:pt x="2742" y="270"/>
                    <a:pt x="2738" y="264"/>
                    <a:pt x="2750" y="263"/>
                  </a:cubicBezTo>
                  <a:cubicBezTo>
                    <a:pt x="2751" y="268"/>
                    <a:pt x="2745" y="268"/>
                    <a:pt x="2747" y="275"/>
                  </a:cubicBezTo>
                  <a:cubicBezTo>
                    <a:pt x="2748" y="274"/>
                    <a:pt x="2752" y="275"/>
                    <a:pt x="2753" y="275"/>
                  </a:cubicBezTo>
                  <a:cubicBezTo>
                    <a:pt x="2753" y="273"/>
                    <a:pt x="2752" y="271"/>
                    <a:pt x="2753" y="270"/>
                  </a:cubicBezTo>
                  <a:cubicBezTo>
                    <a:pt x="2754" y="265"/>
                    <a:pt x="2759" y="256"/>
                    <a:pt x="2755" y="251"/>
                  </a:cubicBezTo>
                  <a:cubicBezTo>
                    <a:pt x="2764" y="252"/>
                    <a:pt x="2766" y="250"/>
                    <a:pt x="2769" y="253"/>
                  </a:cubicBezTo>
                  <a:cubicBezTo>
                    <a:pt x="2768" y="255"/>
                    <a:pt x="2767" y="256"/>
                    <a:pt x="2763" y="256"/>
                  </a:cubicBezTo>
                  <a:cubicBezTo>
                    <a:pt x="2763" y="257"/>
                    <a:pt x="2763" y="260"/>
                    <a:pt x="2761" y="260"/>
                  </a:cubicBezTo>
                  <a:cubicBezTo>
                    <a:pt x="2763" y="264"/>
                    <a:pt x="2762" y="272"/>
                    <a:pt x="2767" y="274"/>
                  </a:cubicBezTo>
                  <a:cubicBezTo>
                    <a:pt x="2769" y="266"/>
                    <a:pt x="2780" y="274"/>
                    <a:pt x="2783" y="269"/>
                  </a:cubicBezTo>
                  <a:cubicBezTo>
                    <a:pt x="2779" y="269"/>
                    <a:pt x="2783" y="260"/>
                    <a:pt x="2783" y="260"/>
                  </a:cubicBezTo>
                  <a:cubicBezTo>
                    <a:pt x="2784" y="259"/>
                    <a:pt x="2788" y="262"/>
                    <a:pt x="2788" y="262"/>
                  </a:cubicBezTo>
                  <a:cubicBezTo>
                    <a:pt x="2789" y="257"/>
                    <a:pt x="2783" y="255"/>
                    <a:pt x="2785" y="246"/>
                  </a:cubicBezTo>
                  <a:cubicBezTo>
                    <a:pt x="2789" y="246"/>
                    <a:pt x="2789" y="243"/>
                    <a:pt x="2793" y="243"/>
                  </a:cubicBezTo>
                  <a:cubicBezTo>
                    <a:pt x="2796" y="252"/>
                    <a:pt x="2787" y="256"/>
                    <a:pt x="2794" y="262"/>
                  </a:cubicBezTo>
                  <a:cubicBezTo>
                    <a:pt x="2789" y="262"/>
                    <a:pt x="2787" y="264"/>
                    <a:pt x="2786" y="267"/>
                  </a:cubicBezTo>
                  <a:cubicBezTo>
                    <a:pt x="2792" y="267"/>
                    <a:pt x="2789" y="268"/>
                    <a:pt x="2788" y="272"/>
                  </a:cubicBezTo>
                  <a:cubicBezTo>
                    <a:pt x="2787" y="278"/>
                    <a:pt x="2792" y="281"/>
                    <a:pt x="2791" y="283"/>
                  </a:cubicBezTo>
                  <a:cubicBezTo>
                    <a:pt x="2791" y="283"/>
                    <a:pt x="2781" y="286"/>
                    <a:pt x="2789" y="288"/>
                  </a:cubicBezTo>
                  <a:cubicBezTo>
                    <a:pt x="2792" y="284"/>
                    <a:pt x="2797" y="279"/>
                    <a:pt x="2791" y="274"/>
                  </a:cubicBezTo>
                  <a:cubicBezTo>
                    <a:pt x="2795" y="274"/>
                    <a:pt x="2797" y="273"/>
                    <a:pt x="2799" y="271"/>
                  </a:cubicBezTo>
                  <a:cubicBezTo>
                    <a:pt x="2799" y="274"/>
                    <a:pt x="2800" y="286"/>
                    <a:pt x="2802" y="278"/>
                  </a:cubicBezTo>
                  <a:cubicBezTo>
                    <a:pt x="2799" y="266"/>
                    <a:pt x="2808" y="278"/>
                    <a:pt x="2810" y="271"/>
                  </a:cubicBezTo>
                  <a:cubicBezTo>
                    <a:pt x="2805" y="272"/>
                    <a:pt x="2806" y="260"/>
                    <a:pt x="2813" y="264"/>
                  </a:cubicBezTo>
                  <a:cubicBezTo>
                    <a:pt x="2811" y="266"/>
                    <a:pt x="2807" y="273"/>
                    <a:pt x="2816" y="271"/>
                  </a:cubicBezTo>
                  <a:cubicBezTo>
                    <a:pt x="2817" y="268"/>
                    <a:pt x="2812" y="259"/>
                    <a:pt x="2818" y="259"/>
                  </a:cubicBezTo>
                  <a:cubicBezTo>
                    <a:pt x="2817" y="267"/>
                    <a:pt x="2826" y="270"/>
                    <a:pt x="2830" y="275"/>
                  </a:cubicBezTo>
                  <a:cubicBezTo>
                    <a:pt x="2832" y="279"/>
                    <a:pt x="2829" y="288"/>
                    <a:pt x="2838" y="287"/>
                  </a:cubicBezTo>
                  <a:cubicBezTo>
                    <a:pt x="2838" y="283"/>
                    <a:pt x="2830" y="274"/>
                    <a:pt x="2838" y="271"/>
                  </a:cubicBezTo>
                  <a:cubicBezTo>
                    <a:pt x="2842" y="271"/>
                    <a:pt x="2841" y="276"/>
                    <a:pt x="2843" y="278"/>
                  </a:cubicBezTo>
                  <a:cubicBezTo>
                    <a:pt x="2836" y="272"/>
                    <a:pt x="2837" y="282"/>
                    <a:pt x="2841" y="285"/>
                  </a:cubicBezTo>
                  <a:cubicBezTo>
                    <a:pt x="2861" y="284"/>
                    <a:pt x="2841" y="259"/>
                    <a:pt x="2859" y="254"/>
                  </a:cubicBezTo>
                  <a:cubicBezTo>
                    <a:pt x="2859" y="257"/>
                    <a:pt x="2861" y="259"/>
                    <a:pt x="2862" y="261"/>
                  </a:cubicBezTo>
                  <a:cubicBezTo>
                    <a:pt x="2856" y="261"/>
                    <a:pt x="2861" y="269"/>
                    <a:pt x="2860" y="273"/>
                  </a:cubicBezTo>
                  <a:cubicBezTo>
                    <a:pt x="2855" y="271"/>
                    <a:pt x="2855" y="284"/>
                    <a:pt x="2860" y="282"/>
                  </a:cubicBezTo>
                  <a:cubicBezTo>
                    <a:pt x="2860" y="279"/>
                    <a:pt x="2863" y="278"/>
                    <a:pt x="2865" y="277"/>
                  </a:cubicBezTo>
                  <a:cubicBezTo>
                    <a:pt x="2870" y="283"/>
                    <a:pt x="2861" y="286"/>
                    <a:pt x="2871" y="287"/>
                  </a:cubicBezTo>
                  <a:cubicBezTo>
                    <a:pt x="2873" y="278"/>
                    <a:pt x="2862" y="271"/>
                    <a:pt x="2876" y="270"/>
                  </a:cubicBezTo>
                  <a:cubicBezTo>
                    <a:pt x="2879" y="277"/>
                    <a:pt x="2872" y="276"/>
                    <a:pt x="2874" y="282"/>
                  </a:cubicBezTo>
                  <a:cubicBezTo>
                    <a:pt x="2885" y="280"/>
                    <a:pt x="2879" y="273"/>
                    <a:pt x="2879" y="265"/>
                  </a:cubicBezTo>
                  <a:cubicBezTo>
                    <a:pt x="2881" y="265"/>
                    <a:pt x="2884" y="265"/>
                    <a:pt x="2884" y="263"/>
                  </a:cubicBezTo>
                  <a:cubicBezTo>
                    <a:pt x="2886" y="263"/>
                    <a:pt x="2887" y="261"/>
                    <a:pt x="2884" y="260"/>
                  </a:cubicBezTo>
                  <a:cubicBezTo>
                    <a:pt x="2884" y="264"/>
                    <a:pt x="2880" y="261"/>
                    <a:pt x="2879" y="258"/>
                  </a:cubicBezTo>
                  <a:cubicBezTo>
                    <a:pt x="2884" y="259"/>
                    <a:pt x="2884" y="255"/>
                    <a:pt x="2887" y="253"/>
                  </a:cubicBezTo>
                  <a:cubicBezTo>
                    <a:pt x="2887" y="255"/>
                    <a:pt x="2887" y="256"/>
                    <a:pt x="2888" y="257"/>
                  </a:cubicBezTo>
                  <a:cubicBezTo>
                    <a:pt x="2888" y="244"/>
                    <a:pt x="2888" y="244"/>
                    <a:pt x="2888" y="244"/>
                  </a:cubicBezTo>
                  <a:cubicBezTo>
                    <a:pt x="2887" y="244"/>
                    <a:pt x="2885" y="244"/>
                    <a:pt x="2884" y="244"/>
                  </a:cubicBezTo>
                  <a:cubicBezTo>
                    <a:pt x="2884" y="242"/>
                    <a:pt x="2884" y="239"/>
                    <a:pt x="2884" y="237"/>
                  </a:cubicBezTo>
                  <a:cubicBezTo>
                    <a:pt x="2886" y="237"/>
                    <a:pt x="2887" y="238"/>
                    <a:pt x="2888" y="239"/>
                  </a:cubicBezTo>
                  <a:cubicBezTo>
                    <a:pt x="2888" y="205"/>
                    <a:pt x="2888" y="205"/>
                    <a:pt x="2888" y="205"/>
                  </a:cubicBezTo>
                  <a:cubicBezTo>
                    <a:pt x="2885" y="205"/>
                    <a:pt x="2883" y="205"/>
                    <a:pt x="2881" y="209"/>
                  </a:cubicBezTo>
                  <a:cubicBezTo>
                    <a:pt x="2884" y="211"/>
                    <a:pt x="2893" y="228"/>
                    <a:pt x="2881" y="228"/>
                  </a:cubicBezTo>
                  <a:cubicBezTo>
                    <a:pt x="2886" y="223"/>
                    <a:pt x="2880" y="220"/>
                    <a:pt x="2875" y="218"/>
                  </a:cubicBezTo>
                  <a:cubicBezTo>
                    <a:pt x="2875" y="222"/>
                    <a:pt x="2876" y="227"/>
                    <a:pt x="2873" y="228"/>
                  </a:cubicBezTo>
                  <a:cubicBezTo>
                    <a:pt x="2872" y="222"/>
                    <a:pt x="2871" y="217"/>
                    <a:pt x="2862" y="219"/>
                  </a:cubicBezTo>
                  <a:cubicBezTo>
                    <a:pt x="2860" y="224"/>
                    <a:pt x="2865" y="236"/>
                    <a:pt x="2859" y="237"/>
                  </a:cubicBezTo>
                  <a:cubicBezTo>
                    <a:pt x="2855" y="232"/>
                    <a:pt x="2852" y="240"/>
                    <a:pt x="2851" y="235"/>
                  </a:cubicBezTo>
                  <a:cubicBezTo>
                    <a:pt x="2851" y="231"/>
                    <a:pt x="2851" y="228"/>
                    <a:pt x="2853" y="226"/>
                  </a:cubicBezTo>
                  <a:cubicBezTo>
                    <a:pt x="2851" y="225"/>
                    <a:pt x="2848" y="226"/>
                    <a:pt x="2848" y="223"/>
                  </a:cubicBezTo>
                  <a:cubicBezTo>
                    <a:pt x="2857" y="221"/>
                    <a:pt x="2854" y="229"/>
                    <a:pt x="2859" y="230"/>
                  </a:cubicBezTo>
                  <a:cubicBezTo>
                    <a:pt x="2857" y="227"/>
                    <a:pt x="2862" y="218"/>
                    <a:pt x="2856" y="219"/>
                  </a:cubicBezTo>
                  <a:cubicBezTo>
                    <a:pt x="2856" y="221"/>
                    <a:pt x="2851" y="222"/>
                    <a:pt x="2851" y="219"/>
                  </a:cubicBezTo>
                  <a:cubicBezTo>
                    <a:pt x="2851" y="209"/>
                    <a:pt x="2859" y="220"/>
                    <a:pt x="2861" y="214"/>
                  </a:cubicBezTo>
                  <a:cubicBezTo>
                    <a:pt x="2857" y="213"/>
                    <a:pt x="2859" y="209"/>
                    <a:pt x="2861" y="207"/>
                  </a:cubicBezTo>
                  <a:cubicBezTo>
                    <a:pt x="2855" y="204"/>
                    <a:pt x="2860" y="192"/>
                    <a:pt x="2858" y="186"/>
                  </a:cubicBezTo>
                  <a:cubicBezTo>
                    <a:pt x="2862" y="185"/>
                    <a:pt x="2862" y="183"/>
                    <a:pt x="2866" y="183"/>
                  </a:cubicBezTo>
                  <a:cubicBezTo>
                    <a:pt x="2860" y="196"/>
                    <a:pt x="2870" y="207"/>
                    <a:pt x="2864" y="216"/>
                  </a:cubicBezTo>
                  <a:cubicBezTo>
                    <a:pt x="2867" y="216"/>
                    <a:pt x="2870" y="216"/>
                    <a:pt x="2873" y="216"/>
                  </a:cubicBezTo>
                  <a:cubicBezTo>
                    <a:pt x="2869" y="209"/>
                    <a:pt x="2873" y="210"/>
                    <a:pt x="2870" y="204"/>
                  </a:cubicBezTo>
                  <a:cubicBezTo>
                    <a:pt x="2874" y="204"/>
                    <a:pt x="2871" y="198"/>
                    <a:pt x="2875" y="197"/>
                  </a:cubicBezTo>
                  <a:cubicBezTo>
                    <a:pt x="2876" y="200"/>
                    <a:pt x="2878" y="202"/>
                    <a:pt x="2881" y="204"/>
                  </a:cubicBezTo>
                  <a:cubicBezTo>
                    <a:pt x="2877" y="196"/>
                    <a:pt x="2884" y="198"/>
                    <a:pt x="2888" y="197"/>
                  </a:cubicBezTo>
                  <a:cubicBezTo>
                    <a:pt x="2888" y="191"/>
                    <a:pt x="2888" y="191"/>
                    <a:pt x="2888" y="191"/>
                  </a:cubicBezTo>
                  <a:cubicBezTo>
                    <a:pt x="2888" y="190"/>
                    <a:pt x="2888" y="189"/>
                    <a:pt x="2888" y="188"/>
                  </a:cubicBezTo>
                  <a:cubicBezTo>
                    <a:pt x="2888" y="159"/>
                    <a:pt x="2888" y="159"/>
                    <a:pt x="2888" y="159"/>
                  </a:cubicBezTo>
                  <a:cubicBezTo>
                    <a:pt x="2885" y="158"/>
                    <a:pt x="2882" y="158"/>
                    <a:pt x="2877" y="160"/>
                  </a:cubicBezTo>
                  <a:cubicBezTo>
                    <a:pt x="2877" y="157"/>
                    <a:pt x="2880" y="158"/>
                    <a:pt x="2882" y="157"/>
                  </a:cubicBezTo>
                  <a:cubicBezTo>
                    <a:pt x="2883" y="155"/>
                    <a:pt x="2881" y="155"/>
                    <a:pt x="2880" y="155"/>
                  </a:cubicBezTo>
                  <a:cubicBezTo>
                    <a:pt x="2879" y="151"/>
                    <a:pt x="2884" y="152"/>
                    <a:pt x="2888" y="152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2" y="148"/>
                    <a:pt x="2884" y="141"/>
                    <a:pt x="2877" y="143"/>
                  </a:cubicBezTo>
                  <a:cubicBezTo>
                    <a:pt x="2876" y="145"/>
                    <a:pt x="2877" y="148"/>
                    <a:pt x="2874" y="148"/>
                  </a:cubicBezTo>
                  <a:cubicBezTo>
                    <a:pt x="2874" y="140"/>
                    <a:pt x="2871" y="146"/>
                    <a:pt x="2866" y="146"/>
                  </a:cubicBezTo>
                  <a:cubicBezTo>
                    <a:pt x="2866" y="146"/>
                    <a:pt x="2866" y="143"/>
                    <a:pt x="2866" y="143"/>
                  </a:cubicBezTo>
                  <a:cubicBezTo>
                    <a:pt x="2863" y="142"/>
                    <a:pt x="2859" y="146"/>
                    <a:pt x="2858" y="146"/>
                  </a:cubicBezTo>
                  <a:cubicBezTo>
                    <a:pt x="2855" y="145"/>
                    <a:pt x="2855" y="141"/>
                    <a:pt x="2849" y="141"/>
                  </a:cubicBezTo>
                  <a:cubicBezTo>
                    <a:pt x="2848" y="141"/>
                    <a:pt x="2849" y="147"/>
                    <a:pt x="2847" y="146"/>
                  </a:cubicBezTo>
                  <a:cubicBezTo>
                    <a:pt x="2849" y="138"/>
                    <a:pt x="2838" y="143"/>
                    <a:pt x="2835" y="139"/>
                  </a:cubicBezTo>
                  <a:cubicBezTo>
                    <a:pt x="2829" y="145"/>
                    <a:pt x="2836" y="151"/>
                    <a:pt x="2836" y="158"/>
                  </a:cubicBezTo>
                  <a:cubicBezTo>
                    <a:pt x="2832" y="157"/>
                    <a:pt x="2826" y="160"/>
                    <a:pt x="2822" y="158"/>
                  </a:cubicBezTo>
                  <a:cubicBezTo>
                    <a:pt x="2821" y="158"/>
                    <a:pt x="2822" y="151"/>
                    <a:pt x="2816" y="153"/>
                  </a:cubicBezTo>
                  <a:cubicBezTo>
                    <a:pt x="2818" y="161"/>
                    <a:pt x="2815" y="164"/>
                    <a:pt x="2814" y="170"/>
                  </a:cubicBezTo>
                  <a:cubicBezTo>
                    <a:pt x="2823" y="172"/>
                    <a:pt x="2818" y="162"/>
                    <a:pt x="2825" y="163"/>
                  </a:cubicBezTo>
                  <a:cubicBezTo>
                    <a:pt x="2825" y="166"/>
                    <a:pt x="2826" y="168"/>
                    <a:pt x="2828" y="170"/>
                  </a:cubicBezTo>
                  <a:cubicBezTo>
                    <a:pt x="2821" y="171"/>
                    <a:pt x="2822" y="177"/>
                    <a:pt x="2817" y="179"/>
                  </a:cubicBezTo>
                  <a:cubicBezTo>
                    <a:pt x="2818" y="174"/>
                    <a:pt x="2816" y="171"/>
                    <a:pt x="2811" y="170"/>
                  </a:cubicBezTo>
                  <a:cubicBezTo>
                    <a:pt x="2811" y="173"/>
                    <a:pt x="2812" y="177"/>
                    <a:pt x="2809" y="177"/>
                  </a:cubicBezTo>
                  <a:cubicBezTo>
                    <a:pt x="2810" y="171"/>
                    <a:pt x="2798" y="175"/>
                    <a:pt x="2798" y="170"/>
                  </a:cubicBezTo>
                  <a:cubicBezTo>
                    <a:pt x="2805" y="172"/>
                    <a:pt x="2795" y="159"/>
                    <a:pt x="2803" y="161"/>
                  </a:cubicBezTo>
                  <a:cubicBezTo>
                    <a:pt x="2803" y="164"/>
                    <a:pt x="2802" y="169"/>
                    <a:pt x="2806" y="170"/>
                  </a:cubicBezTo>
                  <a:cubicBezTo>
                    <a:pt x="2808" y="158"/>
                    <a:pt x="2819" y="154"/>
                    <a:pt x="2814" y="142"/>
                  </a:cubicBezTo>
                  <a:cubicBezTo>
                    <a:pt x="2815" y="142"/>
                    <a:pt x="2817" y="140"/>
                    <a:pt x="2814" y="139"/>
                  </a:cubicBezTo>
                  <a:cubicBezTo>
                    <a:pt x="2812" y="142"/>
                    <a:pt x="2811" y="145"/>
                    <a:pt x="2808" y="147"/>
                  </a:cubicBezTo>
                  <a:cubicBezTo>
                    <a:pt x="2803" y="140"/>
                    <a:pt x="2792" y="144"/>
                    <a:pt x="2784" y="147"/>
                  </a:cubicBezTo>
                  <a:cubicBezTo>
                    <a:pt x="2787" y="139"/>
                    <a:pt x="2775" y="145"/>
                    <a:pt x="2778" y="138"/>
                  </a:cubicBezTo>
                  <a:cubicBezTo>
                    <a:pt x="2768" y="138"/>
                    <a:pt x="2772" y="150"/>
                    <a:pt x="2759" y="147"/>
                  </a:cubicBezTo>
                  <a:cubicBezTo>
                    <a:pt x="2759" y="144"/>
                    <a:pt x="2759" y="141"/>
                    <a:pt x="2759" y="138"/>
                  </a:cubicBezTo>
                  <a:cubicBezTo>
                    <a:pt x="2749" y="139"/>
                    <a:pt x="2748" y="142"/>
                    <a:pt x="2739" y="138"/>
                  </a:cubicBezTo>
                  <a:cubicBezTo>
                    <a:pt x="2739" y="143"/>
                    <a:pt x="2738" y="146"/>
                    <a:pt x="2734" y="148"/>
                  </a:cubicBezTo>
                  <a:cubicBezTo>
                    <a:pt x="2736" y="143"/>
                    <a:pt x="2733" y="130"/>
                    <a:pt x="2728" y="139"/>
                  </a:cubicBezTo>
                  <a:cubicBezTo>
                    <a:pt x="2733" y="139"/>
                    <a:pt x="2729" y="142"/>
                    <a:pt x="2729" y="146"/>
                  </a:cubicBezTo>
                  <a:cubicBezTo>
                    <a:pt x="2729" y="148"/>
                    <a:pt x="2731" y="148"/>
                    <a:pt x="2731" y="150"/>
                  </a:cubicBezTo>
                  <a:cubicBezTo>
                    <a:pt x="2731" y="150"/>
                    <a:pt x="2728" y="151"/>
                    <a:pt x="2729" y="153"/>
                  </a:cubicBezTo>
                  <a:cubicBezTo>
                    <a:pt x="2729" y="153"/>
                    <a:pt x="2733" y="153"/>
                    <a:pt x="2731" y="155"/>
                  </a:cubicBezTo>
                  <a:cubicBezTo>
                    <a:pt x="2727" y="155"/>
                    <a:pt x="2721" y="156"/>
                    <a:pt x="2720" y="153"/>
                  </a:cubicBezTo>
                  <a:cubicBezTo>
                    <a:pt x="2722" y="148"/>
                    <a:pt x="2728" y="148"/>
                    <a:pt x="2726" y="141"/>
                  </a:cubicBezTo>
                  <a:cubicBezTo>
                    <a:pt x="2717" y="144"/>
                    <a:pt x="2716" y="140"/>
                    <a:pt x="2707" y="144"/>
                  </a:cubicBezTo>
                  <a:cubicBezTo>
                    <a:pt x="2710" y="139"/>
                    <a:pt x="2702" y="133"/>
                    <a:pt x="2701" y="139"/>
                  </a:cubicBezTo>
                  <a:cubicBezTo>
                    <a:pt x="2710" y="142"/>
                    <a:pt x="2694" y="142"/>
                    <a:pt x="2690" y="142"/>
                  </a:cubicBezTo>
                  <a:cubicBezTo>
                    <a:pt x="2688" y="149"/>
                    <a:pt x="2697" y="146"/>
                    <a:pt x="2698" y="151"/>
                  </a:cubicBezTo>
                  <a:cubicBezTo>
                    <a:pt x="2693" y="152"/>
                    <a:pt x="2698" y="161"/>
                    <a:pt x="2693" y="163"/>
                  </a:cubicBezTo>
                  <a:cubicBezTo>
                    <a:pt x="2696" y="164"/>
                    <a:pt x="2699" y="165"/>
                    <a:pt x="2702" y="167"/>
                  </a:cubicBezTo>
                  <a:cubicBezTo>
                    <a:pt x="2701" y="172"/>
                    <a:pt x="2696" y="174"/>
                    <a:pt x="2693" y="177"/>
                  </a:cubicBezTo>
                  <a:cubicBezTo>
                    <a:pt x="2699" y="182"/>
                    <a:pt x="2691" y="188"/>
                    <a:pt x="2699" y="193"/>
                  </a:cubicBezTo>
                  <a:cubicBezTo>
                    <a:pt x="2696" y="194"/>
                    <a:pt x="2694" y="196"/>
                    <a:pt x="2694" y="200"/>
                  </a:cubicBezTo>
                  <a:cubicBezTo>
                    <a:pt x="2697" y="207"/>
                    <a:pt x="2694" y="206"/>
                    <a:pt x="2700" y="210"/>
                  </a:cubicBezTo>
                  <a:cubicBezTo>
                    <a:pt x="2698" y="213"/>
                    <a:pt x="2695" y="215"/>
                    <a:pt x="2691" y="217"/>
                  </a:cubicBezTo>
                  <a:cubicBezTo>
                    <a:pt x="2689" y="215"/>
                    <a:pt x="2688" y="202"/>
                    <a:pt x="2683" y="210"/>
                  </a:cubicBezTo>
                  <a:cubicBezTo>
                    <a:pt x="2690" y="213"/>
                    <a:pt x="2683" y="220"/>
                    <a:pt x="2683" y="224"/>
                  </a:cubicBezTo>
                  <a:cubicBezTo>
                    <a:pt x="2683" y="226"/>
                    <a:pt x="2681" y="227"/>
                    <a:pt x="2681" y="226"/>
                  </a:cubicBezTo>
                  <a:cubicBezTo>
                    <a:pt x="2680" y="231"/>
                    <a:pt x="2684" y="232"/>
                    <a:pt x="2683" y="236"/>
                  </a:cubicBezTo>
                  <a:cubicBezTo>
                    <a:pt x="2680" y="233"/>
                    <a:pt x="2673" y="234"/>
                    <a:pt x="2672" y="229"/>
                  </a:cubicBezTo>
                  <a:cubicBezTo>
                    <a:pt x="2677" y="224"/>
                    <a:pt x="2676" y="212"/>
                    <a:pt x="2669" y="210"/>
                  </a:cubicBezTo>
                  <a:cubicBezTo>
                    <a:pt x="2668" y="216"/>
                    <a:pt x="2673" y="227"/>
                    <a:pt x="2667" y="229"/>
                  </a:cubicBezTo>
                  <a:cubicBezTo>
                    <a:pt x="2662" y="229"/>
                    <a:pt x="2665" y="222"/>
                    <a:pt x="2661" y="222"/>
                  </a:cubicBezTo>
                  <a:cubicBezTo>
                    <a:pt x="2662" y="222"/>
                    <a:pt x="2658" y="231"/>
                    <a:pt x="2653" y="227"/>
                  </a:cubicBezTo>
                  <a:cubicBezTo>
                    <a:pt x="2653" y="222"/>
                    <a:pt x="2661" y="224"/>
                    <a:pt x="2658" y="217"/>
                  </a:cubicBezTo>
                  <a:cubicBezTo>
                    <a:pt x="2650" y="215"/>
                    <a:pt x="2652" y="221"/>
                    <a:pt x="2648" y="222"/>
                  </a:cubicBezTo>
                  <a:cubicBezTo>
                    <a:pt x="2647" y="213"/>
                    <a:pt x="2640" y="222"/>
                    <a:pt x="2634" y="218"/>
                  </a:cubicBezTo>
                  <a:cubicBezTo>
                    <a:pt x="2634" y="224"/>
                    <a:pt x="2635" y="229"/>
                    <a:pt x="2629" y="230"/>
                  </a:cubicBezTo>
                  <a:cubicBezTo>
                    <a:pt x="2627" y="224"/>
                    <a:pt x="2633" y="224"/>
                    <a:pt x="2631" y="218"/>
                  </a:cubicBezTo>
                  <a:cubicBezTo>
                    <a:pt x="2627" y="216"/>
                    <a:pt x="2622" y="221"/>
                    <a:pt x="2620" y="220"/>
                  </a:cubicBezTo>
                  <a:cubicBezTo>
                    <a:pt x="2616" y="219"/>
                    <a:pt x="2619" y="205"/>
                    <a:pt x="2612" y="214"/>
                  </a:cubicBezTo>
                  <a:cubicBezTo>
                    <a:pt x="2616" y="212"/>
                    <a:pt x="2616" y="225"/>
                    <a:pt x="2612" y="223"/>
                  </a:cubicBezTo>
                  <a:cubicBezTo>
                    <a:pt x="2614" y="212"/>
                    <a:pt x="2603" y="213"/>
                    <a:pt x="2598" y="209"/>
                  </a:cubicBezTo>
                  <a:cubicBezTo>
                    <a:pt x="2609" y="212"/>
                    <a:pt x="2608" y="205"/>
                    <a:pt x="2612" y="202"/>
                  </a:cubicBezTo>
                  <a:cubicBezTo>
                    <a:pt x="2621" y="200"/>
                    <a:pt x="2637" y="204"/>
                    <a:pt x="2642" y="199"/>
                  </a:cubicBezTo>
                  <a:cubicBezTo>
                    <a:pt x="2638" y="193"/>
                    <a:pt x="2634" y="203"/>
                    <a:pt x="2631" y="197"/>
                  </a:cubicBezTo>
                  <a:cubicBezTo>
                    <a:pt x="2635" y="196"/>
                    <a:pt x="2635" y="193"/>
                    <a:pt x="2639" y="192"/>
                  </a:cubicBezTo>
                  <a:cubicBezTo>
                    <a:pt x="2643" y="195"/>
                    <a:pt x="2642" y="202"/>
                    <a:pt x="2650" y="201"/>
                  </a:cubicBezTo>
                  <a:cubicBezTo>
                    <a:pt x="2647" y="194"/>
                    <a:pt x="2659" y="198"/>
                    <a:pt x="2661" y="194"/>
                  </a:cubicBezTo>
                  <a:cubicBezTo>
                    <a:pt x="2662" y="199"/>
                    <a:pt x="2666" y="200"/>
                    <a:pt x="2669" y="203"/>
                  </a:cubicBezTo>
                  <a:cubicBezTo>
                    <a:pt x="2665" y="203"/>
                    <a:pt x="2662" y="205"/>
                    <a:pt x="2661" y="208"/>
                  </a:cubicBezTo>
                  <a:cubicBezTo>
                    <a:pt x="2669" y="206"/>
                    <a:pt x="2671" y="210"/>
                    <a:pt x="2678" y="210"/>
                  </a:cubicBezTo>
                  <a:cubicBezTo>
                    <a:pt x="2678" y="205"/>
                    <a:pt x="2674" y="205"/>
                    <a:pt x="2672" y="203"/>
                  </a:cubicBezTo>
                  <a:cubicBezTo>
                    <a:pt x="2679" y="199"/>
                    <a:pt x="2680" y="204"/>
                    <a:pt x="2683" y="203"/>
                  </a:cubicBezTo>
                  <a:cubicBezTo>
                    <a:pt x="2684" y="202"/>
                    <a:pt x="2682" y="197"/>
                    <a:pt x="2683" y="196"/>
                  </a:cubicBezTo>
                  <a:cubicBezTo>
                    <a:pt x="2685" y="194"/>
                    <a:pt x="2686" y="198"/>
                    <a:pt x="2686" y="198"/>
                  </a:cubicBezTo>
                  <a:cubicBezTo>
                    <a:pt x="2690" y="199"/>
                    <a:pt x="2695" y="192"/>
                    <a:pt x="2694" y="189"/>
                  </a:cubicBezTo>
                  <a:cubicBezTo>
                    <a:pt x="2687" y="186"/>
                    <a:pt x="2684" y="199"/>
                    <a:pt x="2680" y="191"/>
                  </a:cubicBezTo>
                  <a:cubicBezTo>
                    <a:pt x="2682" y="188"/>
                    <a:pt x="2686" y="187"/>
                    <a:pt x="2691" y="186"/>
                  </a:cubicBezTo>
                  <a:cubicBezTo>
                    <a:pt x="2691" y="182"/>
                    <a:pt x="2691" y="179"/>
                    <a:pt x="2693" y="177"/>
                  </a:cubicBezTo>
                  <a:cubicBezTo>
                    <a:pt x="2690" y="175"/>
                    <a:pt x="2688" y="172"/>
                    <a:pt x="2688" y="167"/>
                  </a:cubicBezTo>
                  <a:cubicBezTo>
                    <a:pt x="2684" y="167"/>
                    <a:pt x="2681" y="167"/>
                    <a:pt x="2682" y="163"/>
                  </a:cubicBezTo>
                  <a:cubicBezTo>
                    <a:pt x="2688" y="168"/>
                    <a:pt x="2689" y="159"/>
                    <a:pt x="2693" y="156"/>
                  </a:cubicBezTo>
                  <a:cubicBezTo>
                    <a:pt x="2690" y="155"/>
                    <a:pt x="2685" y="156"/>
                    <a:pt x="2685" y="154"/>
                  </a:cubicBezTo>
                  <a:cubicBezTo>
                    <a:pt x="2688" y="147"/>
                    <a:pt x="2688" y="141"/>
                    <a:pt x="2685" y="135"/>
                  </a:cubicBezTo>
                  <a:cubicBezTo>
                    <a:pt x="2694" y="138"/>
                    <a:pt x="2686" y="127"/>
                    <a:pt x="2693" y="128"/>
                  </a:cubicBezTo>
                  <a:cubicBezTo>
                    <a:pt x="2696" y="128"/>
                    <a:pt x="2696" y="131"/>
                    <a:pt x="2695" y="134"/>
                  </a:cubicBezTo>
                  <a:cubicBezTo>
                    <a:pt x="2702" y="130"/>
                    <a:pt x="2705" y="137"/>
                    <a:pt x="2709" y="132"/>
                  </a:cubicBezTo>
                  <a:cubicBezTo>
                    <a:pt x="2706" y="130"/>
                    <a:pt x="2704" y="127"/>
                    <a:pt x="2701" y="125"/>
                  </a:cubicBezTo>
                  <a:cubicBezTo>
                    <a:pt x="2705" y="125"/>
                    <a:pt x="2710" y="125"/>
                    <a:pt x="2709" y="120"/>
                  </a:cubicBezTo>
                  <a:cubicBezTo>
                    <a:pt x="2701" y="123"/>
                    <a:pt x="2701" y="120"/>
                    <a:pt x="2690" y="121"/>
                  </a:cubicBezTo>
                  <a:cubicBezTo>
                    <a:pt x="2690" y="126"/>
                    <a:pt x="2688" y="128"/>
                    <a:pt x="2682" y="128"/>
                  </a:cubicBezTo>
                  <a:cubicBezTo>
                    <a:pt x="2682" y="125"/>
                    <a:pt x="2685" y="124"/>
                    <a:pt x="2684" y="121"/>
                  </a:cubicBezTo>
                  <a:cubicBezTo>
                    <a:pt x="2672" y="118"/>
                    <a:pt x="2679" y="130"/>
                    <a:pt x="2668" y="128"/>
                  </a:cubicBezTo>
                  <a:cubicBezTo>
                    <a:pt x="2674" y="124"/>
                    <a:pt x="2667" y="121"/>
                    <a:pt x="2668" y="119"/>
                  </a:cubicBezTo>
                  <a:cubicBezTo>
                    <a:pt x="2668" y="118"/>
                    <a:pt x="2673" y="117"/>
                    <a:pt x="2670" y="114"/>
                  </a:cubicBezTo>
                  <a:cubicBezTo>
                    <a:pt x="2670" y="113"/>
                    <a:pt x="2664" y="114"/>
                    <a:pt x="2665" y="112"/>
                  </a:cubicBezTo>
                  <a:cubicBezTo>
                    <a:pt x="2678" y="107"/>
                    <a:pt x="2672" y="119"/>
                    <a:pt x="2681" y="118"/>
                  </a:cubicBezTo>
                  <a:cubicBezTo>
                    <a:pt x="2691" y="118"/>
                    <a:pt x="2676" y="111"/>
                    <a:pt x="2684" y="111"/>
                  </a:cubicBezTo>
                  <a:cubicBezTo>
                    <a:pt x="2687" y="112"/>
                    <a:pt x="2687" y="115"/>
                    <a:pt x="2687" y="118"/>
                  </a:cubicBezTo>
                  <a:cubicBezTo>
                    <a:pt x="2699" y="117"/>
                    <a:pt x="2715" y="120"/>
                    <a:pt x="2723" y="115"/>
                  </a:cubicBezTo>
                  <a:cubicBezTo>
                    <a:pt x="2727" y="117"/>
                    <a:pt x="2722" y="127"/>
                    <a:pt x="2731" y="124"/>
                  </a:cubicBezTo>
                  <a:cubicBezTo>
                    <a:pt x="2731" y="122"/>
                    <a:pt x="2730" y="118"/>
                    <a:pt x="2734" y="117"/>
                  </a:cubicBezTo>
                  <a:cubicBezTo>
                    <a:pt x="2737" y="117"/>
                    <a:pt x="2741" y="117"/>
                    <a:pt x="2745" y="117"/>
                  </a:cubicBezTo>
                  <a:cubicBezTo>
                    <a:pt x="2744" y="123"/>
                    <a:pt x="2745" y="126"/>
                    <a:pt x="2747" y="129"/>
                  </a:cubicBezTo>
                  <a:cubicBezTo>
                    <a:pt x="2739" y="126"/>
                    <a:pt x="2740" y="128"/>
                    <a:pt x="2737" y="134"/>
                  </a:cubicBezTo>
                  <a:cubicBezTo>
                    <a:pt x="2748" y="138"/>
                    <a:pt x="2756" y="128"/>
                    <a:pt x="2758" y="129"/>
                  </a:cubicBezTo>
                  <a:cubicBezTo>
                    <a:pt x="2762" y="129"/>
                    <a:pt x="2763" y="138"/>
                    <a:pt x="2767" y="136"/>
                  </a:cubicBezTo>
                  <a:cubicBezTo>
                    <a:pt x="2764" y="127"/>
                    <a:pt x="2779" y="132"/>
                    <a:pt x="2775" y="121"/>
                  </a:cubicBezTo>
                  <a:cubicBezTo>
                    <a:pt x="2765" y="119"/>
                    <a:pt x="2771" y="130"/>
                    <a:pt x="2761" y="129"/>
                  </a:cubicBezTo>
                  <a:cubicBezTo>
                    <a:pt x="2770" y="121"/>
                    <a:pt x="2751" y="126"/>
                    <a:pt x="2753" y="117"/>
                  </a:cubicBezTo>
                  <a:cubicBezTo>
                    <a:pt x="2759" y="122"/>
                    <a:pt x="2765" y="117"/>
                    <a:pt x="2769" y="114"/>
                  </a:cubicBezTo>
                  <a:cubicBezTo>
                    <a:pt x="2770" y="117"/>
                    <a:pt x="2772" y="118"/>
                    <a:pt x="2775" y="119"/>
                  </a:cubicBezTo>
                  <a:cubicBezTo>
                    <a:pt x="2778" y="115"/>
                    <a:pt x="2772" y="107"/>
                    <a:pt x="2780" y="102"/>
                  </a:cubicBezTo>
                  <a:cubicBezTo>
                    <a:pt x="2779" y="108"/>
                    <a:pt x="2781" y="112"/>
                    <a:pt x="2783" y="114"/>
                  </a:cubicBezTo>
                  <a:cubicBezTo>
                    <a:pt x="2780" y="114"/>
                    <a:pt x="2780" y="118"/>
                    <a:pt x="2783" y="119"/>
                  </a:cubicBezTo>
                  <a:cubicBezTo>
                    <a:pt x="2784" y="117"/>
                    <a:pt x="2785" y="116"/>
                    <a:pt x="2788" y="116"/>
                  </a:cubicBezTo>
                  <a:cubicBezTo>
                    <a:pt x="2789" y="112"/>
                    <a:pt x="2785" y="111"/>
                    <a:pt x="2786" y="107"/>
                  </a:cubicBezTo>
                  <a:cubicBezTo>
                    <a:pt x="2790" y="107"/>
                    <a:pt x="2796" y="106"/>
                    <a:pt x="2797" y="109"/>
                  </a:cubicBezTo>
                  <a:cubicBezTo>
                    <a:pt x="2797" y="114"/>
                    <a:pt x="2794" y="117"/>
                    <a:pt x="2788" y="116"/>
                  </a:cubicBezTo>
                  <a:cubicBezTo>
                    <a:pt x="2791" y="124"/>
                    <a:pt x="2785" y="124"/>
                    <a:pt x="2778" y="124"/>
                  </a:cubicBezTo>
                  <a:cubicBezTo>
                    <a:pt x="2775" y="129"/>
                    <a:pt x="2782" y="137"/>
                    <a:pt x="2783" y="131"/>
                  </a:cubicBezTo>
                  <a:cubicBezTo>
                    <a:pt x="2780" y="131"/>
                    <a:pt x="2780" y="127"/>
                    <a:pt x="2783" y="126"/>
                  </a:cubicBezTo>
                  <a:cubicBezTo>
                    <a:pt x="2790" y="133"/>
                    <a:pt x="2785" y="127"/>
                    <a:pt x="2794" y="126"/>
                  </a:cubicBezTo>
                  <a:cubicBezTo>
                    <a:pt x="2794" y="130"/>
                    <a:pt x="2797" y="131"/>
                    <a:pt x="2797" y="135"/>
                  </a:cubicBezTo>
                  <a:cubicBezTo>
                    <a:pt x="2806" y="138"/>
                    <a:pt x="2799" y="127"/>
                    <a:pt x="2808" y="130"/>
                  </a:cubicBezTo>
                  <a:cubicBezTo>
                    <a:pt x="2808" y="133"/>
                    <a:pt x="2804" y="133"/>
                    <a:pt x="2805" y="137"/>
                  </a:cubicBezTo>
                  <a:cubicBezTo>
                    <a:pt x="2816" y="140"/>
                    <a:pt x="2809" y="128"/>
                    <a:pt x="2819" y="130"/>
                  </a:cubicBezTo>
                  <a:cubicBezTo>
                    <a:pt x="2817" y="132"/>
                    <a:pt x="2813" y="139"/>
                    <a:pt x="2822" y="137"/>
                  </a:cubicBezTo>
                  <a:cubicBezTo>
                    <a:pt x="2822" y="128"/>
                    <a:pt x="2825" y="128"/>
                    <a:pt x="2821" y="121"/>
                  </a:cubicBezTo>
                  <a:cubicBezTo>
                    <a:pt x="2830" y="123"/>
                    <a:pt x="2842" y="119"/>
                    <a:pt x="2854" y="122"/>
                  </a:cubicBezTo>
                  <a:cubicBezTo>
                    <a:pt x="2855" y="118"/>
                    <a:pt x="2851" y="118"/>
                    <a:pt x="2849" y="115"/>
                  </a:cubicBezTo>
                  <a:cubicBezTo>
                    <a:pt x="2852" y="109"/>
                    <a:pt x="2840" y="104"/>
                    <a:pt x="2849" y="101"/>
                  </a:cubicBezTo>
                  <a:cubicBezTo>
                    <a:pt x="2850" y="101"/>
                    <a:pt x="2852" y="101"/>
                    <a:pt x="2854" y="101"/>
                  </a:cubicBezTo>
                  <a:cubicBezTo>
                    <a:pt x="2856" y="105"/>
                    <a:pt x="2851" y="113"/>
                    <a:pt x="2857" y="113"/>
                  </a:cubicBezTo>
                  <a:cubicBezTo>
                    <a:pt x="2856" y="103"/>
                    <a:pt x="2863" y="111"/>
                    <a:pt x="2868" y="110"/>
                  </a:cubicBezTo>
                  <a:cubicBezTo>
                    <a:pt x="2868" y="107"/>
                    <a:pt x="2867" y="102"/>
                    <a:pt x="2871" y="101"/>
                  </a:cubicBezTo>
                  <a:cubicBezTo>
                    <a:pt x="2869" y="104"/>
                    <a:pt x="2874" y="113"/>
                    <a:pt x="2868" y="113"/>
                  </a:cubicBezTo>
                  <a:cubicBezTo>
                    <a:pt x="2858" y="108"/>
                    <a:pt x="2860" y="115"/>
                    <a:pt x="2857" y="122"/>
                  </a:cubicBezTo>
                  <a:cubicBezTo>
                    <a:pt x="2862" y="124"/>
                    <a:pt x="2866" y="120"/>
                    <a:pt x="2868" y="120"/>
                  </a:cubicBezTo>
                  <a:cubicBezTo>
                    <a:pt x="2871" y="120"/>
                    <a:pt x="2873" y="123"/>
                    <a:pt x="2876" y="122"/>
                  </a:cubicBezTo>
                  <a:cubicBezTo>
                    <a:pt x="2878" y="121"/>
                    <a:pt x="2876" y="116"/>
                    <a:pt x="2879" y="117"/>
                  </a:cubicBezTo>
                  <a:cubicBezTo>
                    <a:pt x="2877" y="123"/>
                    <a:pt x="2883" y="122"/>
                    <a:pt x="2888" y="122"/>
                  </a:cubicBezTo>
                  <a:cubicBezTo>
                    <a:pt x="2888" y="114"/>
                    <a:pt x="2888" y="114"/>
                    <a:pt x="2888" y="114"/>
                  </a:cubicBezTo>
                  <a:cubicBezTo>
                    <a:pt x="2885" y="113"/>
                    <a:pt x="2882" y="111"/>
                    <a:pt x="2876" y="113"/>
                  </a:cubicBezTo>
                  <a:cubicBezTo>
                    <a:pt x="2877" y="110"/>
                    <a:pt x="2881" y="110"/>
                    <a:pt x="2884" y="110"/>
                  </a:cubicBezTo>
                  <a:cubicBezTo>
                    <a:pt x="2887" y="110"/>
                    <a:pt x="2886" y="107"/>
                    <a:pt x="2887" y="105"/>
                  </a:cubicBezTo>
                  <a:cubicBezTo>
                    <a:pt x="2887" y="105"/>
                    <a:pt x="2888" y="105"/>
                    <a:pt x="2888" y="105"/>
                  </a:cubicBezTo>
                  <a:cubicBezTo>
                    <a:pt x="2888" y="74"/>
                    <a:pt x="2888" y="74"/>
                    <a:pt x="2888" y="74"/>
                  </a:cubicBezTo>
                  <a:cubicBezTo>
                    <a:pt x="2887" y="73"/>
                    <a:pt x="2887" y="72"/>
                    <a:pt x="2888" y="70"/>
                  </a:cubicBezTo>
                  <a:lnTo>
                    <a:pt x="2888" y="0"/>
                  </a:lnTo>
                  <a:close/>
                  <a:moveTo>
                    <a:pt x="220" y="274"/>
                  </a:moveTo>
                  <a:cubicBezTo>
                    <a:pt x="213" y="274"/>
                    <a:pt x="214" y="263"/>
                    <a:pt x="217" y="260"/>
                  </a:cubicBezTo>
                  <a:cubicBezTo>
                    <a:pt x="224" y="260"/>
                    <a:pt x="219" y="270"/>
                    <a:pt x="220" y="274"/>
                  </a:cubicBezTo>
                  <a:close/>
                  <a:moveTo>
                    <a:pt x="227" y="203"/>
                  </a:moveTo>
                  <a:cubicBezTo>
                    <a:pt x="224" y="203"/>
                    <a:pt x="225" y="199"/>
                    <a:pt x="225" y="196"/>
                  </a:cubicBezTo>
                  <a:cubicBezTo>
                    <a:pt x="229" y="195"/>
                    <a:pt x="230" y="198"/>
                    <a:pt x="230" y="201"/>
                  </a:cubicBezTo>
                  <a:cubicBezTo>
                    <a:pt x="228" y="201"/>
                    <a:pt x="228" y="202"/>
                    <a:pt x="227" y="203"/>
                  </a:cubicBezTo>
                  <a:close/>
                  <a:moveTo>
                    <a:pt x="305" y="256"/>
                  </a:moveTo>
                  <a:cubicBezTo>
                    <a:pt x="297" y="258"/>
                    <a:pt x="298" y="253"/>
                    <a:pt x="291" y="254"/>
                  </a:cubicBezTo>
                  <a:cubicBezTo>
                    <a:pt x="292" y="247"/>
                    <a:pt x="306" y="249"/>
                    <a:pt x="305" y="256"/>
                  </a:cubicBezTo>
                  <a:close/>
                  <a:moveTo>
                    <a:pt x="340" y="197"/>
                  </a:moveTo>
                  <a:cubicBezTo>
                    <a:pt x="342" y="197"/>
                    <a:pt x="343" y="197"/>
                    <a:pt x="345" y="197"/>
                  </a:cubicBezTo>
                  <a:cubicBezTo>
                    <a:pt x="346" y="203"/>
                    <a:pt x="325" y="196"/>
                    <a:pt x="340" y="197"/>
                  </a:cubicBezTo>
                  <a:close/>
                  <a:moveTo>
                    <a:pt x="357" y="258"/>
                  </a:moveTo>
                  <a:cubicBezTo>
                    <a:pt x="359" y="255"/>
                    <a:pt x="361" y="253"/>
                    <a:pt x="357" y="253"/>
                  </a:cubicBezTo>
                  <a:cubicBezTo>
                    <a:pt x="361" y="245"/>
                    <a:pt x="364" y="258"/>
                    <a:pt x="371" y="255"/>
                  </a:cubicBezTo>
                  <a:cubicBezTo>
                    <a:pt x="372" y="260"/>
                    <a:pt x="361" y="256"/>
                    <a:pt x="357" y="258"/>
                  </a:cubicBezTo>
                  <a:close/>
                  <a:moveTo>
                    <a:pt x="415" y="259"/>
                  </a:moveTo>
                  <a:cubicBezTo>
                    <a:pt x="409" y="260"/>
                    <a:pt x="405" y="259"/>
                    <a:pt x="401" y="257"/>
                  </a:cubicBezTo>
                  <a:cubicBezTo>
                    <a:pt x="401" y="253"/>
                    <a:pt x="419" y="252"/>
                    <a:pt x="415" y="259"/>
                  </a:cubicBezTo>
                  <a:close/>
                  <a:moveTo>
                    <a:pt x="480" y="201"/>
                  </a:moveTo>
                  <a:cubicBezTo>
                    <a:pt x="482" y="201"/>
                    <a:pt x="484" y="201"/>
                    <a:pt x="485" y="201"/>
                  </a:cubicBezTo>
                  <a:cubicBezTo>
                    <a:pt x="486" y="208"/>
                    <a:pt x="465" y="201"/>
                    <a:pt x="480" y="201"/>
                  </a:cubicBezTo>
                  <a:close/>
                  <a:moveTo>
                    <a:pt x="502" y="201"/>
                  </a:moveTo>
                  <a:cubicBezTo>
                    <a:pt x="514" y="202"/>
                    <a:pt x="499" y="215"/>
                    <a:pt x="502" y="201"/>
                  </a:cubicBezTo>
                  <a:close/>
                  <a:moveTo>
                    <a:pt x="538" y="205"/>
                  </a:moveTo>
                  <a:cubicBezTo>
                    <a:pt x="538" y="200"/>
                    <a:pt x="545" y="200"/>
                    <a:pt x="548" y="203"/>
                  </a:cubicBezTo>
                  <a:cubicBezTo>
                    <a:pt x="548" y="206"/>
                    <a:pt x="542" y="205"/>
                    <a:pt x="538" y="205"/>
                  </a:cubicBezTo>
                  <a:close/>
                  <a:moveTo>
                    <a:pt x="552" y="264"/>
                  </a:moveTo>
                  <a:cubicBezTo>
                    <a:pt x="551" y="259"/>
                    <a:pt x="554" y="257"/>
                    <a:pt x="555" y="254"/>
                  </a:cubicBezTo>
                  <a:cubicBezTo>
                    <a:pt x="561" y="256"/>
                    <a:pt x="563" y="264"/>
                    <a:pt x="552" y="264"/>
                  </a:cubicBezTo>
                  <a:close/>
                  <a:moveTo>
                    <a:pt x="573" y="204"/>
                  </a:moveTo>
                  <a:cubicBezTo>
                    <a:pt x="574" y="199"/>
                    <a:pt x="587" y="203"/>
                    <a:pt x="592" y="202"/>
                  </a:cubicBezTo>
                  <a:cubicBezTo>
                    <a:pt x="591" y="207"/>
                    <a:pt x="579" y="203"/>
                    <a:pt x="573" y="204"/>
                  </a:cubicBezTo>
                  <a:close/>
                  <a:moveTo>
                    <a:pt x="592" y="199"/>
                  </a:moveTo>
                  <a:cubicBezTo>
                    <a:pt x="587" y="198"/>
                    <a:pt x="592" y="195"/>
                    <a:pt x="592" y="192"/>
                  </a:cubicBezTo>
                  <a:cubicBezTo>
                    <a:pt x="597" y="194"/>
                    <a:pt x="593" y="197"/>
                    <a:pt x="592" y="199"/>
                  </a:cubicBezTo>
                  <a:close/>
                  <a:moveTo>
                    <a:pt x="624" y="265"/>
                  </a:moveTo>
                  <a:cubicBezTo>
                    <a:pt x="625" y="262"/>
                    <a:pt x="627" y="260"/>
                    <a:pt x="632" y="260"/>
                  </a:cubicBezTo>
                  <a:cubicBezTo>
                    <a:pt x="631" y="263"/>
                    <a:pt x="628" y="265"/>
                    <a:pt x="624" y="265"/>
                  </a:cubicBezTo>
                  <a:close/>
                  <a:moveTo>
                    <a:pt x="653" y="203"/>
                  </a:moveTo>
                  <a:cubicBezTo>
                    <a:pt x="655" y="203"/>
                    <a:pt x="658" y="203"/>
                    <a:pt x="661" y="203"/>
                  </a:cubicBezTo>
                  <a:cubicBezTo>
                    <a:pt x="661" y="208"/>
                    <a:pt x="651" y="204"/>
                    <a:pt x="647" y="205"/>
                  </a:cubicBezTo>
                  <a:cubicBezTo>
                    <a:pt x="647" y="203"/>
                    <a:pt x="651" y="204"/>
                    <a:pt x="653" y="203"/>
                  </a:cubicBezTo>
                  <a:close/>
                  <a:moveTo>
                    <a:pt x="656" y="264"/>
                  </a:moveTo>
                  <a:cubicBezTo>
                    <a:pt x="650" y="263"/>
                    <a:pt x="639" y="267"/>
                    <a:pt x="643" y="260"/>
                  </a:cubicBezTo>
                  <a:cubicBezTo>
                    <a:pt x="652" y="263"/>
                    <a:pt x="661" y="258"/>
                    <a:pt x="667" y="264"/>
                  </a:cubicBezTo>
                  <a:cubicBezTo>
                    <a:pt x="676" y="266"/>
                    <a:pt x="663" y="265"/>
                    <a:pt x="656" y="264"/>
                  </a:cubicBezTo>
                  <a:close/>
                  <a:moveTo>
                    <a:pt x="690" y="266"/>
                  </a:moveTo>
                  <a:cubicBezTo>
                    <a:pt x="697" y="257"/>
                    <a:pt x="707" y="271"/>
                    <a:pt x="690" y="266"/>
                  </a:cubicBezTo>
                  <a:close/>
                  <a:moveTo>
                    <a:pt x="714" y="263"/>
                  </a:moveTo>
                  <a:cubicBezTo>
                    <a:pt x="716" y="263"/>
                    <a:pt x="718" y="263"/>
                    <a:pt x="720" y="263"/>
                  </a:cubicBezTo>
                  <a:cubicBezTo>
                    <a:pt x="720" y="270"/>
                    <a:pt x="699" y="263"/>
                    <a:pt x="714" y="263"/>
                  </a:cubicBezTo>
                  <a:close/>
                  <a:moveTo>
                    <a:pt x="738" y="209"/>
                  </a:moveTo>
                  <a:cubicBezTo>
                    <a:pt x="737" y="208"/>
                    <a:pt x="745" y="206"/>
                    <a:pt x="743" y="204"/>
                  </a:cubicBezTo>
                  <a:cubicBezTo>
                    <a:pt x="753" y="208"/>
                    <a:pt x="740" y="210"/>
                    <a:pt x="738" y="209"/>
                  </a:cubicBezTo>
                  <a:close/>
                  <a:moveTo>
                    <a:pt x="777" y="267"/>
                  </a:moveTo>
                  <a:cubicBezTo>
                    <a:pt x="773" y="266"/>
                    <a:pt x="763" y="269"/>
                    <a:pt x="766" y="262"/>
                  </a:cubicBezTo>
                  <a:cubicBezTo>
                    <a:pt x="773" y="263"/>
                    <a:pt x="779" y="265"/>
                    <a:pt x="788" y="264"/>
                  </a:cubicBezTo>
                  <a:cubicBezTo>
                    <a:pt x="788" y="270"/>
                    <a:pt x="782" y="267"/>
                    <a:pt x="777" y="267"/>
                  </a:cubicBezTo>
                  <a:close/>
                  <a:moveTo>
                    <a:pt x="791" y="269"/>
                  </a:moveTo>
                  <a:cubicBezTo>
                    <a:pt x="793" y="266"/>
                    <a:pt x="797" y="264"/>
                    <a:pt x="802" y="264"/>
                  </a:cubicBezTo>
                  <a:cubicBezTo>
                    <a:pt x="801" y="268"/>
                    <a:pt x="797" y="269"/>
                    <a:pt x="791" y="269"/>
                  </a:cubicBezTo>
                  <a:close/>
                  <a:moveTo>
                    <a:pt x="810" y="261"/>
                  </a:moveTo>
                  <a:cubicBezTo>
                    <a:pt x="814" y="263"/>
                    <a:pt x="815" y="266"/>
                    <a:pt x="816" y="271"/>
                  </a:cubicBezTo>
                  <a:cubicBezTo>
                    <a:pt x="807" y="272"/>
                    <a:pt x="806" y="265"/>
                    <a:pt x="810" y="261"/>
                  </a:cubicBezTo>
                  <a:close/>
                  <a:moveTo>
                    <a:pt x="824" y="264"/>
                  </a:moveTo>
                  <a:cubicBezTo>
                    <a:pt x="830" y="269"/>
                    <a:pt x="836" y="261"/>
                    <a:pt x="840" y="266"/>
                  </a:cubicBezTo>
                  <a:cubicBezTo>
                    <a:pt x="836" y="270"/>
                    <a:pt x="824" y="273"/>
                    <a:pt x="824" y="264"/>
                  </a:cubicBezTo>
                  <a:close/>
                  <a:moveTo>
                    <a:pt x="865" y="268"/>
                  </a:moveTo>
                  <a:cubicBezTo>
                    <a:pt x="867" y="267"/>
                    <a:pt x="869" y="267"/>
                    <a:pt x="871" y="267"/>
                  </a:cubicBezTo>
                  <a:cubicBezTo>
                    <a:pt x="871" y="274"/>
                    <a:pt x="850" y="267"/>
                    <a:pt x="865" y="268"/>
                  </a:cubicBezTo>
                  <a:close/>
                  <a:moveTo>
                    <a:pt x="866" y="326"/>
                  </a:moveTo>
                  <a:cubicBezTo>
                    <a:pt x="866" y="325"/>
                    <a:pt x="866" y="323"/>
                    <a:pt x="866" y="321"/>
                  </a:cubicBezTo>
                  <a:cubicBezTo>
                    <a:pt x="868" y="321"/>
                    <a:pt x="870" y="321"/>
                    <a:pt x="871" y="321"/>
                  </a:cubicBezTo>
                  <a:cubicBezTo>
                    <a:pt x="872" y="323"/>
                    <a:pt x="872" y="325"/>
                    <a:pt x="872" y="326"/>
                  </a:cubicBezTo>
                  <a:cubicBezTo>
                    <a:pt x="870" y="326"/>
                    <a:pt x="868" y="326"/>
                    <a:pt x="866" y="326"/>
                  </a:cubicBezTo>
                  <a:close/>
                  <a:moveTo>
                    <a:pt x="903" y="269"/>
                  </a:moveTo>
                  <a:cubicBezTo>
                    <a:pt x="912" y="260"/>
                    <a:pt x="913" y="276"/>
                    <a:pt x="903" y="269"/>
                  </a:cubicBezTo>
                  <a:close/>
                  <a:moveTo>
                    <a:pt x="925" y="266"/>
                  </a:moveTo>
                  <a:cubicBezTo>
                    <a:pt x="930" y="266"/>
                    <a:pt x="931" y="269"/>
                    <a:pt x="936" y="269"/>
                  </a:cubicBezTo>
                  <a:cubicBezTo>
                    <a:pt x="937" y="273"/>
                    <a:pt x="921" y="273"/>
                    <a:pt x="925" y="266"/>
                  </a:cubicBezTo>
                  <a:close/>
                  <a:moveTo>
                    <a:pt x="947" y="271"/>
                  </a:moveTo>
                  <a:cubicBezTo>
                    <a:pt x="945" y="264"/>
                    <a:pt x="953" y="266"/>
                    <a:pt x="958" y="266"/>
                  </a:cubicBezTo>
                  <a:cubicBezTo>
                    <a:pt x="958" y="270"/>
                    <a:pt x="954" y="271"/>
                    <a:pt x="947" y="271"/>
                  </a:cubicBezTo>
                  <a:close/>
                  <a:moveTo>
                    <a:pt x="961" y="271"/>
                  </a:moveTo>
                  <a:cubicBezTo>
                    <a:pt x="963" y="269"/>
                    <a:pt x="964" y="267"/>
                    <a:pt x="964" y="263"/>
                  </a:cubicBezTo>
                  <a:cubicBezTo>
                    <a:pt x="971" y="263"/>
                    <a:pt x="972" y="267"/>
                    <a:pt x="978" y="268"/>
                  </a:cubicBezTo>
                  <a:cubicBezTo>
                    <a:pt x="977" y="273"/>
                    <a:pt x="966" y="269"/>
                    <a:pt x="961" y="271"/>
                  </a:cubicBezTo>
                  <a:close/>
                  <a:moveTo>
                    <a:pt x="986" y="275"/>
                  </a:moveTo>
                  <a:cubicBezTo>
                    <a:pt x="985" y="273"/>
                    <a:pt x="987" y="273"/>
                    <a:pt x="989" y="272"/>
                  </a:cubicBezTo>
                  <a:cubicBezTo>
                    <a:pt x="985" y="269"/>
                    <a:pt x="980" y="268"/>
                    <a:pt x="986" y="263"/>
                  </a:cubicBezTo>
                  <a:cubicBezTo>
                    <a:pt x="994" y="261"/>
                    <a:pt x="989" y="271"/>
                    <a:pt x="1000" y="268"/>
                  </a:cubicBezTo>
                  <a:cubicBezTo>
                    <a:pt x="995" y="270"/>
                    <a:pt x="993" y="274"/>
                    <a:pt x="986" y="275"/>
                  </a:cubicBezTo>
                  <a:close/>
                  <a:moveTo>
                    <a:pt x="1011" y="272"/>
                  </a:moveTo>
                  <a:cubicBezTo>
                    <a:pt x="1011" y="270"/>
                    <a:pt x="1011" y="269"/>
                    <a:pt x="1010" y="267"/>
                  </a:cubicBezTo>
                  <a:cubicBezTo>
                    <a:pt x="1012" y="267"/>
                    <a:pt x="1014" y="267"/>
                    <a:pt x="1016" y="267"/>
                  </a:cubicBezTo>
                  <a:cubicBezTo>
                    <a:pt x="1016" y="269"/>
                    <a:pt x="1016" y="270"/>
                    <a:pt x="1016" y="272"/>
                  </a:cubicBezTo>
                  <a:cubicBezTo>
                    <a:pt x="1014" y="272"/>
                    <a:pt x="1012" y="272"/>
                    <a:pt x="1011" y="272"/>
                  </a:cubicBezTo>
                  <a:close/>
                  <a:moveTo>
                    <a:pt x="1150" y="270"/>
                  </a:moveTo>
                  <a:cubicBezTo>
                    <a:pt x="1150" y="268"/>
                    <a:pt x="1150" y="266"/>
                    <a:pt x="1150" y="265"/>
                  </a:cubicBezTo>
                  <a:cubicBezTo>
                    <a:pt x="1152" y="265"/>
                    <a:pt x="1154" y="265"/>
                    <a:pt x="1156" y="265"/>
                  </a:cubicBezTo>
                  <a:cubicBezTo>
                    <a:pt x="1156" y="266"/>
                    <a:pt x="1156" y="268"/>
                    <a:pt x="1156" y="269"/>
                  </a:cubicBezTo>
                  <a:cubicBezTo>
                    <a:pt x="1154" y="270"/>
                    <a:pt x="1152" y="270"/>
                    <a:pt x="1150" y="270"/>
                  </a:cubicBezTo>
                  <a:close/>
                  <a:moveTo>
                    <a:pt x="1170" y="269"/>
                  </a:moveTo>
                  <a:cubicBezTo>
                    <a:pt x="1170" y="268"/>
                    <a:pt x="1170" y="266"/>
                    <a:pt x="1170" y="265"/>
                  </a:cubicBezTo>
                  <a:cubicBezTo>
                    <a:pt x="1171" y="265"/>
                    <a:pt x="1173" y="265"/>
                    <a:pt x="1175" y="264"/>
                  </a:cubicBezTo>
                  <a:cubicBezTo>
                    <a:pt x="1175" y="266"/>
                    <a:pt x="1175" y="268"/>
                    <a:pt x="1175" y="269"/>
                  </a:cubicBezTo>
                  <a:cubicBezTo>
                    <a:pt x="1173" y="269"/>
                    <a:pt x="1171" y="269"/>
                    <a:pt x="1170" y="269"/>
                  </a:cubicBezTo>
                  <a:close/>
                  <a:moveTo>
                    <a:pt x="1194" y="271"/>
                  </a:moveTo>
                  <a:cubicBezTo>
                    <a:pt x="1195" y="263"/>
                    <a:pt x="1187" y="272"/>
                    <a:pt x="1181" y="267"/>
                  </a:cubicBezTo>
                  <a:cubicBezTo>
                    <a:pt x="1179" y="261"/>
                    <a:pt x="1191" y="267"/>
                    <a:pt x="1194" y="264"/>
                  </a:cubicBezTo>
                  <a:cubicBezTo>
                    <a:pt x="1194" y="264"/>
                    <a:pt x="1194" y="262"/>
                    <a:pt x="1194" y="262"/>
                  </a:cubicBezTo>
                  <a:cubicBezTo>
                    <a:pt x="1200" y="261"/>
                    <a:pt x="1208" y="268"/>
                    <a:pt x="1211" y="261"/>
                  </a:cubicBezTo>
                  <a:cubicBezTo>
                    <a:pt x="1221" y="266"/>
                    <a:pt x="1208" y="265"/>
                    <a:pt x="1205" y="266"/>
                  </a:cubicBezTo>
                  <a:cubicBezTo>
                    <a:pt x="1201" y="268"/>
                    <a:pt x="1198" y="272"/>
                    <a:pt x="1194" y="271"/>
                  </a:cubicBezTo>
                  <a:close/>
                  <a:moveTo>
                    <a:pt x="1199" y="353"/>
                  </a:moveTo>
                  <a:cubicBezTo>
                    <a:pt x="1207" y="350"/>
                    <a:pt x="1205" y="357"/>
                    <a:pt x="1210" y="358"/>
                  </a:cubicBezTo>
                  <a:cubicBezTo>
                    <a:pt x="1209" y="363"/>
                    <a:pt x="1194" y="361"/>
                    <a:pt x="1199" y="353"/>
                  </a:cubicBezTo>
                  <a:close/>
                  <a:moveTo>
                    <a:pt x="1212" y="355"/>
                  </a:moveTo>
                  <a:cubicBezTo>
                    <a:pt x="1215" y="349"/>
                    <a:pt x="1216" y="353"/>
                    <a:pt x="1223" y="353"/>
                  </a:cubicBezTo>
                  <a:cubicBezTo>
                    <a:pt x="1223" y="358"/>
                    <a:pt x="1216" y="358"/>
                    <a:pt x="1212" y="355"/>
                  </a:cubicBezTo>
                  <a:close/>
                  <a:moveTo>
                    <a:pt x="1227" y="261"/>
                  </a:moveTo>
                  <a:cubicBezTo>
                    <a:pt x="1232" y="261"/>
                    <a:pt x="1234" y="265"/>
                    <a:pt x="1235" y="261"/>
                  </a:cubicBezTo>
                  <a:cubicBezTo>
                    <a:pt x="1247" y="264"/>
                    <a:pt x="1223" y="271"/>
                    <a:pt x="1227" y="261"/>
                  </a:cubicBezTo>
                  <a:close/>
                  <a:moveTo>
                    <a:pt x="1237" y="195"/>
                  </a:moveTo>
                  <a:cubicBezTo>
                    <a:pt x="1237" y="194"/>
                    <a:pt x="1237" y="192"/>
                    <a:pt x="1237" y="191"/>
                  </a:cubicBezTo>
                  <a:cubicBezTo>
                    <a:pt x="1239" y="190"/>
                    <a:pt x="1240" y="190"/>
                    <a:pt x="1242" y="190"/>
                  </a:cubicBezTo>
                  <a:cubicBezTo>
                    <a:pt x="1242" y="192"/>
                    <a:pt x="1242" y="194"/>
                    <a:pt x="1242" y="195"/>
                  </a:cubicBezTo>
                  <a:cubicBezTo>
                    <a:pt x="1241" y="195"/>
                    <a:pt x="1239" y="195"/>
                    <a:pt x="1237" y="195"/>
                  </a:cubicBezTo>
                  <a:close/>
                  <a:moveTo>
                    <a:pt x="1259" y="195"/>
                  </a:moveTo>
                  <a:cubicBezTo>
                    <a:pt x="1252" y="196"/>
                    <a:pt x="1252" y="190"/>
                    <a:pt x="1250" y="186"/>
                  </a:cubicBezTo>
                  <a:cubicBezTo>
                    <a:pt x="1258" y="185"/>
                    <a:pt x="1258" y="190"/>
                    <a:pt x="1259" y="195"/>
                  </a:cubicBezTo>
                  <a:close/>
                  <a:moveTo>
                    <a:pt x="1252" y="261"/>
                  </a:moveTo>
                  <a:cubicBezTo>
                    <a:pt x="1256" y="260"/>
                    <a:pt x="1262" y="262"/>
                    <a:pt x="1263" y="258"/>
                  </a:cubicBezTo>
                  <a:cubicBezTo>
                    <a:pt x="1266" y="259"/>
                    <a:pt x="1265" y="262"/>
                    <a:pt x="1266" y="265"/>
                  </a:cubicBezTo>
                  <a:cubicBezTo>
                    <a:pt x="1263" y="268"/>
                    <a:pt x="1252" y="268"/>
                    <a:pt x="1252" y="261"/>
                  </a:cubicBezTo>
                  <a:close/>
                  <a:moveTo>
                    <a:pt x="1279" y="267"/>
                  </a:moveTo>
                  <a:cubicBezTo>
                    <a:pt x="1271" y="269"/>
                    <a:pt x="1269" y="262"/>
                    <a:pt x="1274" y="258"/>
                  </a:cubicBezTo>
                  <a:cubicBezTo>
                    <a:pt x="1279" y="259"/>
                    <a:pt x="1280" y="262"/>
                    <a:pt x="1279" y="267"/>
                  </a:cubicBezTo>
                  <a:close/>
                  <a:moveTo>
                    <a:pt x="1282" y="260"/>
                  </a:moveTo>
                  <a:cubicBezTo>
                    <a:pt x="1283" y="254"/>
                    <a:pt x="1287" y="263"/>
                    <a:pt x="1293" y="260"/>
                  </a:cubicBezTo>
                  <a:cubicBezTo>
                    <a:pt x="1291" y="268"/>
                    <a:pt x="1287" y="262"/>
                    <a:pt x="1282" y="260"/>
                  </a:cubicBezTo>
                  <a:close/>
                  <a:moveTo>
                    <a:pt x="1312" y="257"/>
                  </a:moveTo>
                  <a:cubicBezTo>
                    <a:pt x="1308" y="258"/>
                    <a:pt x="1310" y="265"/>
                    <a:pt x="1301" y="262"/>
                  </a:cubicBezTo>
                  <a:cubicBezTo>
                    <a:pt x="1300" y="255"/>
                    <a:pt x="1310" y="257"/>
                    <a:pt x="1315" y="255"/>
                  </a:cubicBezTo>
                  <a:cubicBezTo>
                    <a:pt x="1316" y="259"/>
                    <a:pt x="1312" y="260"/>
                    <a:pt x="1312" y="257"/>
                  </a:cubicBezTo>
                  <a:close/>
                  <a:moveTo>
                    <a:pt x="1479" y="238"/>
                  </a:moveTo>
                  <a:cubicBezTo>
                    <a:pt x="1478" y="239"/>
                    <a:pt x="1476" y="232"/>
                    <a:pt x="1474" y="233"/>
                  </a:cubicBezTo>
                  <a:cubicBezTo>
                    <a:pt x="1478" y="225"/>
                    <a:pt x="1481" y="236"/>
                    <a:pt x="1479" y="238"/>
                  </a:cubicBezTo>
                  <a:close/>
                  <a:moveTo>
                    <a:pt x="1448" y="177"/>
                  </a:moveTo>
                  <a:cubicBezTo>
                    <a:pt x="1447" y="180"/>
                    <a:pt x="1445" y="182"/>
                    <a:pt x="1440" y="182"/>
                  </a:cubicBezTo>
                  <a:cubicBezTo>
                    <a:pt x="1438" y="177"/>
                    <a:pt x="1444" y="178"/>
                    <a:pt x="1448" y="177"/>
                  </a:cubicBezTo>
                  <a:close/>
                  <a:moveTo>
                    <a:pt x="1424" y="248"/>
                  </a:moveTo>
                  <a:cubicBezTo>
                    <a:pt x="1429" y="248"/>
                    <a:pt x="1429" y="250"/>
                    <a:pt x="1433" y="251"/>
                  </a:cubicBezTo>
                  <a:cubicBezTo>
                    <a:pt x="1434" y="255"/>
                    <a:pt x="1420" y="254"/>
                    <a:pt x="1424" y="248"/>
                  </a:cubicBezTo>
                  <a:close/>
                  <a:moveTo>
                    <a:pt x="1334" y="259"/>
                  </a:moveTo>
                  <a:cubicBezTo>
                    <a:pt x="1334" y="257"/>
                    <a:pt x="1331" y="258"/>
                    <a:pt x="1329" y="257"/>
                  </a:cubicBezTo>
                  <a:cubicBezTo>
                    <a:pt x="1331" y="252"/>
                    <a:pt x="1344" y="256"/>
                    <a:pt x="1350" y="254"/>
                  </a:cubicBezTo>
                  <a:cubicBezTo>
                    <a:pt x="1347" y="261"/>
                    <a:pt x="1344" y="256"/>
                    <a:pt x="1334" y="259"/>
                  </a:cubicBezTo>
                  <a:close/>
                  <a:moveTo>
                    <a:pt x="1392" y="279"/>
                  </a:moveTo>
                  <a:cubicBezTo>
                    <a:pt x="1392" y="278"/>
                    <a:pt x="1392" y="276"/>
                    <a:pt x="1392" y="275"/>
                  </a:cubicBezTo>
                  <a:cubicBezTo>
                    <a:pt x="1394" y="275"/>
                    <a:pt x="1396" y="275"/>
                    <a:pt x="1397" y="275"/>
                  </a:cubicBezTo>
                  <a:cubicBezTo>
                    <a:pt x="1398" y="276"/>
                    <a:pt x="1398" y="278"/>
                    <a:pt x="1398" y="279"/>
                  </a:cubicBezTo>
                  <a:cubicBezTo>
                    <a:pt x="1396" y="279"/>
                    <a:pt x="1394" y="279"/>
                    <a:pt x="1392" y="279"/>
                  </a:cubicBezTo>
                  <a:close/>
                  <a:moveTo>
                    <a:pt x="1394" y="258"/>
                  </a:moveTo>
                  <a:cubicBezTo>
                    <a:pt x="1394" y="261"/>
                    <a:pt x="1392" y="260"/>
                    <a:pt x="1392" y="258"/>
                  </a:cubicBezTo>
                  <a:cubicBezTo>
                    <a:pt x="1388" y="259"/>
                    <a:pt x="1384" y="259"/>
                    <a:pt x="1383" y="256"/>
                  </a:cubicBezTo>
                  <a:cubicBezTo>
                    <a:pt x="1381" y="258"/>
                    <a:pt x="1376" y="260"/>
                    <a:pt x="1375" y="256"/>
                  </a:cubicBezTo>
                  <a:cubicBezTo>
                    <a:pt x="1373" y="257"/>
                    <a:pt x="1372" y="259"/>
                    <a:pt x="1370" y="259"/>
                  </a:cubicBezTo>
                  <a:cubicBezTo>
                    <a:pt x="1369" y="261"/>
                    <a:pt x="1371" y="261"/>
                    <a:pt x="1373" y="261"/>
                  </a:cubicBezTo>
                  <a:cubicBezTo>
                    <a:pt x="1373" y="267"/>
                    <a:pt x="1365" y="260"/>
                    <a:pt x="1367" y="256"/>
                  </a:cubicBezTo>
                  <a:cubicBezTo>
                    <a:pt x="1362" y="257"/>
                    <a:pt x="1365" y="266"/>
                    <a:pt x="1356" y="264"/>
                  </a:cubicBezTo>
                  <a:cubicBezTo>
                    <a:pt x="1358" y="256"/>
                    <a:pt x="1351" y="256"/>
                    <a:pt x="1356" y="252"/>
                  </a:cubicBezTo>
                  <a:cubicBezTo>
                    <a:pt x="1360" y="249"/>
                    <a:pt x="1366" y="255"/>
                    <a:pt x="1367" y="254"/>
                  </a:cubicBezTo>
                  <a:cubicBezTo>
                    <a:pt x="1367" y="254"/>
                    <a:pt x="1367" y="252"/>
                    <a:pt x="1367" y="252"/>
                  </a:cubicBezTo>
                  <a:cubicBezTo>
                    <a:pt x="1370" y="251"/>
                    <a:pt x="1372" y="254"/>
                    <a:pt x="1372" y="254"/>
                  </a:cubicBezTo>
                  <a:cubicBezTo>
                    <a:pt x="1379" y="253"/>
                    <a:pt x="1377" y="249"/>
                    <a:pt x="1383" y="249"/>
                  </a:cubicBezTo>
                  <a:cubicBezTo>
                    <a:pt x="1383" y="249"/>
                    <a:pt x="1384" y="255"/>
                    <a:pt x="1386" y="254"/>
                  </a:cubicBezTo>
                  <a:cubicBezTo>
                    <a:pt x="1392" y="254"/>
                    <a:pt x="1387" y="245"/>
                    <a:pt x="1389" y="242"/>
                  </a:cubicBezTo>
                  <a:cubicBezTo>
                    <a:pt x="1391" y="243"/>
                    <a:pt x="1393" y="244"/>
                    <a:pt x="1397" y="244"/>
                  </a:cubicBezTo>
                  <a:cubicBezTo>
                    <a:pt x="1396" y="246"/>
                    <a:pt x="1395" y="248"/>
                    <a:pt x="1392" y="249"/>
                  </a:cubicBezTo>
                  <a:cubicBezTo>
                    <a:pt x="1391" y="255"/>
                    <a:pt x="1404" y="247"/>
                    <a:pt x="1400" y="256"/>
                  </a:cubicBezTo>
                  <a:cubicBezTo>
                    <a:pt x="1395" y="255"/>
                    <a:pt x="1390" y="258"/>
                    <a:pt x="1394" y="258"/>
                  </a:cubicBezTo>
                  <a:close/>
                  <a:moveTo>
                    <a:pt x="1405" y="258"/>
                  </a:moveTo>
                  <a:cubicBezTo>
                    <a:pt x="1407" y="258"/>
                    <a:pt x="1409" y="258"/>
                    <a:pt x="1411" y="258"/>
                  </a:cubicBezTo>
                  <a:cubicBezTo>
                    <a:pt x="1412" y="265"/>
                    <a:pt x="1390" y="258"/>
                    <a:pt x="1405" y="258"/>
                  </a:cubicBezTo>
                  <a:close/>
                  <a:moveTo>
                    <a:pt x="1403" y="279"/>
                  </a:moveTo>
                  <a:cubicBezTo>
                    <a:pt x="1403" y="277"/>
                    <a:pt x="1406" y="277"/>
                    <a:pt x="1408" y="277"/>
                  </a:cubicBezTo>
                  <a:cubicBezTo>
                    <a:pt x="1410" y="277"/>
                    <a:pt x="1412" y="277"/>
                    <a:pt x="1414" y="277"/>
                  </a:cubicBezTo>
                  <a:cubicBezTo>
                    <a:pt x="1413" y="280"/>
                    <a:pt x="1407" y="279"/>
                    <a:pt x="1403" y="279"/>
                  </a:cubicBezTo>
                  <a:close/>
                  <a:moveTo>
                    <a:pt x="1416" y="256"/>
                  </a:moveTo>
                  <a:cubicBezTo>
                    <a:pt x="1412" y="256"/>
                    <a:pt x="1407" y="256"/>
                    <a:pt x="1403" y="256"/>
                  </a:cubicBezTo>
                  <a:cubicBezTo>
                    <a:pt x="1401" y="247"/>
                    <a:pt x="1411" y="248"/>
                    <a:pt x="1419" y="248"/>
                  </a:cubicBezTo>
                  <a:cubicBezTo>
                    <a:pt x="1419" y="254"/>
                    <a:pt x="1424" y="256"/>
                    <a:pt x="1419" y="260"/>
                  </a:cubicBezTo>
                  <a:cubicBezTo>
                    <a:pt x="1416" y="260"/>
                    <a:pt x="1417" y="257"/>
                    <a:pt x="1416" y="256"/>
                  </a:cubicBezTo>
                  <a:close/>
                  <a:moveTo>
                    <a:pt x="1418" y="352"/>
                  </a:moveTo>
                  <a:cubicBezTo>
                    <a:pt x="1417" y="348"/>
                    <a:pt x="1423" y="346"/>
                    <a:pt x="1418" y="345"/>
                  </a:cubicBezTo>
                  <a:cubicBezTo>
                    <a:pt x="1420" y="342"/>
                    <a:pt x="1424" y="342"/>
                    <a:pt x="1423" y="338"/>
                  </a:cubicBezTo>
                  <a:cubicBezTo>
                    <a:pt x="1428" y="340"/>
                    <a:pt x="1430" y="344"/>
                    <a:pt x="1426" y="347"/>
                  </a:cubicBezTo>
                  <a:cubicBezTo>
                    <a:pt x="1427" y="352"/>
                    <a:pt x="1433" y="344"/>
                    <a:pt x="1440" y="347"/>
                  </a:cubicBezTo>
                  <a:cubicBezTo>
                    <a:pt x="1439" y="354"/>
                    <a:pt x="1426" y="351"/>
                    <a:pt x="1418" y="352"/>
                  </a:cubicBezTo>
                  <a:close/>
                  <a:moveTo>
                    <a:pt x="1433" y="281"/>
                  </a:moveTo>
                  <a:cubicBezTo>
                    <a:pt x="1435" y="277"/>
                    <a:pt x="1438" y="281"/>
                    <a:pt x="1441" y="281"/>
                  </a:cubicBezTo>
                  <a:cubicBezTo>
                    <a:pt x="1440" y="285"/>
                    <a:pt x="1437" y="281"/>
                    <a:pt x="1433" y="281"/>
                  </a:cubicBezTo>
                  <a:close/>
                  <a:moveTo>
                    <a:pt x="1438" y="250"/>
                  </a:moveTo>
                  <a:cubicBezTo>
                    <a:pt x="1435" y="241"/>
                    <a:pt x="1455" y="254"/>
                    <a:pt x="1452" y="241"/>
                  </a:cubicBezTo>
                  <a:cubicBezTo>
                    <a:pt x="1457" y="241"/>
                    <a:pt x="1454" y="249"/>
                    <a:pt x="1460" y="248"/>
                  </a:cubicBezTo>
                  <a:cubicBezTo>
                    <a:pt x="1459" y="250"/>
                    <a:pt x="1439" y="253"/>
                    <a:pt x="1438" y="250"/>
                  </a:cubicBezTo>
                  <a:close/>
                  <a:moveTo>
                    <a:pt x="1456" y="330"/>
                  </a:moveTo>
                  <a:cubicBezTo>
                    <a:pt x="1459" y="331"/>
                    <a:pt x="1462" y="333"/>
                    <a:pt x="1462" y="337"/>
                  </a:cubicBezTo>
                  <a:cubicBezTo>
                    <a:pt x="1458" y="336"/>
                    <a:pt x="1456" y="334"/>
                    <a:pt x="1456" y="330"/>
                  </a:cubicBezTo>
                  <a:close/>
                  <a:moveTo>
                    <a:pt x="1485" y="250"/>
                  </a:moveTo>
                  <a:cubicBezTo>
                    <a:pt x="1485" y="251"/>
                    <a:pt x="1485" y="253"/>
                    <a:pt x="1485" y="254"/>
                  </a:cubicBezTo>
                  <a:cubicBezTo>
                    <a:pt x="1482" y="254"/>
                    <a:pt x="1483" y="251"/>
                    <a:pt x="1482" y="250"/>
                  </a:cubicBezTo>
                  <a:cubicBezTo>
                    <a:pt x="1477" y="251"/>
                    <a:pt x="1466" y="247"/>
                    <a:pt x="1466" y="252"/>
                  </a:cubicBezTo>
                  <a:cubicBezTo>
                    <a:pt x="1462" y="252"/>
                    <a:pt x="1463" y="246"/>
                    <a:pt x="1463" y="243"/>
                  </a:cubicBezTo>
                  <a:cubicBezTo>
                    <a:pt x="1468" y="244"/>
                    <a:pt x="1471" y="242"/>
                    <a:pt x="1471" y="238"/>
                  </a:cubicBezTo>
                  <a:cubicBezTo>
                    <a:pt x="1476" y="242"/>
                    <a:pt x="1478" y="248"/>
                    <a:pt x="1487" y="247"/>
                  </a:cubicBezTo>
                  <a:cubicBezTo>
                    <a:pt x="1488" y="249"/>
                    <a:pt x="1486" y="249"/>
                    <a:pt x="1485" y="250"/>
                  </a:cubicBezTo>
                  <a:close/>
                  <a:moveTo>
                    <a:pt x="1493" y="233"/>
                  </a:moveTo>
                  <a:cubicBezTo>
                    <a:pt x="1505" y="234"/>
                    <a:pt x="1490" y="247"/>
                    <a:pt x="1493" y="233"/>
                  </a:cubicBezTo>
                  <a:close/>
                  <a:moveTo>
                    <a:pt x="1529" y="251"/>
                  </a:moveTo>
                  <a:cubicBezTo>
                    <a:pt x="1523" y="254"/>
                    <a:pt x="1525" y="247"/>
                    <a:pt x="1523" y="247"/>
                  </a:cubicBezTo>
                  <a:cubicBezTo>
                    <a:pt x="1516" y="244"/>
                    <a:pt x="1502" y="249"/>
                    <a:pt x="1493" y="247"/>
                  </a:cubicBezTo>
                  <a:cubicBezTo>
                    <a:pt x="1492" y="243"/>
                    <a:pt x="1499" y="246"/>
                    <a:pt x="1501" y="245"/>
                  </a:cubicBezTo>
                  <a:cubicBezTo>
                    <a:pt x="1504" y="242"/>
                    <a:pt x="1505" y="245"/>
                    <a:pt x="1512" y="242"/>
                  </a:cubicBezTo>
                  <a:cubicBezTo>
                    <a:pt x="1513" y="242"/>
                    <a:pt x="1517" y="243"/>
                    <a:pt x="1518" y="242"/>
                  </a:cubicBezTo>
                  <a:cubicBezTo>
                    <a:pt x="1519" y="240"/>
                    <a:pt x="1519" y="240"/>
                    <a:pt x="1520" y="242"/>
                  </a:cubicBezTo>
                  <a:cubicBezTo>
                    <a:pt x="1525" y="242"/>
                    <a:pt x="1526" y="239"/>
                    <a:pt x="1531" y="239"/>
                  </a:cubicBezTo>
                  <a:cubicBezTo>
                    <a:pt x="1532" y="245"/>
                    <a:pt x="1526" y="245"/>
                    <a:pt x="1529" y="251"/>
                  </a:cubicBezTo>
                  <a:close/>
                  <a:moveTo>
                    <a:pt x="1606" y="125"/>
                  </a:moveTo>
                  <a:cubicBezTo>
                    <a:pt x="1608" y="119"/>
                    <a:pt x="1609" y="131"/>
                    <a:pt x="1609" y="132"/>
                  </a:cubicBezTo>
                  <a:cubicBezTo>
                    <a:pt x="1608" y="137"/>
                    <a:pt x="1604" y="134"/>
                    <a:pt x="1606" y="125"/>
                  </a:cubicBezTo>
                  <a:close/>
                  <a:moveTo>
                    <a:pt x="1536" y="181"/>
                  </a:moveTo>
                  <a:cubicBezTo>
                    <a:pt x="1539" y="181"/>
                    <a:pt x="1541" y="180"/>
                    <a:pt x="1544" y="180"/>
                  </a:cubicBezTo>
                  <a:cubicBezTo>
                    <a:pt x="1546" y="182"/>
                    <a:pt x="1547" y="178"/>
                    <a:pt x="1547" y="178"/>
                  </a:cubicBezTo>
                  <a:cubicBezTo>
                    <a:pt x="1560" y="181"/>
                    <a:pt x="1525" y="188"/>
                    <a:pt x="1536" y="181"/>
                  </a:cubicBezTo>
                  <a:close/>
                  <a:moveTo>
                    <a:pt x="1566" y="340"/>
                  </a:moveTo>
                  <a:cubicBezTo>
                    <a:pt x="1566" y="338"/>
                    <a:pt x="1566" y="337"/>
                    <a:pt x="1566" y="335"/>
                  </a:cubicBezTo>
                  <a:cubicBezTo>
                    <a:pt x="1571" y="334"/>
                    <a:pt x="1574" y="335"/>
                    <a:pt x="1574" y="340"/>
                  </a:cubicBezTo>
                  <a:cubicBezTo>
                    <a:pt x="1571" y="340"/>
                    <a:pt x="1569" y="340"/>
                    <a:pt x="1566" y="340"/>
                  </a:cubicBezTo>
                  <a:close/>
                  <a:moveTo>
                    <a:pt x="1582" y="342"/>
                  </a:moveTo>
                  <a:cubicBezTo>
                    <a:pt x="1581" y="343"/>
                    <a:pt x="1574" y="336"/>
                    <a:pt x="1580" y="333"/>
                  </a:cubicBezTo>
                  <a:cubicBezTo>
                    <a:pt x="1582" y="332"/>
                    <a:pt x="1584" y="340"/>
                    <a:pt x="1582" y="342"/>
                  </a:cubicBezTo>
                  <a:close/>
                  <a:moveTo>
                    <a:pt x="1573" y="248"/>
                  </a:moveTo>
                  <a:cubicBezTo>
                    <a:pt x="1569" y="250"/>
                    <a:pt x="1569" y="237"/>
                    <a:pt x="1564" y="241"/>
                  </a:cubicBezTo>
                  <a:cubicBezTo>
                    <a:pt x="1564" y="241"/>
                    <a:pt x="1565" y="243"/>
                    <a:pt x="1564" y="244"/>
                  </a:cubicBezTo>
                  <a:cubicBezTo>
                    <a:pt x="1559" y="245"/>
                    <a:pt x="1545" y="243"/>
                    <a:pt x="1537" y="244"/>
                  </a:cubicBezTo>
                  <a:cubicBezTo>
                    <a:pt x="1537" y="236"/>
                    <a:pt x="1545" y="242"/>
                    <a:pt x="1548" y="241"/>
                  </a:cubicBezTo>
                  <a:cubicBezTo>
                    <a:pt x="1550" y="241"/>
                    <a:pt x="1550" y="239"/>
                    <a:pt x="1551" y="239"/>
                  </a:cubicBezTo>
                  <a:cubicBezTo>
                    <a:pt x="1553" y="239"/>
                    <a:pt x="1557" y="243"/>
                    <a:pt x="1556" y="237"/>
                  </a:cubicBezTo>
                  <a:cubicBezTo>
                    <a:pt x="1558" y="238"/>
                    <a:pt x="1559" y="238"/>
                    <a:pt x="1561" y="239"/>
                  </a:cubicBezTo>
                  <a:cubicBezTo>
                    <a:pt x="1562" y="239"/>
                    <a:pt x="1566" y="238"/>
                    <a:pt x="1567" y="239"/>
                  </a:cubicBezTo>
                  <a:cubicBezTo>
                    <a:pt x="1569" y="241"/>
                    <a:pt x="1568" y="240"/>
                    <a:pt x="1578" y="239"/>
                  </a:cubicBezTo>
                  <a:cubicBezTo>
                    <a:pt x="1580" y="238"/>
                    <a:pt x="1588" y="240"/>
                    <a:pt x="1589" y="238"/>
                  </a:cubicBezTo>
                  <a:cubicBezTo>
                    <a:pt x="1592" y="235"/>
                    <a:pt x="1589" y="239"/>
                    <a:pt x="1600" y="238"/>
                  </a:cubicBezTo>
                  <a:cubicBezTo>
                    <a:pt x="1605" y="238"/>
                    <a:pt x="1606" y="236"/>
                    <a:pt x="1611" y="236"/>
                  </a:cubicBezTo>
                  <a:cubicBezTo>
                    <a:pt x="1613" y="249"/>
                    <a:pt x="1568" y="231"/>
                    <a:pt x="1573" y="248"/>
                  </a:cubicBezTo>
                  <a:close/>
                  <a:moveTo>
                    <a:pt x="1593" y="337"/>
                  </a:moveTo>
                  <a:cubicBezTo>
                    <a:pt x="1596" y="328"/>
                    <a:pt x="1599" y="337"/>
                    <a:pt x="1604" y="337"/>
                  </a:cubicBezTo>
                  <a:cubicBezTo>
                    <a:pt x="1606" y="337"/>
                    <a:pt x="1609" y="333"/>
                    <a:pt x="1612" y="334"/>
                  </a:cubicBezTo>
                  <a:cubicBezTo>
                    <a:pt x="1610" y="343"/>
                    <a:pt x="1601" y="336"/>
                    <a:pt x="1593" y="337"/>
                  </a:cubicBezTo>
                  <a:close/>
                  <a:moveTo>
                    <a:pt x="1619" y="238"/>
                  </a:moveTo>
                  <a:cubicBezTo>
                    <a:pt x="1618" y="242"/>
                    <a:pt x="1626" y="239"/>
                    <a:pt x="1627" y="240"/>
                  </a:cubicBezTo>
                  <a:cubicBezTo>
                    <a:pt x="1630" y="244"/>
                    <a:pt x="1618" y="241"/>
                    <a:pt x="1619" y="247"/>
                  </a:cubicBezTo>
                  <a:cubicBezTo>
                    <a:pt x="1615" y="245"/>
                    <a:pt x="1616" y="237"/>
                    <a:pt x="1613" y="233"/>
                  </a:cubicBezTo>
                  <a:cubicBezTo>
                    <a:pt x="1618" y="237"/>
                    <a:pt x="1623" y="231"/>
                    <a:pt x="1633" y="233"/>
                  </a:cubicBezTo>
                  <a:cubicBezTo>
                    <a:pt x="1636" y="241"/>
                    <a:pt x="1624" y="237"/>
                    <a:pt x="1619" y="238"/>
                  </a:cubicBezTo>
                  <a:close/>
                  <a:moveTo>
                    <a:pt x="1642" y="320"/>
                  </a:moveTo>
                  <a:cubicBezTo>
                    <a:pt x="1644" y="319"/>
                    <a:pt x="1647" y="313"/>
                    <a:pt x="1648" y="313"/>
                  </a:cubicBezTo>
                  <a:cubicBezTo>
                    <a:pt x="1651" y="312"/>
                    <a:pt x="1651" y="320"/>
                    <a:pt x="1642" y="320"/>
                  </a:cubicBezTo>
                  <a:close/>
                  <a:moveTo>
                    <a:pt x="1644" y="249"/>
                  </a:moveTo>
                  <a:cubicBezTo>
                    <a:pt x="1652" y="240"/>
                    <a:pt x="1653" y="256"/>
                    <a:pt x="1644" y="249"/>
                  </a:cubicBezTo>
                  <a:close/>
                  <a:moveTo>
                    <a:pt x="1638" y="245"/>
                  </a:moveTo>
                  <a:cubicBezTo>
                    <a:pt x="1634" y="243"/>
                    <a:pt x="1638" y="242"/>
                    <a:pt x="1641" y="242"/>
                  </a:cubicBezTo>
                  <a:cubicBezTo>
                    <a:pt x="1642" y="238"/>
                    <a:pt x="1638" y="237"/>
                    <a:pt x="1638" y="240"/>
                  </a:cubicBezTo>
                  <a:cubicBezTo>
                    <a:pt x="1637" y="241"/>
                    <a:pt x="1635" y="236"/>
                    <a:pt x="1635" y="235"/>
                  </a:cubicBezTo>
                  <a:cubicBezTo>
                    <a:pt x="1636" y="234"/>
                    <a:pt x="1640" y="236"/>
                    <a:pt x="1641" y="235"/>
                  </a:cubicBezTo>
                  <a:cubicBezTo>
                    <a:pt x="1642" y="235"/>
                    <a:pt x="1640" y="231"/>
                    <a:pt x="1641" y="230"/>
                  </a:cubicBezTo>
                  <a:cubicBezTo>
                    <a:pt x="1644" y="229"/>
                    <a:pt x="1643" y="235"/>
                    <a:pt x="1644" y="235"/>
                  </a:cubicBezTo>
                  <a:cubicBezTo>
                    <a:pt x="1644" y="236"/>
                    <a:pt x="1650" y="232"/>
                    <a:pt x="1652" y="235"/>
                  </a:cubicBezTo>
                  <a:cubicBezTo>
                    <a:pt x="1649" y="238"/>
                    <a:pt x="1637" y="240"/>
                    <a:pt x="1652" y="240"/>
                  </a:cubicBezTo>
                  <a:cubicBezTo>
                    <a:pt x="1648" y="247"/>
                    <a:pt x="1643" y="241"/>
                    <a:pt x="1638" y="245"/>
                  </a:cubicBezTo>
                  <a:close/>
                  <a:moveTo>
                    <a:pt x="1739" y="203"/>
                  </a:moveTo>
                  <a:cubicBezTo>
                    <a:pt x="1739" y="206"/>
                    <a:pt x="1731" y="204"/>
                    <a:pt x="1731" y="208"/>
                  </a:cubicBezTo>
                  <a:cubicBezTo>
                    <a:pt x="1722" y="205"/>
                    <a:pt x="1734" y="201"/>
                    <a:pt x="1739" y="203"/>
                  </a:cubicBezTo>
                  <a:close/>
                  <a:moveTo>
                    <a:pt x="1656" y="331"/>
                  </a:moveTo>
                  <a:cubicBezTo>
                    <a:pt x="1656" y="330"/>
                    <a:pt x="1656" y="328"/>
                    <a:pt x="1656" y="327"/>
                  </a:cubicBezTo>
                  <a:cubicBezTo>
                    <a:pt x="1660" y="326"/>
                    <a:pt x="1664" y="326"/>
                    <a:pt x="1667" y="326"/>
                  </a:cubicBezTo>
                  <a:cubicBezTo>
                    <a:pt x="1670" y="333"/>
                    <a:pt x="1661" y="331"/>
                    <a:pt x="1656" y="331"/>
                  </a:cubicBezTo>
                  <a:close/>
                  <a:moveTo>
                    <a:pt x="1662" y="315"/>
                  </a:moveTo>
                  <a:cubicBezTo>
                    <a:pt x="1663" y="315"/>
                    <a:pt x="1665" y="315"/>
                    <a:pt x="1667" y="315"/>
                  </a:cubicBezTo>
                  <a:cubicBezTo>
                    <a:pt x="1668" y="321"/>
                    <a:pt x="1647" y="314"/>
                    <a:pt x="1662" y="315"/>
                  </a:cubicBezTo>
                  <a:close/>
                  <a:moveTo>
                    <a:pt x="1669" y="289"/>
                  </a:moveTo>
                  <a:cubicBezTo>
                    <a:pt x="1662" y="297"/>
                    <a:pt x="1652" y="284"/>
                    <a:pt x="1669" y="289"/>
                  </a:cubicBezTo>
                  <a:close/>
                  <a:moveTo>
                    <a:pt x="1663" y="268"/>
                  </a:moveTo>
                  <a:cubicBezTo>
                    <a:pt x="1664" y="268"/>
                    <a:pt x="1666" y="263"/>
                    <a:pt x="1666" y="263"/>
                  </a:cubicBezTo>
                  <a:cubicBezTo>
                    <a:pt x="1666" y="263"/>
                    <a:pt x="1666" y="261"/>
                    <a:pt x="1666" y="261"/>
                  </a:cubicBezTo>
                  <a:cubicBezTo>
                    <a:pt x="1676" y="259"/>
                    <a:pt x="1667" y="271"/>
                    <a:pt x="1663" y="268"/>
                  </a:cubicBezTo>
                  <a:close/>
                  <a:moveTo>
                    <a:pt x="1697" y="293"/>
                  </a:moveTo>
                  <a:cubicBezTo>
                    <a:pt x="1695" y="297"/>
                    <a:pt x="1694" y="292"/>
                    <a:pt x="1694" y="288"/>
                  </a:cubicBezTo>
                  <a:cubicBezTo>
                    <a:pt x="1686" y="285"/>
                    <a:pt x="1700" y="286"/>
                    <a:pt x="1697" y="293"/>
                  </a:cubicBezTo>
                  <a:close/>
                  <a:moveTo>
                    <a:pt x="1705" y="269"/>
                  </a:moveTo>
                  <a:cubicBezTo>
                    <a:pt x="1700" y="269"/>
                    <a:pt x="1698" y="265"/>
                    <a:pt x="1699" y="260"/>
                  </a:cubicBezTo>
                  <a:cubicBezTo>
                    <a:pt x="1704" y="260"/>
                    <a:pt x="1705" y="264"/>
                    <a:pt x="1705" y="269"/>
                  </a:cubicBezTo>
                  <a:close/>
                  <a:moveTo>
                    <a:pt x="1718" y="269"/>
                  </a:moveTo>
                  <a:cubicBezTo>
                    <a:pt x="1713" y="268"/>
                    <a:pt x="1716" y="260"/>
                    <a:pt x="1710" y="260"/>
                  </a:cubicBezTo>
                  <a:cubicBezTo>
                    <a:pt x="1710" y="257"/>
                    <a:pt x="1715" y="258"/>
                    <a:pt x="1718" y="257"/>
                  </a:cubicBezTo>
                  <a:cubicBezTo>
                    <a:pt x="1717" y="265"/>
                    <a:pt x="1723" y="264"/>
                    <a:pt x="1718" y="269"/>
                  </a:cubicBezTo>
                  <a:close/>
                  <a:moveTo>
                    <a:pt x="1718" y="238"/>
                  </a:moveTo>
                  <a:cubicBezTo>
                    <a:pt x="1720" y="234"/>
                    <a:pt x="1726" y="233"/>
                    <a:pt x="1734" y="234"/>
                  </a:cubicBezTo>
                  <a:cubicBezTo>
                    <a:pt x="1731" y="237"/>
                    <a:pt x="1725" y="238"/>
                    <a:pt x="1718" y="238"/>
                  </a:cubicBezTo>
                  <a:close/>
                  <a:moveTo>
                    <a:pt x="1738" y="309"/>
                  </a:moveTo>
                  <a:cubicBezTo>
                    <a:pt x="1739" y="306"/>
                    <a:pt x="1742" y="304"/>
                    <a:pt x="1746" y="304"/>
                  </a:cubicBezTo>
                  <a:cubicBezTo>
                    <a:pt x="1745" y="307"/>
                    <a:pt x="1743" y="309"/>
                    <a:pt x="1738" y="309"/>
                  </a:cubicBezTo>
                  <a:close/>
                  <a:moveTo>
                    <a:pt x="1747" y="318"/>
                  </a:moveTo>
                  <a:cubicBezTo>
                    <a:pt x="1747" y="316"/>
                    <a:pt x="1747" y="315"/>
                    <a:pt x="1747" y="313"/>
                  </a:cubicBezTo>
                  <a:cubicBezTo>
                    <a:pt x="1748" y="313"/>
                    <a:pt x="1750" y="313"/>
                    <a:pt x="1752" y="313"/>
                  </a:cubicBezTo>
                  <a:cubicBezTo>
                    <a:pt x="1752" y="315"/>
                    <a:pt x="1752" y="316"/>
                    <a:pt x="1752" y="318"/>
                  </a:cubicBezTo>
                  <a:cubicBezTo>
                    <a:pt x="1750" y="318"/>
                    <a:pt x="1748" y="318"/>
                    <a:pt x="1747" y="318"/>
                  </a:cubicBezTo>
                  <a:close/>
                  <a:moveTo>
                    <a:pt x="1745" y="236"/>
                  </a:moveTo>
                  <a:cubicBezTo>
                    <a:pt x="1752" y="231"/>
                    <a:pt x="1741" y="225"/>
                    <a:pt x="1740" y="233"/>
                  </a:cubicBezTo>
                  <a:cubicBezTo>
                    <a:pt x="1733" y="231"/>
                    <a:pt x="1714" y="229"/>
                    <a:pt x="1712" y="234"/>
                  </a:cubicBezTo>
                  <a:cubicBezTo>
                    <a:pt x="1712" y="234"/>
                    <a:pt x="1713" y="239"/>
                    <a:pt x="1712" y="239"/>
                  </a:cubicBezTo>
                  <a:cubicBezTo>
                    <a:pt x="1708" y="239"/>
                    <a:pt x="1712" y="233"/>
                    <a:pt x="1709" y="232"/>
                  </a:cubicBezTo>
                  <a:cubicBezTo>
                    <a:pt x="1705" y="230"/>
                    <a:pt x="1701" y="234"/>
                    <a:pt x="1699" y="234"/>
                  </a:cubicBezTo>
                  <a:cubicBezTo>
                    <a:pt x="1694" y="235"/>
                    <a:pt x="1683" y="231"/>
                    <a:pt x="1685" y="239"/>
                  </a:cubicBezTo>
                  <a:cubicBezTo>
                    <a:pt x="1683" y="237"/>
                    <a:pt x="1677" y="236"/>
                    <a:pt x="1677" y="239"/>
                  </a:cubicBezTo>
                  <a:cubicBezTo>
                    <a:pt x="1674" y="239"/>
                    <a:pt x="1675" y="237"/>
                    <a:pt x="1677" y="237"/>
                  </a:cubicBezTo>
                  <a:cubicBezTo>
                    <a:pt x="1678" y="235"/>
                    <a:pt x="1670" y="233"/>
                    <a:pt x="1668" y="235"/>
                  </a:cubicBezTo>
                  <a:cubicBezTo>
                    <a:pt x="1665" y="237"/>
                    <a:pt x="1667" y="234"/>
                    <a:pt x="1663" y="235"/>
                  </a:cubicBezTo>
                  <a:cubicBezTo>
                    <a:pt x="1660" y="235"/>
                    <a:pt x="1658" y="235"/>
                    <a:pt x="1657" y="237"/>
                  </a:cubicBezTo>
                  <a:cubicBezTo>
                    <a:pt x="1653" y="236"/>
                    <a:pt x="1659" y="234"/>
                    <a:pt x="1657" y="230"/>
                  </a:cubicBezTo>
                  <a:cubicBezTo>
                    <a:pt x="1660" y="229"/>
                    <a:pt x="1660" y="232"/>
                    <a:pt x="1660" y="232"/>
                  </a:cubicBezTo>
                  <a:cubicBezTo>
                    <a:pt x="1663" y="233"/>
                    <a:pt x="1663" y="230"/>
                    <a:pt x="1663" y="230"/>
                  </a:cubicBezTo>
                  <a:cubicBezTo>
                    <a:pt x="1666" y="230"/>
                    <a:pt x="1669" y="233"/>
                    <a:pt x="1671" y="232"/>
                  </a:cubicBezTo>
                  <a:cubicBezTo>
                    <a:pt x="1675" y="231"/>
                    <a:pt x="1680" y="223"/>
                    <a:pt x="1687" y="230"/>
                  </a:cubicBezTo>
                  <a:cubicBezTo>
                    <a:pt x="1691" y="229"/>
                    <a:pt x="1690" y="225"/>
                    <a:pt x="1690" y="223"/>
                  </a:cubicBezTo>
                  <a:cubicBezTo>
                    <a:pt x="1696" y="223"/>
                    <a:pt x="1699" y="222"/>
                    <a:pt x="1698" y="218"/>
                  </a:cubicBezTo>
                  <a:cubicBezTo>
                    <a:pt x="1707" y="219"/>
                    <a:pt x="1704" y="228"/>
                    <a:pt x="1693" y="225"/>
                  </a:cubicBezTo>
                  <a:cubicBezTo>
                    <a:pt x="1692" y="229"/>
                    <a:pt x="1696" y="229"/>
                    <a:pt x="1696" y="232"/>
                  </a:cubicBezTo>
                  <a:cubicBezTo>
                    <a:pt x="1699" y="233"/>
                    <a:pt x="1697" y="228"/>
                    <a:pt x="1698" y="227"/>
                  </a:cubicBezTo>
                  <a:cubicBezTo>
                    <a:pt x="1701" y="226"/>
                    <a:pt x="1701" y="229"/>
                    <a:pt x="1701" y="229"/>
                  </a:cubicBezTo>
                  <a:cubicBezTo>
                    <a:pt x="1701" y="229"/>
                    <a:pt x="1710" y="227"/>
                    <a:pt x="1712" y="227"/>
                  </a:cubicBezTo>
                  <a:cubicBezTo>
                    <a:pt x="1714" y="226"/>
                    <a:pt x="1719" y="222"/>
                    <a:pt x="1720" y="229"/>
                  </a:cubicBezTo>
                  <a:cubicBezTo>
                    <a:pt x="1723" y="230"/>
                    <a:pt x="1722" y="225"/>
                    <a:pt x="1723" y="224"/>
                  </a:cubicBezTo>
                  <a:cubicBezTo>
                    <a:pt x="1734" y="222"/>
                    <a:pt x="1746" y="228"/>
                    <a:pt x="1756" y="224"/>
                  </a:cubicBezTo>
                  <a:cubicBezTo>
                    <a:pt x="1754" y="229"/>
                    <a:pt x="1753" y="235"/>
                    <a:pt x="1745" y="236"/>
                  </a:cubicBezTo>
                  <a:close/>
                  <a:moveTo>
                    <a:pt x="1753" y="186"/>
                  </a:moveTo>
                  <a:cubicBezTo>
                    <a:pt x="1755" y="187"/>
                    <a:pt x="1755" y="189"/>
                    <a:pt x="1758" y="188"/>
                  </a:cubicBezTo>
                  <a:cubicBezTo>
                    <a:pt x="1758" y="194"/>
                    <a:pt x="1745" y="191"/>
                    <a:pt x="1753" y="186"/>
                  </a:cubicBezTo>
                  <a:close/>
                  <a:moveTo>
                    <a:pt x="1831" y="110"/>
                  </a:moveTo>
                  <a:cubicBezTo>
                    <a:pt x="1831" y="108"/>
                    <a:pt x="1831" y="107"/>
                    <a:pt x="1831" y="105"/>
                  </a:cubicBezTo>
                  <a:cubicBezTo>
                    <a:pt x="1837" y="104"/>
                    <a:pt x="1832" y="113"/>
                    <a:pt x="1834" y="117"/>
                  </a:cubicBezTo>
                  <a:cubicBezTo>
                    <a:pt x="1831" y="115"/>
                    <a:pt x="1829" y="114"/>
                    <a:pt x="1828" y="117"/>
                  </a:cubicBezTo>
                  <a:cubicBezTo>
                    <a:pt x="1819" y="115"/>
                    <a:pt x="1831" y="112"/>
                    <a:pt x="1831" y="110"/>
                  </a:cubicBezTo>
                  <a:close/>
                  <a:moveTo>
                    <a:pt x="1792" y="230"/>
                  </a:moveTo>
                  <a:cubicBezTo>
                    <a:pt x="1789" y="237"/>
                    <a:pt x="1781" y="233"/>
                    <a:pt x="1775" y="233"/>
                  </a:cubicBezTo>
                  <a:cubicBezTo>
                    <a:pt x="1776" y="228"/>
                    <a:pt x="1787" y="232"/>
                    <a:pt x="1792" y="230"/>
                  </a:cubicBezTo>
                  <a:close/>
                  <a:moveTo>
                    <a:pt x="1779" y="259"/>
                  </a:moveTo>
                  <a:cubicBezTo>
                    <a:pt x="1776" y="258"/>
                    <a:pt x="1776" y="256"/>
                    <a:pt x="1773" y="256"/>
                  </a:cubicBezTo>
                  <a:cubicBezTo>
                    <a:pt x="1773" y="255"/>
                    <a:pt x="1773" y="253"/>
                    <a:pt x="1773" y="252"/>
                  </a:cubicBezTo>
                  <a:cubicBezTo>
                    <a:pt x="1779" y="250"/>
                    <a:pt x="1778" y="255"/>
                    <a:pt x="1779" y="259"/>
                  </a:cubicBezTo>
                  <a:close/>
                  <a:moveTo>
                    <a:pt x="1771" y="310"/>
                  </a:moveTo>
                  <a:cubicBezTo>
                    <a:pt x="1777" y="309"/>
                    <a:pt x="1775" y="315"/>
                    <a:pt x="1780" y="315"/>
                  </a:cubicBezTo>
                  <a:cubicBezTo>
                    <a:pt x="1780" y="319"/>
                    <a:pt x="1769" y="315"/>
                    <a:pt x="1771" y="310"/>
                  </a:cubicBezTo>
                  <a:close/>
                  <a:moveTo>
                    <a:pt x="1790" y="280"/>
                  </a:moveTo>
                  <a:cubicBezTo>
                    <a:pt x="1788" y="283"/>
                    <a:pt x="1792" y="288"/>
                    <a:pt x="1785" y="287"/>
                  </a:cubicBezTo>
                  <a:cubicBezTo>
                    <a:pt x="1789" y="283"/>
                    <a:pt x="1786" y="274"/>
                    <a:pt x="1795" y="275"/>
                  </a:cubicBezTo>
                  <a:cubicBezTo>
                    <a:pt x="1796" y="278"/>
                    <a:pt x="1791" y="278"/>
                    <a:pt x="1790" y="280"/>
                  </a:cubicBezTo>
                  <a:close/>
                  <a:moveTo>
                    <a:pt x="1789" y="226"/>
                  </a:moveTo>
                  <a:cubicBezTo>
                    <a:pt x="1787" y="225"/>
                    <a:pt x="1786" y="226"/>
                    <a:pt x="1786" y="228"/>
                  </a:cubicBezTo>
                  <a:cubicBezTo>
                    <a:pt x="1784" y="228"/>
                    <a:pt x="1784" y="225"/>
                    <a:pt x="1783" y="223"/>
                  </a:cubicBezTo>
                  <a:cubicBezTo>
                    <a:pt x="1785" y="223"/>
                    <a:pt x="1787" y="223"/>
                    <a:pt x="1789" y="223"/>
                  </a:cubicBezTo>
                  <a:cubicBezTo>
                    <a:pt x="1787" y="218"/>
                    <a:pt x="1781" y="219"/>
                    <a:pt x="1786" y="214"/>
                  </a:cubicBezTo>
                  <a:cubicBezTo>
                    <a:pt x="1791" y="214"/>
                    <a:pt x="1792" y="218"/>
                    <a:pt x="1792" y="223"/>
                  </a:cubicBezTo>
                  <a:cubicBezTo>
                    <a:pt x="1798" y="219"/>
                    <a:pt x="1803" y="224"/>
                    <a:pt x="1805" y="221"/>
                  </a:cubicBezTo>
                  <a:cubicBezTo>
                    <a:pt x="1809" y="222"/>
                    <a:pt x="1807" y="224"/>
                    <a:pt x="1805" y="225"/>
                  </a:cubicBezTo>
                  <a:cubicBezTo>
                    <a:pt x="1799" y="229"/>
                    <a:pt x="1799" y="225"/>
                    <a:pt x="1789" y="226"/>
                  </a:cubicBezTo>
                  <a:close/>
                  <a:moveTo>
                    <a:pt x="1800" y="235"/>
                  </a:moveTo>
                  <a:cubicBezTo>
                    <a:pt x="1792" y="232"/>
                    <a:pt x="1806" y="225"/>
                    <a:pt x="1808" y="230"/>
                  </a:cubicBezTo>
                  <a:cubicBezTo>
                    <a:pt x="1808" y="233"/>
                    <a:pt x="1800" y="231"/>
                    <a:pt x="1800" y="235"/>
                  </a:cubicBezTo>
                  <a:close/>
                  <a:moveTo>
                    <a:pt x="1812" y="314"/>
                  </a:moveTo>
                  <a:cubicBezTo>
                    <a:pt x="1808" y="312"/>
                    <a:pt x="1806" y="308"/>
                    <a:pt x="1810" y="305"/>
                  </a:cubicBezTo>
                  <a:cubicBezTo>
                    <a:pt x="1814" y="307"/>
                    <a:pt x="1816" y="311"/>
                    <a:pt x="1812" y="314"/>
                  </a:cubicBezTo>
                  <a:close/>
                  <a:moveTo>
                    <a:pt x="1811" y="258"/>
                  </a:moveTo>
                  <a:cubicBezTo>
                    <a:pt x="1811" y="256"/>
                    <a:pt x="1811" y="255"/>
                    <a:pt x="1811" y="253"/>
                  </a:cubicBezTo>
                  <a:cubicBezTo>
                    <a:pt x="1817" y="252"/>
                    <a:pt x="1817" y="257"/>
                    <a:pt x="1817" y="260"/>
                  </a:cubicBezTo>
                  <a:cubicBezTo>
                    <a:pt x="1815" y="260"/>
                    <a:pt x="1814" y="258"/>
                    <a:pt x="1811" y="258"/>
                  </a:cubicBezTo>
                  <a:close/>
                  <a:moveTo>
                    <a:pt x="1822" y="225"/>
                  </a:moveTo>
                  <a:cubicBezTo>
                    <a:pt x="1819" y="225"/>
                    <a:pt x="1816" y="225"/>
                    <a:pt x="1814" y="225"/>
                  </a:cubicBezTo>
                  <a:cubicBezTo>
                    <a:pt x="1816" y="218"/>
                    <a:pt x="1810" y="219"/>
                    <a:pt x="1811" y="213"/>
                  </a:cubicBezTo>
                  <a:cubicBezTo>
                    <a:pt x="1815" y="212"/>
                    <a:pt x="1823" y="218"/>
                    <a:pt x="1816" y="218"/>
                  </a:cubicBezTo>
                  <a:cubicBezTo>
                    <a:pt x="1818" y="220"/>
                    <a:pt x="1823" y="220"/>
                    <a:pt x="1822" y="225"/>
                  </a:cubicBezTo>
                  <a:close/>
                  <a:moveTo>
                    <a:pt x="1815" y="155"/>
                  </a:moveTo>
                  <a:cubicBezTo>
                    <a:pt x="1817" y="153"/>
                    <a:pt x="1818" y="151"/>
                    <a:pt x="1818" y="147"/>
                  </a:cubicBezTo>
                  <a:cubicBezTo>
                    <a:pt x="1821" y="148"/>
                    <a:pt x="1822" y="152"/>
                    <a:pt x="1826" y="152"/>
                  </a:cubicBezTo>
                  <a:cubicBezTo>
                    <a:pt x="1825" y="155"/>
                    <a:pt x="1819" y="154"/>
                    <a:pt x="1815" y="155"/>
                  </a:cubicBezTo>
                  <a:close/>
                  <a:moveTo>
                    <a:pt x="1829" y="147"/>
                  </a:moveTo>
                  <a:cubicBezTo>
                    <a:pt x="1832" y="148"/>
                    <a:pt x="1831" y="152"/>
                    <a:pt x="1834" y="152"/>
                  </a:cubicBezTo>
                  <a:cubicBezTo>
                    <a:pt x="1833" y="158"/>
                    <a:pt x="1826" y="152"/>
                    <a:pt x="1829" y="147"/>
                  </a:cubicBezTo>
                  <a:close/>
                  <a:moveTo>
                    <a:pt x="1830" y="229"/>
                  </a:moveTo>
                  <a:cubicBezTo>
                    <a:pt x="1826" y="225"/>
                    <a:pt x="1830" y="226"/>
                    <a:pt x="1830" y="220"/>
                  </a:cubicBezTo>
                  <a:cubicBezTo>
                    <a:pt x="1835" y="220"/>
                    <a:pt x="1837" y="224"/>
                    <a:pt x="1838" y="220"/>
                  </a:cubicBezTo>
                  <a:cubicBezTo>
                    <a:pt x="1843" y="220"/>
                    <a:pt x="1836" y="230"/>
                    <a:pt x="1830" y="229"/>
                  </a:cubicBezTo>
                  <a:close/>
                  <a:moveTo>
                    <a:pt x="1850" y="137"/>
                  </a:moveTo>
                  <a:cubicBezTo>
                    <a:pt x="1850" y="140"/>
                    <a:pt x="1845" y="139"/>
                    <a:pt x="1845" y="142"/>
                  </a:cubicBezTo>
                  <a:cubicBezTo>
                    <a:pt x="1842" y="142"/>
                    <a:pt x="1843" y="139"/>
                    <a:pt x="1842" y="138"/>
                  </a:cubicBezTo>
                  <a:cubicBezTo>
                    <a:pt x="1846" y="135"/>
                    <a:pt x="1847" y="137"/>
                    <a:pt x="1850" y="137"/>
                  </a:cubicBezTo>
                  <a:close/>
                  <a:moveTo>
                    <a:pt x="1845" y="154"/>
                  </a:moveTo>
                  <a:cubicBezTo>
                    <a:pt x="1844" y="154"/>
                    <a:pt x="1842" y="151"/>
                    <a:pt x="1843" y="149"/>
                  </a:cubicBezTo>
                  <a:cubicBezTo>
                    <a:pt x="1846" y="141"/>
                    <a:pt x="1848" y="154"/>
                    <a:pt x="1845" y="154"/>
                  </a:cubicBezTo>
                  <a:close/>
                  <a:moveTo>
                    <a:pt x="1841" y="227"/>
                  </a:moveTo>
                  <a:cubicBezTo>
                    <a:pt x="1840" y="223"/>
                    <a:pt x="1847" y="224"/>
                    <a:pt x="1849" y="222"/>
                  </a:cubicBezTo>
                  <a:cubicBezTo>
                    <a:pt x="1855" y="217"/>
                    <a:pt x="1850" y="226"/>
                    <a:pt x="1841" y="227"/>
                  </a:cubicBezTo>
                  <a:close/>
                  <a:moveTo>
                    <a:pt x="1855" y="220"/>
                  </a:moveTo>
                  <a:cubicBezTo>
                    <a:pt x="1864" y="221"/>
                    <a:pt x="1851" y="235"/>
                    <a:pt x="1858" y="234"/>
                  </a:cubicBezTo>
                  <a:cubicBezTo>
                    <a:pt x="1848" y="244"/>
                    <a:pt x="1856" y="220"/>
                    <a:pt x="1852" y="229"/>
                  </a:cubicBezTo>
                  <a:cubicBezTo>
                    <a:pt x="1844" y="227"/>
                    <a:pt x="1858" y="225"/>
                    <a:pt x="1855" y="220"/>
                  </a:cubicBezTo>
                  <a:close/>
                  <a:moveTo>
                    <a:pt x="1853" y="255"/>
                  </a:moveTo>
                  <a:cubicBezTo>
                    <a:pt x="1849" y="254"/>
                    <a:pt x="1850" y="249"/>
                    <a:pt x="1850" y="246"/>
                  </a:cubicBezTo>
                  <a:cubicBezTo>
                    <a:pt x="1856" y="246"/>
                    <a:pt x="1856" y="252"/>
                    <a:pt x="1853" y="255"/>
                  </a:cubicBezTo>
                  <a:close/>
                  <a:moveTo>
                    <a:pt x="1859" y="309"/>
                  </a:moveTo>
                  <a:cubicBezTo>
                    <a:pt x="1856" y="308"/>
                    <a:pt x="1857" y="304"/>
                    <a:pt x="1853" y="304"/>
                  </a:cubicBezTo>
                  <a:cubicBezTo>
                    <a:pt x="1854" y="302"/>
                    <a:pt x="1858" y="302"/>
                    <a:pt x="1862" y="302"/>
                  </a:cubicBezTo>
                  <a:cubicBezTo>
                    <a:pt x="1862" y="306"/>
                    <a:pt x="1859" y="306"/>
                    <a:pt x="1859" y="309"/>
                  </a:cubicBezTo>
                  <a:close/>
                  <a:moveTo>
                    <a:pt x="1848" y="154"/>
                  </a:moveTo>
                  <a:cubicBezTo>
                    <a:pt x="1849" y="150"/>
                    <a:pt x="1852" y="148"/>
                    <a:pt x="1853" y="144"/>
                  </a:cubicBezTo>
                  <a:cubicBezTo>
                    <a:pt x="1857" y="145"/>
                    <a:pt x="1860" y="149"/>
                    <a:pt x="1856" y="149"/>
                  </a:cubicBezTo>
                  <a:cubicBezTo>
                    <a:pt x="1856" y="151"/>
                    <a:pt x="1860" y="151"/>
                    <a:pt x="1862" y="151"/>
                  </a:cubicBezTo>
                  <a:cubicBezTo>
                    <a:pt x="1871" y="154"/>
                    <a:pt x="1852" y="154"/>
                    <a:pt x="1848" y="154"/>
                  </a:cubicBezTo>
                  <a:close/>
                  <a:moveTo>
                    <a:pt x="1928" y="178"/>
                  </a:moveTo>
                  <a:cubicBezTo>
                    <a:pt x="1929" y="177"/>
                    <a:pt x="1931" y="176"/>
                    <a:pt x="1931" y="174"/>
                  </a:cubicBezTo>
                  <a:cubicBezTo>
                    <a:pt x="1933" y="174"/>
                    <a:pt x="1934" y="174"/>
                    <a:pt x="1936" y="174"/>
                  </a:cubicBezTo>
                  <a:cubicBezTo>
                    <a:pt x="1938" y="179"/>
                    <a:pt x="1932" y="178"/>
                    <a:pt x="1928" y="178"/>
                  </a:cubicBezTo>
                  <a:close/>
                  <a:moveTo>
                    <a:pt x="1930" y="138"/>
                  </a:moveTo>
                  <a:cubicBezTo>
                    <a:pt x="1937" y="141"/>
                    <a:pt x="1932" y="154"/>
                    <a:pt x="1922" y="150"/>
                  </a:cubicBezTo>
                  <a:cubicBezTo>
                    <a:pt x="1919" y="142"/>
                    <a:pt x="1928" y="143"/>
                    <a:pt x="1930" y="138"/>
                  </a:cubicBezTo>
                  <a:close/>
                  <a:moveTo>
                    <a:pt x="1920" y="193"/>
                  </a:moveTo>
                  <a:cubicBezTo>
                    <a:pt x="1929" y="190"/>
                    <a:pt x="1922" y="200"/>
                    <a:pt x="1931" y="197"/>
                  </a:cubicBezTo>
                  <a:cubicBezTo>
                    <a:pt x="1930" y="202"/>
                    <a:pt x="1918" y="198"/>
                    <a:pt x="1920" y="193"/>
                  </a:cubicBezTo>
                  <a:close/>
                  <a:moveTo>
                    <a:pt x="1892" y="144"/>
                  </a:moveTo>
                  <a:cubicBezTo>
                    <a:pt x="1896" y="145"/>
                    <a:pt x="1894" y="147"/>
                    <a:pt x="1892" y="149"/>
                  </a:cubicBezTo>
                  <a:cubicBezTo>
                    <a:pt x="1887" y="152"/>
                    <a:pt x="1885" y="151"/>
                    <a:pt x="1892" y="144"/>
                  </a:cubicBezTo>
                  <a:close/>
                  <a:moveTo>
                    <a:pt x="1875" y="123"/>
                  </a:moveTo>
                  <a:cubicBezTo>
                    <a:pt x="1878" y="124"/>
                    <a:pt x="1877" y="128"/>
                    <a:pt x="1881" y="128"/>
                  </a:cubicBezTo>
                  <a:cubicBezTo>
                    <a:pt x="1880" y="130"/>
                    <a:pt x="1877" y="129"/>
                    <a:pt x="1875" y="130"/>
                  </a:cubicBezTo>
                  <a:cubicBezTo>
                    <a:pt x="1872" y="127"/>
                    <a:pt x="1874" y="126"/>
                    <a:pt x="1875" y="123"/>
                  </a:cubicBezTo>
                  <a:close/>
                  <a:moveTo>
                    <a:pt x="1867" y="147"/>
                  </a:moveTo>
                  <a:cubicBezTo>
                    <a:pt x="1869" y="138"/>
                    <a:pt x="1883" y="151"/>
                    <a:pt x="1883" y="144"/>
                  </a:cubicBezTo>
                  <a:cubicBezTo>
                    <a:pt x="1880" y="141"/>
                    <a:pt x="1883" y="143"/>
                    <a:pt x="1886" y="144"/>
                  </a:cubicBezTo>
                  <a:cubicBezTo>
                    <a:pt x="1882" y="147"/>
                    <a:pt x="1883" y="155"/>
                    <a:pt x="1873" y="154"/>
                  </a:cubicBezTo>
                  <a:cubicBezTo>
                    <a:pt x="1874" y="149"/>
                    <a:pt x="1872" y="146"/>
                    <a:pt x="1867" y="147"/>
                  </a:cubicBezTo>
                  <a:close/>
                  <a:moveTo>
                    <a:pt x="1877" y="229"/>
                  </a:moveTo>
                  <a:cubicBezTo>
                    <a:pt x="1878" y="231"/>
                    <a:pt x="1880" y="232"/>
                    <a:pt x="1880" y="236"/>
                  </a:cubicBezTo>
                  <a:cubicBezTo>
                    <a:pt x="1877" y="236"/>
                    <a:pt x="1874" y="236"/>
                    <a:pt x="1871" y="236"/>
                  </a:cubicBezTo>
                  <a:cubicBezTo>
                    <a:pt x="1874" y="234"/>
                    <a:pt x="1874" y="230"/>
                    <a:pt x="1874" y="226"/>
                  </a:cubicBezTo>
                  <a:cubicBezTo>
                    <a:pt x="1877" y="226"/>
                    <a:pt x="1879" y="226"/>
                    <a:pt x="1882" y="226"/>
                  </a:cubicBezTo>
                  <a:cubicBezTo>
                    <a:pt x="1887" y="228"/>
                    <a:pt x="1881" y="229"/>
                    <a:pt x="1877" y="229"/>
                  </a:cubicBezTo>
                  <a:close/>
                  <a:moveTo>
                    <a:pt x="1884" y="182"/>
                  </a:moveTo>
                  <a:cubicBezTo>
                    <a:pt x="1881" y="170"/>
                    <a:pt x="1883" y="167"/>
                    <a:pt x="1881" y="156"/>
                  </a:cubicBezTo>
                  <a:cubicBezTo>
                    <a:pt x="1884" y="155"/>
                    <a:pt x="1886" y="156"/>
                    <a:pt x="1886" y="158"/>
                  </a:cubicBezTo>
                  <a:cubicBezTo>
                    <a:pt x="1887" y="161"/>
                    <a:pt x="1892" y="160"/>
                    <a:pt x="1892" y="163"/>
                  </a:cubicBezTo>
                  <a:cubicBezTo>
                    <a:pt x="1894" y="168"/>
                    <a:pt x="1887" y="166"/>
                    <a:pt x="1887" y="170"/>
                  </a:cubicBezTo>
                  <a:cubicBezTo>
                    <a:pt x="1886" y="174"/>
                    <a:pt x="1889" y="174"/>
                    <a:pt x="1892" y="174"/>
                  </a:cubicBezTo>
                  <a:cubicBezTo>
                    <a:pt x="1892" y="178"/>
                    <a:pt x="1881" y="179"/>
                    <a:pt x="1892" y="179"/>
                  </a:cubicBezTo>
                  <a:cubicBezTo>
                    <a:pt x="1893" y="181"/>
                    <a:pt x="1891" y="181"/>
                    <a:pt x="1890" y="181"/>
                  </a:cubicBezTo>
                  <a:cubicBezTo>
                    <a:pt x="1888" y="181"/>
                    <a:pt x="1886" y="181"/>
                    <a:pt x="1884" y="182"/>
                  </a:cubicBezTo>
                  <a:close/>
                  <a:moveTo>
                    <a:pt x="1888" y="238"/>
                  </a:moveTo>
                  <a:cubicBezTo>
                    <a:pt x="1888" y="236"/>
                    <a:pt x="1888" y="235"/>
                    <a:pt x="1888" y="233"/>
                  </a:cubicBezTo>
                  <a:cubicBezTo>
                    <a:pt x="1890" y="233"/>
                    <a:pt x="1892" y="233"/>
                    <a:pt x="1893" y="233"/>
                  </a:cubicBezTo>
                  <a:cubicBezTo>
                    <a:pt x="1893" y="235"/>
                    <a:pt x="1893" y="236"/>
                    <a:pt x="1893" y="238"/>
                  </a:cubicBezTo>
                  <a:cubicBezTo>
                    <a:pt x="1892" y="238"/>
                    <a:pt x="1890" y="238"/>
                    <a:pt x="1888" y="238"/>
                  </a:cubicBezTo>
                  <a:close/>
                  <a:moveTo>
                    <a:pt x="1888" y="228"/>
                  </a:moveTo>
                  <a:cubicBezTo>
                    <a:pt x="1889" y="225"/>
                    <a:pt x="1894" y="224"/>
                    <a:pt x="1899" y="224"/>
                  </a:cubicBezTo>
                  <a:cubicBezTo>
                    <a:pt x="1901" y="231"/>
                    <a:pt x="1893" y="228"/>
                    <a:pt x="1888" y="228"/>
                  </a:cubicBezTo>
                  <a:close/>
                  <a:moveTo>
                    <a:pt x="1900" y="151"/>
                  </a:moveTo>
                  <a:cubicBezTo>
                    <a:pt x="1896" y="152"/>
                    <a:pt x="1898" y="157"/>
                    <a:pt x="1897" y="160"/>
                  </a:cubicBezTo>
                  <a:cubicBezTo>
                    <a:pt x="1890" y="154"/>
                    <a:pt x="1894" y="148"/>
                    <a:pt x="1900" y="144"/>
                  </a:cubicBezTo>
                  <a:cubicBezTo>
                    <a:pt x="1905" y="143"/>
                    <a:pt x="1905" y="145"/>
                    <a:pt x="1906" y="148"/>
                  </a:cubicBezTo>
                  <a:cubicBezTo>
                    <a:pt x="1910" y="146"/>
                    <a:pt x="1911" y="141"/>
                    <a:pt x="1919" y="141"/>
                  </a:cubicBezTo>
                  <a:cubicBezTo>
                    <a:pt x="1921" y="148"/>
                    <a:pt x="1912" y="147"/>
                    <a:pt x="1911" y="153"/>
                  </a:cubicBezTo>
                  <a:cubicBezTo>
                    <a:pt x="1914" y="155"/>
                    <a:pt x="1912" y="162"/>
                    <a:pt x="1919" y="160"/>
                  </a:cubicBezTo>
                  <a:cubicBezTo>
                    <a:pt x="1919" y="168"/>
                    <a:pt x="1910" y="155"/>
                    <a:pt x="1911" y="162"/>
                  </a:cubicBezTo>
                  <a:cubicBezTo>
                    <a:pt x="1900" y="162"/>
                    <a:pt x="1915" y="150"/>
                    <a:pt x="1900" y="151"/>
                  </a:cubicBezTo>
                  <a:close/>
                  <a:moveTo>
                    <a:pt x="1908" y="310"/>
                  </a:moveTo>
                  <a:cubicBezTo>
                    <a:pt x="1909" y="307"/>
                    <a:pt x="1913" y="307"/>
                    <a:pt x="1914" y="303"/>
                  </a:cubicBezTo>
                  <a:cubicBezTo>
                    <a:pt x="1921" y="304"/>
                    <a:pt x="1914" y="312"/>
                    <a:pt x="1908" y="310"/>
                  </a:cubicBezTo>
                  <a:close/>
                  <a:moveTo>
                    <a:pt x="1915" y="235"/>
                  </a:moveTo>
                  <a:cubicBezTo>
                    <a:pt x="1917" y="233"/>
                    <a:pt x="1920" y="231"/>
                    <a:pt x="1923" y="230"/>
                  </a:cubicBezTo>
                  <a:cubicBezTo>
                    <a:pt x="1923" y="227"/>
                    <a:pt x="1917" y="228"/>
                    <a:pt x="1912" y="228"/>
                  </a:cubicBezTo>
                  <a:cubicBezTo>
                    <a:pt x="1919" y="222"/>
                    <a:pt x="1906" y="222"/>
                    <a:pt x="1909" y="212"/>
                  </a:cubicBezTo>
                  <a:cubicBezTo>
                    <a:pt x="1918" y="212"/>
                    <a:pt x="1913" y="223"/>
                    <a:pt x="1918" y="226"/>
                  </a:cubicBezTo>
                  <a:cubicBezTo>
                    <a:pt x="1923" y="224"/>
                    <a:pt x="1923" y="218"/>
                    <a:pt x="1929" y="223"/>
                  </a:cubicBezTo>
                  <a:cubicBezTo>
                    <a:pt x="1928" y="232"/>
                    <a:pt x="1922" y="232"/>
                    <a:pt x="1926" y="240"/>
                  </a:cubicBezTo>
                  <a:cubicBezTo>
                    <a:pt x="1922" y="239"/>
                    <a:pt x="1924" y="232"/>
                    <a:pt x="1915" y="235"/>
                  </a:cubicBezTo>
                  <a:close/>
                  <a:moveTo>
                    <a:pt x="1930" y="287"/>
                  </a:moveTo>
                  <a:cubicBezTo>
                    <a:pt x="1923" y="294"/>
                    <a:pt x="1917" y="280"/>
                    <a:pt x="1930" y="287"/>
                  </a:cubicBezTo>
                  <a:close/>
                  <a:moveTo>
                    <a:pt x="1918" y="219"/>
                  </a:moveTo>
                  <a:cubicBezTo>
                    <a:pt x="1915" y="212"/>
                    <a:pt x="1924" y="214"/>
                    <a:pt x="1929" y="214"/>
                  </a:cubicBezTo>
                  <a:cubicBezTo>
                    <a:pt x="1929" y="210"/>
                    <a:pt x="1926" y="208"/>
                    <a:pt x="1923" y="207"/>
                  </a:cubicBezTo>
                  <a:cubicBezTo>
                    <a:pt x="1923" y="204"/>
                    <a:pt x="1928" y="205"/>
                    <a:pt x="1931" y="204"/>
                  </a:cubicBezTo>
                  <a:cubicBezTo>
                    <a:pt x="1930" y="209"/>
                    <a:pt x="1933" y="210"/>
                    <a:pt x="1934" y="214"/>
                  </a:cubicBezTo>
                  <a:cubicBezTo>
                    <a:pt x="1936" y="216"/>
                    <a:pt x="1940" y="216"/>
                    <a:pt x="1940" y="221"/>
                  </a:cubicBezTo>
                  <a:cubicBezTo>
                    <a:pt x="1936" y="217"/>
                    <a:pt x="1926" y="219"/>
                    <a:pt x="1918" y="219"/>
                  </a:cubicBezTo>
                  <a:close/>
                  <a:moveTo>
                    <a:pt x="1943" y="258"/>
                  </a:moveTo>
                  <a:cubicBezTo>
                    <a:pt x="1938" y="258"/>
                    <a:pt x="1937" y="254"/>
                    <a:pt x="1937" y="249"/>
                  </a:cubicBezTo>
                  <a:cubicBezTo>
                    <a:pt x="1946" y="246"/>
                    <a:pt x="1942" y="254"/>
                    <a:pt x="1943" y="258"/>
                  </a:cubicBezTo>
                  <a:close/>
                  <a:moveTo>
                    <a:pt x="1945" y="216"/>
                  </a:moveTo>
                  <a:cubicBezTo>
                    <a:pt x="1947" y="214"/>
                    <a:pt x="1948" y="212"/>
                    <a:pt x="1948" y="209"/>
                  </a:cubicBezTo>
                  <a:cubicBezTo>
                    <a:pt x="1951" y="209"/>
                    <a:pt x="1950" y="213"/>
                    <a:pt x="1953" y="213"/>
                  </a:cubicBezTo>
                  <a:cubicBezTo>
                    <a:pt x="1954" y="215"/>
                    <a:pt x="1952" y="215"/>
                    <a:pt x="1951" y="216"/>
                  </a:cubicBezTo>
                  <a:cubicBezTo>
                    <a:pt x="1949" y="216"/>
                    <a:pt x="1947" y="216"/>
                    <a:pt x="1945" y="216"/>
                  </a:cubicBezTo>
                  <a:close/>
                  <a:moveTo>
                    <a:pt x="1948" y="225"/>
                  </a:moveTo>
                  <a:cubicBezTo>
                    <a:pt x="1948" y="224"/>
                    <a:pt x="1948" y="222"/>
                    <a:pt x="1948" y="220"/>
                  </a:cubicBezTo>
                  <a:cubicBezTo>
                    <a:pt x="1953" y="220"/>
                    <a:pt x="1957" y="221"/>
                    <a:pt x="1956" y="225"/>
                  </a:cubicBezTo>
                  <a:cubicBezTo>
                    <a:pt x="1954" y="225"/>
                    <a:pt x="1951" y="225"/>
                    <a:pt x="1948" y="225"/>
                  </a:cubicBezTo>
                  <a:close/>
                  <a:moveTo>
                    <a:pt x="2054" y="169"/>
                  </a:moveTo>
                  <a:cubicBezTo>
                    <a:pt x="2050" y="171"/>
                    <a:pt x="2055" y="181"/>
                    <a:pt x="2046" y="179"/>
                  </a:cubicBezTo>
                  <a:cubicBezTo>
                    <a:pt x="2045" y="173"/>
                    <a:pt x="2047" y="169"/>
                    <a:pt x="2054" y="169"/>
                  </a:cubicBezTo>
                  <a:close/>
                  <a:moveTo>
                    <a:pt x="1985" y="145"/>
                  </a:moveTo>
                  <a:cubicBezTo>
                    <a:pt x="1984" y="151"/>
                    <a:pt x="1981" y="141"/>
                    <a:pt x="1977" y="142"/>
                  </a:cubicBezTo>
                  <a:cubicBezTo>
                    <a:pt x="1979" y="135"/>
                    <a:pt x="1982" y="145"/>
                    <a:pt x="1985" y="145"/>
                  </a:cubicBezTo>
                  <a:close/>
                  <a:moveTo>
                    <a:pt x="1985" y="274"/>
                  </a:moveTo>
                  <a:cubicBezTo>
                    <a:pt x="1984" y="278"/>
                    <a:pt x="1981" y="272"/>
                    <a:pt x="1982" y="269"/>
                  </a:cubicBezTo>
                  <a:cubicBezTo>
                    <a:pt x="1983" y="265"/>
                    <a:pt x="1985" y="271"/>
                    <a:pt x="1985" y="274"/>
                  </a:cubicBezTo>
                  <a:close/>
                  <a:moveTo>
                    <a:pt x="1979" y="255"/>
                  </a:moveTo>
                  <a:cubicBezTo>
                    <a:pt x="1978" y="250"/>
                    <a:pt x="1981" y="248"/>
                    <a:pt x="1987" y="248"/>
                  </a:cubicBezTo>
                  <a:cubicBezTo>
                    <a:pt x="1984" y="250"/>
                    <a:pt x="1986" y="257"/>
                    <a:pt x="1979" y="255"/>
                  </a:cubicBezTo>
                  <a:close/>
                  <a:moveTo>
                    <a:pt x="1998" y="252"/>
                  </a:moveTo>
                  <a:cubicBezTo>
                    <a:pt x="1993" y="260"/>
                    <a:pt x="1990" y="247"/>
                    <a:pt x="1990" y="243"/>
                  </a:cubicBezTo>
                  <a:cubicBezTo>
                    <a:pt x="1993" y="243"/>
                    <a:pt x="1991" y="241"/>
                    <a:pt x="1989" y="241"/>
                  </a:cubicBezTo>
                  <a:cubicBezTo>
                    <a:pt x="1989" y="239"/>
                    <a:pt x="1991" y="239"/>
                    <a:pt x="1992" y="238"/>
                  </a:cubicBezTo>
                  <a:cubicBezTo>
                    <a:pt x="1994" y="238"/>
                    <a:pt x="1996" y="238"/>
                    <a:pt x="1998" y="238"/>
                  </a:cubicBezTo>
                  <a:cubicBezTo>
                    <a:pt x="2001" y="245"/>
                    <a:pt x="1993" y="252"/>
                    <a:pt x="1998" y="252"/>
                  </a:cubicBezTo>
                  <a:close/>
                  <a:moveTo>
                    <a:pt x="1999" y="285"/>
                  </a:moveTo>
                  <a:cubicBezTo>
                    <a:pt x="2002" y="279"/>
                    <a:pt x="2005" y="276"/>
                    <a:pt x="2001" y="269"/>
                  </a:cubicBezTo>
                  <a:cubicBezTo>
                    <a:pt x="2009" y="268"/>
                    <a:pt x="2004" y="278"/>
                    <a:pt x="2009" y="278"/>
                  </a:cubicBezTo>
                  <a:cubicBezTo>
                    <a:pt x="2009" y="281"/>
                    <a:pt x="2007" y="279"/>
                    <a:pt x="2007" y="278"/>
                  </a:cubicBezTo>
                  <a:cubicBezTo>
                    <a:pt x="2000" y="277"/>
                    <a:pt x="2008" y="289"/>
                    <a:pt x="1999" y="285"/>
                  </a:cubicBezTo>
                  <a:close/>
                  <a:moveTo>
                    <a:pt x="2001" y="297"/>
                  </a:moveTo>
                  <a:cubicBezTo>
                    <a:pt x="2005" y="293"/>
                    <a:pt x="2007" y="288"/>
                    <a:pt x="2015" y="287"/>
                  </a:cubicBezTo>
                  <a:cubicBezTo>
                    <a:pt x="2012" y="291"/>
                    <a:pt x="2009" y="297"/>
                    <a:pt x="2001" y="297"/>
                  </a:cubicBezTo>
                  <a:close/>
                  <a:moveTo>
                    <a:pt x="2017" y="266"/>
                  </a:moveTo>
                  <a:cubicBezTo>
                    <a:pt x="2018" y="261"/>
                    <a:pt x="2025" y="261"/>
                    <a:pt x="2028" y="264"/>
                  </a:cubicBezTo>
                  <a:cubicBezTo>
                    <a:pt x="2028" y="267"/>
                    <a:pt x="2021" y="266"/>
                    <a:pt x="2017" y="266"/>
                  </a:cubicBezTo>
                  <a:close/>
                  <a:moveTo>
                    <a:pt x="2042" y="254"/>
                  </a:moveTo>
                  <a:cubicBezTo>
                    <a:pt x="2042" y="252"/>
                    <a:pt x="2042" y="251"/>
                    <a:pt x="2042" y="249"/>
                  </a:cubicBezTo>
                  <a:cubicBezTo>
                    <a:pt x="2044" y="249"/>
                    <a:pt x="2045" y="249"/>
                    <a:pt x="2047" y="249"/>
                  </a:cubicBezTo>
                  <a:cubicBezTo>
                    <a:pt x="2047" y="251"/>
                    <a:pt x="2047" y="252"/>
                    <a:pt x="2047" y="254"/>
                  </a:cubicBezTo>
                  <a:cubicBezTo>
                    <a:pt x="2046" y="254"/>
                    <a:pt x="2044" y="254"/>
                    <a:pt x="2042" y="254"/>
                  </a:cubicBezTo>
                  <a:close/>
                  <a:moveTo>
                    <a:pt x="2044" y="221"/>
                  </a:moveTo>
                  <a:cubicBezTo>
                    <a:pt x="2044" y="219"/>
                    <a:pt x="2044" y="216"/>
                    <a:pt x="2044" y="214"/>
                  </a:cubicBezTo>
                  <a:cubicBezTo>
                    <a:pt x="2038" y="213"/>
                    <a:pt x="2039" y="217"/>
                    <a:pt x="2039" y="221"/>
                  </a:cubicBezTo>
                  <a:cubicBezTo>
                    <a:pt x="2034" y="222"/>
                    <a:pt x="2025" y="219"/>
                    <a:pt x="2028" y="226"/>
                  </a:cubicBezTo>
                  <a:cubicBezTo>
                    <a:pt x="2018" y="222"/>
                    <a:pt x="2031" y="219"/>
                    <a:pt x="2033" y="217"/>
                  </a:cubicBezTo>
                  <a:cubicBezTo>
                    <a:pt x="2032" y="211"/>
                    <a:pt x="2021" y="216"/>
                    <a:pt x="2016" y="214"/>
                  </a:cubicBezTo>
                  <a:cubicBezTo>
                    <a:pt x="2013" y="222"/>
                    <a:pt x="2025" y="216"/>
                    <a:pt x="2022" y="224"/>
                  </a:cubicBezTo>
                  <a:cubicBezTo>
                    <a:pt x="2018" y="224"/>
                    <a:pt x="2014" y="224"/>
                    <a:pt x="2014" y="226"/>
                  </a:cubicBezTo>
                  <a:cubicBezTo>
                    <a:pt x="2011" y="226"/>
                    <a:pt x="2012" y="222"/>
                    <a:pt x="2008" y="222"/>
                  </a:cubicBezTo>
                  <a:cubicBezTo>
                    <a:pt x="2001" y="221"/>
                    <a:pt x="2016" y="231"/>
                    <a:pt x="2003" y="229"/>
                  </a:cubicBezTo>
                  <a:cubicBezTo>
                    <a:pt x="2001" y="236"/>
                    <a:pt x="2007" y="235"/>
                    <a:pt x="2006" y="241"/>
                  </a:cubicBezTo>
                  <a:cubicBezTo>
                    <a:pt x="1999" y="239"/>
                    <a:pt x="1997" y="231"/>
                    <a:pt x="2000" y="227"/>
                  </a:cubicBezTo>
                  <a:cubicBezTo>
                    <a:pt x="2001" y="226"/>
                    <a:pt x="2006" y="227"/>
                    <a:pt x="2006" y="226"/>
                  </a:cubicBezTo>
                  <a:cubicBezTo>
                    <a:pt x="2006" y="224"/>
                    <a:pt x="1999" y="222"/>
                    <a:pt x="2006" y="217"/>
                  </a:cubicBezTo>
                  <a:cubicBezTo>
                    <a:pt x="2005" y="214"/>
                    <a:pt x="1999" y="215"/>
                    <a:pt x="1994" y="215"/>
                  </a:cubicBezTo>
                  <a:cubicBezTo>
                    <a:pt x="1987" y="217"/>
                    <a:pt x="1992" y="218"/>
                    <a:pt x="1992" y="224"/>
                  </a:cubicBezTo>
                  <a:cubicBezTo>
                    <a:pt x="1983" y="227"/>
                    <a:pt x="1988" y="217"/>
                    <a:pt x="1984" y="215"/>
                  </a:cubicBezTo>
                  <a:cubicBezTo>
                    <a:pt x="1976" y="215"/>
                    <a:pt x="1980" y="222"/>
                    <a:pt x="1978" y="225"/>
                  </a:cubicBezTo>
                  <a:cubicBezTo>
                    <a:pt x="1978" y="225"/>
                    <a:pt x="1973" y="224"/>
                    <a:pt x="1973" y="225"/>
                  </a:cubicBezTo>
                  <a:cubicBezTo>
                    <a:pt x="1971" y="226"/>
                    <a:pt x="1974" y="230"/>
                    <a:pt x="1973" y="232"/>
                  </a:cubicBezTo>
                  <a:cubicBezTo>
                    <a:pt x="1967" y="230"/>
                    <a:pt x="1967" y="228"/>
                    <a:pt x="1970" y="225"/>
                  </a:cubicBezTo>
                  <a:cubicBezTo>
                    <a:pt x="1965" y="224"/>
                    <a:pt x="1965" y="227"/>
                    <a:pt x="1965" y="230"/>
                  </a:cubicBezTo>
                  <a:cubicBezTo>
                    <a:pt x="1961" y="229"/>
                    <a:pt x="1962" y="224"/>
                    <a:pt x="1962" y="220"/>
                  </a:cubicBezTo>
                  <a:cubicBezTo>
                    <a:pt x="1966" y="220"/>
                    <a:pt x="1971" y="220"/>
                    <a:pt x="1975" y="220"/>
                  </a:cubicBezTo>
                  <a:cubicBezTo>
                    <a:pt x="1976" y="214"/>
                    <a:pt x="1960" y="222"/>
                    <a:pt x="1964" y="213"/>
                  </a:cubicBezTo>
                  <a:cubicBezTo>
                    <a:pt x="1974" y="212"/>
                    <a:pt x="1988" y="216"/>
                    <a:pt x="1986" y="206"/>
                  </a:cubicBezTo>
                  <a:cubicBezTo>
                    <a:pt x="1992" y="205"/>
                    <a:pt x="1995" y="207"/>
                    <a:pt x="1994" y="213"/>
                  </a:cubicBezTo>
                  <a:cubicBezTo>
                    <a:pt x="2004" y="211"/>
                    <a:pt x="2003" y="210"/>
                    <a:pt x="2011" y="212"/>
                  </a:cubicBezTo>
                  <a:cubicBezTo>
                    <a:pt x="2015" y="211"/>
                    <a:pt x="2010" y="209"/>
                    <a:pt x="2011" y="205"/>
                  </a:cubicBezTo>
                  <a:cubicBezTo>
                    <a:pt x="2018" y="204"/>
                    <a:pt x="2021" y="206"/>
                    <a:pt x="2019" y="212"/>
                  </a:cubicBezTo>
                  <a:cubicBezTo>
                    <a:pt x="2024" y="212"/>
                    <a:pt x="2026" y="210"/>
                    <a:pt x="2027" y="207"/>
                  </a:cubicBezTo>
                  <a:cubicBezTo>
                    <a:pt x="2031" y="208"/>
                    <a:pt x="2032" y="211"/>
                    <a:pt x="2036" y="212"/>
                  </a:cubicBezTo>
                  <a:cubicBezTo>
                    <a:pt x="2039" y="212"/>
                    <a:pt x="2037" y="210"/>
                    <a:pt x="2038" y="209"/>
                  </a:cubicBezTo>
                  <a:cubicBezTo>
                    <a:pt x="2041" y="209"/>
                    <a:pt x="2045" y="214"/>
                    <a:pt x="2047" y="207"/>
                  </a:cubicBezTo>
                  <a:cubicBezTo>
                    <a:pt x="2051" y="208"/>
                    <a:pt x="2049" y="214"/>
                    <a:pt x="2058" y="211"/>
                  </a:cubicBezTo>
                  <a:cubicBezTo>
                    <a:pt x="2066" y="214"/>
                    <a:pt x="2050" y="214"/>
                    <a:pt x="2047" y="214"/>
                  </a:cubicBezTo>
                  <a:cubicBezTo>
                    <a:pt x="2047" y="220"/>
                    <a:pt x="2057" y="218"/>
                    <a:pt x="2060" y="221"/>
                  </a:cubicBezTo>
                  <a:cubicBezTo>
                    <a:pt x="2057" y="225"/>
                    <a:pt x="2054" y="221"/>
                    <a:pt x="2044" y="221"/>
                  </a:cubicBezTo>
                  <a:close/>
                  <a:moveTo>
                    <a:pt x="2063" y="221"/>
                  </a:moveTo>
                  <a:cubicBezTo>
                    <a:pt x="2063" y="218"/>
                    <a:pt x="2067" y="219"/>
                    <a:pt x="2069" y="218"/>
                  </a:cubicBezTo>
                  <a:cubicBezTo>
                    <a:pt x="2069" y="214"/>
                    <a:pt x="2069" y="210"/>
                    <a:pt x="2068" y="207"/>
                  </a:cubicBezTo>
                  <a:cubicBezTo>
                    <a:pt x="2080" y="203"/>
                    <a:pt x="2069" y="219"/>
                    <a:pt x="2077" y="218"/>
                  </a:cubicBezTo>
                  <a:cubicBezTo>
                    <a:pt x="2077" y="223"/>
                    <a:pt x="2067" y="219"/>
                    <a:pt x="2063" y="221"/>
                  </a:cubicBezTo>
                  <a:close/>
                  <a:moveTo>
                    <a:pt x="2074" y="239"/>
                  </a:moveTo>
                  <a:cubicBezTo>
                    <a:pt x="2073" y="239"/>
                    <a:pt x="2071" y="239"/>
                    <a:pt x="2069" y="239"/>
                  </a:cubicBezTo>
                  <a:cubicBezTo>
                    <a:pt x="2069" y="237"/>
                    <a:pt x="2069" y="235"/>
                    <a:pt x="2069" y="232"/>
                  </a:cubicBezTo>
                  <a:cubicBezTo>
                    <a:pt x="2073" y="232"/>
                    <a:pt x="2074" y="235"/>
                    <a:pt x="2077" y="235"/>
                  </a:cubicBezTo>
                  <a:cubicBezTo>
                    <a:pt x="2077" y="237"/>
                    <a:pt x="2074" y="237"/>
                    <a:pt x="2074" y="239"/>
                  </a:cubicBezTo>
                  <a:close/>
                  <a:moveTo>
                    <a:pt x="2200" y="66"/>
                  </a:moveTo>
                  <a:cubicBezTo>
                    <a:pt x="2203" y="68"/>
                    <a:pt x="2211" y="66"/>
                    <a:pt x="2209" y="72"/>
                  </a:cubicBezTo>
                  <a:cubicBezTo>
                    <a:pt x="2206" y="70"/>
                    <a:pt x="2199" y="72"/>
                    <a:pt x="2200" y="66"/>
                  </a:cubicBezTo>
                  <a:close/>
                  <a:moveTo>
                    <a:pt x="2184" y="71"/>
                  </a:moveTo>
                  <a:cubicBezTo>
                    <a:pt x="2184" y="72"/>
                    <a:pt x="2184" y="74"/>
                    <a:pt x="2184" y="75"/>
                  </a:cubicBezTo>
                  <a:cubicBezTo>
                    <a:pt x="2182" y="75"/>
                    <a:pt x="2180" y="75"/>
                    <a:pt x="2179" y="75"/>
                  </a:cubicBezTo>
                  <a:cubicBezTo>
                    <a:pt x="2179" y="74"/>
                    <a:pt x="2179" y="72"/>
                    <a:pt x="2179" y="71"/>
                  </a:cubicBezTo>
                  <a:cubicBezTo>
                    <a:pt x="2180" y="71"/>
                    <a:pt x="2182" y="71"/>
                    <a:pt x="2184" y="71"/>
                  </a:cubicBezTo>
                  <a:close/>
                  <a:moveTo>
                    <a:pt x="2180" y="132"/>
                  </a:moveTo>
                  <a:cubicBezTo>
                    <a:pt x="2179" y="136"/>
                    <a:pt x="2175" y="141"/>
                    <a:pt x="2174" y="144"/>
                  </a:cubicBezTo>
                  <a:cubicBezTo>
                    <a:pt x="2172" y="142"/>
                    <a:pt x="2170" y="141"/>
                    <a:pt x="2166" y="141"/>
                  </a:cubicBezTo>
                  <a:cubicBezTo>
                    <a:pt x="2162" y="135"/>
                    <a:pt x="2171" y="136"/>
                    <a:pt x="2171" y="132"/>
                  </a:cubicBezTo>
                  <a:cubicBezTo>
                    <a:pt x="2172" y="129"/>
                    <a:pt x="2177" y="130"/>
                    <a:pt x="2180" y="129"/>
                  </a:cubicBezTo>
                  <a:cubicBezTo>
                    <a:pt x="2180" y="127"/>
                    <a:pt x="2178" y="127"/>
                    <a:pt x="2177" y="127"/>
                  </a:cubicBezTo>
                  <a:cubicBezTo>
                    <a:pt x="2185" y="120"/>
                    <a:pt x="2181" y="128"/>
                    <a:pt x="2180" y="132"/>
                  </a:cubicBezTo>
                  <a:close/>
                  <a:moveTo>
                    <a:pt x="2183" y="174"/>
                  </a:moveTo>
                  <a:cubicBezTo>
                    <a:pt x="2180" y="173"/>
                    <a:pt x="2179" y="170"/>
                    <a:pt x="2175" y="169"/>
                  </a:cubicBezTo>
                  <a:cubicBezTo>
                    <a:pt x="2175" y="167"/>
                    <a:pt x="2178" y="168"/>
                    <a:pt x="2178" y="169"/>
                  </a:cubicBezTo>
                  <a:cubicBezTo>
                    <a:pt x="2180" y="169"/>
                    <a:pt x="2180" y="166"/>
                    <a:pt x="2180" y="165"/>
                  </a:cubicBezTo>
                  <a:cubicBezTo>
                    <a:pt x="2184" y="165"/>
                    <a:pt x="2183" y="170"/>
                    <a:pt x="2183" y="174"/>
                  </a:cubicBezTo>
                  <a:close/>
                  <a:moveTo>
                    <a:pt x="2177" y="120"/>
                  </a:moveTo>
                  <a:cubicBezTo>
                    <a:pt x="2176" y="125"/>
                    <a:pt x="2164" y="121"/>
                    <a:pt x="2166" y="116"/>
                  </a:cubicBezTo>
                  <a:cubicBezTo>
                    <a:pt x="2173" y="114"/>
                    <a:pt x="2171" y="120"/>
                    <a:pt x="2177" y="120"/>
                  </a:cubicBezTo>
                  <a:close/>
                  <a:moveTo>
                    <a:pt x="2166" y="108"/>
                  </a:moveTo>
                  <a:cubicBezTo>
                    <a:pt x="2166" y="108"/>
                    <a:pt x="2168" y="109"/>
                    <a:pt x="2168" y="108"/>
                  </a:cubicBezTo>
                  <a:cubicBezTo>
                    <a:pt x="2169" y="108"/>
                    <a:pt x="2169" y="102"/>
                    <a:pt x="2171" y="104"/>
                  </a:cubicBezTo>
                  <a:cubicBezTo>
                    <a:pt x="2179" y="111"/>
                    <a:pt x="2155" y="110"/>
                    <a:pt x="2166" y="108"/>
                  </a:cubicBezTo>
                  <a:close/>
                  <a:moveTo>
                    <a:pt x="2177" y="146"/>
                  </a:moveTo>
                  <a:cubicBezTo>
                    <a:pt x="2172" y="149"/>
                    <a:pt x="2177" y="160"/>
                    <a:pt x="2169" y="160"/>
                  </a:cubicBezTo>
                  <a:cubicBezTo>
                    <a:pt x="2171" y="162"/>
                    <a:pt x="2172" y="164"/>
                    <a:pt x="2172" y="167"/>
                  </a:cubicBezTo>
                  <a:cubicBezTo>
                    <a:pt x="2164" y="171"/>
                    <a:pt x="2163" y="152"/>
                    <a:pt x="2172" y="155"/>
                  </a:cubicBezTo>
                  <a:cubicBezTo>
                    <a:pt x="2171" y="151"/>
                    <a:pt x="2167" y="150"/>
                    <a:pt x="2161" y="151"/>
                  </a:cubicBezTo>
                  <a:cubicBezTo>
                    <a:pt x="2164" y="147"/>
                    <a:pt x="2170" y="146"/>
                    <a:pt x="2177" y="146"/>
                  </a:cubicBezTo>
                  <a:close/>
                  <a:moveTo>
                    <a:pt x="2164" y="205"/>
                  </a:moveTo>
                  <a:cubicBezTo>
                    <a:pt x="2165" y="200"/>
                    <a:pt x="2174" y="207"/>
                    <a:pt x="2173" y="212"/>
                  </a:cubicBezTo>
                  <a:cubicBezTo>
                    <a:pt x="2170" y="212"/>
                    <a:pt x="2167" y="212"/>
                    <a:pt x="2165" y="212"/>
                  </a:cubicBezTo>
                  <a:cubicBezTo>
                    <a:pt x="2166" y="210"/>
                    <a:pt x="2169" y="205"/>
                    <a:pt x="2164" y="205"/>
                  </a:cubicBezTo>
                  <a:close/>
                  <a:moveTo>
                    <a:pt x="2164" y="186"/>
                  </a:moveTo>
                  <a:cubicBezTo>
                    <a:pt x="2166" y="173"/>
                    <a:pt x="2181" y="193"/>
                    <a:pt x="2167" y="193"/>
                  </a:cubicBezTo>
                  <a:cubicBezTo>
                    <a:pt x="2167" y="191"/>
                    <a:pt x="2170" y="191"/>
                    <a:pt x="2170" y="188"/>
                  </a:cubicBezTo>
                  <a:cubicBezTo>
                    <a:pt x="2170" y="186"/>
                    <a:pt x="2166" y="187"/>
                    <a:pt x="2164" y="186"/>
                  </a:cubicBezTo>
                  <a:close/>
                  <a:moveTo>
                    <a:pt x="2154" y="99"/>
                  </a:moveTo>
                  <a:cubicBezTo>
                    <a:pt x="2166" y="98"/>
                    <a:pt x="2156" y="104"/>
                    <a:pt x="2157" y="109"/>
                  </a:cubicBezTo>
                  <a:cubicBezTo>
                    <a:pt x="2149" y="108"/>
                    <a:pt x="2150" y="117"/>
                    <a:pt x="2144" y="111"/>
                  </a:cubicBezTo>
                  <a:cubicBezTo>
                    <a:pt x="2145" y="106"/>
                    <a:pt x="2158" y="109"/>
                    <a:pt x="2154" y="99"/>
                  </a:cubicBezTo>
                  <a:close/>
                  <a:moveTo>
                    <a:pt x="2159" y="207"/>
                  </a:moveTo>
                  <a:cubicBezTo>
                    <a:pt x="2146" y="210"/>
                    <a:pt x="2154" y="195"/>
                    <a:pt x="2159" y="203"/>
                  </a:cubicBezTo>
                  <a:cubicBezTo>
                    <a:pt x="2159" y="204"/>
                    <a:pt x="2159" y="206"/>
                    <a:pt x="2159" y="207"/>
                  </a:cubicBezTo>
                  <a:close/>
                  <a:moveTo>
                    <a:pt x="2141" y="130"/>
                  </a:moveTo>
                  <a:cubicBezTo>
                    <a:pt x="2150" y="127"/>
                    <a:pt x="2143" y="138"/>
                    <a:pt x="2152" y="135"/>
                  </a:cubicBezTo>
                  <a:cubicBezTo>
                    <a:pt x="2150" y="139"/>
                    <a:pt x="2147" y="143"/>
                    <a:pt x="2139" y="142"/>
                  </a:cubicBezTo>
                  <a:cubicBezTo>
                    <a:pt x="2137" y="136"/>
                    <a:pt x="2144" y="137"/>
                    <a:pt x="2141" y="130"/>
                  </a:cubicBezTo>
                  <a:close/>
                  <a:moveTo>
                    <a:pt x="2115" y="189"/>
                  </a:moveTo>
                  <a:cubicBezTo>
                    <a:pt x="2120" y="183"/>
                    <a:pt x="2127" y="192"/>
                    <a:pt x="2134" y="187"/>
                  </a:cubicBezTo>
                  <a:cubicBezTo>
                    <a:pt x="2135" y="195"/>
                    <a:pt x="2119" y="190"/>
                    <a:pt x="2115" y="194"/>
                  </a:cubicBezTo>
                  <a:cubicBezTo>
                    <a:pt x="2117" y="192"/>
                    <a:pt x="2118" y="190"/>
                    <a:pt x="2115" y="189"/>
                  </a:cubicBezTo>
                  <a:close/>
                  <a:moveTo>
                    <a:pt x="2128" y="140"/>
                  </a:moveTo>
                  <a:cubicBezTo>
                    <a:pt x="2125" y="148"/>
                    <a:pt x="2122" y="137"/>
                    <a:pt x="2119" y="138"/>
                  </a:cubicBezTo>
                  <a:cubicBezTo>
                    <a:pt x="2114" y="135"/>
                    <a:pt x="2116" y="142"/>
                    <a:pt x="2114" y="142"/>
                  </a:cubicBezTo>
                  <a:cubicBezTo>
                    <a:pt x="2112" y="143"/>
                    <a:pt x="2108" y="139"/>
                    <a:pt x="2103" y="142"/>
                  </a:cubicBezTo>
                  <a:cubicBezTo>
                    <a:pt x="2103" y="140"/>
                    <a:pt x="2103" y="138"/>
                    <a:pt x="2103" y="135"/>
                  </a:cubicBezTo>
                  <a:cubicBezTo>
                    <a:pt x="2114" y="137"/>
                    <a:pt x="2112" y="136"/>
                    <a:pt x="2125" y="135"/>
                  </a:cubicBezTo>
                  <a:cubicBezTo>
                    <a:pt x="2124" y="138"/>
                    <a:pt x="2126" y="139"/>
                    <a:pt x="2128" y="140"/>
                  </a:cubicBezTo>
                  <a:close/>
                  <a:moveTo>
                    <a:pt x="2130" y="107"/>
                  </a:moveTo>
                  <a:cubicBezTo>
                    <a:pt x="2124" y="116"/>
                    <a:pt x="2136" y="115"/>
                    <a:pt x="2133" y="128"/>
                  </a:cubicBezTo>
                  <a:cubicBezTo>
                    <a:pt x="2130" y="128"/>
                    <a:pt x="2131" y="124"/>
                    <a:pt x="2130" y="121"/>
                  </a:cubicBezTo>
                  <a:cubicBezTo>
                    <a:pt x="2129" y="118"/>
                    <a:pt x="2117" y="107"/>
                    <a:pt x="2130" y="107"/>
                  </a:cubicBezTo>
                  <a:close/>
                  <a:moveTo>
                    <a:pt x="2111" y="107"/>
                  </a:moveTo>
                  <a:cubicBezTo>
                    <a:pt x="2110" y="110"/>
                    <a:pt x="2099" y="112"/>
                    <a:pt x="2111" y="112"/>
                  </a:cubicBezTo>
                  <a:cubicBezTo>
                    <a:pt x="2110" y="115"/>
                    <a:pt x="2106" y="114"/>
                    <a:pt x="2102" y="114"/>
                  </a:cubicBezTo>
                  <a:cubicBezTo>
                    <a:pt x="2098" y="107"/>
                    <a:pt x="2103" y="102"/>
                    <a:pt x="2111" y="107"/>
                  </a:cubicBezTo>
                  <a:close/>
                  <a:moveTo>
                    <a:pt x="2088" y="251"/>
                  </a:moveTo>
                  <a:cubicBezTo>
                    <a:pt x="2084" y="249"/>
                    <a:pt x="2081" y="243"/>
                    <a:pt x="2085" y="239"/>
                  </a:cubicBezTo>
                  <a:cubicBezTo>
                    <a:pt x="2091" y="239"/>
                    <a:pt x="2087" y="247"/>
                    <a:pt x="2088" y="251"/>
                  </a:cubicBezTo>
                  <a:close/>
                  <a:moveTo>
                    <a:pt x="2085" y="227"/>
                  </a:moveTo>
                  <a:cubicBezTo>
                    <a:pt x="2075" y="221"/>
                    <a:pt x="2088" y="214"/>
                    <a:pt x="2082" y="204"/>
                  </a:cubicBezTo>
                  <a:cubicBezTo>
                    <a:pt x="2085" y="205"/>
                    <a:pt x="2085" y="209"/>
                    <a:pt x="2090" y="209"/>
                  </a:cubicBezTo>
                  <a:cubicBezTo>
                    <a:pt x="2090" y="216"/>
                    <a:pt x="2083" y="218"/>
                    <a:pt x="2085" y="227"/>
                  </a:cubicBezTo>
                  <a:close/>
                  <a:moveTo>
                    <a:pt x="2103" y="168"/>
                  </a:moveTo>
                  <a:cubicBezTo>
                    <a:pt x="2105" y="169"/>
                    <a:pt x="2096" y="175"/>
                    <a:pt x="2093" y="171"/>
                  </a:cubicBezTo>
                  <a:cubicBezTo>
                    <a:pt x="2092" y="169"/>
                    <a:pt x="2102" y="167"/>
                    <a:pt x="2103" y="168"/>
                  </a:cubicBezTo>
                  <a:close/>
                  <a:moveTo>
                    <a:pt x="2095" y="293"/>
                  </a:moveTo>
                  <a:cubicBezTo>
                    <a:pt x="2095" y="289"/>
                    <a:pt x="2104" y="291"/>
                    <a:pt x="2103" y="286"/>
                  </a:cubicBezTo>
                  <a:cubicBezTo>
                    <a:pt x="2107" y="287"/>
                    <a:pt x="2105" y="293"/>
                    <a:pt x="2114" y="290"/>
                  </a:cubicBezTo>
                  <a:cubicBezTo>
                    <a:pt x="2108" y="295"/>
                    <a:pt x="2101" y="295"/>
                    <a:pt x="2095" y="293"/>
                  </a:cubicBezTo>
                  <a:close/>
                  <a:moveTo>
                    <a:pt x="2094" y="270"/>
                  </a:moveTo>
                  <a:cubicBezTo>
                    <a:pt x="2095" y="265"/>
                    <a:pt x="2098" y="271"/>
                    <a:pt x="2097" y="274"/>
                  </a:cubicBezTo>
                  <a:cubicBezTo>
                    <a:pt x="2096" y="279"/>
                    <a:pt x="2094" y="273"/>
                    <a:pt x="2094" y="270"/>
                  </a:cubicBezTo>
                  <a:close/>
                  <a:moveTo>
                    <a:pt x="2102" y="225"/>
                  </a:moveTo>
                  <a:cubicBezTo>
                    <a:pt x="2094" y="222"/>
                    <a:pt x="2109" y="208"/>
                    <a:pt x="2102" y="225"/>
                  </a:cubicBezTo>
                  <a:close/>
                  <a:moveTo>
                    <a:pt x="2110" y="218"/>
                  </a:moveTo>
                  <a:cubicBezTo>
                    <a:pt x="2117" y="218"/>
                    <a:pt x="2111" y="226"/>
                    <a:pt x="2110" y="227"/>
                  </a:cubicBezTo>
                  <a:cubicBezTo>
                    <a:pt x="2102" y="226"/>
                    <a:pt x="2112" y="222"/>
                    <a:pt x="2110" y="218"/>
                  </a:cubicBezTo>
                  <a:close/>
                  <a:moveTo>
                    <a:pt x="2119" y="281"/>
                  </a:moveTo>
                  <a:cubicBezTo>
                    <a:pt x="2117" y="288"/>
                    <a:pt x="2115" y="277"/>
                    <a:pt x="2116" y="274"/>
                  </a:cubicBezTo>
                  <a:cubicBezTo>
                    <a:pt x="2113" y="277"/>
                    <a:pt x="2112" y="275"/>
                    <a:pt x="2108" y="274"/>
                  </a:cubicBezTo>
                  <a:cubicBezTo>
                    <a:pt x="2110" y="272"/>
                    <a:pt x="2114" y="271"/>
                    <a:pt x="2113" y="267"/>
                  </a:cubicBezTo>
                  <a:cubicBezTo>
                    <a:pt x="2118" y="269"/>
                    <a:pt x="2120" y="274"/>
                    <a:pt x="2119" y="281"/>
                  </a:cubicBezTo>
                  <a:close/>
                  <a:moveTo>
                    <a:pt x="2121" y="246"/>
                  </a:moveTo>
                  <a:cubicBezTo>
                    <a:pt x="2121" y="246"/>
                    <a:pt x="2116" y="243"/>
                    <a:pt x="2116" y="243"/>
                  </a:cubicBezTo>
                  <a:cubicBezTo>
                    <a:pt x="2116" y="240"/>
                    <a:pt x="2120" y="243"/>
                    <a:pt x="2121" y="241"/>
                  </a:cubicBezTo>
                  <a:cubicBezTo>
                    <a:pt x="2121" y="240"/>
                    <a:pt x="2122" y="234"/>
                    <a:pt x="2124" y="236"/>
                  </a:cubicBezTo>
                  <a:cubicBezTo>
                    <a:pt x="2124" y="237"/>
                    <a:pt x="2121" y="245"/>
                    <a:pt x="2121" y="246"/>
                  </a:cubicBezTo>
                  <a:close/>
                  <a:moveTo>
                    <a:pt x="2115" y="217"/>
                  </a:moveTo>
                  <a:cubicBezTo>
                    <a:pt x="2117" y="212"/>
                    <a:pt x="2129" y="216"/>
                    <a:pt x="2126" y="222"/>
                  </a:cubicBezTo>
                  <a:cubicBezTo>
                    <a:pt x="2122" y="221"/>
                    <a:pt x="2119" y="219"/>
                    <a:pt x="2115" y="217"/>
                  </a:cubicBezTo>
                  <a:close/>
                  <a:moveTo>
                    <a:pt x="2122" y="276"/>
                  </a:moveTo>
                  <a:cubicBezTo>
                    <a:pt x="2122" y="272"/>
                    <a:pt x="2126" y="271"/>
                    <a:pt x="2133" y="271"/>
                  </a:cubicBezTo>
                  <a:cubicBezTo>
                    <a:pt x="2132" y="275"/>
                    <a:pt x="2128" y="277"/>
                    <a:pt x="2122" y="276"/>
                  </a:cubicBezTo>
                  <a:close/>
                  <a:moveTo>
                    <a:pt x="2129" y="243"/>
                  </a:moveTo>
                  <a:cubicBezTo>
                    <a:pt x="2129" y="241"/>
                    <a:pt x="2129" y="240"/>
                    <a:pt x="2129" y="238"/>
                  </a:cubicBezTo>
                  <a:cubicBezTo>
                    <a:pt x="2131" y="238"/>
                    <a:pt x="2133" y="238"/>
                    <a:pt x="2135" y="238"/>
                  </a:cubicBezTo>
                  <a:cubicBezTo>
                    <a:pt x="2135" y="240"/>
                    <a:pt x="2135" y="241"/>
                    <a:pt x="2135" y="243"/>
                  </a:cubicBezTo>
                  <a:cubicBezTo>
                    <a:pt x="2133" y="243"/>
                    <a:pt x="2131" y="243"/>
                    <a:pt x="2129" y="243"/>
                  </a:cubicBezTo>
                  <a:close/>
                  <a:moveTo>
                    <a:pt x="2134" y="210"/>
                  </a:moveTo>
                  <a:cubicBezTo>
                    <a:pt x="2132" y="212"/>
                    <a:pt x="2130" y="212"/>
                    <a:pt x="2126" y="213"/>
                  </a:cubicBezTo>
                  <a:cubicBezTo>
                    <a:pt x="2126" y="213"/>
                    <a:pt x="2126" y="210"/>
                    <a:pt x="2126" y="210"/>
                  </a:cubicBezTo>
                  <a:cubicBezTo>
                    <a:pt x="2124" y="211"/>
                    <a:pt x="2124" y="213"/>
                    <a:pt x="2123" y="213"/>
                  </a:cubicBezTo>
                  <a:cubicBezTo>
                    <a:pt x="2121" y="213"/>
                    <a:pt x="2120" y="210"/>
                    <a:pt x="2121" y="210"/>
                  </a:cubicBezTo>
                  <a:cubicBezTo>
                    <a:pt x="2121" y="210"/>
                    <a:pt x="2113" y="212"/>
                    <a:pt x="2112" y="213"/>
                  </a:cubicBezTo>
                  <a:cubicBezTo>
                    <a:pt x="2110" y="215"/>
                    <a:pt x="2112" y="213"/>
                    <a:pt x="2101" y="213"/>
                  </a:cubicBezTo>
                  <a:cubicBezTo>
                    <a:pt x="2103" y="207"/>
                    <a:pt x="2100" y="205"/>
                    <a:pt x="2093" y="206"/>
                  </a:cubicBezTo>
                  <a:cubicBezTo>
                    <a:pt x="2092" y="203"/>
                    <a:pt x="2097" y="205"/>
                    <a:pt x="2099" y="204"/>
                  </a:cubicBezTo>
                  <a:cubicBezTo>
                    <a:pt x="2103" y="199"/>
                    <a:pt x="2097" y="191"/>
                    <a:pt x="2107" y="192"/>
                  </a:cubicBezTo>
                  <a:cubicBezTo>
                    <a:pt x="2101" y="197"/>
                    <a:pt x="2105" y="205"/>
                    <a:pt x="2107" y="211"/>
                  </a:cubicBezTo>
                  <a:cubicBezTo>
                    <a:pt x="2112" y="208"/>
                    <a:pt x="2122" y="210"/>
                    <a:pt x="2121" y="203"/>
                  </a:cubicBezTo>
                  <a:cubicBezTo>
                    <a:pt x="2123" y="205"/>
                    <a:pt x="2125" y="207"/>
                    <a:pt x="2126" y="210"/>
                  </a:cubicBezTo>
                  <a:cubicBezTo>
                    <a:pt x="2130" y="206"/>
                    <a:pt x="2135" y="204"/>
                    <a:pt x="2134" y="196"/>
                  </a:cubicBezTo>
                  <a:cubicBezTo>
                    <a:pt x="2138" y="196"/>
                    <a:pt x="2135" y="203"/>
                    <a:pt x="2140" y="203"/>
                  </a:cubicBezTo>
                  <a:cubicBezTo>
                    <a:pt x="2138" y="205"/>
                    <a:pt x="2133" y="206"/>
                    <a:pt x="2134" y="210"/>
                  </a:cubicBezTo>
                  <a:close/>
                  <a:moveTo>
                    <a:pt x="2144" y="285"/>
                  </a:moveTo>
                  <a:cubicBezTo>
                    <a:pt x="2139" y="283"/>
                    <a:pt x="2136" y="275"/>
                    <a:pt x="2141" y="271"/>
                  </a:cubicBezTo>
                  <a:cubicBezTo>
                    <a:pt x="2147" y="271"/>
                    <a:pt x="2142" y="281"/>
                    <a:pt x="2144" y="285"/>
                  </a:cubicBezTo>
                  <a:close/>
                  <a:moveTo>
                    <a:pt x="2143" y="215"/>
                  </a:moveTo>
                  <a:cubicBezTo>
                    <a:pt x="2146" y="216"/>
                    <a:pt x="2148" y="218"/>
                    <a:pt x="2148" y="222"/>
                  </a:cubicBezTo>
                  <a:cubicBezTo>
                    <a:pt x="2145" y="221"/>
                    <a:pt x="2143" y="219"/>
                    <a:pt x="2143" y="215"/>
                  </a:cubicBezTo>
                  <a:close/>
                  <a:moveTo>
                    <a:pt x="2147" y="156"/>
                  </a:moveTo>
                  <a:cubicBezTo>
                    <a:pt x="2143" y="154"/>
                    <a:pt x="2148" y="152"/>
                    <a:pt x="2144" y="146"/>
                  </a:cubicBezTo>
                  <a:cubicBezTo>
                    <a:pt x="2154" y="144"/>
                    <a:pt x="2150" y="154"/>
                    <a:pt x="2155" y="156"/>
                  </a:cubicBezTo>
                  <a:cubicBezTo>
                    <a:pt x="2154" y="159"/>
                    <a:pt x="2151" y="156"/>
                    <a:pt x="2150" y="153"/>
                  </a:cubicBezTo>
                  <a:cubicBezTo>
                    <a:pt x="2147" y="153"/>
                    <a:pt x="2147" y="154"/>
                    <a:pt x="2147" y="156"/>
                  </a:cubicBezTo>
                  <a:close/>
                  <a:moveTo>
                    <a:pt x="2157" y="250"/>
                  </a:moveTo>
                  <a:cubicBezTo>
                    <a:pt x="2153" y="249"/>
                    <a:pt x="2156" y="243"/>
                    <a:pt x="2151" y="243"/>
                  </a:cubicBezTo>
                  <a:cubicBezTo>
                    <a:pt x="2153" y="240"/>
                    <a:pt x="2158" y="240"/>
                    <a:pt x="2157" y="236"/>
                  </a:cubicBezTo>
                  <a:cubicBezTo>
                    <a:pt x="2164" y="238"/>
                    <a:pt x="2156" y="246"/>
                    <a:pt x="2157" y="250"/>
                  </a:cubicBezTo>
                  <a:close/>
                  <a:moveTo>
                    <a:pt x="2159" y="221"/>
                  </a:moveTo>
                  <a:cubicBezTo>
                    <a:pt x="2160" y="224"/>
                    <a:pt x="2159" y="236"/>
                    <a:pt x="2157" y="228"/>
                  </a:cubicBezTo>
                  <a:cubicBezTo>
                    <a:pt x="2157" y="224"/>
                    <a:pt x="2156" y="219"/>
                    <a:pt x="2156" y="214"/>
                  </a:cubicBezTo>
                  <a:cubicBezTo>
                    <a:pt x="2160" y="214"/>
                    <a:pt x="2164" y="214"/>
                    <a:pt x="2167" y="214"/>
                  </a:cubicBezTo>
                  <a:cubicBezTo>
                    <a:pt x="2168" y="219"/>
                    <a:pt x="2165" y="222"/>
                    <a:pt x="2159" y="221"/>
                  </a:cubicBezTo>
                  <a:close/>
                  <a:moveTo>
                    <a:pt x="2168" y="273"/>
                  </a:moveTo>
                  <a:cubicBezTo>
                    <a:pt x="2171" y="274"/>
                    <a:pt x="2173" y="275"/>
                    <a:pt x="2177" y="275"/>
                  </a:cubicBezTo>
                  <a:cubicBezTo>
                    <a:pt x="2176" y="284"/>
                    <a:pt x="2173" y="284"/>
                    <a:pt x="2177" y="292"/>
                  </a:cubicBezTo>
                  <a:cubicBezTo>
                    <a:pt x="2165" y="293"/>
                    <a:pt x="2169" y="281"/>
                    <a:pt x="2168" y="273"/>
                  </a:cubicBezTo>
                  <a:close/>
                  <a:moveTo>
                    <a:pt x="2174" y="273"/>
                  </a:moveTo>
                  <a:cubicBezTo>
                    <a:pt x="2174" y="271"/>
                    <a:pt x="2174" y="270"/>
                    <a:pt x="2174" y="268"/>
                  </a:cubicBezTo>
                  <a:cubicBezTo>
                    <a:pt x="2176" y="268"/>
                    <a:pt x="2177" y="268"/>
                    <a:pt x="2179" y="268"/>
                  </a:cubicBezTo>
                  <a:cubicBezTo>
                    <a:pt x="2179" y="270"/>
                    <a:pt x="2179" y="271"/>
                    <a:pt x="2179" y="273"/>
                  </a:cubicBezTo>
                  <a:cubicBezTo>
                    <a:pt x="2177" y="273"/>
                    <a:pt x="2176" y="273"/>
                    <a:pt x="2174" y="273"/>
                  </a:cubicBezTo>
                  <a:close/>
                  <a:moveTo>
                    <a:pt x="2170" y="217"/>
                  </a:moveTo>
                  <a:cubicBezTo>
                    <a:pt x="2171" y="213"/>
                    <a:pt x="2177" y="214"/>
                    <a:pt x="2181" y="214"/>
                  </a:cubicBezTo>
                  <a:cubicBezTo>
                    <a:pt x="2180" y="219"/>
                    <a:pt x="2174" y="220"/>
                    <a:pt x="2170" y="217"/>
                  </a:cubicBezTo>
                  <a:close/>
                  <a:moveTo>
                    <a:pt x="2181" y="197"/>
                  </a:moveTo>
                  <a:cubicBezTo>
                    <a:pt x="2173" y="193"/>
                    <a:pt x="2182" y="183"/>
                    <a:pt x="2183" y="179"/>
                  </a:cubicBezTo>
                  <a:cubicBezTo>
                    <a:pt x="2189" y="182"/>
                    <a:pt x="2180" y="191"/>
                    <a:pt x="2181" y="197"/>
                  </a:cubicBezTo>
                  <a:close/>
                  <a:moveTo>
                    <a:pt x="2188" y="136"/>
                  </a:moveTo>
                  <a:cubicBezTo>
                    <a:pt x="2190" y="136"/>
                    <a:pt x="2192" y="136"/>
                    <a:pt x="2193" y="136"/>
                  </a:cubicBezTo>
                  <a:cubicBezTo>
                    <a:pt x="2195" y="141"/>
                    <a:pt x="2190" y="141"/>
                    <a:pt x="2185" y="141"/>
                  </a:cubicBezTo>
                  <a:cubicBezTo>
                    <a:pt x="2186" y="139"/>
                    <a:pt x="2188" y="139"/>
                    <a:pt x="2188" y="136"/>
                  </a:cubicBezTo>
                  <a:close/>
                  <a:moveTo>
                    <a:pt x="2189" y="204"/>
                  </a:moveTo>
                  <a:cubicBezTo>
                    <a:pt x="2188" y="209"/>
                    <a:pt x="2186" y="203"/>
                    <a:pt x="2186" y="200"/>
                  </a:cubicBezTo>
                  <a:cubicBezTo>
                    <a:pt x="2187" y="195"/>
                    <a:pt x="2190" y="201"/>
                    <a:pt x="2189" y="204"/>
                  </a:cubicBezTo>
                  <a:close/>
                  <a:moveTo>
                    <a:pt x="2189" y="214"/>
                  </a:moveTo>
                  <a:cubicBezTo>
                    <a:pt x="2194" y="213"/>
                    <a:pt x="2194" y="216"/>
                    <a:pt x="2198" y="216"/>
                  </a:cubicBezTo>
                  <a:cubicBezTo>
                    <a:pt x="2195" y="223"/>
                    <a:pt x="2195" y="223"/>
                    <a:pt x="2198" y="230"/>
                  </a:cubicBezTo>
                  <a:cubicBezTo>
                    <a:pt x="2190" y="229"/>
                    <a:pt x="2193" y="219"/>
                    <a:pt x="2189" y="214"/>
                  </a:cubicBezTo>
                  <a:close/>
                  <a:moveTo>
                    <a:pt x="2191" y="148"/>
                  </a:moveTo>
                  <a:cubicBezTo>
                    <a:pt x="2192" y="145"/>
                    <a:pt x="2198" y="146"/>
                    <a:pt x="2202" y="145"/>
                  </a:cubicBezTo>
                  <a:cubicBezTo>
                    <a:pt x="2201" y="137"/>
                    <a:pt x="2204" y="132"/>
                    <a:pt x="2213" y="131"/>
                  </a:cubicBezTo>
                  <a:cubicBezTo>
                    <a:pt x="2207" y="140"/>
                    <a:pt x="2204" y="142"/>
                    <a:pt x="2207" y="155"/>
                  </a:cubicBezTo>
                  <a:cubicBezTo>
                    <a:pt x="2200" y="155"/>
                    <a:pt x="2204" y="153"/>
                    <a:pt x="2205" y="150"/>
                  </a:cubicBezTo>
                  <a:cubicBezTo>
                    <a:pt x="2200" y="145"/>
                    <a:pt x="2198" y="152"/>
                    <a:pt x="2191" y="148"/>
                  </a:cubicBezTo>
                  <a:close/>
                  <a:moveTo>
                    <a:pt x="2214" y="220"/>
                  </a:moveTo>
                  <a:cubicBezTo>
                    <a:pt x="2205" y="222"/>
                    <a:pt x="2213" y="209"/>
                    <a:pt x="2203" y="211"/>
                  </a:cubicBezTo>
                  <a:cubicBezTo>
                    <a:pt x="2203" y="208"/>
                    <a:pt x="2208" y="209"/>
                    <a:pt x="2211" y="209"/>
                  </a:cubicBezTo>
                  <a:cubicBezTo>
                    <a:pt x="2209" y="215"/>
                    <a:pt x="2215" y="215"/>
                    <a:pt x="2214" y="220"/>
                  </a:cubicBezTo>
                  <a:close/>
                  <a:moveTo>
                    <a:pt x="2211" y="202"/>
                  </a:moveTo>
                  <a:cubicBezTo>
                    <a:pt x="2208" y="201"/>
                    <a:pt x="2206" y="202"/>
                    <a:pt x="2206" y="204"/>
                  </a:cubicBezTo>
                  <a:cubicBezTo>
                    <a:pt x="2201" y="203"/>
                    <a:pt x="2207" y="201"/>
                    <a:pt x="2206" y="197"/>
                  </a:cubicBezTo>
                  <a:cubicBezTo>
                    <a:pt x="2209" y="201"/>
                    <a:pt x="2217" y="200"/>
                    <a:pt x="2217" y="206"/>
                  </a:cubicBezTo>
                  <a:cubicBezTo>
                    <a:pt x="2214" y="205"/>
                    <a:pt x="2212" y="204"/>
                    <a:pt x="2211" y="202"/>
                  </a:cubicBezTo>
                  <a:close/>
                  <a:moveTo>
                    <a:pt x="2222" y="223"/>
                  </a:moveTo>
                  <a:cubicBezTo>
                    <a:pt x="2219" y="222"/>
                    <a:pt x="2220" y="217"/>
                    <a:pt x="2219" y="213"/>
                  </a:cubicBezTo>
                  <a:cubicBezTo>
                    <a:pt x="2222" y="213"/>
                    <a:pt x="2225" y="213"/>
                    <a:pt x="2228" y="213"/>
                  </a:cubicBezTo>
                  <a:cubicBezTo>
                    <a:pt x="2231" y="221"/>
                    <a:pt x="2219" y="215"/>
                    <a:pt x="2222" y="223"/>
                  </a:cubicBezTo>
                  <a:close/>
                  <a:moveTo>
                    <a:pt x="2233" y="187"/>
                  </a:moveTo>
                  <a:cubicBezTo>
                    <a:pt x="2235" y="187"/>
                    <a:pt x="2236" y="187"/>
                    <a:pt x="2238" y="187"/>
                  </a:cubicBezTo>
                  <a:cubicBezTo>
                    <a:pt x="2240" y="192"/>
                    <a:pt x="2234" y="192"/>
                    <a:pt x="2230" y="192"/>
                  </a:cubicBezTo>
                  <a:cubicBezTo>
                    <a:pt x="2231" y="190"/>
                    <a:pt x="2233" y="190"/>
                    <a:pt x="2233" y="187"/>
                  </a:cubicBezTo>
                  <a:close/>
                  <a:moveTo>
                    <a:pt x="2236" y="225"/>
                  </a:moveTo>
                  <a:cubicBezTo>
                    <a:pt x="2234" y="223"/>
                    <a:pt x="2230" y="215"/>
                    <a:pt x="2230" y="208"/>
                  </a:cubicBezTo>
                  <a:cubicBezTo>
                    <a:pt x="2230" y="207"/>
                    <a:pt x="2235" y="207"/>
                    <a:pt x="2236" y="206"/>
                  </a:cubicBezTo>
                  <a:cubicBezTo>
                    <a:pt x="2237" y="205"/>
                    <a:pt x="2232" y="201"/>
                    <a:pt x="2236" y="199"/>
                  </a:cubicBezTo>
                  <a:cubicBezTo>
                    <a:pt x="2244" y="199"/>
                    <a:pt x="2230" y="217"/>
                    <a:pt x="2239" y="211"/>
                  </a:cubicBezTo>
                  <a:cubicBezTo>
                    <a:pt x="2247" y="214"/>
                    <a:pt x="2234" y="219"/>
                    <a:pt x="2236" y="225"/>
                  </a:cubicBezTo>
                  <a:close/>
                  <a:moveTo>
                    <a:pt x="2264" y="104"/>
                  </a:moveTo>
                  <a:cubicBezTo>
                    <a:pt x="2271" y="105"/>
                    <a:pt x="2267" y="115"/>
                    <a:pt x="2259" y="112"/>
                  </a:cubicBezTo>
                  <a:cubicBezTo>
                    <a:pt x="2261" y="109"/>
                    <a:pt x="2265" y="109"/>
                    <a:pt x="2264" y="104"/>
                  </a:cubicBezTo>
                  <a:close/>
                  <a:moveTo>
                    <a:pt x="2267" y="128"/>
                  </a:moveTo>
                  <a:cubicBezTo>
                    <a:pt x="2277" y="126"/>
                    <a:pt x="2268" y="138"/>
                    <a:pt x="2265" y="135"/>
                  </a:cubicBezTo>
                  <a:cubicBezTo>
                    <a:pt x="2265" y="135"/>
                    <a:pt x="2267" y="130"/>
                    <a:pt x="2267" y="130"/>
                  </a:cubicBezTo>
                  <a:cubicBezTo>
                    <a:pt x="2268" y="130"/>
                    <a:pt x="2267" y="128"/>
                    <a:pt x="2267" y="128"/>
                  </a:cubicBezTo>
                  <a:close/>
                  <a:moveTo>
                    <a:pt x="2265" y="121"/>
                  </a:moveTo>
                  <a:cubicBezTo>
                    <a:pt x="2266" y="120"/>
                    <a:pt x="2256" y="119"/>
                    <a:pt x="2256" y="119"/>
                  </a:cubicBezTo>
                  <a:cubicBezTo>
                    <a:pt x="2255" y="115"/>
                    <a:pt x="2271" y="115"/>
                    <a:pt x="2265" y="121"/>
                  </a:cubicBezTo>
                  <a:close/>
                  <a:moveTo>
                    <a:pt x="2243" y="135"/>
                  </a:moveTo>
                  <a:cubicBezTo>
                    <a:pt x="2245" y="134"/>
                    <a:pt x="2245" y="138"/>
                    <a:pt x="2246" y="138"/>
                  </a:cubicBezTo>
                  <a:cubicBezTo>
                    <a:pt x="2248" y="138"/>
                    <a:pt x="2248" y="135"/>
                    <a:pt x="2248" y="135"/>
                  </a:cubicBezTo>
                  <a:cubicBezTo>
                    <a:pt x="2252" y="135"/>
                    <a:pt x="2258" y="140"/>
                    <a:pt x="2259" y="135"/>
                  </a:cubicBezTo>
                  <a:cubicBezTo>
                    <a:pt x="2255" y="132"/>
                    <a:pt x="2259" y="134"/>
                    <a:pt x="2262" y="135"/>
                  </a:cubicBezTo>
                  <a:cubicBezTo>
                    <a:pt x="2261" y="135"/>
                    <a:pt x="2260" y="139"/>
                    <a:pt x="2259" y="140"/>
                  </a:cubicBezTo>
                  <a:cubicBezTo>
                    <a:pt x="2256" y="141"/>
                    <a:pt x="2255" y="137"/>
                    <a:pt x="2254" y="137"/>
                  </a:cubicBezTo>
                  <a:cubicBezTo>
                    <a:pt x="2249" y="138"/>
                    <a:pt x="2241" y="144"/>
                    <a:pt x="2243" y="135"/>
                  </a:cubicBezTo>
                  <a:close/>
                  <a:moveTo>
                    <a:pt x="2247" y="220"/>
                  </a:moveTo>
                  <a:cubicBezTo>
                    <a:pt x="2252" y="215"/>
                    <a:pt x="2247" y="217"/>
                    <a:pt x="2247" y="210"/>
                  </a:cubicBezTo>
                  <a:cubicBezTo>
                    <a:pt x="2256" y="210"/>
                    <a:pt x="2258" y="221"/>
                    <a:pt x="2247" y="220"/>
                  </a:cubicBezTo>
                  <a:close/>
                  <a:moveTo>
                    <a:pt x="2244" y="192"/>
                  </a:moveTo>
                  <a:cubicBezTo>
                    <a:pt x="2237" y="190"/>
                    <a:pt x="2252" y="187"/>
                    <a:pt x="2257" y="187"/>
                  </a:cubicBezTo>
                  <a:cubicBezTo>
                    <a:pt x="2255" y="190"/>
                    <a:pt x="2249" y="190"/>
                    <a:pt x="2244" y="192"/>
                  </a:cubicBezTo>
                  <a:close/>
                  <a:moveTo>
                    <a:pt x="2249" y="182"/>
                  </a:moveTo>
                  <a:cubicBezTo>
                    <a:pt x="2251" y="180"/>
                    <a:pt x="2252" y="178"/>
                    <a:pt x="2252" y="175"/>
                  </a:cubicBezTo>
                  <a:cubicBezTo>
                    <a:pt x="2255" y="175"/>
                    <a:pt x="2257" y="175"/>
                    <a:pt x="2260" y="175"/>
                  </a:cubicBezTo>
                  <a:cubicBezTo>
                    <a:pt x="2258" y="178"/>
                    <a:pt x="2256" y="183"/>
                    <a:pt x="2249" y="182"/>
                  </a:cubicBezTo>
                  <a:close/>
                  <a:moveTo>
                    <a:pt x="2261" y="227"/>
                  </a:moveTo>
                  <a:cubicBezTo>
                    <a:pt x="2261" y="221"/>
                    <a:pt x="2266" y="230"/>
                    <a:pt x="2272" y="226"/>
                  </a:cubicBezTo>
                  <a:cubicBezTo>
                    <a:pt x="2272" y="232"/>
                    <a:pt x="2263" y="227"/>
                    <a:pt x="2261" y="227"/>
                  </a:cubicBezTo>
                  <a:close/>
                  <a:moveTo>
                    <a:pt x="2269" y="234"/>
                  </a:moveTo>
                  <a:cubicBezTo>
                    <a:pt x="2281" y="234"/>
                    <a:pt x="2267" y="247"/>
                    <a:pt x="2269" y="234"/>
                  </a:cubicBezTo>
                  <a:close/>
                  <a:moveTo>
                    <a:pt x="2273" y="109"/>
                  </a:moveTo>
                  <a:cubicBezTo>
                    <a:pt x="2269" y="106"/>
                    <a:pt x="2266" y="97"/>
                    <a:pt x="2269" y="95"/>
                  </a:cubicBezTo>
                  <a:cubicBezTo>
                    <a:pt x="2273" y="98"/>
                    <a:pt x="2276" y="106"/>
                    <a:pt x="2273" y="109"/>
                  </a:cubicBezTo>
                  <a:close/>
                  <a:moveTo>
                    <a:pt x="2886" y="232"/>
                  </a:moveTo>
                  <a:cubicBezTo>
                    <a:pt x="2880" y="240"/>
                    <a:pt x="2873" y="226"/>
                    <a:pt x="2886" y="232"/>
                  </a:cubicBezTo>
                  <a:close/>
                  <a:moveTo>
                    <a:pt x="2865" y="263"/>
                  </a:moveTo>
                  <a:cubicBezTo>
                    <a:pt x="2870" y="263"/>
                    <a:pt x="2871" y="266"/>
                    <a:pt x="2876" y="265"/>
                  </a:cubicBezTo>
                  <a:cubicBezTo>
                    <a:pt x="2877" y="269"/>
                    <a:pt x="2861" y="270"/>
                    <a:pt x="2865" y="263"/>
                  </a:cubicBezTo>
                  <a:close/>
                  <a:moveTo>
                    <a:pt x="2865" y="230"/>
                  </a:moveTo>
                  <a:cubicBezTo>
                    <a:pt x="2876" y="227"/>
                    <a:pt x="2872" y="238"/>
                    <a:pt x="2878" y="239"/>
                  </a:cubicBezTo>
                  <a:cubicBezTo>
                    <a:pt x="2877" y="243"/>
                    <a:pt x="2872" y="241"/>
                    <a:pt x="2873" y="237"/>
                  </a:cubicBezTo>
                  <a:cubicBezTo>
                    <a:pt x="2865" y="239"/>
                    <a:pt x="2875" y="246"/>
                    <a:pt x="2879" y="246"/>
                  </a:cubicBezTo>
                  <a:cubicBezTo>
                    <a:pt x="2876" y="250"/>
                    <a:pt x="2877" y="256"/>
                    <a:pt x="2868" y="254"/>
                  </a:cubicBezTo>
                  <a:cubicBezTo>
                    <a:pt x="2866" y="252"/>
                    <a:pt x="2873" y="249"/>
                    <a:pt x="2873" y="249"/>
                  </a:cubicBezTo>
                  <a:cubicBezTo>
                    <a:pt x="2873" y="246"/>
                    <a:pt x="2869" y="248"/>
                    <a:pt x="2867" y="247"/>
                  </a:cubicBezTo>
                  <a:cubicBezTo>
                    <a:pt x="2867" y="246"/>
                    <a:pt x="2868" y="243"/>
                    <a:pt x="2867" y="242"/>
                  </a:cubicBezTo>
                  <a:cubicBezTo>
                    <a:pt x="2866" y="241"/>
                    <a:pt x="2863" y="237"/>
                    <a:pt x="2865" y="230"/>
                  </a:cubicBezTo>
                  <a:close/>
                  <a:moveTo>
                    <a:pt x="2862" y="247"/>
                  </a:moveTo>
                  <a:cubicBezTo>
                    <a:pt x="2860" y="251"/>
                    <a:pt x="2859" y="245"/>
                    <a:pt x="2859" y="242"/>
                  </a:cubicBezTo>
                  <a:cubicBezTo>
                    <a:pt x="2851" y="239"/>
                    <a:pt x="2866" y="240"/>
                    <a:pt x="2862" y="247"/>
                  </a:cubicBezTo>
                  <a:close/>
                  <a:moveTo>
                    <a:pt x="2869" y="193"/>
                  </a:moveTo>
                  <a:cubicBezTo>
                    <a:pt x="2871" y="190"/>
                    <a:pt x="2873" y="188"/>
                    <a:pt x="2869" y="188"/>
                  </a:cubicBezTo>
                  <a:cubicBezTo>
                    <a:pt x="2872" y="178"/>
                    <a:pt x="2881" y="196"/>
                    <a:pt x="2869" y="193"/>
                  </a:cubicBezTo>
                  <a:close/>
                  <a:moveTo>
                    <a:pt x="2872" y="160"/>
                  </a:moveTo>
                  <a:cubicBezTo>
                    <a:pt x="2866" y="156"/>
                    <a:pt x="2868" y="160"/>
                    <a:pt x="2861" y="160"/>
                  </a:cubicBezTo>
                  <a:cubicBezTo>
                    <a:pt x="2860" y="158"/>
                    <a:pt x="2862" y="158"/>
                    <a:pt x="2863" y="157"/>
                  </a:cubicBezTo>
                  <a:cubicBezTo>
                    <a:pt x="2863" y="155"/>
                    <a:pt x="2860" y="156"/>
                    <a:pt x="2858" y="155"/>
                  </a:cubicBezTo>
                  <a:cubicBezTo>
                    <a:pt x="2859" y="147"/>
                    <a:pt x="2872" y="152"/>
                    <a:pt x="2872" y="160"/>
                  </a:cubicBezTo>
                  <a:close/>
                  <a:moveTo>
                    <a:pt x="2705" y="221"/>
                  </a:moveTo>
                  <a:cubicBezTo>
                    <a:pt x="2707" y="221"/>
                    <a:pt x="2709" y="221"/>
                    <a:pt x="2711" y="221"/>
                  </a:cubicBezTo>
                  <a:cubicBezTo>
                    <a:pt x="2711" y="223"/>
                    <a:pt x="2711" y="224"/>
                    <a:pt x="2711" y="226"/>
                  </a:cubicBezTo>
                  <a:cubicBezTo>
                    <a:pt x="2709" y="226"/>
                    <a:pt x="2707" y="226"/>
                    <a:pt x="2705" y="226"/>
                  </a:cubicBezTo>
                  <a:cubicBezTo>
                    <a:pt x="2705" y="224"/>
                    <a:pt x="2705" y="223"/>
                    <a:pt x="2705" y="221"/>
                  </a:cubicBezTo>
                  <a:close/>
                  <a:moveTo>
                    <a:pt x="2714" y="245"/>
                  </a:moveTo>
                  <a:cubicBezTo>
                    <a:pt x="2718" y="236"/>
                    <a:pt x="2706" y="240"/>
                    <a:pt x="2708" y="233"/>
                  </a:cubicBezTo>
                  <a:cubicBezTo>
                    <a:pt x="2713" y="233"/>
                    <a:pt x="2714" y="230"/>
                    <a:pt x="2719" y="230"/>
                  </a:cubicBezTo>
                  <a:cubicBezTo>
                    <a:pt x="2725" y="236"/>
                    <a:pt x="2714" y="241"/>
                    <a:pt x="2725" y="242"/>
                  </a:cubicBezTo>
                  <a:cubicBezTo>
                    <a:pt x="2724" y="245"/>
                    <a:pt x="2718" y="244"/>
                    <a:pt x="2714" y="245"/>
                  </a:cubicBezTo>
                  <a:close/>
                  <a:moveTo>
                    <a:pt x="2727" y="237"/>
                  </a:moveTo>
                  <a:cubicBezTo>
                    <a:pt x="2730" y="232"/>
                    <a:pt x="2734" y="229"/>
                    <a:pt x="2733" y="221"/>
                  </a:cubicBezTo>
                  <a:cubicBezTo>
                    <a:pt x="2743" y="224"/>
                    <a:pt x="2734" y="228"/>
                    <a:pt x="2738" y="235"/>
                  </a:cubicBezTo>
                  <a:cubicBezTo>
                    <a:pt x="2733" y="235"/>
                    <a:pt x="2733" y="238"/>
                    <a:pt x="2727" y="237"/>
                  </a:cubicBezTo>
                  <a:close/>
                  <a:moveTo>
                    <a:pt x="2733" y="242"/>
                  </a:moveTo>
                  <a:cubicBezTo>
                    <a:pt x="2735" y="244"/>
                    <a:pt x="2739" y="244"/>
                    <a:pt x="2739" y="249"/>
                  </a:cubicBezTo>
                  <a:cubicBezTo>
                    <a:pt x="2731" y="250"/>
                    <a:pt x="2731" y="244"/>
                    <a:pt x="2730" y="240"/>
                  </a:cubicBezTo>
                  <a:cubicBezTo>
                    <a:pt x="2735" y="240"/>
                    <a:pt x="2736" y="237"/>
                    <a:pt x="2741" y="237"/>
                  </a:cubicBezTo>
                  <a:cubicBezTo>
                    <a:pt x="2743" y="242"/>
                    <a:pt x="2737" y="242"/>
                    <a:pt x="2733" y="242"/>
                  </a:cubicBezTo>
                  <a:close/>
                  <a:moveTo>
                    <a:pt x="2730" y="218"/>
                  </a:moveTo>
                  <a:cubicBezTo>
                    <a:pt x="2727" y="211"/>
                    <a:pt x="2747" y="206"/>
                    <a:pt x="2730" y="207"/>
                  </a:cubicBezTo>
                  <a:cubicBezTo>
                    <a:pt x="2729" y="198"/>
                    <a:pt x="2749" y="206"/>
                    <a:pt x="2751" y="199"/>
                  </a:cubicBezTo>
                  <a:cubicBezTo>
                    <a:pt x="2758" y="201"/>
                    <a:pt x="2748" y="208"/>
                    <a:pt x="2752" y="216"/>
                  </a:cubicBezTo>
                  <a:cubicBezTo>
                    <a:pt x="2746" y="217"/>
                    <a:pt x="2748" y="211"/>
                    <a:pt x="2743" y="211"/>
                  </a:cubicBezTo>
                  <a:cubicBezTo>
                    <a:pt x="2735" y="213"/>
                    <a:pt x="2750" y="215"/>
                    <a:pt x="2746" y="221"/>
                  </a:cubicBezTo>
                  <a:cubicBezTo>
                    <a:pt x="2741" y="218"/>
                    <a:pt x="2738" y="222"/>
                    <a:pt x="2730" y="218"/>
                  </a:cubicBezTo>
                  <a:close/>
                  <a:moveTo>
                    <a:pt x="2740" y="185"/>
                  </a:moveTo>
                  <a:cubicBezTo>
                    <a:pt x="2742" y="185"/>
                    <a:pt x="2744" y="185"/>
                    <a:pt x="2746" y="185"/>
                  </a:cubicBezTo>
                  <a:cubicBezTo>
                    <a:pt x="2746" y="187"/>
                    <a:pt x="2746" y="188"/>
                    <a:pt x="2746" y="190"/>
                  </a:cubicBezTo>
                  <a:cubicBezTo>
                    <a:pt x="2744" y="190"/>
                    <a:pt x="2742" y="190"/>
                    <a:pt x="2740" y="190"/>
                  </a:cubicBezTo>
                  <a:cubicBezTo>
                    <a:pt x="2740" y="189"/>
                    <a:pt x="2740" y="187"/>
                    <a:pt x="2740" y="185"/>
                  </a:cubicBezTo>
                  <a:close/>
                  <a:moveTo>
                    <a:pt x="2755" y="242"/>
                  </a:moveTo>
                  <a:cubicBezTo>
                    <a:pt x="2751" y="242"/>
                    <a:pt x="2748" y="242"/>
                    <a:pt x="2744" y="242"/>
                  </a:cubicBezTo>
                  <a:cubicBezTo>
                    <a:pt x="2743" y="237"/>
                    <a:pt x="2751" y="238"/>
                    <a:pt x="2749" y="239"/>
                  </a:cubicBezTo>
                  <a:cubicBezTo>
                    <a:pt x="2755" y="235"/>
                    <a:pt x="2752" y="229"/>
                    <a:pt x="2763" y="230"/>
                  </a:cubicBezTo>
                  <a:cubicBezTo>
                    <a:pt x="2766" y="238"/>
                    <a:pt x="2750" y="231"/>
                    <a:pt x="2755" y="242"/>
                  </a:cubicBezTo>
                  <a:close/>
                  <a:moveTo>
                    <a:pt x="2763" y="248"/>
                  </a:moveTo>
                  <a:cubicBezTo>
                    <a:pt x="2760" y="248"/>
                    <a:pt x="2761" y="244"/>
                    <a:pt x="2760" y="241"/>
                  </a:cubicBezTo>
                  <a:cubicBezTo>
                    <a:pt x="2763" y="241"/>
                    <a:pt x="2766" y="241"/>
                    <a:pt x="2769" y="241"/>
                  </a:cubicBezTo>
                  <a:cubicBezTo>
                    <a:pt x="2768" y="244"/>
                    <a:pt x="2764" y="245"/>
                    <a:pt x="2763" y="248"/>
                  </a:cubicBezTo>
                  <a:close/>
                  <a:moveTo>
                    <a:pt x="2771" y="222"/>
                  </a:moveTo>
                  <a:cubicBezTo>
                    <a:pt x="2784" y="224"/>
                    <a:pt x="2769" y="237"/>
                    <a:pt x="2771" y="222"/>
                  </a:cubicBezTo>
                  <a:close/>
                  <a:moveTo>
                    <a:pt x="2777" y="262"/>
                  </a:moveTo>
                  <a:cubicBezTo>
                    <a:pt x="2771" y="261"/>
                    <a:pt x="2775" y="250"/>
                    <a:pt x="2777" y="248"/>
                  </a:cubicBezTo>
                  <a:cubicBezTo>
                    <a:pt x="2783" y="249"/>
                    <a:pt x="2779" y="261"/>
                    <a:pt x="2777" y="262"/>
                  </a:cubicBezTo>
                  <a:close/>
                  <a:moveTo>
                    <a:pt x="2782" y="236"/>
                  </a:moveTo>
                  <a:cubicBezTo>
                    <a:pt x="2781" y="236"/>
                    <a:pt x="2779" y="236"/>
                    <a:pt x="2777" y="237"/>
                  </a:cubicBezTo>
                  <a:cubicBezTo>
                    <a:pt x="2777" y="234"/>
                    <a:pt x="2776" y="234"/>
                    <a:pt x="2774" y="234"/>
                  </a:cubicBezTo>
                  <a:cubicBezTo>
                    <a:pt x="2773" y="230"/>
                    <a:pt x="2786" y="231"/>
                    <a:pt x="2782" y="236"/>
                  </a:cubicBezTo>
                  <a:close/>
                  <a:moveTo>
                    <a:pt x="2794" y="269"/>
                  </a:moveTo>
                  <a:cubicBezTo>
                    <a:pt x="2794" y="268"/>
                    <a:pt x="2794" y="266"/>
                    <a:pt x="2794" y="264"/>
                  </a:cubicBezTo>
                  <a:cubicBezTo>
                    <a:pt x="2796" y="264"/>
                    <a:pt x="2797" y="264"/>
                    <a:pt x="2799" y="264"/>
                  </a:cubicBezTo>
                  <a:cubicBezTo>
                    <a:pt x="2799" y="266"/>
                    <a:pt x="2799" y="267"/>
                    <a:pt x="2799" y="269"/>
                  </a:cubicBezTo>
                  <a:cubicBezTo>
                    <a:pt x="2798" y="269"/>
                    <a:pt x="2796" y="269"/>
                    <a:pt x="2794" y="269"/>
                  </a:cubicBezTo>
                  <a:close/>
                  <a:moveTo>
                    <a:pt x="2807" y="259"/>
                  </a:moveTo>
                  <a:cubicBezTo>
                    <a:pt x="2804" y="256"/>
                    <a:pt x="2796" y="257"/>
                    <a:pt x="2796" y="250"/>
                  </a:cubicBezTo>
                  <a:cubicBezTo>
                    <a:pt x="2804" y="253"/>
                    <a:pt x="2809" y="244"/>
                    <a:pt x="2799" y="245"/>
                  </a:cubicBezTo>
                  <a:cubicBezTo>
                    <a:pt x="2799" y="242"/>
                    <a:pt x="2806" y="238"/>
                    <a:pt x="2804" y="245"/>
                  </a:cubicBezTo>
                  <a:cubicBezTo>
                    <a:pt x="2808" y="245"/>
                    <a:pt x="2809" y="246"/>
                    <a:pt x="2810" y="248"/>
                  </a:cubicBezTo>
                  <a:cubicBezTo>
                    <a:pt x="2819" y="247"/>
                    <a:pt x="2802" y="239"/>
                    <a:pt x="2815" y="241"/>
                  </a:cubicBezTo>
                  <a:cubicBezTo>
                    <a:pt x="2815" y="245"/>
                    <a:pt x="2815" y="250"/>
                    <a:pt x="2816" y="255"/>
                  </a:cubicBezTo>
                  <a:cubicBezTo>
                    <a:pt x="2810" y="254"/>
                    <a:pt x="2807" y="255"/>
                    <a:pt x="2807" y="259"/>
                  </a:cubicBezTo>
                  <a:close/>
                  <a:moveTo>
                    <a:pt x="2810" y="231"/>
                  </a:moveTo>
                  <a:cubicBezTo>
                    <a:pt x="2809" y="234"/>
                    <a:pt x="2806" y="236"/>
                    <a:pt x="2801" y="236"/>
                  </a:cubicBezTo>
                  <a:cubicBezTo>
                    <a:pt x="2800" y="231"/>
                    <a:pt x="2805" y="232"/>
                    <a:pt x="2810" y="231"/>
                  </a:cubicBezTo>
                  <a:close/>
                  <a:moveTo>
                    <a:pt x="2824" y="259"/>
                  </a:moveTo>
                  <a:cubicBezTo>
                    <a:pt x="2834" y="255"/>
                    <a:pt x="2826" y="267"/>
                    <a:pt x="2832" y="266"/>
                  </a:cubicBezTo>
                  <a:cubicBezTo>
                    <a:pt x="2830" y="272"/>
                    <a:pt x="2821" y="265"/>
                    <a:pt x="2824" y="259"/>
                  </a:cubicBezTo>
                  <a:close/>
                  <a:moveTo>
                    <a:pt x="2838" y="268"/>
                  </a:moveTo>
                  <a:cubicBezTo>
                    <a:pt x="2838" y="267"/>
                    <a:pt x="2838" y="265"/>
                    <a:pt x="2838" y="264"/>
                  </a:cubicBezTo>
                  <a:cubicBezTo>
                    <a:pt x="2840" y="264"/>
                    <a:pt x="2841" y="264"/>
                    <a:pt x="2843" y="264"/>
                  </a:cubicBezTo>
                  <a:cubicBezTo>
                    <a:pt x="2843" y="265"/>
                    <a:pt x="2843" y="267"/>
                    <a:pt x="2843" y="268"/>
                  </a:cubicBezTo>
                  <a:cubicBezTo>
                    <a:pt x="2841" y="268"/>
                    <a:pt x="2840" y="268"/>
                    <a:pt x="2838" y="268"/>
                  </a:cubicBezTo>
                  <a:close/>
                  <a:moveTo>
                    <a:pt x="2833" y="163"/>
                  </a:moveTo>
                  <a:cubicBezTo>
                    <a:pt x="2839" y="163"/>
                    <a:pt x="2835" y="173"/>
                    <a:pt x="2836" y="177"/>
                  </a:cubicBezTo>
                  <a:cubicBezTo>
                    <a:pt x="2840" y="176"/>
                    <a:pt x="2838" y="171"/>
                    <a:pt x="2839" y="167"/>
                  </a:cubicBezTo>
                  <a:cubicBezTo>
                    <a:pt x="2849" y="167"/>
                    <a:pt x="2846" y="180"/>
                    <a:pt x="2850" y="186"/>
                  </a:cubicBezTo>
                  <a:cubicBezTo>
                    <a:pt x="2845" y="186"/>
                    <a:pt x="2847" y="192"/>
                    <a:pt x="2839" y="191"/>
                  </a:cubicBezTo>
                  <a:cubicBezTo>
                    <a:pt x="2838" y="181"/>
                    <a:pt x="2852" y="178"/>
                    <a:pt x="2833" y="179"/>
                  </a:cubicBezTo>
                  <a:cubicBezTo>
                    <a:pt x="2836" y="171"/>
                    <a:pt x="2827" y="168"/>
                    <a:pt x="2833" y="163"/>
                  </a:cubicBezTo>
                  <a:close/>
                  <a:moveTo>
                    <a:pt x="2850" y="198"/>
                  </a:moveTo>
                  <a:cubicBezTo>
                    <a:pt x="2847" y="202"/>
                    <a:pt x="2834" y="210"/>
                    <a:pt x="2834" y="198"/>
                  </a:cubicBezTo>
                  <a:cubicBezTo>
                    <a:pt x="2843" y="200"/>
                    <a:pt x="2845" y="193"/>
                    <a:pt x="2850" y="198"/>
                  </a:cubicBezTo>
                  <a:close/>
                  <a:moveTo>
                    <a:pt x="2836" y="191"/>
                  </a:moveTo>
                  <a:cubicBezTo>
                    <a:pt x="2834" y="190"/>
                    <a:pt x="2834" y="192"/>
                    <a:pt x="2834" y="193"/>
                  </a:cubicBezTo>
                  <a:cubicBezTo>
                    <a:pt x="2830" y="193"/>
                    <a:pt x="2831" y="189"/>
                    <a:pt x="2831" y="186"/>
                  </a:cubicBezTo>
                  <a:cubicBezTo>
                    <a:pt x="2835" y="185"/>
                    <a:pt x="2836" y="188"/>
                    <a:pt x="2836" y="191"/>
                  </a:cubicBezTo>
                  <a:close/>
                  <a:moveTo>
                    <a:pt x="2825" y="175"/>
                  </a:moveTo>
                  <a:cubicBezTo>
                    <a:pt x="2831" y="176"/>
                    <a:pt x="2831" y="178"/>
                    <a:pt x="2828" y="182"/>
                  </a:cubicBezTo>
                  <a:cubicBezTo>
                    <a:pt x="2826" y="182"/>
                    <a:pt x="2824" y="182"/>
                    <a:pt x="2822" y="182"/>
                  </a:cubicBezTo>
                  <a:cubicBezTo>
                    <a:pt x="2822" y="178"/>
                    <a:pt x="2825" y="178"/>
                    <a:pt x="2825" y="175"/>
                  </a:cubicBezTo>
                  <a:close/>
                  <a:moveTo>
                    <a:pt x="2812" y="184"/>
                  </a:moveTo>
                  <a:cubicBezTo>
                    <a:pt x="2823" y="185"/>
                    <a:pt x="2812" y="190"/>
                    <a:pt x="2817" y="196"/>
                  </a:cubicBezTo>
                  <a:cubicBezTo>
                    <a:pt x="2808" y="198"/>
                    <a:pt x="2813" y="189"/>
                    <a:pt x="2812" y="184"/>
                  </a:cubicBezTo>
                  <a:close/>
                  <a:moveTo>
                    <a:pt x="2801" y="182"/>
                  </a:moveTo>
                  <a:cubicBezTo>
                    <a:pt x="2802" y="182"/>
                    <a:pt x="2804" y="182"/>
                    <a:pt x="2806" y="182"/>
                  </a:cubicBezTo>
                  <a:cubicBezTo>
                    <a:pt x="2806" y="184"/>
                    <a:pt x="2807" y="184"/>
                    <a:pt x="2809" y="184"/>
                  </a:cubicBezTo>
                  <a:cubicBezTo>
                    <a:pt x="2809" y="187"/>
                    <a:pt x="2805" y="186"/>
                    <a:pt x="2803" y="187"/>
                  </a:cubicBezTo>
                  <a:cubicBezTo>
                    <a:pt x="2805" y="189"/>
                    <a:pt x="2806" y="190"/>
                    <a:pt x="2806" y="194"/>
                  </a:cubicBezTo>
                  <a:cubicBezTo>
                    <a:pt x="2795" y="194"/>
                    <a:pt x="2799" y="188"/>
                    <a:pt x="2801" y="182"/>
                  </a:cubicBezTo>
                  <a:close/>
                  <a:moveTo>
                    <a:pt x="2801" y="215"/>
                  </a:moveTo>
                  <a:cubicBezTo>
                    <a:pt x="2811" y="212"/>
                    <a:pt x="2811" y="209"/>
                    <a:pt x="2820" y="215"/>
                  </a:cubicBezTo>
                  <a:cubicBezTo>
                    <a:pt x="2823" y="214"/>
                    <a:pt x="2822" y="212"/>
                    <a:pt x="2823" y="210"/>
                  </a:cubicBezTo>
                  <a:cubicBezTo>
                    <a:pt x="2822" y="208"/>
                    <a:pt x="2811" y="204"/>
                    <a:pt x="2812" y="208"/>
                  </a:cubicBezTo>
                  <a:cubicBezTo>
                    <a:pt x="2803" y="206"/>
                    <a:pt x="2815" y="203"/>
                    <a:pt x="2815" y="201"/>
                  </a:cubicBezTo>
                  <a:cubicBezTo>
                    <a:pt x="2815" y="197"/>
                    <a:pt x="2827" y="197"/>
                    <a:pt x="2831" y="198"/>
                  </a:cubicBezTo>
                  <a:cubicBezTo>
                    <a:pt x="2830" y="200"/>
                    <a:pt x="2826" y="200"/>
                    <a:pt x="2826" y="203"/>
                  </a:cubicBezTo>
                  <a:cubicBezTo>
                    <a:pt x="2825" y="206"/>
                    <a:pt x="2831" y="204"/>
                    <a:pt x="2831" y="205"/>
                  </a:cubicBezTo>
                  <a:cubicBezTo>
                    <a:pt x="2832" y="206"/>
                    <a:pt x="2825" y="218"/>
                    <a:pt x="2840" y="214"/>
                  </a:cubicBezTo>
                  <a:cubicBezTo>
                    <a:pt x="2843" y="212"/>
                    <a:pt x="2844" y="207"/>
                    <a:pt x="2853" y="209"/>
                  </a:cubicBezTo>
                  <a:cubicBezTo>
                    <a:pt x="2846" y="218"/>
                    <a:pt x="2842" y="225"/>
                    <a:pt x="2845" y="238"/>
                  </a:cubicBezTo>
                  <a:cubicBezTo>
                    <a:pt x="2842" y="238"/>
                    <a:pt x="2838" y="238"/>
                    <a:pt x="2834" y="238"/>
                  </a:cubicBezTo>
                  <a:cubicBezTo>
                    <a:pt x="2835" y="235"/>
                    <a:pt x="2839" y="236"/>
                    <a:pt x="2843" y="235"/>
                  </a:cubicBezTo>
                  <a:cubicBezTo>
                    <a:pt x="2844" y="230"/>
                    <a:pt x="2837" y="232"/>
                    <a:pt x="2837" y="228"/>
                  </a:cubicBezTo>
                  <a:cubicBezTo>
                    <a:pt x="2835" y="223"/>
                    <a:pt x="2841" y="225"/>
                    <a:pt x="2842" y="224"/>
                  </a:cubicBezTo>
                  <a:cubicBezTo>
                    <a:pt x="2844" y="222"/>
                    <a:pt x="2842" y="218"/>
                    <a:pt x="2845" y="219"/>
                  </a:cubicBezTo>
                  <a:cubicBezTo>
                    <a:pt x="2844" y="215"/>
                    <a:pt x="2842" y="220"/>
                    <a:pt x="2837" y="219"/>
                  </a:cubicBezTo>
                  <a:cubicBezTo>
                    <a:pt x="2838" y="215"/>
                    <a:pt x="2821" y="215"/>
                    <a:pt x="2826" y="222"/>
                  </a:cubicBezTo>
                  <a:cubicBezTo>
                    <a:pt x="2820" y="218"/>
                    <a:pt x="2816" y="223"/>
                    <a:pt x="2812" y="222"/>
                  </a:cubicBezTo>
                  <a:cubicBezTo>
                    <a:pt x="2811" y="221"/>
                    <a:pt x="2813" y="216"/>
                    <a:pt x="2809" y="217"/>
                  </a:cubicBezTo>
                  <a:cubicBezTo>
                    <a:pt x="2806" y="218"/>
                    <a:pt x="2807" y="221"/>
                    <a:pt x="2807" y="224"/>
                  </a:cubicBezTo>
                  <a:cubicBezTo>
                    <a:pt x="2800" y="225"/>
                    <a:pt x="2804" y="217"/>
                    <a:pt x="2798" y="217"/>
                  </a:cubicBezTo>
                  <a:cubicBezTo>
                    <a:pt x="2788" y="223"/>
                    <a:pt x="2807" y="240"/>
                    <a:pt x="2791" y="239"/>
                  </a:cubicBezTo>
                  <a:cubicBezTo>
                    <a:pt x="2791" y="237"/>
                    <a:pt x="2787" y="236"/>
                    <a:pt x="2788" y="234"/>
                  </a:cubicBezTo>
                  <a:cubicBezTo>
                    <a:pt x="2788" y="233"/>
                    <a:pt x="2793" y="232"/>
                    <a:pt x="2793" y="231"/>
                  </a:cubicBezTo>
                  <a:cubicBezTo>
                    <a:pt x="2793" y="227"/>
                    <a:pt x="2787" y="225"/>
                    <a:pt x="2790" y="217"/>
                  </a:cubicBezTo>
                  <a:cubicBezTo>
                    <a:pt x="2788" y="219"/>
                    <a:pt x="2783" y="219"/>
                    <a:pt x="2782" y="222"/>
                  </a:cubicBezTo>
                  <a:cubicBezTo>
                    <a:pt x="2777" y="220"/>
                    <a:pt x="2776" y="213"/>
                    <a:pt x="2771" y="211"/>
                  </a:cubicBezTo>
                  <a:cubicBezTo>
                    <a:pt x="2773" y="206"/>
                    <a:pt x="2776" y="210"/>
                    <a:pt x="2779" y="211"/>
                  </a:cubicBezTo>
                  <a:cubicBezTo>
                    <a:pt x="2776" y="203"/>
                    <a:pt x="2777" y="201"/>
                    <a:pt x="2782" y="196"/>
                  </a:cubicBezTo>
                  <a:cubicBezTo>
                    <a:pt x="2789" y="200"/>
                    <a:pt x="2782" y="211"/>
                    <a:pt x="2779" y="213"/>
                  </a:cubicBezTo>
                  <a:cubicBezTo>
                    <a:pt x="2780" y="219"/>
                    <a:pt x="2801" y="204"/>
                    <a:pt x="2793" y="215"/>
                  </a:cubicBezTo>
                  <a:cubicBezTo>
                    <a:pt x="2795" y="214"/>
                    <a:pt x="2798" y="213"/>
                    <a:pt x="2798" y="210"/>
                  </a:cubicBezTo>
                  <a:cubicBezTo>
                    <a:pt x="2798" y="208"/>
                    <a:pt x="2793" y="208"/>
                    <a:pt x="2790" y="208"/>
                  </a:cubicBezTo>
                  <a:cubicBezTo>
                    <a:pt x="2790" y="204"/>
                    <a:pt x="2790" y="200"/>
                    <a:pt x="2790" y="196"/>
                  </a:cubicBezTo>
                  <a:cubicBezTo>
                    <a:pt x="2807" y="195"/>
                    <a:pt x="2808" y="206"/>
                    <a:pt x="2801" y="215"/>
                  </a:cubicBezTo>
                  <a:close/>
                  <a:moveTo>
                    <a:pt x="2781" y="180"/>
                  </a:moveTo>
                  <a:cubicBezTo>
                    <a:pt x="2794" y="180"/>
                    <a:pt x="2782" y="188"/>
                    <a:pt x="2784" y="194"/>
                  </a:cubicBezTo>
                  <a:cubicBezTo>
                    <a:pt x="2778" y="194"/>
                    <a:pt x="2783" y="184"/>
                    <a:pt x="2781" y="180"/>
                  </a:cubicBezTo>
                  <a:close/>
                  <a:moveTo>
                    <a:pt x="2797" y="159"/>
                  </a:moveTo>
                  <a:cubicBezTo>
                    <a:pt x="2802" y="154"/>
                    <a:pt x="2797" y="156"/>
                    <a:pt x="2797" y="149"/>
                  </a:cubicBezTo>
                  <a:cubicBezTo>
                    <a:pt x="2803" y="148"/>
                    <a:pt x="2807" y="161"/>
                    <a:pt x="2797" y="159"/>
                  </a:cubicBezTo>
                  <a:close/>
                  <a:moveTo>
                    <a:pt x="2792" y="177"/>
                  </a:moveTo>
                  <a:cubicBezTo>
                    <a:pt x="2805" y="179"/>
                    <a:pt x="2790" y="192"/>
                    <a:pt x="2792" y="177"/>
                  </a:cubicBezTo>
                  <a:close/>
                  <a:moveTo>
                    <a:pt x="2784" y="149"/>
                  </a:moveTo>
                  <a:cubicBezTo>
                    <a:pt x="2786" y="149"/>
                    <a:pt x="2786" y="152"/>
                    <a:pt x="2786" y="154"/>
                  </a:cubicBezTo>
                  <a:cubicBezTo>
                    <a:pt x="2790" y="154"/>
                    <a:pt x="2791" y="153"/>
                    <a:pt x="2792" y="152"/>
                  </a:cubicBezTo>
                  <a:cubicBezTo>
                    <a:pt x="2802" y="156"/>
                    <a:pt x="2784" y="157"/>
                    <a:pt x="2778" y="157"/>
                  </a:cubicBezTo>
                  <a:cubicBezTo>
                    <a:pt x="2779" y="153"/>
                    <a:pt x="2783" y="153"/>
                    <a:pt x="2784" y="149"/>
                  </a:cubicBezTo>
                  <a:close/>
                  <a:moveTo>
                    <a:pt x="2776" y="166"/>
                  </a:moveTo>
                  <a:cubicBezTo>
                    <a:pt x="2779" y="167"/>
                    <a:pt x="2778" y="171"/>
                    <a:pt x="2781" y="171"/>
                  </a:cubicBezTo>
                  <a:cubicBezTo>
                    <a:pt x="2780" y="177"/>
                    <a:pt x="2772" y="171"/>
                    <a:pt x="2776" y="166"/>
                  </a:cubicBezTo>
                  <a:close/>
                  <a:moveTo>
                    <a:pt x="2770" y="175"/>
                  </a:moveTo>
                  <a:cubicBezTo>
                    <a:pt x="2770" y="178"/>
                    <a:pt x="2774" y="177"/>
                    <a:pt x="2776" y="178"/>
                  </a:cubicBezTo>
                  <a:cubicBezTo>
                    <a:pt x="2774" y="181"/>
                    <a:pt x="2779" y="190"/>
                    <a:pt x="2773" y="190"/>
                  </a:cubicBezTo>
                  <a:cubicBezTo>
                    <a:pt x="2773" y="203"/>
                    <a:pt x="2772" y="201"/>
                    <a:pt x="2768" y="211"/>
                  </a:cubicBezTo>
                  <a:cubicBezTo>
                    <a:pt x="2769" y="213"/>
                    <a:pt x="2771" y="215"/>
                    <a:pt x="2774" y="215"/>
                  </a:cubicBezTo>
                  <a:cubicBezTo>
                    <a:pt x="2773" y="218"/>
                    <a:pt x="2768" y="217"/>
                    <a:pt x="2768" y="220"/>
                  </a:cubicBezTo>
                  <a:cubicBezTo>
                    <a:pt x="2764" y="220"/>
                    <a:pt x="2767" y="213"/>
                    <a:pt x="2763" y="213"/>
                  </a:cubicBezTo>
                  <a:cubicBezTo>
                    <a:pt x="2753" y="215"/>
                    <a:pt x="2764" y="220"/>
                    <a:pt x="2757" y="225"/>
                  </a:cubicBezTo>
                  <a:cubicBezTo>
                    <a:pt x="2755" y="224"/>
                    <a:pt x="2752" y="223"/>
                    <a:pt x="2752" y="220"/>
                  </a:cubicBezTo>
                  <a:cubicBezTo>
                    <a:pt x="2752" y="218"/>
                    <a:pt x="2757" y="217"/>
                    <a:pt x="2757" y="216"/>
                  </a:cubicBezTo>
                  <a:cubicBezTo>
                    <a:pt x="2759" y="209"/>
                    <a:pt x="2756" y="199"/>
                    <a:pt x="2768" y="201"/>
                  </a:cubicBezTo>
                  <a:cubicBezTo>
                    <a:pt x="2762" y="195"/>
                    <a:pt x="2768" y="193"/>
                    <a:pt x="2768" y="183"/>
                  </a:cubicBezTo>
                  <a:cubicBezTo>
                    <a:pt x="2768" y="182"/>
                    <a:pt x="2768" y="178"/>
                    <a:pt x="2768" y="178"/>
                  </a:cubicBezTo>
                  <a:cubicBezTo>
                    <a:pt x="2767" y="178"/>
                    <a:pt x="2765" y="178"/>
                    <a:pt x="2765" y="178"/>
                  </a:cubicBezTo>
                  <a:cubicBezTo>
                    <a:pt x="2765" y="177"/>
                    <a:pt x="2767" y="175"/>
                    <a:pt x="2768" y="176"/>
                  </a:cubicBezTo>
                  <a:cubicBezTo>
                    <a:pt x="2767" y="174"/>
                    <a:pt x="2762" y="171"/>
                    <a:pt x="2762" y="171"/>
                  </a:cubicBezTo>
                  <a:cubicBezTo>
                    <a:pt x="2761" y="167"/>
                    <a:pt x="2764" y="167"/>
                    <a:pt x="2765" y="164"/>
                  </a:cubicBezTo>
                  <a:cubicBezTo>
                    <a:pt x="2765" y="159"/>
                    <a:pt x="2762" y="157"/>
                    <a:pt x="2762" y="152"/>
                  </a:cubicBezTo>
                  <a:cubicBezTo>
                    <a:pt x="2775" y="151"/>
                    <a:pt x="2768" y="167"/>
                    <a:pt x="2770" y="175"/>
                  </a:cubicBezTo>
                  <a:close/>
                  <a:moveTo>
                    <a:pt x="2757" y="185"/>
                  </a:moveTo>
                  <a:cubicBezTo>
                    <a:pt x="2768" y="184"/>
                    <a:pt x="2759" y="193"/>
                    <a:pt x="2760" y="197"/>
                  </a:cubicBezTo>
                  <a:cubicBezTo>
                    <a:pt x="2754" y="197"/>
                    <a:pt x="2758" y="189"/>
                    <a:pt x="2757" y="185"/>
                  </a:cubicBezTo>
                  <a:close/>
                  <a:moveTo>
                    <a:pt x="2734" y="153"/>
                  </a:moveTo>
                  <a:cubicBezTo>
                    <a:pt x="2748" y="151"/>
                    <a:pt x="2748" y="152"/>
                    <a:pt x="2759" y="150"/>
                  </a:cubicBezTo>
                  <a:cubicBezTo>
                    <a:pt x="2757" y="157"/>
                    <a:pt x="2761" y="159"/>
                    <a:pt x="2759" y="164"/>
                  </a:cubicBezTo>
                  <a:cubicBezTo>
                    <a:pt x="2759" y="164"/>
                    <a:pt x="2755" y="161"/>
                    <a:pt x="2754" y="162"/>
                  </a:cubicBezTo>
                  <a:cubicBezTo>
                    <a:pt x="2752" y="162"/>
                    <a:pt x="2749" y="168"/>
                    <a:pt x="2756" y="169"/>
                  </a:cubicBezTo>
                  <a:cubicBezTo>
                    <a:pt x="2754" y="171"/>
                    <a:pt x="2739" y="181"/>
                    <a:pt x="2751" y="181"/>
                  </a:cubicBezTo>
                  <a:cubicBezTo>
                    <a:pt x="2761" y="181"/>
                    <a:pt x="2743" y="187"/>
                    <a:pt x="2746" y="181"/>
                  </a:cubicBezTo>
                  <a:cubicBezTo>
                    <a:pt x="2739" y="181"/>
                    <a:pt x="2737" y="185"/>
                    <a:pt x="2732" y="181"/>
                  </a:cubicBezTo>
                  <a:cubicBezTo>
                    <a:pt x="2734" y="177"/>
                    <a:pt x="2741" y="177"/>
                    <a:pt x="2746" y="176"/>
                  </a:cubicBezTo>
                  <a:cubicBezTo>
                    <a:pt x="2743" y="172"/>
                    <a:pt x="2754" y="168"/>
                    <a:pt x="2745" y="166"/>
                  </a:cubicBezTo>
                  <a:cubicBezTo>
                    <a:pt x="2748" y="164"/>
                    <a:pt x="2751" y="162"/>
                    <a:pt x="2754" y="159"/>
                  </a:cubicBezTo>
                  <a:cubicBezTo>
                    <a:pt x="2751" y="151"/>
                    <a:pt x="2737" y="166"/>
                    <a:pt x="2740" y="155"/>
                  </a:cubicBezTo>
                  <a:cubicBezTo>
                    <a:pt x="2736" y="156"/>
                    <a:pt x="2733" y="159"/>
                    <a:pt x="2732" y="162"/>
                  </a:cubicBezTo>
                  <a:cubicBezTo>
                    <a:pt x="2723" y="160"/>
                    <a:pt x="2735" y="156"/>
                    <a:pt x="2734" y="153"/>
                  </a:cubicBezTo>
                  <a:close/>
                  <a:moveTo>
                    <a:pt x="2724" y="169"/>
                  </a:moveTo>
                  <a:cubicBezTo>
                    <a:pt x="2728" y="170"/>
                    <a:pt x="2729" y="167"/>
                    <a:pt x="2729" y="164"/>
                  </a:cubicBezTo>
                  <a:cubicBezTo>
                    <a:pt x="2734" y="165"/>
                    <a:pt x="2735" y="161"/>
                    <a:pt x="2740" y="162"/>
                  </a:cubicBezTo>
                  <a:cubicBezTo>
                    <a:pt x="2739" y="165"/>
                    <a:pt x="2741" y="166"/>
                    <a:pt x="2743" y="167"/>
                  </a:cubicBezTo>
                  <a:cubicBezTo>
                    <a:pt x="2740" y="170"/>
                    <a:pt x="2735" y="173"/>
                    <a:pt x="2732" y="176"/>
                  </a:cubicBezTo>
                  <a:cubicBezTo>
                    <a:pt x="2729" y="177"/>
                    <a:pt x="2730" y="172"/>
                    <a:pt x="2729" y="171"/>
                  </a:cubicBezTo>
                  <a:cubicBezTo>
                    <a:pt x="2725" y="170"/>
                    <a:pt x="2721" y="176"/>
                    <a:pt x="2715" y="172"/>
                  </a:cubicBezTo>
                  <a:cubicBezTo>
                    <a:pt x="2708" y="172"/>
                    <a:pt x="2719" y="176"/>
                    <a:pt x="2716" y="181"/>
                  </a:cubicBezTo>
                  <a:cubicBezTo>
                    <a:pt x="2705" y="180"/>
                    <a:pt x="2718" y="171"/>
                    <a:pt x="2704" y="172"/>
                  </a:cubicBezTo>
                  <a:cubicBezTo>
                    <a:pt x="2711" y="167"/>
                    <a:pt x="2699" y="160"/>
                    <a:pt x="2712" y="160"/>
                  </a:cubicBezTo>
                  <a:cubicBezTo>
                    <a:pt x="2711" y="166"/>
                    <a:pt x="2708" y="169"/>
                    <a:pt x="2718" y="169"/>
                  </a:cubicBezTo>
                  <a:cubicBezTo>
                    <a:pt x="2722" y="169"/>
                    <a:pt x="2722" y="149"/>
                    <a:pt x="2724" y="169"/>
                  </a:cubicBezTo>
                  <a:close/>
                  <a:moveTo>
                    <a:pt x="2701" y="151"/>
                  </a:moveTo>
                  <a:cubicBezTo>
                    <a:pt x="2704" y="148"/>
                    <a:pt x="2711" y="148"/>
                    <a:pt x="2718" y="148"/>
                  </a:cubicBezTo>
                  <a:cubicBezTo>
                    <a:pt x="2722" y="156"/>
                    <a:pt x="2700" y="160"/>
                    <a:pt x="2701" y="151"/>
                  </a:cubicBezTo>
                  <a:close/>
                  <a:moveTo>
                    <a:pt x="2699" y="203"/>
                  </a:moveTo>
                  <a:cubicBezTo>
                    <a:pt x="2699" y="198"/>
                    <a:pt x="2704" y="198"/>
                    <a:pt x="2705" y="193"/>
                  </a:cubicBezTo>
                  <a:cubicBezTo>
                    <a:pt x="2706" y="187"/>
                    <a:pt x="2702" y="187"/>
                    <a:pt x="2702" y="181"/>
                  </a:cubicBezTo>
                  <a:cubicBezTo>
                    <a:pt x="2717" y="180"/>
                    <a:pt x="2702" y="192"/>
                    <a:pt x="2710" y="195"/>
                  </a:cubicBezTo>
                  <a:cubicBezTo>
                    <a:pt x="2713" y="195"/>
                    <a:pt x="2712" y="193"/>
                    <a:pt x="2710" y="193"/>
                  </a:cubicBezTo>
                  <a:cubicBezTo>
                    <a:pt x="2712" y="190"/>
                    <a:pt x="2716" y="189"/>
                    <a:pt x="2721" y="188"/>
                  </a:cubicBezTo>
                  <a:cubicBezTo>
                    <a:pt x="2722" y="184"/>
                    <a:pt x="2718" y="176"/>
                    <a:pt x="2726" y="179"/>
                  </a:cubicBezTo>
                  <a:cubicBezTo>
                    <a:pt x="2723" y="186"/>
                    <a:pt x="2728" y="187"/>
                    <a:pt x="2727" y="197"/>
                  </a:cubicBezTo>
                  <a:cubicBezTo>
                    <a:pt x="2724" y="196"/>
                    <a:pt x="2723" y="193"/>
                    <a:pt x="2721" y="190"/>
                  </a:cubicBezTo>
                  <a:cubicBezTo>
                    <a:pt x="2713" y="192"/>
                    <a:pt x="2724" y="208"/>
                    <a:pt x="2727" y="200"/>
                  </a:cubicBezTo>
                  <a:cubicBezTo>
                    <a:pt x="2733" y="201"/>
                    <a:pt x="2724" y="203"/>
                    <a:pt x="2724" y="205"/>
                  </a:cubicBezTo>
                  <a:cubicBezTo>
                    <a:pt x="2723" y="210"/>
                    <a:pt x="2726" y="213"/>
                    <a:pt x="2727" y="219"/>
                  </a:cubicBezTo>
                  <a:cubicBezTo>
                    <a:pt x="2714" y="218"/>
                    <a:pt x="2724" y="222"/>
                    <a:pt x="2719" y="226"/>
                  </a:cubicBezTo>
                  <a:cubicBezTo>
                    <a:pt x="2711" y="223"/>
                    <a:pt x="2722" y="218"/>
                    <a:pt x="2719" y="212"/>
                  </a:cubicBezTo>
                  <a:cubicBezTo>
                    <a:pt x="2716" y="212"/>
                    <a:pt x="2717" y="215"/>
                    <a:pt x="2716" y="216"/>
                  </a:cubicBezTo>
                  <a:cubicBezTo>
                    <a:pt x="2714" y="215"/>
                    <a:pt x="2709" y="213"/>
                    <a:pt x="2708" y="217"/>
                  </a:cubicBezTo>
                  <a:cubicBezTo>
                    <a:pt x="2701" y="216"/>
                    <a:pt x="2703" y="210"/>
                    <a:pt x="2702" y="207"/>
                  </a:cubicBezTo>
                  <a:cubicBezTo>
                    <a:pt x="2702" y="205"/>
                    <a:pt x="2700" y="205"/>
                    <a:pt x="2699" y="203"/>
                  </a:cubicBezTo>
                  <a:close/>
                  <a:moveTo>
                    <a:pt x="2698" y="280"/>
                  </a:moveTo>
                  <a:cubicBezTo>
                    <a:pt x="2698" y="282"/>
                    <a:pt x="2698" y="283"/>
                    <a:pt x="2698" y="285"/>
                  </a:cubicBezTo>
                  <a:cubicBezTo>
                    <a:pt x="2696" y="285"/>
                    <a:pt x="2694" y="285"/>
                    <a:pt x="2693" y="285"/>
                  </a:cubicBezTo>
                  <a:cubicBezTo>
                    <a:pt x="2693" y="283"/>
                    <a:pt x="2693" y="282"/>
                    <a:pt x="2693" y="280"/>
                  </a:cubicBezTo>
                  <a:cubicBezTo>
                    <a:pt x="2694" y="280"/>
                    <a:pt x="2696" y="280"/>
                    <a:pt x="2698" y="280"/>
                  </a:cubicBezTo>
                  <a:close/>
                  <a:moveTo>
                    <a:pt x="2694" y="226"/>
                  </a:moveTo>
                  <a:cubicBezTo>
                    <a:pt x="2689" y="233"/>
                    <a:pt x="2695" y="245"/>
                    <a:pt x="2698" y="252"/>
                  </a:cubicBezTo>
                  <a:cubicBezTo>
                    <a:pt x="2695" y="259"/>
                    <a:pt x="2695" y="245"/>
                    <a:pt x="2689" y="247"/>
                  </a:cubicBezTo>
                  <a:cubicBezTo>
                    <a:pt x="2692" y="241"/>
                    <a:pt x="2683" y="225"/>
                    <a:pt x="2694" y="226"/>
                  </a:cubicBezTo>
                  <a:close/>
                  <a:moveTo>
                    <a:pt x="2695" y="259"/>
                  </a:moveTo>
                  <a:cubicBezTo>
                    <a:pt x="2695" y="264"/>
                    <a:pt x="2695" y="268"/>
                    <a:pt x="2695" y="273"/>
                  </a:cubicBezTo>
                  <a:cubicBezTo>
                    <a:pt x="2691" y="271"/>
                    <a:pt x="2689" y="267"/>
                    <a:pt x="2692" y="264"/>
                  </a:cubicBezTo>
                  <a:cubicBezTo>
                    <a:pt x="2682" y="261"/>
                    <a:pt x="2692" y="274"/>
                    <a:pt x="2681" y="271"/>
                  </a:cubicBezTo>
                  <a:cubicBezTo>
                    <a:pt x="2680" y="265"/>
                    <a:pt x="2686" y="266"/>
                    <a:pt x="2684" y="259"/>
                  </a:cubicBezTo>
                  <a:cubicBezTo>
                    <a:pt x="2688" y="259"/>
                    <a:pt x="2691" y="259"/>
                    <a:pt x="2695" y="259"/>
                  </a:cubicBezTo>
                  <a:close/>
                  <a:moveTo>
                    <a:pt x="2687" y="252"/>
                  </a:moveTo>
                  <a:cubicBezTo>
                    <a:pt x="2687" y="254"/>
                    <a:pt x="2687" y="255"/>
                    <a:pt x="2687" y="257"/>
                  </a:cubicBezTo>
                  <a:cubicBezTo>
                    <a:pt x="2685" y="257"/>
                    <a:pt x="2683" y="257"/>
                    <a:pt x="2681" y="257"/>
                  </a:cubicBezTo>
                  <a:cubicBezTo>
                    <a:pt x="2681" y="255"/>
                    <a:pt x="2681" y="254"/>
                    <a:pt x="2681" y="252"/>
                  </a:cubicBezTo>
                  <a:cubicBezTo>
                    <a:pt x="2683" y="252"/>
                    <a:pt x="2685" y="252"/>
                    <a:pt x="2687" y="252"/>
                  </a:cubicBezTo>
                  <a:close/>
                  <a:moveTo>
                    <a:pt x="2679" y="271"/>
                  </a:moveTo>
                  <a:cubicBezTo>
                    <a:pt x="2676" y="275"/>
                    <a:pt x="2674" y="279"/>
                    <a:pt x="2665" y="278"/>
                  </a:cubicBezTo>
                  <a:cubicBezTo>
                    <a:pt x="2667" y="276"/>
                    <a:pt x="2668" y="274"/>
                    <a:pt x="2665" y="274"/>
                  </a:cubicBezTo>
                  <a:cubicBezTo>
                    <a:pt x="2664" y="269"/>
                    <a:pt x="2675" y="272"/>
                    <a:pt x="2679" y="271"/>
                  </a:cubicBezTo>
                  <a:close/>
                  <a:moveTo>
                    <a:pt x="2673" y="259"/>
                  </a:moveTo>
                  <a:cubicBezTo>
                    <a:pt x="2671" y="262"/>
                    <a:pt x="2667" y="268"/>
                    <a:pt x="2676" y="266"/>
                  </a:cubicBezTo>
                  <a:cubicBezTo>
                    <a:pt x="2669" y="276"/>
                    <a:pt x="2657" y="258"/>
                    <a:pt x="2673" y="259"/>
                  </a:cubicBezTo>
                  <a:close/>
                  <a:moveTo>
                    <a:pt x="2676" y="255"/>
                  </a:moveTo>
                  <a:cubicBezTo>
                    <a:pt x="2673" y="253"/>
                    <a:pt x="2669" y="252"/>
                    <a:pt x="2665" y="253"/>
                  </a:cubicBezTo>
                  <a:cubicBezTo>
                    <a:pt x="2669" y="245"/>
                    <a:pt x="2664" y="243"/>
                    <a:pt x="2667" y="238"/>
                  </a:cubicBezTo>
                  <a:cubicBezTo>
                    <a:pt x="2673" y="239"/>
                    <a:pt x="2674" y="245"/>
                    <a:pt x="2670" y="248"/>
                  </a:cubicBezTo>
                  <a:cubicBezTo>
                    <a:pt x="2672" y="250"/>
                    <a:pt x="2676" y="250"/>
                    <a:pt x="2676" y="255"/>
                  </a:cubicBezTo>
                  <a:close/>
                  <a:moveTo>
                    <a:pt x="2672" y="234"/>
                  </a:moveTo>
                  <a:cubicBezTo>
                    <a:pt x="2665" y="242"/>
                    <a:pt x="2655" y="229"/>
                    <a:pt x="2672" y="234"/>
                  </a:cubicBezTo>
                  <a:close/>
                  <a:moveTo>
                    <a:pt x="2653" y="234"/>
                  </a:moveTo>
                  <a:cubicBezTo>
                    <a:pt x="2647" y="242"/>
                    <a:pt x="2642" y="226"/>
                    <a:pt x="2653" y="234"/>
                  </a:cubicBezTo>
                  <a:close/>
                  <a:moveTo>
                    <a:pt x="2674" y="8"/>
                  </a:moveTo>
                  <a:cubicBezTo>
                    <a:pt x="2674" y="13"/>
                    <a:pt x="2662" y="10"/>
                    <a:pt x="2660" y="8"/>
                  </a:cubicBezTo>
                  <a:cubicBezTo>
                    <a:pt x="2663" y="1"/>
                    <a:pt x="2669" y="9"/>
                    <a:pt x="2674" y="8"/>
                  </a:cubicBezTo>
                  <a:close/>
                  <a:moveTo>
                    <a:pt x="2646" y="124"/>
                  </a:moveTo>
                  <a:cubicBezTo>
                    <a:pt x="2655" y="127"/>
                    <a:pt x="2636" y="126"/>
                    <a:pt x="2632" y="126"/>
                  </a:cubicBezTo>
                  <a:cubicBezTo>
                    <a:pt x="2632" y="124"/>
                    <a:pt x="2636" y="124"/>
                    <a:pt x="2638" y="124"/>
                  </a:cubicBezTo>
                  <a:cubicBezTo>
                    <a:pt x="2636" y="122"/>
                    <a:pt x="2635" y="120"/>
                    <a:pt x="2632" y="119"/>
                  </a:cubicBezTo>
                  <a:cubicBezTo>
                    <a:pt x="2633" y="116"/>
                    <a:pt x="2639" y="117"/>
                    <a:pt x="2643" y="117"/>
                  </a:cubicBezTo>
                  <a:cubicBezTo>
                    <a:pt x="2643" y="119"/>
                    <a:pt x="2640" y="119"/>
                    <a:pt x="2640" y="121"/>
                  </a:cubicBezTo>
                  <a:cubicBezTo>
                    <a:pt x="2641" y="124"/>
                    <a:pt x="2644" y="123"/>
                    <a:pt x="2646" y="124"/>
                  </a:cubicBezTo>
                  <a:close/>
                  <a:moveTo>
                    <a:pt x="2640" y="100"/>
                  </a:moveTo>
                  <a:cubicBezTo>
                    <a:pt x="2639" y="103"/>
                    <a:pt x="2635" y="104"/>
                    <a:pt x="2635" y="107"/>
                  </a:cubicBezTo>
                  <a:cubicBezTo>
                    <a:pt x="2628" y="107"/>
                    <a:pt x="2634" y="98"/>
                    <a:pt x="2640" y="100"/>
                  </a:cubicBezTo>
                  <a:close/>
                  <a:moveTo>
                    <a:pt x="2626" y="103"/>
                  </a:moveTo>
                  <a:cubicBezTo>
                    <a:pt x="2622" y="104"/>
                    <a:pt x="2623" y="105"/>
                    <a:pt x="2618" y="103"/>
                  </a:cubicBezTo>
                  <a:cubicBezTo>
                    <a:pt x="2615" y="101"/>
                    <a:pt x="2634" y="100"/>
                    <a:pt x="2626" y="103"/>
                  </a:cubicBezTo>
                  <a:close/>
                  <a:moveTo>
                    <a:pt x="2618" y="82"/>
                  </a:moveTo>
                  <a:cubicBezTo>
                    <a:pt x="2623" y="83"/>
                    <a:pt x="2618" y="86"/>
                    <a:pt x="2618" y="89"/>
                  </a:cubicBezTo>
                  <a:cubicBezTo>
                    <a:pt x="2613" y="87"/>
                    <a:pt x="2617" y="85"/>
                    <a:pt x="2618" y="82"/>
                  </a:cubicBezTo>
                  <a:close/>
                  <a:moveTo>
                    <a:pt x="2616" y="117"/>
                  </a:moveTo>
                  <a:cubicBezTo>
                    <a:pt x="2621" y="116"/>
                    <a:pt x="2621" y="119"/>
                    <a:pt x="2618" y="119"/>
                  </a:cubicBezTo>
                  <a:cubicBezTo>
                    <a:pt x="2615" y="117"/>
                    <a:pt x="2607" y="122"/>
                    <a:pt x="2608" y="122"/>
                  </a:cubicBezTo>
                  <a:cubicBezTo>
                    <a:pt x="2600" y="121"/>
                    <a:pt x="2606" y="115"/>
                    <a:pt x="2616" y="117"/>
                  </a:cubicBezTo>
                  <a:close/>
                  <a:moveTo>
                    <a:pt x="2588" y="99"/>
                  </a:moveTo>
                  <a:cubicBezTo>
                    <a:pt x="2592" y="99"/>
                    <a:pt x="2590" y="105"/>
                    <a:pt x="2591" y="108"/>
                  </a:cubicBezTo>
                  <a:cubicBezTo>
                    <a:pt x="2588" y="107"/>
                    <a:pt x="2586" y="105"/>
                    <a:pt x="2585" y="108"/>
                  </a:cubicBezTo>
                  <a:cubicBezTo>
                    <a:pt x="2577" y="106"/>
                    <a:pt x="2592" y="105"/>
                    <a:pt x="2588" y="99"/>
                  </a:cubicBezTo>
                  <a:close/>
                  <a:moveTo>
                    <a:pt x="2584" y="38"/>
                  </a:moveTo>
                  <a:cubicBezTo>
                    <a:pt x="2583" y="43"/>
                    <a:pt x="2577" y="43"/>
                    <a:pt x="2573" y="40"/>
                  </a:cubicBezTo>
                  <a:cubicBezTo>
                    <a:pt x="2574" y="37"/>
                    <a:pt x="2580" y="38"/>
                    <a:pt x="2584" y="38"/>
                  </a:cubicBezTo>
                  <a:close/>
                  <a:moveTo>
                    <a:pt x="2563" y="116"/>
                  </a:moveTo>
                  <a:cubicBezTo>
                    <a:pt x="2565" y="112"/>
                    <a:pt x="2561" y="107"/>
                    <a:pt x="2563" y="104"/>
                  </a:cubicBezTo>
                  <a:cubicBezTo>
                    <a:pt x="2564" y="102"/>
                    <a:pt x="2573" y="103"/>
                    <a:pt x="2571" y="99"/>
                  </a:cubicBezTo>
                  <a:cubicBezTo>
                    <a:pt x="2580" y="103"/>
                    <a:pt x="2563" y="104"/>
                    <a:pt x="2569" y="113"/>
                  </a:cubicBezTo>
                  <a:cubicBezTo>
                    <a:pt x="2569" y="118"/>
                    <a:pt x="2579" y="114"/>
                    <a:pt x="2583" y="115"/>
                  </a:cubicBezTo>
                  <a:cubicBezTo>
                    <a:pt x="2590" y="121"/>
                    <a:pt x="2556" y="112"/>
                    <a:pt x="2566" y="127"/>
                  </a:cubicBezTo>
                  <a:cubicBezTo>
                    <a:pt x="2562" y="128"/>
                    <a:pt x="2561" y="126"/>
                    <a:pt x="2561" y="123"/>
                  </a:cubicBezTo>
                  <a:cubicBezTo>
                    <a:pt x="2559" y="121"/>
                    <a:pt x="2556" y="119"/>
                    <a:pt x="2552" y="118"/>
                  </a:cubicBezTo>
                  <a:cubicBezTo>
                    <a:pt x="2553" y="115"/>
                    <a:pt x="2559" y="116"/>
                    <a:pt x="2563" y="116"/>
                  </a:cubicBezTo>
                  <a:close/>
                  <a:moveTo>
                    <a:pt x="2544" y="121"/>
                  </a:moveTo>
                  <a:cubicBezTo>
                    <a:pt x="2542" y="119"/>
                    <a:pt x="2540" y="118"/>
                    <a:pt x="2536" y="118"/>
                  </a:cubicBezTo>
                  <a:cubicBezTo>
                    <a:pt x="2537" y="112"/>
                    <a:pt x="2546" y="113"/>
                    <a:pt x="2544" y="121"/>
                  </a:cubicBezTo>
                  <a:close/>
                  <a:moveTo>
                    <a:pt x="2554" y="179"/>
                  </a:moveTo>
                  <a:cubicBezTo>
                    <a:pt x="2555" y="184"/>
                    <a:pt x="2552" y="186"/>
                    <a:pt x="2551" y="189"/>
                  </a:cubicBezTo>
                  <a:cubicBezTo>
                    <a:pt x="2548" y="186"/>
                    <a:pt x="2546" y="182"/>
                    <a:pt x="2537" y="184"/>
                  </a:cubicBezTo>
                  <a:cubicBezTo>
                    <a:pt x="2536" y="179"/>
                    <a:pt x="2542" y="179"/>
                    <a:pt x="2540" y="172"/>
                  </a:cubicBezTo>
                  <a:cubicBezTo>
                    <a:pt x="2538" y="172"/>
                    <a:pt x="2536" y="173"/>
                    <a:pt x="2534" y="173"/>
                  </a:cubicBezTo>
                  <a:cubicBezTo>
                    <a:pt x="2535" y="170"/>
                    <a:pt x="2539" y="170"/>
                    <a:pt x="2542" y="170"/>
                  </a:cubicBezTo>
                  <a:cubicBezTo>
                    <a:pt x="2540" y="178"/>
                    <a:pt x="2544" y="181"/>
                    <a:pt x="2554" y="179"/>
                  </a:cubicBezTo>
                  <a:close/>
                  <a:moveTo>
                    <a:pt x="2548" y="168"/>
                  </a:moveTo>
                  <a:cubicBezTo>
                    <a:pt x="2552" y="168"/>
                    <a:pt x="2552" y="172"/>
                    <a:pt x="2556" y="172"/>
                  </a:cubicBezTo>
                  <a:cubicBezTo>
                    <a:pt x="2556" y="175"/>
                    <a:pt x="2553" y="173"/>
                    <a:pt x="2553" y="172"/>
                  </a:cubicBezTo>
                  <a:cubicBezTo>
                    <a:pt x="2551" y="172"/>
                    <a:pt x="2551" y="173"/>
                    <a:pt x="2551" y="175"/>
                  </a:cubicBezTo>
                  <a:cubicBezTo>
                    <a:pt x="2548" y="174"/>
                    <a:pt x="2548" y="170"/>
                    <a:pt x="2548" y="168"/>
                  </a:cubicBezTo>
                  <a:close/>
                  <a:moveTo>
                    <a:pt x="2531" y="130"/>
                  </a:moveTo>
                  <a:cubicBezTo>
                    <a:pt x="2543" y="132"/>
                    <a:pt x="2529" y="145"/>
                    <a:pt x="2531" y="130"/>
                  </a:cubicBezTo>
                  <a:close/>
                  <a:moveTo>
                    <a:pt x="2519" y="72"/>
                  </a:moveTo>
                  <a:cubicBezTo>
                    <a:pt x="2522" y="73"/>
                    <a:pt x="2523" y="76"/>
                    <a:pt x="2527" y="76"/>
                  </a:cubicBezTo>
                  <a:cubicBezTo>
                    <a:pt x="2526" y="82"/>
                    <a:pt x="2517" y="77"/>
                    <a:pt x="2519" y="72"/>
                  </a:cubicBezTo>
                  <a:close/>
                  <a:moveTo>
                    <a:pt x="2517" y="131"/>
                  </a:moveTo>
                  <a:cubicBezTo>
                    <a:pt x="2520" y="133"/>
                    <a:pt x="2527" y="131"/>
                    <a:pt x="2525" y="137"/>
                  </a:cubicBezTo>
                  <a:cubicBezTo>
                    <a:pt x="2523" y="135"/>
                    <a:pt x="2515" y="137"/>
                    <a:pt x="2517" y="131"/>
                  </a:cubicBezTo>
                  <a:close/>
                  <a:moveTo>
                    <a:pt x="2520" y="166"/>
                  </a:moveTo>
                  <a:cubicBezTo>
                    <a:pt x="2520" y="169"/>
                    <a:pt x="2514" y="168"/>
                    <a:pt x="2510" y="168"/>
                  </a:cubicBezTo>
                  <a:cubicBezTo>
                    <a:pt x="2511" y="166"/>
                    <a:pt x="2516" y="166"/>
                    <a:pt x="2515" y="161"/>
                  </a:cubicBezTo>
                  <a:cubicBezTo>
                    <a:pt x="2518" y="162"/>
                    <a:pt x="2517" y="166"/>
                    <a:pt x="2520" y="166"/>
                  </a:cubicBezTo>
                  <a:close/>
                  <a:moveTo>
                    <a:pt x="2518" y="196"/>
                  </a:moveTo>
                  <a:cubicBezTo>
                    <a:pt x="2517" y="197"/>
                    <a:pt x="2515" y="191"/>
                    <a:pt x="2513" y="192"/>
                  </a:cubicBezTo>
                  <a:cubicBezTo>
                    <a:pt x="2517" y="184"/>
                    <a:pt x="2520" y="194"/>
                    <a:pt x="2518" y="196"/>
                  </a:cubicBezTo>
                  <a:close/>
                  <a:moveTo>
                    <a:pt x="2513" y="185"/>
                  </a:moveTo>
                  <a:cubicBezTo>
                    <a:pt x="2512" y="187"/>
                    <a:pt x="2507" y="186"/>
                    <a:pt x="2507" y="189"/>
                  </a:cubicBezTo>
                  <a:cubicBezTo>
                    <a:pt x="2507" y="198"/>
                    <a:pt x="2497" y="182"/>
                    <a:pt x="2513" y="185"/>
                  </a:cubicBezTo>
                  <a:close/>
                  <a:moveTo>
                    <a:pt x="2514" y="121"/>
                  </a:moveTo>
                  <a:cubicBezTo>
                    <a:pt x="2514" y="123"/>
                    <a:pt x="2514" y="124"/>
                    <a:pt x="2514" y="126"/>
                  </a:cubicBezTo>
                  <a:cubicBezTo>
                    <a:pt x="2512" y="126"/>
                    <a:pt x="2511" y="126"/>
                    <a:pt x="2509" y="126"/>
                  </a:cubicBezTo>
                  <a:cubicBezTo>
                    <a:pt x="2509" y="124"/>
                    <a:pt x="2509" y="123"/>
                    <a:pt x="2509" y="121"/>
                  </a:cubicBezTo>
                  <a:cubicBezTo>
                    <a:pt x="2510" y="121"/>
                    <a:pt x="2512" y="121"/>
                    <a:pt x="2514" y="121"/>
                  </a:cubicBezTo>
                  <a:close/>
                  <a:moveTo>
                    <a:pt x="2503" y="131"/>
                  </a:moveTo>
                  <a:cubicBezTo>
                    <a:pt x="2503" y="131"/>
                    <a:pt x="2505" y="135"/>
                    <a:pt x="2506" y="133"/>
                  </a:cubicBezTo>
                  <a:cubicBezTo>
                    <a:pt x="2508" y="131"/>
                    <a:pt x="2508" y="131"/>
                    <a:pt x="2509" y="133"/>
                  </a:cubicBezTo>
                  <a:cubicBezTo>
                    <a:pt x="2512" y="133"/>
                    <a:pt x="2511" y="137"/>
                    <a:pt x="2512" y="140"/>
                  </a:cubicBezTo>
                  <a:cubicBezTo>
                    <a:pt x="2506" y="136"/>
                    <a:pt x="2492" y="139"/>
                    <a:pt x="2482" y="138"/>
                  </a:cubicBezTo>
                  <a:cubicBezTo>
                    <a:pt x="2483" y="136"/>
                    <a:pt x="2485" y="134"/>
                    <a:pt x="2481" y="133"/>
                  </a:cubicBezTo>
                  <a:cubicBezTo>
                    <a:pt x="2485" y="130"/>
                    <a:pt x="2497" y="130"/>
                    <a:pt x="2503" y="131"/>
                  </a:cubicBezTo>
                  <a:close/>
                  <a:moveTo>
                    <a:pt x="2488" y="190"/>
                  </a:moveTo>
                  <a:cubicBezTo>
                    <a:pt x="2488" y="188"/>
                    <a:pt x="2488" y="187"/>
                    <a:pt x="2488" y="185"/>
                  </a:cubicBezTo>
                  <a:cubicBezTo>
                    <a:pt x="2492" y="185"/>
                    <a:pt x="2495" y="185"/>
                    <a:pt x="2499" y="185"/>
                  </a:cubicBezTo>
                  <a:cubicBezTo>
                    <a:pt x="2502" y="192"/>
                    <a:pt x="2493" y="189"/>
                    <a:pt x="2488" y="190"/>
                  </a:cubicBezTo>
                  <a:close/>
                  <a:moveTo>
                    <a:pt x="2480" y="185"/>
                  </a:moveTo>
                  <a:cubicBezTo>
                    <a:pt x="2485" y="187"/>
                    <a:pt x="2480" y="190"/>
                    <a:pt x="2480" y="192"/>
                  </a:cubicBezTo>
                  <a:cubicBezTo>
                    <a:pt x="2475" y="191"/>
                    <a:pt x="2479" y="188"/>
                    <a:pt x="2480" y="185"/>
                  </a:cubicBezTo>
                  <a:close/>
                  <a:moveTo>
                    <a:pt x="2465" y="115"/>
                  </a:moveTo>
                  <a:cubicBezTo>
                    <a:pt x="2474" y="111"/>
                    <a:pt x="2467" y="123"/>
                    <a:pt x="2473" y="122"/>
                  </a:cubicBezTo>
                  <a:cubicBezTo>
                    <a:pt x="2470" y="129"/>
                    <a:pt x="2464" y="119"/>
                    <a:pt x="2465" y="115"/>
                  </a:cubicBezTo>
                  <a:close/>
                  <a:moveTo>
                    <a:pt x="2432" y="134"/>
                  </a:moveTo>
                  <a:cubicBezTo>
                    <a:pt x="2436" y="128"/>
                    <a:pt x="2446" y="135"/>
                    <a:pt x="2449" y="136"/>
                  </a:cubicBezTo>
                  <a:cubicBezTo>
                    <a:pt x="2446" y="142"/>
                    <a:pt x="2440" y="131"/>
                    <a:pt x="2432" y="134"/>
                  </a:cubicBezTo>
                  <a:close/>
                  <a:moveTo>
                    <a:pt x="2427" y="170"/>
                  </a:moveTo>
                  <a:cubicBezTo>
                    <a:pt x="2428" y="166"/>
                    <a:pt x="2432" y="164"/>
                    <a:pt x="2438" y="165"/>
                  </a:cubicBezTo>
                  <a:cubicBezTo>
                    <a:pt x="2441" y="172"/>
                    <a:pt x="2432" y="169"/>
                    <a:pt x="2427" y="170"/>
                  </a:cubicBezTo>
                  <a:close/>
                  <a:moveTo>
                    <a:pt x="2454" y="160"/>
                  </a:moveTo>
                  <a:cubicBezTo>
                    <a:pt x="2454" y="160"/>
                    <a:pt x="2455" y="158"/>
                    <a:pt x="2454" y="158"/>
                  </a:cubicBezTo>
                  <a:cubicBezTo>
                    <a:pt x="2464" y="158"/>
                    <a:pt x="2450" y="165"/>
                    <a:pt x="2446" y="162"/>
                  </a:cubicBezTo>
                  <a:cubicBezTo>
                    <a:pt x="2444" y="161"/>
                    <a:pt x="2453" y="160"/>
                    <a:pt x="2454" y="160"/>
                  </a:cubicBezTo>
                  <a:close/>
                  <a:moveTo>
                    <a:pt x="2457" y="132"/>
                  </a:moveTo>
                  <a:cubicBezTo>
                    <a:pt x="2461" y="123"/>
                    <a:pt x="2462" y="136"/>
                    <a:pt x="2460" y="136"/>
                  </a:cubicBezTo>
                  <a:cubicBezTo>
                    <a:pt x="2458" y="137"/>
                    <a:pt x="2456" y="133"/>
                    <a:pt x="2457" y="132"/>
                  </a:cubicBezTo>
                  <a:close/>
                  <a:moveTo>
                    <a:pt x="2463" y="169"/>
                  </a:moveTo>
                  <a:cubicBezTo>
                    <a:pt x="2462" y="172"/>
                    <a:pt x="2456" y="171"/>
                    <a:pt x="2452" y="172"/>
                  </a:cubicBezTo>
                  <a:cubicBezTo>
                    <a:pt x="2453" y="166"/>
                    <a:pt x="2459" y="166"/>
                    <a:pt x="2463" y="169"/>
                  </a:cubicBezTo>
                  <a:close/>
                  <a:moveTo>
                    <a:pt x="2456" y="110"/>
                  </a:moveTo>
                  <a:cubicBezTo>
                    <a:pt x="2466" y="108"/>
                    <a:pt x="2464" y="125"/>
                    <a:pt x="2454" y="120"/>
                  </a:cubicBezTo>
                  <a:cubicBezTo>
                    <a:pt x="2456" y="118"/>
                    <a:pt x="2457" y="115"/>
                    <a:pt x="2456" y="110"/>
                  </a:cubicBezTo>
                  <a:close/>
                  <a:moveTo>
                    <a:pt x="2448" y="96"/>
                  </a:moveTo>
                  <a:cubicBezTo>
                    <a:pt x="2451" y="97"/>
                    <a:pt x="2450" y="101"/>
                    <a:pt x="2453" y="101"/>
                  </a:cubicBezTo>
                  <a:cubicBezTo>
                    <a:pt x="2452" y="108"/>
                    <a:pt x="2445" y="101"/>
                    <a:pt x="2448" y="96"/>
                  </a:cubicBezTo>
                  <a:close/>
                  <a:moveTo>
                    <a:pt x="2451" y="108"/>
                  </a:moveTo>
                  <a:cubicBezTo>
                    <a:pt x="2443" y="117"/>
                    <a:pt x="2441" y="101"/>
                    <a:pt x="2451" y="108"/>
                  </a:cubicBezTo>
                  <a:close/>
                  <a:moveTo>
                    <a:pt x="2440" y="101"/>
                  </a:moveTo>
                  <a:cubicBezTo>
                    <a:pt x="2435" y="103"/>
                    <a:pt x="2441" y="113"/>
                    <a:pt x="2432" y="111"/>
                  </a:cubicBezTo>
                  <a:cubicBezTo>
                    <a:pt x="2431" y="105"/>
                    <a:pt x="2433" y="101"/>
                    <a:pt x="2440" y="101"/>
                  </a:cubicBezTo>
                  <a:close/>
                  <a:moveTo>
                    <a:pt x="2419" y="149"/>
                  </a:moveTo>
                  <a:cubicBezTo>
                    <a:pt x="2419" y="143"/>
                    <a:pt x="2428" y="148"/>
                    <a:pt x="2430" y="149"/>
                  </a:cubicBezTo>
                  <a:cubicBezTo>
                    <a:pt x="2428" y="156"/>
                    <a:pt x="2424" y="146"/>
                    <a:pt x="2419" y="149"/>
                  </a:cubicBezTo>
                  <a:close/>
                  <a:moveTo>
                    <a:pt x="2427" y="139"/>
                  </a:moveTo>
                  <a:cubicBezTo>
                    <a:pt x="2423" y="139"/>
                    <a:pt x="2419" y="139"/>
                    <a:pt x="2416" y="139"/>
                  </a:cubicBezTo>
                  <a:cubicBezTo>
                    <a:pt x="2417" y="137"/>
                    <a:pt x="2419" y="135"/>
                    <a:pt x="2416" y="135"/>
                  </a:cubicBezTo>
                  <a:cubicBezTo>
                    <a:pt x="2416" y="131"/>
                    <a:pt x="2424" y="134"/>
                    <a:pt x="2424" y="130"/>
                  </a:cubicBezTo>
                  <a:cubicBezTo>
                    <a:pt x="2427" y="131"/>
                    <a:pt x="2426" y="136"/>
                    <a:pt x="2427" y="139"/>
                  </a:cubicBezTo>
                  <a:close/>
                  <a:moveTo>
                    <a:pt x="2410" y="114"/>
                  </a:moveTo>
                  <a:cubicBezTo>
                    <a:pt x="2413" y="116"/>
                    <a:pt x="2417" y="117"/>
                    <a:pt x="2424" y="116"/>
                  </a:cubicBezTo>
                  <a:cubicBezTo>
                    <a:pt x="2421" y="121"/>
                    <a:pt x="2408" y="123"/>
                    <a:pt x="2410" y="114"/>
                  </a:cubicBezTo>
                  <a:close/>
                  <a:moveTo>
                    <a:pt x="2413" y="130"/>
                  </a:moveTo>
                  <a:cubicBezTo>
                    <a:pt x="2414" y="140"/>
                    <a:pt x="2398" y="133"/>
                    <a:pt x="2394" y="133"/>
                  </a:cubicBezTo>
                  <a:cubicBezTo>
                    <a:pt x="2399" y="122"/>
                    <a:pt x="2404" y="136"/>
                    <a:pt x="2413" y="130"/>
                  </a:cubicBezTo>
                  <a:close/>
                  <a:moveTo>
                    <a:pt x="2405" y="151"/>
                  </a:moveTo>
                  <a:cubicBezTo>
                    <a:pt x="2402" y="159"/>
                    <a:pt x="2398" y="149"/>
                    <a:pt x="2394" y="149"/>
                  </a:cubicBezTo>
                  <a:cubicBezTo>
                    <a:pt x="2397" y="146"/>
                    <a:pt x="2404" y="144"/>
                    <a:pt x="2408" y="147"/>
                  </a:cubicBezTo>
                  <a:cubicBezTo>
                    <a:pt x="2408" y="149"/>
                    <a:pt x="2404" y="148"/>
                    <a:pt x="2402" y="149"/>
                  </a:cubicBezTo>
                  <a:cubicBezTo>
                    <a:pt x="2402" y="151"/>
                    <a:pt x="2403" y="151"/>
                    <a:pt x="2405" y="151"/>
                  </a:cubicBezTo>
                  <a:close/>
                  <a:moveTo>
                    <a:pt x="2393" y="116"/>
                  </a:moveTo>
                  <a:cubicBezTo>
                    <a:pt x="2392" y="119"/>
                    <a:pt x="2390" y="121"/>
                    <a:pt x="2385" y="121"/>
                  </a:cubicBezTo>
                  <a:cubicBezTo>
                    <a:pt x="2384" y="116"/>
                    <a:pt x="2389" y="117"/>
                    <a:pt x="2393" y="116"/>
                  </a:cubicBezTo>
                  <a:close/>
                  <a:moveTo>
                    <a:pt x="2374" y="100"/>
                  </a:moveTo>
                  <a:cubicBezTo>
                    <a:pt x="2374" y="100"/>
                    <a:pt x="2380" y="96"/>
                    <a:pt x="2382" y="98"/>
                  </a:cubicBezTo>
                  <a:cubicBezTo>
                    <a:pt x="2384" y="99"/>
                    <a:pt x="2371" y="105"/>
                    <a:pt x="2374" y="100"/>
                  </a:cubicBezTo>
                  <a:close/>
                  <a:moveTo>
                    <a:pt x="2360" y="100"/>
                  </a:moveTo>
                  <a:cubicBezTo>
                    <a:pt x="2366" y="100"/>
                    <a:pt x="2369" y="102"/>
                    <a:pt x="2368" y="107"/>
                  </a:cubicBezTo>
                  <a:cubicBezTo>
                    <a:pt x="2365" y="107"/>
                    <a:pt x="2361" y="107"/>
                    <a:pt x="2360" y="110"/>
                  </a:cubicBezTo>
                  <a:cubicBezTo>
                    <a:pt x="2352" y="108"/>
                    <a:pt x="2363" y="105"/>
                    <a:pt x="2360" y="100"/>
                  </a:cubicBezTo>
                  <a:close/>
                  <a:moveTo>
                    <a:pt x="2349" y="115"/>
                  </a:moveTo>
                  <a:cubicBezTo>
                    <a:pt x="2346" y="113"/>
                    <a:pt x="2344" y="110"/>
                    <a:pt x="2344" y="105"/>
                  </a:cubicBezTo>
                  <a:cubicBezTo>
                    <a:pt x="2347" y="106"/>
                    <a:pt x="2349" y="105"/>
                    <a:pt x="2349" y="103"/>
                  </a:cubicBezTo>
                  <a:cubicBezTo>
                    <a:pt x="2352" y="103"/>
                    <a:pt x="2351" y="105"/>
                    <a:pt x="2349" y="105"/>
                  </a:cubicBezTo>
                  <a:cubicBezTo>
                    <a:pt x="2349" y="112"/>
                    <a:pt x="2354" y="110"/>
                    <a:pt x="2349" y="115"/>
                  </a:cubicBezTo>
                  <a:close/>
                  <a:moveTo>
                    <a:pt x="2347" y="124"/>
                  </a:moveTo>
                  <a:cubicBezTo>
                    <a:pt x="2350" y="121"/>
                    <a:pt x="2352" y="122"/>
                    <a:pt x="2352" y="126"/>
                  </a:cubicBezTo>
                  <a:cubicBezTo>
                    <a:pt x="2346" y="127"/>
                    <a:pt x="2344" y="125"/>
                    <a:pt x="2344" y="119"/>
                  </a:cubicBezTo>
                  <a:cubicBezTo>
                    <a:pt x="2347" y="119"/>
                    <a:pt x="2346" y="122"/>
                    <a:pt x="2347" y="124"/>
                  </a:cubicBezTo>
                  <a:close/>
                  <a:moveTo>
                    <a:pt x="2349" y="86"/>
                  </a:moveTo>
                  <a:cubicBezTo>
                    <a:pt x="2357" y="88"/>
                    <a:pt x="2345" y="90"/>
                    <a:pt x="2346" y="94"/>
                  </a:cubicBezTo>
                  <a:cubicBezTo>
                    <a:pt x="2337" y="91"/>
                    <a:pt x="2349" y="89"/>
                    <a:pt x="2349" y="86"/>
                  </a:cubicBezTo>
                  <a:close/>
                  <a:moveTo>
                    <a:pt x="2327" y="94"/>
                  </a:moveTo>
                  <a:cubicBezTo>
                    <a:pt x="2330" y="94"/>
                    <a:pt x="2329" y="98"/>
                    <a:pt x="2330" y="101"/>
                  </a:cubicBezTo>
                  <a:cubicBezTo>
                    <a:pt x="2330" y="104"/>
                    <a:pt x="2335" y="103"/>
                    <a:pt x="2338" y="103"/>
                  </a:cubicBezTo>
                  <a:cubicBezTo>
                    <a:pt x="2336" y="105"/>
                    <a:pt x="2335" y="109"/>
                    <a:pt x="2336" y="113"/>
                  </a:cubicBezTo>
                  <a:cubicBezTo>
                    <a:pt x="2334" y="111"/>
                    <a:pt x="2331" y="110"/>
                    <a:pt x="2327" y="110"/>
                  </a:cubicBezTo>
                  <a:cubicBezTo>
                    <a:pt x="2328" y="106"/>
                    <a:pt x="2327" y="103"/>
                    <a:pt x="2322" y="103"/>
                  </a:cubicBezTo>
                  <a:cubicBezTo>
                    <a:pt x="2322" y="99"/>
                    <a:pt x="2329" y="100"/>
                    <a:pt x="2327" y="94"/>
                  </a:cubicBezTo>
                  <a:close/>
                  <a:moveTo>
                    <a:pt x="2322" y="125"/>
                  </a:moveTo>
                  <a:cubicBezTo>
                    <a:pt x="2327" y="125"/>
                    <a:pt x="2324" y="132"/>
                    <a:pt x="2328" y="134"/>
                  </a:cubicBezTo>
                  <a:cubicBezTo>
                    <a:pt x="2332" y="134"/>
                    <a:pt x="2338" y="135"/>
                    <a:pt x="2339" y="131"/>
                  </a:cubicBezTo>
                  <a:cubicBezTo>
                    <a:pt x="2343" y="132"/>
                    <a:pt x="2338" y="134"/>
                    <a:pt x="2339" y="138"/>
                  </a:cubicBezTo>
                  <a:cubicBezTo>
                    <a:pt x="2334" y="139"/>
                    <a:pt x="2334" y="136"/>
                    <a:pt x="2331" y="136"/>
                  </a:cubicBezTo>
                  <a:cubicBezTo>
                    <a:pt x="2327" y="139"/>
                    <a:pt x="2326" y="143"/>
                    <a:pt x="2317" y="141"/>
                  </a:cubicBezTo>
                  <a:cubicBezTo>
                    <a:pt x="2320" y="134"/>
                    <a:pt x="2320" y="134"/>
                    <a:pt x="2309" y="134"/>
                  </a:cubicBezTo>
                  <a:cubicBezTo>
                    <a:pt x="2299" y="129"/>
                    <a:pt x="2330" y="137"/>
                    <a:pt x="2322" y="125"/>
                  </a:cubicBezTo>
                  <a:close/>
                  <a:moveTo>
                    <a:pt x="2339" y="162"/>
                  </a:moveTo>
                  <a:cubicBezTo>
                    <a:pt x="2344" y="162"/>
                    <a:pt x="2341" y="170"/>
                    <a:pt x="2348" y="169"/>
                  </a:cubicBezTo>
                  <a:cubicBezTo>
                    <a:pt x="2345" y="175"/>
                    <a:pt x="2332" y="165"/>
                    <a:pt x="2339" y="162"/>
                  </a:cubicBezTo>
                  <a:close/>
                  <a:moveTo>
                    <a:pt x="2351" y="211"/>
                  </a:moveTo>
                  <a:cubicBezTo>
                    <a:pt x="2350" y="214"/>
                    <a:pt x="2348" y="216"/>
                    <a:pt x="2343" y="216"/>
                  </a:cubicBezTo>
                  <a:cubicBezTo>
                    <a:pt x="2342" y="211"/>
                    <a:pt x="2347" y="211"/>
                    <a:pt x="2351" y="211"/>
                  </a:cubicBezTo>
                  <a:close/>
                  <a:moveTo>
                    <a:pt x="2321" y="202"/>
                  </a:moveTo>
                  <a:cubicBezTo>
                    <a:pt x="2322" y="203"/>
                    <a:pt x="2331" y="208"/>
                    <a:pt x="2332" y="202"/>
                  </a:cubicBezTo>
                  <a:cubicBezTo>
                    <a:pt x="2337" y="205"/>
                    <a:pt x="2329" y="210"/>
                    <a:pt x="2335" y="216"/>
                  </a:cubicBezTo>
                  <a:cubicBezTo>
                    <a:pt x="2332" y="216"/>
                    <a:pt x="2330" y="217"/>
                    <a:pt x="2329" y="218"/>
                  </a:cubicBezTo>
                  <a:cubicBezTo>
                    <a:pt x="2326" y="218"/>
                    <a:pt x="2326" y="211"/>
                    <a:pt x="2329" y="211"/>
                  </a:cubicBezTo>
                  <a:cubicBezTo>
                    <a:pt x="2328" y="207"/>
                    <a:pt x="2319" y="210"/>
                    <a:pt x="2321" y="202"/>
                  </a:cubicBezTo>
                  <a:close/>
                  <a:moveTo>
                    <a:pt x="2309" y="141"/>
                  </a:moveTo>
                  <a:cubicBezTo>
                    <a:pt x="2304" y="142"/>
                    <a:pt x="2303" y="138"/>
                    <a:pt x="2298" y="139"/>
                  </a:cubicBezTo>
                  <a:cubicBezTo>
                    <a:pt x="2297" y="135"/>
                    <a:pt x="2313" y="135"/>
                    <a:pt x="2309" y="141"/>
                  </a:cubicBezTo>
                  <a:close/>
                  <a:moveTo>
                    <a:pt x="2287" y="132"/>
                  </a:moveTo>
                  <a:cubicBezTo>
                    <a:pt x="2289" y="132"/>
                    <a:pt x="2292" y="132"/>
                    <a:pt x="2295" y="132"/>
                  </a:cubicBezTo>
                  <a:cubicBezTo>
                    <a:pt x="2293" y="134"/>
                    <a:pt x="2294" y="140"/>
                    <a:pt x="2292" y="142"/>
                  </a:cubicBezTo>
                  <a:cubicBezTo>
                    <a:pt x="2292" y="142"/>
                    <a:pt x="2290" y="141"/>
                    <a:pt x="2290" y="142"/>
                  </a:cubicBezTo>
                  <a:cubicBezTo>
                    <a:pt x="2288" y="146"/>
                    <a:pt x="2294" y="155"/>
                    <a:pt x="2284" y="153"/>
                  </a:cubicBezTo>
                  <a:cubicBezTo>
                    <a:pt x="2289" y="149"/>
                    <a:pt x="2286" y="140"/>
                    <a:pt x="2287" y="132"/>
                  </a:cubicBezTo>
                  <a:close/>
                  <a:moveTo>
                    <a:pt x="2291" y="252"/>
                  </a:moveTo>
                  <a:cubicBezTo>
                    <a:pt x="2291" y="254"/>
                    <a:pt x="2291" y="255"/>
                    <a:pt x="2292" y="257"/>
                  </a:cubicBezTo>
                  <a:cubicBezTo>
                    <a:pt x="2290" y="257"/>
                    <a:pt x="2288" y="257"/>
                    <a:pt x="2286" y="257"/>
                  </a:cubicBezTo>
                  <a:cubicBezTo>
                    <a:pt x="2286" y="255"/>
                    <a:pt x="2286" y="254"/>
                    <a:pt x="2286" y="252"/>
                  </a:cubicBezTo>
                  <a:cubicBezTo>
                    <a:pt x="2288" y="252"/>
                    <a:pt x="2290" y="252"/>
                    <a:pt x="2291" y="252"/>
                  </a:cubicBezTo>
                  <a:close/>
                  <a:moveTo>
                    <a:pt x="2285" y="210"/>
                  </a:moveTo>
                  <a:cubicBezTo>
                    <a:pt x="2297" y="211"/>
                    <a:pt x="2283" y="223"/>
                    <a:pt x="2285" y="210"/>
                  </a:cubicBezTo>
                  <a:close/>
                  <a:moveTo>
                    <a:pt x="2278" y="283"/>
                  </a:moveTo>
                  <a:cubicBezTo>
                    <a:pt x="2279" y="280"/>
                    <a:pt x="2284" y="280"/>
                    <a:pt x="2284" y="283"/>
                  </a:cubicBezTo>
                  <a:cubicBezTo>
                    <a:pt x="2287" y="282"/>
                    <a:pt x="2286" y="278"/>
                    <a:pt x="2286" y="276"/>
                  </a:cubicBezTo>
                  <a:cubicBezTo>
                    <a:pt x="2289" y="277"/>
                    <a:pt x="2291" y="278"/>
                    <a:pt x="2292" y="275"/>
                  </a:cubicBezTo>
                  <a:cubicBezTo>
                    <a:pt x="2299" y="281"/>
                    <a:pt x="2284" y="287"/>
                    <a:pt x="2278" y="283"/>
                  </a:cubicBezTo>
                  <a:close/>
                  <a:moveTo>
                    <a:pt x="2303" y="282"/>
                  </a:moveTo>
                  <a:cubicBezTo>
                    <a:pt x="2303" y="281"/>
                    <a:pt x="2303" y="279"/>
                    <a:pt x="2303" y="278"/>
                  </a:cubicBezTo>
                  <a:cubicBezTo>
                    <a:pt x="2305" y="278"/>
                    <a:pt x="2307" y="278"/>
                    <a:pt x="2308" y="278"/>
                  </a:cubicBezTo>
                  <a:cubicBezTo>
                    <a:pt x="2308" y="279"/>
                    <a:pt x="2308" y="281"/>
                    <a:pt x="2308" y="282"/>
                  </a:cubicBezTo>
                  <a:cubicBezTo>
                    <a:pt x="2307" y="282"/>
                    <a:pt x="2305" y="282"/>
                    <a:pt x="2303" y="282"/>
                  </a:cubicBezTo>
                  <a:close/>
                  <a:moveTo>
                    <a:pt x="2311" y="278"/>
                  </a:moveTo>
                  <a:cubicBezTo>
                    <a:pt x="2316" y="277"/>
                    <a:pt x="2316" y="280"/>
                    <a:pt x="2319" y="280"/>
                  </a:cubicBezTo>
                  <a:cubicBezTo>
                    <a:pt x="2321" y="284"/>
                    <a:pt x="2307" y="283"/>
                    <a:pt x="2311" y="278"/>
                  </a:cubicBezTo>
                  <a:close/>
                  <a:moveTo>
                    <a:pt x="2311" y="254"/>
                  </a:moveTo>
                  <a:cubicBezTo>
                    <a:pt x="2313" y="254"/>
                    <a:pt x="2313" y="253"/>
                    <a:pt x="2313" y="252"/>
                  </a:cubicBezTo>
                  <a:cubicBezTo>
                    <a:pt x="2319" y="251"/>
                    <a:pt x="2318" y="262"/>
                    <a:pt x="2311" y="259"/>
                  </a:cubicBezTo>
                  <a:cubicBezTo>
                    <a:pt x="2311" y="257"/>
                    <a:pt x="2311" y="256"/>
                    <a:pt x="2311" y="254"/>
                  </a:cubicBezTo>
                  <a:close/>
                  <a:moveTo>
                    <a:pt x="2318" y="221"/>
                  </a:moveTo>
                  <a:cubicBezTo>
                    <a:pt x="2313" y="224"/>
                    <a:pt x="2314" y="217"/>
                    <a:pt x="2313" y="216"/>
                  </a:cubicBezTo>
                  <a:cubicBezTo>
                    <a:pt x="2307" y="216"/>
                    <a:pt x="2307" y="222"/>
                    <a:pt x="2308" y="231"/>
                  </a:cubicBezTo>
                  <a:cubicBezTo>
                    <a:pt x="2310" y="231"/>
                    <a:pt x="2310" y="230"/>
                    <a:pt x="2310" y="228"/>
                  </a:cubicBezTo>
                  <a:cubicBezTo>
                    <a:pt x="2319" y="229"/>
                    <a:pt x="2300" y="236"/>
                    <a:pt x="2310" y="238"/>
                  </a:cubicBezTo>
                  <a:cubicBezTo>
                    <a:pt x="2310" y="241"/>
                    <a:pt x="2303" y="239"/>
                    <a:pt x="2302" y="238"/>
                  </a:cubicBezTo>
                  <a:cubicBezTo>
                    <a:pt x="2301" y="234"/>
                    <a:pt x="2305" y="233"/>
                    <a:pt x="2305" y="231"/>
                  </a:cubicBezTo>
                  <a:cubicBezTo>
                    <a:pt x="2304" y="225"/>
                    <a:pt x="2302" y="221"/>
                    <a:pt x="2305" y="219"/>
                  </a:cubicBezTo>
                  <a:cubicBezTo>
                    <a:pt x="2306" y="211"/>
                    <a:pt x="2291" y="218"/>
                    <a:pt x="2293" y="210"/>
                  </a:cubicBezTo>
                  <a:cubicBezTo>
                    <a:pt x="2300" y="204"/>
                    <a:pt x="2307" y="219"/>
                    <a:pt x="2302" y="205"/>
                  </a:cubicBezTo>
                  <a:cubicBezTo>
                    <a:pt x="2307" y="205"/>
                    <a:pt x="2313" y="205"/>
                    <a:pt x="2318" y="205"/>
                  </a:cubicBezTo>
                  <a:cubicBezTo>
                    <a:pt x="2317" y="212"/>
                    <a:pt x="2325" y="216"/>
                    <a:pt x="2318" y="221"/>
                  </a:cubicBezTo>
                  <a:close/>
                  <a:moveTo>
                    <a:pt x="2321" y="228"/>
                  </a:moveTo>
                  <a:cubicBezTo>
                    <a:pt x="2321" y="226"/>
                    <a:pt x="2321" y="225"/>
                    <a:pt x="2321" y="223"/>
                  </a:cubicBezTo>
                  <a:cubicBezTo>
                    <a:pt x="2323" y="223"/>
                    <a:pt x="2325" y="223"/>
                    <a:pt x="2327" y="223"/>
                  </a:cubicBezTo>
                  <a:cubicBezTo>
                    <a:pt x="2327" y="225"/>
                    <a:pt x="2327" y="226"/>
                    <a:pt x="2327" y="228"/>
                  </a:cubicBezTo>
                  <a:cubicBezTo>
                    <a:pt x="2325" y="228"/>
                    <a:pt x="2323" y="228"/>
                    <a:pt x="2321" y="228"/>
                  </a:cubicBezTo>
                  <a:close/>
                  <a:moveTo>
                    <a:pt x="2327" y="258"/>
                  </a:moveTo>
                  <a:cubicBezTo>
                    <a:pt x="2339" y="259"/>
                    <a:pt x="2325" y="272"/>
                    <a:pt x="2327" y="258"/>
                  </a:cubicBezTo>
                  <a:close/>
                  <a:moveTo>
                    <a:pt x="2338" y="249"/>
                  </a:moveTo>
                  <a:cubicBezTo>
                    <a:pt x="2336" y="248"/>
                    <a:pt x="2335" y="247"/>
                    <a:pt x="2333" y="247"/>
                  </a:cubicBezTo>
                  <a:cubicBezTo>
                    <a:pt x="2333" y="245"/>
                    <a:pt x="2335" y="244"/>
                    <a:pt x="2335" y="242"/>
                  </a:cubicBezTo>
                  <a:cubicBezTo>
                    <a:pt x="2337" y="242"/>
                    <a:pt x="2338" y="244"/>
                    <a:pt x="2341" y="244"/>
                  </a:cubicBezTo>
                  <a:cubicBezTo>
                    <a:pt x="2340" y="246"/>
                    <a:pt x="2338" y="246"/>
                    <a:pt x="2338" y="249"/>
                  </a:cubicBezTo>
                  <a:close/>
                  <a:moveTo>
                    <a:pt x="2341" y="239"/>
                  </a:moveTo>
                  <a:cubicBezTo>
                    <a:pt x="2342" y="236"/>
                    <a:pt x="2349" y="237"/>
                    <a:pt x="2346" y="230"/>
                  </a:cubicBezTo>
                  <a:cubicBezTo>
                    <a:pt x="2351" y="234"/>
                    <a:pt x="2351" y="238"/>
                    <a:pt x="2349" y="244"/>
                  </a:cubicBezTo>
                  <a:cubicBezTo>
                    <a:pt x="2346" y="242"/>
                    <a:pt x="2346" y="239"/>
                    <a:pt x="2341" y="239"/>
                  </a:cubicBezTo>
                  <a:close/>
                  <a:moveTo>
                    <a:pt x="2352" y="282"/>
                  </a:moveTo>
                  <a:cubicBezTo>
                    <a:pt x="2351" y="286"/>
                    <a:pt x="2347" y="283"/>
                    <a:pt x="2349" y="274"/>
                  </a:cubicBezTo>
                  <a:cubicBezTo>
                    <a:pt x="2351" y="268"/>
                    <a:pt x="2353" y="280"/>
                    <a:pt x="2352" y="282"/>
                  </a:cubicBezTo>
                  <a:close/>
                  <a:moveTo>
                    <a:pt x="2347" y="138"/>
                  </a:moveTo>
                  <a:cubicBezTo>
                    <a:pt x="2345" y="138"/>
                    <a:pt x="2344" y="139"/>
                    <a:pt x="2344" y="141"/>
                  </a:cubicBezTo>
                  <a:cubicBezTo>
                    <a:pt x="2334" y="139"/>
                    <a:pt x="2360" y="133"/>
                    <a:pt x="2344" y="134"/>
                  </a:cubicBezTo>
                  <a:cubicBezTo>
                    <a:pt x="2344" y="126"/>
                    <a:pt x="2351" y="134"/>
                    <a:pt x="2355" y="133"/>
                  </a:cubicBezTo>
                  <a:cubicBezTo>
                    <a:pt x="2358" y="133"/>
                    <a:pt x="2389" y="124"/>
                    <a:pt x="2377" y="140"/>
                  </a:cubicBezTo>
                  <a:cubicBezTo>
                    <a:pt x="2371" y="141"/>
                    <a:pt x="2374" y="133"/>
                    <a:pt x="2369" y="133"/>
                  </a:cubicBezTo>
                  <a:cubicBezTo>
                    <a:pt x="2365" y="138"/>
                    <a:pt x="2354" y="143"/>
                    <a:pt x="2347" y="138"/>
                  </a:cubicBezTo>
                  <a:close/>
                  <a:moveTo>
                    <a:pt x="2354" y="213"/>
                  </a:moveTo>
                  <a:cubicBezTo>
                    <a:pt x="2356" y="211"/>
                    <a:pt x="2358" y="207"/>
                    <a:pt x="2354" y="206"/>
                  </a:cubicBezTo>
                  <a:cubicBezTo>
                    <a:pt x="2355" y="201"/>
                    <a:pt x="2367" y="205"/>
                    <a:pt x="2373" y="204"/>
                  </a:cubicBezTo>
                  <a:cubicBezTo>
                    <a:pt x="2382" y="205"/>
                    <a:pt x="2368" y="207"/>
                    <a:pt x="2365" y="206"/>
                  </a:cubicBezTo>
                  <a:cubicBezTo>
                    <a:pt x="2358" y="205"/>
                    <a:pt x="2363" y="215"/>
                    <a:pt x="2354" y="213"/>
                  </a:cubicBezTo>
                  <a:close/>
                  <a:moveTo>
                    <a:pt x="2373" y="218"/>
                  </a:moveTo>
                  <a:cubicBezTo>
                    <a:pt x="2371" y="215"/>
                    <a:pt x="2363" y="217"/>
                    <a:pt x="2365" y="211"/>
                  </a:cubicBezTo>
                  <a:cubicBezTo>
                    <a:pt x="2371" y="210"/>
                    <a:pt x="2374" y="213"/>
                    <a:pt x="2373" y="218"/>
                  </a:cubicBezTo>
                  <a:close/>
                  <a:moveTo>
                    <a:pt x="2363" y="263"/>
                  </a:moveTo>
                  <a:cubicBezTo>
                    <a:pt x="2362" y="262"/>
                    <a:pt x="2357" y="267"/>
                    <a:pt x="2358" y="267"/>
                  </a:cubicBezTo>
                  <a:cubicBezTo>
                    <a:pt x="2351" y="265"/>
                    <a:pt x="2366" y="255"/>
                    <a:pt x="2366" y="265"/>
                  </a:cubicBezTo>
                  <a:cubicBezTo>
                    <a:pt x="2363" y="266"/>
                    <a:pt x="2364" y="263"/>
                    <a:pt x="2363" y="263"/>
                  </a:cubicBezTo>
                  <a:close/>
                  <a:moveTo>
                    <a:pt x="2374" y="255"/>
                  </a:moveTo>
                  <a:cubicBezTo>
                    <a:pt x="2366" y="252"/>
                    <a:pt x="2360" y="247"/>
                    <a:pt x="2368" y="241"/>
                  </a:cubicBezTo>
                  <a:cubicBezTo>
                    <a:pt x="2367" y="238"/>
                    <a:pt x="2363" y="239"/>
                    <a:pt x="2363" y="241"/>
                  </a:cubicBezTo>
                  <a:cubicBezTo>
                    <a:pt x="2356" y="240"/>
                    <a:pt x="2361" y="230"/>
                    <a:pt x="2368" y="232"/>
                  </a:cubicBezTo>
                  <a:cubicBezTo>
                    <a:pt x="2367" y="229"/>
                    <a:pt x="2363" y="230"/>
                    <a:pt x="2360" y="230"/>
                  </a:cubicBezTo>
                  <a:cubicBezTo>
                    <a:pt x="2360" y="225"/>
                    <a:pt x="2367" y="227"/>
                    <a:pt x="2365" y="220"/>
                  </a:cubicBezTo>
                  <a:cubicBezTo>
                    <a:pt x="2369" y="223"/>
                    <a:pt x="2371" y="232"/>
                    <a:pt x="2368" y="234"/>
                  </a:cubicBezTo>
                  <a:cubicBezTo>
                    <a:pt x="2366" y="238"/>
                    <a:pt x="2381" y="238"/>
                    <a:pt x="2379" y="234"/>
                  </a:cubicBezTo>
                  <a:cubicBezTo>
                    <a:pt x="2385" y="235"/>
                    <a:pt x="2374" y="244"/>
                    <a:pt x="2371" y="239"/>
                  </a:cubicBezTo>
                  <a:cubicBezTo>
                    <a:pt x="2370" y="243"/>
                    <a:pt x="2373" y="243"/>
                    <a:pt x="2376" y="244"/>
                  </a:cubicBezTo>
                  <a:cubicBezTo>
                    <a:pt x="2378" y="249"/>
                    <a:pt x="2371" y="249"/>
                    <a:pt x="2374" y="255"/>
                  </a:cubicBezTo>
                  <a:close/>
                  <a:moveTo>
                    <a:pt x="2377" y="283"/>
                  </a:moveTo>
                  <a:cubicBezTo>
                    <a:pt x="2375" y="283"/>
                    <a:pt x="2375" y="284"/>
                    <a:pt x="2374" y="286"/>
                  </a:cubicBezTo>
                  <a:cubicBezTo>
                    <a:pt x="2367" y="283"/>
                    <a:pt x="2381" y="279"/>
                    <a:pt x="2388" y="281"/>
                  </a:cubicBezTo>
                  <a:cubicBezTo>
                    <a:pt x="2388" y="283"/>
                    <a:pt x="2388" y="286"/>
                    <a:pt x="2388" y="288"/>
                  </a:cubicBezTo>
                  <a:cubicBezTo>
                    <a:pt x="2380" y="291"/>
                    <a:pt x="2381" y="284"/>
                    <a:pt x="2377" y="283"/>
                  </a:cubicBezTo>
                  <a:close/>
                  <a:moveTo>
                    <a:pt x="2381" y="218"/>
                  </a:moveTo>
                  <a:cubicBezTo>
                    <a:pt x="2378" y="217"/>
                    <a:pt x="2379" y="213"/>
                    <a:pt x="2376" y="213"/>
                  </a:cubicBezTo>
                  <a:cubicBezTo>
                    <a:pt x="2377" y="205"/>
                    <a:pt x="2383" y="215"/>
                    <a:pt x="2387" y="215"/>
                  </a:cubicBezTo>
                  <a:cubicBezTo>
                    <a:pt x="2387" y="215"/>
                    <a:pt x="2390" y="215"/>
                    <a:pt x="2390" y="215"/>
                  </a:cubicBezTo>
                  <a:cubicBezTo>
                    <a:pt x="2392" y="221"/>
                    <a:pt x="2379" y="212"/>
                    <a:pt x="2381" y="218"/>
                  </a:cubicBezTo>
                  <a:close/>
                  <a:moveTo>
                    <a:pt x="2409" y="224"/>
                  </a:moveTo>
                  <a:cubicBezTo>
                    <a:pt x="2413" y="225"/>
                    <a:pt x="2416" y="227"/>
                    <a:pt x="2420" y="229"/>
                  </a:cubicBezTo>
                  <a:cubicBezTo>
                    <a:pt x="2419" y="234"/>
                    <a:pt x="2407" y="229"/>
                    <a:pt x="2409" y="224"/>
                  </a:cubicBezTo>
                  <a:close/>
                  <a:moveTo>
                    <a:pt x="2425" y="217"/>
                  </a:moveTo>
                  <a:cubicBezTo>
                    <a:pt x="2426" y="211"/>
                    <a:pt x="2435" y="216"/>
                    <a:pt x="2436" y="217"/>
                  </a:cubicBezTo>
                  <a:cubicBezTo>
                    <a:pt x="2435" y="224"/>
                    <a:pt x="2430" y="214"/>
                    <a:pt x="2425" y="217"/>
                  </a:cubicBezTo>
                  <a:close/>
                  <a:moveTo>
                    <a:pt x="2436" y="212"/>
                  </a:moveTo>
                  <a:cubicBezTo>
                    <a:pt x="2437" y="211"/>
                    <a:pt x="2442" y="208"/>
                    <a:pt x="2444" y="209"/>
                  </a:cubicBezTo>
                  <a:cubicBezTo>
                    <a:pt x="2451" y="214"/>
                    <a:pt x="2433" y="220"/>
                    <a:pt x="2436" y="212"/>
                  </a:cubicBezTo>
                  <a:close/>
                  <a:moveTo>
                    <a:pt x="2453" y="259"/>
                  </a:moveTo>
                  <a:cubicBezTo>
                    <a:pt x="2451" y="259"/>
                    <a:pt x="2448" y="259"/>
                    <a:pt x="2445" y="259"/>
                  </a:cubicBezTo>
                  <a:cubicBezTo>
                    <a:pt x="2447" y="252"/>
                    <a:pt x="2449" y="256"/>
                    <a:pt x="2456" y="256"/>
                  </a:cubicBezTo>
                  <a:cubicBezTo>
                    <a:pt x="2456" y="260"/>
                    <a:pt x="2456" y="263"/>
                    <a:pt x="2459" y="263"/>
                  </a:cubicBezTo>
                  <a:cubicBezTo>
                    <a:pt x="2458" y="270"/>
                    <a:pt x="2450" y="263"/>
                    <a:pt x="2453" y="259"/>
                  </a:cubicBezTo>
                  <a:close/>
                  <a:moveTo>
                    <a:pt x="2464" y="237"/>
                  </a:moveTo>
                  <a:cubicBezTo>
                    <a:pt x="2460" y="238"/>
                    <a:pt x="2463" y="244"/>
                    <a:pt x="2459" y="244"/>
                  </a:cubicBezTo>
                  <a:cubicBezTo>
                    <a:pt x="2457" y="240"/>
                    <a:pt x="2460" y="238"/>
                    <a:pt x="2461" y="235"/>
                  </a:cubicBezTo>
                  <a:cubicBezTo>
                    <a:pt x="2466" y="234"/>
                    <a:pt x="2467" y="237"/>
                    <a:pt x="2464" y="237"/>
                  </a:cubicBezTo>
                  <a:close/>
                  <a:moveTo>
                    <a:pt x="2478" y="246"/>
                  </a:moveTo>
                  <a:cubicBezTo>
                    <a:pt x="2484" y="241"/>
                    <a:pt x="2475" y="239"/>
                    <a:pt x="2481" y="235"/>
                  </a:cubicBezTo>
                  <a:cubicBezTo>
                    <a:pt x="2485" y="234"/>
                    <a:pt x="2486" y="250"/>
                    <a:pt x="2478" y="246"/>
                  </a:cubicBezTo>
                  <a:close/>
                  <a:moveTo>
                    <a:pt x="2497" y="253"/>
                  </a:moveTo>
                  <a:cubicBezTo>
                    <a:pt x="2497" y="251"/>
                    <a:pt x="2501" y="251"/>
                    <a:pt x="2503" y="251"/>
                  </a:cubicBezTo>
                  <a:cubicBezTo>
                    <a:pt x="2505" y="251"/>
                    <a:pt x="2508" y="251"/>
                    <a:pt x="2511" y="251"/>
                  </a:cubicBezTo>
                  <a:cubicBezTo>
                    <a:pt x="2512" y="256"/>
                    <a:pt x="2501" y="252"/>
                    <a:pt x="2497" y="253"/>
                  </a:cubicBezTo>
                  <a:close/>
                  <a:moveTo>
                    <a:pt x="2503" y="248"/>
                  </a:moveTo>
                  <a:cubicBezTo>
                    <a:pt x="2503" y="245"/>
                    <a:pt x="2503" y="242"/>
                    <a:pt x="2503" y="239"/>
                  </a:cubicBezTo>
                  <a:cubicBezTo>
                    <a:pt x="2505" y="239"/>
                    <a:pt x="2505" y="242"/>
                    <a:pt x="2505" y="244"/>
                  </a:cubicBezTo>
                  <a:cubicBezTo>
                    <a:pt x="2509" y="244"/>
                    <a:pt x="2510" y="243"/>
                    <a:pt x="2511" y="241"/>
                  </a:cubicBezTo>
                  <a:cubicBezTo>
                    <a:pt x="2519" y="244"/>
                    <a:pt x="2507" y="249"/>
                    <a:pt x="2503" y="248"/>
                  </a:cubicBezTo>
                  <a:close/>
                  <a:moveTo>
                    <a:pt x="2517" y="269"/>
                  </a:moveTo>
                  <a:cubicBezTo>
                    <a:pt x="2512" y="275"/>
                    <a:pt x="2517" y="268"/>
                    <a:pt x="2517" y="265"/>
                  </a:cubicBezTo>
                  <a:cubicBezTo>
                    <a:pt x="2517" y="256"/>
                    <a:pt x="2524" y="271"/>
                    <a:pt x="2517" y="269"/>
                  </a:cubicBezTo>
                  <a:close/>
                  <a:moveTo>
                    <a:pt x="2535" y="241"/>
                  </a:moveTo>
                  <a:cubicBezTo>
                    <a:pt x="2533" y="237"/>
                    <a:pt x="2522" y="241"/>
                    <a:pt x="2524" y="234"/>
                  </a:cubicBezTo>
                  <a:cubicBezTo>
                    <a:pt x="2527" y="232"/>
                    <a:pt x="2532" y="231"/>
                    <a:pt x="2538" y="231"/>
                  </a:cubicBezTo>
                  <a:cubicBezTo>
                    <a:pt x="2538" y="235"/>
                    <a:pt x="2535" y="236"/>
                    <a:pt x="2535" y="241"/>
                  </a:cubicBezTo>
                  <a:close/>
                  <a:moveTo>
                    <a:pt x="2543" y="219"/>
                  </a:moveTo>
                  <a:cubicBezTo>
                    <a:pt x="2538" y="215"/>
                    <a:pt x="2538" y="221"/>
                    <a:pt x="2530" y="220"/>
                  </a:cubicBezTo>
                  <a:cubicBezTo>
                    <a:pt x="2526" y="217"/>
                    <a:pt x="2529" y="216"/>
                    <a:pt x="2530" y="213"/>
                  </a:cubicBezTo>
                  <a:cubicBezTo>
                    <a:pt x="2524" y="212"/>
                    <a:pt x="2521" y="215"/>
                    <a:pt x="2521" y="220"/>
                  </a:cubicBezTo>
                  <a:cubicBezTo>
                    <a:pt x="2511" y="215"/>
                    <a:pt x="2520" y="208"/>
                    <a:pt x="2529" y="208"/>
                  </a:cubicBezTo>
                  <a:cubicBezTo>
                    <a:pt x="2529" y="203"/>
                    <a:pt x="2521" y="208"/>
                    <a:pt x="2521" y="208"/>
                  </a:cubicBezTo>
                  <a:cubicBezTo>
                    <a:pt x="2518" y="208"/>
                    <a:pt x="2517" y="204"/>
                    <a:pt x="2513" y="203"/>
                  </a:cubicBezTo>
                  <a:cubicBezTo>
                    <a:pt x="2513" y="209"/>
                    <a:pt x="2518" y="209"/>
                    <a:pt x="2513" y="213"/>
                  </a:cubicBezTo>
                  <a:cubicBezTo>
                    <a:pt x="2511" y="215"/>
                    <a:pt x="2519" y="239"/>
                    <a:pt x="2508" y="236"/>
                  </a:cubicBezTo>
                  <a:cubicBezTo>
                    <a:pt x="2507" y="233"/>
                    <a:pt x="2510" y="232"/>
                    <a:pt x="2511" y="229"/>
                  </a:cubicBezTo>
                  <a:cubicBezTo>
                    <a:pt x="2508" y="225"/>
                    <a:pt x="2504" y="222"/>
                    <a:pt x="2499" y="220"/>
                  </a:cubicBezTo>
                  <a:cubicBezTo>
                    <a:pt x="2499" y="216"/>
                    <a:pt x="2501" y="211"/>
                    <a:pt x="2497" y="211"/>
                  </a:cubicBezTo>
                  <a:cubicBezTo>
                    <a:pt x="2493" y="211"/>
                    <a:pt x="2496" y="214"/>
                    <a:pt x="2497" y="213"/>
                  </a:cubicBezTo>
                  <a:cubicBezTo>
                    <a:pt x="2492" y="219"/>
                    <a:pt x="2486" y="214"/>
                    <a:pt x="2483" y="220"/>
                  </a:cubicBezTo>
                  <a:cubicBezTo>
                    <a:pt x="2481" y="219"/>
                    <a:pt x="2479" y="218"/>
                    <a:pt x="2475" y="218"/>
                  </a:cubicBezTo>
                  <a:cubicBezTo>
                    <a:pt x="2474" y="226"/>
                    <a:pt x="2487" y="222"/>
                    <a:pt x="2483" y="232"/>
                  </a:cubicBezTo>
                  <a:cubicBezTo>
                    <a:pt x="2479" y="233"/>
                    <a:pt x="2478" y="230"/>
                    <a:pt x="2478" y="228"/>
                  </a:cubicBezTo>
                  <a:cubicBezTo>
                    <a:pt x="2478" y="225"/>
                    <a:pt x="2473" y="227"/>
                    <a:pt x="2472" y="225"/>
                  </a:cubicBezTo>
                  <a:cubicBezTo>
                    <a:pt x="2472" y="225"/>
                    <a:pt x="2472" y="216"/>
                    <a:pt x="2469" y="218"/>
                  </a:cubicBezTo>
                  <a:cubicBezTo>
                    <a:pt x="2467" y="220"/>
                    <a:pt x="2464" y="221"/>
                    <a:pt x="2464" y="211"/>
                  </a:cubicBezTo>
                  <a:cubicBezTo>
                    <a:pt x="2459" y="214"/>
                    <a:pt x="2460" y="221"/>
                    <a:pt x="2450" y="219"/>
                  </a:cubicBezTo>
                  <a:cubicBezTo>
                    <a:pt x="2450" y="216"/>
                    <a:pt x="2449" y="214"/>
                    <a:pt x="2447" y="214"/>
                  </a:cubicBezTo>
                  <a:cubicBezTo>
                    <a:pt x="2446" y="210"/>
                    <a:pt x="2449" y="210"/>
                    <a:pt x="2453" y="209"/>
                  </a:cubicBezTo>
                  <a:cubicBezTo>
                    <a:pt x="2452" y="207"/>
                    <a:pt x="2447" y="208"/>
                    <a:pt x="2447" y="205"/>
                  </a:cubicBezTo>
                  <a:cubicBezTo>
                    <a:pt x="2436" y="206"/>
                    <a:pt x="2426" y="206"/>
                    <a:pt x="2414" y="205"/>
                  </a:cubicBezTo>
                  <a:cubicBezTo>
                    <a:pt x="2406" y="208"/>
                    <a:pt x="2418" y="211"/>
                    <a:pt x="2412" y="215"/>
                  </a:cubicBezTo>
                  <a:cubicBezTo>
                    <a:pt x="2408" y="215"/>
                    <a:pt x="2404" y="215"/>
                    <a:pt x="2401" y="215"/>
                  </a:cubicBezTo>
                  <a:cubicBezTo>
                    <a:pt x="2400" y="211"/>
                    <a:pt x="2403" y="211"/>
                    <a:pt x="2403" y="208"/>
                  </a:cubicBezTo>
                  <a:cubicBezTo>
                    <a:pt x="2400" y="201"/>
                    <a:pt x="2389" y="208"/>
                    <a:pt x="2384" y="208"/>
                  </a:cubicBezTo>
                  <a:cubicBezTo>
                    <a:pt x="2378" y="197"/>
                    <a:pt x="2422" y="207"/>
                    <a:pt x="2411" y="201"/>
                  </a:cubicBezTo>
                  <a:cubicBezTo>
                    <a:pt x="2412" y="198"/>
                    <a:pt x="2414" y="199"/>
                    <a:pt x="2414" y="200"/>
                  </a:cubicBezTo>
                  <a:cubicBezTo>
                    <a:pt x="2421" y="203"/>
                    <a:pt x="2431" y="203"/>
                    <a:pt x="2442" y="202"/>
                  </a:cubicBezTo>
                  <a:cubicBezTo>
                    <a:pt x="2444" y="201"/>
                    <a:pt x="2446" y="200"/>
                    <a:pt x="2450" y="200"/>
                  </a:cubicBezTo>
                  <a:cubicBezTo>
                    <a:pt x="2450" y="198"/>
                    <a:pt x="2450" y="195"/>
                    <a:pt x="2450" y="193"/>
                  </a:cubicBezTo>
                  <a:cubicBezTo>
                    <a:pt x="2456" y="187"/>
                    <a:pt x="2447" y="202"/>
                    <a:pt x="2458" y="202"/>
                  </a:cubicBezTo>
                  <a:cubicBezTo>
                    <a:pt x="2463" y="202"/>
                    <a:pt x="2468" y="203"/>
                    <a:pt x="2463" y="204"/>
                  </a:cubicBezTo>
                  <a:cubicBezTo>
                    <a:pt x="2460" y="206"/>
                    <a:pt x="2455" y="203"/>
                    <a:pt x="2455" y="207"/>
                  </a:cubicBezTo>
                  <a:cubicBezTo>
                    <a:pt x="2453" y="211"/>
                    <a:pt x="2468" y="210"/>
                    <a:pt x="2466" y="207"/>
                  </a:cubicBezTo>
                  <a:cubicBezTo>
                    <a:pt x="2469" y="205"/>
                    <a:pt x="2469" y="201"/>
                    <a:pt x="2474" y="202"/>
                  </a:cubicBezTo>
                  <a:cubicBezTo>
                    <a:pt x="2474" y="198"/>
                    <a:pt x="2477" y="198"/>
                    <a:pt x="2477" y="195"/>
                  </a:cubicBezTo>
                  <a:cubicBezTo>
                    <a:pt x="2481" y="195"/>
                    <a:pt x="2478" y="202"/>
                    <a:pt x="2483" y="202"/>
                  </a:cubicBezTo>
                  <a:cubicBezTo>
                    <a:pt x="2490" y="202"/>
                    <a:pt x="2492" y="198"/>
                    <a:pt x="2491" y="192"/>
                  </a:cubicBezTo>
                  <a:cubicBezTo>
                    <a:pt x="2499" y="194"/>
                    <a:pt x="2494" y="196"/>
                    <a:pt x="2494" y="201"/>
                  </a:cubicBezTo>
                  <a:cubicBezTo>
                    <a:pt x="2500" y="202"/>
                    <a:pt x="2504" y="201"/>
                    <a:pt x="2505" y="197"/>
                  </a:cubicBezTo>
                  <a:cubicBezTo>
                    <a:pt x="2508" y="196"/>
                    <a:pt x="2506" y="200"/>
                    <a:pt x="2507" y="201"/>
                  </a:cubicBezTo>
                  <a:cubicBezTo>
                    <a:pt x="2511" y="203"/>
                    <a:pt x="2519" y="200"/>
                    <a:pt x="2524" y="201"/>
                  </a:cubicBezTo>
                  <a:cubicBezTo>
                    <a:pt x="2527" y="200"/>
                    <a:pt x="2529" y="198"/>
                    <a:pt x="2529" y="194"/>
                  </a:cubicBezTo>
                  <a:cubicBezTo>
                    <a:pt x="2540" y="192"/>
                    <a:pt x="2540" y="192"/>
                    <a:pt x="2551" y="193"/>
                  </a:cubicBezTo>
                  <a:cubicBezTo>
                    <a:pt x="2553" y="201"/>
                    <a:pt x="2548" y="202"/>
                    <a:pt x="2549" y="208"/>
                  </a:cubicBezTo>
                  <a:cubicBezTo>
                    <a:pt x="2546" y="206"/>
                    <a:pt x="2542" y="205"/>
                    <a:pt x="2538" y="205"/>
                  </a:cubicBezTo>
                  <a:cubicBezTo>
                    <a:pt x="2537" y="212"/>
                    <a:pt x="2544" y="213"/>
                    <a:pt x="2543" y="219"/>
                  </a:cubicBezTo>
                  <a:close/>
                  <a:moveTo>
                    <a:pt x="2549" y="212"/>
                  </a:moveTo>
                  <a:cubicBezTo>
                    <a:pt x="2550" y="209"/>
                    <a:pt x="2552" y="213"/>
                    <a:pt x="2557" y="212"/>
                  </a:cubicBezTo>
                  <a:cubicBezTo>
                    <a:pt x="2559" y="219"/>
                    <a:pt x="2547" y="215"/>
                    <a:pt x="2552" y="224"/>
                  </a:cubicBezTo>
                  <a:cubicBezTo>
                    <a:pt x="2539" y="223"/>
                    <a:pt x="2556" y="214"/>
                    <a:pt x="2549" y="212"/>
                  </a:cubicBezTo>
                  <a:close/>
                  <a:moveTo>
                    <a:pt x="2549" y="238"/>
                  </a:moveTo>
                  <a:cubicBezTo>
                    <a:pt x="2548" y="233"/>
                    <a:pt x="2554" y="235"/>
                    <a:pt x="2554" y="231"/>
                  </a:cubicBezTo>
                  <a:cubicBezTo>
                    <a:pt x="2558" y="231"/>
                    <a:pt x="2557" y="235"/>
                    <a:pt x="2557" y="238"/>
                  </a:cubicBezTo>
                  <a:cubicBezTo>
                    <a:pt x="2555" y="238"/>
                    <a:pt x="2552" y="238"/>
                    <a:pt x="2549" y="238"/>
                  </a:cubicBezTo>
                  <a:close/>
                  <a:moveTo>
                    <a:pt x="2553" y="146"/>
                  </a:moveTo>
                  <a:cubicBezTo>
                    <a:pt x="2555" y="146"/>
                    <a:pt x="2557" y="146"/>
                    <a:pt x="2559" y="146"/>
                  </a:cubicBezTo>
                  <a:cubicBezTo>
                    <a:pt x="2559" y="153"/>
                    <a:pt x="2538" y="146"/>
                    <a:pt x="2553" y="146"/>
                  </a:cubicBezTo>
                  <a:close/>
                  <a:moveTo>
                    <a:pt x="2570" y="167"/>
                  </a:moveTo>
                  <a:cubicBezTo>
                    <a:pt x="2567" y="175"/>
                    <a:pt x="2562" y="165"/>
                    <a:pt x="2564" y="160"/>
                  </a:cubicBezTo>
                  <a:cubicBezTo>
                    <a:pt x="2568" y="161"/>
                    <a:pt x="2565" y="167"/>
                    <a:pt x="2570" y="167"/>
                  </a:cubicBezTo>
                  <a:close/>
                  <a:moveTo>
                    <a:pt x="2567" y="137"/>
                  </a:moveTo>
                  <a:cubicBezTo>
                    <a:pt x="2570" y="138"/>
                    <a:pt x="2572" y="140"/>
                    <a:pt x="2572" y="144"/>
                  </a:cubicBezTo>
                  <a:cubicBezTo>
                    <a:pt x="2569" y="143"/>
                    <a:pt x="2566" y="141"/>
                    <a:pt x="2567" y="137"/>
                  </a:cubicBezTo>
                  <a:close/>
                  <a:moveTo>
                    <a:pt x="2568" y="191"/>
                  </a:moveTo>
                  <a:cubicBezTo>
                    <a:pt x="2570" y="191"/>
                    <a:pt x="2573" y="191"/>
                    <a:pt x="2576" y="191"/>
                  </a:cubicBezTo>
                  <a:cubicBezTo>
                    <a:pt x="2575" y="196"/>
                    <a:pt x="2564" y="192"/>
                    <a:pt x="2559" y="193"/>
                  </a:cubicBezTo>
                  <a:cubicBezTo>
                    <a:pt x="2560" y="190"/>
                    <a:pt x="2564" y="191"/>
                    <a:pt x="2568" y="191"/>
                  </a:cubicBezTo>
                  <a:close/>
                  <a:moveTo>
                    <a:pt x="2559" y="200"/>
                  </a:moveTo>
                  <a:cubicBezTo>
                    <a:pt x="2562" y="205"/>
                    <a:pt x="2573" y="201"/>
                    <a:pt x="2565" y="198"/>
                  </a:cubicBezTo>
                  <a:cubicBezTo>
                    <a:pt x="2567" y="194"/>
                    <a:pt x="2569" y="198"/>
                    <a:pt x="2576" y="195"/>
                  </a:cubicBezTo>
                  <a:cubicBezTo>
                    <a:pt x="2576" y="199"/>
                    <a:pt x="2564" y="203"/>
                    <a:pt x="2576" y="202"/>
                  </a:cubicBezTo>
                  <a:cubicBezTo>
                    <a:pt x="2586" y="207"/>
                    <a:pt x="2561" y="202"/>
                    <a:pt x="2562" y="207"/>
                  </a:cubicBezTo>
                  <a:cubicBezTo>
                    <a:pt x="2560" y="208"/>
                    <a:pt x="2560" y="206"/>
                    <a:pt x="2560" y="205"/>
                  </a:cubicBezTo>
                  <a:cubicBezTo>
                    <a:pt x="2560" y="203"/>
                    <a:pt x="2560" y="202"/>
                    <a:pt x="2559" y="200"/>
                  </a:cubicBezTo>
                  <a:close/>
                  <a:moveTo>
                    <a:pt x="2595" y="219"/>
                  </a:moveTo>
                  <a:cubicBezTo>
                    <a:pt x="2593" y="223"/>
                    <a:pt x="2594" y="216"/>
                    <a:pt x="2590" y="216"/>
                  </a:cubicBezTo>
                  <a:cubicBezTo>
                    <a:pt x="2587" y="216"/>
                    <a:pt x="2585" y="212"/>
                    <a:pt x="2584" y="207"/>
                  </a:cubicBezTo>
                  <a:cubicBezTo>
                    <a:pt x="2588" y="207"/>
                    <a:pt x="2592" y="207"/>
                    <a:pt x="2595" y="207"/>
                  </a:cubicBezTo>
                  <a:cubicBezTo>
                    <a:pt x="2597" y="214"/>
                    <a:pt x="2590" y="214"/>
                    <a:pt x="2595" y="219"/>
                  </a:cubicBezTo>
                  <a:close/>
                  <a:moveTo>
                    <a:pt x="2591" y="263"/>
                  </a:moveTo>
                  <a:cubicBezTo>
                    <a:pt x="2589" y="268"/>
                    <a:pt x="2586" y="265"/>
                    <a:pt x="2588" y="256"/>
                  </a:cubicBezTo>
                  <a:cubicBezTo>
                    <a:pt x="2590" y="250"/>
                    <a:pt x="2591" y="262"/>
                    <a:pt x="2591" y="263"/>
                  </a:cubicBezTo>
                  <a:close/>
                  <a:moveTo>
                    <a:pt x="2582" y="230"/>
                  </a:moveTo>
                  <a:cubicBezTo>
                    <a:pt x="2594" y="232"/>
                    <a:pt x="2580" y="245"/>
                    <a:pt x="2582" y="230"/>
                  </a:cubicBezTo>
                  <a:close/>
                  <a:moveTo>
                    <a:pt x="2571" y="228"/>
                  </a:moveTo>
                  <a:cubicBezTo>
                    <a:pt x="2572" y="226"/>
                    <a:pt x="2573" y="224"/>
                    <a:pt x="2576" y="224"/>
                  </a:cubicBezTo>
                  <a:cubicBezTo>
                    <a:pt x="2575" y="220"/>
                    <a:pt x="2568" y="222"/>
                    <a:pt x="2571" y="214"/>
                  </a:cubicBezTo>
                  <a:cubicBezTo>
                    <a:pt x="2579" y="214"/>
                    <a:pt x="2580" y="220"/>
                    <a:pt x="2582" y="226"/>
                  </a:cubicBezTo>
                  <a:cubicBezTo>
                    <a:pt x="2579" y="228"/>
                    <a:pt x="2576" y="228"/>
                    <a:pt x="2571" y="228"/>
                  </a:cubicBezTo>
                  <a:close/>
                  <a:moveTo>
                    <a:pt x="2560" y="221"/>
                  </a:moveTo>
                  <a:cubicBezTo>
                    <a:pt x="2560" y="219"/>
                    <a:pt x="2560" y="217"/>
                    <a:pt x="2560" y="214"/>
                  </a:cubicBezTo>
                  <a:cubicBezTo>
                    <a:pt x="2562" y="214"/>
                    <a:pt x="2565" y="214"/>
                    <a:pt x="2568" y="214"/>
                  </a:cubicBezTo>
                  <a:cubicBezTo>
                    <a:pt x="2565" y="217"/>
                    <a:pt x="2567" y="223"/>
                    <a:pt x="2560" y="221"/>
                  </a:cubicBezTo>
                  <a:close/>
                  <a:moveTo>
                    <a:pt x="2568" y="231"/>
                  </a:moveTo>
                  <a:cubicBezTo>
                    <a:pt x="2578" y="230"/>
                    <a:pt x="2572" y="243"/>
                    <a:pt x="2577" y="247"/>
                  </a:cubicBezTo>
                  <a:cubicBezTo>
                    <a:pt x="2566" y="249"/>
                    <a:pt x="2569" y="238"/>
                    <a:pt x="2568" y="231"/>
                  </a:cubicBezTo>
                  <a:close/>
                  <a:moveTo>
                    <a:pt x="2569" y="254"/>
                  </a:moveTo>
                  <a:cubicBezTo>
                    <a:pt x="2568" y="251"/>
                    <a:pt x="2576" y="246"/>
                    <a:pt x="2577" y="252"/>
                  </a:cubicBezTo>
                  <a:cubicBezTo>
                    <a:pt x="2576" y="254"/>
                    <a:pt x="2578" y="254"/>
                    <a:pt x="2580" y="254"/>
                  </a:cubicBezTo>
                  <a:cubicBezTo>
                    <a:pt x="2578" y="261"/>
                    <a:pt x="2574" y="252"/>
                    <a:pt x="2569" y="254"/>
                  </a:cubicBezTo>
                  <a:close/>
                  <a:moveTo>
                    <a:pt x="2579" y="242"/>
                  </a:moveTo>
                  <a:cubicBezTo>
                    <a:pt x="2578" y="238"/>
                    <a:pt x="2592" y="239"/>
                    <a:pt x="2588" y="244"/>
                  </a:cubicBezTo>
                  <a:cubicBezTo>
                    <a:pt x="2586" y="245"/>
                    <a:pt x="2584" y="245"/>
                    <a:pt x="2582" y="245"/>
                  </a:cubicBezTo>
                  <a:cubicBezTo>
                    <a:pt x="2583" y="243"/>
                    <a:pt x="2581" y="242"/>
                    <a:pt x="2579" y="242"/>
                  </a:cubicBezTo>
                  <a:close/>
                  <a:moveTo>
                    <a:pt x="2585" y="275"/>
                  </a:moveTo>
                  <a:cubicBezTo>
                    <a:pt x="2586" y="269"/>
                    <a:pt x="2596" y="271"/>
                    <a:pt x="2596" y="266"/>
                  </a:cubicBezTo>
                  <a:cubicBezTo>
                    <a:pt x="2603" y="268"/>
                    <a:pt x="2595" y="278"/>
                    <a:pt x="2585" y="275"/>
                  </a:cubicBezTo>
                  <a:close/>
                  <a:moveTo>
                    <a:pt x="2631" y="232"/>
                  </a:moveTo>
                  <a:cubicBezTo>
                    <a:pt x="2638" y="234"/>
                    <a:pt x="2643" y="237"/>
                    <a:pt x="2643" y="246"/>
                  </a:cubicBezTo>
                  <a:cubicBezTo>
                    <a:pt x="2637" y="247"/>
                    <a:pt x="2639" y="243"/>
                    <a:pt x="2637" y="241"/>
                  </a:cubicBezTo>
                  <a:cubicBezTo>
                    <a:pt x="2635" y="239"/>
                    <a:pt x="2630" y="235"/>
                    <a:pt x="2631" y="232"/>
                  </a:cubicBezTo>
                  <a:close/>
                  <a:moveTo>
                    <a:pt x="2613" y="263"/>
                  </a:moveTo>
                  <a:cubicBezTo>
                    <a:pt x="2615" y="262"/>
                    <a:pt x="2622" y="254"/>
                    <a:pt x="2615" y="253"/>
                  </a:cubicBezTo>
                  <a:cubicBezTo>
                    <a:pt x="2616" y="247"/>
                    <a:pt x="2624" y="253"/>
                    <a:pt x="2621" y="258"/>
                  </a:cubicBezTo>
                  <a:cubicBezTo>
                    <a:pt x="2630" y="261"/>
                    <a:pt x="2623" y="250"/>
                    <a:pt x="2632" y="253"/>
                  </a:cubicBezTo>
                  <a:cubicBezTo>
                    <a:pt x="2632" y="255"/>
                    <a:pt x="2631" y="255"/>
                    <a:pt x="2629" y="255"/>
                  </a:cubicBezTo>
                  <a:cubicBezTo>
                    <a:pt x="2629" y="262"/>
                    <a:pt x="2633" y="260"/>
                    <a:pt x="2629" y="267"/>
                  </a:cubicBezTo>
                  <a:cubicBezTo>
                    <a:pt x="2628" y="270"/>
                    <a:pt x="2629" y="272"/>
                    <a:pt x="2624" y="272"/>
                  </a:cubicBezTo>
                  <a:cubicBezTo>
                    <a:pt x="2621" y="265"/>
                    <a:pt x="2628" y="266"/>
                    <a:pt x="2626" y="260"/>
                  </a:cubicBezTo>
                  <a:cubicBezTo>
                    <a:pt x="2620" y="259"/>
                    <a:pt x="2621" y="264"/>
                    <a:pt x="2621" y="267"/>
                  </a:cubicBezTo>
                  <a:cubicBezTo>
                    <a:pt x="2611" y="266"/>
                    <a:pt x="2598" y="263"/>
                    <a:pt x="2604" y="254"/>
                  </a:cubicBezTo>
                  <a:cubicBezTo>
                    <a:pt x="2600" y="253"/>
                    <a:pt x="2599" y="255"/>
                    <a:pt x="2599" y="258"/>
                  </a:cubicBezTo>
                  <a:cubicBezTo>
                    <a:pt x="2591" y="257"/>
                    <a:pt x="2601" y="253"/>
                    <a:pt x="2599" y="249"/>
                  </a:cubicBezTo>
                  <a:cubicBezTo>
                    <a:pt x="2604" y="251"/>
                    <a:pt x="2608" y="253"/>
                    <a:pt x="2607" y="261"/>
                  </a:cubicBezTo>
                  <a:cubicBezTo>
                    <a:pt x="2610" y="260"/>
                    <a:pt x="2612" y="261"/>
                    <a:pt x="2613" y="263"/>
                  </a:cubicBezTo>
                  <a:close/>
                  <a:moveTo>
                    <a:pt x="2607" y="232"/>
                  </a:moveTo>
                  <a:cubicBezTo>
                    <a:pt x="2605" y="239"/>
                    <a:pt x="2611" y="238"/>
                    <a:pt x="2610" y="244"/>
                  </a:cubicBezTo>
                  <a:cubicBezTo>
                    <a:pt x="2607" y="244"/>
                    <a:pt x="2604" y="244"/>
                    <a:pt x="2601" y="244"/>
                  </a:cubicBezTo>
                  <a:cubicBezTo>
                    <a:pt x="2601" y="240"/>
                    <a:pt x="2605" y="239"/>
                    <a:pt x="2604" y="235"/>
                  </a:cubicBezTo>
                  <a:cubicBezTo>
                    <a:pt x="2601" y="236"/>
                    <a:pt x="2598" y="238"/>
                    <a:pt x="2599" y="242"/>
                  </a:cubicBezTo>
                  <a:cubicBezTo>
                    <a:pt x="2594" y="240"/>
                    <a:pt x="2594" y="234"/>
                    <a:pt x="2593" y="230"/>
                  </a:cubicBezTo>
                  <a:cubicBezTo>
                    <a:pt x="2596" y="232"/>
                    <a:pt x="2600" y="233"/>
                    <a:pt x="2607" y="232"/>
                  </a:cubicBezTo>
                  <a:close/>
                  <a:moveTo>
                    <a:pt x="2584" y="198"/>
                  </a:moveTo>
                  <a:cubicBezTo>
                    <a:pt x="2586" y="194"/>
                    <a:pt x="2591" y="196"/>
                    <a:pt x="2592" y="197"/>
                  </a:cubicBezTo>
                  <a:cubicBezTo>
                    <a:pt x="2593" y="198"/>
                    <a:pt x="2597" y="197"/>
                    <a:pt x="2598" y="197"/>
                  </a:cubicBezTo>
                  <a:cubicBezTo>
                    <a:pt x="2599" y="198"/>
                    <a:pt x="2598" y="204"/>
                    <a:pt x="2603" y="202"/>
                  </a:cubicBezTo>
                  <a:cubicBezTo>
                    <a:pt x="2596" y="210"/>
                    <a:pt x="2590" y="198"/>
                    <a:pt x="2584" y="198"/>
                  </a:cubicBezTo>
                  <a:close/>
                  <a:moveTo>
                    <a:pt x="2586" y="146"/>
                  </a:moveTo>
                  <a:cubicBezTo>
                    <a:pt x="2591" y="147"/>
                    <a:pt x="2598" y="146"/>
                    <a:pt x="2597" y="153"/>
                  </a:cubicBezTo>
                  <a:cubicBezTo>
                    <a:pt x="2591" y="149"/>
                    <a:pt x="2594" y="153"/>
                    <a:pt x="2586" y="153"/>
                  </a:cubicBezTo>
                  <a:cubicBezTo>
                    <a:pt x="2586" y="151"/>
                    <a:pt x="2586" y="148"/>
                    <a:pt x="2586" y="146"/>
                  </a:cubicBezTo>
                  <a:close/>
                  <a:moveTo>
                    <a:pt x="2625" y="171"/>
                  </a:moveTo>
                  <a:cubicBezTo>
                    <a:pt x="2625" y="167"/>
                    <a:pt x="2625" y="163"/>
                    <a:pt x="2625" y="159"/>
                  </a:cubicBezTo>
                  <a:cubicBezTo>
                    <a:pt x="2633" y="155"/>
                    <a:pt x="2633" y="174"/>
                    <a:pt x="2625" y="171"/>
                  </a:cubicBezTo>
                  <a:close/>
                  <a:moveTo>
                    <a:pt x="2639" y="182"/>
                  </a:moveTo>
                  <a:cubicBezTo>
                    <a:pt x="2631" y="179"/>
                    <a:pt x="2636" y="177"/>
                    <a:pt x="2633" y="168"/>
                  </a:cubicBezTo>
                  <a:cubicBezTo>
                    <a:pt x="2636" y="168"/>
                    <a:pt x="2638" y="168"/>
                    <a:pt x="2641" y="168"/>
                  </a:cubicBezTo>
                  <a:cubicBezTo>
                    <a:pt x="2638" y="171"/>
                    <a:pt x="2638" y="177"/>
                    <a:pt x="2639" y="182"/>
                  </a:cubicBezTo>
                  <a:close/>
                  <a:moveTo>
                    <a:pt x="2655" y="173"/>
                  </a:moveTo>
                  <a:cubicBezTo>
                    <a:pt x="2662" y="173"/>
                    <a:pt x="2656" y="181"/>
                    <a:pt x="2655" y="182"/>
                  </a:cubicBezTo>
                  <a:cubicBezTo>
                    <a:pt x="2647" y="181"/>
                    <a:pt x="2658" y="177"/>
                    <a:pt x="2655" y="173"/>
                  </a:cubicBezTo>
                  <a:close/>
                  <a:moveTo>
                    <a:pt x="2663" y="189"/>
                  </a:moveTo>
                  <a:cubicBezTo>
                    <a:pt x="2661" y="187"/>
                    <a:pt x="2657" y="187"/>
                    <a:pt x="2652" y="187"/>
                  </a:cubicBezTo>
                  <a:cubicBezTo>
                    <a:pt x="2652" y="183"/>
                    <a:pt x="2668" y="182"/>
                    <a:pt x="2663" y="189"/>
                  </a:cubicBezTo>
                  <a:close/>
                  <a:moveTo>
                    <a:pt x="2660" y="154"/>
                  </a:moveTo>
                  <a:cubicBezTo>
                    <a:pt x="2656" y="157"/>
                    <a:pt x="2653" y="157"/>
                    <a:pt x="2649" y="154"/>
                  </a:cubicBezTo>
                  <a:cubicBezTo>
                    <a:pt x="2651" y="146"/>
                    <a:pt x="2656" y="154"/>
                    <a:pt x="2666" y="151"/>
                  </a:cubicBezTo>
                  <a:cubicBezTo>
                    <a:pt x="2668" y="150"/>
                    <a:pt x="2668" y="146"/>
                    <a:pt x="2674" y="147"/>
                  </a:cubicBezTo>
                  <a:cubicBezTo>
                    <a:pt x="2675" y="151"/>
                    <a:pt x="2672" y="151"/>
                    <a:pt x="2668" y="151"/>
                  </a:cubicBezTo>
                  <a:cubicBezTo>
                    <a:pt x="2668" y="154"/>
                    <a:pt x="2669" y="156"/>
                    <a:pt x="2671" y="156"/>
                  </a:cubicBezTo>
                  <a:cubicBezTo>
                    <a:pt x="2671" y="162"/>
                    <a:pt x="2661" y="156"/>
                    <a:pt x="2660" y="154"/>
                  </a:cubicBezTo>
                  <a:close/>
                  <a:moveTo>
                    <a:pt x="2669" y="168"/>
                  </a:moveTo>
                  <a:cubicBezTo>
                    <a:pt x="2669" y="166"/>
                    <a:pt x="2669" y="165"/>
                    <a:pt x="2669" y="163"/>
                  </a:cubicBezTo>
                  <a:cubicBezTo>
                    <a:pt x="2670" y="163"/>
                    <a:pt x="2672" y="163"/>
                    <a:pt x="2674" y="163"/>
                  </a:cubicBezTo>
                  <a:cubicBezTo>
                    <a:pt x="2674" y="165"/>
                    <a:pt x="2674" y="166"/>
                    <a:pt x="2674" y="168"/>
                  </a:cubicBezTo>
                  <a:cubicBezTo>
                    <a:pt x="2672" y="168"/>
                    <a:pt x="2670" y="168"/>
                    <a:pt x="2669" y="168"/>
                  </a:cubicBezTo>
                  <a:close/>
                  <a:moveTo>
                    <a:pt x="2685" y="184"/>
                  </a:moveTo>
                  <a:cubicBezTo>
                    <a:pt x="2679" y="185"/>
                    <a:pt x="2681" y="180"/>
                    <a:pt x="2677" y="179"/>
                  </a:cubicBezTo>
                  <a:cubicBezTo>
                    <a:pt x="2678" y="174"/>
                    <a:pt x="2688" y="179"/>
                    <a:pt x="2685" y="184"/>
                  </a:cubicBezTo>
                  <a:close/>
                  <a:moveTo>
                    <a:pt x="2682" y="135"/>
                  </a:moveTo>
                  <a:cubicBezTo>
                    <a:pt x="2682" y="141"/>
                    <a:pt x="2671" y="138"/>
                    <a:pt x="2671" y="144"/>
                  </a:cubicBezTo>
                  <a:cubicBezTo>
                    <a:pt x="2669" y="142"/>
                    <a:pt x="2661" y="135"/>
                    <a:pt x="2663" y="147"/>
                  </a:cubicBezTo>
                  <a:cubicBezTo>
                    <a:pt x="2659" y="148"/>
                    <a:pt x="2661" y="140"/>
                    <a:pt x="2660" y="140"/>
                  </a:cubicBezTo>
                  <a:cubicBezTo>
                    <a:pt x="2657" y="139"/>
                    <a:pt x="2654" y="144"/>
                    <a:pt x="2649" y="140"/>
                  </a:cubicBezTo>
                  <a:cubicBezTo>
                    <a:pt x="2647" y="139"/>
                    <a:pt x="2630" y="144"/>
                    <a:pt x="2632" y="136"/>
                  </a:cubicBezTo>
                  <a:cubicBezTo>
                    <a:pt x="2628" y="135"/>
                    <a:pt x="2627" y="137"/>
                    <a:pt x="2627" y="140"/>
                  </a:cubicBezTo>
                  <a:cubicBezTo>
                    <a:pt x="2620" y="142"/>
                    <a:pt x="2621" y="136"/>
                    <a:pt x="2616" y="136"/>
                  </a:cubicBezTo>
                  <a:cubicBezTo>
                    <a:pt x="2613" y="137"/>
                    <a:pt x="2614" y="141"/>
                    <a:pt x="2610" y="141"/>
                  </a:cubicBezTo>
                  <a:cubicBezTo>
                    <a:pt x="2606" y="142"/>
                    <a:pt x="2605" y="139"/>
                    <a:pt x="2605" y="136"/>
                  </a:cubicBezTo>
                  <a:cubicBezTo>
                    <a:pt x="2593" y="134"/>
                    <a:pt x="2592" y="141"/>
                    <a:pt x="2583" y="141"/>
                  </a:cubicBezTo>
                  <a:cubicBezTo>
                    <a:pt x="2583" y="139"/>
                    <a:pt x="2583" y="136"/>
                    <a:pt x="2583" y="134"/>
                  </a:cubicBezTo>
                  <a:cubicBezTo>
                    <a:pt x="2573" y="133"/>
                    <a:pt x="2581" y="141"/>
                    <a:pt x="2572" y="137"/>
                  </a:cubicBezTo>
                  <a:cubicBezTo>
                    <a:pt x="2572" y="137"/>
                    <a:pt x="2568" y="134"/>
                    <a:pt x="2569" y="134"/>
                  </a:cubicBezTo>
                  <a:cubicBezTo>
                    <a:pt x="2568" y="134"/>
                    <a:pt x="2561" y="140"/>
                    <a:pt x="2561" y="134"/>
                  </a:cubicBezTo>
                  <a:cubicBezTo>
                    <a:pt x="2558" y="135"/>
                    <a:pt x="2560" y="137"/>
                    <a:pt x="2561" y="137"/>
                  </a:cubicBezTo>
                  <a:cubicBezTo>
                    <a:pt x="2562" y="142"/>
                    <a:pt x="2551" y="138"/>
                    <a:pt x="2547" y="139"/>
                  </a:cubicBezTo>
                  <a:cubicBezTo>
                    <a:pt x="2547" y="137"/>
                    <a:pt x="2551" y="138"/>
                    <a:pt x="2553" y="137"/>
                  </a:cubicBezTo>
                  <a:cubicBezTo>
                    <a:pt x="2561" y="132"/>
                    <a:pt x="2569" y="128"/>
                    <a:pt x="2577" y="127"/>
                  </a:cubicBezTo>
                  <a:cubicBezTo>
                    <a:pt x="2578" y="127"/>
                    <a:pt x="2577" y="132"/>
                    <a:pt x="2578" y="132"/>
                  </a:cubicBezTo>
                  <a:cubicBezTo>
                    <a:pt x="2580" y="134"/>
                    <a:pt x="2586" y="128"/>
                    <a:pt x="2586" y="127"/>
                  </a:cubicBezTo>
                  <a:cubicBezTo>
                    <a:pt x="2587" y="128"/>
                    <a:pt x="2589" y="128"/>
                    <a:pt x="2591" y="129"/>
                  </a:cubicBezTo>
                  <a:cubicBezTo>
                    <a:pt x="2594" y="131"/>
                    <a:pt x="2595" y="131"/>
                    <a:pt x="2599" y="131"/>
                  </a:cubicBezTo>
                  <a:cubicBezTo>
                    <a:pt x="2601" y="132"/>
                    <a:pt x="2603" y="134"/>
                    <a:pt x="2602" y="134"/>
                  </a:cubicBezTo>
                  <a:cubicBezTo>
                    <a:pt x="2606" y="134"/>
                    <a:pt x="2608" y="130"/>
                    <a:pt x="2616" y="131"/>
                  </a:cubicBezTo>
                  <a:cubicBezTo>
                    <a:pt x="2617" y="131"/>
                    <a:pt x="2619" y="133"/>
                    <a:pt x="2619" y="133"/>
                  </a:cubicBezTo>
                  <a:cubicBezTo>
                    <a:pt x="2621" y="134"/>
                    <a:pt x="2623" y="131"/>
                    <a:pt x="2627" y="131"/>
                  </a:cubicBezTo>
                  <a:cubicBezTo>
                    <a:pt x="2626" y="131"/>
                    <a:pt x="2631" y="135"/>
                    <a:pt x="2632" y="133"/>
                  </a:cubicBezTo>
                  <a:cubicBezTo>
                    <a:pt x="2635" y="130"/>
                    <a:pt x="2634" y="133"/>
                    <a:pt x="2638" y="133"/>
                  </a:cubicBezTo>
                  <a:cubicBezTo>
                    <a:pt x="2642" y="133"/>
                    <a:pt x="2643" y="131"/>
                    <a:pt x="2646" y="131"/>
                  </a:cubicBezTo>
                  <a:cubicBezTo>
                    <a:pt x="2657" y="131"/>
                    <a:pt x="2670" y="132"/>
                    <a:pt x="2682" y="135"/>
                  </a:cubicBezTo>
                  <a:close/>
                  <a:moveTo>
                    <a:pt x="2665" y="116"/>
                  </a:moveTo>
                  <a:cubicBezTo>
                    <a:pt x="2665" y="119"/>
                    <a:pt x="2662" y="118"/>
                    <a:pt x="2660" y="119"/>
                  </a:cubicBezTo>
                  <a:cubicBezTo>
                    <a:pt x="2657" y="120"/>
                    <a:pt x="2657" y="124"/>
                    <a:pt x="2651" y="124"/>
                  </a:cubicBezTo>
                  <a:cubicBezTo>
                    <a:pt x="2653" y="122"/>
                    <a:pt x="2654" y="120"/>
                    <a:pt x="2654" y="116"/>
                  </a:cubicBezTo>
                  <a:cubicBezTo>
                    <a:pt x="2650" y="116"/>
                    <a:pt x="2645" y="126"/>
                    <a:pt x="2646" y="117"/>
                  </a:cubicBezTo>
                  <a:cubicBezTo>
                    <a:pt x="2650" y="117"/>
                    <a:pt x="2651" y="115"/>
                    <a:pt x="2651" y="112"/>
                  </a:cubicBezTo>
                  <a:cubicBezTo>
                    <a:pt x="2660" y="110"/>
                    <a:pt x="2657" y="118"/>
                    <a:pt x="2665" y="116"/>
                  </a:cubicBezTo>
                  <a:close/>
                  <a:moveTo>
                    <a:pt x="2673" y="107"/>
                  </a:moveTo>
                  <a:cubicBezTo>
                    <a:pt x="2664" y="110"/>
                    <a:pt x="2671" y="99"/>
                    <a:pt x="2662" y="102"/>
                  </a:cubicBezTo>
                  <a:cubicBezTo>
                    <a:pt x="2664" y="92"/>
                    <a:pt x="2681" y="102"/>
                    <a:pt x="2673" y="107"/>
                  </a:cubicBezTo>
                  <a:close/>
                  <a:moveTo>
                    <a:pt x="2724" y="24"/>
                  </a:moveTo>
                  <a:cubicBezTo>
                    <a:pt x="2718" y="17"/>
                    <a:pt x="2716" y="33"/>
                    <a:pt x="2715" y="19"/>
                  </a:cubicBezTo>
                  <a:cubicBezTo>
                    <a:pt x="2721" y="18"/>
                    <a:pt x="2724" y="19"/>
                    <a:pt x="2724" y="24"/>
                  </a:cubicBezTo>
                  <a:close/>
                  <a:moveTo>
                    <a:pt x="2694" y="71"/>
                  </a:moveTo>
                  <a:cubicBezTo>
                    <a:pt x="2697" y="71"/>
                    <a:pt x="2697" y="74"/>
                    <a:pt x="2697" y="76"/>
                  </a:cubicBezTo>
                  <a:cubicBezTo>
                    <a:pt x="2700" y="76"/>
                    <a:pt x="2702" y="75"/>
                    <a:pt x="2703" y="73"/>
                  </a:cubicBezTo>
                  <a:cubicBezTo>
                    <a:pt x="2706" y="75"/>
                    <a:pt x="2708" y="78"/>
                    <a:pt x="2708" y="83"/>
                  </a:cubicBezTo>
                  <a:cubicBezTo>
                    <a:pt x="2703" y="77"/>
                    <a:pt x="2689" y="81"/>
                    <a:pt x="2694" y="71"/>
                  </a:cubicBezTo>
                  <a:close/>
                  <a:moveTo>
                    <a:pt x="2700" y="106"/>
                  </a:moveTo>
                  <a:cubicBezTo>
                    <a:pt x="2698" y="104"/>
                    <a:pt x="2690" y="106"/>
                    <a:pt x="2692" y="99"/>
                  </a:cubicBezTo>
                  <a:cubicBezTo>
                    <a:pt x="2698" y="99"/>
                    <a:pt x="2701" y="101"/>
                    <a:pt x="2700" y="106"/>
                  </a:cubicBezTo>
                  <a:close/>
                  <a:moveTo>
                    <a:pt x="2698" y="97"/>
                  </a:moveTo>
                  <a:cubicBezTo>
                    <a:pt x="2698" y="95"/>
                    <a:pt x="2701" y="95"/>
                    <a:pt x="2703" y="94"/>
                  </a:cubicBezTo>
                  <a:cubicBezTo>
                    <a:pt x="2705" y="94"/>
                    <a:pt x="2707" y="94"/>
                    <a:pt x="2708" y="94"/>
                  </a:cubicBezTo>
                  <a:cubicBezTo>
                    <a:pt x="2708" y="98"/>
                    <a:pt x="2702" y="96"/>
                    <a:pt x="2698" y="97"/>
                  </a:cubicBezTo>
                  <a:close/>
                  <a:moveTo>
                    <a:pt x="2722" y="99"/>
                  </a:moveTo>
                  <a:cubicBezTo>
                    <a:pt x="2722" y="101"/>
                    <a:pt x="2725" y="101"/>
                    <a:pt x="2725" y="101"/>
                  </a:cubicBezTo>
                  <a:cubicBezTo>
                    <a:pt x="2725" y="105"/>
                    <a:pt x="2721" y="107"/>
                    <a:pt x="2725" y="108"/>
                  </a:cubicBezTo>
                  <a:cubicBezTo>
                    <a:pt x="2726" y="109"/>
                    <a:pt x="2720" y="111"/>
                    <a:pt x="2720" y="111"/>
                  </a:cubicBezTo>
                  <a:cubicBezTo>
                    <a:pt x="2717" y="108"/>
                    <a:pt x="2722" y="104"/>
                    <a:pt x="2717" y="104"/>
                  </a:cubicBezTo>
                  <a:cubicBezTo>
                    <a:pt x="2713" y="103"/>
                    <a:pt x="2717" y="101"/>
                    <a:pt x="2717" y="99"/>
                  </a:cubicBezTo>
                  <a:cubicBezTo>
                    <a:pt x="2717" y="97"/>
                    <a:pt x="2716" y="97"/>
                    <a:pt x="2714" y="97"/>
                  </a:cubicBezTo>
                  <a:cubicBezTo>
                    <a:pt x="2707" y="92"/>
                    <a:pt x="2720" y="98"/>
                    <a:pt x="2725" y="96"/>
                  </a:cubicBezTo>
                  <a:cubicBezTo>
                    <a:pt x="2727" y="99"/>
                    <a:pt x="2722" y="98"/>
                    <a:pt x="2722" y="99"/>
                  </a:cubicBezTo>
                  <a:close/>
                  <a:moveTo>
                    <a:pt x="2733" y="99"/>
                  </a:moveTo>
                  <a:cubicBezTo>
                    <a:pt x="2732" y="91"/>
                    <a:pt x="2741" y="92"/>
                    <a:pt x="2741" y="87"/>
                  </a:cubicBezTo>
                  <a:cubicBezTo>
                    <a:pt x="2744" y="79"/>
                    <a:pt x="2745" y="104"/>
                    <a:pt x="2733" y="99"/>
                  </a:cubicBezTo>
                  <a:close/>
                  <a:moveTo>
                    <a:pt x="2736" y="106"/>
                  </a:moveTo>
                  <a:cubicBezTo>
                    <a:pt x="2736" y="102"/>
                    <a:pt x="2748" y="108"/>
                    <a:pt x="2747" y="112"/>
                  </a:cubicBezTo>
                  <a:cubicBezTo>
                    <a:pt x="2738" y="115"/>
                    <a:pt x="2741" y="106"/>
                    <a:pt x="2736" y="106"/>
                  </a:cubicBezTo>
                  <a:close/>
                  <a:moveTo>
                    <a:pt x="2766" y="79"/>
                  </a:moveTo>
                  <a:cubicBezTo>
                    <a:pt x="2767" y="75"/>
                    <a:pt x="2769" y="81"/>
                    <a:pt x="2769" y="84"/>
                  </a:cubicBezTo>
                  <a:cubicBezTo>
                    <a:pt x="2768" y="88"/>
                    <a:pt x="2765" y="82"/>
                    <a:pt x="2766" y="79"/>
                  </a:cubicBezTo>
                  <a:close/>
                  <a:moveTo>
                    <a:pt x="2762" y="23"/>
                  </a:moveTo>
                  <a:cubicBezTo>
                    <a:pt x="2767" y="22"/>
                    <a:pt x="2766" y="33"/>
                    <a:pt x="2759" y="30"/>
                  </a:cubicBezTo>
                  <a:cubicBezTo>
                    <a:pt x="2759" y="28"/>
                    <a:pt x="2759" y="27"/>
                    <a:pt x="2759" y="25"/>
                  </a:cubicBezTo>
                  <a:cubicBezTo>
                    <a:pt x="2762" y="26"/>
                    <a:pt x="2762" y="24"/>
                    <a:pt x="2762" y="23"/>
                  </a:cubicBezTo>
                  <a:close/>
                  <a:moveTo>
                    <a:pt x="2757" y="35"/>
                  </a:moveTo>
                  <a:cubicBezTo>
                    <a:pt x="2761" y="35"/>
                    <a:pt x="2758" y="42"/>
                    <a:pt x="2762" y="42"/>
                  </a:cubicBezTo>
                  <a:cubicBezTo>
                    <a:pt x="2759" y="49"/>
                    <a:pt x="2751" y="37"/>
                    <a:pt x="2757" y="35"/>
                  </a:cubicBezTo>
                  <a:close/>
                  <a:moveTo>
                    <a:pt x="2761" y="100"/>
                  </a:moveTo>
                  <a:cubicBezTo>
                    <a:pt x="2757" y="99"/>
                    <a:pt x="2756" y="96"/>
                    <a:pt x="2755" y="91"/>
                  </a:cubicBezTo>
                  <a:cubicBezTo>
                    <a:pt x="2763" y="89"/>
                    <a:pt x="2760" y="96"/>
                    <a:pt x="2761" y="100"/>
                  </a:cubicBezTo>
                  <a:close/>
                  <a:moveTo>
                    <a:pt x="2769" y="112"/>
                  </a:moveTo>
                  <a:cubicBezTo>
                    <a:pt x="2767" y="112"/>
                    <a:pt x="2765" y="112"/>
                    <a:pt x="2764" y="112"/>
                  </a:cubicBezTo>
                  <a:cubicBezTo>
                    <a:pt x="2764" y="110"/>
                    <a:pt x="2763" y="110"/>
                    <a:pt x="2761" y="110"/>
                  </a:cubicBezTo>
                  <a:cubicBezTo>
                    <a:pt x="2760" y="105"/>
                    <a:pt x="2773" y="106"/>
                    <a:pt x="2769" y="112"/>
                  </a:cubicBezTo>
                  <a:close/>
                  <a:moveTo>
                    <a:pt x="2780" y="86"/>
                  </a:moveTo>
                  <a:cubicBezTo>
                    <a:pt x="2775" y="84"/>
                    <a:pt x="2779" y="82"/>
                    <a:pt x="2780" y="79"/>
                  </a:cubicBezTo>
                  <a:cubicBezTo>
                    <a:pt x="2785" y="81"/>
                    <a:pt x="2780" y="83"/>
                    <a:pt x="2780" y="86"/>
                  </a:cubicBezTo>
                  <a:close/>
                  <a:moveTo>
                    <a:pt x="2787" y="11"/>
                  </a:moveTo>
                  <a:cubicBezTo>
                    <a:pt x="2783" y="10"/>
                    <a:pt x="2784" y="5"/>
                    <a:pt x="2784" y="1"/>
                  </a:cubicBezTo>
                  <a:cubicBezTo>
                    <a:pt x="2795" y="0"/>
                    <a:pt x="2785" y="6"/>
                    <a:pt x="2787" y="11"/>
                  </a:cubicBezTo>
                  <a:close/>
                  <a:moveTo>
                    <a:pt x="2795" y="43"/>
                  </a:moveTo>
                  <a:cubicBezTo>
                    <a:pt x="2792" y="43"/>
                    <a:pt x="2793" y="39"/>
                    <a:pt x="2793" y="36"/>
                  </a:cubicBezTo>
                  <a:cubicBezTo>
                    <a:pt x="2797" y="35"/>
                    <a:pt x="2798" y="38"/>
                    <a:pt x="2798" y="41"/>
                  </a:cubicBezTo>
                  <a:cubicBezTo>
                    <a:pt x="2796" y="41"/>
                    <a:pt x="2795" y="42"/>
                    <a:pt x="2795" y="43"/>
                  </a:cubicBezTo>
                  <a:close/>
                  <a:moveTo>
                    <a:pt x="2791" y="123"/>
                  </a:moveTo>
                  <a:cubicBezTo>
                    <a:pt x="2792" y="121"/>
                    <a:pt x="2794" y="121"/>
                    <a:pt x="2794" y="119"/>
                  </a:cubicBezTo>
                  <a:cubicBezTo>
                    <a:pt x="2796" y="119"/>
                    <a:pt x="2798" y="119"/>
                    <a:pt x="2799" y="119"/>
                  </a:cubicBezTo>
                  <a:cubicBezTo>
                    <a:pt x="2801" y="124"/>
                    <a:pt x="2796" y="123"/>
                    <a:pt x="2791" y="123"/>
                  </a:cubicBezTo>
                  <a:close/>
                  <a:moveTo>
                    <a:pt x="2808" y="126"/>
                  </a:moveTo>
                  <a:cubicBezTo>
                    <a:pt x="2802" y="125"/>
                    <a:pt x="2802" y="120"/>
                    <a:pt x="2802" y="114"/>
                  </a:cubicBezTo>
                  <a:cubicBezTo>
                    <a:pt x="2805" y="118"/>
                    <a:pt x="2813" y="121"/>
                    <a:pt x="2808" y="126"/>
                  </a:cubicBezTo>
                  <a:close/>
                  <a:moveTo>
                    <a:pt x="2819" y="114"/>
                  </a:moveTo>
                  <a:cubicBezTo>
                    <a:pt x="2815" y="114"/>
                    <a:pt x="2817" y="116"/>
                    <a:pt x="2819" y="116"/>
                  </a:cubicBezTo>
                  <a:cubicBezTo>
                    <a:pt x="2812" y="124"/>
                    <a:pt x="2808" y="109"/>
                    <a:pt x="2810" y="102"/>
                  </a:cubicBezTo>
                  <a:cubicBezTo>
                    <a:pt x="2814" y="103"/>
                    <a:pt x="2816" y="105"/>
                    <a:pt x="2816" y="109"/>
                  </a:cubicBezTo>
                  <a:cubicBezTo>
                    <a:pt x="2823" y="106"/>
                    <a:pt x="2821" y="98"/>
                    <a:pt x="2827" y="109"/>
                  </a:cubicBezTo>
                  <a:cubicBezTo>
                    <a:pt x="2827" y="110"/>
                    <a:pt x="2829" y="108"/>
                    <a:pt x="2830" y="111"/>
                  </a:cubicBezTo>
                  <a:cubicBezTo>
                    <a:pt x="2830" y="113"/>
                    <a:pt x="2829" y="116"/>
                    <a:pt x="2830" y="118"/>
                  </a:cubicBezTo>
                  <a:cubicBezTo>
                    <a:pt x="2822" y="120"/>
                    <a:pt x="2824" y="113"/>
                    <a:pt x="2819" y="114"/>
                  </a:cubicBezTo>
                  <a:close/>
                  <a:moveTo>
                    <a:pt x="2846" y="111"/>
                  </a:moveTo>
                  <a:cubicBezTo>
                    <a:pt x="2845" y="114"/>
                    <a:pt x="2843" y="116"/>
                    <a:pt x="2838" y="116"/>
                  </a:cubicBezTo>
                  <a:cubicBezTo>
                    <a:pt x="2839" y="113"/>
                    <a:pt x="2841" y="111"/>
                    <a:pt x="2846" y="111"/>
                  </a:cubicBezTo>
                  <a:close/>
                  <a:moveTo>
                    <a:pt x="2851" y="64"/>
                  </a:moveTo>
                  <a:cubicBezTo>
                    <a:pt x="2860" y="64"/>
                    <a:pt x="2850" y="70"/>
                    <a:pt x="2856" y="71"/>
                  </a:cubicBezTo>
                  <a:cubicBezTo>
                    <a:pt x="2853" y="78"/>
                    <a:pt x="2848" y="68"/>
                    <a:pt x="2851" y="64"/>
                  </a:cubicBezTo>
                  <a:close/>
                  <a:moveTo>
                    <a:pt x="2862" y="87"/>
                  </a:moveTo>
                  <a:cubicBezTo>
                    <a:pt x="2860" y="80"/>
                    <a:pt x="2866" y="81"/>
                    <a:pt x="2865" y="75"/>
                  </a:cubicBezTo>
                  <a:cubicBezTo>
                    <a:pt x="2868" y="75"/>
                    <a:pt x="2866" y="78"/>
                    <a:pt x="2867" y="80"/>
                  </a:cubicBezTo>
                  <a:cubicBezTo>
                    <a:pt x="2867" y="80"/>
                    <a:pt x="2873" y="84"/>
                    <a:pt x="2873" y="82"/>
                  </a:cubicBezTo>
                  <a:cubicBezTo>
                    <a:pt x="2872" y="86"/>
                    <a:pt x="2868" y="85"/>
                    <a:pt x="2862" y="87"/>
                  </a:cubicBezTo>
                  <a:close/>
                  <a:moveTo>
                    <a:pt x="2867" y="54"/>
                  </a:moveTo>
                  <a:cubicBezTo>
                    <a:pt x="2868" y="53"/>
                    <a:pt x="2871" y="54"/>
                    <a:pt x="2870" y="52"/>
                  </a:cubicBezTo>
                  <a:cubicBezTo>
                    <a:pt x="2883" y="60"/>
                    <a:pt x="2857" y="64"/>
                    <a:pt x="2867" y="54"/>
                  </a:cubicBezTo>
                  <a:close/>
                  <a:moveTo>
                    <a:pt x="2875" y="40"/>
                  </a:moveTo>
                  <a:cubicBezTo>
                    <a:pt x="2876" y="34"/>
                    <a:pt x="2879" y="29"/>
                    <a:pt x="2869" y="28"/>
                  </a:cubicBezTo>
                  <a:cubicBezTo>
                    <a:pt x="2875" y="17"/>
                    <a:pt x="2888" y="40"/>
                    <a:pt x="2875" y="40"/>
                  </a:cubicBezTo>
                  <a:close/>
                  <a:moveTo>
                    <a:pt x="2881" y="91"/>
                  </a:moveTo>
                  <a:cubicBezTo>
                    <a:pt x="2881" y="90"/>
                    <a:pt x="2881" y="88"/>
                    <a:pt x="2881" y="87"/>
                  </a:cubicBezTo>
                  <a:cubicBezTo>
                    <a:pt x="2883" y="87"/>
                    <a:pt x="2885" y="87"/>
                    <a:pt x="2887" y="87"/>
                  </a:cubicBezTo>
                  <a:cubicBezTo>
                    <a:pt x="2887" y="88"/>
                    <a:pt x="2887" y="90"/>
                    <a:pt x="2887" y="91"/>
                  </a:cubicBezTo>
                  <a:cubicBezTo>
                    <a:pt x="2885" y="91"/>
                    <a:pt x="2883" y="91"/>
                    <a:pt x="288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2" name="Freeform 20"/>
            <p:cNvSpPr>
              <a:spLocks/>
            </p:cNvSpPr>
            <p:nvPr userDrawn="1"/>
          </p:nvSpPr>
          <p:spPr bwMode="auto">
            <a:xfrm>
              <a:off x="5827" y="2112"/>
              <a:ext cx="11" cy="12"/>
            </a:xfrm>
            <a:custGeom>
              <a:avLst/>
              <a:gdLst>
                <a:gd name="T0" fmla="*/ 0 w 5"/>
                <a:gd name="T1" fmla="*/ 5 h 5"/>
                <a:gd name="T2" fmla="*/ 5 w 5"/>
                <a:gd name="T3" fmla="*/ 5 h 5"/>
                <a:gd name="T4" fmla="*/ 5 w 5"/>
                <a:gd name="T5" fmla="*/ 0 h 5"/>
                <a:gd name="T6" fmla="*/ 0 w 5"/>
                <a:gd name="T7" fmla="*/ 0 h 5"/>
                <a:gd name="T8" fmla="*/ 0 w 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cubicBezTo>
                    <a:pt x="1" y="5"/>
                    <a:pt x="3" y="5"/>
                    <a:pt x="5" y="5"/>
                  </a:cubicBezTo>
                  <a:cubicBezTo>
                    <a:pt x="5" y="3"/>
                    <a:pt x="5" y="2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2"/>
                    <a:pt x="0" y="3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3" name="Freeform 21"/>
            <p:cNvSpPr>
              <a:spLocks/>
            </p:cNvSpPr>
            <p:nvPr userDrawn="1"/>
          </p:nvSpPr>
          <p:spPr bwMode="auto">
            <a:xfrm>
              <a:off x="5373" y="2207"/>
              <a:ext cx="33" cy="47"/>
            </a:xfrm>
            <a:custGeom>
              <a:avLst/>
              <a:gdLst>
                <a:gd name="T0" fmla="*/ 11 w 14"/>
                <a:gd name="T1" fmla="*/ 1 h 20"/>
                <a:gd name="T2" fmla="*/ 12 w 14"/>
                <a:gd name="T3" fmla="*/ 20 h 20"/>
                <a:gd name="T4" fmla="*/ 11 w 14"/>
                <a:gd name="T5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0">
                  <a:moveTo>
                    <a:pt x="11" y="1"/>
                  </a:moveTo>
                  <a:cubicBezTo>
                    <a:pt x="0" y="0"/>
                    <a:pt x="6" y="19"/>
                    <a:pt x="12" y="20"/>
                  </a:cubicBezTo>
                  <a:cubicBezTo>
                    <a:pt x="14" y="10"/>
                    <a:pt x="5" y="6"/>
                    <a:pt x="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4" name="Freeform 22"/>
            <p:cNvSpPr>
              <a:spLocks/>
            </p:cNvSpPr>
            <p:nvPr userDrawn="1"/>
          </p:nvSpPr>
          <p:spPr bwMode="auto">
            <a:xfrm>
              <a:off x="6280" y="2349"/>
              <a:ext cx="12" cy="12"/>
            </a:xfrm>
            <a:custGeom>
              <a:avLst/>
              <a:gdLst>
                <a:gd name="T0" fmla="*/ 1 w 5"/>
                <a:gd name="T1" fmla="*/ 5 h 5"/>
                <a:gd name="T2" fmla="*/ 5 w 5"/>
                <a:gd name="T3" fmla="*/ 4 h 5"/>
                <a:gd name="T4" fmla="*/ 5 w 5"/>
                <a:gd name="T5" fmla="*/ 0 h 5"/>
                <a:gd name="T6" fmla="*/ 1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1" y="5"/>
                  </a:moveTo>
                  <a:cubicBezTo>
                    <a:pt x="3" y="4"/>
                    <a:pt x="4" y="4"/>
                    <a:pt x="5" y="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5" name="Freeform 23"/>
            <p:cNvSpPr>
              <a:spLocks/>
            </p:cNvSpPr>
            <p:nvPr userDrawn="1"/>
          </p:nvSpPr>
          <p:spPr bwMode="auto">
            <a:xfrm>
              <a:off x="4920" y="2209"/>
              <a:ext cx="21" cy="14"/>
            </a:xfrm>
            <a:custGeom>
              <a:avLst/>
              <a:gdLst>
                <a:gd name="T0" fmla="*/ 0 w 9"/>
                <a:gd name="T1" fmla="*/ 1 h 6"/>
                <a:gd name="T2" fmla="*/ 0 w 9"/>
                <a:gd name="T3" fmla="*/ 6 h 6"/>
                <a:gd name="T4" fmla="*/ 8 w 9"/>
                <a:gd name="T5" fmla="*/ 6 h 6"/>
                <a:gd name="T6" fmla="*/ 0 w 9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6">
                  <a:moveTo>
                    <a:pt x="0" y="1"/>
                  </a:moveTo>
                  <a:cubicBezTo>
                    <a:pt x="0" y="3"/>
                    <a:pt x="0" y="4"/>
                    <a:pt x="0" y="6"/>
                  </a:cubicBezTo>
                  <a:cubicBezTo>
                    <a:pt x="3" y="6"/>
                    <a:pt x="6" y="6"/>
                    <a:pt x="8" y="6"/>
                  </a:cubicBezTo>
                  <a:cubicBezTo>
                    <a:pt x="9" y="1"/>
                    <a:pt x="6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6" name="Freeform 24"/>
            <p:cNvSpPr>
              <a:spLocks/>
            </p:cNvSpPr>
            <p:nvPr userDrawn="1"/>
          </p:nvSpPr>
          <p:spPr bwMode="auto">
            <a:xfrm>
              <a:off x="5647" y="2205"/>
              <a:ext cx="31" cy="16"/>
            </a:xfrm>
            <a:custGeom>
              <a:avLst/>
              <a:gdLst>
                <a:gd name="T0" fmla="*/ 13 w 13"/>
                <a:gd name="T1" fmla="*/ 2 h 7"/>
                <a:gd name="T2" fmla="*/ 8 w 13"/>
                <a:gd name="T3" fmla="*/ 0 h 7"/>
                <a:gd name="T4" fmla="*/ 13 w 13"/>
                <a:gd name="T5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7">
                  <a:moveTo>
                    <a:pt x="13" y="2"/>
                  </a:moveTo>
                  <a:cubicBezTo>
                    <a:pt x="10" y="2"/>
                    <a:pt x="10" y="0"/>
                    <a:pt x="8" y="0"/>
                  </a:cubicBezTo>
                  <a:cubicBezTo>
                    <a:pt x="0" y="5"/>
                    <a:pt x="13" y="7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7" name="Freeform 25"/>
            <p:cNvSpPr>
              <a:spLocks/>
            </p:cNvSpPr>
            <p:nvPr userDrawn="1"/>
          </p:nvSpPr>
          <p:spPr bwMode="auto">
            <a:xfrm>
              <a:off x="5928" y="2372"/>
              <a:ext cx="31" cy="36"/>
            </a:xfrm>
            <a:custGeom>
              <a:avLst/>
              <a:gdLst>
                <a:gd name="T0" fmla="*/ 0 w 13"/>
                <a:gd name="T1" fmla="*/ 7 h 15"/>
                <a:gd name="T2" fmla="*/ 8 w 13"/>
                <a:gd name="T3" fmla="*/ 4 h 15"/>
                <a:gd name="T4" fmla="*/ 13 w 13"/>
                <a:gd name="T5" fmla="*/ 9 h 15"/>
                <a:gd name="T6" fmla="*/ 11 w 13"/>
                <a:gd name="T7" fmla="*/ 7 h 15"/>
                <a:gd name="T8" fmla="*/ 13 w 13"/>
                <a:gd name="T9" fmla="*/ 0 h 15"/>
                <a:gd name="T10" fmla="*/ 0 w 13"/>
                <a:gd name="T1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cubicBezTo>
                    <a:pt x="3" y="7"/>
                    <a:pt x="6" y="6"/>
                    <a:pt x="8" y="4"/>
                  </a:cubicBezTo>
                  <a:cubicBezTo>
                    <a:pt x="5" y="9"/>
                    <a:pt x="12" y="15"/>
                    <a:pt x="13" y="9"/>
                  </a:cubicBezTo>
                  <a:cubicBezTo>
                    <a:pt x="12" y="9"/>
                    <a:pt x="10" y="8"/>
                    <a:pt x="11" y="7"/>
                  </a:cubicBezTo>
                  <a:cubicBezTo>
                    <a:pt x="11" y="6"/>
                    <a:pt x="12" y="0"/>
                    <a:pt x="13" y="0"/>
                  </a:cubicBezTo>
                  <a:cubicBezTo>
                    <a:pt x="10" y="3"/>
                    <a:pt x="0" y="1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8" name="Freeform 26"/>
            <p:cNvSpPr>
              <a:spLocks/>
            </p:cNvSpPr>
            <p:nvPr userDrawn="1"/>
          </p:nvSpPr>
          <p:spPr bwMode="auto">
            <a:xfrm>
              <a:off x="5361" y="2202"/>
              <a:ext cx="19" cy="14"/>
            </a:xfrm>
            <a:custGeom>
              <a:avLst/>
              <a:gdLst>
                <a:gd name="T0" fmla="*/ 0 w 8"/>
                <a:gd name="T1" fmla="*/ 1 h 6"/>
                <a:gd name="T2" fmla="*/ 0 w 8"/>
                <a:gd name="T3" fmla="*/ 6 h 6"/>
                <a:gd name="T4" fmla="*/ 8 w 8"/>
                <a:gd name="T5" fmla="*/ 5 h 6"/>
                <a:gd name="T6" fmla="*/ 0 w 8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6">
                  <a:moveTo>
                    <a:pt x="0" y="1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2" y="5"/>
                    <a:pt x="5" y="5"/>
                    <a:pt x="8" y="5"/>
                  </a:cubicBezTo>
                  <a:cubicBezTo>
                    <a:pt x="8" y="1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9" name="Freeform 27"/>
            <p:cNvSpPr>
              <a:spLocks/>
            </p:cNvSpPr>
            <p:nvPr userDrawn="1"/>
          </p:nvSpPr>
          <p:spPr bwMode="auto">
            <a:xfrm>
              <a:off x="5990" y="2375"/>
              <a:ext cx="21" cy="33"/>
            </a:xfrm>
            <a:custGeom>
              <a:avLst/>
              <a:gdLst>
                <a:gd name="T0" fmla="*/ 4 w 9"/>
                <a:gd name="T1" fmla="*/ 1 h 14"/>
                <a:gd name="T2" fmla="*/ 1 w 9"/>
                <a:gd name="T3" fmla="*/ 10 h 14"/>
                <a:gd name="T4" fmla="*/ 4 w 9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4" y="1"/>
                  </a:moveTo>
                  <a:cubicBezTo>
                    <a:pt x="3" y="4"/>
                    <a:pt x="0" y="5"/>
                    <a:pt x="1" y="10"/>
                  </a:cubicBezTo>
                  <a:cubicBezTo>
                    <a:pt x="9" y="14"/>
                    <a:pt x="9" y="0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</p:grp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46618" y="1930400"/>
            <a:ext cx="11169649" cy="38703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buClr>
                <a:srgbClr val="49853E"/>
              </a:buClr>
              <a:buNone/>
              <a:defRPr sz="2000"/>
            </a:lvl1pPr>
            <a:lvl2pPr marL="179388" indent="-179388">
              <a:lnSpc>
                <a:spcPct val="95000"/>
              </a:lnSpc>
              <a:spcBef>
                <a:spcPts val="1000"/>
              </a:spcBef>
              <a:buClr>
                <a:srgbClr val="49853E"/>
              </a:buClr>
              <a:buFont typeface="Arial" panose="020B0604020202020204" pitchFamily="34" charset="0"/>
              <a:buChar char="•"/>
              <a:defRPr sz="2000"/>
            </a:lvl2pPr>
            <a:lvl3pPr marL="358775" indent="-179388">
              <a:lnSpc>
                <a:spcPct val="95000"/>
              </a:lnSpc>
              <a:spcBef>
                <a:spcPts val="400"/>
              </a:spcBef>
              <a:buClr>
                <a:srgbClr val="49853E"/>
              </a:buClr>
              <a:buFont typeface="Arial" panose="020B0604020202020204" pitchFamily="34" charset="0"/>
              <a:buChar char="–"/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46618" y="1440000"/>
            <a:ext cx="11169649" cy="381000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2400" b="0">
                <a:solidFill>
                  <a:srgbClr val="49853E"/>
                </a:solidFill>
                <a:latin typeface="Fungo" pitchFamily="50" charset="0"/>
              </a:defRPr>
            </a:lvl1pPr>
          </a:lstStyle>
          <a:p>
            <a:pPr lvl="0"/>
            <a:r>
              <a:rPr lang="en-US"/>
              <a:t>Sub heading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396772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"/>
          <p:cNvGrpSpPr>
            <a:grpSpLocks noChangeAspect="1"/>
          </p:cNvGrpSpPr>
          <p:nvPr userDrawn="1"/>
        </p:nvGrpSpPr>
        <p:grpSpPr bwMode="auto">
          <a:xfrm>
            <a:off x="-12000" y="0"/>
            <a:ext cx="12216000" cy="1178432"/>
            <a:chOff x="-530" y="1723"/>
            <a:chExt cx="6834" cy="879"/>
          </a:xfrm>
          <a:solidFill>
            <a:schemeClr val="accent2"/>
          </a:solidFill>
        </p:grpSpPr>
        <p:sp>
          <p:nvSpPr>
            <p:cNvPr id="56" name="Freeform 6"/>
            <p:cNvSpPr>
              <a:spLocks/>
            </p:cNvSpPr>
            <p:nvPr userDrawn="1"/>
          </p:nvSpPr>
          <p:spPr bwMode="auto">
            <a:xfrm>
              <a:off x="4076" y="2427"/>
              <a:ext cx="45" cy="49"/>
            </a:xfrm>
            <a:custGeom>
              <a:avLst/>
              <a:gdLst>
                <a:gd name="T0" fmla="*/ 8 w 19"/>
                <a:gd name="T1" fmla="*/ 14 h 21"/>
                <a:gd name="T2" fmla="*/ 11 w 19"/>
                <a:gd name="T3" fmla="*/ 21 h 21"/>
                <a:gd name="T4" fmla="*/ 16 w 19"/>
                <a:gd name="T5" fmla="*/ 2 h 21"/>
                <a:gd name="T6" fmla="*/ 8 w 19"/>
                <a:gd name="T7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8" y="14"/>
                  </a:moveTo>
                  <a:cubicBezTo>
                    <a:pt x="9" y="17"/>
                    <a:pt x="7" y="21"/>
                    <a:pt x="11" y="21"/>
                  </a:cubicBezTo>
                  <a:cubicBezTo>
                    <a:pt x="16" y="14"/>
                    <a:pt x="19" y="12"/>
                    <a:pt x="16" y="2"/>
                  </a:cubicBezTo>
                  <a:cubicBezTo>
                    <a:pt x="0" y="0"/>
                    <a:pt x="7" y="11"/>
                    <a:pt x="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6" name="Freeform 7"/>
            <p:cNvSpPr>
              <a:spLocks/>
            </p:cNvSpPr>
            <p:nvPr userDrawn="1"/>
          </p:nvSpPr>
          <p:spPr bwMode="auto">
            <a:xfrm>
              <a:off x="5264" y="2389"/>
              <a:ext cx="22" cy="12"/>
            </a:xfrm>
            <a:custGeom>
              <a:avLst/>
              <a:gdLst>
                <a:gd name="T0" fmla="*/ 1 w 9"/>
                <a:gd name="T1" fmla="*/ 5 h 5"/>
                <a:gd name="T2" fmla="*/ 9 w 9"/>
                <a:gd name="T3" fmla="*/ 0 h 5"/>
                <a:gd name="T4" fmla="*/ 1 w 9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5">
                  <a:moveTo>
                    <a:pt x="1" y="5"/>
                  </a:moveTo>
                  <a:cubicBezTo>
                    <a:pt x="6" y="5"/>
                    <a:pt x="8" y="3"/>
                    <a:pt x="9" y="0"/>
                  </a:cubicBezTo>
                  <a:cubicBezTo>
                    <a:pt x="5" y="0"/>
                    <a:pt x="0" y="0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7" name="Freeform 8"/>
            <p:cNvSpPr>
              <a:spLocks/>
            </p:cNvSpPr>
            <p:nvPr userDrawn="1"/>
          </p:nvSpPr>
          <p:spPr bwMode="auto">
            <a:xfrm>
              <a:off x="5659" y="2375"/>
              <a:ext cx="28" cy="35"/>
            </a:xfrm>
            <a:custGeom>
              <a:avLst/>
              <a:gdLst>
                <a:gd name="T0" fmla="*/ 7 w 12"/>
                <a:gd name="T1" fmla="*/ 5 h 15"/>
                <a:gd name="T2" fmla="*/ 4 w 12"/>
                <a:gd name="T3" fmla="*/ 8 h 15"/>
                <a:gd name="T4" fmla="*/ 1 w 12"/>
                <a:gd name="T5" fmla="*/ 6 h 15"/>
                <a:gd name="T6" fmla="*/ 4 w 12"/>
                <a:gd name="T7" fmla="*/ 15 h 15"/>
                <a:gd name="T8" fmla="*/ 7 w 12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7" y="5"/>
                  </a:moveTo>
                  <a:cubicBezTo>
                    <a:pt x="7" y="7"/>
                    <a:pt x="6" y="8"/>
                    <a:pt x="4" y="8"/>
                  </a:cubicBezTo>
                  <a:cubicBezTo>
                    <a:pt x="4" y="6"/>
                    <a:pt x="4" y="5"/>
                    <a:pt x="1" y="6"/>
                  </a:cubicBezTo>
                  <a:cubicBezTo>
                    <a:pt x="2" y="9"/>
                    <a:pt x="0" y="14"/>
                    <a:pt x="4" y="15"/>
                  </a:cubicBezTo>
                  <a:cubicBezTo>
                    <a:pt x="6" y="13"/>
                    <a:pt x="12" y="0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8" name="Freeform 9"/>
            <p:cNvSpPr>
              <a:spLocks/>
            </p:cNvSpPr>
            <p:nvPr userDrawn="1"/>
          </p:nvSpPr>
          <p:spPr bwMode="auto">
            <a:xfrm>
              <a:off x="6155" y="2018"/>
              <a:ext cx="68" cy="35"/>
            </a:xfrm>
            <a:custGeom>
              <a:avLst/>
              <a:gdLst>
                <a:gd name="T0" fmla="*/ 16 w 29"/>
                <a:gd name="T1" fmla="*/ 12 h 15"/>
                <a:gd name="T2" fmla="*/ 27 w 29"/>
                <a:gd name="T3" fmla="*/ 7 h 15"/>
                <a:gd name="T4" fmla="*/ 5 w 29"/>
                <a:gd name="T5" fmla="*/ 0 h 15"/>
                <a:gd name="T6" fmla="*/ 3 w 29"/>
                <a:gd name="T7" fmla="*/ 12 h 15"/>
                <a:gd name="T8" fmla="*/ 16 w 29"/>
                <a:gd name="T9" fmla="*/ 7 h 15"/>
                <a:gd name="T10" fmla="*/ 16 w 29"/>
                <a:gd name="T11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5">
                  <a:moveTo>
                    <a:pt x="16" y="12"/>
                  </a:moveTo>
                  <a:cubicBezTo>
                    <a:pt x="21" y="15"/>
                    <a:pt x="29" y="8"/>
                    <a:pt x="27" y="7"/>
                  </a:cubicBezTo>
                  <a:cubicBezTo>
                    <a:pt x="24" y="1"/>
                    <a:pt x="11" y="3"/>
                    <a:pt x="5" y="0"/>
                  </a:cubicBezTo>
                  <a:cubicBezTo>
                    <a:pt x="6" y="6"/>
                    <a:pt x="0" y="5"/>
                    <a:pt x="3" y="12"/>
                  </a:cubicBezTo>
                  <a:cubicBezTo>
                    <a:pt x="11" y="15"/>
                    <a:pt x="10" y="8"/>
                    <a:pt x="16" y="7"/>
                  </a:cubicBezTo>
                  <a:cubicBezTo>
                    <a:pt x="16" y="7"/>
                    <a:pt x="16" y="11"/>
                    <a:pt x="1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9" name="Freeform 10"/>
            <p:cNvSpPr>
              <a:spLocks/>
            </p:cNvSpPr>
            <p:nvPr userDrawn="1"/>
          </p:nvSpPr>
          <p:spPr bwMode="auto">
            <a:xfrm>
              <a:off x="5633" y="2365"/>
              <a:ext cx="24" cy="29"/>
            </a:xfrm>
            <a:custGeom>
              <a:avLst/>
              <a:gdLst>
                <a:gd name="T0" fmla="*/ 4 w 10"/>
                <a:gd name="T1" fmla="*/ 0 h 12"/>
                <a:gd name="T2" fmla="*/ 7 w 10"/>
                <a:gd name="T3" fmla="*/ 12 h 12"/>
                <a:gd name="T4" fmla="*/ 4 w 10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4" y="0"/>
                  </a:moveTo>
                  <a:cubicBezTo>
                    <a:pt x="0" y="3"/>
                    <a:pt x="3" y="9"/>
                    <a:pt x="7" y="12"/>
                  </a:cubicBezTo>
                  <a:cubicBezTo>
                    <a:pt x="10" y="9"/>
                    <a:pt x="8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0" name="Freeform 11"/>
            <p:cNvSpPr>
              <a:spLocks/>
            </p:cNvSpPr>
            <p:nvPr userDrawn="1"/>
          </p:nvSpPr>
          <p:spPr bwMode="auto">
            <a:xfrm>
              <a:off x="4187" y="2453"/>
              <a:ext cx="33" cy="21"/>
            </a:xfrm>
            <a:custGeom>
              <a:avLst/>
              <a:gdLst>
                <a:gd name="T0" fmla="*/ 7 w 14"/>
                <a:gd name="T1" fmla="*/ 0 h 9"/>
                <a:gd name="T2" fmla="*/ 2 w 14"/>
                <a:gd name="T3" fmla="*/ 7 h 9"/>
                <a:gd name="T4" fmla="*/ 7 w 14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9">
                  <a:moveTo>
                    <a:pt x="7" y="0"/>
                  </a:moveTo>
                  <a:cubicBezTo>
                    <a:pt x="7" y="3"/>
                    <a:pt x="0" y="2"/>
                    <a:pt x="2" y="7"/>
                  </a:cubicBezTo>
                  <a:cubicBezTo>
                    <a:pt x="8" y="9"/>
                    <a:pt x="14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1" name="Freeform 12"/>
            <p:cNvSpPr>
              <a:spLocks/>
            </p:cNvSpPr>
            <p:nvPr userDrawn="1"/>
          </p:nvSpPr>
          <p:spPr bwMode="auto">
            <a:xfrm>
              <a:off x="5678" y="2379"/>
              <a:ext cx="40" cy="31"/>
            </a:xfrm>
            <a:custGeom>
              <a:avLst/>
              <a:gdLst>
                <a:gd name="T0" fmla="*/ 7 w 17"/>
                <a:gd name="T1" fmla="*/ 6 h 13"/>
                <a:gd name="T2" fmla="*/ 4 w 17"/>
                <a:gd name="T3" fmla="*/ 6 h 13"/>
                <a:gd name="T4" fmla="*/ 7 w 17"/>
                <a:gd name="T5" fmla="*/ 8 h 13"/>
                <a:gd name="T6" fmla="*/ 15 w 17"/>
                <a:gd name="T7" fmla="*/ 1 h 13"/>
                <a:gd name="T8" fmla="*/ 7 w 17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3">
                  <a:moveTo>
                    <a:pt x="7" y="6"/>
                  </a:moveTo>
                  <a:cubicBezTo>
                    <a:pt x="7" y="4"/>
                    <a:pt x="5" y="3"/>
                    <a:pt x="4" y="6"/>
                  </a:cubicBezTo>
                  <a:cubicBezTo>
                    <a:pt x="6" y="6"/>
                    <a:pt x="8" y="6"/>
                    <a:pt x="7" y="8"/>
                  </a:cubicBezTo>
                  <a:cubicBezTo>
                    <a:pt x="0" y="13"/>
                    <a:pt x="17" y="6"/>
                    <a:pt x="15" y="1"/>
                  </a:cubicBezTo>
                  <a:cubicBezTo>
                    <a:pt x="10" y="0"/>
                    <a:pt x="10" y="4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2" name="Freeform 13"/>
            <p:cNvSpPr>
              <a:spLocks/>
            </p:cNvSpPr>
            <p:nvPr userDrawn="1"/>
          </p:nvSpPr>
          <p:spPr bwMode="auto">
            <a:xfrm>
              <a:off x="6219" y="2016"/>
              <a:ext cx="73" cy="35"/>
            </a:xfrm>
            <a:custGeom>
              <a:avLst/>
              <a:gdLst>
                <a:gd name="T0" fmla="*/ 20 w 31"/>
                <a:gd name="T1" fmla="*/ 10 h 15"/>
                <a:gd name="T2" fmla="*/ 19 w 31"/>
                <a:gd name="T3" fmla="*/ 0 h 15"/>
                <a:gd name="T4" fmla="*/ 11 w 31"/>
                <a:gd name="T5" fmla="*/ 5 h 15"/>
                <a:gd name="T6" fmla="*/ 0 w 31"/>
                <a:gd name="T7" fmla="*/ 1 h 15"/>
                <a:gd name="T8" fmla="*/ 9 w 31"/>
                <a:gd name="T9" fmla="*/ 15 h 15"/>
                <a:gd name="T10" fmla="*/ 11 w 31"/>
                <a:gd name="T11" fmla="*/ 7 h 15"/>
                <a:gd name="T12" fmla="*/ 11 w 31"/>
                <a:gd name="T13" fmla="*/ 12 h 15"/>
                <a:gd name="T14" fmla="*/ 31 w 31"/>
                <a:gd name="T15" fmla="*/ 11 h 15"/>
                <a:gd name="T16" fmla="*/ 31 w 31"/>
                <a:gd name="T17" fmla="*/ 2 h 15"/>
                <a:gd name="T18" fmla="*/ 20 w 31"/>
                <a:gd name="T1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15">
                  <a:moveTo>
                    <a:pt x="20" y="10"/>
                  </a:moveTo>
                  <a:cubicBezTo>
                    <a:pt x="15" y="5"/>
                    <a:pt x="20" y="7"/>
                    <a:pt x="19" y="0"/>
                  </a:cubicBezTo>
                  <a:cubicBezTo>
                    <a:pt x="14" y="0"/>
                    <a:pt x="14" y="4"/>
                    <a:pt x="11" y="5"/>
                  </a:cubicBezTo>
                  <a:cubicBezTo>
                    <a:pt x="9" y="2"/>
                    <a:pt x="5" y="1"/>
                    <a:pt x="0" y="1"/>
                  </a:cubicBezTo>
                  <a:cubicBezTo>
                    <a:pt x="2" y="6"/>
                    <a:pt x="2" y="13"/>
                    <a:pt x="9" y="15"/>
                  </a:cubicBezTo>
                  <a:cubicBezTo>
                    <a:pt x="9" y="12"/>
                    <a:pt x="8" y="8"/>
                    <a:pt x="11" y="7"/>
                  </a:cubicBezTo>
                  <a:cubicBezTo>
                    <a:pt x="11" y="9"/>
                    <a:pt x="11" y="11"/>
                    <a:pt x="11" y="12"/>
                  </a:cubicBezTo>
                  <a:cubicBezTo>
                    <a:pt x="19" y="12"/>
                    <a:pt x="26" y="12"/>
                    <a:pt x="31" y="1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6" y="3"/>
                    <a:pt x="28" y="11"/>
                    <a:pt x="2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3" name="Freeform 14"/>
            <p:cNvSpPr>
              <a:spLocks/>
            </p:cNvSpPr>
            <p:nvPr userDrawn="1"/>
          </p:nvSpPr>
          <p:spPr bwMode="auto">
            <a:xfrm>
              <a:off x="4256" y="2441"/>
              <a:ext cx="24" cy="21"/>
            </a:xfrm>
            <a:custGeom>
              <a:avLst/>
              <a:gdLst>
                <a:gd name="T0" fmla="*/ 0 w 10"/>
                <a:gd name="T1" fmla="*/ 7 h 9"/>
                <a:gd name="T2" fmla="*/ 9 w 10"/>
                <a:gd name="T3" fmla="*/ 9 h 9"/>
                <a:gd name="T4" fmla="*/ 0 w 10"/>
                <a:gd name="T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7"/>
                  </a:moveTo>
                  <a:cubicBezTo>
                    <a:pt x="4" y="6"/>
                    <a:pt x="6" y="8"/>
                    <a:pt x="9" y="9"/>
                  </a:cubicBezTo>
                  <a:cubicBezTo>
                    <a:pt x="10" y="2"/>
                    <a:pt x="1" y="0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4" name="Freeform 15"/>
            <p:cNvSpPr>
              <a:spLocks/>
            </p:cNvSpPr>
            <p:nvPr userDrawn="1"/>
          </p:nvSpPr>
          <p:spPr bwMode="auto">
            <a:xfrm>
              <a:off x="3859" y="2455"/>
              <a:ext cx="14" cy="31"/>
            </a:xfrm>
            <a:custGeom>
              <a:avLst/>
              <a:gdLst>
                <a:gd name="T0" fmla="*/ 1 w 6"/>
                <a:gd name="T1" fmla="*/ 8 h 13"/>
                <a:gd name="T2" fmla="*/ 4 w 6"/>
                <a:gd name="T3" fmla="*/ 13 h 13"/>
                <a:gd name="T4" fmla="*/ 1 w 6"/>
                <a:gd name="T5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3">
                  <a:moveTo>
                    <a:pt x="1" y="8"/>
                  </a:moveTo>
                  <a:cubicBezTo>
                    <a:pt x="0" y="10"/>
                    <a:pt x="2" y="13"/>
                    <a:pt x="4" y="13"/>
                  </a:cubicBezTo>
                  <a:cubicBezTo>
                    <a:pt x="6" y="13"/>
                    <a:pt x="5" y="0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5" name="Freeform 16"/>
            <p:cNvSpPr>
              <a:spLocks/>
            </p:cNvSpPr>
            <p:nvPr userDrawn="1"/>
          </p:nvSpPr>
          <p:spPr bwMode="auto">
            <a:xfrm>
              <a:off x="3982" y="2455"/>
              <a:ext cx="38" cy="31"/>
            </a:xfrm>
            <a:custGeom>
              <a:avLst/>
              <a:gdLst>
                <a:gd name="T0" fmla="*/ 10 w 16"/>
                <a:gd name="T1" fmla="*/ 12 h 13"/>
                <a:gd name="T2" fmla="*/ 15 w 16"/>
                <a:gd name="T3" fmla="*/ 2 h 13"/>
                <a:gd name="T4" fmla="*/ 10 w 16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10" y="12"/>
                  </a:moveTo>
                  <a:cubicBezTo>
                    <a:pt x="11" y="12"/>
                    <a:pt x="16" y="5"/>
                    <a:pt x="15" y="2"/>
                  </a:cubicBezTo>
                  <a:cubicBezTo>
                    <a:pt x="0" y="0"/>
                    <a:pt x="4" y="13"/>
                    <a:pt x="1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6" name="Freeform 17"/>
            <p:cNvSpPr>
              <a:spLocks/>
            </p:cNvSpPr>
            <p:nvPr userDrawn="1"/>
          </p:nvSpPr>
          <p:spPr bwMode="auto">
            <a:xfrm>
              <a:off x="5872" y="2004"/>
              <a:ext cx="56" cy="54"/>
            </a:xfrm>
            <a:custGeom>
              <a:avLst/>
              <a:gdLst>
                <a:gd name="T0" fmla="*/ 18 w 24"/>
                <a:gd name="T1" fmla="*/ 13 h 23"/>
                <a:gd name="T2" fmla="*/ 24 w 24"/>
                <a:gd name="T3" fmla="*/ 15 h 23"/>
                <a:gd name="T4" fmla="*/ 18 w 24"/>
                <a:gd name="T5" fmla="*/ 8 h 23"/>
                <a:gd name="T6" fmla="*/ 16 w 24"/>
                <a:gd name="T7" fmla="*/ 10 h 23"/>
                <a:gd name="T8" fmla="*/ 2 w 24"/>
                <a:gd name="T9" fmla="*/ 1 h 23"/>
                <a:gd name="T10" fmla="*/ 5 w 24"/>
                <a:gd name="T11" fmla="*/ 8 h 23"/>
                <a:gd name="T12" fmla="*/ 5 w 24"/>
                <a:gd name="T13" fmla="*/ 15 h 23"/>
                <a:gd name="T14" fmla="*/ 10 w 24"/>
                <a:gd name="T15" fmla="*/ 20 h 23"/>
                <a:gd name="T16" fmla="*/ 18 w 24"/>
                <a:gd name="T17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3">
                  <a:moveTo>
                    <a:pt x="18" y="13"/>
                  </a:moveTo>
                  <a:cubicBezTo>
                    <a:pt x="19" y="14"/>
                    <a:pt x="21" y="15"/>
                    <a:pt x="24" y="15"/>
                  </a:cubicBezTo>
                  <a:cubicBezTo>
                    <a:pt x="24" y="12"/>
                    <a:pt x="21" y="7"/>
                    <a:pt x="18" y="8"/>
                  </a:cubicBezTo>
                  <a:cubicBezTo>
                    <a:pt x="18" y="8"/>
                    <a:pt x="18" y="12"/>
                    <a:pt x="16" y="10"/>
                  </a:cubicBezTo>
                  <a:cubicBezTo>
                    <a:pt x="13" y="9"/>
                    <a:pt x="12" y="0"/>
                    <a:pt x="2" y="1"/>
                  </a:cubicBezTo>
                  <a:cubicBezTo>
                    <a:pt x="2" y="4"/>
                    <a:pt x="3" y="6"/>
                    <a:pt x="5" y="8"/>
                  </a:cubicBezTo>
                  <a:cubicBezTo>
                    <a:pt x="4" y="11"/>
                    <a:pt x="0" y="14"/>
                    <a:pt x="5" y="15"/>
                  </a:cubicBezTo>
                  <a:cubicBezTo>
                    <a:pt x="7" y="5"/>
                    <a:pt x="16" y="16"/>
                    <a:pt x="10" y="20"/>
                  </a:cubicBezTo>
                  <a:cubicBezTo>
                    <a:pt x="20" y="23"/>
                    <a:pt x="12" y="12"/>
                    <a:pt x="1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7" name="Freeform 18"/>
            <p:cNvSpPr>
              <a:spLocks/>
            </p:cNvSpPr>
            <p:nvPr userDrawn="1"/>
          </p:nvSpPr>
          <p:spPr bwMode="auto">
            <a:xfrm>
              <a:off x="6129" y="2051"/>
              <a:ext cx="26" cy="31"/>
            </a:xfrm>
            <a:custGeom>
              <a:avLst/>
              <a:gdLst>
                <a:gd name="T0" fmla="*/ 3 w 11"/>
                <a:gd name="T1" fmla="*/ 5 h 13"/>
                <a:gd name="T2" fmla="*/ 0 w 11"/>
                <a:gd name="T3" fmla="*/ 0 h 13"/>
                <a:gd name="T4" fmla="*/ 0 w 11"/>
                <a:gd name="T5" fmla="*/ 12 h 13"/>
                <a:gd name="T6" fmla="*/ 11 w 11"/>
                <a:gd name="T7" fmla="*/ 7 h 13"/>
                <a:gd name="T8" fmla="*/ 3 w 11"/>
                <a:gd name="T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3" y="5"/>
                  </a:moveTo>
                  <a:cubicBezTo>
                    <a:pt x="2" y="3"/>
                    <a:pt x="3" y="0"/>
                    <a:pt x="0" y="0"/>
                  </a:cubicBezTo>
                  <a:cubicBezTo>
                    <a:pt x="0" y="4"/>
                    <a:pt x="0" y="8"/>
                    <a:pt x="0" y="12"/>
                  </a:cubicBezTo>
                  <a:cubicBezTo>
                    <a:pt x="6" y="13"/>
                    <a:pt x="11" y="11"/>
                    <a:pt x="11" y="7"/>
                  </a:cubicBezTo>
                  <a:cubicBezTo>
                    <a:pt x="8" y="7"/>
                    <a:pt x="3" y="8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8" name="Freeform 19"/>
            <p:cNvSpPr>
              <a:spLocks noEditPoints="1"/>
            </p:cNvSpPr>
            <p:nvPr userDrawn="1"/>
          </p:nvSpPr>
          <p:spPr bwMode="auto">
            <a:xfrm>
              <a:off x="-530" y="1723"/>
              <a:ext cx="6834" cy="879"/>
            </a:xfrm>
            <a:custGeom>
              <a:avLst/>
              <a:gdLst>
                <a:gd name="T0" fmla="*/ 389 w 2893"/>
                <a:gd name="T1" fmla="*/ 342 h 372"/>
                <a:gd name="T2" fmla="*/ 740 w 2893"/>
                <a:gd name="T3" fmla="*/ 359 h 372"/>
                <a:gd name="T4" fmla="*/ 1103 w 2893"/>
                <a:gd name="T5" fmla="*/ 367 h 372"/>
                <a:gd name="T6" fmla="*/ 1426 w 2893"/>
                <a:gd name="T7" fmla="*/ 356 h 372"/>
                <a:gd name="T8" fmla="*/ 1695 w 2893"/>
                <a:gd name="T9" fmla="*/ 331 h 372"/>
                <a:gd name="T10" fmla="*/ 1895 w 2893"/>
                <a:gd name="T11" fmla="*/ 320 h 372"/>
                <a:gd name="T12" fmla="*/ 2114 w 2893"/>
                <a:gd name="T13" fmla="*/ 302 h 372"/>
                <a:gd name="T14" fmla="*/ 2309 w 2893"/>
                <a:gd name="T15" fmla="*/ 287 h 372"/>
                <a:gd name="T16" fmla="*/ 2459 w 2893"/>
                <a:gd name="T17" fmla="*/ 275 h 372"/>
                <a:gd name="T18" fmla="*/ 2597 w 2893"/>
                <a:gd name="T19" fmla="*/ 289 h 372"/>
                <a:gd name="T20" fmla="*/ 2723 w 2893"/>
                <a:gd name="T21" fmla="*/ 280 h 372"/>
                <a:gd name="T22" fmla="*/ 2838 w 2893"/>
                <a:gd name="T23" fmla="*/ 287 h 372"/>
                <a:gd name="T24" fmla="*/ 2866 w 2893"/>
                <a:gd name="T25" fmla="*/ 183 h 372"/>
                <a:gd name="T26" fmla="*/ 2808 w 2893"/>
                <a:gd name="T27" fmla="*/ 147 h 372"/>
                <a:gd name="T28" fmla="*/ 2631 w 2893"/>
                <a:gd name="T29" fmla="*/ 218 h 372"/>
                <a:gd name="T30" fmla="*/ 2665 w 2893"/>
                <a:gd name="T31" fmla="*/ 112 h 372"/>
                <a:gd name="T32" fmla="*/ 2857 w 2893"/>
                <a:gd name="T33" fmla="*/ 113 h 372"/>
                <a:gd name="T34" fmla="*/ 485 w 2893"/>
                <a:gd name="T35" fmla="*/ 201 h 372"/>
                <a:gd name="T36" fmla="*/ 777 w 2893"/>
                <a:gd name="T37" fmla="*/ 267 h 372"/>
                <a:gd name="T38" fmla="*/ 1016 w 2893"/>
                <a:gd name="T39" fmla="*/ 272 h 372"/>
                <a:gd name="T40" fmla="*/ 1266 w 2893"/>
                <a:gd name="T41" fmla="*/ 265 h 372"/>
                <a:gd name="T42" fmla="*/ 1356 w 2893"/>
                <a:gd name="T43" fmla="*/ 252 h 372"/>
                <a:gd name="T44" fmla="*/ 1456 w 2893"/>
                <a:gd name="T45" fmla="*/ 330 h 372"/>
                <a:gd name="T46" fmla="*/ 1548 w 2893"/>
                <a:gd name="T47" fmla="*/ 241 h 372"/>
                <a:gd name="T48" fmla="*/ 1656 w 2893"/>
                <a:gd name="T49" fmla="*/ 331 h 372"/>
                <a:gd name="T50" fmla="*/ 1709 w 2893"/>
                <a:gd name="T51" fmla="*/ 232 h 372"/>
                <a:gd name="T52" fmla="*/ 1779 w 2893"/>
                <a:gd name="T53" fmla="*/ 259 h 372"/>
                <a:gd name="T54" fmla="*/ 1829 w 2893"/>
                <a:gd name="T55" fmla="*/ 147 h 372"/>
                <a:gd name="T56" fmla="*/ 1920 w 2893"/>
                <a:gd name="T57" fmla="*/ 193 h 372"/>
                <a:gd name="T58" fmla="*/ 1900 w 2893"/>
                <a:gd name="T59" fmla="*/ 151 h 372"/>
                <a:gd name="T60" fmla="*/ 1948 w 2893"/>
                <a:gd name="T61" fmla="*/ 220 h 372"/>
                <a:gd name="T62" fmla="*/ 2044 w 2893"/>
                <a:gd name="T63" fmla="*/ 214 h 372"/>
                <a:gd name="T64" fmla="*/ 2069 w 2893"/>
                <a:gd name="T65" fmla="*/ 218 h 372"/>
                <a:gd name="T66" fmla="*/ 2172 w 2893"/>
                <a:gd name="T67" fmla="*/ 167 h 372"/>
                <a:gd name="T68" fmla="*/ 2111 w 2893"/>
                <a:gd name="T69" fmla="*/ 107 h 372"/>
                <a:gd name="T70" fmla="*/ 2115 w 2893"/>
                <a:gd name="T71" fmla="*/ 217 h 372"/>
                <a:gd name="T72" fmla="*/ 2157 w 2893"/>
                <a:gd name="T73" fmla="*/ 236 h 372"/>
                <a:gd name="T74" fmla="*/ 2191 w 2893"/>
                <a:gd name="T75" fmla="*/ 148 h 372"/>
                <a:gd name="T76" fmla="*/ 2262 w 2893"/>
                <a:gd name="T77" fmla="*/ 135 h 372"/>
                <a:gd name="T78" fmla="*/ 2862 w 2893"/>
                <a:gd name="T79" fmla="*/ 247 h 372"/>
                <a:gd name="T80" fmla="*/ 2740 w 2893"/>
                <a:gd name="T81" fmla="*/ 190 h 372"/>
                <a:gd name="T82" fmla="*/ 2824 w 2893"/>
                <a:gd name="T83" fmla="*/ 259 h 372"/>
                <a:gd name="T84" fmla="*/ 2831 w 2893"/>
                <a:gd name="T85" fmla="*/ 198 h 372"/>
                <a:gd name="T86" fmla="*/ 2792 w 2893"/>
                <a:gd name="T87" fmla="*/ 177 h 372"/>
                <a:gd name="T88" fmla="*/ 2732 w 2893"/>
                <a:gd name="T89" fmla="*/ 181 h 372"/>
                <a:gd name="T90" fmla="*/ 2702 w 2893"/>
                <a:gd name="T91" fmla="*/ 207 h 372"/>
                <a:gd name="T92" fmla="*/ 2674 w 2893"/>
                <a:gd name="T93" fmla="*/ 8 h 372"/>
                <a:gd name="T94" fmla="*/ 2563 w 2893"/>
                <a:gd name="T95" fmla="*/ 116 h 372"/>
                <a:gd name="T96" fmla="*/ 2514 w 2893"/>
                <a:gd name="T97" fmla="*/ 121 h 372"/>
                <a:gd name="T98" fmla="*/ 2453 w 2893"/>
                <a:gd name="T99" fmla="*/ 101 h 372"/>
                <a:gd name="T100" fmla="*/ 2349 w 2893"/>
                <a:gd name="T101" fmla="*/ 103 h 372"/>
                <a:gd name="T102" fmla="*/ 2298 w 2893"/>
                <a:gd name="T103" fmla="*/ 139 h 372"/>
                <a:gd name="T104" fmla="*/ 2305 w 2893"/>
                <a:gd name="T105" fmla="*/ 231 h 372"/>
                <a:gd name="T106" fmla="*/ 2365 w 2893"/>
                <a:gd name="T107" fmla="*/ 211 h 372"/>
                <a:gd name="T108" fmla="*/ 2456 w 2893"/>
                <a:gd name="T109" fmla="*/ 256 h 372"/>
                <a:gd name="T110" fmla="*/ 2497 w 2893"/>
                <a:gd name="T111" fmla="*/ 213 h 372"/>
                <a:gd name="T112" fmla="*/ 2543 w 2893"/>
                <a:gd name="T113" fmla="*/ 219 h 372"/>
                <a:gd name="T114" fmla="*/ 2582 w 2893"/>
                <a:gd name="T115" fmla="*/ 230 h 372"/>
                <a:gd name="T116" fmla="*/ 2599 w 2893"/>
                <a:gd name="T117" fmla="*/ 258 h 372"/>
                <a:gd name="T118" fmla="*/ 2671 w 2893"/>
                <a:gd name="T119" fmla="*/ 156 h 372"/>
                <a:gd name="T120" fmla="*/ 2638 w 2893"/>
                <a:gd name="T121" fmla="*/ 133 h 372"/>
                <a:gd name="T122" fmla="*/ 2741 w 2893"/>
                <a:gd name="T123" fmla="*/ 87 h 372"/>
                <a:gd name="T124" fmla="*/ 2808 w 2893"/>
                <a:gd name="T125" fmla="*/ 12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93" h="372">
                  <a:moveTo>
                    <a:pt x="288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1"/>
                    <a:pt x="1" y="320"/>
                    <a:pt x="2" y="320"/>
                  </a:cubicBezTo>
                  <a:cubicBezTo>
                    <a:pt x="1" y="331"/>
                    <a:pt x="12" y="320"/>
                    <a:pt x="15" y="320"/>
                  </a:cubicBezTo>
                  <a:cubicBezTo>
                    <a:pt x="16" y="328"/>
                    <a:pt x="25" y="329"/>
                    <a:pt x="35" y="329"/>
                  </a:cubicBezTo>
                  <a:cubicBezTo>
                    <a:pt x="35" y="327"/>
                    <a:pt x="35" y="324"/>
                    <a:pt x="37" y="324"/>
                  </a:cubicBezTo>
                  <a:cubicBezTo>
                    <a:pt x="39" y="331"/>
                    <a:pt x="43" y="322"/>
                    <a:pt x="48" y="324"/>
                  </a:cubicBezTo>
                  <a:cubicBezTo>
                    <a:pt x="50" y="329"/>
                    <a:pt x="56" y="325"/>
                    <a:pt x="62" y="326"/>
                  </a:cubicBezTo>
                  <a:cubicBezTo>
                    <a:pt x="70" y="328"/>
                    <a:pt x="66" y="332"/>
                    <a:pt x="70" y="328"/>
                  </a:cubicBezTo>
                  <a:cubicBezTo>
                    <a:pt x="77" y="323"/>
                    <a:pt x="90" y="333"/>
                    <a:pt x="87" y="333"/>
                  </a:cubicBezTo>
                  <a:cubicBezTo>
                    <a:pt x="102" y="336"/>
                    <a:pt x="117" y="327"/>
                    <a:pt x="136" y="330"/>
                  </a:cubicBezTo>
                  <a:cubicBezTo>
                    <a:pt x="139" y="338"/>
                    <a:pt x="156" y="332"/>
                    <a:pt x="167" y="334"/>
                  </a:cubicBezTo>
                  <a:cubicBezTo>
                    <a:pt x="170" y="334"/>
                    <a:pt x="170" y="336"/>
                    <a:pt x="175" y="336"/>
                  </a:cubicBezTo>
                  <a:cubicBezTo>
                    <a:pt x="178" y="336"/>
                    <a:pt x="179" y="334"/>
                    <a:pt x="183" y="333"/>
                  </a:cubicBezTo>
                  <a:cubicBezTo>
                    <a:pt x="190" y="333"/>
                    <a:pt x="194" y="335"/>
                    <a:pt x="200" y="336"/>
                  </a:cubicBezTo>
                  <a:cubicBezTo>
                    <a:pt x="202" y="332"/>
                    <a:pt x="204" y="328"/>
                    <a:pt x="210" y="328"/>
                  </a:cubicBezTo>
                  <a:cubicBezTo>
                    <a:pt x="211" y="331"/>
                    <a:pt x="210" y="335"/>
                    <a:pt x="213" y="335"/>
                  </a:cubicBezTo>
                  <a:cubicBezTo>
                    <a:pt x="216" y="328"/>
                    <a:pt x="221" y="337"/>
                    <a:pt x="222" y="337"/>
                  </a:cubicBezTo>
                  <a:cubicBezTo>
                    <a:pt x="225" y="339"/>
                    <a:pt x="233" y="339"/>
                    <a:pt x="238" y="340"/>
                  </a:cubicBezTo>
                  <a:cubicBezTo>
                    <a:pt x="246" y="340"/>
                    <a:pt x="240" y="332"/>
                    <a:pt x="246" y="337"/>
                  </a:cubicBezTo>
                  <a:cubicBezTo>
                    <a:pt x="248" y="338"/>
                    <a:pt x="255" y="336"/>
                    <a:pt x="257" y="337"/>
                  </a:cubicBezTo>
                  <a:cubicBezTo>
                    <a:pt x="259" y="338"/>
                    <a:pt x="260" y="343"/>
                    <a:pt x="266" y="341"/>
                  </a:cubicBezTo>
                  <a:cubicBezTo>
                    <a:pt x="275" y="336"/>
                    <a:pt x="294" y="346"/>
                    <a:pt x="307" y="341"/>
                  </a:cubicBezTo>
                  <a:cubicBezTo>
                    <a:pt x="309" y="340"/>
                    <a:pt x="309" y="334"/>
                    <a:pt x="312" y="334"/>
                  </a:cubicBezTo>
                  <a:cubicBezTo>
                    <a:pt x="312" y="335"/>
                    <a:pt x="312" y="337"/>
                    <a:pt x="312" y="338"/>
                  </a:cubicBezTo>
                  <a:cubicBezTo>
                    <a:pt x="315" y="339"/>
                    <a:pt x="321" y="337"/>
                    <a:pt x="323" y="338"/>
                  </a:cubicBezTo>
                  <a:cubicBezTo>
                    <a:pt x="323" y="338"/>
                    <a:pt x="323" y="340"/>
                    <a:pt x="323" y="340"/>
                  </a:cubicBezTo>
                  <a:cubicBezTo>
                    <a:pt x="327" y="341"/>
                    <a:pt x="334" y="339"/>
                    <a:pt x="340" y="340"/>
                  </a:cubicBezTo>
                  <a:cubicBezTo>
                    <a:pt x="342" y="341"/>
                    <a:pt x="343" y="342"/>
                    <a:pt x="345" y="342"/>
                  </a:cubicBezTo>
                  <a:cubicBezTo>
                    <a:pt x="345" y="342"/>
                    <a:pt x="345" y="340"/>
                    <a:pt x="348" y="340"/>
                  </a:cubicBezTo>
                  <a:cubicBezTo>
                    <a:pt x="349" y="340"/>
                    <a:pt x="347" y="343"/>
                    <a:pt x="351" y="342"/>
                  </a:cubicBezTo>
                  <a:cubicBezTo>
                    <a:pt x="352" y="342"/>
                    <a:pt x="354" y="338"/>
                    <a:pt x="356" y="338"/>
                  </a:cubicBezTo>
                  <a:cubicBezTo>
                    <a:pt x="355" y="338"/>
                    <a:pt x="360" y="341"/>
                    <a:pt x="361" y="337"/>
                  </a:cubicBezTo>
                  <a:cubicBezTo>
                    <a:pt x="361" y="339"/>
                    <a:pt x="361" y="341"/>
                    <a:pt x="362" y="342"/>
                  </a:cubicBezTo>
                  <a:cubicBezTo>
                    <a:pt x="370" y="341"/>
                    <a:pt x="374" y="337"/>
                    <a:pt x="381" y="335"/>
                  </a:cubicBezTo>
                  <a:cubicBezTo>
                    <a:pt x="381" y="341"/>
                    <a:pt x="376" y="340"/>
                    <a:pt x="381" y="344"/>
                  </a:cubicBezTo>
                  <a:cubicBezTo>
                    <a:pt x="387" y="347"/>
                    <a:pt x="389" y="333"/>
                    <a:pt x="389" y="342"/>
                  </a:cubicBezTo>
                  <a:cubicBezTo>
                    <a:pt x="389" y="345"/>
                    <a:pt x="400" y="345"/>
                    <a:pt x="403" y="346"/>
                  </a:cubicBezTo>
                  <a:cubicBezTo>
                    <a:pt x="403" y="344"/>
                    <a:pt x="403" y="341"/>
                    <a:pt x="405" y="341"/>
                  </a:cubicBezTo>
                  <a:cubicBezTo>
                    <a:pt x="405" y="345"/>
                    <a:pt x="407" y="346"/>
                    <a:pt x="408" y="348"/>
                  </a:cubicBezTo>
                  <a:cubicBezTo>
                    <a:pt x="423" y="348"/>
                    <a:pt x="437" y="348"/>
                    <a:pt x="452" y="348"/>
                  </a:cubicBezTo>
                  <a:cubicBezTo>
                    <a:pt x="453" y="346"/>
                    <a:pt x="452" y="343"/>
                    <a:pt x="455" y="343"/>
                  </a:cubicBezTo>
                  <a:cubicBezTo>
                    <a:pt x="453" y="352"/>
                    <a:pt x="461" y="345"/>
                    <a:pt x="463" y="345"/>
                  </a:cubicBezTo>
                  <a:cubicBezTo>
                    <a:pt x="465" y="345"/>
                    <a:pt x="466" y="349"/>
                    <a:pt x="469" y="350"/>
                  </a:cubicBezTo>
                  <a:cubicBezTo>
                    <a:pt x="469" y="350"/>
                    <a:pt x="471" y="345"/>
                    <a:pt x="474" y="347"/>
                  </a:cubicBezTo>
                  <a:cubicBezTo>
                    <a:pt x="475" y="351"/>
                    <a:pt x="481" y="349"/>
                    <a:pt x="485" y="349"/>
                  </a:cubicBezTo>
                  <a:cubicBezTo>
                    <a:pt x="485" y="345"/>
                    <a:pt x="487" y="341"/>
                    <a:pt x="490" y="340"/>
                  </a:cubicBezTo>
                  <a:cubicBezTo>
                    <a:pt x="491" y="343"/>
                    <a:pt x="490" y="349"/>
                    <a:pt x="493" y="349"/>
                  </a:cubicBezTo>
                  <a:cubicBezTo>
                    <a:pt x="494" y="345"/>
                    <a:pt x="503" y="348"/>
                    <a:pt x="504" y="344"/>
                  </a:cubicBezTo>
                  <a:cubicBezTo>
                    <a:pt x="506" y="341"/>
                    <a:pt x="501" y="332"/>
                    <a:pt x="507" y="332"/>
                  </a:cubicBezTo>
                  <a:cubicBezTo>
                    <a:pt x="506" y="340"/>
                    <a:pt x="512" y="341"/>
                    <a:pt x="510" y="349"/>
                  </a:cubicBezTo>
                  <a:cubicBezTo>
                    <a:pt x="515" y="350"/>
                    <a:pt x="515" y="346"/>
                    <a:pt x="518" y="344"/>
                  </a:cubicBezTo>
                  <a:cubicBezTo>
                    <a:pt x="518" y="356"/>
                    <a:pt x="541" y="354"/>
                    <a:pt x="551" y="351"/>
                  </a:cubicBezTo>
                  <a:cubicBezTo>
                    <a:pt x="552" y="346"/>
                    <a:pt x="547" y="345"/>
                    <a:pt x="551" y="343"/>
                  </a:cubicBezTo>
                  <a:cubicBezTo>
                    <a:pt x="555" y="344"/>
                    <a:pt x="553" y="349"/>
                    <a:pt x="554" y="353"/>
                  </a:cubicBezTo>
                  <a:cubicBezTo>
                    <a:pt x="563" y="352"/>
                    <a:pt x="578" y="356"/>
                    <a:pt x="578" y="348"/>
                  </a:cubicBezTo>
                  <a:cubicBezTo>
                    <a:pt x="576" y="347"/>
                    <a:pt x="573" y="348"/>
                    <a:pt x="573" y="345"/>
                  </a:cubicBezTo>
                  <a:cubicBezTo>
                    <a:pt x="575" y="346"/>
                    <a:pt x="577" y="345"/>
                    <a:pt x="578" y="345"/>
                  </a:cubicBezTo>
                  <a:cubicBezTo>
                    <a:pt x="582" y="346"/>
                    <a:pt x="579" y="348"/>
                    <a:pt x="581" y="350"/>
                  </a:cubicBezTo>
                  <a:cubicBezTo>
                    <a:pt x="583" y="351"/>
                    <a:pt x="587" y="349"/>
                    <a:pt x="587" y="352"/>
                  </a:cubicBezTo>
                  <a:cubicBezTo>
                    <a:pt x="601" y="349"/>
                    <a:pt x="614" y="358"/>
                    <a:pt x="622" y="352"/>
                  </a:cubicBezTo>
                  <a:cubicBezTo>
                    <a:pt x="619" y="351"/>
                    <a:pt x="616" y="348"/>
                    <a:pt x="620" y="347"/>
                  </a:cubicBezTo>
                  <a:cubicBezTo>
                    <a:pt x="623" y="348"/>
                    <a:pt x="625" y="350"/>
                    <a:pt x="625" y="354"/>
                  </a:cubicBezTo>
                  <a:cubicBezTo>
                    <a:pt x="630" y="356"/>
                    <a:pt x="634" y="351"/>
                    <a:pt x="636" y="351"/>
                  </a:cubicBezTo>
                  <a:cubicBezTo>
                    <a:pt x="636" y="351"/>
                    <a:pt x="638" y="356"/>
                    <a:pt x="639" y="356"/>
                  </a:cubicBezTo>
                  <a:cubicBezTo>
                    <a:pt x="641" y="357"/>
                    <a:pt x="645" y="356"/>
                    <a:pt x="647" y="356"/>
                  </a:cubicBezTo>
                  <a:cubicBezTo>
                    <a:pt x="649" y="356"/>
                    <a:pt x="649" y="358"/>
                    <a:pt x="650" y="358"/>
                  </a:cubicBezTo>
                  <a:cubicBezTo>
                    <a:pt x="656" y="359"/>
                    <a:pt x="655" y="355"/>
                    <a:pt x="658" y="358"/>
                  </a:cubicBezTo>
                  <a:cubicBezTo>
                    <a:pt x="659" y="359"/>
                    <a:pt x="663" y="358"/>
                    <a:pt x="664" y="358"/>
                  </a:cubicBezTo>
                  <a:cubicBezTo>
                    <a:pt x="673" y="359"/>
                    <a:pt x="674" y="359"/>
                    <a:pt x="680" y="360"/>
                  </a:cubicBezTo>
                  <a:cubicBezTo>
                    <a:pt x="690" y="350"/>
                    <a:pt x="712" y="364"/>
                    <a:pt x="721" y="355"/>
                  </a:cubicBezTo>
                  <a:cubicBezTo>
                    <a:pt x="720" y="356"/>
                    <a:pt x="716" y="350"/>
                    <a:pt x="721" y="350"/>
                  </a:cubicBezTo>
                  <a:cubicBezTo>
                    <a:pt x="724" y="355"/>
                    <a:pt x="726" y="361"/>
                    <a:pt x="738" y="359"/>
                  </a:cubicBezTo>
                  <a:cubicBezTo>
                    <a:pt x="741" y="353"/>
                    <a:pt x="727" y="352"/>
                    <a:pt x="735" y="350"/>
                  </a:cubicBezTo>
                  <a:cubicBezTo>
                    <a:pt x="740" y="350"/>
                    <a:pt x="741" y="354"/>
                    <a:pt x="740" y="359"/>
                  </a:cubicBezTo>
                  <a:cubicBezTo>
                    <a:pt x="750" y="362"/>
                    <a:pt x="742" y="351"/>
                    <a:pt x="749" y="352"/>
                  </a:cubicBezTo>
                  <a:cubicBezTo>
                    <a:pt x="749" y="356"/>
                    <a:pt x="756" y="355"/>
                    <a:pt x="754" y="361"/>
                  </a:cubicBezTo>
                  <a:cubicBezTo>
                    <a:pt x="785" y="357"/>
                    <a:pt x="804" y="370"/>
                    <a:pt x="820" y="360"/>
                  </a:cubicBezTo>
                  <a:cubicBezTo>
                    <a:pt x="821" y="363"/>
                    <a:pt x="826" y="363"/>
                    <a:pt x="828" y="364"/>
                  </a:cubicBezTo>
                  <a:cubicBezTo>
                    <a:pt x="833" y="360"/>
                    <a:pt x="828" y="362"/>
                    <a:pt x="828" y="355"/>
                  </a:cubicBezTo>
                  <a:cubicBezTo>
                    <a:pt x="837" y="363"/>
                    <a:pt x="829" y="348"/>
                    <a:pt x="839" y="350"/>
                  </a:cubicBezTo>
                  <a:cubicBezTo>
                    <a:pt x="838" y="356"/>
                    <a:pt x="834" y="360"/>
                    <a:pt x="839" y="364"/>
                  </a:cubicBezTo>
                  <a:cubicBezTo>
                    <a:pt x="851" y="363"/>
                    <a:pt x="864" y="362"/>
                    <a:pt x="875" y="364"/>
                  </a:cubicBezTo>
                  <a:cubicBezTo>
                    <a:pt x="873" y="357"/>
                    <a:pt x="881" y="359"/>
                    <a:pt x="883" y="356"/>
                  </a:cubicBezTo>
                  <a:cubicBezTo>
                    <a:pt x="884" y="362"/>
                    <a:pt x="887" y="366"/>
                    <a:pt x="894" y="366"/>
                  </a:cubicBezTo>
                  <a:cubicBezTo>
                    <a:pt x="894" y="365"/>
                    <a:pt x="895" y="360"/>
                    <a:pt x="897" y="361"/>
                  </a:cubicBezTo>
                  <a:cubicBezTo>
                    <a:pt x="898" y="361"/>
                    <a:pt x="896" y="365"/>
                    <a:pt x="897" y="366"/>
                  </a:cubicBezTo>
                  <a:cubicBezTo>
                    <a:pt x="900" y="367"/>
                    <a:pt x="905" y="364"/>
                    <a:pt x="908" y="365"/>
                  </a:cubicBezTo>
                  <a:cubicBezTo>
                    <a:pt x="908" y="366"/>
                    <a:pt x="908" y="368"/>
                    <a:pt x="908" y="368"/>
                  </a:cubicBezTo>
                  <a:cubicBezTo>
                    <a:pt x="915" y="368"/>
                    <a:pt x="927" y="366"/>
                    <a:pt x="935" y="367"/>
                  </a:cubicBezTo>
                  <a:cubicBezTo>
                    <a:pt x="939" y="368"/>
                    <a:pt x="939" y="370"/>
                    <a:pt x="941" y="367"/>
                  </a:cubicBezTo>
                  <a:cubicBezTo>
                    <a:pt x="943" y="365"/>
                    <a:pt x="958" y="367"/>
                    <a:pt x="960" y="367"/>
                  </a:cubicBezTo>
                  <a:cubicBezTo>
                    <a:pt x="964" y="366"/>
                    <a:pt x="963" y="364"/>
                    <a:pt x="966" y="367"/>
                  </a:cubicBezTo>
                  <a:cubicBezTo>
                    <a:pt x="968" y="370"/>
                    <a:pt x="980" y="364"/>
                    <a:pt x="982" y="367"/>
                  </a:cubicBezTo>
                  <a:cubicBezTo>
                    <a:pt x="986" y="361"/>
                    <a:pt x="975" y="358"/>
                    <a:pt x="982" y="357"/>
                  </a:cubicBezTo>
                  <a:cubicBezTo>
                    <a:pt x="988" y="362"/>
                    <a:pt x="987" y="365"/>
                    <a:pt x="990" y="366"/>
                  </a:cubicBezTo>
                  <a:cubicBezTo>
                    <a:pt x="988" y="365"/>
                    <a:pt x="995" y="358"/>
                    <a:pt x="993" y="366"/>
                  </a:cubicBezTo>
                  <a:cubicBezTo>
                    <a:pt x="1002" y="368"/>
                    <a:pt x="1002" y="363"/>
                    <a:pt x="1007" y="361"/>
                  </a:cubicBezTo>
                  <a:cubicBezTo>
                    <a:pt x="1006" y="361"/>
                    <a:pt x="1009" y="364"/>
                    <a:pt x="1011" y="362"/>
                  </a:cubicBezTo>
                  <a:cubicBezTo>
                    <a:pt x="1008" y="367"/>
                    <a:pt x="1012" y="366"/>
                    <a:pt x="1018" y="366"/>
                  </a:cubicBezTo>
                  <a:cubicBezTo>
                    <a:pt x="1020" y="366"/>
                    <a:pt x="1020" y="368"/>
                    <a:pt x="1020" y="368"/>
                  </a:cubicBezTo>
                  <a:cubicBezTo>
                    <a:pt x="1028" y="369"/>
                    <a:pt x="1040" y="368"/>
                    <a:pt x="1042" y="365"/>
                  </a:cubicBezTo>
                  <a:cubicBezTo>
                    <a:pt x="1042" y="368"/>
                    <a:pt x="1044" y="367"/>
                    <a:pt x="1045" y="368"/>
                  </a:cubicBezTo>
                  <a:cubicBezTo>
                    <a:pt x="1045" y="368"/>
                    <a:pt x="1049" y="370"/>
                    <a:pt x="1048" y="370"/>
                  </a:cubicBezTo>
                  <a:cubicBezTo>
                    <a:pt x="1058" y="372"/>
                    <a:pt x="1076" y="367"/>
                    <a:pt x="1078" y="367"/>
                  </a:cubicBezTo>
                  <a:cubicBezTo>
                    <a:pt x="1081" y="367"/>
                    <a:pt x="1082" y="369"/>
                    <a:pt x="1086" y="369"/>
                  </a:cubicBezTo>
                  <a:cubicBezTo>
                    <a:pt x="1087" y="369"/>
                    <a:pt x="1086" y="367"/>
                    <a:pt x="1089" y="367"/>
                  </a:cubicBezTo>
                  <a:cubicBezTo>
                    <a:pt x="1090" y="367"/>
                    <a:pt x="1089" y="370"/>
                    <a:pt x="1092" y="369"/>
                  </a:cubicBezTo>
                  <a:cubicBezTo>
                    <a:pt x="1091" y="369"/>
                    <a:pt x="1094" y="367"/>
                    <a:pt x="1095" y="367"/>
                  </a:cubicBezTo>
                  <a:cubicBezTo>
                    <a:pt x="1097" y="366"/>
                    <a:pt x="1099" y="365"/>
                    <a:pt x="1100" y="362"/>
                  </a:cubicBezTo>
                  <a:cubicBezTo>
                    <a:pt x="1097" y="362"/>
                    <a:pt x="1096" y="360"/>
                    <a:pt x="1094" y="357"/>
                  </a:cubicBezTo>
                  <a:cubicBezTo>
                    <a:pt x="1098" y="357"/>
                    <a:pt x="1100" y="356"/>
                    <a:pt x="1103" y="355"/>
                  </a:cubicBezTo>
                  <a:cubicBezTo>
                    <a:pt x="1105" y="362"/>
                    <a:pt x="1105" y="359"/>
                    <a:pt x="1103" y="367"/>
                  </a:cubicBezTo>
                  <a:cubicBezTo>
                    <a:pt x="1112" y="371"/>
                    <a:pt x="1115" y="365"/>
                    <a:pt x="1127" y="366"/>
                  </a:cubicBezTo>
                  <a:cubicBezTo>
                    <a:pt x="1131" y="365"/>
                    <a:pt x="1128" y="357"/>
                    <a:pt x="1133" y="357"/>
                  </a:cubicBezTo>
                  <a:cubicBezTo>
                    <a:pt x="1132" y="364"/>
                    <a:pt x="1133" y="370"/>
                    <a:pt x="1141" y="368"/>
                  </a:cubicBezTo>
                  <a:cubicBezTo>
                    <a:pt x="1143" y="364"/>
                    <a:pt x="1133" y="359"/>
                    <a:pt x="1141" y="357"/>
                  </a:cubicBezTo>
                  <a:cubicBezTo>
                    <a:pt x="1145" y="359"/>
                    <a:pt x="1144" y="366"/>
                    <a:pt x="1152" y="366"/>
                  </a:cubicBezTo>
                  <a:cubicBezTo>
                    <a:pt x="1152" y="363"/>
                    <a:pt x="1153" y="360"/>
                    <a:pt x="1158" y="361"/>
                  </a:cubicBezTo>
                  <a:cubicBezTo>
                    <a:pt x="1158" y="357"/>
                    <a:pt x="1157" y="353"/>
                    <a:pt x="1163" y="354"/>
                  </a:cubicBezTo>
                  <a:cubicBezTo>
                    <a:pt x="1167" y="363"/>
                    <a:pt x="1155" y="359"/>
                    <a:pt x="1158" y="366"/>
                  </a:cubicBezTo>
                  <a:cubicBezTo>
                    <a:pt x="1172" y="369"/>
                    <a:pt x="1165" y="355"/>
                    <a:pt x="1174" y="354"/>
                  </a:cubicBezTo>
                  <a:cubicBezTo>
                    <a:pt x="1182" y="360"/>
                    <a:pt x="1176" y="360"/>
                    <a:pt x="1174" y="368"/>
                  </a:cubicBezTo>
                  <a:cubicBezTo>
                    <a:pt x="1185" y="370"/>
                    <a:pt x="1191" y="370"/>
                    <a:pt x="1199" y="365"/>
                  </a:cubicBezTo>
                  <a:cubicBezTo>
                    <a:pt x="1202" y="369"/>
                    <a:pt x="1216" y="362"/>
                    <a:pt x="1221" y="367"/>
                  </a:cubicBezTo>
                  <a:cubicBezTo>
                    <a:pt x="1221" y="365"/>
                    <a:pt x="1221" y="362"/>
                    <a:pt x="1223" y="362"/>
                  </a:cubicBezTo>
                  <a:cubicBezTo>
                    <a:pt x="1223" y="364"/>
                    <a:pt x="1223" y="365"/>
                    <a:pt x="1223" y="367"/>
                  </a:cubicBezTo>
                  <a:cubicBezTo>
                    <a:pt x="1233" y="362"/>
                    <a:pt x="1233" y="372"/>
                    <a:pt x="1240" y="367"/>
                  </a:cubicBezTo>
                  <a:cubicBezTo>
                    <a:pt x="1240" y="363"/>
                    <a:pt x="1239" y="359"/>
                    <a:pt x="1237" y="357"/>
                  </a:cubicBezTo>
                  <a:cubicBezTo>
                    <a:pt x="1242" y="358"/>
                    <a:pt x="1243" y="355"/>
                    <a:pt x="1248" y="355"/>
                  </a:cubicBezTo>
                  <a:cubicBezTo>
                    <a:pt x="1247" y="358"/>
                    <a:pt x="1244" y="359"/>
                    <a:pt x="1243" y="362"/>
                  </a:cubicBezTo>
                  <a:cubicBezTo>
                    <a:pt x="1252" y="364"/>
                    <a:pt x="1246" y="352"/>
                    <a:pt x="1256" y="355"/>
                  </a:cubicBezTo>
                  <a:cubicBezTo>
                    <a:pt x="1255" y="359"/>
                    <a:pt x="1250" y="361"/>
                    <a:pt x="1251" y="367"/>
                  </a:cubicBezTo>
                  <a:cubicBezTo>
                    <a:pt x="1261" y="366"/>
                    <a:pt x="1261" y="363"/>
                    <a:pt x="1270" y="366"/>
                  </a:cubicBezTo>
                  <a:cubicBezTo>
                    <a:pt x="1284" y="364"/>
                    <a:pt x="1292" y="371"/>
                    <a:pt x="1298" y="363"/>
                  </a:cubicBezTo>
                  <a:cubicBezTo>
                    <a:pt x="1302" y="371"/>
                    <a:pt x="1312" y="359"/>
                    <a:pt x="1317" y="365"/>
                  </a:cubicBezTo>
                  <a:cubicBezTo>
                    <a:pt x="1315" y="360"/>
                    <a:pt x="1314" y="356"/>
                    <a:pt x="1319" y="351"/>
                  </a:cubicBezTo>
                  <a:cubicBezTo>
                    <a:pt x="1324" y="356"/>
                    <a:pt x="1318" y="356"/>
                    <a:pt x="1319" y="363"/>
                  </a:cubicBezTo>
                  <a:cubicBezTo>
                    <a:pt x="1328" y="365"/>
                    <a:pt x="1324" y="358"/>
                    <a:pt x="1325" y="353"/>
                  </a:cubicBezTo>
                  <a:cubicBezTo>
                    <a:pt x="1329" y="353"/>
                    <a:pt x="1336" y="345"/>
                    <a:pt x="1338" y="351"/>
                  </a:cubicBezTo>
                  <a:cubicBezTo>
                    <a:pt x="1334" y="351"/>
                    <a:pt x="1331" y="353"/>
                    <a:pt x="1330" y="356"/>
                  </a:cubicBezTo>
                  <a:cubicBezTo>
                    <a:pt x="1340" y="356"/>
                    <a:pt x="1325" y="364"/>
                    <a:pt x="1333" y="363"/>
                  </a:cubicBezTo>
                  <a:cubicBezTo>
                    <a:pt x="1337" y="358"/>
                    <a:pt x="1343" y="365"/>
                    <a:pt x="1350" y="360"/>
                  </a:cubicBezTo>
                  <a:cubicBezTo>
                    <a:pt x="1353" y="365"/>
                    <a:pt x="1369" y="361"/>
                    <a:pt x="1377" y="362"/>
                  </a:cubicBezTo>
                  <a:cubicBezTo>
                    <a:pt x="1378" y="358"/>
                    <a:pt x="1374" y="348"/>
                    <a:pt x="1379" y="348"/>
                  </a:cubicBezTo>
                  <a:cubicBezTo>
                    <a:pt x="1389" y="350"/>
                    <a:pt x="1381" y="352"/>
                    <a:pt x="1382" y="360"/>
                  </a:cubicBezTo>
                  <a:cubicBezTo>
                    <a:pt x="1388" y="358"/>
                    <a:pt x="1401" y="362"/>
                    <a:pt x="1402" y="357"/>
                  </a:cubicBezTo>
                  <a:cubicBezTo>
                    <a:pt x="1399" y="356"/>
                    <a:pt x="1395" y="353"/>
                    <a:pt x="1399" y="352"/>
                  </a:cubicBezTo>
                  <a:cubicBezTo>
                    <a:pt x="1401" y="355"/>
                    <a:pt x="1409" y="353"/>
                    <a:pt x="1407" y="359"/>
                  </a:cubicBezTo>
                  <a:cubicBezTo>
                    <a:pt x="1418" y="359"/>
                    <a:pt x="1409" y="352"/>
                    <a:pt x="1415" y="357"/>
                  </a:cubicBezTo>
                  <a:cubicBezTo>
                    <a:pt x="1421" y="361"/>
                    <a:pt x="1422" y="357"/>
                    <a:pt x="1426" y="356"/>
                  </a:cubicBezTo>
                  <a:cubicBezTo>
                    <a:pt x="1438" y="354"/>
                    <a:pt x="1439" y="354"/>
                    <a:pt x="1446" y="358"/>
                  </a:cubicBezTo>
                  <a:cubicBezTo>
                    <a:pt x="1446" y="355"/>
                    <a:pt x="1445" y="350"/>
                    <a:pt x="1451" y="351"/>
                  </a:cubicBezTo>
                  <a:cubicBezTo>
                    <a:pt x="1451" y="347"/>
                    <a:pt x="1448" y="346"/>
                    <a:pt x="1448" y="342"/>
                  </a:cubicBezTo>
                  <a:cubicBezTo>
                    <a:pt x="1451" y="342"/>
                    <a:pt x="1454" y="342"/>
                    <a:pt x="1456" y="342"/>
                  </a:cubicBezTo>
                  <a:cubicBezTo>
                    <a:pt x="1457" y="346"/>
                    <a:pt x="1453" y="347"/>
                    <a:pt x="1454" y="351"/>
                  </a:cubicBezTo>
                  <a:cubicBezTo>
                    <a:pt x="1460" y="350"/>
                    <a:pt x="1464" y="352"/>
                    <a:pt x="1465" y="356"/>
                  </a:cubicBezTo>
                  <a:cubicBezTo>
                    <a:pt x="1473" y="356"/>
                    <a:pt x="1481" y="355"/>
                    <a:pt x="1489" y="355"/>
                  </a:cubicBezTo>
                  <a:cubicBezTo>
                    <a:pt x="1492" y="353"/>
                    <a:pt x="1494" y="347"/>
                    <a:pt x="1497" y="346"/>
                  </a:cubicBezTo>
                  <a:cubicBezTo>
                    <a:pt x="1502" y="345"/>
                    <a:pt x="1504" y="349"/>
                    <a:pt x="1508" y="348"/>
                  </a:cubicBezTo>
                  <a:cubicBezTo>
                    <a:pt x="1508" y="343"/>
                    <a:pt x="1509" y="339"/>
                    <a:pt x="1514" y="338"/>
                  </a:cubicBezTo>
                  <a:cubicBezTo>
                    <a:pt x="1515" y="346"/>
                    <a:pt x="1508" y="348"/>
                    <a:pt x="1514" y="352"/>
                  </a:cubicBezTo>
                  <a:cubicBezTo>
                    <a:pt x="1526" y="355"/>
                    <a:pt x="1523" y="344"/>
                    <a:pt x="1533" y="345"/>
                  </a:cubicBezTo>
                  <a:cubicBezTo>
                    <a:pt x="1534" y="347"/>
                    <a:pt x="1533" y="350"/>
                    <a:pt x="1536" y="350"/>
                  </a:cubicBezTo>
                  <a:cubicBezTo>
                    <a:pt x="1539" y="350"/>
                    <a:pt x="1540" y="353"/>
                    <a:pt x="1541" y="350"/>
                  </a:cubicBezTo>
                  <a:cubicBezTo>
                    <a:pt x="1537" y="349"/>
                    <a:pt x="1543" y="344"/>
                    <a:pt x="1541" y="340"/>
                  </a:cubicBezTo>
                  <a:cubicBezTo>
                    <a:pt x="1541" y="339"/>
                    <a:pt x="1533" y="341"/>
                    <a:pt x="1536" y="336"/>
                  </a:cubicBezTo>
                  <a:cubicBezTo>
                    <a:pt x="1540" y="336"/>
                    <a:pt x="1545" y="336"/>
                    <a:pt x="1549" y="335"/>
                  </a:cubicBezTo>
                  <a:cubicBezTo>
                    <a:pt x="1553" y="343"/>
                    <a:pt x="1552" y="345"/>
                    <a:pt x="1547" y="350"/>
                  </a:cubicBezTo>
                  <a:cubicBezTo>
                    <a:pt x="1555" y="349"/>
                    <a:pt x="1563" y="349"/>
                    <a:pt x="1572" y="349"/>
                  </a:cubicBezTo>
                  <a:cubicBezTo>
                    <a:pt x="1573" y="346"/>
                    <a:pt x="1574" y="344"/>
                    <a:pt x="1577" y="342"/>
                  </a:cubicBezTo>
                  <a:cubicBezTo>
                    <a:pt x="1579" y="353"/>
                    <a:pt x="1592" y="340"/>
                    <a:pt x="1599" y="346"/>
                  </a:cubicBezTo>
                  <a:cubicBezTo>
                    <a:pt x="1600" y="345"/>
                    <a:pt x="1599" y="342"/>
                    <a:pt x="1602" y="342"/>
                  </a:cubicBezTo>
                  <a:cubicBezTo>
                    <a:pt x="1604" y="345"/>
                    <a:pt x="1609" y="340"/>
                    <a:pt x="1615" y="344"/>
                  </a:cubicBezTo>
                  <a:cubicBezTo>
                    <a:pt x="1619" y="338"/>
                    <a:pt x="1617" y="328"/>
                    <a:pt x="1626" y="327"/>
                  </a:cubicBezTo>
                  <a:cubicBezTo>
                    <a:pt x="1629" y="330"/>
                    <a:pt x="1629" y="336"/>
                    <a:pt x="1632" y="339"/>
                  </a:cubicBezTo>
                  <a:cubicBezTo>
                    <a:pt x="1628" y="339"/>
                    <a:pt x="1623" y="329"/>
                    <a:pt x="1624" y="339"/>
                  </a:cubicBezTo>
                  <a:cubicBezTo>
                    <a:pt x="1627" y="342"/>
                    <a:pt x="1633" y="343"/>
                    <a:pt x="1640" y="343"/>
                  </a:cubicBezTo>
                  <a:cubicBezTo>
                    <a:pt x="1640" y="340"/>
                    <a:pt x="1639" y="335"/>
                    <a:pt x="1643" y="334"/>
                  </a:cubicBezTo>
                  <a:cubicBezTo>
                    <a:pt x="1642" y="340"/>
                    <a:pt x="1647" y="341"/>
                    <a:pt x="1651" y="343"/>
                  </a:cubicBezTo>
                  <a:cubicBezTo>
                    <a:pt x="1651" y="340"/>
                    <a:pt x="1656" y="341"/>
                    <a:pt x="1656" y="338"/>
                  </a:cubicBezTo>
                  <a:cubicBezTo>
                    <a:pt x="1655" y="338"/>
                    <a:pt x="1653" y="336"/>
                    <a:pt x="1656" y="336"/>
                  </a:cubicBezTo>
                  <a:cubicBezTo>
                    <a:pt x="1662" y="335"/>
                    <a:pt x="1663" y="338"/>
                    <a:pt x="1667" y="338"/>
                  </a:cubicBezTo>
                  <a:cubicBezTo>
                    <a:pt x="1667" y="338"/>
                    <a:pt x="1669" y="334"/>
                    <a:pt x="1670" y="333"/>
                  </a:cubicBezTo>
                  <a:cubicBezTo>
                    <a:pt x="1670" y="333"/>
                    <a:pt x="1678" y="338"/>
                    <a:pt x="1681" y="336"/>
                  </a:cubicBezTo>
                  <a:cubicBezTo>
                    <a:pt x="1682" y="330"/>
                    <a:pt x="1676" y="330"/>
                    <a:pt x="1678" y="324"/>
                  </a:cubicBezTo>
                  <a:cubicBezTo>
                    <a:pt x="1682" y="323"/>
                    <a:pt x="1683" y="320"/>
                    <a:pt x="1686" y="319"/>
                  </a:cubicBezTo>
                  <a:cubicBezTo>
                    <a:pt x="1686" y="322"/>
                    <a:pt x="1691" y="321"/>
                    <a:pt x="1692" y="324"/>
                  </a:cubicBezTo>
                  <a:cubicBezTo>
                    <a:pt x="1681" y="324"/>
                    <a:pt x="1694" y="328"/>
                    <a:pt x="1695" y="331"/>
                  </a:cubicBezTo>
                  <a:cubicBezTo>
                    <a:pt x="1695" y="330"/>
                    <a:pt x="1687" y="343"/>
                    <a:pt x="1695" y="340"/>
                  </a:cubicBezTo>
                  <a:cubicBezTo>
                    <a:pt x="1694" y="335"/>
                    <a:pt x="1705" y="339"/>
                    <a:pt x="1709" y="337"/>
                  </a:cubicBezTo>
                  <a:cubicBezTo>
                    <a:pt x="1709" y="335"/>
                    <a:pt x="1712" y="334"/>
                    <a:pt x="1714" y="333"/>
                  </a:cubicBezTo>
                  <a:cubicBezTo>
                    <a:pt x="1714" y="335"/>
                    <a:pt x="1715" y="338"/>
                    <a:pt x="1720" y="337"/>
                  </a:cubicBezTo>
                  <a:cubicBezTo>
                    <a:pt x="1716" y="330"/>
                    <a:pt x="1728" y="335"/>
                    <a:pt x="1725" y="328"/>
                  </a:cubicBezTo>
                  <a:cubicBezTo>
                    <a:pt x="1721" y="327"/>
                    <a:pt x="1715" y="329"/>
                    <a:pt x="1714" y="326"/>
                  </a:cubicBezTo>
                  <a:cubicBezTo>
                    <a:pt x="1717" y="322"/>
                    <a:pt x="1718" y="318"/>
                    <a:pt x="1722" y="316"/>
                  </a:cubicBezTo>
                  <a:cubicBezTo>
                    <a:pt x="1718" y="324"/>
                    <a:pt x="1731" y="317"/>
                    <a:pt x="1730" y="323"/>
                  </a:cubicBezTo>
                  <a:cubicBezTo>
                    <a:pt x="1727" y="323"/>
                    <a:pt x="1727" y="329"/>
                    <a:pt x="1730" y="330"/>
                  </a:cubicBezTo>
                  <a:cubicBezTo>
                    <a:pt x="1734" y="325"/>
                    <a:pt x="1735" y="318"/>
                    <a:pt x="1744" y="318"/>
                  </a:cubicBezTo>
                  <a:cubicBezTo>
                    <a:pt x="1741" y="323"/>
                    <a:pt x="1735" y="326"/>
                    <a:pt x="1733" y="332"/>
                  </a:cubicBezTo>
                  <a:cubicBezTo>
                    <a:pt x="1748" y="334"/>
                    <a:pt x="1742" y="318"/>
                    <a:pt x="1760" y="322"/>
                  </a:cubicBezTo>
                  <a:cubicBezTo>
                    <a:pt x="1767" y="320"/>
                    <a:pt x="1754" y="312"/>
                    <a:pt x="1763" y="308"/>
                  </a:cubicBezTo>
                  <a:cubicBezTo>
                    <a:pt x="1759" y="319"/>
                    <a:pt x="1769" y="319"/>
                    <a:pt x="1774" y="322"/>
                  </a:cubicBezTo>
                  <a:cubicBezTo>
                    <a:pt x="1773" y="327"/>
                    <a:pt x="1760" y="323"/>
                    <a:pt x="1763" y="332"/>
                  </a:cubicBezTo>
                  <a:cubicBezTo>
                    <a:pt x="1770" y="333"/>
                    <a:pt x="1769" y="327"/>
                    <a:pt x="1777" y="329"/>
                  </a:cubicBezTo>
                  <a:cubicBezTo>
                    <a:pt x="1776" y="324"/>
                    <a:pt x="1779" y="322"/>
                    <a:pt x="1785" y="322"/>
                  </a:cubicBezTo>
                  <a:cubicBezTo>
                    <a:pt x="1783" y="330"/>
                    <a:pt x="1790" y="330"/>
                    <a:pt x="1796" y="331"/>
                  </a:cubicBezTo>
                  <a:cubicBezTo>
                    <a:pt x="1793" y="321"/>
                    <a:pt x="1802" y="324"/>
                    <a:pt x="1807" y="322"/>
                  </a:cubicBezTo>
                  <a:cubicBezTo>
                    <a:pt x="1809" y="320"/>
                    <a:pt x="1810" y="315"/>
                    <a:pt x="1815" y="317"/>
                  </a:cubicBezTo>
                  <a:cubicBezTo>
                    <a:pt x="1818" y="323"/>
                    <a:pt x="1811" y="323"/>
                    <a:pt x="1813" y="329"/>
                  </a:cubicBezTo>
                  <a:cubicBezTo>
                    <a:pt x="1818" y="329"/>
                    <a:pt x="1817" y="327"/>
                    <a:pt x="1818" y="324"/>
                  </a:cubicBezTo>
                  <a:cubicBezTo>
                    <a:pt x="1818" y="323"/>
                    <a:pt x="1821" y="324"/>
                    <a:pt x="1821" y="324"/>
                  </a:cubicBezTo>
                  <a:cubicBezTo>
                    <a:pt x="1822" y="321"/>
                    <a:pt x="1820" y="317"/>
                    <a:pt x="1821" y="314"/>
                  </a:cubicBezTo>
                  <a:cubicBezTo>
                    <a:pt x="1822" y="303"/>
                    <a:pt x="1828" y="308"/>
                    <a:pt x="1823" y="314"/>
                  </a:cubicBezTo>
                  <a:cubicBezTo>
                    <a:pt x="1834" y="316"/>
                    <a:pt x="1825" y="302"/>
                    <a:pt x="1837" y="305"/>
                  </a:cubicBezTo>
                  <a:cubicBezTo>
                    <a:pt x="1834" y="311"/>
                    <a:pt x="1833" y="322"/>
                    <a:pt x="1843" y="323"/>
                  </a:cubicBezTo>
                  <a:cubicBezTo>
                    <a:pt x="1849" y="318"/>
                    <a:pt x="1839" y="319"/>
                    <a:pt x="1840" y="312"/>
                  </a:cubicBezTo>
                  <a:cubicBezTo>
                    <a:pt x="1843" y="312"/>
                    <a:pt x="1844" y="315"/>
                    <a:pt x="1848" y="314"/>
                  </a:cubicBezTo>
                  <a:cubicBezTo>
                    <a:pt x="1853" y="308"/>
                    <a:pt x="1844" y="304"/>
                    <a:pt x="1851" y="300"/>
                  </a:cubicBezTo>
                  <a:cubicBezTo>
                    <a:pt x="1858" y="309"/>
                    <a:pt x="1841" y="322"/>
                    <a:pt x="1854" y="328"/>
                  </a:cubicBezTo>
                  <a:cubicBezTo>
                    <a:pt x="1853" y="321"/>
                    <a:pt x="1854" y="316"/>
                    <a:pt x="1859" y="314"/>
                  </a:cubicBezTo>
                  <a:cubicBezTo>
                    <a:pt x="1868" y="315"/>
                    <a:pt x="1866" y="307"/>
                    <a:pt x="1873" y="306"/>
                  </a:cubicBezTo>
                  <a:cubicBezTo>
                    <a:pt x="1875" y="314"/>
                    <a:pt x="1870" y="316"/>
                    <a:pt x="1867" y="320"/>
                  </a:cubicBezTo>
                  <a:cubicBezTo>
                    <a:pt x="1878" y="323"/>
                    <a:pt x="1872" y="312"/>
                    <a:pt x="1881" y="313"/>
                  </a:cubicBezTo>
                  <a:cubicBezTo>
                    <a:pt x="1881" y="316"/>
                    <a:pt x="1878" y="317"/>
                    <a:pt x="1878" y="320"/>
                  </a:cubicBezTo>
                  <a:cubicBezTo>
                    <a:pt x="1884" y="321"/>
                    <a:pt x="1884" y="317"/>
                    <a:pt x="1886" y="315"/>
                  </a:cubicBezTo>
                  <a:cubicBezTo>
                    <a:pt x="1891" y="316"/>
                    <a:pt x="1889" y="321"/>
                    <a:pt x="1895" y="320"/>
                  </a:cubicBezTo>
                  <a:cubicBezTo>
                    <a:pt x="1897" y="315"/>
                    <a:pt x="1895" y="308"/>
                    <a:pt x="1903" y="303"/>
                  </a:cubicBezTo>
                  <a:cubicBezTo>
                    <a:pt x="1903" y="307"/>
                    <a:pt x="1904" y="309"/>
                    <a:pt x="1906" y="310"/>
                  </a:cubicBezTo>
                  <a:cubicBezTo>
                    <a:pt x="1895" y="307"/>
                    <a:pt x="1905" y="325"/>
                    <a:pt x="1906" y="325"/>
                  </a:cubicBezTo>
                  <a:cubicBezTo>
                    <a:pt x="1909" y="319"/>
                    <a:pt x="1905" y="320"/>
                    <a:pt x="1908" y="313"/>
                  </a:cubicBezTo>
                  <a:cubicBezTo>
                    <a:pt x="1919" y="315"/>
                    <a:pt x="1916" y="307"/>
                    <a:pt x="1925" y="308"/>
                  </a:cubicBezTo>
                  <a:cubicBezTo>
                    <a:pt x="1929" y="309"/>
                    <a:pt x="1925" y="317"/>
                    <a:pt x="1930" y="317"/>
                  </a:cubicBezTo>
                  <a:cubicBezTo>
                    <a:pt x="1936" y="311"/>
                    <a:pt x="1927" y="306"/>
                    <a:pt x="1933" y="303"/>
                  </a:cubicBezTo>
                  <a:cubicBezTo>
                    <a:pt x="1937" y="303"/>
                    <a:pt x="1935" y="309"/>
                    <a:pt x="1939" y="310"/>
                  </a:cubicBezTo>
                  <a:cubicBezTo>
                    <a:pt x="1939" y="308"/>
                    <a:pt x="1941" y="307"/>
                    <a:pt x="1944" y="307"/>
                  </a:cubicBezTo>
                  <a:cubicBezTo>
                    <a:pt x="1948" y="307"/>
                    <a:pt x="1955" y="298"/>
                    <a:pt x="1949" y="298"/>
                  </a:cubicBezTo>
                  <a:cubicBezTo>
                    <a:pt x="1950" y="303"/>
                    <a:pt x="1941" y="298"/>
                    <a:pt x="1941" y="296"/>
                  </a:cubicBezTo>
                  <a:cubicBezTo>
                    <a:pt x="1952" y="300"/>
                    <a:pt x="1950" y="292"/>
                    <a:pt x="1955" y="295"/>
                  </a:cubicBezTo>
                  <a:cubicBezTo>
                    <a:pt x="1957" y="297"/>
                    <a:pt x="1963" y="294"/>
                    <a:pt x="1966" y="295"/>
                  </a:cubicBezTo>
                  <a:cubicBezTo>
                    <a:pt x="1966" y="293"/>
                    <a:pt x="1966" y="291"/>
                    <a:pt x="1968" y="291"/>
                  </a:cubicBezTo>
                  <a:cubicBezTo>
                    <a:pt x="1968" y="295"/>
                    <a:pt x="1972" y="295"/>
                    <a:pt x="1974" y="297"/>
                  </a:cubicBezTo>
                  <a:cubicBezTo>
                    <a:pt x="1975" y="302"/>
                    <a:pt x="1971" y="303"/>
                    <a:pt x="1971" y="307"/>
                  </a:cubicBezTo>
                  <a:cubicBezTo>
                    <a:pt x="1978" y="311"/>
                    <a:pt x="1992" y="309"/>
                    <a:pt x="1999" y="306"/>
                  </a:cubicBezTo>
                  <a:cubicBezTo>
                    <a:pt x="1999" y="304"/>
                    <a:pt x="1998" y="300"/>
                    <a:pt x="2001" y="299"/>
                  </a:cubicBezTo>
                  <a:cubicBezTo>
                    <a:pt x="2004" y="301"/>
                    <a:pt x="2011" y="310"/>
                    <a:pt x="2013" y="304"/>
                  </a:cubicBezTo>
                  <a:cubicBezTo>
                    <a:pt x="2011" y="304"/>
                    <a:pt x="2009" y="302"/>
                    <a:pt x="2012" y="301"/>
                  </a:cubicBezTo>
                  <a:cubicBezTo>
                    <a:pt x="2013" y="298"/>
                    <a:pt x="2011" y="296"/>
                    <a:pt x="2010" y="295"/>
                  </a:cubicBezTo>
                  <a:cubicBezTo>
                    <a:pt x="2017" y="296"/>
                    <a:pt x="2017" y="291"/>
                    <a:pt x="2023" y="292"/>
                  </a:cubicBezTo>
                  <a:cubicBezTo>
                    <a:pt x="2024" y="298"/>
                    <a:pt x="2019" y="297"/>
                    <a:pt x="2023" y="301"/>
                  </a:cubicBezTo>
                  <a:cubicBezTo>
                    <a:pt x="2021" y="301"/>
                    <a:pt x="2020" y="305"/>
                    <a:pt x="2024" y="306"/>
                  </a:cubicBezTo>
                  <a:cubicBezTo>
                    <a:pt x="2025" y="297"/>
                    <a:pt x="2032" y="305"/>
                    <a:pt x="2034" y="303"/>
                  </a:cubicBezTo>
                  <a:cubicBezTo>
                    <a:pt x="2036" y="303"/>
                    <a:pt x="2034" y="298"/>
                    <a:pt x="2037" y="299"/>
                  </a:cubicBezTo>
                  <a:cubicBezTo>
                    <a:pt x="2037" y="303"/>
                    <a:pt x="2045" y="300"/>
                    <a:pt x="2045" y="303"/>
                  </a:cubicBezTo>
                  <a:cubicBezTo>
                    <a:pt x="2038" y="300"/>
                    <a:pt x="2033" y="310"/>
                    <a:pt x="2040" y="310"/>
                  </a:cubicBezTo>
                  <a:cubicBezTo>
                    <a:pt x="2040" y="304"/>
                    <a:pt x="2048" y="306"/>
                    <a:pt x="2051" y="303"/>
                  </a:cubicBezTo>
                  <a:cubicBezTo>
                    <a:pt x="2053" y="301"/>
                    <a:pt x="2050" y="291"/>
                    <a:pt x="2059" y="294"/>
                  </a:cubicBezTo>
                  <a:cubicBezTo>
                    <a:pt x="2057" y="299"/>
                    <a:pt x="2051" y="301"/>
                    <a:pt x="2051" y="308"/>
                  </a:cubicBezTo>
                  <a:cubicBezTo>
                    <a:pt x="2061" y="307"/>
                    <a:pt x="2062" y="299"/>
                    <a:pt x="2073" y="298"/>
                  </a:cubicBezTo>
                  <a:cubicBezTo>
                    <a:pt x="2072" y="294"/>
                    <a:pt x="2064" y="279"/>
                    <a:pt x="2075" y="279"/>
                  </a:cubicBezTo>
                  <a:cubicBezTo>
                    <a:pt x="2072" y="288"/>
                    <a:pt x="2072" y="298"/>
                    <a:pt x="2084" y="303"/>
                  </a:cubicBezTo>
                  <a:cubicBezTo>
                    <a:pt x="2085" y="299"/>
                    <a:pt x="2080" y="297"/>
                    <a:pt x="2084" y="296"/>
                  </a:cubicBezTo>
                  <a:cubicBezTo>
                    <a:pt x="2090" y="299"/>
                    <a:pt x="2088" y="301"/>
                    <a:pt x="2087" y="307"/>
                  </a:cubicBezTo>
                  <a:cubicBezTo>
                    <a:pt x="2095" y="308"/>
                    <a:pt x="2096" y="298"/>
                    <a:pt x="2103" y="305"/>
                  </a:cubicBezTo>
                  <a:cubicBezTo>
                    <a:pt x="2102" y="295"/>
                    <a:pt x="2109" y="303"/>
                    <a:pt x="2114" y="302"/>
                  </a:cubicBezTo>
                  <a:cubicBezTo>
                    <a:pt x="2115" y="299"/>
                    <a:pt x="2118" y="298"/>
                    <a:pt x="2117" y="293"/>
                  </a:cubicBezTo>
                  <a:cubicBezTo>
                    <a:pt x="2122" y="293"/>
                    <a:pt x="2122" y="289"/>
                    <a:pt x="2125" y="288"/>
                  </a:cubicBezTo>
                  <a:cubicBezTo>
                    <a:pt x="2124" y="293"/>
                    <a:pt x="2119" y="301"/>
                    <a:pt x="2128" y="302"/>
                  </a:cubicBezTo>
                  <a:cubicBezTo>
                    <a:pt x="2128" y="300"/>
                    <a:pt x="2128" y="297"/>
                    <a:pt x="2130" y="297"/>
                  </a:cubicBezTo>
                  <a:cubicBezTo>
                    <a:pt x="2127" y="305"/>
                    <a:pt x="2139" y="299"/>
                    <a:pt x="2136" y="306"/>
                  </a:cubicBezTo>
                  <a:cubicBezTo>
                    <a:pt x="2135" y="306"/>
                    <a:pt x="2133" y="308"/>
                    <a:pt x="2136" y="309"/>
                  </a:cubicBezTo>
                  <a:cubicBezTo>
                    <a:pt x="2137" y="306"/>
                    <a:pt x="2140" y="304"/>
                    <a:pt x="2139" y="299"/>
                  </a:cubicBezTo>
                  <a:cubicBezTo>
                    <a:pt x="2146" y="298"/>
                    <a:pt x="2149" y="288"/>
                    <a:pt x="2152" y="285"/>
                  </a:cubicBezTo>
                  <a:cubicBezTo>
                    <a:pt x="2154" y="292"/>
                    <a:pt x="2154" y="289"/>
                    <a:pt x="2152" y="297"/>
                  </a:cubicBezTo>
                  <a:cubicBezTo>
                    <a:pt x="2166" y="292"/>
                    <a:pt x="2160" y="304"/>
                    <a:pt x="2169" y="303"/>
                  </a:cubicBezTo>
                  <a:cubicBezTo>
                    <a:pt x="2175" y="311"/>
                    <a:pt x="2170" y="295"/>
                    <a:pt x="2174" y="294"/>
                  </a:cubicBezTo>
                  <a:cubicBezTo>
                    <a:pt x="2176" y="294"/>
                    <a:pt x="2179" y="297"/>
                    <a:pt x="2180" y="296"/>
                  </a:cubicBezTo>
                  <a:cubicBezTo>
                    <a:pt x="2182" y="294"/>
                    <a:pt x="2177" y="287"/>
                    <a:pt x="2182" y="287"/>
                  </a:cubicBezTo>
                  <a:cubicBezTo>
                    <a:pt x="2187" y="286"/>
                    <a:pt x="2184" y="294"/>
                    <a:pt x="2188" y="294"/>
                  </a:cubicBezTo>
                  <a:cubicBezTo>
                    <a:pt x="2189" y="285"/>
                    <a:pt x="2188" y="282"/>
                    <a:pt x="2190" y="280"/>
                  </a:cubicBezTo>
                  <a:cubicBezTo>
                    <a:pt x="2201" y="287"/>
                    <a:pt x="2186" y="293"/>
                    <a:pt x="2193" y="294"/>
                  </a:cubicBezTo>
                  <a:cubicBezTo>
                    <a:pt x="2200" y="294"/>
                    <a:pt x="2195" y="303"/>
                    <a:pt x="2196" y="305"/>
                  </a:cubicBezTo>
                  <a:cubicBezTo>
                    <a:pt x="2208" y="306"/>
                    <a:pt x="2196" y="302"/>
                    <a:pt x="2199" y="296"/>
                  </a:cubicBezTo>
                  <a:cubicBezTo>
                    <a:pt x="2205" y="293"/>
                    <a:pt x="2206" y="296"/>
                    <a:pt x="2213" y="291"/>
                  </a:cubicBezTo>
                  <a:cubicBezTo>
                    <a:pt x="2218" y="293"/>
                    <a:pt x="2212" y="304"/>
                    <a:pt x="2218" y="305"/>
                  </a:cubicBezTo>
                  <a:cubicBezTo>
                    <a:pt x="2219" y="299"/>
                    <a:pt x="2223" y="297"/>
                    <a:pt x="2226" y="293"/>
                  </a:cubicBezTo>
                  <a:cubicBezTo>
                    <a:pt x="2227" y="299"/>
                    <a:pt x="2231" y="290"/>
                    <a:pt x="2237" y="293"/>
                  </a:cubicBezTo>
                  <a:cubicBezTo>
                    <a:pt x="2244" y="290"/>
                    <a:pt x="2232" y="284"/>
                    <a:pt x="2240" y="281"/>
                  </a:cubicBezTo>
                  <a:cubicBezTo>
                    <a:pt x="2243" y="281"/>
                    <a:pt x="2242" y="285"/>
                    <a:pt x="2245" y="286"/>
                  </a:cubicBezTo>
                  <a:cubicBezTo>
                    <a:pt x="2253" y="281"/>
                    <a:pt x="2242" y="274"/>
                    <a:pt x="2248" y="274"/>
                  </a:cubicBezTo>
                  <a:cubicBezTo>
                    <a:pt x="2250" y="274"/>
                    <a:pt x="2252" y="274"/>
                    <a:pt x="2253" y="274"/>
                  </a:cubicBezTo>
                  <a:cubicBezTo>
                    <a:pt x="2250" y="277"/>
                    <a:pt x="2250" y="280"/>
                    <a:pt x="2254" y="283"/>
                  </a:cubicBezTo>
                  <a:cubicBezTo>
                    <a:pt x="2250" y="286"/>
                    <a:pt x="2245" y="287"/>
                    <a:pt x="2243" y="290"/>
                  </a:cubicBezTo>
                  <a:cubicBezTo>
                    <a:pt x="2247" y="290"/>
                    <a:pt x="2252" y="290"/>
                    <a:pt x="2257" y="290"/>
                  </a:cubicBezTo>
                  <a:cubicBezTo>
                    <a:pt x="2256" y="296"/>
                    <a:pt x="2257" y="299"/>
                    <a:pt x="2262" y="300"/>
                  </a:cubicBezTo>
                  <a:cubicBezTo>
                    <a:pt x="2263" y="295"/>
                    <a:pt x="2259" y="288"/>
                    <a:pt x="2267" y="290"/>
                  </a:cubicBezTo>
                  <a:cubicBezTo>
                    <a:pt x="2268" y="293"/>
                    <a:pt x="2264" y="294"/>
                    <a:pt x="2268" y="295"/>
                  </a:cubicBezTo>
                  <a:cubicBezTo>
                    <a:pt x="2272" y="288"/>
                    <a:pt x="2276" y="301"/>
                    <a:pt x="2281" y="302"/>
                  </a:cubicBezTo>
                  <a:cubicBezTo>
                    <a:pt x="2281" y="295"/>
                    <a:pt x="2280" y="288"/>
                    <a:pt x="2287" y="287"/>
                  </a:cubicBezTo>
                  <a:cubicBezTo>
                    <a:pt x="2287" y="292"/>
                    <a:pt x="2289" y="295"/>
                    <a:pt x="2292" y="297"/>
                  </a:cubicBezTo>
                  <a:cubicBezTo>
                    <a:pt x="2293" y="294"/>
                    <a:pt x="2295" y="295"/>
                    <a:pt x="2298" y="297"/>
                  </a:cubicBezTo>
                  <a:cubicBezTo>
                    <a:pt x="2298" y="294"/>
                    <a:pt x="2297" y="290"/>
                    <a:pt x="2300" y="289"/>
                  </a:cubicBezTo>
                  <a:cubicBezTo>
                    <a:pt x="2303" y="298"/>
                    <a:pt x="2306" y="286"/>
                    <a:pt x="2309" y="287"/>
                  </a:cubicBezTo>
                  <a:cubicBezTo>
                    <a:pt x="2311" y="288"/>
                    <a:pt x="2311" y="294"/>
                    <a:pt x="2314" y="294"/>
                  </a:cubicBezTo>
                  <a:cubicBezTo>
                    <a:pt x="2318" y="288"/>
                    <a:pt x="2307" y="285"/>
                    <a:pt x="2314" y="284"/>
                  </a:cubicBezTo>
                  <a:cubicBezTo>
                    <a:pt x="2321" y="283"/>
                    <a:pt x="2319" y="289"/>
                    <a:pt x="2322" y="291"/>
                  </a:cubicBezTo>
                  <a:cubicBezTo>
                    <a:pt x="2319" y="291"/>
                    <a:pt x="2313" y="298"/>
                    <a:pt x="2320" y="299"/>
                  </a:cubicBezTo>
                  <a:cubicBezTo>
                    <a:pt x="2320" y="296"/>
                    <a:pt x="2323" y="295"/>
                    <a:pt x="2325" y="294"/>
                  </a:cubicBezTo>
                  <a:cubicBezTo>
                    <a:pt x="2326" y="290"/>
                    <a:pt x="2317" y="282"/>
                    <a:pt x="2325" y="280"/>
                  </a:cubicBezTo>
                  <a:cubicBezTo>
                    <a:pt x="2330" y="280"/>
                    <a:pt x="2326" y="301"/>
                    <a:pt x="2331" y="294"/>
                  </a:cubicBezTo>
                  <a:cubicBezTo>
                    <a:pt x="2331" y="284"/>
                    <a:pt x="2328" y="271"/>
                    <a:pt x="2338" y="270"/>
                  </a:cubicBezTo>
                  <a:cubicBezTo>
                    <a:pt x="2332" y="275"/>
                    <a:pt x="2338" y="281"/>
                    <a:pt x="2339" y="286"/>
                  </a:cubicBezTo>
                  <a:cubicBezTo>
                    <a:pt x="2339" y="289"/>
                    <a:pt x="2336" y="289"/>
                    <a:pt x="2336" y="291"/>
                  </a:cubicBezTo>
                  <a:cubicBezTo>
                    <a:pt x="2336" y="294"/>
                    <a:pt x="2340" y="295"/>
                    <a:pt x="2342" y="296"/>
                  </a:cubicBezTo>
                  <a:cubicBezTo>
                    <a:pt x="2342" y="292"/>
                    <a:pt x="2340" y="287"/>
                    <a:pt x="2344" y="286"/>
                  </a:cubicBezTo>
                  <a:cubicBezTo>
                    <a:pt x="2348" y="286"/>
                    <a:pt x="2347" y="290"/>
                    <a:pt x="2350" y="291"/>
                  </a:cubicBezTo>
                  <a:cubicBezTo>
                    <a:pt x="2352" y="278"/>
                    <a:pt x="2350" y="297"/>
                    <a:pt x="2358" y="293"/>
                  </a:cubicBezTo>
                  <a:cubicBezTo>
                    <a:pt x="2362" y="286"/>
                    <a:pt x="2357" y="286"/>
                    <a:pt x="2358" y="277"/>
                  </a:cubicBezTo>
                  <a:cubicBezTo>
                    <a:pt x="2363" y="278"/>
                    <a:pt x="2361" y="271"/>
                    <a:pt x="2366" y="270"/>
                  </a:cubicBezTo>
                  <a:cubicBezTo>
                    <a:pt x="2369" y="269"/>
                    <a:pt x="2374" y="270"/>
                    <a:pt x="2374" y="272"/>
                  </a:cubicBezTo>
                  <a:cubicBezTo>
                    <a:pt x="2371" y="273"/>
                    <a:pt x="2367" y="274"/>
                    <a:pt x="2366" y="277"/>
                  </a:cubicBezTo>
                  <a:cubicBezTo>
                    <a:pt x="2366" y="276"/>
                    <a:pt x="2371" y="279"/>
                    <a:pt x="2369" y="281"/>
                  </a:cubicBezTo>
                  <a:cubicBezTo>
                    <a:pt x="2365" y="285"/>
                    <a:pt x="2368" y="284"/>
                    <a:pt x="2369" y="288"/>
                  </a:cubicBezTo>
                  <a:cubicBezTo>
                    <a:pt x="2369" y="288"/>
                    <a:pt x="2363" y="293"/>
                    <a:pt x="2369" y="293"/>
                  </a:cubicBezTo>
                  <a:cubicBezTo>
                    <a:pt x="2374" y="285"/>
                    <a:pt x="2379" y="296"/>
                    <a:pt x="2386" y="295"/>
                  </a:cubicBezTo>
                  <a:cubicBezTo>
                    <a:pt x="2387" y="295"/>
                    <a:pt x="2385" y="289"/>
                    <a:pt x="2388" y="290"/>
                  </a:cubicBezTo>
                  <a:cubicBezTo>
                    <a:pt x="2389" y="296"/>
                    <a:pt x="2397" y="291"/>
                    <a:pt x="2399" y="290"/>
                  </a:cubicBezTo>
                  <a:cubicBezTo>
                    <a:pt x="2399" y="282"/>
                    <a:pt x="2392" y="273"/>
                    <a:pt x="2401" y="267"/>
                  </a:cubicBezTo>
                  <a:cubicBezTo>
                    <a:pt x="2397" y="274"/>
                    <a:pt x="2403" y="277"/>
                    <a:pt x="2402" y="288"/>
                  </a:cubicBezTo>
                  <a:cubicBezTo>
                    <a:pt x="2407" y="288"/>
                    <a:pt x="2409" y="292"/>
                    <a:pt x="2413" y="294"/>
                  </a:cubicBezTo>
                  <a:cubicBezTo>
                    <a:pt x="2411" y="288"/>
                    <a:pt x="2417" y="288"/>
                    <a:pt x="2415" y="283"/>
                  </a:cubicBezTo>
                  <a:cubicBezTo>
                    <a:pt x="2412" y="282"/>
                    <a:pt x="2408" y="283"/>
                    <a:pt x="2407" y="281"/>
                  </a:cubicBezTo>
                  <a:cubicBezTo>
                    <a:pt x="2420" y="283"/>
                    <a:pt x="2414" y="269"/>
                    <a:pt x="2423" y="269"/>
                  </a:cubicBezTo>
                  <a:cubicBezTo>
                    <a:pt x="2419" y="274"/>
                    <a:pt x="2426" y="278"/>
                    <a:pt x="2426" y="283"/>
                  </a:cubicBezTo>
                  <a:cubicBezTo>
                    <a:pt x="2427" y="285"/>
                    <a:pt x="2421" y="288"/>
                    <a:pt x="2427" y="290"/>
                  </a:cubicBezTo>
                  <a:cubicBezTo>
                    <a:pt x="2428" y="286"/>
                    <a:pt x="2430" y="290"/>
                    <a:pt x="2435" y="289"/>
                  </a:cubicBezTo>
                  <a:cubicBezTo>
                    <a:pt x="2438" y="284"/>
                    <a:pt x="2424" y="282"/>
                    <a:pt x="2432" y="280"/>
                  </a:cubicBezTo>
                  <a:cubicBezTo>
                    <a:pt x="2441" y="278"/>
                    <a:pt x="2436" y="288"/>
                    <a:pt x="2443" y="287"/>
                  </a:cubicBezTo>
                  <a:cubicBezTo>
                    <a:pt x="2441" y="278"/>
                    <a:pt x="2434" y="268"/>
                    <a:pt x="2443" y="261"/>
                  </a:cubicBezTo>
                  <a:cubicBezTo>
                    <a:pt x="2448" y="268"/>
                    <a:pt x="2439" y="284"/>
                    <a:pt x="2451" y="289"/>
                  </a:cubicBezTo>
                  <a:cubicBezTo>
                    <a:pt x="2449" y="280"/>
                    <a:pt x="2456" y="279"/>
                    <a:pt x="2459" y="275"/>
                  </a:cubicBezTo>
                  <a:cubicBezTo>
                    <a:pt x="2458" y="280"/>
                    <a:pt x="2467" y="277"/>
                    <a:pt x="2468" y="282"/>
                  </a:cubicBezTo>
                  <a:cubicBezTo>
                    <a:pt x="2459" y="285"/>
                    <a:pt x="2472" y="291"/>
                    <a:pt x="2465" y="294"/>
                  </a:cubicBezTo>
                  <a:cubicBezTo>
                    <a:pt x="2473" y="295"/>
                    <a:pt x="2470" y="289"/>
                    <a:pt x="2476" y="289"/>
                  </a:cubicBezTo>
                  <a:cubicBezTo>
                    <a:pt x="2476" y="292"/>
                    <a:pt x="2477" y="294"/>
                    <a:pt x="2482" y="293"/>
                  </a:cubicBezTo>
                  <a:cubicBezTo>
                    <a:pt x="2479" y="288"/>
                    <a:pt x="2479" y="284"/>
                    <a:pt x="2484" y="279"/>
                  </a:cubicBezTo>
                  <a:cubicBezTo>
                    <a:pt x="2489" y="278"/>
                    <a:pt x="2500" y="282"/>
                    <a:pt x="2500" y="277"/>
                  </a:cubicBezTo>
                  <a:cubicBezTo>
                    <a:pt x="2499" y="277"/>
                    <a:pt x="2497" y="275"/>
                    <a:pt x="2500" y="274"/>
                  </a:cubicBezTo>
                  <a:cubicBezTo>
                    <a:pt x="2501" y="277"/>
                    <a:pt x="2504" y="279"/>
                    <a:pt x="2503" y="284"/>
                  </a:cubicBezTo>
                  <a:cubicBezTo>
                    <a:pt x="2500" y="281"/>
                    <a:pt x="2479" y="277"/>
                    <a:pt x="2484" y="289"/>
                  </a:cubicBezTo>
                  <a:cubicBezTo>
                    <a:pt x="2493" y="290"/>
                    <a:pt x="2493" y="285"/>
                    <a:pt x="2498" y="284"/>
                  </a:cubicBezTo>
                  <a:cubicBezTo>
                    <a:pt x="2496" y="288"/>
                    <a:pt x="2502" y="287"/>
                    <a:pt x="2503" y="288"/>
                  </a:cubicBezTo>
                  <a:cubicBezTo>
                    <a:pt x="2505" y="290"/>
                    <a:pt x="2503" y="295"/>
                    <a:pt x="2509" y="293"/>
                  </a:cubicBezTo>
                  <a:cubicBezTo>
                    <a:pt x="2507" y="284"/>
                    <a:pt x="2508" y="287"/>
                    <a:pt x="2506" y="276"/>
                  </a:cubicBezTo>
                  <a:cubicBezTo>
                    <a:pt x="2512" y="282"/>
                    <a:pt x="2523" y="270"/>
                    <a:pt x="2525" y="281"/>
                  </a:cubicBezTo>
                  <a:cubicBezTo>
                    <a:pt x="2522" y="278"/>
                    <a:pt x="2515" y="278"/>
                    <a:pt x="2511" y="281"/>
                  </a:cubicBezTo>
                  <a:cubicBezTo>
                    <a:pt x="2512" y="287"/>
                    <a:pt x="2514" y="291"/>
                    <a:pt x="2520" y="293"/>
                  </a:cubicBezTo>
                  <a:cubicBezTo>
                    <a:pt x="2522" y="289"/>
                    <a:pt x="2526" y="288"/>
                    <a:pt x="2531" y="288"/>
                  </a:cubicBezTo>
                  <a:cubicBezTo>
                    <a:pt x="2531" y="290"/>
                    <a:pt x="2531" y="292"/>
                    <a:pt x="2534" y="292"/>
                  </a:cubicBezTo>
                  <a:cubicBezTo>
                    <a:pt x="2531" y="284"/>
                    <a:pt x="2533" y="284"/>
                    <a:pt x="2528" y="276"/>
                  </a:cubicBezTo>
                  <a:cubicBezTo>
                    <a:pt x="2531" y="274"/>
                    <a:pt x="2535" y="273"/>
                    <a:pt x="2542" y="273"/>
                  </a:cubicBezTo>
                  <a:cubicBezTo>
                    <a:pt x="2540" y="277"/>
                    <a:pt x="2538" y="278"/>
                    <a:pt x="2542" y="281"/>
                  </a:cubicBezTo>
                  <a:cubicBezTo>
                    <a:pt x="2544" y="282"/>
                    <a:pt x="2539" y="291"/>
                    <a:pt x="2545" y="290"/>
                  </a:cubicBezTo>
                  <a:cubicBezTo>
                    <a:pt x="2549" y="285"/>
                    <a:pt x="2551" y="283"/>
                    <a:pt x="2547" y="276"/>
                  </a:cubicBezTo>
                  <a:cubicBezTo>
                    <a:pt x="2558" y="280"/>
                    <a:pt x="2550" y="270"/>
                    <a:pt x="2555" y="269"/>
                  </a:cubicBezTo>
                  <a:cubicBezTo>
                    <a:pt x="2554" y="269"/>
                    <a:pt x="2564" y="276"/>
                    <a:pt x="2572" y="273"/>
                  </a:cubicBezTo>
                  <a:cubicBezTo>
                    <a:pt x="2573" y="272"/>
                    <a:pt x="2571" y="266"/>
                    <a:pt x="2577" y="268"/>
                  </a:cubicBezTo>
                  <a:cubicBezTo>
                    <a:pt x="2578" y="274"/>
                    <a:pt x="2576" y="278"/>
                    <a:pt x="2572" y="280"/>
                  </a:cubicBezTo>
                  <a:cubicBezTo>
                    <a:pt x="2571" y="277"/>
                    <a:pt x="2569" y="276"/>
                    <a:pt x="2566" y="275"/>
                  </a:cubicBezTo>
                  <a:cubicBezTo>
                    <a:pt x="2567" y="286"/>
                    <a:pt x="2558" y="276"/>
                    <a:pt x="2555" y="276"/>
                  </a:cubicBezTo>
                  <a:cubicBezTo>
                    <a:pt x="2552" y="281"/>
                    <a:pt x="2562" y="284"/>
                    <a:pt x="2555" y="285"/>
                  </a:cubicBezTo>
                  <a:cubicBezTo>
                    <a:pt x="2554" y="285"/>
                    <a:pt x="2552" y="285"/>
                    <a:pt x="2553" y="287"/>
                  </a:cubicBezTo>
                  <a:cubicBezTo>
                    <a:pt x="2560" y="288"/>
                    <a:pt x="2561" y="284"/>
                    <a:pt x="2566" y="282"/>
                  </a:cubicBezTo>
                  <a:cubicBezTo>
                    <a:pt x="2571" y="290"/>
                    <a:pt x="2578" y="281"/>
                    <a:pt x="2580" y="289"/>
                  </a:cubicBezTo>
                  <a:cubicBezTo>
                    <a:pt x="2580" y="291"/>
                    <a:pt x="2581" y="292"/>
                    <a:pt x="2583" y="292"/>
                  </a:cubicBezTo>
                  <a:cubicBezTo>
                    <a:pt x="2583" y="287"/>
                    <a:pt x="2580" y="286"/>
                    <a:pt x="2580" y="282"/>
                  </a:cubicBezTo>
                  <a:cubicBezTo>
                    <a:pt x="2583" y="282"/>
                    <a:pt x="2583" y="280"/>
                    <a:pt x="2585" y="280"/>
                  </a:cubicBezTo>
                  <a:cubicBezTo>
                    <a:pt x="2586" y="290"/>
                    <a:pt x="2587" y="280"/>
                    <a:pt x="2591" y="280"/>
                  </a:cubicBezTo>
                  <a:cubicBezTo>
                    <a:pt x="2589" y="285"/>
                    <a:pt x="2594" y="295"/>
                    <a:pt x="2597" y="289"/>
                  </a:cubicBezTo>
                  <a:cubicBezTo>
                    <a:pt x="2594" y="289"/>
                    <a:pt x="2593" y="285"/>
                    <a:pt x="2597" y="284"/>
                  </a:cubicBezTo>
                  <a:cubicBezTo>
                    <a:pt x="2600" y="284"/>
                    <a:pt x="2599" y="288"/>
                    <a:pt x="2602" y="289"/>
                  </a:cubicBezTo>
                  <a:cubicBezTo>
                    <a:pt x="2606" y="287"/>
                    <a:pt x="2602" y="283"/>
                    <a:pt x="2602" y="279"/>
                  </a:cubicBezTo>
                  <a:cubicBezTo>
                    <a:pt x="2602" y="277"/>
                    <a:pt x="2605" y="278"/>
                    <a:pt x="2605" y="277"/>
                  </a:cubicBezTo>
                  <a:cubicBezTo>
                    <a:pt x="2606" y="274"/>
                    <a:pt x="2601" y="266"/>
                    <a:pt x="2607" y="265"/>
                  </a:cubicBezTo>
                  <a:cubicBezTo>
                    <a:pt x="2614" y="270"/>
                    <a:pt x="2618" y="277"/>
                    <a:pt x="2629" y="277"/>
                  </a:cubicBezTo>
                  <a:cubicBezTo>
                    <a:pt x="2633" y="277"/>
                    <a:pt x="2632" y="272"/>
                    <a:pt x="2635" y="272"/>
                  </a:cubicBezTo>
                  <a:cubicBezTo>
                    <a:pt x="2638" y="271"/>
                    <a:pt x="2643" y="272"/>
                    <a:pt x="2643" y="269"/>
                  </a:cubicBezTo>
                  <a:cubicBezTo>
                    <a:pt x="2628" y="273"/>
                    <a:pt x="2637" y="256"/>
                    <a:pt x="2637" y="255"/>
                  </a:cubicBezTo>
                  <a:cubicBezTo>
                    <a:pt x="2642" y="248"/>
                    <a:pt x="2636" y="253"/>
                    <a:pt x="2634" y="248"/>
                  </a:cubicBezTo>
                  <a:cubicBezTo>
                    <a:pt x="2639" y="249"/>
                    <a:pt x="2644" y="250"/>
                    <a:pt x="2645" y="253"/>
                  </a:cubicBezTo>
                  <a:cubicBezTo>
                    <a:pt x="2641" y="253"/>
                    <a:pt x="2639" y="255"/>
                    <a:pt x="2640" y="260"/>
                  </a:cubicBezTo>
                  <a:cubicBezTo>
                    <a:pt x="2650" y="264"/>
                    <a:pt x="2655" y="257"/>
                    <a:pt x="2662" y="262"/>
                  </a:cubicBezTo>
                  <a:cubicBezTo>
                    <a:pt x="2658" y="265"/>
                    <a:pt x="2661" y="274"/>
                    <a:pt x="2654" y="274"/>
                  </a:cubicBezTo>
                  <a:cubicBezTo>
                    <a:pt x="2649" y="268"/>
                    <a:pt x="2658" y="265"/>
                    <a:pt x="2648" y="265"/>
                  </a:cubicBezTo>
                  <a:cubicBezTo>
                    <a:pt x="2646" y="276"/>
                    <a:pt x="2650" y="280"/>
                    <a:pt x="2646" y="290"/>
                  </a:cubicBezTo>
                  <a:cubicBezTo>
                    <a:pt x="2654" y="292"/>
                    <a:pt x="2649" y="286"/>
                    <a:pt x="2651" y="283"/>
                  </a:cubicBezTo>
                  <a:cubicBezTo>
                    <a:pt x="2653" y="282"/>
                    <a:pt x="2658" y="284"/>
                    <a:pt x="2657" y="281"/>
                  </a:cubicBezTo>
                  <a:cubicBezTo>
                    <a:pt x="2654" y="280"/>
                    <a:pt x="2650" y="277"/>
                    <a:pt x="2654" y="276"/>
                  </a:cubicBezTo>
                  <a:cubicBezTo>
                    <a:pt x="2661" y="278"/>
                    <a:pt x="2660" y="287"/>
                    <a:pt x="2668" y="288"/>
                  </a:cubicBezTo>
                  <a:cubicBezTo>
                    <a:pt x="2669" y="285"/>
                    <a:pt x="2672" y="282"/>
                    <a:pt x="2673" y="285"/>
                  </a:cubicBezTo>
                  <a:cubicBezTo>
                    <a:pt x="2674" y="287"/>
                    <a:pt x="2674" y="290"/>
                    <a:pt x="2676" y="290"/>
                  </a:cubicBezTo>
                  <a:cubicBezTo>
                    <a:pt x="2676" y="283"/>
                    <a:pt x="2677" y="278"/>
                    <a:pt x="2681" y="276"/>
                  </a:cubicBezTo>
                  <a:cubicBezTo>
                    <a:pt x="2684" y="283"/>
                    <a:pt x="2687" y="273"/>
                    <a:pt x="2690" y="273"/>
                  </a:cubicBezTo>
                  <a:cubicBezTo>
                    <a:pt x="2690" y="276"/>
                    <a:pt x="2692" y="276"/>
                    <a:pt x="2692" y="278"/>
                  </a:cubicBezTo>
                  <a:cubicBezTo>
                    <a:pt x="2690" y="281"/>
                    <a:pt x="2690" y="287"/>
                    <a:pt x="2684" y="287"/>
                  </a:cubicBezTo>
                  <a:cubicBezTo>
                    <a:pt x="2684" y="286"/>
                    <a:pt x="2682" y="285"/>
                    <a:pt x="2682" y="287"/>
                  </a:cubicBezTo>
                  <a:cubicBezTo>
                    <a:pt x="2689" y="293"/>
                    <a:pt x="2699" y="287"/>
                    <a:pt x="2701" y="287"/>
                  </a:cubicBezTo>
                  <a:cubicBezTo>
                    <a:pt x="2704" y="287"/>
                    <a:pt x="2703" y="283"/>
                    <a:pt x="2706" y="282"/>
                  </a:cubicBezTo>
                  <a:cubicBezTo>
                    <a:pt x="2709" y="282"/>
                    <a:pt x="2710" y="284"/>
                    <a:pt x="2712" y="285"/>
                  </a:cubicBezTo>
                  <a:cubicBezTo>
                    <a:pt x="2715" y="275"/>
                    <a:pt x="2700" y="281"/>
                    <a:pt x="2698" y="275"/>
                  </a:cubicBezTo>
                  <a:cubicBezTo>
                    <a:pt x="2702" y="275"/>
                    <a:pt x="2708" y="276"/>
                    <a:pt x="2709" y="273"/>
                  </a:cubicBezTo>
                  <a:cubicBezTo>
                    <a:pt x="2696" y="273"/>
                    <a:pt x="2699" y="251"/>
                    <a:pt x="2711" y="252"/>
                  </a:cubicBezTo>
                  <a:cubicBezTo>
                    <a:pt x="2712" y="255"/>
                    <a:pt x="2710" y="260"/>
                    <a:pt x="2714" y="261"/>
                  </a:cubicBezTo>
                  <a:cubicBezTo>
                    <a:pt x="2720" y="259"/>
                    <a:pt x="2713" y="248"/>
                    <a:pt x="2719" y="247"/>
                  </a:cubicBezTo>
                  <a:cubicBezTo>
                    <a:pt x="2715" y="256"/>
                    <a:pt x="2725" y="258"/>
                    <a:pt x="2725" y="263"/>
                  </a:cubicBezTo>
                  <a:cubicBezTo>
                    <a:pt x="2725" y="263"/>
                    <a:pt x="2720" y="263"/>
                    <a:pt x="2720" y="263"/>
                  </a:cubicBezTo>
                  <a:cubicBezTo>
                    <a:pt x="2719" y="264"/>
                    <a:pt x="2719" y="272"/>
                    <a:pt x="2723" y="280"/>
                  </a:cubicBezTo>
                  <a:cubicBezTo>
                    <a:pt x="2719" y="280"/>
                    <a:pt x="2717" y="279"/>
                    <a:pt x="2714" y="277"/>
                  </a:cubicBezTo>
                  <a:cubicBezTo>
                    <a:pt x="2714" y="281"/>
                    <a:pt x="2716" y="283"/>
                    <a:pt x="2717" y="285"/>
                  </a:cubicBezTo>
                  <a:cubicBezTo>
                    <a:pt x="2723" y="284"/>
                    <a:pt x="2723" y="288"/>
                    <a:pt x="2726" y="289"/>
                  </a:cubicBezTo>
                  <a:cubicBezTo>
                    <a:pt x="2726" y="284"/>
                    <a:pt x="2731" y="273"/>
                    <a:pt x="2731" y="275"/>
                  </a:cubicBezTo>
                  <a:cubicBezTo>
                    <a:pt x="2731" y="273"/>
                    <a:pt x="2728" y="268"/>
                    <a:pt x="2728" y="268"/>
                  </a:cubicBezTo>
                  <a:cubicBezTo>
                    <a:pt x="2729" y="266"/>
                    <a:pt x="2735" y="265"/>
                    <a:pt x="2736" y="263"/>
                  </a:cubicBezTo>
                  <a:cubicBezTo>
                    <a:pt x="2739" y="259"/>
                    <a:pt x="2735" y="255"/>
                    <a:pt x="2741" y="254"/>
                  </a:cubicBezTo>
                  <a:cubicBezTo>
                    <a:pt x="2745" y="254"/>
                    <a:pt x="2747" y="256"/>
                    <a:pt x="2747" y="260"/>
                  </a:cubicBezTo>
                  <a:cubicBezTo>
                    <a:pt x="2742" y="260"/>
                    <a:pt x="2741" y="263"/>
                    <a:pt x="2736" y="263"/>
                  </a:cubicBezTo>
                  <a:cubicBezTo>
                    <a:pt x="2738" y="266"/>
                    <a:pt x="2733" y="275"/>
                    <a:pt x="2739" y="275"/>
                  </a:cubicBezTo>
                  <a:cubicBezTo>
                    <a:pt x="2742" y="270"/>
                    <a:pt x="2738" y="264"/>
                    <a:pt x="2750" y="263"/>
                  </a:cubicBezTo>
                  <a:cubicBezTo>
                    <a:pt x="2751" y="268"/>
                    <a:pt x="2745" y="268"/>
                    <a:pt x="2747" y="275"/>
                  </a:cubicBezTo>
                  <a:cubicBezTo>
                    <a:pt x="2748" y="274"/>
                    <a:pt x="2752" y="275"/>
                    <a:pt x="2753" y="275"/>
                  </a:cubicBezTo>
                  <a:cubicBezTo>
                    <a:pt x="2753" y="273"/>
                    <a:pt x="2752" y="271"/>
                    <a:pt x="2753" y="270"/>
                  </a:cubicBezTo>
                  <a:cubicBezTo>
                    <a:pt x="2754" y="265"/>
                    <a:pt x="2759" y="256"/>
                    <a:pt x="2755" y="251"/>
                  </a:cubicBezTo>
                  <a:cubicBezTo>
                    <a:pt x="2764" y="252"/>
                    <a:pt x="2766" y="250"/>
                    <a:pt x="2769" y="253"/>
                  </a:cubicBezTo>
                  <a:cubicBezTo>
                    <a:pt x="2768" y="255"/>
                    <a:pt x="2767" y="256"/>
                    <a:pt x="2763" y="256"/>
                  </a:cubicBezTo>
                  <a:cubicBezTo>
                    <a:pt x="2763" y="257"/>
                    <a:pt x="2763" y="260"/>
                    <a:pt x="2761" y="260"/>
                  </a:cubicBezTo>
                  <a:cubicBezTo>
                    <a:pt x="2763" y="264"/>
                    <a:pt x="2762" y="272"/>
                    <a:pt x="2767" y="274"/>
                  </a:cubicBezTo>
                  <a:cubicBezTo>
                    <a:pt x="2769" y="266"/>
                    <a:pt x="2780" y="274"/>
                    <a:pt x="2783" y="269"/>
                  </a:cubicBezTo>
                  <a:cubicBezTo>
                    <a:pt x="2779" y="269"/>
                    <a:pt x="2783" y="260"/>
                    <a:pt x="2783" y="260"/>
                  </a:cubicBezTo>
                  <a:cubicBezTo>
                    <a:pt x="2784" y="259"/>
                    <a:pt x="2788" y="262"/>
                    <a:pt x="2788" y="262"/>
                  </a:cubicBezTo>
                  <a:cubicBezTo>
                    <a:pt x="2789" y="257"/>
                    <a:pt x="2783" y="255"/>
                    <a:pt x="2785" y="246"/>
                  </a:cubicBezTo>
                  <a:cubicBezTo>
                    <a:pt x="2789" y="246"/>
                    <a:pt x="2789" y="243"/>
                    <a:pt x="2793" y="243"/>
                  </a:cubicBezTo>
                  <a:cubicBezTo>
                    <a:pt x="2796" y="252"/>
                    <a:pt x="2787" y="256"/>
                    <a:pt x="2794" y="262"/>
                  </a:cubicBezTo>
                  <a:cubicBezTo>
                    <a:pt x="2789" y="262"/>
                    <a:pt x="2787" y="264"/>
                    <a:pt x="2786" y="267"/>
                  </a:cubicBezTo>
                  <a:cubicBezTo>
                    <a:pt x="2792" y="267"/>
                    <a:pt x="2789" y="268"/>
                    <a:pt x="2788" y="272"/>
                  </a:cubicBezTo>
                  <a:cubicBezTo>
                    <a:pt x="2787" y="278"/>
                    <a:pt x="2792" y="281"/>
                    <a:pt x="2791" y="283"/>
                  </a:cubicBezTo>
                  <a:cubicBezTo>
                    <a:pt x="2791" y="283"/>
                    <a:pt x="2781" y="286"/>
                    <a:pt x="2789" y="288"/>
                  </a:cubicBezTo>
                  <a:cubicBezTo>
                    <a:pt x="2792" y="284"/>
                    <a:pt x="2797" y="279"/>
                    <a:pt x="2791" y="274"/>
                  </a:cubicBezTo>
                  <a:cubicBezTo>
                    <a:pt x="2795" y="274"/>
                    <a:pt x="2797" y="273"/>
                    <a:pt x="2799" y="271"/>
                  </a:cubicBezTo>
                  <a:cubicBezTo>
                    <a:pt x="2799" y="274"/>
                    <a:pt x="2800" y="286"/>
                    <a:pt x="2802" y="278"/>
                  </a:cubicBezTo>
                  <a:cubicBezTo>
                    <a:pt x="2799" y="266"/>
                    <a:pt x="2808" y="278"/>
                    <a:pt x="2810" y="271"/>
                  </a:cubicBezTo>
                  <a:cubicBezTo>
                    <a:pt x="2805" y="272"/>
                    <a:pt x="2806" y="260"/>
                    <a:pt x="2813" y="264"/>
                  </a:cubicBezTo>
                  <a:cubicBezTo>
                    <a:pt x="2811" y="266"/>
                    <a:pt x="2807" y="273"/>
                    <a:pt x="2816" y="271"/>
                  </a:cubicBezTo>
                  <a:cubicBezTo>
                    <a:pt x="2817" y="268"/>
                    <a:pt x="2812" y="259"/>
                    <a:pt x="2818" y="259"/>
                  </a:cubicBezTo>
                  <a:cubicBezTo>
                    <a:pt x="2817" y="267"/>
                    <a:pt x="2826" y="270"/>
                    <a:pt x="2830" y="275"/>
                  </a:cubicBezTo>
                  <a:cubicBezTo>
                    <a:pt x="2832" y="279"/>
                    <a:pt x="2829" y="288"/>
                    <a:pt x="2838" y="287"/>
                  </a:cubicBezTo>
                  <a:cubicBezTo>
                    <a:pt x="2838" y="283"/>
                    <a:pt x="2830" y="274"/>
                    <a:pt x="2838" y="271"/>
                  </a:cubicBezTo>
                  <a:cubicBezTo>
                    <a:pt x="2842" y="271"/>
                    <a:pt x="2841" y="276"/>
                    <a:pt x="2843" y="278"/>
                  </a:cubicBezTo>
                  <a:cubicBezTo>
                    <a:pt x="2836" y="272"/>
                    <a:pt x="2837" y="282"/>
                    <a:pt x="2841" y="285"/>
                  </a:cubicBezTo>
                  <a:cubicBezTo>
                    <a:pt x="2861" y="284"/>
                    <a:pt x="2841" y="259"/>
                    <a:pt x="2859" y="254"/>
                  </a:cubicBezTo>
                  <a:cubicBezTo>
                    <a:pt x="2859" y="257"/>
                    <a:pt x="2861" y="259"/>
                    <a:pt x="2862" y="261"/>
                  </a:cubicBezTo>
                  <a:cubicBezTo>
                    <a:pt x="2856" y="261"/>
                    <a:pt x="2861" y="269"/>
                    <a:pt x="2860" y="273"/>
                  </a:cubicBezTo>
                  <a:cubicBezTo>
                    <a:pt x="2855" y="271"/>
                    <a:pt x="2855" y="284"/>
                    <a:pt x="2860" y="282"/>
                  </a:cubicBezTo>
                  <a:cubicBezTo>
                    <a:pt x="2860" y="279"/>
                    <a:pt x="2863" y="278"/>
                    <a:pt x="2865" y="277"/>
                  </a:cubicBezTo>
                  <a:cubicBezTo>
                    <a:pt x="2870" y="283"/>
                    <a:pt x="2861" y="286"/>
                    <a:pt x="2871" y="287"/>
                  </a:cubicBezTo>
                  <a:cubicBezTo>
                    <a:pt x="2873" y="278"/>
                    <a:pt x="2862" y="271"/>
                    <a:pt x="2876" y="270"/>
                  </a:cubicBezTo>
                  <a:cubicBezTo>
                    <a:pt x="2879" y="277"/>
                    <a:pt x="2872" y="276"/>
                    <a:pt x="2874" y="282"/>
                  </a:cubicBezTo>
                  <a:cubicBezTo>
                    <a:pt x="2885" y="280"/>
                    <a:pt x="2879" y="273"/>
                    <a:pt x="2879" y="265"/>
                  </a:cubicBezTo>
                  <a:cubicBezTo>
                    <a:pt x="2881" y="265"/>
                    <a:pt x="2884" y="265"/>
                    <a:pt x="2884" y="263"/>
                  </a:cubicBezTo>
                  <a:cubicBezTo>
                    <a:pt x="2886" y="263"/>
                    <a:pt x="2887" y="261"/>
                    <a:pt x="2884" y="260"/>
                  </a:cubicBezTo>
                  <a:cubicBezTo>
                    <a:pt x="2884" y="264"/>
                    <a:pt x="2880" y="261"/>
                    <a:pt x="2879" y="258"/>
                  </a:cubicBezTo>
                  <a:cubicBezTo>
                    <a:pt x="2884" y="259"/>
                    <a:pt x="2884" y="255"/>
                    <a:pt x="2887" y="253"/>
                  </a:cubicBezTo>
                  <a:cubicBezTo>
                    <a:pt x="2887" y="255"/>
                    <a:pt x="2887" y="256"/>
                    <a:pt x="2888" y="257"/>
                  </a:cubicBezTo>
                  <a:cubicBezTo>
                    <a:pt x="2888" y="244"/>
                    <a:pt x="2888" y="244"/>
                    <a:pt x="2888" y="244"/>
                  </a:cubicBezTo>
                  <a:cubicBezTo>
                    <a:pt x="2887" y="244"/>
                    <a:pt x="2885" y="244"/>
                    <a:pt x="2884" y="244"/>
                  </a:cubicBezTo>
                  <a:cubicBezTo>
                    <a:pt x="2884" y="242"/>
                    <a:pt x="2884" y="239"/>
                    <a:pt x="2884" y="237"/>
                  </a:cubicBezTo>
                  <a:cubicBezTo>
                    <a:pt x="2886" y="237"/>
                    <a:pt x="2887" y="238"/>
                    <a:pt x="2888" y="239"/>
                  </a:cubicBezTo>
                  <a:cubicBezTo>
                    <a:pt x="2888" y="205"/>
                    <a:pt x="2888" y="205"/>
                    <a:pt x="2888" y="205"/>
                  </a:cubicBezTo>
                  <a:cubicBezTo>
                    <a:pt x="2885" y="205"/>
                    <a:pt x="2883" y="205"/>
                    <a:pt x="2881" y="209"/>
                  </a:cubicBezTo>
                  <a:cubicBezTo>
                    <a:pt x="2884" y="211"/>
                    <a:pt x="2893" y="228"/>
                    <a:pt x="2881" y="228"/>
                  </a:cubicBezTo>
                  <a:cubicBezTo>
                    <a:pt x="2886" y="223"/>
                    <a:pt x="2880" y="220"/>
                    <a:pt x="2875" y="218"/>
                  </a:cubicBezTo>
                  <a:cubicBezTo>
                    <a:pt x="2875" y="222"/>
                    <a:pt x="2876" y="227"/>
                    <a:pt x="2873" y="228"/>
                  </a:cubicBezTo>
                  <a:cubicBezTo>
                    <a:pt x="2872" y="222"/>
                    <a:pt x="2871" y="217"/>
                    <a:pt x="2862" y="219"/>
                  </a:cubicBezTo>
                  <a:cubicBezTo>
                    <a:pt x="2860" y="224"/>
                    <a:pt x="2865" y="236"/>
                    <a:pt x="2859" y="237"/>
                  </a:cubicBezTo>
                  <a:cubicBezTo>
                    <a:pt x="2855" y="232"/>
                    <a:pt x="2852" y="240"/>
                    <a:pt x="2851" y="235"/>
                  </a:cubicBezTo>
                  <a:cubicBezTo>
                    <a:pt x="2851" y="231"/>
                    <a:pt x="2851" y="228"/>
                    <a:pt x="2853" y="226"/>
                  </a:cubicBezTo>
                  <a:cubicBezTo>
                    <a:pt x="2851" y="225"/>
                    <a:pt x="2848" y="226"/>
                    <a:pt x="2848" y="223"/>
                  </a:cubicBezTo>
                  <a:cubicBezTo>
                    <a:pt x="2857" y="221"/>
                    <a:pt x="2854" y="229"/>
                    <a:pt x="2859" y="230"/>
                  </a:cubicBezTo>
                  <a:cubicBezTo>
                    <a:pt x="2857" y="227"/>
                    <a:pt x="2862" y="218"/>
                    <a:pt x="2856" y="219"/>
                  </a:cubicBezTo>
                  <a:cubicBezTo>
                    <a:pt x="2856" y="221"/>
                    <a:pt x="2851" y="222"/>
                    <a:pt x="2851" y="219"/>
                  </a:cubicBezTo>
                  <a:cubicBezTo>
                    <a:pt x="2851" y="209"/>
                    <a:pt x="2859" y="220"/>
                    <a:pt x="2861" y="214"/>
                  </a:cubicBezTo>
                  <a:cubicBezTo>
                    <a:pt x="2857" y="213"/>
                    <a:pt x="2859" y="209"/>
                    <a:pt x="2861" y="207"/>
                  </a:cubicBezTo>
                  <a:cubicBezTo>
                    <a:pt x="2855" y="204"/>
                    <a:pt x="2860" y="192"/>
                    <a:pt x="2858" y="186"/>
                  </a:cubicBezTo>
                  <a:cubicBezTo>
                    <a:pt x="2862" y="185"/>
                    <a:pt x="2862" y="183"/>
                    <a:pt x="2866" y="183"/>
                  </a:cubicBezTo>
                  <a:cubicBezTo>
                    <a:pt x="2860" y="196"/>
                    <a:pt x="2870" y="207"/>
                    <a:pt x="2864" y="216"/>
                  </a:cubicBezTo>
                  <a:cubicBezTo>
                    <a:pt x="2867" y="216"/>
                    <a:pt x="2870" y="216"/>
                    <a:pt x="2873" y="216"/>
                  </a:cubicBezTo>
                  <a:cubicBezTo>
                    <a:pt x="2869" y="209"/>
                    <a:pt x="2873" y="210"/>
                    <a:pt x="2870" y="204"/>
                  </a:cubicBezTo>
                  <a:cubicBezTo>
                    <a:pt x="2874" y="204"/>
                    <a:pt x="2871" y="198"/>
                    <a:pt x="2875" y="197"/>
                  </a:cubicBezTo>
                  <a:cubicBezTo>
                    <a:pt x="2876" y="200"/>
                    <a:pt x="2878" y="202"/>
                    <a:pt x="2881" y="204"/>
                  </a:cubicBezTo>
                  <a:cubicBezTo>
                    <a:pt x="2877" y="196"/>
                    <a:pt x="2884" y="198"/>
                    <a:pt x="2888" y="197"/>
                  </a:cubicBezTo>
                  <a:cubicBezTo>
                    <a:pt x="2888" y="191"/>
                    <a:pt x="2888" y="191"/>
                    <a:pt x="2888" y="191"/>
                  </a:cubicBezTo>
                  <a:cubicBezTo>
                    <a:pt x="2888" y="190"/>
                    <a:pt x="2888" y="189"/>
                    <a:pt x="2888" y="188"/>
                  </a:cubicBezTo>
                  <a:cubicBezTo>
                    <a:pt x="2888" y="159"/>
                    <a:pt x="2888" y="159"/>
                    <a:pt x="2888" y="159"/>
                  </a:cubicBezTo>
                  <a:cubicBezTo>
                    <a:pt x="2885" y="158"/>
                    <a:pt x="2882" y="158"/>
                    <a:pt x="2877" y="160"/>
                  </a:cubicBezTo>
                  <a:cubicBezTo>
                    <a:pt x="2877" y="157"/>
                    <a:pt x="2880" y="158"/>
                    <a:pt x="2882" y="157"/>
                  </a:cubicBezTo>
                  <a:cubicBezTo>
                    <a:pt x="2883" y="155"/>
                    <a:pt x="2881" y="155"/>
                    <a:pt x="2880" y="155"/>
                  </a:cubicBezTo>
                  <a:cubicBezTo>
                    <a:pt x="2879" y="151"/>
                    <a:pt x="2884" y="152"/>
                    <a:pt x="2888" y="152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2" y="148"/>
                    <a:pt x="2884" y="141"/>
                    <a:pt x="2877" y="143"/>
                  </a:cubicBezTo>
                  <a:cubicBezTo>
                    <a:pt x="2876" y="145"/>
                    <a:pt x="2877" y="148"/>
                    <a:pt x="2874" y="148"/>
                  </a:cubicBezTo>
                  <a:cubicBezTo>
                    <a:pt x="2874" y="140"/>
                    <a:pt x="2871" y="146"/>
                    <a:pt x="2866" y="146"/>
                  </a:cubicBezTo>
                  <a:cubicBezTo>
                    <a:pt x="2866" y="146"/>
                    <a:pt x="2866" y="143"/>
                    <a:pt x="2866" y="143"/>
                  </a:cubicBezTo>
                  <a:cubicBezTo>
                    <a:pt x="2863" y="142"/>
                    <a:pt x="2859" y="146"/>
                    <a:pt x="2858" y="146"/>
                  </a:cubicBezTo>
                  <a:cubicBezTo>
                    <a:pt x="2855" y="145"/>
                    <a:pt x="2855" y="141"/>
                    <a:pt x="2849" y="141"/>
                  </a:cubicBezTo>
                  <a:cubicBezTo>
                    <a:pt x="2848" y="141"/>
                    <a:pt x="2849" y="147"/>
                    <a:pt x="2847" y="146"/>
                  </a:cubicBezTo>
                  <a:cubicBezTo>
                    <a:pt x="2849" y="138"/>
                    <a:pt x="2838" y="143"/>
                    <a:pt x="2835" y="139"/>
                  </a:cubicBezTo>
                  <a:cubicBezTo>
                    <a:pt x="2829" y="145"/>
                    <a:pt x="2836" y="151"/>
                    <a:pt x="2836" y="158"/>
                  </a:cubicBezTo>
                  <a:cubicBezTo>
                    <a:pt x="2832" y="157"/>
                    <a:pt x="2826" y="160"/>
                    <a:pt x="2822" y="158"/>
                  </a:cubicBezTo>
                  <a:cubicBezTo>
                    <a:pt x="2821" y="158"/>
                    <a:pt x="2822" y="151"/>
                    <a:pt x="2816" y="153"/>
                  </a:cubicBezTo>
                  <a:cubicBezTo>
                    <a:pt x="2818" y="161"/>
                    <a:pt x="2815" y="164"/>
                    <a:pt x="2814" y="170"/>
                  </a:cubicBezTo>
                  <a:cubicBezTo>
                    <a:pt x="2823" y="172"/>
                    <a:pt x="2818" y="162"/>
                    <a:pt x="2825" y="163"/>
                  </a:cubicBezTo>
                  <a:cubicBezTo>
                    <a:pt x="2825" y="166"/>
                    <a:pt x="2826" y="168"/>
                    <a:pt x="2828" y="170"/>
                  </a:cubicBezTo>
                  <a:cubicBezTo>
                    <a:pt x="2821" y="171"/>
                    <a:pt x="2822" y="177"/>
                    <a:pt x="2817" y="179"/>
                  </a:cubicBezTo>
                  <a:cubicBezTo>
                    <a:pt x="2818" y="174"/>
                    <a:pt x="2816" y="171"/>
                    <a:pt x="2811" y="170"/>
                  </a:cubicBezTo>
                  <a:cubicBezTo>
                    <a:pt x="2811" y="173"/>
                    <a:pt x="2812" y="177"/>
                    <a:pt x="2809" y="177"/>
                  </a:cubicBezTo>
                  <a:cubicBezTo>
                    <a:pt x="2810" y="171"/>
                    <a:pt x="2798" y="175"/>
                    <a:pt x="2798" y="170"/>
                  </a:cubicBezTo>
                  <a:cubicBezTo>
                    <a:pt x="2805" y="172"/>
                    <a:pt x="2795" y="159"/>
                    <a:pt x="2803" y="161"/>
                  </a:cubicBezTo>
                  <a:cubicBezTo>
                    <a:pt x="2803" y="164"/>
                    <a:pt x="2802" y="169"/>
                    <a:pt x="2806" y="170"/>
                  </a:cubicBezTo>
                  <a:cubicBezTo>
                    <a:pt x="2808" y="158"/>
                    <a:pt x="2819" y="154"/>
                    <a:pt x="2814" y="142"/>
                  </a:cubicBezTo>
                  <a:cubicBezTo>
                    <a:pt x="2815" y="142"/>
                    <a:pt x="2817" y="140"/>
                    <a:pt x="2814" y="139"/>
                  </a:cubicBezTo>
                  <a:cubicBezTo>
                    <a:pt x="2812" y="142"/>
                    <a:pt x="2811" y="145"/>
                    <a:pt x="2808" y="147"/>
                  </a:cubicBezTo>
                  <a:cubicBezTo>
                    <a:pt x="2803" y="140"/>
                    <a:pt x="2792" y="144"/>
                    <a:pt x="2784" y="147"/>
                  </a:cubicBezTo>
                  <a:cubicBezTo>
                    <a:pt x="2787" y="139"/>
                    <a:pt x="2775" y="145"/>
                    <a:pt x="2778" y="138"/>
                  </a:cubicBezTo>
                  <a:cubicBezTo>
                    <a:pt x="2768" y="138"/>
                    <a:pt x="2772" y="150"/>
                    <a:pt x="2759" y="147"/>
                  </a:cubicBezTo>
                  <a:cubicBezTo>
                    <a:pt x="2759" y="144"/>
                    <a:pt x="2759" y="141"/>
                    <a:pt x="2759" y="138"/>
                  </a:cubicBezTo>
                  <a:cubicBezTo>
                    <a:pt x="2749" y="139"/>
                    <a:pt x="2748" y="142"/>
                    <a:pt x="2739" y="138"/>
                  </a:cubicBezTo>
                  <a:cubicBezTo>
                    <a:pt x="2739" y="143"/>
                    <a:pt x="2738" y="146"/>
                    <a:pt x="2734" y="148"/>
                  </a:cubicBezTo>
                  <a:cubicBezTo>
                    <a:pt x="2736" y="143"/>
                    <a:pt x="2733" y="130"/>
                    <a:pt x="2728" y="139"/>
                  </a:cubicBezTo>
                  <a:cubicBezTo>
                    <a:pt x="2733" y="139"/>
                    <a:pt x="2729" y="142"/>
                    <a:pt x="2729" y="146"/>
                  </a:cubicBezTo>
                  <a:cubicBezTo>
                    <a:pt x="2729" y="148"/>
                    <a:pt x="2731" y="148"/>
                    <a:pt x="2731" y="150"/>
                  </a:cubicBezTo>
                  <a:cubicBezTo>
                    <a:pt x="2731" y="150"/>
                    <a:pt x="2728" y="151"/>
                    <a:pt x="2729" y="153"/>
                  </a:cubicBezTo>
                  <a:cubicBezTo>
                    <a:pt x="2729" y="153"/>
                    <a:pt x="2733" y="153"/>
                    <a:pt x="2731" y="155"/>
                  </a:cubicBezTo>
                  <a:cubicBezTo>
                    <a:pt x="2727" y="155"/>
                    <a:pt x="2721" y="156"/>
                    <a:pt x="2720" y="153"/>
                  </a:cubicBezTo>
                  <a:cubicBezTo>
                    <a:pt x="2722" y="148"/>
                    <a:pt x="2728" y="148"/>
                    <a:pt x="2726" y="141"/>
                  </a:cubicBezTo>
                  <a:cubicBezTo>
                    <a:pt x="2717" y="144"/>
                    <a:pt x="2716" y="140"/>
                    <a:pt x="2707" y="144"/>
                  </a:cubicBezTo>
                  <a:cubicBezTo>
                    <a:pt x="2710" y="139"/>
                    <a:pt x="2702" y="133"/>
                    <a:pt x="2701" y="139"/>
                  </a:cubicBezTo>
                  <a:cubicBezTo>
                    <a:pt x="2710" y="142"/>
                    <a:pt x="2694" y="142"/>
                    <a:pt x="2690" y="142"/>
                  </a:cubicBezTo>
                  <a:cubicBezTo>
                    <a:pt x="2688" y="149"/>
                    <a:pt x="2697" y="146"/>
                    <a:pt x="2698" y="151"/>
                  </a:cubicBezTo>
                  <a:cubicBezTo>
                    <a:pt x="2693" y="152"/>
                    <a:pt x="2698" y="161"/>
                    <a:pt x="2693" y="163"/>
                  </a:cubicBezTo>
                  <a:cubicBezTo>
                    <a:pt x="2696" y="164"/>
                    <a:pt x="2699" y="165"/>
                    <a:pt x="2702" y="167"/>
                  </a:cubicBezTo>
                  <a:cubicBezTo>
                    <a:pt x="2701" y="172"/>
                    <a:pt x="2696" y="174"/>
                    <a:pt x="2693" y="177"/>
                  </a:cubicBezTo>
                  <a:cubicBezTo>
                    <a:pt x="2699" y="182"/>
                    <a:pt x="2691" y="188"/>
                    <a:pt x="2699" y="193"/>
                  </a:cubicBezTo>
                  <a:cubicBezTo>
                    <a:pt x="2696" y="194"/>
                    <a:pt x="2694" y="196"/>
                    <a:pt x="2694" y="200"/>
                  </a:cubicBezTo>
                  <a:cubicBezTo>
                    <a:pt x="2697" y="207"/>
                    <a:pt x="2694" y="206"/>
                    <a:pt x="2700" y="210"/>
                  </a:cubicBezTo>
                  <a:cubicBezTo>
                    <a:pt x="2698" y="213"/>
                    <a:pt x="2695" y="215"/>
                    <a:pt x="2691" y="217"/>
                  </a:cubicBezTo>
                  <a:cubicBezTo>
                    <a:pt x="2689" y="215"/>
                    <a:pt x="2688" y="202"/>
                    <a:pt x="2683" y="210"/>
                  </a:cubicBezTo>
                  <a:cubicBezTo>
                    <a:pt x="2690" y="213"/>
                    <a:pt x="2683" y="220"/>
                    <a:pt x="2683" y="224"/>
                  </a:cubicBezTo>
                  <a:cubicBezTo>
                    <a:pt x="2683" y="226"/>
                    <a:pt x="2681" y="227"/>
                    <a:pt x="2681" y="226"/>
                  </a:cubicBezTo>
                  <a:cubicBezTo>
                    <a:pt x="2680" y="231"/>
                    <a:pt x="2684" y="232"/>
                    <a:pt x="2683" y="236"/>
                  </a:cubicBezTo>
                  <a:cubicBezTo>
                    <a:pt x="2680" y="233"/>
                    <a:pt x="2673" y="234"/>
                    <a:pt x="2672" y="229"/>
                  </a:cubicBezTo>
                  <a:cubicBezTo>
                    <a:pt x="2677" y="224"/>
                    <a:pt x="2676" y="212"/>
                    <a:pt x="2669" y="210"/>
                  </a:cubicBezTo>
                  <a:cubicBezTo>
                    <a:pt x="2668" y="216"/>
                    <a:pt x="2673" y="227"/>
                    <a:pt x="2667" y="229"/>
                  </a:cubicBezTo>
                  <a:cubicBezTo>
                    <a:pt x="2662" y="229"/>
                    <a:pt x="2665" y="222"/>
                    <a:pt x="2661" y="222"/>
                  </a:cubicBezTo>
                  <a:cubicBezTo>
                    <a:pt x="2662" y="222"/>
                    <a:pt x="2658" y="231"/>
                    <a:pt x="2653" y="227"/>
                  </a:cubicBezTo>
                  <a:cubicBezTo>
                    <a:pt x="2653" y="222"/>
                    <a:pt x="2661" y="224"/>
                    <a:pt x="2658" y="217"/>
                  </a:cubicBezTo>
                  <a:cubicBezTo>
                    <a:pt x="2650" y="215"/>
                    <a:pt x="2652" y="221"/>
                    <a:pt x="2648" y="222"/>
                  </a:cubicBezTo>
                  <a:cubicBezTo>
                    <a:pt x="2647" y="213"/>
                    <a:pt x="2640" y="222"/>
                    <a:pt x="2634" y="218"/>
                  </a:cubicBezTo>
                  <a:cubicBezTo>
                    <a:pt x="2634" y="224"/>
                    <a:pt x="2635" y="229"/>
                    <a:pt x="2629" y="230"/>
                  </a:cubicBezTo>
                  <a:cubicBezTo>
                    <a:pt x="2627" y="224"/>
                    <a:pt x="2633" y="224"/>
                    <a:pt x="2631" y="218"/>
                  </a:cubicBezTo>
                  <a:cubicBezTo>
                    <a:pt x="2627" y="216"/>
                    <a:pt x="2622" y="221"/>
                    <a:pt x="2620" y="220"/>
                  </a:cubicBezTo>
                  <a:cubicBezTo>
                    <a:pt x="2616" y="219"/>
                    <a:pt x="2619" y="205"/>
                    <a:pt x="2612" y="214"/>
                  </a:cubicBezTo>
                  <a:cubicBezTo>
                    <a:pt x="2616" y="212"/>
                    <a:pt x="2616" y="225"/>
                    <a:pt x="2612" y="223"/>
                  </a:cubicBezTo>
                  <a:cubicBezTo>
                    <a:pt x="2614" y="212"/>
                    <a:pt x="2603" y="213"/>
                    <a:pt x="2598" y="209"/>
                  </a:cubicBezTo>
                  <a:cubicBezTo>
                    <a:pt x="2609" y="212"/>
                    <a:pt x="2608" y="205"/>
                    <a:pt x="2612" y="202"/>
                  </a:cubicBezTo>
                  <a:cubicBezTo>
                    <a:pt x="2621" y="200"/>
                    <a:pt x="2637" y="204"/>
                    <a:pt x="2642" y="199"/>
                  </a:cubicBezTo>
                  <a:cubicBezTo>
                    <a:pt x="2638" y="193"/>
                    <a:pt x="2634" y="203"/>
                    <a:pt x="2631" y="197"/>
                  </a:cubicBezTo>
                  <a:cubicBezTo>
                    <a:pt x="2635" y="196"/>
                    <a:pt x="2635" y="193"/>
                    <a:pt x="2639" y="192"/>
                  </a:cubicBezTo>
                  <a:cubicBezTo>
                    <a:pt x="2643" y="195"/>
                    <a:pt x="2642" y="202"/>
                    <a:pt x="2650" y="201"/>
                  </a:cubicBezTo>
                  <a:cubicBezTo>
                    <a:pt x="2647" y="194"/>
                    <a:pt x="2659" y="198"/>
                    <a:pt x="2661" y="194"/>
                  </a:cubicBezTo>
                  <a:cubicBezTo>
                    <a:pt x="2662" y="199"/>
                    <a:pt x="2666" y="200"/>
                    <a:pt x="2669" y="203"/>
                  </a:cubicBezTo>
                  <a:cubicBezTo>
                    <a:pt x="2665" y="203"/>
                    <a:pt x="2662" y="205"/>
                    <a:pt x="2661" y="208"/>
                  </a:cubicBezTo>
                  <a:cubicBezTo>
                    <a:pt x="2669" y="206"/>
                    <a:pt x="2671" y="210"/>
                    <a:pt x="2678" y="210"/>
                  </a:cubicBezTo>
                  <a:cubicBezTo>
                    <a:pt x="2678" y="205"/>
                    <a:pt x="2674" y="205"/>
                    <a:pt x="2672" y="203"/>
                  </a:cubicBezTo>
                  <a:cubicBezTo>
                    <a:pt x="2679" y="199"/>
                    <a:pt x="2680" y="204"/>
                    <a:pt x="2683" y="203"/>
                  </a:cubicBezTo>
                  <a:cubicBezTo>
                    <a:pt x="2684" y="202"/>
                    <a:pt x="2682" y="197"/>
                    <a:pt x="2683" y="196"/>
                  </a:cubicBezTo>
                  <a:cubicBezTo>
                    <a:pt x="2685" y="194"/>
                    <a:pt x="2686" y="198"/>
                    <a:pt x="2686" y="198"/>
                  </a:cubicBezTo>
                  <a:cubicBezTo>
                    <a:pt x="2690" y="199"/>
                    <a:pt x="2695" y="192"/>
                    <a:pt x="2694" y="189"/>
                  </a:cubicBezTo>
                  <a:cubicBezTo>
                    <a:pt x="2687" y="186"/>
                    <a:pt x="2684" y="199"/>
                    <a:pt x="2680" y="191"/>
                  </a:cubicBezTo>
                  <a:cubicBezTo>
                    <a:pt x="2682" y="188"/>
                    <a:pt x="2686" y="187"/>
                    <a:pt x="2691" y="186"/>
                  </a:cubicBezTo>
                  <a:cubicBezTo>
                    <a:pt x="2691" y="182"/>
                    <a:pt x="2691" y="179"/>
                    <a:pt x="2693" y="177"/>
                  </a:cubicBezTo>
                  <a:cubicBezTo>
                    <a:pt x="2690" y="175"/>
                    <a:pt x="2688" y="172"/>
                    <a:pt x="2688" y="167"/>
                  </a:cubicBezTo>
                  <a:cubicBezTo>
                    <a:pt x="2684" y="167"/>
                    <a:pt x="2681" y="167"/>
                    <a:pt x="2682" y="163"/>
                  </a:cubicBezTo>
                  <a:cubicBezTo>
                    <a:pt x="2688" y="168"/>
                    <a:pt x="2689" y="159"/>
                    <a:pt x="2693" y="156"/>
                  </a:cubicBezTo>
                  <a:cubicBezTo>
                    <a:pt x="2690" y="155"/>
                    <a:pt x="2685" y="156"/>
                    <a:pt x="2685" y="154"/>
                  </a:cubicBezTo>
                  <a:cubicBezTo>
                    <a:pt x="2688" y="147"/>
                    <a:pt x="2688" y="141"/>
                    <a:pt x="2685" y="135"/>
                  </a:cubicBezTo>
                  <a:cubicBezTo>
                    <a:pt x="2694" y="138"/>
                    <a:pt x="2686" y="127"/>
                    <a:pt x="2693" y="128"/>
                  </a:cubicBezTo>
                  <a:cubicBezTo>
                    <a:pt x="2696" y="128"/>
                    <a:pt x="2696" y="131"/>
                    <a:pt x="2695" y="134"/>
                  </a:cubicBezTo>
                  <a:cubicBezTo>
                    <a:pt x="2702" y="130"/>
                    <a:pt x="2705" y="137"/>
                    <a:pt x="2709" y="132"/>
                  </a:cubicBezTo>
                  <a:cubicBezTo>
                    <a:pt x="2706" y="130"/>
                    <a:pt x="2704" y="127"/>
                    <a:pt x="2701" y="125"/>
                  </a:cubicBezTo>
                  <a:cubicBezTo>
                    <a:pt x="2705" y="125"/>
                    <a:pt x="2710" y="125"/>
                    <a:pt x="2709" y="120"/>
                  </a:cubicBezTo>
                  <a:cubicBezTo>
                    <a:pt x="2701" y="123"/>
                    <a:pt x="2701" y="120"/>
                    <a:pt x="2690" y="121"/>
                  </a:cubicBezTo>
                  <a:cubicBezTo>
                    <a:pt x="2690" y="126"/>
                    <a:pt x="2688" y="128"/>
                    <a:pt x="2682" y="128"/>
                  </a:cubicBezTo>
                  <a:cubicBezTo>
                    <a:pt x="2682" y="125"/>
                    <a:pt x="2685" y="124"/>
                    <a:pt x="2684" y="121"/>
                  </a:cubicBezTo>
                  <a:cubicBezTo>
                    <a:pt x="2672" y="118"/>
                    <a:pt x="2679" y="130"/>
                    <a:pt x="2668" y="128"/>
                  </a:cubicBezTo>
                  <a:cubicBezTo>
                    <a:pt x="2674" y="124"/>
                    <a:pt x="2667" y="121"/>
                    <a:pt x="2668" y="119"/>
                  </a:cubicBezTo>
                  <a:cubicBezTo>
                    <a:pt x="2668" y="118"/>
                    <a:pt x="2673" y="117"/>
                    <a:pt x="2670" y="114"/>
                  </a:cubicBezTo>
                  <a:cubicBezTo>
                    <a:pt x="2670" y="113"/>
                    <a:pt x="2664" y="114"/>
                    <a:pt x="2665" y="112"/>
                  </a:cubicBezTo>
                  <a:cubicBezTo>
                    <a:pt x="2678" y="107"/>
                    <a:pt x="2672" y="119"/>
                    <a:pt x="2681" y="118"/>
                  </a:cubicBezTo>
                  <a:cubicBezTo>
                    <a:pt x="2691" y="118"/>
                    <a:pt x="2676" y="111"/>
                    <a:pt x="2684" y="111"/>
                  </a:cubicBezTo>
                  <a:cubicBezTo>
                    <a:pt x="2687" y="112"/>
                    <a:pt x="2687" y="115"/>
                    <a:pt x="2687" y="118"/>
                  </a:cubicBezTo>
                  <a:cubicBezTo>
                    <a:pt x="2699" y="117"/>
                    <a:pt x="2715" y="120"/>
                    <a:pt x="2723" y="115"/>
                  </a:cubicBezTo>
                  <a:cubicBezTo>
                    <a:pt x="2727" y="117"/>
                    <a:pt x="2722" y="127"/>
                    <a:pt x="2731" y="124"/>
                  </a:cubicBezTo>
                  <a:cubicBezTo>
                    <a:pt x="2731" y="122"/>
                    <a:pt x="2730" y="118"/>
                    <a:pt x="2734" y="117"/>
                  </a:cubicBezTo>
                  <a:cubicBezTo>
                    <a:pt x="2737" y="117"/>
                    <a:pt x="2741" y="117"/>
                    <a:pt x="2745" y="117"/>
                  </a:cubicBezTo>
                  <a:cubicBezTo>
                    <a:pt x="2744" y="123"/>
                    <a:pt x="2745" y="126"/>
                    <a:pt x="2747" y="129"/>
                  </a:cubicBezTo>
                  <a:cubicBezTo>
                    <a:pt x="2739" y="126"/>
                    <a:pt x="2740" y="128"/>
                    <a:pt x="2737" y="134"/>
                  </a:cubicBezTo>
                  <a:cubicBezTo>
                    <a:pt x="2748" y="138"/>
                    <a:pt x="2756" y="128"/>
                    <a:pt x="2758" y="129"/>
                  </a:cubicBezTo>
                  <a:cubicBezTo>
                    <a:pt x="2762" y="129"/>
                    <a:pt x="2763" y="138"/>
                    <a:pt x="2767" y="136"/>
                  </a:cubicBezTo>
                  <a:cubicBezTo>
                    <a:pt x="2764" y="127"/>
                    <a:pt x="2779" y="132"/>
                    <a:pt x="2775" y="121"/>
                  </a:cubicBezTo>
                  <a:cubicBezTo>
                    <a:pt x="2765" y="119"/>
                    <a:pt x="2771" y="130"/>
                    <a:pt x="2761" y="129"/>
                  </a:cubicBezTo>
                  <a:cubicBezTo>
                    <a:pt x="2770" y="121"/>
                    <a:pt x="2751" y="126"/>
                    <a:pt x="2753" y="117"/>
                  </a:cubicBezTo>
                  <a:cubicBezTo>
                    <a:pt x="2759" y="122"/>
                    <a:pt x="2765" y="117"/>
                    <a:pt x="2769" y="114"/>
                  </a:cubicBezTo>
                  <a:cubicBezTo>
                    <a:pt x="2770" y="117"/>
                    <a:pt x="2772" y="118"/>
                    <a:pt x="2775" y="119"/>
                  </a:cubicBezTo>
                  <a:cubicBezTo>
                    <a:pt x="2778" y="115"/>
                    <a:pt x="2772" y="107"/>
                    <a:pt x="2780" y="102"/>
                  </a:cubicBezTo>
                  <a:cubicBezTo>
                    <a:pt x="2779" y="108"/>
                    <a:pt x="2781" y="112"/>
                    <a:pt x="2783" y="114"/>
                  </a:cubicBezTo>
                  <a:cubicBezTo>
                    <a:pt x="2780" y="114"/>
                    <a:pt x="2780" y="118"/>
                    <a:pt x="2783" y="119"/>
                  </a:cubicBezTo>
                  <a:cubicBezTo>
                    <a:pt x="2784" y="117"/>
                    <a:pt x="2785" y="116"/>
                    <a:pt x="2788" y="116"/>
                  </a:cubicBezTo>
                  <a:cubicBezTo>
                    <a:pt x="2789" y="112"/>
                    <a:pt x="2785" y="111"/>
                    <a:pt x="2786" y="107"/>
                  </a:cubicBezTo>
                  <a:cubicBezTo>
                    <a:pt x="2790" y="107"/>
                    <a:pt x="2796" y="106"/>
                    <a:pt x="2797" y="109"/>
                  </a:cubicBezTo>
                  <a:cubicBezTo>
                    <a:pt x="2797" y="114"/>
                    <a:pt x="2794" y="117"/>
                    <a:pt x="2788" y="116"/>
                  </a:cubicBezTo>
                  <a:cubicBezTo>
                    <a:pt x="2791" y="124"/>
                    <a:pt x="2785" y="124"/>
                    <a:pt x="2778" y="124"/>
                  </a:cubicBezTo>
                  <a:cubicBezTo>
                    <a:pt x="2775" y="129"/>
                    <a:pt x="2782" y="137"/>
                    <a:pt x="2783" y="131"/>
                  </a:cubicBezTo>
                  <a:cubicBezTo>
                    <a:pt x="2780" y="131"/>
                    <a:pt x="2780" y="127"/>
                    <a:pt x="2783" y="126"/>
                  </a:cubicBezTo>
                  <a:cubicBezTo>
                    <a:pt x="2790" y="133"/>
                    <a:pt x="2785" y="127"/>
                    <a:pt x="2794" y="126"/>
                  </a:cubicBezTo>
                  <a:cubicBezTo>
                    <a:pt x="2794" y="130"/>
                    <a:pt x="2797" y="131"/>
                    <a:pt x="2797" y="135"/>
                  </a:cubicBezTo>
                  <a:cubicBezTo>
                    <a:pt x="2806" y="138"/>
                    <a:pt x="2799" y="127"/>
                    <a:pt x="2808" y="130"/>
                  </a:cubicBezTo>
                  <a:cubicBezTo>
                    <a:pt x="2808" y="133"/>
                    <a:pt x="2804" y="133"/>
                    <a:pt x="2805" y="137"/>
                  </a:cubicBezTo>
                  <a:cubicBezTo>
                    <a:pt x="2816" y="140"/>
                    <a:pt x="2809" y="128"/>
                    <a:pt x="2819" y="130"/>
                  </a:cubicBezTo>
                  <a:cubicBezTo>
                    <a:pt x="2817" y="132"/>
                    <a:pt x="2813" y="139"/>
                    <a:pt x="2822" y="137"/>
                  </a:cubicBezTo>
                  <a:cubicBezTo>
                    <a:pt x="2822" y="128"/>
                    <a:pt x="2825" y="128"/>
                    <a:pt x="2821" y="121"/>
                  </a:cubicBezTo>
                  <a:cubicBezTo>
                    <a:pt x="2830" y="123"/>
                    <a:pt x="2842" y="119"/>
                    <a:pt x="2854" y="122"/>
                  </a:cubicBezTo>
                  <a:cubicBezTo>
                    <a:pt x="2855" y="118"/>
                    <a:pt x="2851" y="118"/>
                    <a:pt x="2849" y="115"/>
                  </a:cubicBezTo>
                  <a:cubicBezTo>
                    <a:pt x="2852" y="109"/>
                    <a:pt x="2840" y="104"/>
                    <a:pt x="2849" y="101"/>
                  </a:cubicBezTo>
                  <a:cubicBezTo>
                    <a:pt x="2850" y="101"/>
                    <a:pt x="2852" y="101"/>
                    <a:pt x="2854" y="101"/>
                  </a:cubicBezTo>
                  <a:cubicBezTo>
                    <a:pt x="2856" y="105"/>
                    <a:pt x="2851" y="113"/>
                    <a:pt x="2857" y="113"/>
                  </a:cubicBezTo>
                  <a:cubicBezTo>
                    <a:pt x="2856" y="103"/>
                    <a:pt x="2863" y="111"/>
                    <a:pt x="2868" y="110"/>
                  </a:cubicBezTo>
                  <a:cubicBezTo>
                    <a:pt x="2868" y="107"/>
                    <a:pt x="2867" y="102"/>
                    <a:pt x="2871" y="101"/>
                  </a:cubicBezTo>
                  <a:cubicBezTo>
                    <a:pt x="2869" y="104"/>
                    <a:pt x="2874" y="113"/>
                    <a:pt x="2868" y="113"/>
                  </a:cubicBezTo>
                  <a:cubicBezTo>
                    <a:pt x="2858" y="108"/>
                    <a:pt x="2860" y="115"/>
                    <a:pt x="2857" y="122"/>
                  </a:cubicBezTo>
                  <a:cubicBezTo>
                    <a:pt x="2862" y="124"/>
                    <a:pt x="2866" y="120"/>
                    <a:pt x="2868" y="120"/>
                  </a:cubicBezTo>
                  <a:cubicBezTo>
                    <a:pt x="2871" y="120"/>
                    <a:pt x="2873" y="123"/>
                    <a:pt x="2876" y="122"/>
                  </a:cubicBezTo>
                  <a:cubicBezTo>
                    <a:pt x="2878" y="121"/>
                    <a:pt x="2876" y="116"/>
                    <a:pt x="2879" y="117"/>
                  </a:cubicBezTo>
                  <a:cubicBezTo>
                    <a:pt x="2877" y="123"/>
                    <a:pt x="2883" y="122"/>
                    <a:pt x="2888" y="122"/>
                  </a:cubicBezTo>
                  <a:cubicBezTo>
                    <a:pt x="2888" y="114"/>
                    <a:pt x="2888" y="114"/>
                    <a:pt x="2888" y="114"/>
                  </a:cubicBezTo>
                  <a:cubicBezTo>
                    <a:pt x="2885" y="113"/>
                    <a:pt x="2882" y="111"/>
                    <a:pt x="2876" y="113"/>
                  </a:cubicBezTo>
                  <a:cubicBezTo>
                    <a:pt x="2877" y="110"/>
                    <a:pt x="2881" y="110"/>
                    <a:pt x="2884" y="110"/>
                  </a:cubicBezTo>
                  <a:cubicBezTo>
                    <a:pt x="2887" y="110"/>
                    <a:pt x="2886" y="107"/>
                    <a:pt x="2887" y="105"/>
                  </a:cubicBezTo>
                  <a:cubicBezTo>
                    <a:pt x="2887" y="105"/>
                    <a:pt x="2888" y="105"/>
                    <a:pt x="2888" y="105"/>
                  </a:cubicBezTo>
                  <a:cubicBezTo>
                    <a:pt x="2888" y="74"/>
                    <a:pt x="2888" y="74"/>
                    <a:pt x="2888" y="74"/>
                  </a:cubicBezTo>
                  <a:cubicBezTo>
                    <a:pt x="2887" y="73"/>
                    <a:pt x="2887" y="72"/>
                    <a:pt x="2888" y="70"/>
                  </a:cubicBezTo>
                  <a:lnTo>
                    <a:pt x="2888" y="0"/>
                  </a:lnTo>
                  <a:close/>
                  <a:moveTo>
                    <a:pt x="220" y="274"/>
                  </a:moveTo>
                  <a:cubicBezTo>
                    <a:pt x="213" y="274"/>
                    <a:pt x="214" y="263"/>
                    <a:pt x="217" y="260"/>
                  </a:cubicBezTo>
                  <a:cubicBezTo>
                    <a:pt x="224" y="260"/>
                    <a:pt x="219" y="270"/>
                    <a:pt x="220" y="274"/>
                  </a:cubicBezTo>
                  <a:close/>
                  <a:moveTo>
                    <a:pt x="227" y="203"/>
                  </a:moveTo>
                  <a:cubicBezTo>
                    <a:pt x="224" y="203"/>
                    <a:pt x="225" y="199"/>
                    <a:pt x="225" y="196"/>
                  </a:cubicBezTo>
                  <a:cubicBezTo>
                    <a:pt x="229" y="195"/>
                    <a:pt x="230" y="198"/>
                    <a:pt x="230" y="201"/>
                  </a:cubicBezTo>
                  <a:cubicBezTo>
                    <a:pt x="228" y="201"/>
                    <a:pt x="228" y="202"/>
                    <a:pt x="227" y="203"/>
                  </a:cubicBezTo>
                  <a:close/>
                  <a:moveTo>
                    <a:pt x="305" y="256"/>
                  </a:moveTo>
                  <a:cubicBezTo>
                    <a:pt x="297" y="258"/>
                    <a:pt x="298" y="253"/>
                    <a:pt x="291" y="254"/>
                  </a:cubicBezTo>
                  <a:cubicBezTo>
                    <a:pt x="292" y="247"/>
                    <a:pt x="306" y="249"/>
                    <a:pt x="305" y="256"/>
                  </a:cubicBezTo>
                  <a:close/>
                  <a:moveTo>
                    <a:pt x="340" y="197"/>
                  </a:moveTo>
                  <a:cubicBezTo>
                    <a:pt x="342" y="197"/>
                    <a:pt x="343" y="197"/>
                    <a:pt x="345" y="197"/>
                  </a:cubicBezTo>
                  <a:cubicBezTo>
                    <a:pt x="346" y="203"/>
                    <a:pt x="325" y="196"/>
                    <a:pt x="340" y="197"/>
                  </a:cubicBezTo>
                  <a:close/>
                  <a:moveTo>
                    <a:pt x="357" y="258"/>
                  </a:moveTo>
                  <a:cubicBezTo>
                    <a:pt x="359" y="255"/>
                    <a:pt x="361" y="253"/>
                    <a:pt x="357" y="253"/>
                  </a:cubicBezTo>
                  <a:cubicBezTo>
                    <a:pt x="361" y="245"/>
                    <a:pt x="364" y="258"/>
                    <a:pt x="371" y="255"/>
                  </a:cubicBezTo>
                  <a:cubicBezTo>
                    <a:pt x="372" y="260"/>
                    <a:pt x="361" y="256"/>
                    <a:pt x="357" y="258"/>
                  </a:cubicBezTo>
                  <a:close/>
                  <a:moveTo>
                    <a:pt x="415" y="259"/>
                  </a:moveTo>
                  <a:cubicBezTo>
                    <a:pt x="409" y="260"/>
                    <a:pt x="405" y="259"/>
                    <a:pt x="401" y="257"/>
                  </a:cubicBezTo>
                  <a:cubicBezTo>
                    <a:pt x="401" y="253"/>
                    <a:pt x="419" y="252"/>
                    <a:pt x="415" y="259"/>
                  </a:cubicBezTo>
                  <a:close/>
                  <a:moveTo>
                    <a:pt x="480" y="201"/>
                  </a:moveTo>
                  <a:cubicBezTo>
                    <a:pt x="482" y="201"/>
                    <a:pt x="484" y="201"/>
                    <a:pt x="485" y="201"/>
                  </a:cubicBezTo>
                  <a:cubicBezTo>
                    <a:pt x="486" y="208"/>
                    <a:pt x="465" y="201"/>
                    <a:pt x="480" y="201"/>
                  </a:cubicBezTo>
                  <a:close/>
                  <a:moveTo>
                    <a:pt x="502" y="201"/>
                  </a:moveTo>
                  <a:cubicBezTo>
                    <a:pt x="514" y="202"/>
                    <a:pt x="499" y="215"/>
                    <a:pt x="502" y="201"/>
                  </a:cubicBezTo>
                  <a:close/>
                  <a:moveTo>
                    <a:pt x="538" y="205"/>
                  </a:moveTo>
                  <a:cubicBezTo>
                    <a:pt x="538" y="200"/>
                    <a:pt x="545" y="200"/>
                    <a:pt x="548" y="203"/>
                  </a:cubicBezTo>
                  <a:cubicBezTo>
                    <a:pt x="548" y="206"/>
                    <a:pt x="542" y="205"/>
                    <a:pt x="538" y="205"/>
                  </a:cubicBezTo>
                  <a:close/>
                  <a:moveTo>
                    <a:pt x="552" y="264"/>
                  </a:moveTo>
                  <a:cubicBezTo>
                    <a:pt x="551" y="259"/>
                    <a:pt x="554" y="257"/>
                    <a:pt x="555" y="254"/>
                  </a:cubicBezTo>
                  <a:cubicBezTo>
                    <a:pt x="561" y="256"/>
                    <a:pt x="563" y="264"/>
                    <a:pt x="552" y="264"/>
                  </a:cubicBezTo>
                  <a:close/>
                  <a:moveTo>
                    <a:pt x="573" y="204"/>
                  </a:moveTo>
                  <a:cubicBezTo>
                    <a:pt x="574" y="199"/>
                    <a:pt x="587" y="203"/>
                    <a:pt x="592" y="202"/>
                  </a:cubicBezTo>
                  <a:cubicBezTo>
                    <a:pt x="591" y="207"/>
                    <a:pt x="579" y="203"/>
                    <a:pt x="573" y="204"/>
                  </a:cubicBezTo>
                  <a:close/>
                  <a:moveTo>
                    <a:pt x="592" y="199"/>
                  </a:moveTo>
                  <a:cubicBezTo>
                    <a:pt x="587" y="198"/>
                    <a:pt x="592" y="195"/>
                    <a:pt x="592" y="192"/>
                  </a:cubicBezTo>
                  <a:cubicBezTo>
                    <a:pt x="597" y="194"/>
                    <a:pt x="593" y="197"/>
                    <a:pt x="592" y="199"/>
                  </a:cubicBezTo>
                  <a:close/>
                  <a:moveTo>
                    <a:pt x="624" y="265"/>
                  </a:moveTo>
                  <a:cubicBezTo>
                    <a:pt x="625" y="262"/>
                    <a:pt x="627" y="260"/>
                    <a:pt x="632" y="260"/>
                  </a:cubicBezTo>
                  <a:cubicBezTo>
                    <a:pt x="631" y="263"/>
                    <a:pt x="628" y="265"/>
                    <a:pt x="624" y="265"/>
                  </a:cubicBezTo>
                  <a:close/>
                  <a:moveTo>
                    <a:pt x="653" y="203"/>
                  </a:moveTo>
                  <a:cubicBezTo>
                    <a:pt x="655" y="203"/>
                    <a:pt x="658" y="203"/>
                    <a:pt x="661" y="203"/>
                  </a:cubicBezTo>
                  <a:cubicBezTo>
                    <a:pt x="661" y="208"/>
                    <a:pt x="651" y="204"/>
                    <a:pt x="647" y="205"/>
                  </a:cubicBezTo>
                  <a:cubicBezTo>
                    <a:pt x="647" y="203"/>
                    <a:pt x="651" y="204"/>
                    <a:pt x="653" y="203"/>
                  </a:cubicBezTo>
                  <a:close/>
                  <a:moveTo>
                    <a:pt x="656" y="264"/>
                  </a:moveTo>
                  <a:cubicBezTo>
                    <a:pt x="650" y="263"/>
                    <a:pt x="639" y="267"/>
                    <a:pt x="643" y="260"/>
                  </a:cubicBezTo>
                  <a:cubicBezTo>
                    <a:pt x="652" y="263"/>
                    <a:pt x="661" y="258"/>
                    <a:pt x="667" y="264"/>
                  </a:cubicBezTo>
                  <a:cubicBezTo>
                    <a:pt x="676" y="266"/>
                    <a:pt x="663" y="265"/>
                    <a:pt x="656" y="264"/>
                  </a:cubicBezTo>
                  <a:close/>
                  <a:moveTo>
                    <a:pt x="690" y="266"/>
                  </a:moveTo>
                  <a:cubicBezTo>
                    <a:pt x="697" y="257"/>
                    <a:pt x="707" y="271"/>
                    <a:pt x="690" y="266"/>
                  </a:cubicBezTo>
                  <a:close/>
                  <a:moveTo>
                    <a:pt x="714" y="263"/>
                  </a:moveTo>
                  <a:cubicBezTo>
                    <a:pt x="716" y="263"/>
                    <a:pt x="718" y="263"/>
                    <a:pt x="720" y="263"/>
                  </a:cubicBezTo>
                  <a:cubicBezTo>
                    <a:pt x="720" y="270"/>
                    <a:pt x="699" y="263"/>
                    <a:pt x="714" y="263"/>
                  </a:cubicBezTo>
                  <a:close/>
                  <a:moveTo>
                    <a:pt x="738" y="209"/>
                  </a:moveTo>
                  <a:cubicBezTo>
                    <a:pt x="737" y="208"/>
                    <a:pt x="745" y="206"/>
                    <a:pt x="743" y="204"/>
                  </a:cubicBezTo>
                  <a:cubicBezTo>
                    <a:pt x="753" y="208"/>
                    <a:pt x="740" y="210"/>
                    <a:pt x="738" y="209"/>
                  </a:cubicBezTo>
                  <a:close/>
                  <a:moveTo>
                    <a:pt x="777" y="267"/>
                  </a:moveTo>
                  <a:cubicBezTo>
                    <a:pt x="773" y="266"/>
                    <a:pt x="763" y="269"/>
                    <a:pt x="766" y="262"/>
                  </a:cubicBezTo>
                  <a:cubicBezTo>
                    <a:pt x="773" y="263"/>
                    <a:pt x="779" y="265"/>
                    <a:pt x="788" y="264"/>
                  </a:cubicBezTo>
                  <a:cubicBezTo>
                    <a:pt x="788" y="270"/>
                    <a:pt x="782" y="267"/>
                    <a:pt x="777" y="267"/>
                  </a:cubicBezTo>
                  <a:close/>
                  <a:moveTo>
                    <a:pt x="791" y="269"/>
                  </a:moveTo>
                  <a:cubicBezTo>
                    <a:pt x="793" y="266"/>
                    <a:pt x="797" y="264"/>
                    <a:pt x="802" y="264"/>
                  </a:cubicBezTo>
                  <a:cubicBezTo>
                    <a:pt x="801" y="268"/>
                    <a:pt x="797" y="269"/>
                    <a:pt x="791" y="269"/>
                  </a:cubicBezTo>
                  <a:close/>
                  <a:moveTo>
                    <a:pt x="810" y="261"/>
                  </a:moveTo>
                  <a:cubicBezTo>
                    <a:pt x="814" y="263"/>
                    <a:pt x="815" y="266"/>
                    <a:pt x="816" y="271"/>
                  </a:cubicBezTo>
                  <a:cubicBezTo>
                    <a:pt x="807" y="272"/>
                    <a:pt x="806" y="265"/>
                    <a:pt x="810" y="261"/>
                  </a:cubicBezTo>
                  <a:close/>
                  <a:moveTo>
                    <a:pt x="824" y="264"/>
                  </a:moveTo>
                  <a:cubicBezTo>
                    <a:pt x="830" y="269"/>
                    <a:pt x="836" y="261"/>
                    <a:pt x="840" y="266"/>
                  </a:cubicBezTo>
                  <a:cubicBezTo>
                    <a:pt x="836" y="270"/>
                    <a:pt x="824" y="273"/>
                    <a:pt x="824" y="264"/>
                  </a:cubicBezTo>
                  <a:close/>
                  <a:moveTo>
                    <a:pt x="865" y="268"/>
                  </a:moveTo>
                  <a:cubicBezTo>
                    <a:pt x="867" y="267"/>
                    <a:pt x="869" y="267"/>
                    <a:pt x="871" y="267"/>
                  </a:cubicBezTo>
                  <a:cubicBezTo>
                    <a:pt x="871" y="274"/>
                    <a:pt x="850" y="267"/>
                    <a:pt x="865" y="268"/>
                  </a:cubicBezTo>
                  <a:close/>
                  <a:moveTo>
                    <a:pt x="866" y="326"/>
                  </a:moveTo>
                  <a:cubicBezTo>
                    <a:pt x="866" y="325"/>
                    <a:pt x="866" y="323"/>
                    <a:pt x="866" y="321"/>
                  </a:cubicBezTo>
                  <a:cubicBezTo>
                    <a:pt x="868" y="321"/>
                    <a:pt x="870" y="321"/>
                    <a:pt x="871" y="321"/>
                  </a:cubicBezTo>
                  <a:cubicBezTo>
                    <a:pt x="872" y="323"/>
                    <a:pt x="872" y="325"/>
                    <a:pt x="872" y="326"/>
                  </a:cubicBezTo>
                  <a:cubicBezTo>
                    <a:pt x="870" y="326"/>
                    <a:pt x="868" y="326"/>
                    <a:pt x="866" y="326"/>
                  </a:cubicBezTo>
                  <a:close/>
                  <a:moveTo>
                    <a:pt x="903" y="269"/>
                  </a:moveTo>
                  <a:cubicBezTo>
                    <a:pt x="912" y="260"/>
                    <a:pt x="913" y="276"/>
                    <a:pt x="903" y="269"/>
                  </a:cubicBezTo>
                  <a:close/>
                  <a:moveTo>
                    <a:pt x="925" y="266"/>
                  </a:moveTo>
                  <a:cubicBezTo>
                    <a:pt x="930" y="266"/>
                    <a:pt x="931" y="269"/>
                    <a:pt x="936" y="269"/>
                  </a:cubicBezTo>
                  <a:cubicBezTo>
                    <a:pt x="937" y="273"/>
                    <a:pt x="921" y="273"/>
                    <a:pt x="925" y="266"/>
                  </a:cubicBezTo>
                  <a:close/>
                  <a:moveTo>
                    <a:pt x="947" y="271"/>
                  </a:moveTo>
                  <a:cubicBezTo>
                    <a:pt x="945" y="264"/>
                    <a:pt x="953" y="266"/>
                    <a:pt x="958" y="266"/>
                  </a:cubicBezTo>
                  <a:cubicBezTo>
                    <a:pt x="958" y="270"/>
                    <a:pt x="954" y="271"/>
                    <a:pt x="947" y="271"/>
                  </a:cubicBezTo>
                  <a:close/>
                  <a:moveTo>
                    <a:pt x="961" y="271"/>
                  </a:moveTo>
                  <a:cubicBezTo>
                    <a:pt x="963" y="269"/>
                    <a:pt x="964" y="267"/>
                    <a:pt x="964" y="263"/>
                  </a:cubicBezTo>
                  <a:cubicBezTo>
                    <a:pt x="971" y="263"/>
                    <a:pt x="972" y="267"/>
                    <a:pt x="978" y="268"/>
                  </a:cubicBezTo>
                  <a:cubicBezTo>
                    <a:pt x="977" y="273"/>
                    <a:pt x="966" y="269"/>
                    <a:pt x="961" y="271"/>
                  </a:cubicBezTo>
                  <a:close/>
                  <a:moveTo>
                    <a:pt x="986" y="275"/>
                  </a:moveTo>
                  <a:cubicBezTo>
                    <a:pt x="985" y="273"/>
                    <a:pt x="987" y="273"/>
                    <a:pt x="989" y="272"/>
                  </a:cubicBezTo>
                  <a:cubicBezTo>
                    <a:pt x="985" y="269"/>
                    <a:pt x="980" y="268"/>
                    <a:pt x="986" y="263"/>
                  </a:cubicBezTo>
                  <a:cubicBezTo>
                    <a:pt x="994" y="261"/>
                    <a:pt x="989" y="271"/>
                    <a:pt x="1000" y="268"/>
                  </a:cubicBezTo>
                  <a:cubicBezTo>
                    <a:pt x="995" y="270"/>
                    <a:pt x="993" y="274"/>
                    <a:pt x="986" y="275"/>
                  </a:cubicBezTo>
                  <a:close/>
                  <a:moveTo>
                    <a:pt x="1011" y="272"/>
                  </a:moveTo>
                  <a:cubicBezTo>
                    <a:pt x="1011" y="270"/>
                    <a:pt x="1011" y="269"/>
                    <a:pt x="1010" y="267"/>
                  </a:cubicBezTo>
                  <a:cubicBezTo>
                    <a:pt x="1012" y="267"/>
                    <a:pt x="1014" y="267"/>
                    <a:pt x="1016" y="267"/>
                  </a:cubicBezTo>
                  <a:cubicBezTo>
                    <a:pt x="1016" y="269"/>
                    <a:pt x="1016" y="270"/>
                    <a:pt x="1016" y="272"/>
                  </a:cubicBezTo>
                  <a:cubicBezTo>
                    <a:pt x="1014" y="272"/>
                    <a:pt x="1012" y="272"/>
                    <a:pt x="1011" y="272"/>
                  </a:cubicBezTo>
                  <a:close/>
                  <a:moveTo>
                    <a:pt x="1150" y="270"/>
                  </a:moveTo>
                  <a:cubicBezTo>
                    <a:pt x="1150" y="268"/>
                    <a:pt x="1150" y="266"/>
                    <a:pt x="1150" y="265"/>
                  </a:cubicBezTo>
                  <a:cubicBezTo>
                    <a:pt x="1152" y="265"/>
                    <a:pt x="1154" y="265"/>
                    <a:pt x="1156" y="265"/>
                  </a:cubicBezTo>
                  <a:cubicBezTo>
                    <a:pt x="1156" y="266"/>
                    <a:pt x="1156" y="268"/>
                    <a:pt x="1156" y="269"/>
                  </a:cubicBezTo>
                  <a:cubicBezTo>
                    <a:pt x="1154" y="270"/>
                    <a:pt x="1152" y="270"/>
                    <a:pt x="1150" y="270"/>
                  </a:cubicBezTo>
                  <a:close/>
                  <a:moveTo>
                    <a:pt x="1170" y="269"/>
                  </a:moveTo>
                  <a:cubicBezTo>
                    <a:pt x="1170" y="268"/>
                    <a:pt x="1170" y="266"/>
                    <a:pt x="1170" y="265"/>
                  </a:cubicBezTo>
                  <a:cubicBezTo>
                    <a:pt x="1171" y="265"/>
                    <a:pt x="1173" y="265"/>
                    <a:pt x="1175" y="264"/>
                  </a:cubicBezTo>
                  <a:cubicBezTo>
                    <a:pt x="1175" y="266"/>
                    <a:pt x="1175" y="268"/>
                    <a:pt x="1175" y="269"/>
                  </a:cubicBezTo>
                  <a:cubicBezTo>
                    <a:pt x="1173" y="269"/>
                    <a:pt x="1171" y="269"/>
                    <a:pt x="1170" y="269"/>
                  </a:cubicBezTo>
                  <a:close/>
                  <a:moveTo>
                    <a:pt x="1194" y="271"/>
                  </a:moveTo>
                  <a:cubicBezTo>
                    <a:pt x="1195" y="263"/>
                    <a:pt x="1187" y="272"/>
                    <a:pt x="1181" y="267"/>
                  </a:cubicBezTo>
                  <a:cubicBezTo>
                    <a:pt x="1179" y="261"/>
                    <a:pt x="1191" y="267"/>
                    <a:pt x="1194" y="264"/>
                  </a:cubicBezTo>
                  <a:cubicBezTo>
                    <a:pt x="1194" y="264"/>
                    <a:pt x="1194" y="262"/>
                    <a:pt x="1194" y="262"/>
                  </a:cubicBezTo>
                  <a:cubicBezTo>
                    <a:pt x="1200" y="261"/>
                    <a:pt x="1208" y="268"/>
                    <a:pt x="1211" y="261"/>
                  </a:cubicBezTo>
                  <a:cubicBezTo>
                    <a:pt x="1221" y="266"/>
                    <a:pt x="1208" y="265"/>
                    <a:pt x="1205" y="266"/>
                  </a:cubicBezTo>
                  <a:cubicBezTo>
                    <a:pt x="1201" y="268"/>
                    <a:pt x="1198" y="272"/>
                    <a:pt x="1194" y="271"/>
                  </a:cubicBezTo>
                  <a:close/>
                  <a:moveTo>
                    <a:pt x="1199" y="353"/>
                  </a:moveTo>
                  <a:cubicBezTo>
                    <a:pt x="1207" y="350"/>
                    <a:pt x="1205" y="357"/>
                    <a:pt x="1210" y="358"/>
                  </a:cubicBezTo>
                  <a:cubicBezTo>
                    <a:pt x="1209" y="363"/>
                    <a:pt x="1194" y="361"/>
                    <a:pt x="1199" y="353"/>
                  </a:cubicBezTo>
                  <a:close/>
                  <a:moveTo>
                    <a:pt x="1212" y="355"/>
                  </a:moveTo>
                  <a:cubicBezTo>
                    <a:pt x="1215" y="349"/>
                    <a:pt x="1216" y="353"/>
                    <a:pt x="1223" y="353"/>
                  </a:cubicBezTo>
                  <a:cubicBezTo>
                    <a:pt x="1223" y="358"/>
                    <a:pt x="1216" y="358"/>
                    <a:pt x="1212" y="355"/>
                  </a:cubicBezTo>
                  <a:close/>
                  <a:moveTo>
                    <a:pt x="1227" y="261"/>
                  </a:moveTo>
                  <a:cubicBezTo>
                    <a:pt x="1232" y="261"/>
                    <a:pt x="1234" y="265"/>
                    <a:pt x="1235" y="261"/>
                  </a:cubicBezTo>
                  <a:cubicBezTo>
                    <a:pt x="1247" y="264"/>
                    <a:pt x="1223" y="271"/>
                    <a:pt x="1227" y="261"/>
                  </a:cubicBezTo>
                  <a:close/>
                  <a:moveTo>
                    <a:pt x="1237" y="195"/>
                  </a:moveTo>
                  <a:cubicBezTo>
                    <a:pt x="1237" y="194"/>
                    <a:pt x="1237" y="192"/>
                    <a:pt x="1237" y="191"/>
                  </a:cubicBezTo>
                  <a:cubicBezTo>
                    <a:pt x="1239" y="190"/>
                    <a:pt x="1240" y="190"/>
                    <a:pt x="1242" y="190"/>
                  </a:cubicBezTo>
                  <a:cubicBezTo>
                    <a:pt x="1242" y="192"/>
                    <a:pt x="1242" y="194"/>
                    <a:pt x="1242" y="195"/>
                  </a:cubicBezTo>
                  <a:cubicBezTo>
                    <a:pt x="1241" y="195"/>
                    <a:pt x="1239" y="195"/>
                    <a:pt x="1237" y="195"/>
                  </a:cubicBezTo>
                  <a:close/>
                  <a:moveTo>
                    <a:pt x="1259" y="195"/>
                  </a:moveTo>
                  <a:cubicBezTo>
                    <a:pt x="1252" y="196"/>
                    <a:pt x="1252" y="190"/>
                    <a:pt x="1250" y="186"/>
                  </a:cubicBezTo>
                  <a:cubicBezTo>
                    <a:pt x="1258" y="185"/>
                    <a:pt x="1258" y="190"/>
                    <a:pt x="1259" y="195"/>
                  </a:cubicBezTo>
                  <a:close/>
                  <a:moveTo>
                    <a:pt x="1252" y="261"/>
                  </a:moveTo>
                  <a:cubicBezTo>
                    <a:pt x="1256" y="260"/>
                    <a:pt x="1262" y="262"/>
                    <a:pt x="1263" y="258"/>
                  </a:cubicBezTo>
                  <a:cubicBezTo>
                    <a:pt x="1266" y="259"/>
                    <a:pt x="1265" y="262"/>
                    <a:pt x="1266" y="265"/>
                  </a:cubicBezTo>
                  <a:cubicBezTo>
                    <a:pt x="1263" y="268"/>
                    <a:pt x="1252" y="268"/>
                    <a:pt x="1252" y="261"/>
                  </a:cubicBezTo>
                  <a:close/>
                  <a:moveTo>
                    <a:pt x="1279" y="267"/>
                  </a:moveTo>
                  <a:cubicBezTo>
                    <a:pt x="1271" y="269"/>
                    <a:pt x="1269" y="262"/>
                    <a:pt x="1274" y="258"/>
                  </a:cubicBezTo>
                  <a:cubicBezTo>
                    <a:pt x="1279" y="259"/>
                    <a:pt x="1280" y="262"/>
                    <a:pt x="1279" y="267"/>
                  </a:cubicBezTo>
                  <a:close/>
                  <a:moveTo>
                    <a:pt x="1282" y="260"/>
                  </a:moveTo>
                  <a:cubicBezTo>
                    <a:pt x="1283" y="254"/>
                    <a:pt x="1287" y="263"/>
                    <a:pt x="1293" y="260"/>
                  </a:cubicBezTo>
                  <a:cubicBezTo>
                    <a:pt x="1291" y="268"/>
                    <a:pt x="1287" y="262"/>
                    <a:pt x="1282" y="260"/>
                  </a:cubicBezTo>
                  <a:close/>
                  <a:moveTo>
                    <a:pt x="1312" y="257"/>
                  </a:moveTo>
                  <a:cubicBezTo>
                    <a:pt x="1308" y="258"/>
                    <a:pt x="1310" y="265"/>
                    <a:pt x="1301" y="262"/>
                  </a:cubicBezTo>
                  <a:cubicBezTo>
                    <a:pt x="1300" y="255"/>
                    <a:pt x="1310" y="257"/>
                    <a:pt x="1315" y="255"/>
                  </a:cubicBezTo>
                  <a:cubicBezTo>
                    <a:pt x="1316" y="259"/>
                    <a:pt x="1312" y="260"/>
                    <a:pt x="1312" y="257"/>
                  </a:cubicBezTo>
                  <a:close/>
                  <a:moveTo>
                    <a:pt x="1479" y="238"/>
                  </a:moveTo>
                  <a:cubicBezTo>
                    <a:pt x="1478" y="239"/>
                    <a:pt x="1476" y="232"/>
                    <a:pt x="1474" y="233"/>
                  </a:cubicBezTo>
                  <a:cubicBezTo>
                    <a:pt x="1478" y="225"/>
                    <a:pt x="1481" y="236"/>
                    <a:pt x="1479" y="238"/>
                  </a:cubicBezTo>
                  <a:close/>
                  <a:moveTo>
                    <a:pt x="1448" y="177"/>
                  </a:moveTo>
                  <a:cubicBezTo>
                    <a:pt x="1447" y="180"/>
                    <a:pt x="1445" y="182"/>
                    <a:pt x="1440" y="182"/>
                  </a:cubicBezTo>
                  <a:cubicBezTo>
                    <a:pt x="1438" y="177"/>
                    <a:pt x="1444" y="178"/>
                    <a:pt x="1448" y="177"/>
                  </a:cubicBezTo>
                  <a:close/>
                  <a:moveTo>
                    <a:pt x="1424" y="248"/>
                  </a:moveTo>
                  <a:cubicBezTo>
                    <a:pt x="1429" y="248"/>
                    <a:pt x="1429" y="250"/>
                    <a:pt x="1433" y="251"/>
                  </a:cubicBezTo>
                  <a:cubicBezTo>
                    <a:pt x="1434" y="255"/>
                    <a:pt x="1420" y="254"/>
                    <a:pt x="1424" y="248"/>
                  </a:cubicBezTo>
                  <a:close/>
                  <a:moveTo>
                    <a:pt x="1334" y="259"/>
                  </a:moveTo>
                  <a:cubicBezTo>
                    <a:pt x="1334" y="257"/>
                    <a:pt x="1331" y="258"/>
                    <a:pt x="1329" y="257"/>
                  </a:cubicBezTo>
                  <a:cubicBezTo>
                    <a:pt x="1331" y="252"/>
                    <a:pt x="1344" y="256"/>
                    <a:pt x="1350" y="254"/>
                  </a:cubicBezTo>
                  <a:cubicBezTo>
                    <a:pt x="1347" y="261"/>
                    <a:pt x="1344" y="256"/>
                    <a:pt x="1334" y="259"/>
                  </a:cubicBezTo>
                  <a:close/>
                  <a:moveTo>
                    <a:pt x="1392" y="279"/>
                  </a:moveTo>
                  <a:cubicBezTo>
                    <a:pt x="1392" y="278"/>
                    <a:pt x="1392" y="276"/>
                    <a:pt x="1392" y="275"/>
                  </a:cubicBezTo>
                  <a:cubicBezTo>
                    <a:pt x="1394" y="275"/>
                    <a:pt x="1396" y="275"/>
                    <a:pt x="1397" y="275"/>
                  </a:cubicBezTo>
                  <a:cubicBezTo>
                    <a:pt x="1398" y="276"/>
                    <a:pt x="1398" y="278"/>
                    <a:pt x="1398" y="279"/>
                  </a:cubicBezTo>
                  <a:cubicBezTo>
                    <a:pt x="1396" y="279"/>
                    <a:pt x="1394" y="279"/>
                    <a:pt x="1392" y="279"/>
                  </a:cubicBezTo>
                  <a:close/>
                  <a:moveTo>
                    <a:pt x="1394" y="258"/>
                  </a:moveTo>
                  <a:cubicBezTo>
                    <a:pt x="1394" y="261"/>
                    <a:pt x="1392" y="260"/>
                    <a:pt x="1392" y="258"/>
                  </a:cubicBezTo>
                  <a:cubicBezTo>
                    <a:pt x="1388" y="259"/>
                    <a:pt x="1384" y="259"/>
                    <a:pt x="1383" y="256"/>
                  </a:cubicBezTo>
                  <a:cubicBezTo>
                    <a:pt x="1381" y="258"/>
                    <a:pt x="1376" y="260"/>
                    <a:pt x="1375" y="256"/>
                  </a:cubicBezTo>
                  <a:cubicBezTo>
                    <a:pt x="1373" y="257"/>
                    <a:pt x="1372" y="259"/>
                    <a:pt x="1370" y="259"/>
                  </a:cubicBezTo>
                  <a:cubicBezTo>
                    <a:pt x="1369" y="261"/>
                    <a:pt x="1371" y="261"/>
                    <a:pt x="1373" y="261"/>
                  </a:cubicBezTo>
                  <a:cubicBezTo>
                    <a:pt x="1373" y="267"/>
                    <a:pt x="1365" y="260"/>
                    <a:pt x="1367" y="256"/>
                  </a:cubicBezTo>
                  <a:cubicBezTo>
                    <a:pt x="1362" y="257"/>
                    <a:pt x="1365" y="266"/>
                    <a:pt x="1356" y="264"/>
                  </a:cubicBezTo>
                  <a:cubicBezTo>
                    <a:pt x="1358" y="256"/>
                    <a:pt x="1351" y="256"/>
                    <a:pt x="1356" y="252"/>
                  </a:cubicBezTo>
                  <a:cubicBezTo>
                    <a:pt x="1360" y="249"/>
                    <a:pt x="1366" y="255"/>
                    <a:pt x="1367" y="254"/>
                  </a:cubicBezTo>
                  <a:cubicBezTo>
                    <a:pt x="1367" y="254"/>
                    <a:pt x="1367" y="252"/>
                    <a:pt x="1367" y="252"/>
                  </a:cubicBezTo>
                  <a:cubicBezTo>
                    <a:pt x="1370" y="251"/>
                    <a:pt x="1372" y="254"/>
                    <a:pt x="1372" y="254"/>
                  </a:cubicBezTo>
                  <a:cubicBezTo>
                    <a:pt x="1379" y="253"/>
                    <a:pt x="1377" y="249"/>
                    <a:pt x="1383" y="249"/>
                  </a:cubicBezTo>
                  <a:cubicBezTo>
                    <a:pt x="1383" y="249"/>
                    <a:pt x="1384" y="255"/>
                    <a:pt x="1386" y="254"/>
                  </a:cubicBezTo>
                  <a:cubicBezTo>
                    <a:pt x="1392" y="254"/>
                    <a:pt x="1387" y="245"/>
                    <a:pt x="1389" y="242"/>
                  </a:cubicBezTo>
                  <a:cubicBezTo>
                    <a:pt x="1391" y="243"/>
                    <a:pt x="1393" y="244"/>
                    <a:pt x="1397" y="244"/>
                  </a:cubicBezTo>
                  <a:cubicBezTo>
                    <a:pt x="1396" y="246"/>
                    <a:pt x="1395" y="248"/>
                    <a:pt x="1392" y="249"/>
                  </a:cubicBezTo>
                  <a:cubicBezTo>
                    <a:pt x="1391" y="255"/>
                    <a:pt x="1404" y="247"/>
                    <a:pt x="1400" y="256"/>
                  </a:cubicBezTo>
                  <a:cubicBezTo>
                    <a:pt x="1395" y="255"/>
                    <a:pt x="1390" y="258"/>
                    <a:pt x="1394" y="258"/>
                  </a:cubicBezTo>
                  <a:close/>
                  <a:moveTo>
                    <a:pt x="1405" y="258"/>
                  </a:moveTo>
                  <a:cubicBezTo>
                    <a:pt x="1407" y="258"/>
                    <a:pt x="1409" y="258"/>
                    <a:pt x="1411" y="258"/>
                  </a:cubicBezTo>
                  <a:cubicBezTo>
                    <a:pt x="1412" y="265"/>
                    <a:pt x="1390" y="258"/>
                    <a:pt x="1405" y="258"/>
                  </a:cubicBezTo>
                  <a:close/>
                  <a:moveTo>
                    <a:pt x="1403" y="279"/>
                  </a:moveTo>
                  <a:cubicBezTo>
                    <a:pt x="1403" y="277"/>
                    <a:pt x="1406" y="277"/>
                    <a:pt x="1408" y="277"/>
                  </a:cubicBezTo>
                  <a:cubicBezTo>
                    <a:pt x="1410" y="277"/>
                    <a:pt x="1412" y="277"/>
                    <a:pt x="1414" y="277"/>
                  </a:cubicBezTo>
                  <a:cubicBezTo>
                    <a:pt x="1413" y="280"/>
                    <a:pt x="1407" y="279"/>
                    <a:pt x="1403" y="279"/>
                  </a:cubicBezTo>
                  <a:close/>
                  <a:moveTo>
                    <a:pt x="1416" y="256"/>
                  </a:moveTo>
                  <a:cubicBezTo>
                    <a:pt x="1412" y="256"/>
                    <a:pt x="1407" y="256"/>
                    <a:pt x="1403" y="256"/>
                  </a:cubicBezTo>
                  <a:cubicBezTo>
                    <a:pt x="1401" y="247"/>
                    <a:pt x="1411" y="248"/>
                    <a:pt x="1419" y="248"/>
                  </a:cubicBezTo>
                  <a:cubicBezTo>
                    <a:pt x="1419" y="254"/>
                    <a:pt x="1424" y="256"/>
                    <a:pt x="1419" y="260"/>
                  </a:cubicBezTo>
                  <a:cubicBezTo>
                    <a:pt x="1416" y="260"/>
                    <a:pt x="1417" y="257"/>
                    <a:pt x="1416" y="256"/>
                  </a:cubicBezTo>
                  <a:close/>
                  <a:moveTo>
                    <a:pt x="1418" y="352"/>
                  </a:moveTo>
                  <a:cubicBezTo>
                    <a:pt x="1417" y="348"/>
                    <a:pt x="1423" y="346"/>
                    <a:pt x="1418" y="345"/>
                  </a:cubicBezTo>
                  <a:cubicBezTo>
                    <a:pt x="1420" y="342"/>
                    <a:pt x="1424" y="342"/>
                    <a:pt x="1423" y="338"/>
                  </a:cubicBezTo>
                  <a:cubicBezTo>
                    <a:pt x="1428" y="340"/>
                    <a:pt x="1430" y="344"/>
                    <a:pt x="1426" y="347"/>
                  </a:cubicBezTo>
                  <a:cubicBezTo>
                    <a:pt x="1427" y="352"/>
                    <a:pt x="1433" y="344"/>
                    <a:pt x="1440" y="347"/>
                  </a:cubicBezTo>
                  <a:cubicBezTo>
                    <a:pt x="1439" y="354"/>
                    <a:pt x="1426" y="351"/>
                    <a:pt x="1418" y="352"/>
                  </a:cubicBezTo>
                  <a:close/>
                  <a:moveTo>
                    <a:pt x="1433" y="281"/>
                  </a:moveTo>
                  <a:cubicBezTo>
                    <a:pt x="1435" y="277"/>
                    <a:pt x="1438" y="281"/>
                    <a:pt x="1441" y="281"/>
                  </a:cubicBezTo>
                  <a:cubicBezTo>
                    <a:pt x="1440" y="285"/>
                    <a:pt x="1437" y="281"/>
                    <a:pt x="1433" y="281"/>
                  </a:cubicBezTo>
                  <a:close/>
                  <a:moveTo>
                    <a:pt x="1438" y="250"/>
                  </a:moveTo>
                  <a:cubicBezTo>
                    <a:pt x="1435" y="241"/>
                    <a:pt x="1455" y="254"/>
                    <a:pt x="1452" y="241"/>
                  </a:cubicBezTo>
                  <a:cubicBezTo>
                    <a:pt x="1457" y="241"/>
                    <a:pt x="1454" y="249"/>
                    <a:pt x="1460" y="248"/>
                  </a:cubicBezTo>
                  <a:cubicBezTo>
                    <a:pt x="1459" y="250"/>
                    <a:pt x="1439" y="253"/>
                    <a:pt x="1438" y="250"/>
                  </a:cubicBezTo>
                  <a:close/>
                  <a:moveTo>
                    <a:pt x="1456" y="330"/>
                  </a:moveTo>
                  <a:cubicBezTo>
                    <a:pt x="1459" y="331"/>
                    <a:pt x="1462" y="333"/>
                    <a:pt x="1462" y="337"/>
                  </a:cubicBezTo>
                  <a:cubicBezTo>
                    <a:pt x="1458" y="336"/>
                    <a:pt x="1456" y="334"/>
                    <a:pt x="1456" y="330"/>
                  </a:cubicBezTo>
                  <a:close/>
                  <a:moveTo>
                    <a:pt x="1485" y="250"/>
                  </a:moveTo>
                  <a:cubicBezTo>
                    <a:pt x="1485" y="251"/>
                    <a:pt x="1485" y="253"/>
                    <a:pt x="1485" y="254"/>
                  </a:cubicBezTo>
                  <a:cubicBezTo>
                    <a:pt x="1482" y="254"/>
                    <a:pt x="1483" y="251"/>
                    <a:pt x="1482" y="250"/>
                  </a:cubicBezTo>
                  <a:cubicBezTo>
                    <a:pt x="1477" y="251"/>
                    <a:pt x="1466" y="247"/>
                    <a:pt x="1466" y="252"/>
                  </a:cubicBezTo>
                  <a:cubicBezTo>
                    <a:pt x="1462" y="252"/>
                    <a:pt x="1463" y="246"/>
                    <a:pt x="1463" y="243"/>
                  </a:cubicBezTo>
                  <a:cubicBezTo>
                    <a:pt x="1468" y="244"/>
                    <a:pt x="1471" y="242"/>
                    <a:pt x="1471" y="238"/>
                  </a:cubicBezTo>
                  <a:cubicBezTo>
                    <a:pt x="1476" y="242"/>
                    <a:pt x="1478" y="248"/>
                    <a:pt x="1487" y="247"/>
                  </a:cubicBezTo>
                  <a:cubicBezTo>
                    <a:pt x="1488" y="249"/>
                    <a:pt x="1486" y="249"/>
                    <a:pt x="1485" y="250"/>
                  </a:cubicBezTo>
                  <a:close/>
                  <a:moveTo>
                    <a:pt x="1493" y="233"/>
                  </a:moveTo>
                  <a:cubicBezTo>
                    <a:pt x="1505" y="234"/>
                    <a:pt x="1490" y="247"/>
                    <a:pt x="1493" y="233"/>
                  </a:cubicBezTo>
                  <a:close/>
                  <a:moveTo>
                    <a:pt x="1529" y="251"/>
                  </a:moveTo>
                  <a:cubicBezTo>
                    <a:pt x="1523" y="254"/>
                    <a:pt x="1525" y="247"/>
                    <a:pt x="1523" y="247"/>
                  </a:cubicBezTo>
                  <a:cubicBezTo>
                    <a:pt x="1516" y="244"/>
                    <a:pt x="1502" y="249"/>
                    <a:pt x="1493" y="247"/>
                  </a:cubicBezTo>
                  <a:cubicBezTo>
                    <a:pt x="1492" y="243"/>
                    <a:pt x="1499" y="246"/>
                    <a:pt x="1501" y="245"/>
                  </a:cubicBezTo>
                  <a:cubicBezTo>
                    <a:pt x="1504" y="242"/>
                    <a:pt x="1505" y="245"/>
                    <a:pt x="1512" y="242"/>
                  </a:cubicBezTo>
                  <a:cubicBezTo>
                    <a:pt x="1513" y="242"/>
                    <a:pt x="1517" y="243"/>
                    <a:pt x="1518" y="242"/>
                  </a:cubicBezTo>
                  <a:cubicBezTo>
                    <a:pt x="1519" y="240"/>
                    <a:pt x="1519" y="240"/>
                    <a:pt x="1520" y="242"/>
                  </a:cubicBezTo>
                  <a:cubicBezTo>
                    <a:pt x="1525" y="242"/>
                    <a:pt x="1526" y="239"/>
                    <a:pt x="1531" y="239"/>
                  </a:cubicBezTo>
                  <a:cubicBezTo>
                    <a:pt x="1532" y="245"/>
                    <a:pt x="1526" y="245"/>
                    <a:pt x="1529" y="251"/>
                  </a:cubicBezTo>
                  <a:close/>
                  <a:moveTo>
                    <a:pt x="1606" y="125"/>
                  </a:moveTo>
                  <a:cubicBezTo>
                    <a:pt x="1608" y="119"/>
                    <a:pt x="1609" y="131"/>
                    <a:pt x="1609" y="132"/>
                  </a:cubicBezTo>
                  <a:cubicBezTo>
                    <a:pt x="1608" y="137"/>
                    <a:pt x="1604" y="134"/>
                    <a:pt x="1606" y="125"/>
                  </a:cubicBezTo>
                  <a:close/>
                  <a:moveTo>
                    <a:pt x="1536" y="181"/>
                  </a:moveTo>
                  <a:cubicBezTo>
                    <a:pt x="1539" y="181"/>
                    <a:pt x="1541" y="180"/>
                    <a:pt x="1544" y="180"/>
                  </a:cubicBezTo>
                  <a:cubicBezTo>
                    <a:pt x="1546" y="182"/>
                    <a:pt x="1547" y="178"/>
                    <a:pt x="1547" y="178"/>
                  </a:cubicBezTo>
                  <a:cubicBezTo>
                    <a:pt x="1560" y="181"/>
                    <a:pt x="1525" y="188"/>
                    <a:pt x="1536" y="181"/>
                  </a:cubicBezTo>
                  <a:close/>
                  <a:moveTo>
                    <a:pt x="1566" y="340"/>
                  </a:moveTo>
                  <a:cubicBezTo>
                    <a:pt x="1566" y="338"/>
                    <a:pt x="1566" y="337"/>
                    <a:pt x="1566" y="335"/>
                  </a:cubicBezTo>
                  <a:cubicBezTo>
                    <a:pt x="1571" y="334"/>
                    <a:pt x="1574" y="335"/>
                    <a:pt x="1574" y="340"/>
                  </a:cubicBezTo>
                  <a:cubicBezTo>
                    <a:pt x="1571" y="340"/>
                    <a:pt x="1569" y="340"/>
                    <a:pt x="1566" y="340"/>
                  </a:cubicBezTo>
                  <a:close/>
                  <a:moveTo>
                    <a:pt x="1582" y="342"/>
                  </a:moveTo>
                  <a:cubicBezTo>
                    <a:pt x="1581" y="343"/>
                    <a:pt x="1574" y="336"/>
                    <a:pt x="1580" y="333"/>
                  </a:cubicBezTo>
                  <a:cubicBezTo>
                    <a:pt x="1582" y="332"/>
                    <a:pt x="1584" y="340"/>
                    <a:pt x="1582" y="342"/>
                  </a:cubicBezTo>
                  <a:close/>
                  <a:moveTo>
                    <a:pt x="1573" y="248"/>
                  </a:moveTo>
                  <a:cubicBezTo>
                    <a:pt x="1569" y="250"/>
                    <a:pt x="1569" y="237"/>
                    <a:pt x="1564" y="241"/>
                  </a:cubicBezTo>
                  <a:cubicBezTo>
                    <a:pt x="1564" y="241"/>
                    <a:pt x="1565" y="243"/>
                    <a:pt x="1564" y="244"/>
                  </a:cubicBezTo>
                  <a:cubicBezTo>
                    <a:pt x="1559" y="245"/>
                    <a:pt x="1545" y="243"/>
                    <a:pt x="1537" y="244"/>
                  </a:cubicBezTo>
                  <a:cubicBezTo>
                    <a:pt x="1537" y="236"/>
                    <a:pt x="1545" y="242"/>
                    <a:pt x="1548" y="241"/>
                  </a:cubicBezTo>
                  <a:cubicBezTo>
                    <a:pt x="1550" y="241"/>
                    <a:pt x="1550" y="239"/>
                    <a:pt x="1551" y="239"/>
                  </a:cubicBezTo>
                  <a:cubicBezTo>
                    <a:pt x="1553" y="239"/>
                    <a:pt x="1557" y="243"/>
                    <a:pt x="1556" y="237"/>
                  </a:cubicBezTo>
                  <a:cubicBezTo>
                    <a:pt x="1558" y="238"/>
                    <a:pt x="1559" y="238"/>
                    <a:pt x="1561" y="239"/>
                  </a:cubicBezTo>
                  <a:cubicBezTo>
                    <a:pt x="1562" y="239"/>
                    <a:pt x="1566" y="238"/>
                    <a:pt x="1567" y="239"/>
                  </a:cubicBezTo>
                  <a:cubicBezTo>
                    <a:pt x="1569" y="241"/>
                    <a:pt x="1568" y="240"/>
                    <a:pt x="1578" y="239"/>
                  </a:cubicBezTo>
                  <a:cubicBezTo>
                    <a:pt x="1580" y="238"/>
                    <a:pt x="1588" y="240"/>
                    <a:pt x="1589" y="238"/>
                  </a:cubicBezTo>
                  <a:cubicBezTo>
                    <a:pt x="1592" y="235"/>
                    <a:pt x="1589" y="239"/>
                    <a:pt x="1600" y="238"/>
                  </a:cubicBezTo>
                  <a:cubicBezTo>
                    <a:pt x="1605" y="238"/>
                    <a:pt x="1606" y="236"/>
                    <a:pt x="1611" y="236"/>
                  </a:cubicBezTo>
                  <a:cubicBezTo>
                    <a:pt x="1613" y="249"/>
                    <a:pt x="1568" y="231"/>
                    <a:pt x="1573" y="248"/>
                  </a:cubicBezTo>
                  <a:close/>
                  <a:moveTo>
                    <a:pt x="1593" y="337"/>
                  </a:moveTo>
                  <a:cubicBezTo>
                    <a:pt x="1596" y="328"/>
                    <a:pt x="1599" y="337"/>
                    <a:pt x="1604" y="337"/>
                  </a:cubicBezTo>
                  <a:cubicBezTo>
                    <a:pt x="1606" y="337"/>
                    <a:pt x="1609" y="333"/>
                    <a:pt x="1612" y="334"/>
                  </a:cubicBezTo>
                  <a:cubicBezTo>
                    <a:pt x="1610" y="343"/>
                    <a:pt x="1601" y="336"/>
                    <a:pt x="1593" y="337"/>
                  </a:cubicBezTo>
                  <a:close/>
                  <a:moveTo>
                    <a:pt x="1619" y="238"/>
                  </a:moveTo>
                  <a:cubicBezTo>
                    <a:pt x="1618" y="242"/>
                    <a:pt x="1626" y="239"/>
                    <a:pt x="1627" y="240"/>
                  </a:cubicBezTo>
                  <a:cubicBezTo>
                    <a:pt x="1630" y="244"/>
                    <a:pt x="1618" y="241"/>
                    <a:pt x="1619" y="247"/>
                  </a:cubicBezTo>
                  <a:cubicBezTo>
                    <a:pt x="1615" y="245"/>
                    <a:pt x="1616" y="237"/>
                    <a:pt x="1613" y="233"/>
                  </a:cubicBezTo>
                  <a:cubicBezTo>
                    <a:pt x="1618" y="237"/>
                    <a:pt x="1623" y="231"/>
                    <a:pt x="1633" y="233"/>
                  </a:cubicBezTo>
                  <a:cubicBezTo>
                    <a:pt x="1636" y="241"/>
                    <a:pt x="1624" y="237"/>
                    <a:pt x="1619" y="238"/>
                  </a:cubicBezTo>
                  <a:close/>
                  <a:moveTo>
                    <a:pt x="1642" y="320"/>
                  </a:moveTo>
                  <a:cubicBezTo>
                    <a:pt x="1644" y="319"/>
                    <a:pt x="1647" y="313"/>
                    <a:pt x="1648" y="313"/>
                  </a:cubicBezTo>
                  <a:cubicBezTo>
                    <a:pt x="1651" y="312"/>
                    <a:pt x="1651" y="320"/>
                    <a:pt x="1642" y="320"/>
                  </a:cubicBezTo>
                  <a:close/>
                  <a:moveTo>
                    <a:pt x="1644" y="249"/>
                  </a:moveTo>
                  <a:cubicBezTo>
                    <a:pt x="1652" y="240"/>
                    <a:pt x="1653" y="256"/>
                    <a:pt x="1644" y="249"/>
                  </a:cubicBezTo>
                  <a:close/>
                  <a:moveTo>
                    <a:pt x="1638" y="245"/>
                  </a:moveTo>
                  <a:cubicBezTo>
                    <a:pt x="1634" y="243"/>
                    <a:pt x="1638" y="242"/>
                    <a:pt x="1641" y="242"/>
                  </a:cubicBezTo>
                  <a:cubicBezTo>
                    <a:pt x="1642" y="238"/>
                    <a:pt x="1638" y="237"/>
                    <a:pt x="1638" y="240"/>
                  </a:cubicBezTo>
                  <a:cubicBezTo>
                    <a:pt x="1637" y="241"/>
                    <a:pt x="1635" y="236"/>
                    <a:pt x="1635" y="235"/>
                  </a:cubicBezTo>
                  <a:cubicBezTo>
                    <a:pt x="1636" y="234"/>
                    <a:pt x="1640" y="236"/>
                    <a:pt x="1641" y="235"/>
                  </a:cubicBezTo>
                  <a:cubicBezTo>
                    <a:pt x="1642" y="235"/>
                    <a:pt x="1640" y="231"/>
                    <a:pt x="1641" y="230"/>
                  </a:cubicBezTo>
                  <a:cubicBezTo>
                    <a:pt x="1644" y="229"/>
                    <a:pt x="1643" y="235"/>
                    <a:pt x="1644" y="235"/>
                  </a:cubicBezTo>
                  <a:cubicBezTo>
                    <a:pt x="1644" y="236"/>
                    <a:pt x="1650" y="232"/>
                    <a:pt x="1652" y="235"/>
                  </a:cubicBezTo>
                  <a:cubicBezTo>
                    <a:pt x="1649" y="238"/>
                    <a:pt x="1637" y="240"/>
                    <a:pt x="1652" y="240"/>
                  </a:cubicBezTo>
                  <a:cubicBezTo>
                    <a:pt x="1648" y="247"/>
                    <a:pt x="1643" y="241"/>
                    <a:pt x="1638" y="245"/>
                  </a:cubicBezTo>
                  <a:close/>
                  <a:moveTo>
                    <a:pt x="1739" y="203"/>
                  </a:moveTo>
                  <a:cubicBezTo>
                    <a:pt x="1739" y="206"/>
                    <a:pt x="1731" y="204"/>
                    <a:pt x="1731" y="208"/>
                  </a:cubicBezTo>
                  <a:cubicBezTo>
                    <a:pt x="1722" y="205"/>
                    <a:pt x="1734" y="201"/>
                    <a:pt x="1739" y="203"/>
                  </a:cubicBezTo>
                  <a:close/>
                  <a:moveTo>
                    <a:pt x="1656" y="331"/>
                  </a:moveTo>
                  <a:cubicBezTo>
                    <a:pt x="1656" y="330"/>
                    <a:pt x="1656" y="328"/>
                    <a:pt x="1656" y="327"/>
                  </a:cubicBezTo>
                  <a:cubicBezTo>
                    <a:pt x="1660" y="326"/>
                    <a:pt x="1664" y="326"/>
                    <a:pt x="1667" y="326"/>
                  </a:cubicBezTo>
                  <a:cubicBezTo>
                    <a:pt x="1670" y="333"/>
                    <a:pt x="1661" y="331"/>
                    <a:pt x="1656" y="331"/>
                  </a:cubicBezTo>
                  <a:close/>
                  <a:moveTo>
                    <a:pt x="1662" y="315"/>
                  </a:moveTo>
                  <a:cubicBezTo>
                    <a:pt x="1663" y="315"/>
                    <a:pt x="1665" y="315"/>
                    <a:pt x="1667" y="315"/>
                  </a:cubicBezTo>
                  <a:cubicBezTo>
                    <a:pt x="1668" y="321"/>
                    <a:pt x="1647" y="314"/>
                    <a:pt x="1662" y="315"/>
                  </a:cubicBezTo>
                  <a:close/>
                  <a:moveTo>
                    <a:pt x="1669" y="289"/>
                  </a:moveTo>
                  <a:cubicBezTo>
                    <a:pt x="1662" y="297"/>
                    <a:pt x="1652" y="284"/>
                    <a:pt x="1669" y="289"/>
                  </a:cubicBezTo>
                  <a:close/>
                  <a:moveTo>
                    <a:pt x="1663" y="268"/>
                  </a:moveTo>
                  <a:cubicBezTo>
                    <a:pt x="1664" y="268"/>
                    <a:pt x="1666" y="263"/>
                    <a:pt x="1666" y="263"/>
                  </a:cubicBezTo>
                  <a:cubicBezTo>
                    <a:pt x="1666" y="263"/>
                    <a:pt x="1666" y="261"/>
                    <a:pt x="1666" y="261"/>
                  </a:cubicBezTo>
                  <a:cubicBezTo>
                    <a:pt x="1676" y="259"/>
                    <a:pt x="1667" y="271"/>
                    <a:pt x="1663" y="268"/>
                  </a:cubicBezTo>
                  <a:close/>
                  <a:moveTo>
                    <a:pt x="1697" y="293"/>
                  </a:moveTo>
                  <a:cubicBezTo>
                    <a:pt x="1695" y="297"/>
                    <a:pt x="1694" y="292"/>
                    <a:pt x="1694" y="288"/>
                  </a:cubicBezTo>
                  <a:cubicBezTo>
                    <a:pt x="1686" y="285"/>
                    <a:pt x="1700" y="286"/>
                    <a:pt x="1697" y="293"/>
                  </a:cubicBezTo>
                  <a:close/>
                  <a:moveTo>
                    <a:pt x="1705" y="269"/>
                  </a:moveTo>
                  <a:cubicBezTo>
                    <a:pt x="1700" y="269"/>
                    <a:pt x="1698" y="265"/>
                    <a:pt x="1699" y="260"/>
                  </a:cubicBezTo>
                  <a:cubicBezTo>
                    <a:pt x="1704" y="260"/>
                    <a:pt x="1705" y="264"/>
                    <a:pt x="1705" y="269"/>
                  </a:cubicBezTo>
                  <a:close/>
                  <a:moveTo>
                    <a:pt x="1718" y="269"/>
                  </a:moveTo>
                  <a:cubicBezTo>
                    <a:pt x="1713" y="268"/>
                    <a:pt x="1716" y="260"/>
                    <a:pt x="1710" y="260"/>
                  </a:cubicBezTo>
                  <a:cubicBezTo>
                    <a:pt x="1710" y="257"/>
                    <a:pt x="1715" y="258"/>
                    <a:pt x="1718" y="257"/>
                  </a:cubicBezTo>
                  <a:cubicBezTo>
                    <a:pt x="1717" y="265"/>
                    <a:pt x="1723" y="264"/>
                    <a:pt x="1718" y="269"/>
                  </a:cubicBezTo>
                  <a:close/>
                  <a:moveTo>
                    <a:pt x="1718" y="238"/>
                  </a:moveTo>
                  <a:cubicBezTo>
                    <a:pt x="1720" y="234"/>
                    <a:pt x="1726" y="233"/>
                    <a:pt x="1734" y="234"/>
                  </a:cubicBezTo>
                  <a:cubicBezTo>
                    <a:pt x="1731" y="237"/>
                    <a:pt x="1725" y="238"/>
                    <a:pt x="1718" y="238"/>
                  </a:cubicBezTo>
                  <a:close/>
                  <a:moveTo>
                    <a:pt x="1738" y="309"/>
                  </a:moveTo>
                  <a:cubicBezTo>
                    <a:pt x="1739" y="306"/>
                    <a:pt x="1742" y="304"/>
                    <a:pt x="1746" y="304"/>
                  </a:cubicBezTo>
                  <a:cubicBezTo>
                    <a:pt x="1745" y="307"/>
                    <a:pt x="1743" y="309"/>
                    <a:pt x="1738" y="309"/>
                  </a:cubicBezTo>
                  <a:close/>
                  <a:moveTo>
                    <a:pt x="1747" y="318"/>
                  </a:moveTo>
                  <a:cubicBezTo>
                    <a:pt x="1747" y="316"/>
                    <a:pt x="1747" y="315"/>
                    <a:pt x="1747" y="313"/>
                  </a:cubicBezTo>
                  <a:cubicBezTo>
                    <a:pt x="1748" y="313"/>
                    <a:pt x="1750" y="313"/>
                    <a:pt x="1752" y="313"/>
                  </a:cubicBezTo>
                  <a:cubicBezTo>
                    <a:pt x="1752" y="315"/>
                    <a:pt x="1752" y="316"/>
                    <a:pt x="1752" y="318"/>
                  </a:cubicBezTo>
                  <a:cubicBezTo>
                    <a:pt x="1750" y="318"/>
                    <a:pt x="1748" y="318"/>
                    <a:pt x="1747" y="318"/>
                  </a:cubicBezTo>
                  <a:close/>
                  <a:moveTo>
                    <a:pt x="1745" y="236"/>
                  </a:moveTo>
                  <a:cubicBezTo>
                    <a:pt x="1752" y="231"/>
                    <a:pt x="1741" y="225"/>
                    <a:pt x="1740" y="233"/>
                  </a:cubicBezTo>
                  <a:cubicBezTo>
                    <a:pt x="1733" y="231"/>
                    <a:pt x="1714" y="229"/>
                    <a:pt x="1712" y="234"/>
                  </a:cubicBezTo>
                  <a:cubicBezTo>
                    <a:pt x="1712" y="234"/>
                    <a:pt x="1713" y="239"/>
                    <a:pt x="1712" y="239"/>
                  </a:cubicBezTo>
                  <a:cubicBezTo>
                    <a:pt x="1708" y="239"/>
                    <a:pt x="1712" y="233"/>
                    <a:pt x="1709" y="232"/>
                  </a:cubicBezTo>
                  <a:cubicBezTo>
                    <a:pt x="1705" y="230"/>
                    <a:pt x="1701" y="234"/>
                    <a:pt x="1699" y="234"/>
                  </a:cubicBezTo>
                  <a:cubicBezTo>
                    <a:pt x="1694" y="235"/>
                    <a:pt x="1683" y="231"/>
                    <a:pt x="1685" y="239"/>
                  </a:cubicBezTo>
                  <a:cubicBezTo>
                    <a:pt x="1683" y="237"/>
                    <a:pt x="1677" y="236"/>
                    <a:pt x="1677" y="239"/>
                  </a:cubicBezTo>
                  <a:cubicBezTo>
                    <a:pt x="1674" y="239"/>
                    <a:pt x="1675" y="237"/>
                    <a:pt x="1677" y="237"/>
                  </a:cubicBezTo>
                  <a:cubicBezTo>
                    <a:pt x="1678" y="235"/>
                    <a:pt x="1670" y="233"/>
                    <a:pt x="1668" y="235"/>
                  </a:cubicBezTo>
                  <a:cubicBezTo>
                    <a:pt x="1665" y="237"/>
                    <a:pt x="1667" y="234"/>
                    <a:pt x="1663" y="235"/>
                  </a:cubicBezTo>
                  <a:cubicBezTo>
                    <a:pt x="1660" y="235"/>
                    <a:pt x="1658" y="235"/>
                    <a:pt x="1657" y="237"/>
                  </a:cubicBezTo>
                  <a:cubicBezTo>
                    <a:pt x="1653" y="236"/>
                    <a:pt x="1659" y="234"/>
                    <a:pt x="1657" y="230"/>
                  </a:cubicBezTo>
                  <a:cubicBezTo>
                    <a:pt x="1660" y="229"/>
                    <a:pt x="1660" y="232"/>
                    <a:pt x="1660" y="232"/>
                  </a:cubicBezTo>
                  <a:cubicBezTo>
                    <a:pt x="1663" y="233"/>
                    <a:pt x="1663" y="230"/>
                    <a:pt x="1663" y="230"/>
                  </a:cubicBezTo>
                  <a:cubicBezTo>
                    <a:pt x="1666" y="230"/>
                    <a:pt x="1669" y="233"/>
                    <a:pt x="1671" y="232"/>
                  </a:cubicBezTo>
                  <a:cubicBezTo>
                    <a:pt x="1675" y="231"/>
                    <a:pt x="1680" y="223"/>
                    <a:pt x="1687" y="230"/>
                  </a:cubicBezTo>
                  <a:cubicBezTo>
                    <a:pt x="1691" y="229"/>
                    <a:pt x="1690" y="225"/>
                    <a:pt x="1690" y="223"/>
                  </a:cubicBezTo>
                  <a:cubicBezTo>
                    <a:pt x="1696" y="223"/>
                    <a:pt x="1699" y="222"/>
                    <a:pt x="1698" y="218"/>
                  </a:cubicBezTo>
                  <a:cubicBezTo>
                    <a:pt x="1707" y="219"/>
                    <a:pt x="1704" y="228"/>
                    <a:pt x="1693" y="225"/>
                  </a:cubicBezTo>
                  <a:cubicBezTo>
                    <a:pt x="1692" y="229"/>
                    <a:pt x="1696" y="229"/>
                    <a:pt x="1696" y="232"/>
                  </a:cubicBezTo>
                  <a:cubicBezTo>
                    <a:pt x="1699" y="233"/>
                    <a:pt x="1697" y="228"/>
                    <a:pt x="1698" y="227"/>
                  </a:cubicBezTo>
                  <a:cubicBezTo>
                    <a:pt x="1701" y="226"/>
                    <a:pt x="1701" y="229"/>
                    <a:pt x="1701" y="229"/>
                  </a:cubicBezTo>
                  <a:cubicBezTo>
                    <a:pt x="1701" y="229"/>
                    <a:pt x="1710" y="227"/>
                    <a:pt x="1712" y="227"/>
                  </a:cubicBezTo>
                  <a:cubicBezTo>
                    <a:pt x="1714" y="226"/>
                    <a:pt x="1719" y="222"/>
                    <a:pt x="1720" y="229"/>
                  </a:cubicBezTo>
                  <a:cubicBezTo>
                    <a:pt x="1723" y="230"/>
                    <a:pt x="1722" y="225"/>
                    <a:pt x="1723" y="224"/>
                  </a:cubicBezTo>
                  <a:cubicBezTo>
                    <a:pt x="1734" y="222"/>
                    <a:pt x="1746" y="228"/>
                    <a:pt x="1756" y="224"/>
                  </a:cubicBezTo>
                  <a:cubicBezTo>
                    <a:pt x="1754" y="229"/>
                    <a:pt x="1753" y="235"/>
                    <a:pt x="1745" y="236"/>
                  </a:cubicBezTo>
                  <a:close/>
                  <a:moveTo>
                    <a:pt x="1753" y="186"/>
                  </a:moveTo>
                  <a:cubicBezTo>
                    <a:pt x="1755" y="187"/>
                    <a:pt x="1755" y="189"/>
                    <a:pt x="1758" y="188"/>
                  </a:cubicBezTo>
                  <a:cubicBezTo>
                    <a:pt x="1758" y="194"/>
                    <a:pt x="1745" y="191"/>
                    <a:pt x="1753" y="186"/>
                  </a:cubicBezTo>
                  <a:close/>
                  <a:moveTo>
                    <a:pt x="1831" y="110"/>
                  </a:moveTo>
                  <a:cubicBezTo>
                    <a:pt x="1831" y="108"/>
                    <a:pt x="1831" y="107"/>
                    <a:pt x="1831" y="105"/>
                  </a:cubicBezTo>
                  <a:cubicBezTo>
                    <a:pt x="1837" y="104"/>
                    <a:pt x="1832" y="113"/>
                    <a:pt x="1834" y="117"/>
                  </a:cubicBezTo>
                  <a:cubicBezTo>
                    <a:pt x="1831" y="115"/>
                    <a:pt x="1829" y="114"/>
                    <a:pt x="1828" y="117"/>
                  </a:cubicBezTo>
                  <a:cubicBezTo>
                    <a:pt x="1819" y="115"/>
                    <a:pt x="1831" y="112"/>
                    <a:pt x="1831" y="110"/>
                  </a:cubicBezTo>
                  <a:close/>
                  <a:moveTo>
                    <a:pt x="1792" y="230"/>
                  </a:moveTo>
                  <a:cubicBezTo>
                    <a:pt x="1789" y="237"/>
                    <a:pt x="1781" y="233"/>
                    <a:pt x="1775" y="233"/>
                  </a:cubicBezTo>
                  <a:cubicBezTo>
                    <a:pt x="1776" y="228"/>
                    <a:pt x="1787" y="232"/>
                    <a:pt x="1792" y="230"/>
                  </a:cubicBezTo>
                  <a:close/>
                  <a:moveTo>
                    <a:pt x="1779" y="259"/>
                  </a:moveTo>
                  <a:cubicBezTo>
                    <a:pt x="1776" y="258"/>
                    <a:pt x="1776" y="256"/>
                    <a:pt x="1773" y="256"/>
                  </a:cubicBezTo>
                  <a:cubicBezTo>
                    <a:pt x="1773" y="255"/>
                    <a:pt x="1773" y="253"/>
                    <a:pt x="1773" y="252"/>
                  </a:cubicBezTo>
                  <a:cubicBezTo>
                    <a:pt x="1779" y="250"/>
                    <a:pt x="1778" y="255"/>
                    <a:pt x="1779" y="259"/>
                  </a:cubicBezTo>
                  <a:close/>
                  <a:moveTo>
                    <a:pt x="1771" y="310"/>
                  </a:moveTo>
                  <a:cubicBezTo>
                    <a:pt x="1777" y="309"/>
                    <a:pt x="1775" y="315"/>
                    <a:pt x="1780" y="315"/>
                  </a:cubicBezTo>
                  <a:cubicBezTo>
                    <a:pt x="1780" y="319"/>
                    <a:pt x="1769" y="315"/>
                    <a:pt x="1771" y="310"/>
                  </a:cubicBezTo>
                  <a:close/>
                  <a:moveTo>
                    <a:pt x="1790" y="280"/>
                  </a:moveTo>
                  <a:cubicBezTo>
                    <a:pt x="1788" y="283"/>
                    <a:pt x="1792" y="288"/>
                    <a:pt x="1785" y="287"/>
                  </a:cubicBezTo>
                  <a:cubicBezTo>
                    <a:pt x="1789" y="283"/>
                    <a:pt x="1786" y="274"/>
                    <a:pt x="1795" y="275"/>
                  </a:cubicBezTo>
                  <a:cubicBezTo>
                    <a:pt x="1796" y="278"/>
                    <a:pt x="1791" y="278"/>
                    <a:pt x="1790" y="280"/>
                  </a:cubicBezTo>
                  <a:close/>
                  <a:moveTo>
                    <a:pt x="1789" y="226"/>
                  </a:moveTo>
                  <a:cubicBezTo>
                    <a:pt x="1787" y="225"/>
                    <a:pt x="1786" y="226"/>
                    <a:pt x="1786" y="228"/>
                  </a:cubicBezTo>
                  <a:cubicBezTo>
                    <a:pt x="1784" y="228"/>
                    <a:pt x="1784" y="225"/>
                    <a:pt x="1783" y="223"/>
                  </a:cubicBezTo>
                  <a:cubicBezTo>
                    <a:pt x="1785" y="223"/>
                    <a:pt x="1787" y="223"/>
                    <a:pt x="1789" y="223"/>
                  </a:cubicBezTo>
                  <a:cubicBezTo>
                    <a:pt x="1787" y="218"/>
                    <a:pt x="1781" y="219"/>
                    <a:pt x="1786" y="214"/>
                  </a:cubicBezTo>
                  <a:cubicBezTo>
                    <a:pt x="1791" y="214"/>
                    <a:pt x="1792" y="218"/>
                    <a:pt x="1792" y="223"/>
                  </a:cubicBezTo>
                  <a:cubicBezTo>
                    <a:pt x="1798" y="219"/>
                    <a:pt x="1803" y="224"/>
                    <a:pt x="1805" y="221"/>
                  </a:cubicBezTo>
                  <a:cubicBezTo>
                    <a:pt x="1809" y="222"/>
                    <a:pt x="1807" y="224"/>
                    <a:pt x="1805" y="225"/>
                  </a:cubicBezTo>
                  <a:cubicBezTo>
                    <a:pt x="1799" y="229"/>
                    <a:pt x="1799" y="225"/>
                    <a:pt x="1789" y="226"/>
                  </a:cubicBezTo>
                  <a:close/>
                  <a:moveTo>
                    <a:pt x="1800" y="235"/>
                  </a:moveTo>
                  <a:cubicBezTo>
                    <a:pt x="1792" y="232"/>
                    <a:pt x="1806" y="225"/>
                    <a:pt x="1808" y="230"/>
                  </a:cubicBezTo>
                  <a:cubicBezTo>
                    <a:pt x="1808" y="233"/>
                    <a:pt x="1800" y="231"/>
                    <a:pt x="1800" y="235"/>
                  </a:cubicBezTo>
                  <a:close/>
                  <a:moveTo>
                    <a:pt x="1812" y="314"/>
                  </a:moveTo>
                  <a:cubicBezTo>
                    <a:pt x="1808" y="312"/>
                    <a:pt x="1806" y="308"/>
                    <a:pt x="1810" y="305"/>
                  </a:cubicBezTo>
                  <a:cubicBezTo>
                    <a:pt x="1814" y="307"/>
                    <a:pt x="1816" y="311"/>
                    <a:pt x="1812" y="314"/>
                  </a:cubicBezTo>
                  <a:close/>
                  <a:moveTo>
                    <a:pt x="1811" y="258"/>
                  </a:moveTo>
                  <a:cubicBezTo>
                    <a:pt x="1811" y="256"/>
                    <a:pt x="1811" y="255"/>
                    <a:pt x="1811" y="253"/>
                  </a:cubicBezTo>
                  <a:cubicBezTo>
                    <a:pt x="1817" y="252"/>
                    <a:pt x="1817" y="257"/>
                    <a:pt x="1817" y="260"/>
                  </a:cubicBezTo>
                  <a:cubicBezTo>
                    <a:pt x="1815" y="260"/>
                    <a:pt x="1814" y="258"/>
                    <a:pt x="1811" y="258"/>
                  </a:cubicBezTo>
                  <a:close/>
                  <a:moveTo>
                    <a:pt x="1822" y="225"/>
                  </a:moveTo>
                  <a:cubicBezTo>
                    <a:pt x="1819" y="225"/>
                    <a:pt x="1816" y="225"/>
                    <a:pt x="1814" y="225"/>
                  </a:cubicBezTo>
                  <a:cubicBezTo>
                    <a:pt x="1816" y="218"/>
                    <a:pt x="1810" y="219"/>
                    <a:pt x="1811" y="213"/>
                  </a:cubicBezTo>
                  <a:cubicBezTo>
                    <a:pt x="1815" y="212"/>
                    <a:pt x="1823" y="218"/>
                    <a:pt x="1816" y="218"/>
                  </a:cubicBezTo>
                  <a:cubicBezTo>
                    <a:pt x="1818" y="220"/>
                    <a:pt x="1823" y="220"/>
                    <a:pt x="1822" y="225"/>
                  </a:cubicBezTo>
                  <a:close/>
                  <a:moveTo>
                    <a:pt x="1815" y="155"/>
                  </a:moveTo>
                  <a:cubicBezTo>
                    <a:pt x="1817" y="153"/>
                    <a:pt x="1818" y="151"/>
                    <a:pt x="1818" y="147"/>
                  </a:cubicBezTo>
                  <a:cubicBezTo>
                    <a:pt x="1821" y="148"/>
                    <a:pt x="1822" y="152"/>
                    <a:pt x="1826" y="152"/>
                  </a:cubicBezTo>
                  <a:cubicBezTo>
                    <a:pt x="1825" y="155"/>
                    <a:pt x="1819" y="154"/>
                    <a:pt x="1815" y="155"/>
                  </a:cubicBezTo>
                  <a:close/>
                  <a:moveTo>
                    <a:pt x="1829" y="147"/>
                  </a:moveTo>
                  <a:cubicBezTo>
                    <a:pt x="1832" y="148"/>
                    <a:pt x="1831" y="152"/>
                    <a:pt x="1834" y="152"/>
                  </a:cubicBezTo>
                  <a:cubicBezTo>
                    <a:pt x="1833" y="158"/>
                    <a:pt x="1826" y="152"/>
                    <a:pt x="1829" y="147"/>
                  </a:cubicBezTo>
                  <a:close/>
                  <a:moveTo>
                    <a:pt x="1830" y="229"/>
                  </a:moveTo>
                  <a:cubicBezTo>
                    <a:pt x="1826" y="225"/>
                    <a:pt x="1830" y="226"/>
                    <a:pt x="1830" y="220"/>
                  </a:cubicBezTo>
                  <a:cubicBezTo>
                    <a:pt x="1835" y="220"/>
                    <a:pt x="1837" y="224"/>
                    <a:pt x="1838" y="220"/>
                  </a:cubicBezTo>
                  <a:cubicBezTo>
                    <a:pt x="1843" y="220"/>
                    <a:pt x="1836" y="230"/>
                    <a:pt x="1830" y="229"/>
                  </a:cubicBezTo>
                  <a:close/>
                  <a:moveTo>
                    <a:pt x="1850" y="137"/>
                  </a:moveTo>
                  <a:cubicBezTo>
                    <a:pt x="1850" y="140"/>
                    <a:pt x="1845" y="139"/>
                    <a:pt x="1845" y="142"/>
                  </a:cubicBezTo>
                  <a:cubicBezTo>
                    <a:pt x="1842" y="142"/>
                    <a:pt x="1843" y="139"/>
                    <a:pt x="1842" y="138"/>
                  </a:cubicBezTo>
                  <a:cubicBezTo>
                    <a:pt x="1846" y="135"/>
                    <a:pt x="1847" y="137"/>
                    <a:pt x="1850" y="137"/>
                  </a:cubicBezTo>
                  <a:close/>
                  <a:moveTo>
                    <a:pt x="1845" y="154"/>
                  </a:moveTo>
                  <a:cubicBezTo>
                    <a:pt x="1844" y="154"/>
                    <a:pt x="1842" y="151"/>
                    <a:pt x="1843" y="149"/>
                  </a:cubicBezTo>
                  <a:cubicBezTo>
                    <a:pt x="1846" y="141"/>
                    <a:pt x="1848" y="154"/>
                    <a:pt x="1845" y="154"/>
                  </a:cubicBezTo>
                  <a:close/>
                  <a:moveTo>
                    <a:pt x="1841" y="227"/>
                  </a:moveTo>
                  <a:cubicBezTo>
                    <a:pt x="1840" y="223"/>
                    <a:pt x="1847" y="224"/>
                    <a:pt x="1849" y="222"/>
                  </a:cubicBezTo>
                  <a:cubicBezTo>
                    <a:pt x="1855" y="217"/>
                    <a:pt x="1850" y="226"/>
                    <a:pt x="1841" y="227"/>
                  </a:cubicBezTo>
                  <a:close/>
                  <a:moveTo>
                    <a:pt x="1855" y="220"/>
                  </a:moveTo>
                  <a:cubicBezTo>
                    <a:pt x="1864" y="221"/>
                    <a:pt x="1851" y="235"/>
                    <a:pt x="1858" y="234"/>
                  </a:cubicBezTo>
                  <a:cubicBezTo>
                    <a:pt x="1848" y="244"/>
                    <a:pt x="1856" y="220"/>
                    <a:pt x="1852" y="229"/>
                  </a:cubicBezTo>
                  <a:cubicBezTo>
                    <a:pt x="1844" y="227"/>
                    <a:pt x="1858" y="225"/>
                    <a:pt x="1855" y="220"/>
                  </a:cubicBezTo>
                  <a:close/>
                  <a:moveTo>
                    <a:pt x="1853" y="255"/>
                  </a:moveTo>
                  <a:cubicBezTo>
                    <a:pt x="1849" y="254"/>
                    <a:pt x="1850" y="249"/>
                    <a:pt x="1850" y="246"/>
                  </a:cubicBezTo>
                  <a:cubicBezTo>
                    <a:pt x="1856" y="246"/>
                    <a:pt x="1856" y="252"/>
                    <a:pt x="1853" y="255"/>
                  </a:cubicBezTo>
                  <a:close/>
                  <a:moveTo>
                    <a:pt x="1859" y="309"/>
                  </a:moveTo>
                  <a:cubicBezTo>
                    <a:pt x="1856" y="308"/>
                    <a:pt x="1857" y="304"/>
                    <a:pt x="1853" y="304"/>
                  </a:cubicBezTo>
                  <a:cubicBezTo>
                    <a:pt x="1854" y="302"/>
                    <a:pt x="1858" y="302"/>
                    <a:pt x="1862" y="302"/>
                  </a:cubicBezTo>
                  <a:cubicBezTo>
                    <a:pt x="1862" y="306"/>
                    <a:pt x="1859" y="306"/>
                    <a:pt x="1859" y="309"/>
                  </a:cubicBezTo>
                  <a:close/>
                  <a:moveTo>
                    <a:pt x="1848" y="154"/>
                  </a:moveTo>
                  <a:cubicBezTo>
                    <a:pt x="1849" y="150"/>
                    <a:pt x="1852" y="148"/>
                    <a:pt x="1853" y="144"/>
                  </a:cubicBezTo>
                  <a:cubicBezTo>
                    <a:pt x="1857" y="145"/>
                    <a:pt x="1860" y="149"/>
                    <a:pt x="1856" y="149"/>
                  </a:cubicBezTo>
                  <a:cubicBezTo>
                    <a:pt x="1856" y="151"/>
                    <a:pt x="1860" y="151"/>
                    <a:pt x="1862" y="151"/>
                  </a:cubicBezTo>
                  <a:cubicBezTo>
                    <a:pt x="1871" y="154"/>
                    <a:pt x="1852" y="154"/>
                    <a:pt x="1848" y="154"/>
                  </a:cubicBezTo>
                  <a:close/>
                  <a:moveTo>
                    <a:pt x="1928" y="178"/>
                  </a:moveTo>
                  <a:cubicBezTo>
                    <a:pt x="1929" y="177"/>
                    <a:pt x="1931" y="176"/>
                    <a:pt x="1931" y="174"/>
                  </a:cubicBezTo>
                  <a:cubicBezTo>
                    <a:pt x="1933" y="174"/>
                    <a:pt x="1934" y="174"/>
                    <a:pt x="1936" y="174"/>
                  </a:cubicBezTo>
                  <a:cubicBezTo>
                    <a:pt x="1938" y="179"/>
                    <a:pt x="1932" y="178"/>
                    <a:pt x="1928" y="178"/>
                  </a:cubicBezTo>
                  <a:close/>
                  <a:moveTo>
                    <a:pt x="1930" y="138"/>
                  </a:moveTo>
                  <a:cubicBezTo>
                    <a:pt x="1937" y="141"/>
                    <a:pt x="1932" y="154"/>
                    <a:pt x="1922" y="150"/>
                  </a:cubicBezTo>
                  <a:cubicBezTo>
                    <a:pt x="1919" y="142"/>
                    <a:pt x="1928" y="143"/>
                    <a:pt x="1930" y="138"/>
                  </a:cubicBezTo>
                  <a:close/>
                  <a:moveTo>
                    <a:pt x="1920" y="193"/>
                  </a:moveTo>
                  <a:cubicBezTo>
                    <a:pt x="1929" y="190"/>
                    <a:pt x="1922" y="200"/>
                    <a:pt x="1931" y="197"/>
                  </a:cubicBezTo>
                  <a:cubicBezTo>
                    <a:pt x="1930" y="202"/>
                    <a:pt x="1918" y="198"/>
                    <a:pt x="1920" y="193"/>
                  </a:cubicBezTo>
                  <a:close/>
                  <a:moveTo>
                    <a:pt x="1892" y="144"/>
                  </a:moveTo>
                  <a:cubicBezTo>
                    <a:pt x="1896" y="145"/>
                    <a:pt x="1894" y="147"/>
                    <a:pt x="1892" y="149"/>
                  </a:cubicBezTo>
                  <a:cubicBezTo>
                    <a:pt x="1887" y="152"/>
                    <a:pt x="1885" y="151"/>
                    <a:pt x="1892" y="144"/>
                  </a:cubicBezTo>
                  <a:close/>
                  <a:moveTo>
                    <a:pt x="1875" y="123"/>
                  </a:moveTo>
                  <a:cubicBezTo>
                    <a:pt x="1878" y="124"/>
                    <a:pt x="1877" y="128"/>
                    <a:pt x="1881" y="128"/>
                  </a:cubicBezTo>
                  <a:cubicBezTo>
                    <a:pt x="1880" y="130"/>
                    <a:pt x="1877" y="129"/>
                    <a:pt x="1875" y="130"/>
                  </a:cubicBezTo>
                  <a:cubicBezTo>
                    <a:pt x="1872" y="127"/>
                    <a:pt x="1874" y="126"/>
                    <a:pt x="1875" y="123"/>
                  </a:cubicBezTo>
                  <a:close/>
                  <a:moveTo>
                    <a:pt x="1867" y="147"/>
                  </a:moveTo>
                  <a:cubicBezTo>
                    <a:pt x="1869" y="138"/>
                    <a:pt x="1883" y="151"/>
                    <a:pt x="1883" y="144"/>
                  </a:cubicBezTo>
                  <a:cubicBezTo>
                    <a:pt x="1880" y="141"/>
                    <a:pt x="1883" y="143"/>
                    <a:pt x="1886" y="144"/>
                  </a:cubicBezTo>
                  <a:cubicBezTo>
                    <a:pt x="1882" y="147"/>
                    <a:pt x="1883" y="155"/>
                    <a:pt x="1873" y="154"/>
                  </a:cubicBezTo>
                  <a:cubicBezTo>
                    <a:pt x="1874" y="149"/>
                    <a:pt x="1872" y="146"/>
                    <a:pt x="1867" y="147"/>
                  </a:cubicBezTo>
                  <a:close/>
                  <a:moveTo>
                    <a:pt x="1877" y="229"/>
                  </a:moveTo>
                  <a:cubicBezTo>
                    <a:pt x="1878" y="231"/>
                    <a:pt x="1880" y="232"/>
                    <a:pt x="1880" y="236"/>
                  </a:cubicBezTo>
                  <a:cubicBezTo>
                    <a:pt x="1877" y="236"/>
                    <a:pt x="1874" y="236"/>
                    <a:pt x="1871" y="236"/>
                  </a:cubicBezTo>
                  <a:cubicBezTo>
                    <a:pt x="1874" y="234"/>
                    <a:pt x="1874" y="230"/>
                    <a:pt x="1874" y="226"/>
                  </a:cubicBezTo>
                  <a:cubicBezTo>
                    <a:pt x="1877" y="226"/>
                    <a:pt x="1879" y="226"/>
                    <a:pt x="1882" y="226"/>
                  </a:cubicBezTo>
                  <a:cubicBezTo>
                    <a:pt x="1887" y="228"/>
                    <a:pt x="1881" y="229"/>
                    <a:pt x="1877" y="229"/>
                  </a:cubicBezTo>
                  <a:close/>
                  <a:moveTo>
                    <a:pt x="1884" y="182"/>
                  </a:moveTo>
                  <a:cubicBezTo>
                    <a:pt x="1881" y="170"/>
                    <a:pt x="1883" y="167"/>
                    <a:pt x="1881" y="156"/>
                  </a:cubicBezTo>
                  <a:cubicBezTo>
                    <a:pt x="1884" y="155"/>
                    <a:pt x="1886" y="156"/>
                    <a:pt x="1886" y="158"/>
                  </a:cubicBezTo>
                  <a:cubicBezTo>
                    <a:pt x="1887" y="161"/>
                    <a:pt x="1892" y="160"/>
                    <a:pt x="1892" y="163"/>
                  </a:cubicBezTo>
                  <a:cubicBezTo>
                    <a:pt x="1894" y="168"/>
                    <a:pt x="1887" y="166"/>
                    <a:pt x="1887" y="170"/>
                  </a:cubicBezTo>
                  <a:cubicBezTo>
                    <a:pt x="1886" y="174"/>
                    <a:pt x="1889" y="174"/>
                    <a:pt x="1892" y="174"/>
                  </a:cubicBezTo>
                  <a:cubicBezTo>
                    <a:pt x="1892" y="178"/>
                    <a:pt x="1881" y="179"/>
                    <a:pt x="1892" y="179"/>
                  </a:cubicBezTo>
                  <a:cubicBezTo>
                    <a:pt x="1893" y="181"/>
                    <a:pt x="1891" y="181"/>
                    <a:pt x="1890" y="181"/>
                  </a:cubicBezTo>
                  <a:cubicBezTo>
                    <a:pt x="1888" y="181"/>
                    <a:pt x="1886" y="181"/>
                    <a:pt x="1884" y="182"/>
                  </a:cubicBezTo>
                  <a:close/>
                  <a:moveTo>
                    <a:pt x="1888" y="238"/>
                  </a:moveTo>
                  <a:cubicBezTo>
                    <a:pt x="1888" y="236"/>
                    <a:pt x="1888" y="235"/>
                    <a:pt x="1888" y="233"/>
                  </a:cubicBezTo>
                  <a:cubicBezTo>
                    <a:pt x="1890" y="233"/>
                    <a:pt x="1892" y="233"/>
                    <a:pt x="1893" y="233"/>
                  </a:cubicBezTo>
                  <a:cubicBezTo>
                    <a:pt x="1893" y="235"/>
                    <a:pt x="1893" y="236"/>
                    <a:pt x="1893" y="238"/>
                  </a:cubicBezTo>
                  <a:cubicBezTo>
                    <a:pt x="1892" y="238"/>
                    <a:pt x="1890" y="238"/>
                    <a:pt x="1888" y="238"/>
                  </a:cubicBezTo>
                  <a:close/>
                  <a:moveTo>
                    <a:pt x="1888" y="228"/>
                  </a:moveTo>
                  <a:cubicBezTo>
                    <a:pt x="1889" y="225"/>
                    <a:pt x="1894" y="224"/>
                    <a:pt x="1899" y="224"/>
                  </a:cubicBezTo>
                  <a:cubicBezTo>
                    <a:pt x="1901" y="231"/>
                    <a:pt x="1893" y="228"/>
                    <a:pt x="1888" y="228"/>
                  </a:cubicBezTo>
                  <a:close/>
                  <a:moveTo>
                    <a:pt x="1900" y="151"/>
                  </a:moveTo>
                  <a:cubicBezTo>
                    <a:pt x="1896" y="152"/>
                    <a:pt x="1898" y="157"/>
                    <a:pt x="1897" y="160"/>
                  </a:cubicBezTo>
                  <a:cubicBezTo>
                    <a:pt x="1890" y="154"/>
                    <a:pt x="1894" y="148"/>
                    <a:pt x="1900" y="144"/>
                  </a:cubicBezTo>
                  <a:cubicBezTo>
                    <a:pt x="1905" y="143"/>
                    <a:pt x="1905" y="145"/>
                    <a:pt x="1906" y="148"/>
                  </a:cubicBezTo>
                  <a:cubicBezTo>
                    <a:pt x="1910" y="146"/>
                    <a:pt x="1911" y="141"/>
                    <a:pt x="1919" y="141"/>
                  </a:cubicBezTo>
                  <a:cubicBezTo>
                    <a:pt x="1921" y="148"/>
                    <a:pt x="1912" y="147"/>
                    <a:pt x="1911" y="153"/>
                  </a:cubicBezTo>
                  <a:cubicBezTo>
                    <a:pt x="1914" y="155"/>
                    <a:pt x="1912" y="162"/>
                    <a:pt x="1919" y="160"/>
                  </a:cubicBezTo>
                  <a:cubicBezTo>
                    <a:pt x="1919" y="168"/>
                    <a:pt x="1910" y="155"/>
                    <a:pt x="1911" y="162"/>
                  </a:cubicBezTo>
                  <a:cubicBezTo>
                    <a:pt x="1900" y="162"/>
                    <a:pt x="1915" y="150"/>
                    <a:pt x="1900" y="151"/>
                  </a:cubicBezTo>
                  <a:close/>
                  <a:moveTo>
                    <a:pt x="1908" y="310"/>
                  </a:moveTo>
                  <a:cubicBezTo>
                    <a:pt x="1909" y="307"/>
                    <a:pt x="1913" y="307"/>
                    <a:pt x="1914" y="303"/>
                  </a:cubicBezTo>
                  <a:cubicBezTo>
                    <a:pt x="1921" y="304"/>
                    <a:pt x="1914" y="312"/>
                    <a:pt x="1908" y="310"/>
                  </a:cubicBezTo>
                  <a:close/>
                  <a:moveTo>
                    <a:pt x="1915" y="235"/>
                  </a:moveTo>
                  <a:cubicBezTo>
                    <a:pt x="1917" y="233"/>
                    <a:pt x="1920" y="231"/>
                    <a:pt x="1923" y="230"/>
                  </a:cubicBezTo>
                  <a:cubicBezTo>
                    <a:pt x="1923" y="227"/>
                    <a:pt x="1917" y="228"/>
                    <a:pt x="1912" y="228"/>
                  </a:cubicBezTo>
                  <a:cubicBezTo>
                    <a:pt x="1919" y="222"/>
                    <a:pt x="1906" y="222"/>
                    <a:pt x="1909" y="212"/>
                  </a:cubicBezTo>
                  <a:cubicBezTo>
                    <a:pt x="1918" y="212"/>
                    <a:pt x="1913" y="223"/>
                    <a:pt x="1918" y="226"/>
                  </a:cubicBezTo>
                  <a:cubicBezTo>
                    <a:pt x="1923" y="224"/>
                    <a:pt x="1923" y="218"/>
                    <a:pt x="1929" y="223"/>
                  </a:cubicBezTo>
                  <a:cubicBezTo>
                    <a:pt x="1928" y="232"/>
                    <a:pt x="1922" y="232"/>
                    <a:pt x="1926" y="240"/>
                  </a:cubicBezTo>
                  <a:cubicBezTo>
                    <a:pt x="1922" y="239"/>
                    <a:pt x="1924" y="232"/>
                    <a:pt x="1915" y="235"/>
                  </a:cubicBezTo>
                  <a:close/>
                  <a:moveTo>
                    <a:pt x="1930" y="287"/>
                  </a:moveTo>
                  <a:cubicBezTo>
                    <a:pt x="1923" y="294"/>
                    <a:pt x="1917" y="280"/>
                    <a:pt x="1930" y="287"/>
                  </a:cubicBezTo>
                  <a:close/>
                  <a:moveTo>
                    <a:pt x="1918" y="219"/>
                  </a:moveTo>
                  <a:cubicBezTo>
                    <a:pt x="1915" y="212"/>
                    <a:pt x="1924" y="214"/>
                    <a:pt x="1929" y="214"/>
                  </a:cubicBezTo>
                  <a:cubicBezTo>
                    <a:pt x="1929" y="210"/>
                    <a:pt x="1926" y="208"/>
                    <a:pt x="1923" y="207"/>
                  </a:cubicBezTo>
                  <a:cubicBezTo>
                    <a:pt x="1923" y="204"/>
                    <a:pt x="1928" y="205"/>
                    <a:pt x="1931" y="204"/>
                  </a:cubicBezTo>
                  <a:cubicBezTo>
                    <a:pt x="1930" y="209"/>
                    <a:pt x="1933" y="210"/>
                    <a:pt x="1934" y="214"/>
                  </a:cubicBezTo>
                  <a:cubicBezTo>
                    <a:pt x="1936" y="216"/>
                    <a:pt x="1940" y="216"/>
                    <a:pt x="1940" y="221"/>
                  </a:cubicBezTo>
                  <a:cubicBezTo>
                    <a:pt x="1936" y="217"/>
                    <a:pt x="1926" y="219"/>
                    <a:pt x="1918" y="219"/>
                  </a:cubicBezTo>
                  <a:close/>
                  <a:moveTo>
                    <a:pt x="1943" y="258"/>
                  </a:moveTo>
                  <a:cubicBezTo>
                    <a:pt x="1938" y="258"/>
                    <a:pt x="1937" y="254"/>
                    <a:pt x="1937" y="249"/>
                  </a:cubicBezTo>
                  <a:cubicBezTo>
                    <a:pt x="1946" y="246"/>
                    <a:pt x="1942" y="254"/>
                    <a:pt x="1943" y="258"/>
                  </a:cubicBezTo>
                  <a:close/>
                  <a:moveTo>
                    <a:pt x="1945" y="216"/>
                  </a:moveTo>
                  <a:cubicBezTo>
                    <a:pt x="1947" y="214"/>
                    <a:pt x="1948" y="212"/>
                    <a:pt x="1948" y="209"/>
                  </a:cubicBezTo>
                  <a:cubicBezTo>
                    <a:pt x="1951" y="209"/>
                    <a:pt x="1950" y="213"/>
                    <a:pt x="1953" y="213"/>
                  </a:cubicBezTo>
                  <a:cubicBezTo>
                    <a:pt x="1954" y="215"/>
                    <a:pt x="1952" y="215"/>
                    <a:pt x="1951" y="216"/>
                  </a:cubicBezTo>
                  <a:cubicBezTo>
                    <a:pt x="1949" y="216"/>
                    <a:pt x="1947" y="216"/>
                    <a:pt x="1945" y="216"/>
                  </a:cubicBezTo>
                  <a:close/>
                  <a:moveTo>
                    <a:pt x="1948" y="225"/>
                  </a:moveTo>
                  <a:cubicBezTo>
                    <a:pt x="1948" y="224"/>
                    <a:pt x="1948" y="222"/>
                    <a:pt x="1948" y="220"/>
                  </a:cubicBezTo>
                  <a:cubicBezTo>
                    <a:pt x="1953" y="220"/>
                    <a:pt x="1957" y="221"/>
                    <a:pt x="1956" y="225"/>
                  </a:cubicBezTo>
                  <a:cubicBezTo>
                    <a:pt x="1954" y="225"/>
                    <a:pt x="1951" y="225"/>
                    <a:pt x="1948" y="225"/>
                  </a:cubicBezTo>
                  <a:close/>
                  <a:moveTo>
                    <a:pt x="2054" y="169"/>
                  </a:moveTo>
                  <a:cubicBezTo>
                    <a:pt x="2050" y="171"/>
                    <a:pt x="2055" y="181"/>
                    <a:pt x="2046" y="179"/>
                  </a:cubicBezTo>
                  <a:cubicBezTo>
                    <a:pt x="2045" y="173"/>
                    <a:pt x="2047" y="169"/>
                    <a:pt x="2054" y="169"/>
                  </a:cubicBezTo>
                  <a:close/>
                  <a:moveTo>
                    <a:pt x="1985" y="145"/>
                  </a:moveTo>
                  <a:cubicBezTo>
                    <a:pt x="1984" y="151"/>
                    <a:pt x="1981" y="141"/>
                    <a:pt x="1977" y="142"/>
                  </a:cubicBezTo>
                  <a:cubicBezTo>
                    <a:pt x="1979" y="135"/>
                    <a:pt x="1982" y="145"/>
                    <a:pt x="1985" y="145"/>
                  </a:cubicBezTo>
                  <a:close/>
                  <a:moveTo>
                    <a:pt x="1985" y="274"/>
                  </a:moveTo>
                  <a:cubicBezTo>
                    <a:pt x="1984" y="278"/>
                    <a:pt x="1981" y="272"/>
                    <a:pt x="1982" y="269"/>
                  </a:cubicBezTo>
                  <a:cubicBezTo>
                    <a:pt x="1983" y="265"/>
                    <a:pt x="1985" y="271"/>
                    <a:pt x="1985" y="274"/>
                  </a:cubicBezTo>
                  <a:close/>
                  <a:moveTo>
                    <a:pt x="1979" y="255"/>
                  </a:moveTo>
                  <a:cubicBezTo>
                    <a:pt x="1978" y="250"/>
                    <a:pt x="1981" y="248"/>
                    <a:pt x="1987" y="248"/>
                  </a:cubicBezTo>
                  <a:cubicBezTo>
                    <a:pt x="1984" y="250"/>
                    <a:pt x="1986" y="257"/>
                    <a:pt x="1979" y="255"/>
                  </a:cubicBezTo>
                  <a:close/>
                  <a:moveTo>
                    <a:pt x="1998" y="252"/>
                  </a:moveTo>
                  <a:cubicBezTo>
                    <a:pt x="1993" y="260"/>
                    <a:pt x="1990" y="247"/>
                    <a:pt x="1990" y="243"/>
                  </a:cubicBezTo>
                  <a:cubicBezTo>
                    <a:pt x="1993" y="243"/>
                    <a:pt x="1991" y="241"/>
                    <a:pt x="1989" y="241"/>
                  </a:cubicBezTo>
                  <a:cubicBezTo>
                    <a:pt x="1989" y="239"/>
                    <a:pt x="1991" y="239"/>
                    <a:pt x="1992" y="238"/>
                  </a:cubicBezTo>
                  <a:cubicBezTo>
                    <a:pt x="1994" y="238"/>
                    <a:pt x="1996" y="238"/>
                    <a:pt x="1998" y="238"/>
                  </a:cubicBezTo>
                  <a:cubicBezTo>
                    <a:pt x="2001" y="245"/>
                    <a:pt x="1993" y="252"/>
                    <a:pt x="1998" y="252"/>
                  </a:cubicBezTo>
                  <a:close/>
                  <a:moveTo>
                    <a:pt x="1999" y="285"/>
                  </a:moveTo>
                  <a:cubicBezTo>
                    <a:pt x="2002" y="279"/>
                    <a:pt x="2005" y="276"/>
                    <a:pt x="2001" y="269"/>
                  </a:cubicBezTo>
                  <a:cubicBezTo>
                    <a:pt x="2009" y="268"/>
                    <a:pt x="2004" y="278"/>
                    <a:pt x="2009" y="278"/>
                  </a:cubicBezTo>
                  <a:cubicBezTo>
                    <a:pt x="2009" y="281"/>
                    <a:pt x="2007" y="279"/>
                    <a:pt x="2007" y="278"/>
                  </a:cubicBezTo>
                  <a:cubicBezTo>
                    <a:pt x="2000" y="277"/>
                    <a:pt x="2008" y="289"/>
                    <a:pt x="1999" y="285"/>
                  </a:cubicBezTo>
                  <a:close/>
                  <a:moveTo>
                    <a:pt x="2001" y="297"/>
                  </a:moveTo>
                  <a:cubicBezTo>
                    <a:pt x="2005" y="293"/>
                    <a:pt x="2007" y="288"/>
                    <a:pt x="2015" y="287"/>
                  </a:cubicBezTo>
                  <a:cubicBezTo>
                    <a:pt x="2012" y="291"/>
                    <a:pt x="2009" y="297"/>
                    <a:pt x="2001" y="297"/>
                  </a:cubicBezTo>
                  <a:close/>
                  <a:moveTo>
                    <a:pt x="2017" y="266"/>
                  </a:moveTo>
                  <a:cubicBezTo>
                    <a:pt x="2018" y="261"/>
                    <a:pt x="2025" y="261"/>
                    <a:pt x="2028" y="264"/>
                  </a:cubicBezTo>
                  <a:cubicBezTo>
                    <a:pt x="2028" y="267"/>
                    <a:pt x="2021" y="266"/>
                    <a:pt x="2017" y="266"/>
                  </a:cubicBezTo>
                  <a:close/>
                  <a:moveTo>
                    <a:pt x="2042" y="254"/>
                  </a:moveTo>
                  <a:cubicBezTo>
                    <a:pt x="2042" y="252"/>
                    <a:pt x="2042" y="251"/>
                    <a:pt x="2042" y="249"/>
                  </a:cubicBezTo>
                  <a:cubicBezTo>
                    <a:pt x="2044" y="249"/>
                    <a:pt x="2045" y="249"/>
                    <a:pt x="2047" y="249"/>
                  </a:cubicBezTo>
                  <a:cubicBezTo>
                    <a:pt x="2047" y="251"/>
                    <a:pt x="2047" y="252"/>
                    <a:pt x="2047" y="254"/>
                  </a:cubicBezTo>
                  <a:cubicBezTo>
                    <a:pt x="2046" y="254"/>
                    <a:pt x="2044" y="254"/>
                    <a:pt x="2042" y="254"/>
                  </a:cubicBezTo>
                  <a:close/>
                  <a:moveTo>
                    <a:pt x="2044" y="221"/>
                  </a:moveTo>
                  <a:cubicBezTo>
                    <a:pt x="2044" y="219"/>
                    <a:pt x="2044" y="216"/>
                    <a:pt x="2044" y="214"/>
                  </a:cubicBezTo>
                  <a:cubicBezTo>
                    <a:pt x="2038" y="213"/>
                    <a:pt x="2039" y="217"/>
                    <a:pt x="2039" y="221"/>
                  </a:cubicBezTo>
                  <a:cubicBezTo>
                    <a:pt x="2034" y="222"/>
                    <a:pt x="2025" y="219"/>
                    <a:pt x="2028" y="226"/>
                  </a:cubicBezTo>
                  <a:cubicBezTo>
                    <a:pt x="2018" y="222"/>
                    <a:pt x="2031" y="219"/>
                    <a:pt x="2033" y="217"/>
                  </a:cubicBezTo>
                  <a:cubicBezTo>
                    <a:pt x="2032" y="211"/>
                    <a:pt x="2021" y="216"/>
                    <a:pt x="2016" y="214"/>
                  </a:cubicBezTo>
                  <a:cubicBezTo>
                    <a:pt x="2013" y="222"/>
                    <a:pt x="2025" y="216"/>
                    <a:pt x="2022" y="224"/>
                  </a:cubicBezTo>
                  <a:cubicBezTo>
                    <a:pt x="2018" y="224"/>
                    <a:pt x="2014" y="224"/>
                    <a:pt x="2014" y="226"/>
                  </a:cubicBezTo>
                  <a:cubicBezTo>
                    <a:pt x="2011" y="226"/>
                    <a:pt x="2012" y="222"/>
                    <a:pt x="2008" y="222"/>
                  </a:cubicBezTo>
                  <a:cubicBezTo>
                    <a:pt x="2001" y="221"/>
                    <a:pt x="2016" y="231"/>
                    <a:pt x="2003" y="229"/>
                  </a:cubicBezTo>
                  <a:cubicBezTo>
                    <a:pt x="2001" y="236"/>
                    <a:pt x="2007" y="235"/>
                    <a:pt x="2006" y="241"/>
                  </a:cubicBezTo>
                  <a:cubicBezTo>
                    <a:pt x="1999" y="239"/>
                    <a:pt x="1997" y="231"/>
                    <a:pt x="2000" y="227"/>
                  </a:cubicBezTo>
                  <a:cubicBezTo>
                    <a:pt x="2001" y="226"/>
                    <a:pt x="2006" y="227"/>
                    <a:pt x="2006" y="226"/>
                  </a:cubicBezTo>
                  <a:cubicBezTo>
                    <a:pt x="2006" y="224"/>
                    <a:pt x="1999" y="222"/>
                    <a:pt x="2006" y="217"/>
                  </a:cubicBezTo>
                  <a:cubicBezTo>
                    <a:pt x="2005" y="214"/>
                    <a:pt x="1999" y="215"/>
                    <a:pt x="1994" y="215"/>
                  </a:cubicBezTo>
                  <a:cubicBezTo>
                    <a:pt x="1987" y="217"/>
                    <a:pt x="1992" y="218"/>
                    <a:pt x="1992" y="224"/>
                  </a:cubicBezTo>
                  <a:cubicBezTo>
                    <a:pt x="1983" y="227"/>
                    <a:pt x="1988" y="217"/>
                    <a:pt x="1984" y="215"/>
                  </a:cubicBezTo>
                  <a:cubicBezTo>
                    <a:pt x="1976" y="215"/>
                    <a:pt x="1980" y="222"/>
                    <a:pt x="1978" y="225"/>
                  </a:cubicBezTo>
                  <a:cubicBezTo>
                    <a:pt x="1978" y="225"/>
                    <a:pt x="1973" y="224"/>
                    <a:pt x="1973" y="225"/>
                  </a:cubicBezTo>
                  <a:cubicBezTo>
                    <a:pt x="1971" y="226"/>
                    <a:pt x="1974" y="230"/>
                    <a:pt x="1973" y="232"/>
                  </a:cubicBezTo>
                  <a:cubicBezTo>
                    <a:pt x="1967" y="230"/>
                    <a:pt x="1967" y="228"/>
                    <a:pt x="1970" y="225"/>
                  </a:cubicBezTo>
                  <a:cubicBezTo>
                    <a:pt x="1965" y="224"/>
                    <a:pt x="1965" y="227"/>
                    <a:pt x="1965" y="230"/>
                  </a:cubicBezTo>
                  <a:cubicBezTo>
                    <a:pt x="1961" y="229"/>
                    <a:pt x="1962" y="224"/>
                    <a:pt x="1962" y="220"/>
                  </a:cubicBezTo>
                  <a:cubicBezTo>
                    <a:pt x="1966" y="220"/>
                    <a:pt x="1971" y="220"/>
                    <a:pt x="1975" y="220"/>
                  </a:cubicBezTo>
                  <a:cubicBezTo>
                    <a:pt x="1976" y="214"/>
                    <a:pt x="1960" y="222"/>
                    <a:pt x="1964" y="213"/>
                  </a:cubicBezTo>
                  <a:cubicBezTo>
                    <a:pt x="1974" y="212"/>
                    <a:pt x="1988" y="216"/>
                    <a:pt x="1986" y="206"/>
                  </a:cubicBezTo>
                  <a:cubicBezTo>
                    <a:pt x="1992" y="205"/>
                    <a:pt x="1995" y="207"/>
                    <a:pt x="1994" y="213"/>
                  </a:cubicBezTo>
                  <a:cubicBezTo>
                    <a:pt x="2004" y="211"/>
                    <a:pt x="2003" y="210"/>
                    <a:pt x="2011" y="212"/>
                  </a:cubicBezTo>
                  <a:cubicBezTo>
                    <a:pt x="2015" y="211"/>
                    <a:pt x="2010" y="209"/>
                    <a:pt x="2011" y="205"/>
                  </a:cubicBezTo>
                  <a:cubicBezTo>
                    <a:pt x="2018" y="204"/>
                    <a:pt x="2021" y="206"/>
                    <a:pt x="2019" y="212"/>
                  </a:cubicBezTo>
                  <a:cubicBezTo>
                    <a:pt x="2024" y="212"/>
                    <a:pt x="2026" y="210"/>
                    <a:pt x="2027" y="207"/>
                  </a:cubicBezTo>
                  <a:cubicBezTo>
                    <a:pt x="2031" y="208"/>
                    <a:pt x="2032" y="211"/>
                    <a:pt x="2036" y="212"/>
                  </a:cubicBezTo>
                  <a:cubicBezTo>
                    <a:pt x="2039" y="212"/>
                    <a:pt x="2037" y="210"/>
                    <a:pt x="2038" y="209"/>
                  </a:cubicBezTo>
                  <a:cubicBezTo>
                    <a:pt x="2041" y="209"/>
                    <a:pt x="2045" y="214"/>
                    <a:pt x="2047" y="207"/>
                  </a:cubicBezTo>
                  <a:cubicBezTo>
                    <a:pt x="2051" y="208"/>
                    <a:pt x="2049" y="214"/>
                    <a:pt x="2058" y="211"/>
                  </a:cubicBezTo>
                  <a:cubicBezTo>
                    <a:pt x="2066" y="214"/>
                    <a:pt x="2050" y="214"/>
                    <a:pt x="2047" y="214"/>
                  </a:cubicBezTo>
                  <a:cubicBezTo>
                    <a:pt x="2047" y="220"/>
                    <a:pt x="2057" y="218"/>
                    <a:pt x="2060" y="221"/>
                  </a:cubicBezTo>
                  <a:cubicBezTo>
                    <a:pt x="2057" y="225"/>
                    <a:pt x="2054" y="221"/>
                    <a:pt x="2044" y="221"/>
                  </a:cubicBezTo>
                  <a:close/>
                  <a:moveTo>
                    <a:pt x="2063" y="221"/>
                  </a:moveTo>
                  <a:cubicBezTo>
                    <a:pt x="2063" y="218"/>
                    <a:pt x="2067" y="219"/>
                    <a:pt x="2069" y="218"/>
                  </a:cubicBezTo>
                  <a:cubicBezTo>
                    <a:pt x="2069" y="214"/>
                    <a:pt x="2069" y="210"/>
                    <a:pt x="2068" y="207"/>
                  </a:cubicBezTo>
                  <a:cubicBezTo>
                    <a:pt x="2080" y="203"/>
                    <a:pt x="2069" y="219"/>
                    <a:pt x="2077" y="218"/>
                  </a:cubicBezTo>
                  <a:cubicBezTo>
                    <a:pt x="2077" y="223"/>
                    <a:pt x="2067" y="219"/>
                    <a:pt x="2063" y="221"/>
                  </a:cubicBezTo>
                  <a:close/>
                  <a:moveTo>
                    <a:pt x="2074" y="239"/>
                  </a:moveTo>
                  <a:cubicBezTo>
                    <a:pt x="2073" y="239"/>
                    <a:pt x="2071" y="239"/>
                    <a:pt x="2069" y="239"/>
                  </a:cubicBezTo>
                  <a:cubicBezTo>
                    <a:pt x="2069" y="237"/>
                    <a:pt x="2069" y="235"/>
                    <a:pt x="2069" y="232"/>
                  </a:cubicBezTo>
                  <a:cubicBezTo>
                    <a:pt x="2073" y="232"/>
                    <a:pt x="2074" y="235"/>
                    <a:pt x="2077" y="235"/>
                  </a:cubicBezTo>
                  <a:cubicBezTo>
                    <a:pt x="2077" y="237"/>
                    <a:pt x="2074" y="237"/>
                    <a:pt x="2074" y="239"/>
                  </a:cubicBezTo>
                  <a:close/>
                  <a:moveTo>
                    <a:pt x="2200" y="66"/>
                  </a:moveTo>
                  <a:cubicBezTo>
                    <a:pt x="2203" y="68"/>
                    <a:pt x="2211" y="66"/>
                    <a:pt x="2209" y="72"/>
                  </a:cubicBezTo>
                  <a:cubicBezTo>
                    <a:pt x="2206" y="70"/>
                    <a:pt x="2199" y="72"/>
                    <a:pt x="2200" y="66"/>
                  </a:cubicBezTo>
                  <a:close/>
                  <a:moveTo>
                    <a:pt x="2184" y="71"/>
                  </a:moveTo>
                  <a:cubicBezTo>
                    <a:pt x="2184" y="72"/>
                    <a:pt x="2184" y="74"/>
                    <a:pt x="2184" y="75"/>
                  </a:cubicBezTo>
                  <a:cubicBezTo>
                    <a:pt x="2182" y="75"/>
                    <a:pt x="2180" y="75"/>
                    <a:pt x="2179" y="75"/>
                  </a:cubicBezTo>
                  <a:cubicBezTo>
                    <a:pt x="2179" y="74"/>
                    <a:pt x="2179" y="72"/>
                    <a:pt x="2179" y="71"/>
                  </a:cubicBezTo>
                  <a:cubicBezTo>
                    <a:pt x="2180" y="71"/>
                    <a:pt x="2182" y="71"/>
                    <a:pt x="2184" y="71"/>
                  </a:cubicBezTo>
                  <a:close/>
                  <a:moveTo>
                    <a:pt x="2180" y="132"/>
                  </a:moveTo>
                  <a:cubicBezTo>
                    <a:pt x="2179" y="136"/>
                    <a:pt x="2175" y="141"/>
                    <a:pt x="2174" y="144"/>
                  </a:cubicBezTo>
                  <a:cubicBezTo>
                    <a:pt x="2172" y="142"/>
                    <a:pt x="2170" y="141"/>
                    <a:pt x="2166" y="141"/>
                  </a:cubicBezTo>
                  <a:cubicBezTo>
                    <a:pt x="2162" y="135"/>
                    <a:pt x="2171" y="136"/>
                    <a:pt x="2171" y="132"/>
                  </a:cubicBezTo>
                  <a:cubicBezTo>
                    <a:pt x="2172" y="129"/>
                    <a:pt x="2177" y="130"/>
                    <a:pt x="2180" y="129"/>
                  </a:cubicBezTo>
                  <a:cubicBezTo>
                    <a:pt x="2180" y="127"/>
                    <a:pt x="2178" y="127"/>
                    <a:pt x="2177" y="127"/>
                  </a:cubicBezTo>
                  <a:cubicBezTo>
                    <a:pt x="2185" y="120"/>
                    <a:pt x="2181" y="128"/>
                    <a:pt x="2180" y="132"/>
                  </a:cubicBezTo>
                  <a:close/>
                  <a:moveTo>
                    <a:pt x="2183" y="174"/>
                  </a:moveTo>
                  <a:cubicBezTo>
                    <a:pt x="2180" y="173"/>
                    <a:pt x="2179" y="170"/>
                    <a:pt x="2175" y="169"/>
                  </a:cubicBezTo>
                  <a:cubicBezTo>
                    <a:pt x="2175" y="167"/>
                    <a:pt x="2178" y="168"/>
                    <a:pt x="2178" y="169"/>
                  </a:cubicBezTo>
                  <a:cubicBezTo>
                    <a:pt x="2180" y="169"/>
                    <a:pt x="2180" y="166"/>
                    <a:pt x="2180" y="165"/>
                  </a:cubicBezTo>
                  <a:cubicBezTo>
                    <a:pt x="2184" y="165"/>
                    <a:pt x="2183" y="170"/>
                    <a:pt x="2183" y="174"/>
                  </a:cubicBezTo>
                  <a:close/>
                  <a:moveTo>
                    <a:pt x="2177" y="120"/>
                  </a:moveTo>
                  <a:cubicBezTo>
                    <a:pt x="2176" y="125"/>
                    <a:pt x="2164" y="121"/>
                    <a:pt x="2166" y="116"/>
                  </a:cubicBezTo>
                  <a:cubicBezTo>
                    <a:pt x="2173" y="114"/>
                    <a:pt x="2171" y="120"/>
                    <a:pt x="2177" y="120"/>
                  </a:cubicBezTo>
                  <a:close/>
                  <a:moveTo>
                    <a:pt x="2166" y="108"/>
                  </a:moveTo>
                  <a:cubicBezTo>
                    <a:pt x="2166" y="108"/>
                    <a:pt x="2168" y="109"/>
                    <a:pt x="2168" y="108"/>
                  </a:cubicBezTo>
                  <a:cubicBezTo>
                    <a:pt x="2169" y="108"/>
                    <a:pt x="2169" y="102"/>
                    <a:pt x="2171" y="104"/>
                  </a:cubicBezTo>
                  <a:cubicBezTo>
                    <a:pt x="2179" y="111"/>
                    <a:pt x="2155" y="110"/>
                    <a:pt x="2166" y="108"/>
                  </a:cubicBezTo>
                  <a:close/>
                  <a:moveTo>
                    <a:pt x="2177" y="146"/>
                  </a:moveTo>
                  <a:cubicBezTo>
                    <a:pt x="2172" y="149"/>
                    <a:pt x="2177" y="160"/>
                    <a:pt x="2169" y="160"/>
                  </a:cubicBezTo>
                  <a:cubicBezTo>
                    <a:pt x="2171" y="162"/>
                    <a:pt x="2172" y="164"/>
                    <a:pt x="2172" y="167"/>
                  </a:cubicBezTo>
                  <a:cubicBezTo>
                    <a:pt x="2164" y="171"/>
                    <a:pt x="2163" y="152"/>
                    <a:pt x="2172" y="155"/>
                  </a:cubicBezTo>
                  <a:cubicBezTo>
                    <a:pt x="2171" y="151"/>
                    <a:pt x="2167" y="150"/>
                    <a:pt x="2161" y="151"/>
                  </a:cubicBezTo>
                  <a:cubicBezTo>
                    <a:pt x="2164" y="147"/>
                    <a:pt x="2170" y="146"/>
                    <a:pt x="2177" y="146"/>
                  </a:cubicBezTo>
                  <a:close/>
                  <a:moveTo>
                    <a:pt x="2164" y="205"/>
                  </a:moveTo>
                  <a:cubicBezTo>
                    <a:pt x="2165" y="200"/>
                    <a:pt x="2174" y="207"/>
                    <a:pt x="2173" y="212"/>
                  </a:cubicBezTo>
                  <a:cubicBezTo>
                    <a:pt x="2170" y="212"/>
                    <a:pt x="2167" y="212"/>
                    <a:pt x="2165" y="212"/>
                  </a:cubicBezTo>
                  <a:cubicBezTo>
                    <a:pt x="2166" y="210"/>
                    <a:pt x="2169" y="205"/>
                    <a:pt x="2164" y="205"/>
                  </a:cubicBezTo>
                  <a:close/>
                  <a:moveTo>
                    <a:pt x="2164" y="186"/>
                  </a:moveTo>
                  <a:cubicBezTo>
                    <a:pt x="2166" y="173"/>
                    <a:pt x="2181" y="193"/>
                    <a:pt x="2167" y="193"/>
                  </a:cubicBezTo>
                  <a:cubicBezTo>
                    <a:pt x="2167" y="191"/>
                    <a:pt x="2170" y="191"/>
                    <a:pt x="2170" y="188"/>
                  </a:cubicBezTo>
                  <a:cubicBezTo>
                    <a:pt x="2170" y="186"/>
                    <a:pt x="2166" y="187"/>
                    <a:pt x="2164" y="186"/>
                  </a:cubicBezTo>
                  <a:close/>
                  <a:moveTo>
                    <a:pt x="2154" y="99"/>
                  </a:moveTo>
                  <a:cubicBezTo>
                    <a:pt x="2166" y="98"/>
                    <a:pt x="2156" y="104"/>
                    <a:pt x="2157" y="109"/>
                  </a:cubicBezTo>
                  <a:cubicBezTo>
                    <a:pt x="2149" y="108"/>
                    <a:pt x="2150" y="117"/>
                    <a:pt x="2144" y="111"/>
                  </a:cubicBezTo>
                  <a:cubicBezTo>
                    <a:pt x="2145" y="106"/>
                    <a:pt x="2158" y="109"/>
                    <a:pt x="2154" y="99"/>
                  </a:cubicBezTo>
                  <a:close/>
                  <a:moveTo>
                    <a:pt x="2159" y="207"/>
                  </a:moveTo>
                  <a:cubicBezTo>
                    <a:pt x="2146" y="210"/>
                    <a:pt x="2154" y="195"/>
                    <a:pt x="2159" y="203"/>
                  </a:cubicBezTo>
                  <a:cubicBezTo>
                    <a:pt x="2159" y="204"/>
                    <a:pt x="2159" y="206"/>
                    <a:pt x="2159" y="207"/>
                  </a:cubicBezTo>
                  <a:close/>
                  <a:moveTo>
                    <a:pt x="2141" y="130"/>
                  </a:moveTo>
                  <a:cubicBezTo>
                    <a:pt x="2150" y="127"/>
                    <a:pt x="2143" y="138"/>
                    <a:pt x="2152" y="135"/>
                  </a:cubicBezTo>
                  <a:cubicBezTo>
                    <a:pt x="2150" y="139"/>
                    <a:pt x="2147" y="143"/>
                    <a:pt x="2139" y="142"/>
                  </a:cubicBezTo>
                  <a:cubicBezTo>
                    <a:pt x="2137" y="136"/>
                    <a:pt x="2144" y="137"/>
                    <a:pt x="2141" y="130"/>
                  </a:cubicBezTo>
                  <a:close/>
                  <a:moveTo>
                    <a:pt x="2115" y="189"/>
                  </a:moveTo>
                  <a:cubicBezTo>
                    <a:pt x="2120" y="183"/>
                    <a:pt x="2127" y="192"/>
                    <a:pt x="2134" y="187"/>
                  </a:cubicBezTo>
                  <a:cubicBezTo>
                    <a:pt x="2135" y="195"/>
                    <a:pt x="2119" y="190"/>
                    <a:pt x="2115" y="194"/>
                  </a:cubicBezTo>
                  <a:cubicBezTo>
                    <a:pt x="2117" y="192"/>
                    <a:pt x="2118" y="190"/>
                    <a:pt x="2115" y="189"/>
                  </a:cubicBezTo>
                  <a:close/>
                  <a:moveTo>
                    <a:pt x="2128" y="140"/>
                  </a:moveTo>
                  <a:cubicBezTo>
                    <a:pt x="2125" y="148"/>
                    <a:pt x="2122" y="137"/>
                    <a:pt x="2119" y="138"/>
                  </a:cubicBezTo>
                  <a:cubicBezTo>
                    <a:pt x="2114" y="135"/>
                    <a:pt x="2116" y="142"/>
                    <a:pt x="2114" y="142"/>
                  </a:cubicBezTo>
                  <a:cubicBezTo>
                    <a:pt x="2112" y="143"/>
                    <a:pt x="2108" y="139"/>
                    <a:pt x="2103" y="142"/>
                  </a:cubicBezTo>
                  <a:cubicBezTo>
                    <a:pt x="2103" y="140"/>
                    <a:pt x="2103" y="138"/>
                    <a:pt x="2103" y="135"/>
                  </a:cubicBezTo>
                  <a:cubicBezTo>
                    <a:pt x="2114" y="137"/>
                    <a:pt x="2112" y="136"/>
                    <a:pt x="2125" y="135"/>
                  </a:cubicBezTo>
                  <a:cubicBezTo>
                    <a:pt x="2124" y="138"/>
                    <a:pt x="2126" y="139"/>
                    <a:pt x="2128" y="140"/>
                  </a:cubicBezTo>
                  <a:close/>
                  <a:moveTo>
                    <a:pt x="2130" y="107"/>
                  </a:moveTo>
                  <a:cubicBezTo>
                    <a:pt x="2124" y="116"/>
                    <a:pt x="2136" y="115"/>
                    <a:pt x="2133" y="128"/>
                  </a:cubicBezTo>
                  <a:cubicBezTo>
                    <a:pt x="2130" y="128"/>
                    <a:pt x="2131" y="124"/>
                    <a:pt x="2130" y="121"/>
                  </a:cubicBezTo>
                  <a:cubicBezTo>
                    <a:pt x="2129" y="118"/>
                    <a:pt x="2117" y="107"/>
                    <a:pt x="2130" y="107"/>
                  </a:cubicBezTo>
                  <a:close/>
                  <a:moveTo>
                    <a:pt x="2111" y="107"/>
                  </a:moveTo>
                  <a:cubicBezTo>
                    <a:pt x="2110" y="110"/>
                    <a:pt x="2099" y="112"/>
                    <a:pt x="2111" y="112"/>
                  </a:cubicBezTo>
                  <a:cubicBezTo>
                    <a:pt x="2110" y="115"/>
                    <a:pt x="2106" y="114"/>
                    <a:pt x="2102" y="114"/>
                  </a:cubicBezTo>
                  <a:cubicBezTo>
                    <a:pt x="2098" y="107"/>
                    <a:pt x="2103" y="102"/>
                    <a:pt x="2111" y="107"/>
                  </a:cubicBezTo>
                  <a:close/>
                  <a:moveTo>
                    <a:pt x="2088" y="251"/>
                  </a:moveTo>
                  <a:cubicBezTo>
                    <a:pt x="2084" y="249"/>
                    <a:pt x="2081" y="243"/>
                    <a:pt x="2085" y="239"/>
                  </a:cubicBezTo>
                  <a:cubicBezTo>
                    <a:pt x="2091" y="239"/>
                    <a:pt x="2087" y="247"/>
                    <a:pt x="2088" y="251"/>
                  </a:cubicBezTo>
                  <a:close/>
                  <a:moveTo>
                    <a:pt x="2085" y="227"/>
                  </a:moveTo>
                  <a:cubicBezTo>
                    <a:pt x="2075" y="221"/>
                    <a:pt x="2088" y="214"/>
                    <a:pt x="2082" y="204"/>
                  </a:cubicBezTo>
                  <a:cubicBezTo>
                    <a:pt x="2085" y="205"/>
                    <a:pt x="2085" y="209"/>
                    <a:pt x="2090" y="209"/>
                  </a:cubicBezTo>
                  <a:cubicBezTo>
                    <a:pt x="2090" y="216"/>
                    <a:pt x="2083" y="218"/>
                    <a:pt x="2085" y="227"/>
                  </a:cubicBezTo>
                  <a:close/>
                  <a:moveTo>
                    <a:pt x="2103" y="168"/>
                  </a:moveTo>
                  <a:cubicBezTo>
                    <a:pt x="2105" y="169"/>
                    <a:pt x="2096" y="175"/>
                    <a:pt x="2093" y="171"/>
                  </a:cubicBezTo>
                  <a:cubicBezTo>
                    <a:pt x="2092" y="169"/>
                    <a:pt x="2102" y="167"/>
                    <a:pt x="2103" y="168"/>
                  </a:cubicBezTo>
                  <a:close/>
                  <a:moveTo>
                    <a:pt x="2095" y="293"/>
                  </a:moveTo>
                  <a:cubicBezTo>
                    <a:pt x="2095" y="289"/>
                    <a:pt x="2104" y="291"/>
                    <a:pt x="2103" y="286"/>
                  </a:cubicBezTo>
                  <a:cubicBezTo>
                    <a:pt x="2107" y="287"/>
                    <a:pt x="2105" y="293"/>
                    <a:pt x="2114" y="290"/>
                  </a:cubicBezTo>
                  <a:cubicBezTo>
                    <a:pt x="2108" y="295"/>
                    <a:pt x="2101" y="295"/>
                    <a:pt x="2095" y="293"/>
                  </a:cubicBezTo>
                  <a:close/>
                  <a:moveTo>
                    <a:pt x="2094" y="270"/>
                  </a:moveTo>
                  <a:cubicBezTo>
                    <a:pt x="2095" y="265"/>
                    <a:pt x="2098" y="271"/>
                    <a:pt x="2097" y="274"/>
                  </a:cubicBezTo>
                  <a:cubicBezTo>
                    <a:pt x="2096" y="279"/>
                    <a:pt x="2094" y="273"/>
                    <a:pt x="2094" y="270"/>
                  </a:cubicBezTo>
                  <a:close/>
                  <a:moveTo>
                    <a:pt x="2102" y="225"/>
                  </a:moveTo>
                  <a:cubicBezTo>
                    <a:pt x="2094" y="222"/>
                    <a:pt x="2109" y="208"/>
                    <a:pt x="2102" y="225"/>
                  </a:cubicBezTo>
                  <a:close/>
                  <a:moveTo>
                    <a:pt x="2110" y="218"/>
                  </a:moveTo>
                  <a:cubicBezTo>
                    <a:pt x="2117" y="218"/>
                    <a:pt x="2111" y="226"/>
                    <a:pt x="2110" y="227"/>
                  </a:cubicBezTo>
                  <a:cubicBezTo>
                    <a:pt x="2102" y="226"/>
                    <a:pt x="2112" y="222"/>
                    <a:pt x="2110" y="218"/>
                  </a:cubicBezTo>
                  <a:close/>
                  <a:moveTo>
                    <a:pt x="2119" y="281"/>
                  </a:moveTo>
                  <a:cubicBezTo>
                    <a:pt x="2117" y="288"/>
                    <a:pt x="2115" y="277"/>
                    <a:pt x="2116" y="274"/>
                  </a:cubicBezTo>
                  <a:cubicBezTo>
                    <a:pt x="2113" y="277"/>
                    <a:pt x="2112" y="275"/>
                    <a:pt x="2108" y="274"/>
                  </a:cubicBezTo>
                  <a:cubicBezTo>
                    <a:pt x="2110" y="272"/>
                    <a:pt x="2114" y="271"/>
                    <a:pt x="2113" y="267"/>
                  </a:cubicBezTo>
                  <a:cubicBezTo>
                    <a:pt x="2118" y="269"/>
                    <a:pt x="2120" y="274"/>
                    <a:pt x="2119" y="281"/>
                  </a:cubicBezTo>
                  <a:close/>
                  <a:moveTo>
                    <a:pt x="2121" y="246"/>
                  </a:moveTo>
                  <a:cubicBezTo>
                    <a:pt x="2121" y="246"/>
                    <a:pt x="2116" y="243"/>
                    <a:pt x="2116" y="243"/>
                  </a:cubicBezTo>
                  <a:cubicBezTo>
                    <a:pt x="2116" y="240"/>
                    <a:pt x="2120" y="243"/>
                    <a:pt x="2121" y="241"/>
                  </a:cubicBezTo>
                  <a:cubicBezTo>
                    <a:pt x="2121" y="240"/>
                    <a:pt x="2122" y="234"/>
                    <a:pt x="2124" y="236"/>
                  </a:cubicBezTo>
                  <a:cubicBezTo>
                    <a:pt x="2124" y="237"/>
                    <a:pt x="2121" y="245"/>
                    <a:pt x="2121" y="246"/>
                  </a:cubicBezTo>
                  <a:close/>
                  <a:moveTo>
                    <a:pt x="2115" y="217"/>
                  </a:moveTo>
                  <a:cubicBezTo>
                    <a:pt x="2117" y="212"/>
                    <a:pt x="2129" y="216"/>
                    <a:pt x="2126" y="222"/>
                  </a:cubicBezTo>
                  <a:cubicBezTo>
                    <a:pt x="2122" y="221"/>
                    <a:pt x="2119" y="219"/>
                    <a:pt x="2115" y="217"/>
                  </a:cubicBezTo>
                  <a:close/>
                  <a:moveTo>
                    <a:pt x="2122" y="276"/>
                  </a:moveTo>
                  <a:cubicBezTo>
                    <a:pt x="2122" y="272"/>
                    <a:pt x="2126" y="271"/>
                    <a:pt x="2133" y="271"/>
                  </a:cubicBezTo>
                  <a:cubicBezTo>
                    <a:pt x="2132" y="275"/>
                    <a:pt x="2128" y="277"/>
                    <a:pt x="2122" y="276"/>
                  </a:cubicBezTo>
                  <a:close/>
                  <a:moveTo>
                    <a:pt x="2129" y="243"/>
                  </a:moveTo>
                  <a:cubicBezTo>
                    <a:pt x="2129" y="241"/>
                    <a:pt x="2129" y="240"/>
                    <a:pt x="2129" y="238"/>
                  </a:cubicBezTo>
                  <a:cubicBezTo>
                    <a:pt x="2131" y="238"/>
                    <a:pt x="2133" y="238"/>
                    <a:pt x="2135" y="238"/>
                  </a:cubicBezTo>
                  <a:cubicBezTo>
                    <a:pt x="2135" y="240"/>
                    <a:pt x="2135" y="241"/>
                    <a:pt x="2135" y="243"/>
                  </a:cubicBezTo>
                  <a:cubicBezTo>
                    <a:pt x="2133" y="243"/>
                    <a:pt x="2131" y="243"/>
                    <a:pt x="2129" y="243"/>
                  </a:cubicBezTo>
                  <a:close/>
                  <a:moveTo>
                    <a:pt x="2134" y="210"/>
                  </a:moveTo>
                  <a:cubicBezTo>
                    <a:pt x="2132" y="212"/>
                    <a:pt x="2130" y="212"/>
                    <a:pt x="2126" y="213"/>
                  </a:cubicBezTo>
                  <a:cubicBezTo>
                    <a:pt x="2126" y="213"/>
                    <a:pt x="2126" y="210"/>
                    <a:pt x="2126" y="210"/>
                  </a:cubicBezTo>
                  <a:cubicBezTo>
                    <a:pt x="2124" y="211"/>
                    <a:pt x="2124" y="213"/>
                    <a:pt x="2123" y="213"/>
                  </a:cubicBezTo>
                  <a:cubicBezTo>
                    <a:pt x="2121" y="213"/>
                    <a:pt x="2120" y="210"/>
                    <a:pt x="2121" y="210"/>
                  </a:cubicBezTo>
                  <a:cubicBezTo>
                    <a:pt x="2121" y="210"/>
                    <a:pt x="2113" y="212"/>
                    <a:pt x="2112" y="213"/>
                  </a:cubicBezTo>
                  <a:cubicBezTo>
                    <a:pt x="2110" y="215"/>
                    <a:pt x="2112" y="213"/>
                    <a:pt x="2101" y="213"/>
                  </a:cubicBezTo>
                  <a:cubicBezTo>
                    <a:pt x="2103" y="207"/>
                    <a:pt x="2100" y="205"/>
                    <a:pt x="2093" y="206"/>
                  </a:cubicBezTo>
                  <a:cubicBezTo>
                    <a:pt x="2092" y="203"/>
                    <a:pt x="2097" y="205"/>
                    <a:pt x="2099" y="204"/>
                  </a:cubicBezTo>
                  <a:cubicBezTo>
                    <a:pt x="2103" y="199"/>
                    <a:pt x="2097" y="191"/>
                    <a:pt x="2107" y="192"/>
                  </a:cubicBezTo>
                  <a:cubicBezTo>
                    <a:pt x="2101" y="197"/>
                    <a:pt x="2105" y="205"/>
                    <a:pt x="2107" y="211"/>
                  </a:cubicBezTo>
                  <a:cubicBezTo>
                    <a:pt x="2112" y="208"/>
                    <a:pt x="2122" y="210"/>
                    <a:pt x="2121" y="203"/>
                  </a:cubicBezTo>
                  <a:cubicBezTo>
                    <a:pt x="2123" y="205"/>
                    <a:pt x="2125" y="207"/>
                    <a:pt x="2126" y="210"/>
                  </a:cubicBezTo>
                  <a:cubicBezTo>
                    <a:pt x="2130" y="206"/>
                    <a:pt x="2135" y="204"/>
                    <a:pt x="2134" y="196"/>
                  </a:cubicBezTo>
                  <a:cubicBezTo>
                    <a:pt x="2138" y="196"/>
                    <a:pt x="2135" y="203"/>
                    <a:pt x="2140" y="203"/>
                  </a:cubicBezTo>
                  <a:cubicBezTo>
                    <a:pt x="2138" y="205"/>
                    <a:pt x="2133" y="206"/>
                    <a:pt x="2134" y="210"/>
                  </a:cubicBezTo>
                  <a:close/>
                  <a:moveTo>
                    <a:pt x="2144" y="285"/>
                  </a:moveTo>
                  <a:cubicBezTo>
                    <a:pt x="2139" y="283"/>
                    <a:pt x="2136" y="275"/>
                    <a:pt x="2141" y="271"/>
                  </a:cubicBezTo>
                  <a:cubicBezTo>
                    <a:pt x="2147" y="271"/>
                    <a:pt x="2142" y="281"/>
                    <a:pt x="2144" y="285"/>
                  </a:cubicBezTo>
                  <a:close/>
                  <a:moveTo>
                    <a:pt x="2143" y="215"/>
                  </a:moveTo>
                  <a:cubicBezTo>
                    <a:pt x="2146" y="216"/>
                    <a:pt x="2148" y="218"/>
                    <a:pt x="2148" y="222"/>
                  </a:cubicBezTo>
                  <a:cubicBezTo>
                    <a:pt x="2145" y="221"/>
                    <a:pt x="2143" y="219"/>
                    <a:pt x="2143" y="215"/>
                  </a:cubicBezTo>
                  <a:close/>
                  <a:moveTo>
                    <a:pt x="2147" y="156"/>
                  </a:moveTo>
                  <a:cubicBezTo>
                    <a:pt x="2143" y="154"/>
                    <a:pt x="2148" y="152"/>
                    <a:pt x="2144" y="146"/>
                  </a:cubicBezTo>
                  <a:cubicBezTo>
                    <a:pt x="2154" y="144"/>
                    <a:pt x="2150" y="154"/>
                    <a:pt x="2155" y="156"/>
                  </a:cubicBezTo>
                  <a:cubicBezTo>
                    <a:pt x="2154" y="159"/>
                    <a:pt x="2151" y="156"/>
                    <a:pt x="2150" y="153"/>
                  </a:cubicBezTo>
                  <a:cubicBezTo>
                    <a:pt x="2147" y="153"/>
                    <a:pt x="2147" y="154"/>
                    <a:pt x="2147" y="156"/>
                  </a:cubicBezTo>
                  <a:close/>
                  <a:moveTo>
                    <a:pt x="2157" y="250"/>
                  </a:moveTo>
                  <a:cubicBezTo>
                    <a:pt x="2153" y="249"/>
                    <a:pt x="2156" y="243"/>
                    <a:pt x="2151" y="243"/>
                  </a:cubicBezTo>
                  <a:cubicBezTo>
                    <a:pt x="2153" y="240"/>
                    <a:pt x="2158" y="240"/>
                    <a:pt x="2157" y="236"/>
                  </a:cubicBezTo>
                  <a:cubicBezTo>
                    <a:pt x="2164" y="238"/>
                    <a:pt x="2156" y="246"/>
                    <a:pt x="2157" y="250"/>
                  </a:cubicBezTo>
                  <a:close/>
                  <a:moveTo>
                    <a:pt x="2159" y="221"/>
                  </a:moveTo>
                  <a:cubicBezTo>
                    <a:pt x="2160" y="224"/>
                    <a:pt x="2159" y="236"/>
                    <a:pt x="2157" y="228"/>
                  </a:cubicBezTo>
                  <a:cubicBezTo>
                    <a:pt x="2157" y="224"/>
                    <a:pt x="2156" y="219"/>
                    <a:pt x="2156" y="214"/>
                  </a:cubicBezTo>
                  <a:cubicBezTo>
                    <a:pt x="2160" y="214"/>
                    <a:pt x="2164" y="214"/>
                    <a:pt x="2167" y="214"/>
                  </a:cubicBezTo>
                  <a:cubicBezTo>
                    <a:pt x="2168" y="219"/>
                    <a:pt x="2165" y="222"/>
                    <a:pt x="2159" y="221"/>
                  </a:cubicBezTo>
                  <a:close/>
                  <a:moveTo>
                    <a:pt x="2168" y="273"/>
                  </a:moveTo>
                  <a:cubicBezTo>
                    <a:pt x="2171" y="274"/>
                    <a:pt x="2173" y="275"/>
                    <a:pt x="2177" y="275"/>
                  </a:cubicBezTo>
                  <a:cubicBezTo>
                    <a:pt x="2176" y="284"/>
                    <a:pt x="2173" y="284"/>
                    <a:pt x="2177" y="292"/>
                  </a:cubicBezTo>
                  <a:cubicBezTo>
                    <a:pt x="2165" y="293"/>
                    <a:pt x="2169" y="281"/>
                    <a:pt x="2168" y="273"/>
                  </a:cubicBezTo>
                  <a:close/>
                  <a:moveTo>
                    <a:pt x="2174" y="273"/>
                  </a:moveTo>
                  <a:cubicBezTo>
                    <a:pt x="2174" y="271"/>
                    <a:pt x="2174" y="270"/>
                    <a:pt x="2174" y="268"/>
                  </a:cubicBezTo>
                  <a:cubicBezTo>
                    <a:pt x="2176" y="268"/>
                    <a:pt x="2177" y="268"/>
                    <a:pt x="2179" y="268"/>
                  </a:cubicBezTo>
                  <a:cubicBezTo>
                    <a:pt x="2179" y="270"/>
                    <a:pt x="2179" y="271"/>
                    <a:pt x="2179" y="273"/>
                  </a:cubicBezTo>
                  <a:cubicBezTo>
                    <a:pt x="2177" y="273"/>
                    <a:pt x="2176" y="273"/>
                    <a:pt x="2174" y="273"/>
                  </a:cubicBezTo>
                  <a:close/>
                  <a:moveTo>
                    <a:pt x="2170" y="217"/>
                  </a:moveTo>
                  <a:cubicBezTo>
                    <a:pt x="2171" y="213"/>
                    <a:pt x="2177" y="214"/>
                    <a:pt x="2181" y="214"/>
                  </a:cubicBezTo>
                  <a:cubicBezTo>
                    <a:pt x="2180" y="219"/>
                    <a:pt x="2174" y="220"/>
                    <a:pt x="2170" y="217"/>
                  </a:cubicBezTo>
                  <a:close/>
                  <a:moveTo>
                    <a:pt x="2181" y="197"/>
                  </a:moveTo>
                  <a:cubicBezTo>
                    <a:pt x="2173" y="193"/>
                    <a:pt x="2182" y="183"/>
                    <a:pt x="2183" y="179"/>
                  </a:cubicBezTo>
                  <a:cubicBezTo>
                    <a:pt x="2189" y="182"/>
                    <a:pt x="2180" y="191"/>
                    <a:pt x="2181" y="197"/>
                  </a:cubicBezTo>
                  <a:close/>
                  <a:moveTo>
                    <a:pt x="2188" y="136"/>
                  </a:moveTo>
                  <a:cubicBezTo>
                    <a:pt x="2190" y="136"/>
                    <a:pt x="2192" y="136"/>
                    <a:pt x="2193" y="136"/>
                  </a:cubicBezTo>
                  <a:cubicBezTo>
                    <a:pt x="2195" y="141"/>
                    <a:pt x="2190" y="141"/>
                    <a:pt x="2185" y="141"/>
                  </a:cubicBezTo>
                  <a:cubicBezTo>
                    <a:pt x="2186" y="139"/>
                    <a:pt x="2188" y="139"/>
                    <a:pt x="2188" y="136"/>
                  </a:cubicBezTo>
                  <a:close/>
                  <a:moveTo>
                    <a:pt x="2189" y="204"/>
                  </a:moveTo>
                  <a:cubicBezTo>
                    <a:pt x="2188" y="209"/>
                    <a:pt x="2186" y="203"/>
                    <a:pt x="2186" y="200"/>
                  </a:cubicBezTo>
                  <a:cubicBezTo>
                    <a:pt x="2187" y="195"/>
                    <a:pt x="2190" y="201"/>
                    <a:pt x="2189" y="204"/>
                  </a:cubicBezTo>
                  <a:close/>
                  <a:moveTo>
                    <a:pt x="2189" y="214"/>
                  </a:moveTo>
                  <a:cubicBezTo>
                    <a:pt x="2194" y="213"/>
                    <a:pt x="2194" y="216"/>
                    <a:pt x="2198" y="216"/>
                  </a:cubicBezTo>
                  <a:cubicBezTo>
                    <a:pt x="2195" y="223"/>
                    <a:pt x="2195" y="223"/>
                    <a:pt x="2198" y="230"/>
                  </a:cubicBezTo>
                  <a:cubicBezTo>
                    <a:pt x="2190" y="229"/>
                    <a:pt x="2193" y="219"/>
                    <a:pt x="2189" y="214"/>
                  </a:cubicBezTo>
                  <a:close/>
                  <a:moveTo>
                    <a:pt x="2191" y="148"/>
                  </a:moveTo>
                  <a:cubicBezTo>
                    <a:pt x="2192" y="145"/>
                    <a:pt x="2198" y="146"/>
                    <a:pt x="2202" y="145"/>
                  </a:cubicBezTo>
                  <a:cubicBezTo>
                    <a:pt x="2201" y="137"/>
                    <a:pt x="2204" y="132"/>
                    <a:pt x="2213" y="131"/>
                  </a:cubicBezTo>
                  <a:cubicBezTo>
                    <a:pt x="2207" y="140"/>
                    <a:pt x="2204" y="142"/>
                    <a:pt x="2207" y="155"/>
                  </a:cubicBezTo>
                  <a:cubicBezTo>
                    <a:pt x="2200" y="155"/>
                    <a:pt x="2204" y="153"/>
                    <a:pt x="2205" y="150"/>
                  </a:cubicBezTo>
                  <a:cubicBezTo>
                    <a:pt x="2200" y="145"/>
                    <a:pt x="2198" y="152"/>
                    <a:pt x="2191" y="148"/>
                  </a:cubicBezTo>
                  <a:close/>
                  <a:moveTo>
                    <a:pt x="2214" y="220"/>
                  </a:moveTo>
                  <a:cubicBezTo>
                    <a:pt x="2205" y="222"/>
                    <a:pt x="2213" y="209"/>
                    <a:pt x="2203" y="211"/>
                  </a:cubicBezTo>
                  <a:cubicBezTo>
                    <a:pt x="2203" y="208"/>
                    <a:pt x="2208" y="209"/>
                    <a:pt x="2211" y="209"/>
                  </a:cubicBezTo>
                  <a:cubicBezTo>
                    <a:pt x="2209" y="215"/>
                    <a:pt x="2215" y="215"/>
                    <a:pt x="2214" y="220"/>
                  </a:cubicBezTo>
                  <a:close/>
                  <a:moveTo>
                    <a:pt x="2211" y="202"/>
                  </a:moveTo>
                  <a:cubicBezTo>
                    <a:pt x="2208" y="201"/>
                    <a:pt x="2206" y="202"/>
                    <a:pt x="2206" y="204"/>
                  </a:cubicBezTo>
                  <a:cubicBezTo>
                    <a:pt x="2201" y="203"/>
                    <a:pt x="2207" y="201"/>
                    <a:pt x="2206" y="197"/>
                  </a:cubicBezTo>
                  <a:cubicBezTo>
                    <a:pt x="2209" y="201"/>
                    <a:pt x="2217" y="200"/>
                    <a:pt x="2217" y="206"/>
                  </a:cubicBezTo>
                  <a:cubicBezTo>
                    <a:pt x="2214" y="205"/>
                    <a:pt x="2212" y="204"/>
                    <a:pt x="2211" y="202"/>
                  </a:cubicBezTo>
                  <a:close/>
                  <a:moveTo>
                    <a:pt x="2222" y="223"/>
                  </a:moveTo>
                  <a:cubicBezTo>
                    <a:pt x="2219" y="222"/>
                    <a:pt x="2220" y="217"/>
                    <a:pt x="2219" y="213"/>
                  </a:cubicBezTo>
                  <a:cubicBezTo>
                    <a:pt x="2222" y="213"/>
                    <a:pt x="2225" y="213"/>
                    <a:pt x="2228" y="213"/>
                  </a:cubicBezTo>
                  <a:cubicBezTo>
                    <a:pt x="2231" y="221"/>
                    <a:pt x="2219" y="215"/>
                    <a:pt x="2222" y="223"/>
                  </a:cubicBezTo>
                  <a:close/>
                  <a:moveTo>
                    <a:pt x="2233" y="187"/>
                  </a:moveTo>
                  <a:cubicBezTo>
                    <a:pt x="2235" y="187"/>
                    <a:pt x="2236" y="187"/>
                    <a:pt x="2238" y="187"/>
                  </a:cubicBezTo>
                  <a:cubicBezTo>
                    <a:pt x="2240" y="192"/>
                    <a:pt x="2234" y="192"/>
                    <a:pt x="2230" y="192"/>
                  </a:cubicBezTo>
                  <a:cubicBezTo>
                    <a:pt x="2231" y="190"/>
                    <a:pt x="2233" y="190"/>
                    <a:pt x="2233" y="187"/>
                  </a:cubicBezTo>
                  <a:close/>
                  <a:moveTo>
                    <a:pt x="2236" y="225"/>
                  </a:moveTo>
                  <a:cubicBezTo>
                    <a:pt x="2234" y="223"/>
                    <a:pt x="2230" y="215"/>
                    <a:pt x="2230" y="208"/>
                  </a:cubicBezTo>
                  <a:cubicBezTo>
                    <a:pt x="2230" y="207"/>
                    <a:pt x="2235" y="207"/>
                    <a:pt x="2236" y="206"/>
                  </a:cubicBezTo>
                  <a:cubicBezTo>
                    <a:pt x="2237" y="205"/>
                    <a:pt x="2232" y="201"/>
                    <a:pt x="2236" y="199"/>
                  </a:cubicBezTo>
                  <a:cubicBezTo>
                    <a:pt x="2244" y="199"/>
                    <a:pt x="2230" y="217"/>
                    <a:pt x="2239" y="211"/>
                  </a:cubicBezTo>
                  <a:cubicBezTo>
                    <a:pt x="2247" y="214"/>
                    <a:pt x="2234" y="219"/>
                    <a:pt x="2236" y="225"/>
                  </a:cubicBezTo>
                  <a:close/>
                  <a:moveTo>
                    <a:pt x="2264" y="104"/>
                  </a:moveTo>
                  <a:cubicBezTo>
                    <a:pt x="2271" y="105"/>
                    <a:pt x="2267" y="115"/>
                    <a:pt x="2259" y="112"/>
                  </a:cubicBezTo>
                  <a:cubicBezTo>
                    <a:pt x="2261" y="109"/>
                    <a:pt x="2265" y="109"/>
                    <a:pt x="2264" y="104"/>
                  </a:cubicBezTo>
                  <a:close/>
                  <a:moveTo>
                    <a:pt x="2267" y="128"/>
                  </a:moveTo>
                  <a:cubicBezTo>
                    <a:pt x="2277" y="126"/>
                    <a:pt x="2268" y="138"/>
                    <a:pt x="2265" y="135"/>
                  </a:cubicBezTo>
                  <a:cubicBezTo>
                    <a:pt x="2265" y="135"/>
                    <a:pt x="2267" y="130"/>
                    <a:pt x="2267" y="130"/>
                  </a:cubicBezTo>
                  <a:cubicBezTo>
                    <a:pt x="2268" y="130"/>
                    <a:pt x="2267" y="128"/>
                    <a:pt x="2267" y="128"/>
                  </a:cubicBezTo>
                  <a:close/>
                  <a:moveTo>
                    <a:pt x="2265" y="121"/>
                  </a:moveTo>
                  <a:cubicBezTo>
                    <a:pt x="2266" y="120"/>
                    <a:pt x="2256" y="119"/>
                    <a:pt x="2256" y="119"/>
                  </a:cubicBezTo>
                  <a:cubicBezTo>
                    <a:pt x="2255" y="115"/>
                    <a:pt x="2271" y="115"/>
                    <a:pt x="2265" y="121"/>
                  </a:cubicBezTo>
                  <a:close/>
                  <a:moveTo>
                    <a:pt x="2243" y="135"/>
                  </a:moveTo>
                  <a:cubicBezTo>
                    <a:pt x="2245" y="134"/>
                    <a:pt x="2245" y="138"/>
                    <a:pt x="2246" y="138"/>
                  </a:cubicBezTo>
                  <a:cubicBezTo>
                    <a:pt x="2248" y="138"/>
                    <a:pt x="2248" y="135"/>
                    <a:pt x="2248" y="135"/>
                  </a:cubicBezTo>
                  <a:cubicBezTo>
                    <a:pt x="2252" y="135"/>
                    <a:pt x="2258" y="140"/>
                    <a:pt x="2259" y="135"/>
                  </a:cubicBezTo>
                  <a:cubicBezTo>
                    <a:pt x="2255" y="132"/>
                    <a:pt x="2259" y="134"/>
                    <a:pt x="2262" y="135"/>
                  </a:cubicBezTo>
                  <a:cubicBezTo>
                    <a:pt x="2261" y="135"/>
                    <a:pt x="2260" y="139"/>
                    <a:pt x="2259" y="140"/>
                  </a:cubicBezTo>
                  <a:cubicBezTo>
                    <a:pt x="2256" y="141"/>
                    <a:pt x="2255" y="137"/>
                    <a:pt x="2254" y="137"/>
                  </a:cubicBezTo>
                  <a:cubicBezTo>
                    <a:pt x="2249" y="138"/>
                    <a:pt x="2241" y="144"/>
                    <a:pt x="2243" y="135"/>
                  </a:cubicBezTo>
                  <a:close/>
                  <a:moveTo>
                    <a:pt x="2247" y="220"/>
                  </a:moveTo>
                  <a:cubicBezTo>
                    <a:pt x="2252" y="215"/>
                    <a:pt x="2247" y="217"/>
                    <a:pt x="2247" y="210"/>
                  </a:cubicBezTo>
                  <a:cubicBezTo>
                    <a:pt x="2256" y="210"/>
                    <a:pt x="2258" y="221"/>
                    <a:pt x="2247" y="220"/>
                  </a:cubicBezTo>
                  <a:close/>
                  <a:moveTo>
                    <a:pt x="2244" y="192"/>
                  </a:moveTo>
                  <a:cubicBezTo>
                    <a:pt x="2237" y="190"/>
                    <a:pt x="2252" y="187"/>
                    <a:pt x="2257" y="187"/>
                  </a:cubicBezTo>
                  <a:cubicBezTo>
                    <a:pt x="2255" y="190"/>
                    <a:pt x="2249" y="190"/>
                    <a:pt x="2244" y="192"/>
                  </a:cubicBezTo>
                  <a:close/>
                  <a:moveTo>
                    <a:pt x="2249" y="182"/>
                  </a:moveTo>
                  <a:cubicBezTo>
                    <a:pt x="2251" y="180"/>
                    <a:pt x="2252" y="178"/>
                    <a:pt x="2252" y="175"/>
                  </a:cubicBezTo>
                  <a:cubicBezTo>
                    <a:pt x="2255" y="175"/>
                    <a:pt x="2257" y="175"/>
                    <a:pt x="2260" y="175"/>
                  </a:cubicBezTo>
                  <a:cubicBezTo>
                    <a:pt x="2258" y="178"/>
                    <a:pt x="2256" y="183"/>
                    <a:pt x="2249" y="182"/>
                  </a:cubicBezTo>
                  <a:close/>
                  <a:moveTo>
                    <a:pt x="2261" y="227"/>
                  </a:moveTo>
                  <a:cubicBezTo>
                    <a:pt x="2261" y="221"/>
                    <a:pt x="2266" y="230"/>
                    <a:pt x="2272" y="226"/>
                  </a:cubicBezTo>
                  <a:cubicBezTo>
                    <a:pt x="2272" y="232"/>
                    <a:pt x="2263" y="227"/>
                    <a:pt x="2261" y="227"/>
                  </a:cubicBezTo>
                  <a:close/>
                  <a:moveTo>
                    <a:pt x="2269" y="234"/>
                  </a:moveTo>
                  <a:cubicBezTo>
                    <a:pt x="2281" y="234"/>
                    <a:pt x="2267" y="247"/>
                    <a:pt x="2269" y="234"/>
                  </a:cubicBezTo>
                  <a:close/>
                  <a:moveTo>
                    <a:pt x="2273" y="109"/>
                  </a:moveTo>
                  <a:cubicBezTo>
                    <a:pt x="2269" y="106"/>
                    <a:pt x="2266" y="97"/>
                    <a:pt x="2269" y="95"/>
                  </a:cubicBezTo>
                  <a:cubicBezTo>
                    <a:pt x="2273" y="98"/>
                    <a:pt x="2276" y="106"/>
                    <a:pt x="2273" y="109"/>
                  </a:cubicBezTo>
                  <a:close/>
                  <a:moveTo>
                    <a:pt x="2886" y="232"/>
                  </a:moveTo>
                  <a:cubicBezTo>
                    <a:pt x="2880" y="240"/>
                    <a:pt x="2873" y="226"/>
                    <a:pt x="2886" y="232"/>
                  </a:cubicBezTo>
                  <a:close/>
                  <a:moveTo>
                    <a:pt x="2865" y="263"/>
                  </a:moveTo>
                  <a:cubicBezTo>
                    <a:pt x="2870" y="263"/>
                    <a:pt x="2871" y="266"/>
                    <a:pt x="2876" y="265"/>
                  </a:cubicBezTo>
                  <a:cubicBezTo>
                    <a:pt x="2877" y="269"/>
                    <a:pt x="2861" y="270"/>
                    <a:pt x="2865" y="263"/>
                  </a:cubicBezTo>
                  <a:close/>
                  <a:moveTo>
                    <a:pt x="2865" y="230"/>
                  </a:moveTo>
                  <a:cubicBezTo>
                    <a:pt x="2876" y="227"/>
                    <a:pt x="2872" y="238"/>
                    <a:pt x="2878" y="239"/>
                  </a:cubicBezTo>
                  <a:cubicBezTo>
                    <a:pt x="2877" y="243"/>
                    <a:pt x="2872" y="241"/>
                    <a:pt x="2873" y="237"/>
                  </a:cubicBezTo>
                  <a:cubicBezTo>
                    <a:pt x="2865" y="239"/>
                    <a:pt x="2875" y="246"/>
                    <a:pt x="2879" y="246"/>
                  </a:cubicBezTo>
                  <a:cubicBezTo>
                    <a:pt x="2876" y="250"/>
                    <a:pt x="2877" y="256"/>
                    <a:pt x="2868" y="254"/>
                  </a:cubicBezTo>
                  <a:cubicBezTo>
                    <a:pt x="2866" y="252"/>
                    <a:pt x="2873" y="249"/>
                    <a:pt x="2873" y="249"/>
                  </a:cubicBezTo>
                  <a:cubicBezTo>
                    <a:pt x="2873" y="246"/>
                    <a:pt x="2869" y="248"/>
                    <a:pt x="2867" y="247"/>
                  </a:cubicBezTo>
                  <a:cubicBezTo>
                    <a:pt x="2867" y="246"/>
                    <a:pt x="2868" y="243"/>
                    <a:pt x="2867" y="242"/>
                  </a:cubicBezTo>
                  <a:cubicBezTo>
                    <a:pt x="2866" y="241"/>
                    <a:pt x="2863" y="237"/>
                    <a:pt x="2865" y="230"/>
                  </a:cubicBezTo>
                  <a:close/>
                  <a:moveTo>
                    <a:pt x="2862" y="247"/>
                  </a:moveTo>
                  <a:cubicBezTo>
                    <a:pt x="2860" y="251"/>
                    <a:pt x="2859" y="245"/>
                    <a:pt x="2859" y="242"/>
                  </a:cubicBezTo>
                  <a:cubicBezTo>
                    <a:pt x="2851" y="239"/>
                    <a:pt x="2866" y="240"/>
                    <a:pt x="2862" y="247"/>
                  </a:cubicBezTo>
                  <a:close/>
                  <a:moveTo>
                    <a:pt x="2869" y="193"/>
                  </a:moveTo>
                  <a:cubicBezTo>
                    <a:pt x="2871" y="190"/>
                    <a:pt x="2873" y="188"/>
                    <a:pt x="2869" y="188"/>
                  </a:cubicBezTo>
                  <a:cubicBezTo>
                    <a:pt x="2872" y="178"/>
                    <a:pt x="2881" y="196"/>
                    <a:pt x="2869" y="193"/>
                  </a:cubicBezTo>
                  <a:close/>
                  <a:moveTo>
                    <a:pt x="2872" y="160"/>
                  </a:moveTo>
                  <a:cubicBezTo>
                    <a:pt x="2866" y="156"/>
                    <a:pt x="2868" y="160"/>
                    <a:pt x="2861" y="160"/>
                  </a:cubicBezTo>
                  <a:cubicBezTo>
                    <a:pt x="2860" y="158"/>
                    <a:pt x="2862" y="158"/>
                    <a:pt x="2863" y="157"/>
                  </a:cubicBezTo>
                  <a:cubicBezTo>
                    <a:pt x="2863" y="155"/>
                    <a:pt x="2860" y="156"/>
                    <a:pt x="2858" y="155"/>
                  </a:cubicBezTo>
                  <a:cubicBezTo>
                    <a:pt x="2859" y="147"/>
                    <a:pt x="2872" y="152"/>
                    <a:pt x="2872" y="160"/>
                  </a:cubicBezTo>
                  <a:close/>
                  <a:moveTo>
                    <a:pt x="2705" y="221"/>
                  </a:moveTo>
                  <a:cubicBezTo>
                    <a:pt x="2707" y="221"/>
                    <a:pt x="2709" y="221"/>
                    <a:pt x="2711" y="221"/>
                  </a:cubicBezTo>
                  <a:cubicBezTo>
                    <a:pt x="2711" y="223"/>
                    <a:pt x="2711" y="224"/>
                    <a:pt x="2711" y="226"/>
                  </a:cubicBezTo>
                  <a:cubicBezTo>
                    <a:pt x="2709" y="226"/>
                    <a:pt x="2707" y="226"/>
                    <a:pt x="2705" y="226"/>
                  </a:cubicBezTo>
                  <a:cubicBezTo>
                    <a:pt x="2705" y="224"/>
                    <a:pt x="2705" y="223"/>
                    <a:pt x="2705" y="221"/>
                  </a:cubicBezTo>
                  <a:close/>
                  <a:moveTo>
                    <a:pt x="2714" y="245"/>
                  </a:moveTo>
                  <a:cubicBezTo>
                    <a:pt x="2718" y="236"/>
                    <a:pt x="2706" y="240"/>
                    <a:pt x="2708" y="233"/>
                  </a:cubicBezTo>
                  <a:cubicBezTo>
                    <a:pt x="2713" y="233"/>
                    <a:pt x="2714" y="230"/>
                    <a:pt x="2719" y="230"/>
                  </a:cubicBezTo>
                  <a:cubicBezTo>
                    <a:pt x="2725" y="236"/>
                    <a:pt x="2714" y="241"/>
                    <a:pt x="2725" y="242"/>
                  </a:cubicBezTo>
                  <a:cubicBezTo>
                    <a:pt x="2724" y="245"/>
                    <a:pt x="2718" y="244"/>
                    <a:pt x="2714" y="245"/>
                  </a:cubicBezTo>
                  <a:close/>
                  <a:moveTo>
                    <a:pt x="2727" y="237"/>
                  </a:moveTo>
                  <a:cubicBezTo>
                    <a:pt x="2730" y="232"/>
                    <a:pt x="2734" y="229"/>
                    <a:pt x="2733" y="221"/>
                  </a:cubicBezTo>
                  <a:cubicBezTo>
                    <a:pt x="2743" y="224"/>
                    <a:pt x="2734" y="228"/>
                    <a:pt x="2738" y="235"/>
                  </a:cubicBezTo>
                  <a:cubicBezTo>
                    <a:pt x="2733" y="235"/>
                    <a:pt x="2733" y="238"/>
                    <a:pt x="2727" y="237"/>
                  </a:cubicBezTo>
                  <a:close/>
                  <a:moveTo>
                    <a:pt x="2733" y="242"/>
                  </a:moveTo>
                  <a:cubicBezTo>
                    <a:pt x="2735" y="244"/>
                    <a:pt x="2739" y="244"/>
                    <a:pt x="2739" y="249"/>
                  </a:cubicBezTo>
                  <a:cubicBezTo>
                    <a:pt x="2731" y="250"/>
                    <a:pt x="2731" y="244"/>
                    <a:pt x="2730" y="240"/>
                  </a:cubicBezTo>
                  <a:cubicBezTo>
                    <a:pt x="2735" y="240"/>
                    <a:pt x="2736" y="237"/>
                    <a:pt x="2741" y="237"/>
                  </a:cubicBezTo>
                  <a:cubicBezTo>
                    <a:pt x="2743" y="242"/>
                    <a:pt x="2737" y="242"/>
                    <a:pt x="2733" y="242"/>
                  </a:cubicBezTo>
                  <a:close/>
                  <a:moveTo>
                    <a:pt x="2730" y="218"/>
                  </a:moveTo>
                  <a:cubicBezTo>
                    <a:pt x="2727" y="211"/>
                    <a:pt x="2747" y="206"/>
                    <a:pt x="2730" y="207"/>
                  </a:cubicBezTo>
                  <a:cubicBezTo>
                    <a:pt x="2729" y="198"/>
                    <a:pt x="2749" y="206"/>
                    <a:pt x="2751" y="199"/>
                  </a:cubicBezTo>
                  <a:cubicBezTo>
                    <a:pt x="2758" y="201"/>
                    <a:pt x="2748" y="208"/>
                    <a:pt x="2752" y="216"/>
                  </a:cubicBezTo>
                  <a:cubicBezTo>
                    <a:pt x="2746" y="217"/>
                    <a:pt x="2748" y="211"/>
                    <a:pt x="2743" y="211"/>
                  </a:cubicBezTo>
                  <a:cubicBezTo>
                    <a:pt x="2735" y="213"/>
                    <a:pt x="2750" y="215"/>
                    <a:pt x="2746" y="221"/>
                  </a:cubicBezTo>
                  <a:cubicBezTo>
                    <a:pt x="2741" y="218"/>
                    <a:pt x="2738" y="222"/>
                    <a:pt x="2730" y="218"/>
                  </a:cubicBezTo>
                  <a:close/>
                  <a:moveTo>
                    <a:pt x="2740" y="185"/>
                  </a:moveTo>
                  <a:cubicBezTo>
                    <a:pt x="2742" y="185"/>
                    <a:pt x="2744" y="185"/>
                    <a:pt x="2746" y="185"/>
                  </a:cubicBezTo>
                  <a:cubicBezTo>
                    <a:pt x="2746" y="187"/>
                    <a:pt x="2746" y="188"/>
                    <a:pt x="2746" y="190"/>
                  </a:cubicBezTo>
                  <a:cubicBezTo>
                    <a:pt x="2744" y="190"/>
                    <a:pt x="2742" y="190"/>
                    <a:pt x="2740" y="190"/>
                  </a:cubicBezTo>
                  <a:cubicBezTo>
                    <a:pt x="2740" y="189"/>
                    <a:pt x="2740" y="187"/>
                    <a:pt x="2740" y="185"/>
                  </a:cubicBezTo>
                  <a:close/>
                  <a:moveTo>
                    <a:pt x="2755" y="242"/>
                  </a:moveTo>
                  <a:cubicBezTo>
                    <a:pt x="2751" y="242"/>
                    <a:pt x="2748" y="242"/>
                    <a:pt x="2744" y="242"/>
                  </a:cubicBezTo>
                  <a:cubicBezTo>
                    <a:pt x="2743" y="237"/>
                    <a:pt x="2751" y="238"/>
                    <a:pt x="2749" y="239"/>
                  </a:cubicBezTo>
                  <a:cubicBezTo>
                    <a:pt x="2755" y="235"/>
                    <a:pt x="2752" y="229"/>
                    <a:pt x="2763" y="230"/>
                  </a:cubicBezTo>
                  <a:cubicBezTo>
                    <a:pt x="2766" y="238"/>
                    <a:pt x="2750" y="231"/>
                    <a:pt x="2755" y="242"/>
                  </a:cubicBezTo>
                  <a:close/>
                  <a:moveTo>
                    <a:pt x="2763" y="248"/>
                  </a:moveTo>
                  <a:cubicBezTo>
                    <a:pt x="2760" y="248"/>
                    <a:pt x="2761" y="244"/>
                    <a:pt x="2760" y="241"/>
                  </a:cubicBezTo>
                  <a:cubicBezTo>
                    <a:pt x="2763" y="241"/>
                    <a:pt x="2766" y="241"/>
                    <a:pt x="2769" y="241"/>
                  </a:cubicBezTo>
                  <a:cubicBezTo>
                    <a:pt x="2768" y="244"/>
                    <a:pt x="2764" y="245"/>
                    <a:pt x="2763" y="248"/>
                  </a:cubicBezTo>
                  <a:close/>
                  <a:moveTo>
                    <a:pt x="2771" y="222"/>
                  </a:moveTo>
                  <a:cubicBezTo>
                    <a:pt x="2784" y="224"/>
                    <a:pt x="2769" y="237"/>
                    <a:pt x="2771" y="222"/>
                  </a:cubicBezTo>
                  <a:close/>
                  <a:moveTo>
                    <a:pt x="2777" y="262"/>
                  </a:moveTo>
                  <a:cubicBezTo>
                    <a:pt x="2771" y="261"/>
                    <a:pt x="2775" y="250"/>
                    <a:pt x="2777" y="248"/>
                  </a:cubicBezTo>
                  <a:cubicBezTo>
                    <a:pt x="2783" y="249"/>
                    <a:pt x="2779" y="261"/>
                    <a:pt x="2777" y="262"/>
                  </a:cubicBezTo>
                  <a:close/>
                  <a:moveTo>
                    <a:pt x="2782" y="236"/>
                  </a:moveTo>
                  <a:cubicBezTo>
                    <a:pt x="2781" y="236"/>
                    <a:pt x="2779" y="236"/>
                    <a:pt x="2777" y="237"/>
                  </a:cubicBezTo>
                  <a:cubicBezTo>
                    <a:pt x="2777" y="234"/>
                    <a:pt x="2776" y="234"/>
                    <a:pt x="2774" y="234"/>
                  </a:cubicBezTo>
                  <a:cubicBezTo>
                    <a:pt x="2773" y="230"/>
                    <a:pt x="2786" y="231"/>
                    <a:pt x="2782" y="236"/>
                  </a:cubicBezTo>
                  <a:close/>
                  <a:moveTo>
                    <a:pt x="2794" y="269"/>
                  </a:moveTo>
                  <a:cubicBezTo>
                    <a:pt x="2794" y="268"/>
                    <a:pt x="2794" y="266"/>
                    <a:pt x="2794" y="264"/>
                  </a:cubicBezTo>
                  <a:cubicBezTo>
                    <a:pt x="2796" y="264"/>
                    <a:pt x="2797" y="264"/>
                    <a:pt x="2799" y="264"/>
                  </a:cubicBezTo>
                  <a:cubicBezTo>
                    <a:pt x="2799" y="266"/>
                    <a:pt x="2799" y="267"/>
                    <a:pt x="2799" y="269"/>
                  </a:cubicBezTo>
                  <a:cubicBezTo>
                    <a:pt x="2798" y="269"/>
                    <a:pt x="2796" y="269"/>
                    <a:pt x="2794" y="269"/>
                  </a:cubicBezTo>
                  <a:close/>
                  <a:moveTo>
                    <a:pt x="2807" y="259"/>
                  </a:moveTo>
                  <a:cubicBezTo>
                    <a:pt x="2804" y="256"/>
                    <a:pt x="2796" y="257"/>
                    <a:pt x="2796" y="250"/>
                  </a:cubicBezTo>
                  <a:cubicBezTo>
                    <a:pt x="2804" y="253"/>
                    <a:pt x="2809" y="244"/>
                    <a:pt x="2799" y="245"/>
                  </a:cubicBezTo>
                  <a:cubicBezTo>
                    <a:pt x="2799" y="242"/>
                    <a:pt x="2806" y="238"/>
                    <a:pt x="2804" y="245"/>
                  </a:cubicBezTo>
                  <a:cubicBezTo>
                    <a:pt x="2808" y="245"/>
                    <a:pt x="2809" y="246"/>
                    <a:pt x="2810" y="248"/>
                  </a:cubicBezTo>
                  <a:cubicBezTo>
                    <a:pt x="2819" y="247"/>
                    <a:pt x="2802" y="239"/>
                    <a:pt x="2815" y="241"/>
                  </a:cubicBezTo>
                  <a:cubicBezTo>
                    <a:pt x="2815" y="245"/>
                    <a:pt x="2815" y="250"/>
                    <a:pt x="2816" y="255"/>
                  </a:cubicBezTo>
                  <a:cubicBezTo>
                    <a:pt x="2810" y="254"/>
                    <a:pt x="2807" y="255"/>
                    <a:pt x="2807" y="259"/>
                  </a:cubicBezTo>
                  <a:close/>
                  <a:moveTo>
                    <a:pt x="2810" y="231"/>
                  </a:moveTo>
                  <a:cubicBezTo>
                    <a:pt x="2809" y="234"/>
                    <a:pt x="2806" y="236"/>
                    <a:pt x="2801" y="236"/>
                  </a:cubicBezTo>
                  <a:cubicBezTo>
                    <a:pt x="2800" y="231"/>
                    <a:pt x="2805" y="232"/>
                    <a:pt x="2810" y="231"/>
                  </a:cubicBezTo>
                  <a:close/>
                  <a:moveTo>
                    <a:pt x="2824" y="259"/>
                  </a:moveTo>
                  <a:cubicBezTo>
                    <a:pt x="2834" y="255"/>
                    <a:pt x="2826" y="267"/>
                    <a:pt x="2832" y="266"/>
                  </a:cubicBezTo>
                  <a:cubicBezTo>
                    <a:pt x="2830" y="272"/>
                    <a:pt x="2821" y="265"/>
                    <a:pt x="2824" y="259"/>
                  </a:cubicBezTo>
                  <a:close/>
                  <a:moveTo>
                    <a:pt x="2838" y="268"/>
                  </a:moveTo>
                  <a:cubicBezTo>
                    <a:pt x="2838" y="267"/>
                    <a:pt x="2838" y="265"/>
                    <a:pt x="2838" y="264"/>
                  </a:cubicBezTo>
                  <a:cubicBezTo>
                    <a:pt x="2840" y="264"/>
                    <a:pt x="2841" y="264"/>
                    <a:pt x="2843" y="264"/>
                  </a:cubicBezTo>
                  <a:cubicBezTo>
                    <a:pt x="2843" y="265"/>
                    <a:pt x="2843" y="267"/>
                    <a:pt x="2843" y="268"/>
                  </a:cubicBezTo>
                  <a:cubicBezTo>
                    <a:pt x="2841" y="268"/>
                    <a:pt x="2840" y="268"/>
                    <a:pt x="2838" y="268"/>
                  </a:cubicBezTo>
                  <a:close/>
                  <a:moveTo>
                    <a:pt x="2833" y="163"/>
                  </a:moveTo>
                  <a:cubicBezTo>
                    <a:pt x="2839" y="163"/>
                    <a:pt x="2835" y="173"/>
                    <a:pt x="2836" y="177"/>
                  </a:cubicBezTo>
                  <a:cubicBezTo>
                    <a:pt x="2840" y="176"/>
                    <a:pt x="2838" y="171"/>
                    <a:pt x="2839" y="167"/>
                  </a:cubicBezTo>
                  <a:cubicBezTo>
                    <a:pt x="2849" y="167"/>
                    <a:pt x="2846" y="180"/>
                    <a:pt x="2850" y="186"/>
                  </a:cubicBezTo>
                  <a:cubicBezTo>
                    <a:pt x="2845" y="186"/>
                    <a:pt x="2847" y="192"/>
                    <a:pt x="2839" y="191"/>
                  </a:cubicBezTo>
                  <a:cubicBezTo>
                    <a:pt x="2838" y="181"/>
                    <a:pt x="2852" y="178"/>
                    <a:pt x="2833" y="179"/>
                  </a:cubicBezTo>
                  <a:cubicBezTo>
                    <a:pt x="2836" y="171"/>
                    <a:pt x="2827" y="168"/>
                    <a:pt x="2833" y="163"/>
                  </a:cubicBezTo>
                  <a:close/>
                  <a:moveTo>
                    <a:pt x="2850" y="198"/>
                  </a:moveTo>
                  <a:cubicBezTo>
                    <a:pt x="2847" y="202"/>
                    <a:pt x="2834" y="210"/>
                    <a:pt x="2834" y="198"/>
                  </a:cubicBezTo>
                  <a:cubicBezTo>
                    <a:pt x="2843" y="200"/>
                    <a:pt x="2845" y="193"/>
                    <a:pt x="2850" y="198"/>
                  </a:cubicBezTo>
                  <a:close/>
                  <a:moveTo>
                    <a:pt x="2836" y="191"/>
                  </a:moveTo>
                  <a:cubicBezTo>
                    <a:pt x="2834" y="190"/>
                    <a:pt x="2834" y="192"/>
                    <a:pt x="2834" y="193"/>
                  </a:cubicBezTo>
                  <a:cubicBezTo>
                    <a:pt x="2830" y="193"/>
                    <a:pt x="2831" y="189"/>
                    <a:pt x="2831" y="186"/>
                  </a:cubicBezTo>
                  <a:cubicBezTo>
                    <a:pt x="2835" y="185"/>
                    <a:pt x="2836" y="188"/>
                    <a:pt x="2836" y="191"/>
                  </a:cubicBezTo>
                  <a:close/>
                  <a:moveTo>
                    <a:pt x="2825" y="175"/>
                  </a:moveTo>
                  <a:cubicBezTo>
                    <a:pt x="2831" y="176"/>
                    <a:pt x="2831" y="178"/>
                    <a:pt x="2828" y="182"/>
                  </a:cubicBezTo>
                  <a:cubicBezTo>
                    <a:pt x="2826" y="182"/>
                    <a:pt x="2824" y="182"/>
                    <a:pt x="2822" y="182"/>
                  </a:cubicBezTo>
                  <a:cubicBezTo>
                    <a:pt x="2822" y="178"/>
                    <a:pt x="2825" y="178"/>
                    <a:pt x="2825" y="175"/>
                  </a:cubicBezTo>
                  <a:close/>
                  <a:moveTo>
                    <a:pt x="2812" y="184"/>
                  </a:moveTo>
                  <a:cubicBezTo>
                    <a:pt x="2823" y="185"/>
                    <a:pt x="2812" y="190"/>
                    <a:pt x="2817" y="196"/>
                  </a:cubicBezTo>
                  <a:cubicBezTo>
                    <a:pt x="2808" y="198"/>
                    <a:pt x="2813" y="189"/>
                    <a:pt x="2812" y="184"/>
                  </a:cubicBezTo>
                  <a:close/>
                  <a:moveTo>
                    <a:pt x="2801" y="182"/>
                  </a:moveTo>
                  <a:cubicBezTo>
                    <a:pt x="2802" y="182"/>
                    <a:pt x="2804" y="182"/>
                    <a:pt x="2806" y="182"/>
                  </a:cubicBezTo>
                  <a:cubicBezTo>
                    <a:pt x="2806" y="184"/>
                    <a:pt x="2807" y="184"/>
                    <a:pt x="2809" y="184"/>
                  </a:cubicBezTo>
                  <a:cubicBezTo>
                    <a:pt x="2809" y="187"/>
                    <a:pt x="2805" y="186"/>
                    <a:pt x="2803" y="187"/>
                  </a:cubicBezTo>
                  <a:cubicBezTo>
                    <a:pt x="2805" y="189"/>
                    <a:pt x="2806" y="190"/>
                    <a:pt x="2806" y="194"/>
                  </a:cubicBezTo>
                  <a:cubicBezTo>
                    <a:pt x="2795" y="194"/>
                    <a:pt x="2799" y="188"/>
                    <a:pt x="2801" y="182"/>
                  </a:cubicBezTo>
                  <a:close/>
                  <a:moveTo>
                    <a:pt x="2801" y="215"/>
                  </a:moveTo>
                  <a:cubicBezTo>
                    <a:pt x="2811" y="212"/>
                    <a:pt x="2811" y="209"/>
                    <a:pt x="2820" y="215"/>
                  </a:cubicBezTo>
                  <a:cubicBezTo>
                    <a:pt x="2823" y="214"/>
                    <a:pt x="2822" y="212"/>
                    <a:pt x="2823" y="210"/>
                  </a:cubicBezTo>
                  <a:cubicBezTo>
                    <a:pt x="2822" y="208"/>
                    <a:pt x="2811" y="204"/>
                    <a:pt x="2812" y="208"/>
                  </a:cubicBezTo>
                  <a:cubicBezTo>
                    <a:pt x="2803" y="206"/>
                    <a:pt x="2815" y="203"/>
                    <a:pt x="2815" y="201"/>
                  </a:cubicBezTo>
                  <a:cubicBezTo>
                    <a:pt x="2815" y="197"/>
                    <a:pt x="2827" y="197"/>
                    <a:pt x="2831" y="198"/>
                  </a:cubicBezTo>
                  <a:cubicBezTo>
                    <a:pt x="2830" y="200"/>
                    <a:pt x="2826" y="200"/>
                    <a:pt x="2826" y="203"/>
                  </a:cubicBezTo>
                  <a:cubicBezTo>
                    <a:pt x="2825" y="206"/>
                    <a:pt x="2831" y="204"/>
                    <a:pt x="2831" y="205"/>
                  </a:cubicBezTo>
                  <a:cubicBezTo>
                    <a:pt x="2832" y="206"/>
                    <a:pt x="2825" y="218"/>
                    <a:pt x="2840" y="214"/>
                  </a:cubicBezTo>
                  <a:cubicBezTo>
                    <a:pt x="2843" y="212"/>
                    <a:pt x="2844" y="207"/>
                    <a:pt x="2853" y="209"/>
                  </a:cubicBezTo>
                  <a:cubicBezTo>
                    <a:pt x="2846" y="218"/>
                    <a:pt x="2842" y="225"/>
                    <a:pt x="2845" y="238"/>
                  </a:cubicBezTo>
                  <a:cubicBezTo>
                    <a:pt x="2842" y="238"/>
                    <a:pt x="2838" y="238"/>
                    <a:pt x="2834" y="238"/>
                  </a:cubicBezTo>
                  <a:cubicBezTo>
                    <a:pt x="2835" y="235"/>
                    <a:pt x="2839" y="236"/>
                    <a:pt x="2843" y="235"/>
                  </a:cubicBezTo>
                  <a:cubicBezTo>
                    <a:pt x="2844" y="230"/>
                    <a:pt x="2837" y="232"/>
                    <a:pt x="2837" y="228"/>
                  </a:cubicBezTo>
                  <a:cubicBezTo>
                    <a:pt x="2835" y="223"/>
                    <a:pt x="2841" y="225"/>
                    <a:pt x="2842" y="224"/>
                  </a:cubicBezTo>
                  <a:cubicBezTo>
                    <a:pt x="2844" y="222"/>
                    <a:pt x="2842" y="218"/>
                    <a:pt x="2845" y="219"/>
                  </a:cubicBezTo>
                  <a:cubicBezTo>
                    <a:pt x="2844" y="215"/>
                    <a:pt x="2842" y="220"/>
                    <a:pt x="2837" y="219"/>
                  </a:cubicBezTo>
                  <a:cubicBezTo>
                    <a:pt x="2838" y="215"/>
                    <a:pt x="2821" y="215"/>
                    <a:pt x="2826" y="222"/>
                  </a:cubicBezTo>
                  <a:cubicBezTo>
                    <a:pt x="2820" y="218"/>
                    <a:pt x="2816" y="223"/>
                    <a:pt x="2812" y="222"/>
                  </a:cubicBezTo>
                  <a:cubicBezTo>
                    <a:pt x="2811" y="221"/>
                    <a:pt x="2813" y="216"/>
                    <a:pt x="2809" y="217"/>
                  </a:cubicBezTo>
                  <a:cubicBezTo>
                    <a:pt x="2806" y="218"/>
                    <a:pt x="2807" y="221"/>
                    <a:pt x="2807" y="224"/>
                  </a:cubicBezTo>
                  <a:cubicBezTo>
                    <a:pt x="2800" y="225"/>
                    <a:pt x="2804" y="217"/>
                    <a:pt x="2798" y="217"/>
                  </a:cubicBezTo>
                  <a:cubicBezTo>
                    <a:pt x="2788" y="223"/>
                    <a:pt x="2807" y="240"/>
                    <a:pt x="2791" y="239"/>
                  </a:cubicBezTo>
                  <a:cubicBezTo>
                    <a:pt x="2791" y="237"/>
                    <a:pt x="2787" y="236"/>
                    <a:pt x="2788" y="234"/>
                  </a:cubicBezTo>
                  <a:cubicBezTo>
                    <a:pt x="2788" y="233"/>
                    <a:pt x="2793" y="232"/>
                    <a:pt x="2793" y="231"/>
                  </a:cubicBezTo>
                  <a:cubicBezTo>
                    <a:pt x="2793" y="227"/>
                    <a:pt x="2787" y="225"/>
                    <a:pt x="2790" y="217"/>
                  </a:cubicBezTo>
                  <a:cubicBezTo>
                    <a:pt x="2788" y="219"/>
                    <a:pt x="2783" y="219"/>
                    <a:pt x="2782" y="222"/>
                  </a:cubicBezTo>
                  <a:cubicBezTo>
                    <a:pt x="2777" y="220"/>
                    <a:pt x="2776" y="213"/>
                    <a:pt x="2771" y="211"/>
                  </a:cubicBezTo>
                  <a:cubicBezTo>
                    <a:pt x="2773" y="206"/>
                    <a:pt x="2776" y="210"/>
                    <a:pt x="2779" y="211"/>
                  </a:cubicBezTo>
                  <a:cubicBezTo>
                    <a:pt x="2776" y="203"/>
                    <a:pt x="2777" y="201"/>
                    <a:pt x="2782" y="196"/>
                  </a:cubicBezTo>
                  <a:cubicBezTo>
                    <a:pt x="2789" y="200"/>
                    <a:pt x="2782" y="211"/>
                    <a:pt x="2779" y="213"/>
                  </a:cubicBezTo>
                  <a:cubicBezTo>
                    <a:pt x="2780" y="219"/>
                    <a:pt x="2801" y="204"/>
                    <a:pt x="2793" y="215"/>
                  </a:cubicBezTo>
                  <a:cubicBezTo>
                    <a:pt x="2795" y="214"/>
                    <a:pt x="2798" y="213"/>
                    <a:pt x="2798" y="210"/>
                  </a:cubicBezTo>
                  <a:cubicBezTo>
                    <a:pt x="2798" y="208"/>
                    <a:pt x="2793" y="208"/>
                    <a:pt x="2790" y="208"/>
                  </a:cubicBezTo>
                  <a:cubicBezTo>
                    <a:pt x="2790" y="204"/>
                    <a:pt x="2790" y="200"/>
                    <a:pt x="2790" y="196"/>
                  </a:cubicBezTo>
                  <a:cubicBezTo>
                    <a:pt x="2807" y="195"/>
                    <a:pt x="2808" y="206"/>
                    <a:pt x="2801" y="215"/>
                  </a:cubicBezTo>
                  <a:close/>
                  <a:moveTo>
                    <a:pt x="2781" y="180"/>
                  </a:moveTo>
                  <a:cubicBezTo>
                    <a:pt x="2794" y="180"/>
                    <a:pt x="2782" y="188"/>
                    <a:pt x="2784" y="194"/>
                  </a:cubicBezTo>
                  <a:cubicBezTo>
                    <a:pt x="2778" y="194"/>
                    <a:pt x="2783" y="184"/>
                    <a:pt x="2781" y="180"/>
                  </a:cubicBezTo>
                  <a:close/>
                  <a:moveTo>
                    <a:pt x="2797" y="159"/>
                  </a:moveTo>
                  <a:cubicBezTo>
                    <a:pt x="2802" y="154"/>
                    <a:pt x="2797" y="156"/>
                    <a:pt x="2797" y="149"/>
                  </a:cubicBezTo>
                  <a:cubicBezTo>
                    <a:pt x="2803" y="148"/>
                    <a:pt x="2807" y="161"/>
                    <a:pt x="2797" y="159"/>
                  </a:cubicBezTo>
                  <a:close/>
                  <a:moveTo>
                    <a:pt x="2792" y="177"/>
                  </a:moveTo>
                  <a:cubicBezTo>
                    <a:pt x="2805" y="179"/>
                    <a:pt x="2790" y="192"/>
                    <a:pt x="2792" y="177"/>
                  </a:cubicBezTo>
                  <a:close/>
                  <a:moveTo>
                    <a:pt x="2784" y="149"/>
                  </a:moveTo>
                  <a:cubicBezTo>
                    <a:pt x="2786" y="149"/>
                    <a:pt x="2786" y="152"/>
                    <a:pt x="2786" y="154"/>
                  </a:cubicBezTo>
                  <a:cubicBezTo>
                    <a:pt x="2790" y="154"/>
                    <a:pt x="2791" y="153"/>
                    <a:pt x="2792" y="152"/>
                  </a:cubicBezTo>
                  <a:cubicBezTo>
                    <a:pt x="2802" y="156"/>
                    <a:pt x="2784" y="157"/>
                    <a:pt x="2778" y="157"/>
                  </a:cubicBezTo>
                  <a:cubicBezTo>
                    <a:pt x="2779" y="153"/>
                    <a:pt x="2783" y="153"/>
                    <a:pt x="2784" y="149"/>
                  </a:cubicBezTo>
                  <a:close/>
                  <a:moveTo>
                    <a:pt x="2776" y="166"/>
                  </a:moveTo>
                  <a:cubicBezTo>
                    <a:pt x="2779" y="167"/>
                    <a:pt x="2778" y="171"/>
                    <a:pt x="2781" y="171"/>
                  </a:cubicBezTo>
                  <a:cubicBezTo>
                    <a:pt x="2780" y="177"/>
                    <a:pt x="2772" y="171"/>
                    <a:pt x="2776" y="166"/>
                  </a:cubicBezTo>
                  <a:close/>
                  <a:moveTo>
                    <a:pt x="2770" y="175"/>
                  </a:moveTo>
                  <a:cubicBezTo>
                    <a:pt x="2770" y="178"/>
                    <a:pt x="2774" y="177"/>
                    <a:pt x="2776" y="178"/>
                  </a:cubicBezTo>
                  <a:cubicBezTo>
                    <a:pt x="2774" y="181"/>
                    <a:pt x="2779" y="190"/>
                    <a:pt x="2773" y="190"/>
                  </a:cubicBezTo>
                  <a:cubicBezTo>
                    <a:pt x="2773" y="203"/>
                    <a:pt x="2772" y="201"/>
                    <a:pt x="2768" y="211"/>
                  </a:cubicBezTo>
                  <a:cubicBezTo>
                    <a:pt x="2769" y="213"/>
                    <a:pt x="2771" y="215"/>
                    <a:pt x="2774" y="215"/>
                  </a:cubicBezTo>
                  <a:cubicBezTo>
                    <a:pt x="2773" y="218"/>
                    <a:pt x="2768" y="217"/>
                    <a:pt x="2768" y="220"/>
                  </a:cubicBezTo>
                  <a:cubicBezTo>
                    <a:pt x="2764" y="220"/>
                    <a:pt x="2767" y="213"/>
                    <a:pt x="2763" y="213"/>
                  </a:cubicBezTo>
                  <a:cubicBezTo>
                    <a:pt x="2753" y="215"/>
                    <a:pt x="2764" y="220"/>
                    <a:pt x="2757" y="225"/>
                  </a:cubicBezTo>
                  <a:cubicBezTo>
                    <a:pt x="2755" y="224"/>
                    <a:pt x="2752" y="223"/>
                    <a:pt x="2752" y="220"/>
                  </a:cubicBezTo>
                  <a:cubicBezTo>
                    <a:pt x="2752" y="218"/>
                    <a:pt x="2757" y="217"/>
                    <a:pt x="2757" y="216"/>
                  </a:cubicBezTo>
                  <a:cubicBezTo>
                    <a:pt x="2759" y="209"/>
                    <a:pt x="2756" y="199"/>
                    <a:pt x="2768" y="201"/>
                  </a:cubicBezTo>
                  <a:cubicBezTo>
                    <a:pt x="2762" y="195"/>
                    <a:pt x="2768" y="193"/>
                    <a:pt x="2768" y="183"/>
                  </a:cubicBezTo>
                  <a:cubicBezTo>
                    <a:pt x="2768" y="182"/>
                    <a:pt x="2768" y="178"/>
                    <a:pt x="2768" y="178"/>
                  </a:cubicBezTo>
                  <a:cubicBezTo>
                    <a:pt x="2767" y="178"/>
                    <a:pt x="2765" y="178"/>
                    <a:pt x="2765" y="178"/>
                  </a:cubicBezTo>
                  <a:cubicBezTo>
                    <a:pt x="2765" y="177"/>
                    <a:pt x="2767" y="175"/>
                    <a:pt x="2768" y="176"/>
                  </a:cubicBezTo>
                  <a:cubicBezTo>
                    <a:pt x="2767" y="174"/>
                    <a:pt x="2762" y="171"/>
                    <a:pt x="2762" y="171"/>
                  </a:cubicBezTo>
                  <a:cubicBezTo>
                    <a:pt x="2761" y="167"/>
                    <a:pt x="2764" y="167"/>
                    <a:pt x="2765" y="164"/>
                  </a:cubicBezTo>
                  <a:cubicBezTo>
                    <a:pt x="2765" y="159"/>
                    <a:pt x="2762" y="157"/>
                    <a:pt x="2762" y="152"/>
                  </a:cubicBezTo>
                  <a:cubicBezTo>
                    <a:pt x="2775" y="151"/>
                    <a:pt x="2768" y="167"/>
                    <a:pt x="2770" y="175"/>
                  </a:cubicBezTo>
                  <a:close/>
                  <a:moveTo>
                    <a:pt x="2757" y="185"/>
                  </a:moveTo>
                  <a:cubicBezTo>
                    <a:pt x="2768" y="184"/>
                    <a:pt x="2759" y="193"/>
                    <a:pt x="2760" y="197"/>
                  </a:cubicBezTo>
                  <a:cubicBezTo>
                    <a:pt x="2754" y="197"/>
                    <a:pt x="2758" y="189"/>
                    <a:pt x="2757" y="185"/>
                  </a:cubicBezTo>
                  <a:close/>
                  <a:moveTo>
                    <a:pt x="2734" y="153"/>
                  </a:moveTo>
                  <a:cubicBezTo>
                    <a:pt x="2748" y="151"/>
                    <a:pt x="2748" y="152"/>
                    <a:pt x="2759" y="150"/>
                  </a:cubicBezTo>
                  <a:cubicBezTo>
                    <a:pt x="2757" y="157"/>
                    <a:pt x="2761" y="159"/>
                    <a:pt x="2759" y="164"/>
                  </a:cubicBezTo>
                  <a:cubicBezTo>
                    <a:pt x="2759" y="164"/>
                    <a:pt x="2755" y="161"/>
                    <a:pt x="2754" y="162"/>
                  </a:cubicBezTo>
                  <a:cubicBezTo>
                    <a:pt x="2752" y="162"/>
                    <a:pt x="2749" y="168"/>
                    <a:pt x="2756" y="169"/>
                  </a:cubicBezTo>
                  <a:cubicBezTo>
                    <a:pt x="2754" y="171"/>
                    <a:pt x="2739" y="181"/>
                    <a:pt x="2751" y="181"/>
                  </a:cubicBezTo>
                  <a:cubicBezTo>
                    <a:pt x="2761" y="181"/>
                    <a:pt x="2743" y="187"/>
                    <a:pt x="2746" y="181"/>
                  </a:cubicBezTo>
                  <a:cubicBezTo>
                    <a:pt x="2739" y="181"/>
                    <a:pt x="2737" y="185"/>
                    <a:pt x="2732" y="181"/>
                  </a:cubicBezTo>
                  <a:cubicBezTo>
                    <a:pt x="2734" y="177"/>
                    <a:pt x="2741" y="177"/>
                    <a:pt x="2746" y="176"/>
                  </a:cubicBezTo>
                  <a:cubicBezTo>
                    <a:pt x="2743" y="172"/>
                    <a:pt x="2754" y="168"/>
                    <a:pt x="2745" y="166"/>
                  </a:cubicBezTo>
                  <a:cubicBezTo>
                    <a:pt x="2748" y="164"/>
                    <a:pt x="2751" y="162"/>
                    <a:pt x="2754" y="159"/>
                  </a:cubicBezTo>
                  <a:cubicBezTo>
                    <a:pt x="2751" y="151"/>
                    <a:pt x="2737" y="166"/>
                    <a:pt x="2740" y="155"/>
                  </a:cubicBezTo>
                  <a:cubicBezTo>
                    <a:pt x="2736" y="156"/>
                    <a:pt x="2733" y="159"/>
                    <a:pt x="2732" y="162"/>
                  </a:cubicBezTo>
                  <a:cubicBezTo>
                    <a:pt x="2723" y="160"/>
                    <a:pt x="2735" y="156"/>
                    <a:pt x="2734" y="153"/>
                  </a:cubicBezTo>
                  <a:close/>
                  <a:moveTo>
                    <a:pt x="2724" y="169"/>
                  </a:moveTo>
                  <a:cubicBezTo>
                    <a:pt x="2728" y="170"/>
                    <a:pt x="2729" y="167"/>
                    <a:pt x="2729" y="164"/>
                  </a:cubicBezTo>
                  <a:cubicBezTo>
                    <a:pt x="2734" y="165"/>
                    <a:pt x="2735" y="161"/>
                    <a:pt x="2740" y="162"/>
                  </a:cubicBezTo>
                  <a:cubicBezTo>
                    <a:pt x="2739" y="165"/>
                    <a:pt x="2741" y="166"/>
                    <a:pt x="2743" y="167"/>
                  </a:cubicBezTo>
                  <a:cubicBezTo>
                    <a:pt x="2740" y="170"/>
                    <a:pt x="2735" y="173"/>
                    <a:pt x="2732" y="176"/>
                  </a:cubicBezTo>
                  <a:cubicBezTo>
                    <a:pt x="2729" y="177"/>
                    <a:pt x="2730" y="172"/>
                    <a:pt x="2729" y="171"/>
                  </a:cubicBezTo>
                  <a:cubicBezTo>
                    <a:pt x="2725" y="170"/>
                    <a:pt x="2721" y="176"/>
                    <a:pt x="2715" y="172"/>
                  </a:cubicBezTo>
                  <a:cubicBezTo>
                    <a:pt x="2708" y="172"/>
                    <a:pt x="2719" y="176"/>
                    <a:pt x="2716" y="181"/>
                  </a:cubicBezTo>
                  <a:cubicBezTo>
                    <a:pt x="2705" y="180"/>
                    <a:pt x="2718" y="171"/>
                    <a:pt x="2704" y="172"/>
                  </a:cubicBezTo>
                  <a:cubicBezTo>
                    <a:pt x="2711" y="167"/>
                    <a:pt x="2699" y="160"/>
                    <a:pt x="2712" y="160"/>
                  </a:cubicBezTo>
                  <a:cubicBezTo>
                    <a:pt x="2711" y="166"/>
                    <a:pt x="2708" y="169"/>
                    <a:pt x="2718" y="169"/>
                  </a:cubicBezTo>
                  <a:cubicBezTo>
                    <a:pt x="2722" y="169"/>
                    <a:pt x="2722" y="149"/>
                    <a:pt x="2724" y="169"/>
                  </a:cubicBezTo>
                  <a:close/>
                  <a:moveTo>
                    <a:pt x="2701" y="151"/>
                  </a:moveTo>
                  <a:cubicBezTo>
                    <a:pt x="2704" y="148"/>
                    <a:pt x="2711" y="148"/>
                    <a:pt x="2718" y="148"/>
                  </a:cubicBezTo>
                  <a:cubicBezTo>
                    <a:pt x="2722" y="156"/>
                    <a:pt x="2700" y="160"/>
                    <a:pt x="2701" y="151"/>
                  </a:cubicBezTo>
                  <a:close/>
                  <a:moveTo>
                    <a:pt x="2699" y="203"/>
                  </a:moveTo>
                  <a:cubicBezTo>
                    <a:pt x="2699" y="198"/>
                    <a:pt x="2704" y="198"/>
                    <a:pt x="2705" y="193"/>
                  </a:cubicBezTo>
                  <a:cubicBezTo>
                    <a:pt x="2706" y="187"/>
                    <a:pt x="2702" y="187"/>
                    <a:pt x="2702" y="181"/>
                  </a:cubicBezTo>
                  <a:cubicBezTo>
                    <a:pt x="2717" y="180"/>
                    <a:pt x="2702" y="192"/>
                    <a:pt x="2710" y="195"/>
                  </a:cubicBezTo>
                  <a:cubicBezTo>
                    <a:pt x="2713" y="195"/>
                    <a:pt x="2712" y="193"/>
                    <a:pt x="2710" y="193"/>
                  </a:cubicBezTo>
                  <a:cubicBezTo>
                    <a:pt x="2712" y="190"/>
                    <a:pt x="2716" y="189"/>
                    <a:pt x="2721" y="188"/>
                  </a:cubicBezTo>
                  <a:cubicBezTo>
                    <a:pt x="2722" y="184"/>
                    <a:pt x="2718" y="176"/>
                    <a:pt x="2726" y="179"/>
                  </a:cubicBezTo>
                  <a:cubicBezTo>
                    <a:pt x="2723" y="186"/>
                    <a:pt x="2728" y="187"/>
                    <a:pt x="2727" y="197"/>
                  </a:cubicBezTo>
                  <a:cubicBezTo>
                    <a:pt x="2724" y="196"/>
                    <a:pt x="2723" y="193"/>
                    <a:pt x="2721" y="190"/>
                  </a:cubicBezTo>
                  <a:cubicBezTo>
                    <a:pt x="2713" y="192"/>
                    <a:pt x="2724" y="208"/>
                    <a:pt x="2727" y="200"/>
                  </a:cubicBezTo>
                  <a:cubicBezTo>
                    <a:pt x="2733" y="201"/>
                    <a:pt x="2724" y="203"/>
                    <a:pt x="2724" y="205"/>
                  </a:cubicBezTo>
                  <a:cubicBezTo>
                    <a:pt x="2723" y="210"/>
                    <a:pt x="2726" y="213"/>
                    <a:pt x="2727" y="219"/>
                  </a:cubicBezTo>
                  <a:cubicBezTo>
                    <a:pt x="2714" y="218"/>
                    <a:pt x="2724" y="222"/>
                    <a:pt x="2719" y="226"/>
                  </a:cubicBezTo>
                  <a:cubicBezTo>
                    <a:pt x="2711" y="223"/>
                    <a:pt x="2722" y="218"/>
                    <a:pt x="2719" y="212"/>
                  </a:cubicBezTo>
                  <a:cubicBezTo>
                    <a:pt x="2716" y="212"/>
                    <a:pt x="2717" y="215"/>
                    <a:pt x="2716" y="216"/>
                  </a:cubicBezTo>
                  <a:cubicBezTo>
                    <a:pt x="2714" y="215"/>
                    <a:pt x="2709" y="213"/>
                    <a:pt x="2708" y="217"/>
                  </a:cubicBezTo>
                  <a:cubicBezTo>
                    <a:pt x="2701" y="216"/>
                    <a:pt x="2703" y="210"/>
                    <a:pt x="2702" y="207"/>
                  </a:cubicBezTo>
                  <a:cubicBezTo>
                    <a:pt x="2702" y="205"/>
                    <a:pt x="2700" y="205"/>
                    <a:pt x="2699" y="203"/>
                  </a:cubicBezTo>
                  <a:close/>
                  <a:moveTo>
                    <a:pt x="2698" y="280"/>
                  </a:moveTo>
                  <a:cubicBezTo>
                    <a:pt x="2698" y="282"/>
                    <a:pt x="2698" y="283"/>
                    <a:pt x="2698" y="285"/>
                  </a:cubicBezTo>
                  <a:cubicBezTo>
                    <a:pt x="2696" y="285"/>
                    <a:pt x="2694" y="285"/>
                    <a:pt x="2693" y="285"/>
                  </a:cubicBezTo>
                  <a:cubicBezTo>
                    <a:pt x="2693" y="283"/>
                    <a:pt x="2693" y="282"/>
                    <a:pt x="2693" y="280"/>
                  </a:cubicBezTo>
                  <a:cubicBezTo>
                    <a:pt x="2694" y="280"/>
                    <a:pt x="2696" y="280"/>
                    <a:pt x="2698" y="280"/>
                  </a:cubicBezTo>
                  <a:close/>
                  <a:moveTo>
                    <a:pt x="2694" y="226"/>
                  </a:moveTo>
                  <a:cubicBezTo>
                    <a:pt x="2689" y="233"/>
                    <a:pt x="2695" y="245"/>
                    <a:pt x="2698" y="252"/>
                  </a:cubicBezTo>
                  <a:cubicBezTo>
                    <a:pt x="2695" y="259"/>
                    <a:pt x="2695" y="245"/>
                    <a:pt x="2689" y="247"/>
                  </a:cubicBezTo>
                  <a:cubicBezTo>
                    <a:pt x="2692" y="241"/>
                    <a:pt x="2683" y="225"/>
                    <a:pt x="2694" y="226"/>
                  </a:cubicBezTo>
                  <a:close/>
                  <a:moveTo>
                    <a:pt x="2695" y="259"/>
                  </a:moveTo>
                  <a:cubicBezTo>
                    <a:pt x="2695" y="264"/>
                    <a:pt x="2695" y="268"/>
                    <a:pt x="2695" y="273"/>
                  </a:cubicBezTo>
                  <a:cubicBezTo>
                    <a:pt x="2691" y="271"/>
                    <a:pt x="2689" y="267"/>
                    <a:pt x="2692" y="264"/>
                  </a:cubicBezTo>
                  <a:cubicBezTo>
                    <a:pt x="2682" y="261"/>
                    <a:pt x="2692" y="274"/>
                    <a:pt x="2681" y="271"/>
                  </a:cubicBezTo>
                  <a:cubicBezTo>
                    <a:pt x="2680" y="265"/>
                    <a:pt x="2686" y="266"/>
                    <a:pt x="2684" y="259"/>
                  </a:cubicBezTo>
                  <a:cubicBezTo>
                    <a:pt x="2688" y="259"/>
                    <a:pt x="2691" y="259"/>
                    <a:pt x="2695" y="259"/>
                  </a:cubicBezTo>
                  <a:close/>
                  <a:moveTo>
                    <a:pt x="2687" y="252"/>
                  </a:moveTo>
                  <a:cubicBezTo>
                    <a:pt x="2687" y="254"/>
                    <a:pt x="2687" y="255"/>
                    <a:pt x="2687" y="257"/>
                  </a:cubicBezTo>
                  <a:cubicBezTo>
                    <a:pt x="2685" y="257"/>
                    <a:pt x="2683" y="257"/>
                    <a:pt x="2681" y="257"/>
                  </a:cubicBezTo>
                  <a:cubicBezTo>
                    <a:pt x="2681" y="255"/>
                    <a:pt x="2681" y="254"/>
                    <a:pt x="2681" y="252"/>
                  </a:cubicBezTo>
                  <a:cubicBezTo>
                    <a:pt x="2683" y="252"/>
                    <a:pt x="2685" y="252"/>
                    <a:pt x="2687" y="252"/>
                  </a:cubicBezTo>
                  <a:close/>
                  <a:moveTo>
                    <a:pt x="2679" y="271"/>
                  </a:moveTo>
                  <a:cubicBezTo>
                    <a:pt x="2676" y="275"/>
                    <a:pt x="2674" y="279"/>
                    <a:pt x="2665" y="278"/>
                  </a:cubicBezTo>
                  <a:cubicBezTo>
                    <a:pt x="2667" y="276"/>
                    <a:pt x="2668" y="274"/>
                    <a:pt x="2665" y="274"/>
                  </a:cubicBezTo>
                  <a:cubicBezTo>
                    <a:pt x="2664" y="269"/>
                    <a:pt x="2675" y="272"/>
                    <a:pt x="2679" y="271"/>
                  </a:cubicBezTo>
                  <a:close/>
                  <a:moveTo>
                    <a:pt x="2673" y="259"/>
                  </a:moveTo>
                  <a:cubicBezTo>
                    <a:pt x="2671" y="262"/>
                    <a:pt x="2667" y="268"/>
                    <a:pt x="2676" y="266"/>
                  </a:cubicBezTo>
                  <a:cubicBezTo>
                    <a:pt x="2669" y="276"/>
                    <a:pt x="2657" y="258"/>
                    <a:pt x="2673" y="259"/>
                  </a:cubicBezTo>
                  <a:close/>
                  <a:moveTo>
                    <a:pt x="2676" y="255"/>
                  </a:moveTo>
                  <a:cubicBezTo>
                    <a:pt x="2673" y="253"/>
                    <a:pt x="2669" y="252"/>
                    <a:pt x="2665" y="253"/>
                  </a:cubicBezTo>
                  <a:cubicBezTo>
                    <a:pt x="2669" y="245"/>
                    <a:pt x="2664" y="243"/>
                    <a:pt x="2667" y="238"/>
                  </a:cubicBezTo>
                  <a:cubicBezTo>
                    <a:pt x="2673" y="239"/>
                    <a:pt x="2674" y="245"/>
                    <a:pt x="2670" y="248"/>
                  </a:cubicBezTo>
                  <a:cubicBezTo>
                    <a:pt x="2672" y="250"/>
                    <a:pt x="2676" y="250"/>
                    <a:pt x="2676" y="255"/>
                  </a:cubicBezTo>
                  <a:close/>
                  <a:moveTo>
                    <a:pt x="2672" y="234"/>
                  </a:moveTo>
                  <a:cubicBezTo>
                    <a:pt x="2665" y="242"/>
                    <a:pt x="2655" y="229"/>
                    <a:pt x="2672" y="234"/>
                  </a:cubicBezTo>
                  <a:close/>
                  <a:moveTo>
                    <a:pt x="2653" y="234"/>
                  </a:moveTo>
                  <a:cubicBezTo>
                    <a:pt x="2647" y="242"/>
                    <a:pt x="2642" y="226"/>
                    <a:pt x="2653" y="234"/>
                  </a:cubicBezTo>
                  <a:close/>
                  <a:moveTo>
                    <a:pt x="2674" y="8"/>
                  </a:moveTo>
                  <a:cubicBezTo>
                    <a:pt x="2674" y="13"/>
                    <a:pt x="2662" y="10"/>
                    <a:pt x="2660" y="8"/>
                  </a:cubicBezTo>
                  <a:cubicBezTo>
                    <a:pt x="2663" y="1"/>
                    <a:pt x="2669" y="9"/>
                    <a:pt x="2674" y="8"/>
                  </a:cubicBezTo>
                  <a:close/>
                  <a:moveTo>
                    <a:pt x="2646" y="124"/>
                  </a:moveTo>
                  <a:cubicBezTo>
                    <a:pt x="2655" y="127"/>
                    <a:pt x="2636" y="126"/>
                    <a:pt x="2632" y="126"/>
                  </a:cubicBezTo>
                  <a:cubicBezTo>
                    <a:pt x="2632" y="124"/>
                    <a:pt x="2636" y="124"/>
                    <a:pt x="2638" y="124"/>
                  </a:cubicBezTo>
                  <a:cubicBezTo>
                    <a:pt x="2636" y="122"/>
                    <a:pt x="2635" y="120"/>
                    <a:pt x="2632" y="119"/>
                  </a:cubicBezTo>
                  <a:cubicBezTo>
                    <a:pt x="2633" y="116"/>
                    <a:pt x="2639" y="117"/>
                    <a:pt x="2643" y="117"/>
                  </a:cubicBezTo>
                  <a:cubicBezTo>
                    <a:pt x="2643" y="119"/>
                    <a:pt x="2640" y="119"/>
                    <a:pt x="2640" y="121"/>
                  </a:cubicBezTo>
                  <a:cubicBezTo>
                    <a:pt x="2641" y="124"/>
                    <a:pt x="2644" y="123"/>
                    <a:pt x="2646" y="124"/>
                  </a:cubicBezTo>
                  <a:close/>
                  <a:moveTo>
                    <a:pt x="2640" y="100"/>
                  </a:moveTo>
                  <a:cubicBezTo>
                    <a:pt x="2639" y="103"/>
                    <a:pt x="2635" y="104"/>
                    <a:pt x="2635" y="107"/>
                  </a:cubicBezTo>
                  <a:cubicBezTo>
                    <a:pt x="2628" y="107"/>
                    <a:pt x="2634" y="98"/>
                    <a:pt x="2640" y="100"/>
                  </a:cubicBezTo>
                  <a:close/>
                  <a:moveTo>
                    <a:pt x="2626" y="103"/>
                  </a:moveTo>
                  <a:cubicBezTo>
                    <a:pt x="2622" y="104"/>
                    <a:pt x="2623" y="105"/>
                    <a:pt x="2618" y="103"/>
                  </a:cubicBezTo>
                  <a:cubicBezTo>
                    <a:pt x="2615" y="101"/>
                    <a:pt x="2634" y="100"/>
                    <a:pt x="2626" y="103"/>
                  </a:cubicBezTo>
                  <a:close/>
                  <a:moveTo>
                    <a:pt x="2618" y="82"/>
                  </a:moveTo>
                  <a:cubicBezTo>
                    <a:pt x="2623" y="83"/>
                    <a:pt x="2618" y="86"/>
                    <a:pt x="2618" y="89"/>
                  </a:cubicBezTo>
                  <a:cubicBezTo>
                    <a:pt x="2613" y="87"/>
                    <a:pt x="2617" y="85"/>
                    <a:pt x="2618" y="82"/>
                  </a:cubicBezTo>
                  <a:close/>
                  <a:moveTo>
                    <a:pt x="2616" y="117"/>
                  </a:moveTo>
                  <a:cubicBezTo>
                    <a:pt x="2621" y="116"/>
                    <a:pt x="2621" y="119"/>
                    <a:pt x="2618" y="119"/>
                  </a:cubicBezTo>
                  <a:cubicBezTo>
                    <a:pt x="2615" y="117"/>
                    <a:pt x="2607" y="122"/>
                    <a:pt x="2608" y="122"/>
                  </a:cubicBezTo>
                  <a:cubicBezTo>
                    <a:pt x="2600" y="121"/>
                    <a:pt x="2606" y="115"/>
                    <a:pt x="2616" y="117"/>
                  </a:cubicBezTo>
                  <a:close/>
                  <a:moveTo>
                    <a:pt x="2588" y="99"/>
                  </a:moveTo>
                  <a:cubicBezTo>
                    <a:pt x="2592" y="99"/>
                    <a:pt x="2590" y="105"/>
                    <a:pt x="2591" y="108"/>
                  </a:cubicBezTo>
                  <a:cubicBezTo>
                    <a:pt x="2588" y="107"/>
                    <a:pt x="2586" y="105"/>
                    <a:pt x="2585" y="108"/>
                  </a:cubicBezTo>
                  <a:cubicBezTo>
                    <a:pt x="2577" y="106"/>
                    <a:pt x="2592" y="105"/>
                    <a:pt x="2588" y="99"/>
                  </a:cubicBezTo>
                  <a:close/>
                  <a:moveTo>
                    <a:pt x="2584" y="38"/>
                  </a:moveTo>
                  <a:cubicBezTo>
                    <a:pt x="2583" y="43"/>
                    <a:pt x="2577" y="43"/>
                    <a:pt x="2573" y="40"/>
                  </a:cubicBezTo>
                  <a:cubicBezTo>
                    <a:pt x="2574" y="37"/>
                    <a:pt x="2580" y="38"/>
                    <a:pt x="2584" y="38"/>
                  </a:cubicBezTo>
                  <a:close/>
                  <a:moveTo>
                    <a:pt x="2563" y="116"/>
                  </a:moveTo>
                  <a:cubicBezTo>
                    <a:pt x="2565" y="112"/>
                    <a:pt x="2561" y="107"/>
                    <a:pt x="2563" y="104"/>
                  </a:cubicBezTo>
                  <a:cubicBezTo>
                    <a:pt x="2564" y="102"/>
                    <a:pt x="2573" y="103"/>
                    <a:pt x="2571" y="99"/>
                  </a:cubicBezTo>
                  <a:cubicBezTo>
                    <a:pt x="2580" y="103"/>
                    <a:pt x="2563" y="104"/>
                    <a:pt x="2569" y="113"/>
                  </a:cubicBezTo>
                  <a:cubicBezTo>
                    <a:pt x="2569" y="118"/>
                    <a:pt x="2579" y="114"/>
                    <a:pt x="2583" y="115"/>
                  </a:cubicBezTo>
                  <a:cubicBezTo>
                    <a:pt x="2590" y="121"/>
                    <a:pt x="2556" y="112"/>
                    <a:pt x="2566" y="127"/>
                  </a:cubicBezTo>
                  <a:cubicBezTo>
                    <a:pt x="2562" y="128"/>
                    <a:pt x="2561" y="126"/>
                    <a:pt x="2561" y="123"/>
                  </a:cubicBezTo>
                  <a:cubicBezTo>
                    <a:pt x="2559" y="121"/>
                    <a:pt x="2556" y="119"/>
                    <a:pt x="2552" y="118"/>
                  </a:cubicBezTo>
                  <a:cubicBezTo>
                    <a:pt x="2553" y="115"/>
                    <a:pt x="2559" y="116"/>
                    <a:pt x="2563" y="116"/>
                  </a:cubicBezTo>
                  <a:close/>
                  <a:moveTo>
                    <a:pt x="2544" y="121"/>
                  </a:moveTo>
                  <a:cubicBezTo>
                    <a:pt x="2542" y="119"/>
                    <a:pt x="2540" y="118"/>
                    <a:pt x="2536" y="118"/>
                  </a:cubicBezTo>
                  <a:cubicBezTo>
                    <a:pt x="2537" y="112"/>
                    <a:pt x="2546" y="113"/>
                    <a:pt x="2544" y="121"/>
                  </a:cubicBezTo>
                  <a:close/>
                  <a:moveTo>
                    <a:pt x="2554" y="179"/>
                  </a:moveTo>
                  <a:cubicBezTo>
                    <a:pt x="2555" y="184"/>
                    <a:pt x="2552" y="186"/>
                    <a:pt x="2551" y="189"/>
                  </a:cubicBezTo>
                  <a:cubicBezTo>
                    <a:pt x="2548" y="186"/>
                    <a:pt x="2546" y="182"/>
                    <a:pt x="2537" y="184"/>
                  </a:cubicBezTo>
                  <a:cubicBezTo>
                    <a:pt x="2536" y="179"/>
                    <a:pt x="2542" y="179"/>
                    <a:pt x="2540" y="172"/>
                  </a:cubicBezTo>
                  <a:cubicBezTo>
                    <a:pt x="2538" y="172"/>
                    <a:pt x="2536" y="173"/>
                    <a:pt x="2534" y="173"/>
                  </a:cubicBezTo>
                  <a:cubicBezTo>
                    <a:pt x="2535" y="170"/>
                    <a:pt x="2539" y="170"/>
                    <a:pt x="2542" y="170"/>
                  </a:cubicBezTo>
                  <a:cubicBezTo>
                    <a:pt x="2540" y="178"/>
                    <a:pt x="2544" y="181"/>
                    <a:pt x="2554" y="179"/>
                  </a:cubicBezTo>
                  <a:close/>
                  <a:moveTo>
                    <a:pt x="2548" y="168"/>
                  </a:moveTo>
                  <a:cubicBezTo>
                    <a:pt x="2552" y="168"/>
                    <a:pt x="2552" y="172"/>
                    <a:pt x="2556" y="172"/>
                  </a:cubicBezTo>
                  <a:cubicBezTo>
                    <a:pt x="2556" y="175"/>
                    <a:pt x="2553" y="173"/>
                    <a:pt x="2553" y="172"/>
                  </a:cubicBezTo>
                  <a:cubicBezTo>
                    <a:pt x="2551" y="172"/>
                    <a:pt x="2551" y="173"/>
                    <a:pt x="2551" y="175"/>
                  </a:cubicBezTo>
                  <a:cubicBezTo>
                    <a:pt x="2548" y="174"/>
                    <a:pt x="2548" y="170"/>
                    <a:pt x="2548" y="168"/>
                  </a:cubicBezTo>
                  <a:close/>
                  <a:moveTo>
                    <a:pt x="2531" y="130"/>
                  </a:moveTo>
                  <a:cubicBezTo>
                    <a:pt x="2543" y="132"/>
                    <a:pt x="2529" y="145"/>
                    <a:pt x="2531" y="130"/>
                  </a:cubicBezTo>
                  <a:close/>
                  <a:moveTo>
                    <a:pt x="2519" y="72"/>
                  </a:moveTo>
                  <a:cubicBezTo>
                    <a:pt x="2522" y="73"/>
                    <a:pt x="2523" y="76"/>
                    <a:pt x="2527" y="76"/>
                  </a:cubicBezTo>
                  <a:cubicBezTo>
                    <a:pt x="2526" y="82"/>
                    <a:pt x="2517" y="77"/>
                    <a:pt x="2519" y="72"/>
                  </a:cubicBezTo>
                  <a:close/>
                  <a:moveTo>
                    <a:pt x="2517" y="131"/>
                  </a:moveTo>
                  <a:cubicBezTo>
                    <a:pt x="2520" y="133"/>
                    <a:pt x="2527" y="131"/>
                    <a:pt x="2525" y="137"/>
                  </a:cubicBezTo>
                  <a:cubicBezTo>
                    <a:pt x="2523" y="135"/>
                    <a:pt x="2515" y="137"/>
                    <a:pt x="2517" y="131"/>
                  </a:cubicBezTo>
                  <a:close/>
                  <a:moveTo>
                    <a:pt x="2520" y="166"/>
                  </a:moveTo>
                  <a:cubicBezTo>
                    <a:pt x="2520" y="169"/>
                    <a:pt x="2514" y="168"/>
                    <a:pt x="2510" y="168"/>
                  </a:cubicBezTo>
                  <a:cubicBezTo>
                    <a:pt x="2511" y="166"/>
                    <a:pt x="2516" y="166"/>
                    <a:pt x="2515" y="161"/>
                  </a:cubicBezTo>
                  <a:cubicBezTo>
                    <a:pt x="2518" y="162"/>
                    <a:pt x="2517" y="166"/>
                    <a:pt x="2520" y="166"/>
                  </a:cubicBezTo>
                  <a:close/>
                  <a:moveTo>
                    <a:pt x="2518" y="196"/>
                  </a:moveTo>
                  <a:cubicBezTo>
                    <a:pt x="2517" y="197"/>
                    <a:pt x="2515" y="191"/>
                    <a:pt x="2513" y="192"/>
                  </a:cubicBezTo>
                  <a:cubicBezTo>
                    <a:pt x="2517" y="184"/>
                    <a:pt x="2520" y="194"/>
                    <a:pt x="2518" y="196"/>
                  </a:cubicBezTo>
                  <a:close/>
                  <a:moveTo>
                    <a:pt x="2513" y="185"/>
                  </a:moveTo>
                  <a:cubicBezTo>
                    <a:pt x="2512" y="187"/>
                    <a:pt x="2507" y="186"/>
                    <a:pt x="2507" y="189"/>
                  </a:cubicBezTo>
                  <a:cubicBezTo>
                    <a:pt x="2507" y="198"/>
                    <a:pt x="2497" y="182"/>
                    <a:pt x="2513" y="185"/>
                  </a:cubicBezTo>
                  <a:close/>
                  <a:moveTo>
                    <a:pt x="2514" y="121"/>
                  </a:moveTo>
                  <a:cubicBezTo>
                    <a:pt x="2514" y="123"/>
                    <a:pt x="2514" y="124"/>
                    <a:pt x="2514" y="126"/>
                  </a:cubicBezTo>
                  <a:cubicBezTo>
                    <a:pt x="2512" y="126"/>
                    <a:pt x="2511" y="126"/>
                    <a:pt x="2509" y="126"/>
                  </a:cubicBezTo>
                  <a:cubicBezTo>
                    <a:pt x="2509" y="124"/>
                    <a:pt x="2509" y="123"/>
                    <a:pt x="2509" y="121"/>
                  </a:cubicBezTo>
                  <a:cubicBezTo>
                    <a:pt x="2510" y="121"/>
                    <a:pt x="2512" y="121"/>
                    <a:pt x="2514" y="121"/>
                  </a:cubicBezTo>
                  <a:close/>
                  <a:moveTo>
                    <a:pt x="2503" y="131"/>
                  </a:moveTo>
                  <a:cubicBezTo>
                    <a:pt x="2503" y="131"/>
                    <a:pt x="2505" y="135"/>
                    <a:pt x="2506" y="133"/>
                  </a:cubicBezTo>
                  <a:cubicBezTo>
                    <a:pt x="2508" y="131"/>
                    <a:pt x="2508" y="131"/>
                    <a:pt x="2509" y="133"/>
                  </a:cubicBezTo>
                  <a:cubicBezTo>
                    <a:pt x="2512" y="133"/>
                    <a:pt x="2511" y="137"/>
                    <a:pt x="2512" y="140"/>
                  </a:cubicBezTo>
                  <a:cubicBezTo>
                    <a:pt x="2506" y="136"/>
                    <a:pt x="2492" y="139"/>
                    <a:pt x="2482" y="138"/>
                  </a:cubicBezTo>
                  <a:cubicBezTo>
                    <a:pt x="2483" y="136"/>
                    <a:pt x="2485" y="134"/>
                    <a:pt x="2481" y="133"/>
                  </a:cubicBezTo>
                  <a:cubicBezTo>
                    <a:pt x="2485" y="130"/>
                    <a:pt x="2497" y="130"/>
                    <a:pt x="2503" y="131"/>
                  </a:cubicBezTo>
                  <a:close/>
                  <a:moveTo>
                    <a:pt x="2488" y="190"/>
                  </a:moveTo>
                  <a:cubicBezTo>
                    <a:pt x="2488" y="188"/>
                    <a:pt x="2488" y="187"/>
                    <a:pt x="2488" y="185"/>
                  </a:cubicBezTo>
                  <a:cubicBezTo>
                    <a:pt x="2492" y="185"/>
                    <a:pt x="2495" y="185"/>
                    <a:pt x="2499" y="185"/>
                  </a:cubicBezTo>
                  <a:cubicBezTo>
                    <a:pt x="2502" y="192"/>
                    <a:pt x="2493" y="189"/>
                    <a:pt x="2488" y="190"/>
                  </a:cubicBezTo>
                  <a:close/>
                  <a:moveTo>
                    <a:pt x="2480" y="185"/>
                  </a:moveTo>
                  <a:cubicBezTo>
                    <a:pt x="2485" y="187"/>
                    <a:pt x="2480" y="190"/>
                    <a:pt x="2480" y="192"/>
                  </a:cubicBezTo>
                  <a:cubicBezTo>
                    <a:pt x="2475" y="191"/>
                    <a:pt x="2479" y="188"/>
                    <a:pt x="2480" y="185"/>
                  </a:cubicBezTo>
                  <a:close/>
                  <a:moveTo>
                    <a:pt x="2465" y="115"/>
                  </a:moveTo>
                  <a:cubicBezTo>
                    <a:pt x="2474" y="111"/>
                    <a:pt x="2467" y="123"/>
                    <a:pt x="2473" y="122"/>
                  </a:cubicBezTo>
                  <a:cubicBezTo>
                    <a:pt x="2470" y="129"/>
                    <a:pt x="2464" y="119"/>
                    <a:pt x="2465" y="115"/>
                  </a:cubicBezTo>
                  <a:close/>
                  <a:moveTo>
                    <a:pt x="2432" y="134"/>
                  </a:moveTo>
                  <a:cubicBezTo>
                    <a:pt x="2436" y="128"/>
                    <a:pt x="2446" y="135"/>
                    <a:pt x="2449" y="136"/>
                  </a:cubicBezTo>
                  <a:cubicBezTo>
                    <a:pt x="2446" y="142"/>
                    <a:pt x="2440" y="131"/>
                    <a:pt x="2432" y="134"/>
                  </a:cubicBezTo>
                  <a:close/>
                  <a:moveTo>
                    <a:pt x="2427" y="170"/>
                  </a:moveTo>
                  <a:cubicBezTo>
                    <a:pt x="2428" y="166"/>
                    <a:pt x="2432" y="164"/>
                    <a:pt x="2438" y="165"/>
                  </a:cubicBezTo>
                  <a:cubicBezTo>
                    <a:pt x="2441" y="172"/>
                    <a:pt x="2432" y="169"/>
                    <a:pt x="2427" y="170"/>
                  </a:cubicBezTo>
                  <a:close/>
                  <a:moveTo>
                    <a:pt x="2454" y="160"/>
                  </a:moveTo>
                  <a:cubicBezTo>
                    <a:pt x="2454" y="160"/>
                    <a:pt x="2455" y="158"/>
                    <a:pt x="2454" y="158"/>
                  </a:cubicBezTo>
                  <a:cubicBezTo>
                    <a:pt x="2464" y="158"/>
                    <a:pt x="2450" y="165"/>
                    <a:pt x="2446" y="162"/>
                  </a:cubicBezTo>
                  <a:cubicBezTo>
                    <a:pt x="2444" y="161"/>
                    <a:pt x="2453" y="160"/>
                    <a:pt x="2454" y="160"/>
                  </a:cubicBezTo>
                  <a:close/>
                  <a:moveTo>
                    <a:pt x="2457" y="132"/>
                  </a:moveTo>
                  <a:cubicBezTo>
                    <a:pt x="2461" y="123"/>
                    <a:pt x="2462" y="136"/>
                    <a:pt x="2460" y="136"/>
                  </a:cubicBezTo>
                  <a:cubicBezTo>
                    <a:pt x="2458" y="137"/>
                    <a:pt x="2456" y="133"/>
                    <a:pt x="2457" y="132"/>
                  </a:cubicBezTo>
                  <a:close/>
                  <a:moveTo>
                    <a:pt x="2463" y="169"/>
                  </a:moveTo>
                  <a:cubicBezTo>
                    <a:pt x="2462" y="172"/>
                    <a:pt x="2456" y="171"/>
                    <a:pt x="2452" y="172"/>
                  </a:cubicBezTo>
                  <a:cubicBezTo>
                    <a:pt x="2453" y="166"/>
                    <a:pt x="2459" y="166"/>
                    <a:pt x="2463" y="169"/>
                  </a:cubicBezTo>
                  <a:close/>
                  <a:moveTo>
                    <a:pt x="2456" y="110"/>
                  </a:moveTo>
                  <a:cubicBezTo>
                    <a:pt x="2466" y="108"/>
                    <a:pt x="2464" y="125"/>
                    <a:pt x="2454" y="120"/>
                  </a:cubicBezTo>
                  <a:cubicBezTo>
                    <a:pt x="2456" y="118"/>
                    <a:pt x="2457" y="115"/>
                    <a:pt x="2456" y="110"/>
                  </a:cubicBezTo>
                  <a:close/>
                  <a:moveTo>
                    <a:pt x="2448" y="96"/>
                  </a:moveTo>
                  <a:cubicBezTo>
                    <a:pt x="2451" y="97"/>
                    <a:pt x="2450" y="101"/>
                    <a:pt x="2453" y="101"/>
                  </a:cubicBezTo>
                  <a:cubicBezTo>
                    <a:pt x="2452" y="108"/>
                    <a:pt x="2445" y="101"/>
                    <a:pt x="2448" y="96"/>
                  </a:cubicBezTo>
                  <a:close/>
                  <a:moveTo>
                    <a:pt x="2451" y="108"/>
                  </a:moveTo>
                  <a:cubicBezTo>
                    <a:pt x="2443" y="117"/>
                    <a:pt x="2441" y="101"/>
                    <a:pt x="2451" y="108"/>
                  </a:cubicBezTo>
                  <a:close/>
                  <a:moveTo>
                    <a:pt x="2440" y="101"/>
                  </a:moveTo>
                  <a:cubicBezTo>
                    <a:pt x="2435" y="103"/>
                    <a:pt x="2441" y="113"/>
                    <a:pt x="2432" y="111"/>
                  </a:cubicBezTo>
                  <a:cubicBezTo>
                    <a:pt x="2431" y="105"/>
                    <a:pt x="2433" y="101"/>
                    <a:pt x="2440" y="101"/>
                  </a:cubicBezTo>
                  <a:close/>
                  <a:moveTo>
                    <a:pt x="2419" y="149"/>
                  </a:moveTo>
                  <a:cubicBezTo>
                    <a:pt x="2419" y="143"/>
                    <a:pt x="2428" y="148"/>
                    <a:pt x="2430" y="149"/>
                  </a:cubicBezTo>
                  <a:cubicBezTo>
                    <a:pt x="2428" y="156"/>
                    <a:pt x="2424" y="146"/>
                    <a:pt x="2419" y="149"/>
                  </a:cubicBezTo>
                  <a:close/>
                  <a:moveTo>
                    <a:pt x="2427" y="139"/>
                  </a:moveTo>
                  <a:cubicBezTo>
                    <a:pt x="2423" y="139"/>
                    <a:pt x="2419" y="139"/>
                    <a:pt x="2416" y="139"/>
                  </a:cubicBezTo>
                  <a:cubicBezTo>
                    <a:pt x="2417" y="137"/>
                    <a:pt x="2419" y="135"/>
                    <a:pt x="2416" y="135"/>
                  </a:cubicBezTo>
                  <a:cubicBezTo>
                    <a:pt x="2416" y="131"/>
                    <a:pt x="2424" y="134"/>
                    <a:pt x="2424" y="130"/>
                  </a:cubicBezTo>
                  <a:cubicBezTo>
                    <a:pt x="2427" y="131"/>
                    <a:pt x="2426" y="136"/>
                    <a:pt x="2427" y="139"/>
                  </a:cubicBezTo>
                  <a:close/>
                  <a:moveTo>
                    <a:pt x="2410" y="114"/>
                  </a:moveTo>
                  <a:cubicBezTo>
                    <a:pt x="2413" y="116"/>
                    <a:pt x="2417" y="117"/>
                    <a:pt x="2424" y="116"/>
                  </a:cubicBezTo>
                  <a:cubicBezTo>
                    <a:pt x="2421" y="121"/>
                    <a:pt x="2408" y="123"/>
                    <a:pt x="2410" y="114"/>
                  </a:cubicBezTo>
                  <a:close/>
                  <a:moveTo>
                    <a:pt x="2413" y="130"/>
                  </a:moveTo>
                  <a:cubicBezTo>
                    <a:pt x="2414" y="140"/>
                    <a:pt x="2398" y="133"/>
                    <a:pt x="2394" y="133"/>
                  </a:cubicBezTo>
                  <a:cubicBezTo>
                    <a:pt x="2399" y="122"/>
                    <a:pt x="2404" y="136"/>
                    <a:pt x="2413" y="130"/>
                  </a:cubicBezTo>
                  <a:close/>
                  <a:moveTo>
                    <a:pt x="2405" y="151"/>
                  </a:moveTo>
                  <a:cubicBezTo>
                    <a:pt x="2402" y="159"/>
                    <a:pt x="2398" y="149"/>
                    <a:pt x="2394" y="149"/>
                  </a:cubicBezTo>
                  <a:cubicBezTo>
                    <a:pt x="2397" y="146"/>
                    <a:pt x="2404" y="144"/>
                    <a:pt x="2408" y="147"/>
                  </a:cubicBezTo>
                  <a:cubicBezTo>
                    <a:pt x="2408" y="149"/>
                    <a:pt x="2404" y="148"/>
                    <a:pt x="2402" y="149"/>
                  </a:cubicBezTo>
                  <a:cubicBezTo>
                    <a:pt x="2402" y="151"/>
                    <a:pt x="2403" y="151"/>
                    <a:pt x="2405" y="151"/>
                  </a:cubicBezTo>
                  <a:close/>
                  <a:moveTo>
                    <a:pt x="2393" y="116"/>
                  </a:moveTo>
                  <a:cubicBezTo>
                    <a:pt x="2392" y="119"/>
                    <a:pt x="2390" y="121"/>
                    <a:pt x="2385" y="121"/>
                  </a:cubicBezTo>
                  <a:cubicBezTo>
                    <a:pt x="2384" y="116"/>
                    <a:pt x="2389" y="117"/>
                    <a:pt x="2393" y="116"/>
                  </a:cubicBezTo>
                  <a:close/>
                  <a:moveTo>
                    <a:pt x="2374" y="100"/>
                  </a:moveTo>
                  <a:cubicBezTo>
                    <a:pt x="2374" y="100"/>
                    <a:pt x="2380" y="96"/>
                    <a:pt x="2382" y="98"/>
                  </a:cubicBezTo>
                  <a:cubicBezTo>
                    <a:pt x="2384" y="99"/>
                    <a:pt x="2371" y="105"/>
                    <a:pt x="2374" y="100"/>
                  </a:cubicBezTo>
                  <a:close/>
                  <a:moveTo>
                    <a:pt x="2360" y="100"/>
                  </a:moveTo>
                  <a:cubicBezTo>
                    <a:pt x="2366" y="100"/>
                    <a:pt x="2369" y="102"/>
                    <a:pt x="2368" y="107"/>
                  </a:cubicBezTo>
                  <a:cubicBezTo>
                    <a:pt x="2365" y="107"/>
                    <a:pt x="2361" y="107"/>
                    <a:pt x="2360" y="110"/>
                  </a:cubicBezTo>
                  <a:cubicBezTo>
                    <a:pt x="2352" y="108"/>
                    <a:pt x="2363" y="105"/>
                    <a:pt x="2360" y="100"/>
                  </a:cubicBezTo>
                  <a:close/>
                  <a:moveTo>
                    <a:pt x="2349" y="115"/>
                  </a:moveTo>
                  <a:cubicBezTo>
                    <a:pt x="2346" y="113"/>
                    <a:pt x="2344" y="110"/>
                    <a:pt x="2344" y="105"/>
                  </a:cubicBezTo>
                  <a:cubicBezTo>
                    <a:pt x="2347" y="106"/>
                    <a:pt x="2349" y="105"/>
                    <a:pt x="2349" y="103"/>
                  </a:cubicBezTo>
                  <a:cubicBezTo>
                    <a:pt x="2352" y="103"/>
                    <a:pt x="2351" y="105"/>
                    <a:pt x="2349" y="105"/>
                  </a:cubicBezTo>
                  <a:cubicBezTo>
                    <a:pt x="2349" y="112"/>
                    <a:pt x="2354" y="110"/>
                    <a:pt x="2349" y="115"/>
                  </a:cubicBezTo>
                  <a:close/>
                  <a:moveTo>
                    <a:pt x="2347" y="124"/>
                  </a:moveTo>
                  <a:cubicBezTo>
                    <a:pt x="2350" y="121"/>
                    <a:pt x="2352" y="122"/>
                    <a:pt x="2352" y="126"/>
                  </a:cubicBezTo>
                  <a:cubicBezTo>
                    <a:pt x="2346" y="127"/>
                    <a:pt x="2344" y="125"/>
                    <a:pt x="2344" y="119"/>
                  </a:cubicBezTo>
                  <a:cubicBezTo>
                    <a:pt x="2347" y="119"/>
                    <a:pt x="2346" y="122"/>
                    <a:pt x="2347" y="124"/>
                  </a:cubicBezTo>
                  <a:close/>
                  <a:moveTo>
                    <a:pt x="2349" y="86"/>
                  </a:moveTo>
                  <a:cubicBezTo>
                    <a:pt x="2357" y="88"/>
                    <a:pt x="2345" y="90"/>
                    <a:pt x="2346" y="94"/>
                  </a:cubicBezTo>
                  <a:cubicBezTo>
                    <a:pt x="2337" y="91"/>
                    <a:pt x="2349" y="89"/>
                    <a:pt x="2349" y="86"/>
                  </a:cubicBezTo>
                  <a:close/>
                  <a:moveTo>
                    <a:pt x="2327" y="94"/>
                  </a:moveTo>
                  <a:cubicBezTo>
                    <a:pt x="2330" y="94"/>
                    <a:pt x="2329" y="98"/>
                    <a:pt x="2330" y="101"/>
                  </a:cubicBezTo>
                  <a:cubicBezTo>
                    <a:pt x="2330" y="104"/>
                    <a:pt x="2335" y="103"/>
                    <a:pt x="2338" y="103"/>
                  </a:cubicBezTo>
                  <a:cubicBezTo>
                    <a:pt x="2336" y="105"/>
                    <a:pt x="2335" y="109"/>
                    <a:pt x="2336" y="113"/>
                  </a:cubicBezTo>
                  <a:cubicBezTo>
                    <a:pt x="2334" y="111"/>
                    <a:pt x="2331" y="110"/>
                    <a:pt x="2327" y="110"/>
                  </a:cubicBezTo>
                  <a:cubicBezTo>
                    <a:pt x="2328" y="106"/>
                    <a:pt x="2327" y="103"/>
                    <a:pt x="2322" y="103"/>
                  </a:cubicBezTo>
                  <a:cubicBezTo>
                    <a:pt x="2322" y="99"/>
                    <a:pt x="2329" y="100"/>
                    <a:pt x="2327" y="94"/>
                  </a:cubicBezTo>
                  <a:close/>
                  <a:moveTo>
                    <a:pt x="2322" y="125"/>
                  </a:moveTo>
                  <a:cubicBezTo>
                    <a:pt x="2327" y="125"/>
                    <a:pt x="2324" y="132"/>
                    <a:pt x="2328" y="134"/>
                  </a:cubicBezTo>
                  <a:cubicBezTo>
                    <a:pt x="2332" y="134"/>
                    <a:pt x="2338" y="135"/>
                    <a:pt x="2339" y="131"/>
                  </a:cubicBezTo>
                  <a:cubicBezTo>
                    <a:pt x="2343" y="132"/>
                    <a:pt x="2338" y="134"/>
                    <a:pt x="2339" y="138"/>
                  </a:cubicBezTo>
                  <a:cubicBezTo>
                    <a:pt x="2334" y="139"/>
                    <a:pt x="2334" y="136"/>
                    <a:pt x="2331" y="136"/>
                  </a:cubicBezTo>
                  <a:cubicBezTo>
                    <a:pt x="2327" y="139"/>
                    <a:pt x="2326" y="143"/>
                    <a:pt x="2317" y="141"/>
                  </a:cubicBezTo>
                  <a:cubicBezTo>
                    <a:pt x="2320" y="134"/>
                    <a:pt x="2320" y="134"/>
                    <a:pt x="2309" y="134"/>
                  </a:cubicBezTo>
                  <a:cubicBezTo>
                    <a:pt x="2299" y="129"/>
                    <a:pt x="2330" y="137"/>
                    <a:pt x="2322" y="125"/>
                  </a:cubicBezTo>
                  <a:close/>
                  <a:moveTo>
                    <a:pt x="2339" y="162"/>
                  </a:moveTo>
                  <a:cubicBezTo>
                    <a:pt x="2344" y="162"/>
                    <a:pt x="2341" y="170"/>
                    <a:pt x="2348" y="169"/>
                  </a:cubicBezTo>
                  <a:cubicBezTo>
                    <a:pt x="2345" y="175"/>
                    <a:pt x="2332" y="165"/>
                    <a:pt x="2339" y="162"/>
                  </a:cubicBezTo>
                  <a:close/>
                  <a:moveTo>
                    <a:pt x="2351" y="211"/>
                  </a:moveTo>
                  <a:cubicBezTo>
                    <a:pt x="2350" y="214"/>
                    <a:pt x="2348" y="216"/>
                    <a:pt x="2343" y="216"/>
                  </a:cubicBezTo>
                  <a:cubicBezTo>
                    <a:pt x="2342" y="211"/>
                    <a:pt x="2347" y="211"/>
                    <a:pt x="2351" y="211"/>
                  </a:cubicBezTo>
                  <a:close/>
                  <a:moveTo>
                    <a:pt x="2321" y="202"/>
                  </a:moveTo>
                  <a:cubicBezTo>
                    <a:pt x="2322" y="203"/>
                    <a:pt x="2331" y="208"/>
                    <a:pt x="2332" y="202"/>
                  </a:cubicBezTo>
                  <a:cubicBezTo>
                    <a:pt x="2337" y="205"/>
                    <a:pt x="2329" y="210"/>
                    <a:pt x="2335" y="216"/>
                  </a:cubicBezTo>
                  <a:cubicBezTo>
                    <a:pt x="2332" y="216"/>
                    <a:pt x="2330" y="217"/>
                    <a:pt x="2329" y="218"/>
                  </a:cubicBezTo>
                  <a:cubicBezTo>
                    <a:pt x="2326" y="218"/>
                    <a:pt x="2326" y="211"/>
                    <a:pt x="2329" y="211"/>
                  </a:cubicBezTo>
                  <a:cubicBezTo>
                    <a:pt x="2328" y="207"/>
                    <a:pt x="2319" y="210"/>
                    <a:pt x="2321" y="202"/>
                  </a:cubicBezTo>
                  <a:close/>
                  <a:moveTo>
                    <a:pt x="2309" y="141"/>
                  </a:moveTo>
                  <a:cubicBezTo>
                    <a:pt x="2304" y="142"/>
                    <a:pt x="2303" y="138"/>
                    <a:pt x="2298" y="139"/>
                  </a:cubicBezTo>
                  <a:cubicBezTo>
                    <a:pt x="2297" y="135"/>
                    <a:pt x="2313" y="135"/>
                    <a:pt x="2309" y="141"/>
                  </a:cubicBezTo>
                  <a:close/>
                  <a:moveTo>
                    <a:pt x="2287" y="132"/>
                  </a:moveTo>
                  <a:cubicBezTo>
                    <a:pt x="2289" y="132"/>
                    <a:pt x="2292" y="132"/>
                    <a:pt x="2295" y="132"/>
                  </a:cubicBezTo>
                  <a:cubicBezTo>
                    <a:pt x="2293" y="134"/>
                    <a:pt x="2294" y="140"/>
                    <a:pt x="2292" y="142"/>
                  </a:cubicBezTo>
                  <a:cubicBezTo>
                    <a:pt x="2292" y="142"/>
                    <a:pt x="2290" y="141"/>
                    <a:pt x="2290" y="142"/>
                  </a:cubicBezTo>
                  <a:cubicBezTo>
                    <a:pt x="2288" y="146"/>
                    <a:pt x="2294" y="155"/>
                    <a:pt x="2284" y="153"/>
                  </a:cubicBezTo>
                  <a:cubicBezTo>
                    <a:pt x="2289" y="149"/>
                    <a:pt x="2286" y="140"/>
                    <a:pt x="2287" y="132"/>
                  </a:cubicBezTo>
                  <a:close/>
                  <a:moveTo>
                    <a:pt x="2291" y="252"/>
                  </a:moveTo>
                  <a:cubicBezTo>
                    <a:pt x="2291" y="254"/>
                    <a:pt x="2291" y="255"/>
                    <a:pt x="2292" y="257"/>
                  </a:cubicBezTo>
                  <a:cubicBezTo>
                    <a:pt x="2290" y="257"/>
                    <a:pt x="2288" y="257"/>
                    <a:pt x="2286" y="257"/>
                  </a:cubicBezTo>
                  <a:cubicBezTo>
                    <a:pt x="2286" y="255"/>
                    <a:pt x="2286" y="254"/>
                    <a:pt x="2286" y="252"/>
                  </a:cubicBezTo>
                  <a:cubicBezTo>
                    <a:pt x="2288" y="252"/>
                    <a:pt x="2290" y="252"/>
                    <a:pt x="2291" y="252"/>
                  </a:cubicBezTo>
                  <a:close/>
                  <a:moveTo>
                    <a:pt x="2285" y="210"/>
                  </a:moveTo>
                  <a:cubicBezTo>
                    <a:pt x="2297" y="211"/>
                    <a:pt x="2283" y="223"/>
                    <a:pt x="2285" y="210"/>
                  </a:cubicBezTo>
                  <a:close/>
                  <a:moveTo>
                    <a:pt x="2278" y="283"/>
                  </a:moveTo>
                  <a:cubicBezTo>
                    <a:pt x="2279" y="280"/>
                    <a:pt x="2284" y="280"/>
                    <a:pt x="2284" y="283"/>
                  </a:cubicBezTo>
                  <a:cubicBezTo>
                    <a:pt x="2287" y="282"/>
                    <a:pt x="2286" y="278"/>
                    <a:pt x="2286" y="276"/>
                  </a:cubicBezTo>
                  <a:cubicBezTo>
                    <a:pt x="2289" y="277"/>
                    <a:pt x="2291" y="278"/>
                    <a:pt x="2292" y="275"/>
                  </a:cubicBezTo>
                  <a:cubicBezTo>
                    <a:pt x="2299" y="281"/>
                    <a:pt x="2284" y="287"/>
                    <a:pt x="2278" y="283"/>
                  </a:cubicBezTo>
                  <a:close/>
                  <a:moveTo>
                    <a:pt x="2303" y="282"/>
                  </a:moveTo>
                  <a:cubicBezTo>
                    <a:pt x="2303" y="281"/>
                    <a:pt x="2303" y="279"/>
                    <a:pt x="2303" y="278"/>
                  </a:cubicBezTo>
                  <a:cubicBezTo>
                    <a:pt x="2305" y="278"/>
                    <a:pt x="2307" y="278"/>
                    <a:pt x="2308" y="278"/>
                  </a:cubicBezTo>
                  <a:cubicBezTo>
                    <a:pt x="2308" y="279"/>
                    <a:pt x="2308" y="281"/>
                    <a:pt x="2308" y="282"/>
                  </a:cubicBezTo>
                  <a:cubicBezTo>
                    <a:pt x="2307" y="282"/>
                    <a:pt x="2305" y="282"/>
                    <a:pt x="2303" y="282"/>
                  </a:cubicBezTo>
                  <a:close/>
                  <a:moveTo>
                    <a:pt x="2311" y="278"/>
                  </a:moveTo>
                  <a:cubicBezTo>
                    <a:pt x="2316" y="277"/>
                    <a:pt x="2316" y="280"/>
                    <a:pt x="2319" y="280"/>
                  </a:cubicBezTo>
                  <a:cubicBezTo>
                    <a:pt x="2321" y="284"/>
                    <a:pt x="2307" y="283"/>
                    <a:pt x="2311" y="278"/>
                  </a:cubicBezTo>
                  <a:close/>
                  <a:moveTo>
                    <a:pt x="2311" y="254"/>
                  </a:moveTo>
                  <a:cubicBezTo>
                    <a:pt x="2313" y="254"/>
                    <a:pt x="2313" y="253"/>
                    <a:pt x="2313" y="252"/>
                  </a:cubicBezTo>
                  <a:cubicBezTo>
                    <a:pt x="2319" y="251"/>
                    <a:pt x="2318" y="262"/>
                    <a:pt x="2311" y="259"/>
                  </a:cubicBezTo>
                  <a:cubicBezTo>
                    <a:pt x="2311" y="257"/>
                    <a:pt x="2311" y="256"/>
                    <a:pt x="2311" y="254"/>
                  </a:cubicBezTo>
                  <a:close/>
                  <a:moveTo>
                    <a:pt x="2318" y="221"/>
                  </a:moveTo>
                  <a:cubicBezTo>
                    <a:pt x="2313" y="224"/>
                    <a:pt x="2314" y="217"/>
                    <a:pt x="2313" y="216"/>
                  </a:cubicBezTo>
                  <a:cubicBezTo>
                    <a:pt x="2307" y="216"/>
                    <a:pt x="2307" y="222"/>
                    <a:pt x="2308" y="231"/>
                  </a:cubicBezTo>
                  <a:cubicBezTo>
                    <a:pt x="2310" y="231"/>
                    <a:pt x="2310" y="230"/>
                    <a:pt x="2310" y="228"/>
                  </a:cubicBezTo>
                  <a:cubicBezTo>
                    <a:pt x="2319" y="229"/>
                    <a:pt x="2300" y="236"/>
                    <a:pt x="2310" y="238"/>
                  </a:cubicBezTo>
                  <a:cubicBezTo>
                    <a:pt x="2310" y="241"/>
                    <a:pt x="2303" y="239"/>
                    <a:pt x="2302" y="238"/>
                  </a:cubicBezTo>
                  <a:cubicBezTo>
                    <a:pt x="2301" y="234"/>
                    <a:pt x="2305" y="233"/>
                    <a:pt x="2305" y="231"/>
                  </a:cubicBezTo>
                  <a:cubicBezTo>
                    <a:pt x="2304" y="225"/>
                    <a:pt x="2302" y="221"/>
                    <a:pt x="2305" y="219"/>
                  </a:cubicBezTo>
                  <a:cubicBezTo>
                    <a:pt x="2306" y="211"/>
                    <a:pt x="2291" y="218"/>
                    <a:pt x="2293" y="210"/>
                  </a:cubicBezTo>
                  <a:cubicBezTo>
                    <a:pt x="2300" y="204"/>
                    <a:pt x="2307" y="219"/>
                    <a:pt x="2302" y="205"/>
                  </a:cubicBezTo>
                  <a:cubicBezTo>
                    <a:pt x="2307" y="205"/>
                    <a:pt x="2313" y="205"/>
                    <a:pt x="2318" y="205"/>
                  </a:cubicBezTo>
                  <a:cubicBezTo>
                    <a:pt x="2317" y="212"/>
                    <a:pt x="2325" y="216"/>
                    <a:pt x="2318" y="221"/>
                  </a:cubicBezTo>
                  <a:close/>
                  <a:moveTo>
                    <a:pt x="2321" y="228"/>
                  </a:moveTo>
                  <a:cubicBezTo>
                    <a:pt x="2321" y="226"/>
                    <a:pt x="2321" y="225"/>
                    <a:pt x="2321" y="223"/>
                  </a:cubicBezTo>
                  <a:cubicBezTo>
                    <a:pt x="2323" y="223"/>
                    <a:pt x="2325" y="223"/>
                    <a:pt x="2327" y="223"/>
                  </a:cubicBezTo>
                  <a:cubicBezTo>
                    <a:pt x="2327" y="225"/>
                    <a:pt x="2327" y="226"/>
                    <a:pt x="2327" y="228"/>
                  </a:cubicBezTo>
                  <a:cubicBezTo>
                    <a:pt x="2325" y="228"/>
                    <a:pt x="2323" y="228"/>
                    <a:pt x="2321" y="228"/>
                  </a:cubicBezTo>
                  <a:close/>
                  <a:moveTo>
                    <a:pt x="2327" y="258"/>
                  </a:moveTo>
                  <a:cubicBezTo>
                    <a:pt x="2339" y="259"/>
                    <a:pt x="2325" y="272"/>
                    <a:pt x="2327" y="258"/>
                  </a:cubicBezTo>
                  <a:close/>
                  <a:moveTo>
                    <a:pt x="2338" y="249"/>
                  </a:moveTo>
                  <a:cubicBezTo>
                    <a:pt x="2336" y="248"/>
                    <a:pt x="2335" y="247"/>
                    <a:pt x="2333" y="247"/>
                  </a:cubicBezTo>
                  <a:cubicBezTo>
                    <a:pt x="2333" y="245"/>
                    <a:pt x="2335" y="244"/>
                    <a:pt x="2335" y="242"/>
                  </a:cubicBezTo>
                  <a:cubicBezTo>
                    <a:pt x="2337" y="242"/>
                    <a:pt x="2338" y="244"/>
                    <a:pt x="2341" y="244"/>
                  </a:cubicBezTo>
                  <a:cubicBezTo>
                    <a:pt x="2340" y="246"/>
                    <a:pt x="2338" y="246"/>
                    <a:pt x="2338" y="249"/>
                  </a:cubicBezTo>
                  <a:close/>
                  <a:moveTo>
                    <a:pt x="2341" y="239"/>
                  </a:moveTo>
                  <a:cubicBezTo>
                    <a:pt x="2342" y="236"/>
                    <a:pt x="2349" y="237"/>
                    <a:pt x="2346" y="230"/>
                  </a:cubicBezTo>
                  <a:cubicBezTo>
                    <a:pt x="2351" y="234"/>
                    <a:pt x="2351" y="238"/>
                    <a:pt x="2349" y="244"/>
                  </a:cubicBezTo>
                  <a:cubicBezTo>
                    <a:pt x="2346" y="242"/>
                    <a:pt x="2346" y="239"/>
                    <a:pt x="2341" y="239"/>
                  </a:cubicBezTo>
                  <a:close/>
                  <a:moveTo>
                    <a:pt x="2352" y="282"/>
                  </a:moveTo>
                  <a:cubicBezTo>
                    <a:pt x="2351" y="286"/>
                    <a:pt x="2347" y="283"/>
                    <a:pt x="2349" y="274"/>
                  </a:cubicBezTo>
                  <a:cubicBezTo>
                    <a:pt x="2351" y="268"/>
                    <a:pt x="2353" y="280"/>
                    <a:pt x="2352" y="282"/>
                  </a:cubicBezTo>
                  <a:close/>
                  <a:moveTo>
                    <a:pt x="2347" y="138"/>
                  </a:moveTo>
                  <a:cubicBezTo>
                    <a:pt x="2345" y="138"/>
                    <a:pt x="2344" y="139"/>
                    <a:pt x="2344" y="141"/>
                  </a:cubicBezTo>
                  <a:cubicBezTo>
                    <a:pt x="2334" y="139"/>
                    <a:pt x="2360" y="133"/>
                    <a:pt x="2344" y="134"/>
                  </a:cubicBezTo>
                  <a:cubicBezTo>
                    <a:pt x="2344" y="126"/>
                    <a:pt x="2351" y="134"/>
                    <a:pt x="2355" y="133"/>
                  </a:cubicBezTo>
                  <a:cubicBezTo>
                    <a:pt x="2358" y="133"/>
                    <a:pt x="2389" y="124"/>
                    <a:pt x="2377" y="140"/>
                  </a:cubicBezTo>
                  <a:cubicBezTo>
                    <a:pt x="2371" y="141"/>
                    <a:pt x="2374" y="133"/>
                    <a:pt x="2369" y="133"/>
                  </a:cubicBezTo>
                  <a:cubicBezTo>
                    <a:pt x="2365" y="138"/>
                    <a:pt x="2354" y="143"/>
                    <a:pt x="2347" y="138"/>
                  </a:cubicBezTo>
                  <a:close/>
                  <a:moveTo>
                    <a:pt x="2354" y="213"/>
                  </a:moveTo>
                  <a:cubicBezTo>
                    <a:pt x="2356" y="211"/>
                    <a:pt x="2358" y="207"/>
                    <a:pt x="2354" y="206"/>
                  </a:cubicBezTo>
                  <a:cubicBezTo>
                    <a:pt x="2355" y="201"/>
                    <a:pt x="2367" y="205"/>
                    <a:pt x="2373" y="204"/>
                  </a:cubicBezTo>
                  <a:cubicBezTo>
                    <a:pt x="2382" y="205"/>
                    <a:pt x="2368" y="207"/>
                    <a:pt x="2365" y="206"/>
                  </a:cubicBezTo>
                  <a:cubicBezTo>
                    <a:pt x="2358" y="205"/>
                    <a:pt x="2363" y="215"/>
                    <a:pt x="2354" y="213"/>
                  </a:cubicBezTo>
                  <a:close/>
                  <a:moveTo>
                    <a:pt x="2373" y="218"/>
                  </a:moveTo>
                  <a:cubicBezTo>
                    <a:pt x="2371" y="215"/>
                    <a:pt x="2363" y="217"/>
                    <a:pt x="2365" y="211"/>
                  </a:cubicBezTo>
                  <a:cubicBezTo>
                    <a:pt x="2371" y="210"/>
                    <a:pt x="2374" y="213"/>
                    <a:pt x="2373" y="218"/>
                  </a:cubicBezTo>
                  <a:close/>
                  <a:moveTo>
                    <a:pt x="2363" y="263"/>
                  </a:moveTo>
                  <a:cubicBezTo>
                    <a:pt x="2362" y="262"/>
                    <a:pt x="2357" y="267"/>
                    <a:pt x="2358" y="267"/>
                  </a:cubicBezTo>
                  <a:cubicBezTo>
                    <a:pt x="2351" y="265"/>
                    <a:pt x="2366" y="255"/>
                    <a:pt x="2366" y="265"/>
                  </a:cubicBezTo>
                  <a:cubicBezTo>
                    <a:pt x="2363" y="266"/>
                    <a:pt x="2364" y="263"/>
                    <a:pt x="2363" y="263"/>
                  </a:cubicBezTo>
                  <a:close/>
                  <a:moveTo>
                    <a:pt x="2374" y="255"/>
                  </a:moveTo>
                  <a:cubicBezTo>
                    <a:pt x="2366" y="252"/>
                    <a:pt x="2360" y="247"/>
                    <a:pt x="2368" y="241"/>
                  </a:cubicBezTo>
                  <a:cubicBezTo>
                    <a:pt x="2367" y="238"/>
                    <a:pt x="2363" y="239"/>
                    <a:pt x="2363" y="241"/>
                  </a:cubicBezTo>
                  <a:cubicBezTo>
                    <a:pt x="2356" y="240"/>
                    <a:pt x="2361" y="230"/>
                    <a:pt x="2368" y="232"/>
                  </a:cubicBezTo>
                  <a:cubicBezTo>
                    <a:pt x="2367" y="229"/>
                    <a:pt x="2363" y="230"/>
                    <a:pt x="2360" y="230"/>
                  </a:cubicBezTo>
                  <a:cubicBezTo>
                    <a:pt x="2360" y="225"/>
                    <a:pt x="2367" y="227"/>
                    <a:pt x="2365" y="220"/>
                  </a:cubicBezTo>
                  <a:cubicBezTo>
                    <a:pt x="2369" y="223"/>
                    <a:pt x="2371" y="232"/>
                    <a:pt x="2368" y="234"/>
                  </a:cubicBezTo>
                  <a:cubicBezTo>
                    <a:pt x="2366" y="238"/>
                    <a:pt x="2381" y="238"/>
                    <a:pt x="2379" y="234"/>
                  </a:cubicBezTo>
                  <a:cubicBezTo>
                    <a:pt x="2385" y="235"/>
                    <a:pt x="2374" y="244"/>
                    <a:pt x="2371" y="239"/>
                  </a:cubicBezTo>
                  <a:cubicBezTo>
                    <a:pt x="2370" y="243"/>
                    <a:pt x="2373" y="243"/>
                    <a:pt x="2376" y="244"/>
                  </a:cubicBezTo>
                  <a:cubicBezTo>
                    <a:pt x="2378" y="249"/>
                    <a:pt x="2371" y="249"/>
                    <a:pt x="2374" y="255"/>
                  </a:cubicBezTo>
                  <a:close/>
                  <a:moveTo>
                    <a:pt x="2377" y="283"/>
                  </a:moveTo>
                  <a:cubicBezTo>
                    <a:pt x="2375" y="283"/>
                    <a:pt x="2375" y="284"/>
                    <a:pt x="2374" y="286"/>
                  </a:cubicBezTo>
                  <a:cubicBezTo>
                    <a:pt x="2367" y="283"/>
                    <a:pt x="2381" y="279"/>
                    <a:pt x="2388" y="281"/>
                  </a:cubicBezTo>
                  <a:cubicBezTo>
                    <a:pt x="2388" y="283"/>
                    <a:pt x="2388" y="286"/>
                    <a:pt x="2388" y="288"/>
                  </a:cubicBezTo>
                  <a:cubicBezTo>
                    <a:pt x="2380" y="291"/>
                    <a:pt x="2381" y="284"/>
                    <a:pt x="2377" y="283"/>
                  </a:cubicBezTo>
                  <a:close/>
                  <a:moveTo>
                    <a:pt x="2381" y="218"/>
                  </a:moveTo>
                  <a:cubicBezTo>
                    <a:pt x="2378" y="217"/>
                    <a:pt x="2379" y="213"/>
                    <a:pt x="2376" y="213"/>
                  </a:cubicBezTo>
                  <a:cubicBezTo>
                    <a:pt x="2377" y="205"/>
                    <a:pt x="2383" y="215"/>
                    <a:pt x="2387" y="215"/>
                  </a:cubicBezTo>
                  <a:cubicBezTo>
                    <a:pt x="2387" y="215"/>
                    <a:pt x="2390" y="215"/>
                    <a:pt x="2390" y="215"/>
                  </a:cubicBezTo>
                  <a:cubicBezTo>
                    <a:pt x="2392" y="221"/>
                    <a:pt x="2379" y="212"/>
                    <a:pt x="2381" y="218"/>
                  </a:cubicBezTo>
                  <a:close/>
                  <a:moveTo>
                    <a:pt x="2409" y="224"/>
                  </a:moveTo>
                  <a:cubicBezTo>
                    <a:pt x="2413" y="225"/>
                    <a:pt x="2416" y="227"/>
                    <a:pt x="2420" y="229"/>
                  </a:cubicBezTo>
                  <a:cubicBezTo>
                    <a:pt x="2419" y="234"/>
                    <a:pt x="2407" y="229"/>
                    <a:pt x="2409" y="224"/>
                  </a:cubicBezTo>
                  <a:close/>
                  <a:moveTo>
                    <a:pt x="2425" y="217"/>
                  </a:moveTo>
                  <a:cubicBezTo>
                    <a:pt x="2426" y="211"/>
                    <a:pt x="2435" y="216"/>
                    <a:pt x="2436" y="217"/>
                  </a:cubicBezTo>
                  <a:cubicBezTo>
                    <a:pt x="2435" y="224"/>
                    <a:pt x="2430" y="214"/>
                    <a:pt x="2425" y="217"/>
                  </a:cubicBezTo>
                  <a:close/>
                  <a:moveTo>
                    <a:pt x="2436" y="212"/>
                  </a:moveTo>
                  <a:cubicBezTo>
                    <a:pt x="2437" y="211"/>
                    <a:pt x="2442" y="208"/>
                    <a:pt x="2444" y="209"/>
                  </a:cubicBezTo>
                  <a:cubicBezTo>
                    <a:pt x="2451" y="214"/>
                    <a:pt x="2433" y="220"/>
                    <a:pt x="2436" y="212"/>
                  </a:cubicBezTo>
                  <a:close/>
                  <a:moveTo>
                    <a:pt x="2453" y="259"/>
                  </a:moveTo>
                  <a:cubicBezTo>
                    <a:pt x="2451" y="259"/>
                    <a:pt x="2448" y="259"/>
                    <a:pt x="2445" y="259"/>
                  </a:cubicBezTo>
                  <a:cubicBezTo>
                    <a:pt x="2447" y="252"/>
                    <a:pt x="2449" y="256"/>
                    <a:pt x="2456" y="256"/>
                  </a:cubicBezTo>
                  <a:cubicBezTo>
                    <a:pt x="2456" y="260"/>
                    <a:pt x="2456" y="263"/>
                    <a:pt x="2459" y="263"/>
                  </a:cubicBezTo>
                  <a:cubicBezTo>
                    <a:pt x="2458" y="270"/>
                    <a:pt x="2450" y="263"/>
                    <a:pt x="2453" y="259"/>
                  </a:cubicBezTo>
                  <a:close/>
                  <a:moveTo>
                    <a:pt x="2464" y="237"/>
                  </a:moveTo>
                  <a:cubicBezTo>
                    <a:pt x="2460" y="238"/>
                    <a:pt x="2463" y="244"/>
                    <a:pt x="2459" y="244"/>
                  </a:cubicBezTo>
                  <a:cubicBezTo>
                    <a:pt x="2457" y="240"/>
                    <a:pt x="2460" y="238"/>
                    <a:pt x="2461" y="235"/>
                  </a:cubicBezTo>
                  <a:cubicBezTo>
                    <a:pt x="2466" y="234"/>
                    <a:pt x="2467" y="237"/>
                    <a:pt x="2464" y="237"/>
                  </a:cubicBezTo>
                  <a:close/>
                  <a:moveTo>
                    <a:pt x="2478" y="246"/>
                  </a:moveTo>
                  <a:cubicBezTo>
                    <a:pt x="2484" y="241"/>
                    <a:pt x="2475" y="239"/>
                    <a:pt x="2481" y="235"/>
                  </a:cubicBezTo>
                  <a:cubicBezTo>
                    <a:pt x="2485" y="234"/>
                    <a:pt x="2486" y="250"/>
                    <a:pt x="2478" y="246"/>
                  </a:cubicBezTo>
                  <a:close/>
                  <a:moveTo>
                    <a:pt x="2497" y="253"/>
                  </a:moveTo>
                  <a:cubicBezTo>
                    <a:pt x="2497" y="251"/>
                    <a:pt x="2501" y="251"/>
                    <a:pt x="2503" y="251"/>
                  </a:cubicBezTo>
                  <a:cubicBezTo>
                    <a:pt x="2505" y="251"/>
                    <a:pt x="2508" y="251"/>
                    <a:pt x="2511" y="251"/>
                  </a:cubicBezTo>
                  <a:cubicBezTo>
                    <a:pt x="2512" y="256"/>
                    <a:pt x="2501" y="252"/>
                    <a:pt x="2497" y="253"/>
                  </a:cubicBezTo>
                  <a:close/>
                  <a:moveTo>
                    <a:pt x="2503" y="248"/>
                  </a:moveTo>
                  <a:cubicBezTo>
                    <a:pt x="2503" y="245"/>
                    <a:pt x="2503" y="242"/>
                    <a:pt x="2503" y="239"/>
                  </a:cubicBezTo>
                  <a:cubicBezTo>
                    <a:pt x="2505" y="239"/>
                    <a:pt x="2505" y="242"/>
                    <a:pt x="2505" y="244"/>
                  </a:cubicBezTo>
                  <a:cubicBezTo>
                    <a:pt x="2509" y="244"/>
                    <a:pt x="2510" y="243"/>
                    <a:pt x="2511" y="241"/>
                  </a:cubicBezTo>
                  <a:cubicBezTo>
                    <a:pt x="2519" y="244"/>
                    <a:pt x="2507" y="249"/>
                    <a:pt x="2503" y="248"/>
                  </a:cubicBezTo>
                  <a:close/>
                  <a:moveTo>
                    <a:pt x="2517" y="269"/>
                  </a:moveTo>
                  <a:cubicBezTo>
                    <a:pt x="2512" y="275"/>
                    <a:pt x="2517" y="268"/>
                    <a:pt x="2517" y="265"/>
                  </a:cubicBezTo>
                  <a:cubicBezTo>
                    <a:pt x="2517" y="256"/>
                    <a:pt x="2524" y="271"/>
                    <a:pt x="2517" y="269"/>
                  </a:cubicBezTo>
                  <a:close/>
                  <a:moveTo>
                    <a:pt x="2535" y="241"/>
                  </a:moveTo>
                  <a:cubicBezTo>
                    <a:pt x="2533" y="237"/>
                    <a:pt x="2522" y="241"/>
                    <a:pt x="2524" y="234"/>
                  </a:cubicBezTo>
                  <a:cubicBezTo>
                    <a:pt x="2527" y="232"/>
                    <a:pt x="2532" y="231"/>
                    <a:pt x="2538" y="231"/>
                  </a:cubicBezTo>
                  <a:cubicBezTo>
                    <a:pt x="2538" y="235"/>
                    <a:pt x="2535" y="236"/>
                    <a:pt x="2535" y="241"/>
                  </a:cubicBezTo>
                  <a:close/>
                  <a:moveTo>
                    <a:pt x="2543" y="219"/>
                  </a:moveTo>
                  <a:cubicBezTo>
                    <a:pt x="2538" y="215"/>
                    <a:pt x="2538" y="221"/>
                    <a:pt x="2530" y="220"/>
                  </a:cubicBezTo>
                  <a:cubicBezTo>
                    <a:pt x="2526" y="217"/>
                    <a:pt x="2529" y="216"/>
                    <a:pt x="2530" y="213"/>
                  </a:cubicBezTo>
                  <a:cubicBezTo>
                    <a:pt x="2524" y="212"/>
                    <a:pt x="2521" y="215"/>
                    <a:pt x="2521" y="220"/>
                  </a:cubicBezTo>
                  <a:cubicBezTo>
                    <a:pt x="2511" y="215"/>
                    <a:pt x="2520" y="208"/>
                    <a:pt x="2529" y="208"/>
                  </a:cubicBezTo>
                  <a:cubicBezTo>
                    <a:pt x="2529" y="203"/>
                    <a:pt x="2521" y="208"/>
                    <a:pt x="2521" y="208"/>
                  </a:cubicBezTo>
                  <a:cubicBezTo>
                    <a:pt x="2518" y="208"/>
                    <a:pt x="2517" y="204"/>
                    <a:pt x="2513" y="203"/>
                  </a:cubicBezTo>
                  <a:cubicBezTo>
                    <a:pt x="2513" y="209"/>
                    <a:pt x="2518" y="209"/>
                    <a:pt x="2513" y="213"/>
                  </a:cubicBezTo>
                  <a:cubicBezTo>
                    <a:pt x="2511" y="215"/>
                    <a:pt x="2519" y="239"/>
                    <a:pt x="2508" y="236"/>
                  </a:cubicBezTo>
                  <a:cubicBezTo>
                    <a:pt x="2507" y="233"/>
                    <a:pt x="2510" y="232"/>
                    <a:pt x="2511" y="229"/>
                  </a:cubicBezTo>
                  <a:cubicBezTo>
                    <a:pt x="2508" y="225"/>
                    <a:pt x="2504" y="222"/>
                    <a:pt x="2499" y="220"/>
                  </a:cubicBezTo>
                  <a:cubicBezTo>
                    <a:pt x="2499" y="216"/>
                    <a:pt x="2501" y="211"/>
                    <a:pt x="2497" y="211"/>
                  </a:cubicBezTo>
                  <a:cubicBezTo>
                    <a:pt x="2493" y="211"/>
                    <a:pt x="2496" y="214"/>
                    <a:pt x="2497" y="213"/>
                  </a:cubicBezTo>
                  <a:cubicBezTo>
                    <a:pt x="2492" y="219"/>
                    <a:pt x="2486" y="214"/>
                    <a:pt x="2483" y="220"/>
                  </a:cubicBezTo>
                  <a:cubicBezTo>
                    <a:pt x="2481" y="219"/>
                    <a:pt x="2479" y="218"/>
                    <a:pt x="2475" y="218"/>
                  </a:cubicBezTo>
                  <a:cubicBezTo>
                    <a:pt x="2474" y="226"/>
                    <a:pt x="2487" y="222"/>
                    <a:pt x="2483" y="232"/>
                  </a:cubicBezTo>
                  <a:cubicBezTo>
                    <a:pt x="2479" y="233"/>
                    <a:pt x="2478" y="230"/>
                    <a:pt x="2478" y="228"/>
                  </a:cubicBezTo>
                  <a:cubicBezTo>
                    <a:pt x="2478" y="225"/>
                    <a:pt x="2473" y="227"/>
                    <a:pt x="2472" y="225"/>
                  </a:cubicBezTo>
                  <a:cubicBezTo>
                    <a:pt x="2472" y="225"/>
                    <a:pt x="2472" y="216"/>
                    <a:pt x="2469" y="218"/>
                  </a:cubicBezTo>
                  <a:cubicBezTo>
                    <a:pt x="2467" y="220"/>
                    <a:pt x="2464" y="221"/>
                    <a:pt x="2464" y="211"/>
                  </a:cubicBezTo>
                  <a:cubicBezTo>
                    <a:pt x="2459" y="214"/>
                    <a:pt x="2460" y="221"/>
                    <a:pt x="2450" y="219"/>
                  </a:cubicBezTo>
                  <a:cubicBezTo>
                    <a:pt x="2450" y="216"/>
                    <a:pt x="2449" y="214"/>
                    <a:pt x="2447" y="214"/>
                  </a:cubicBezTo>
                  <a:cubicBezTo>
                    <a:pt x="2446" y="210"/>
                    <a:pt x="2449" y="210"/>
                    <a:pt x="2453" y="209"/>
                  </a:cubicBezTo>
                  <a:cubicBezTo>
                    <a:pt x="2452" y="207"/>
                    <a:pt x="2447" y="208"/>
                    <a:pt x="2447" y="205"/>
                  </a:cubicBezTo>
                  <a:cubicBezTo>
                    <a:pt x="2436" y="206"/>
                    <a:pt x="2426" y="206"/>
                    <a:pt x="2414" y="205"/>
                  </a:cubicBezTo>
                  <a:cubicBezTo>
                    <a:pt x="2406" y="208"/>
                    <a:pt x="2418" y="211"/>
                    <a:pt x="2412" y="215"/>
                  </a:cubicBezTo>
                  <a:cubicBezTo>
                    <a:pt x="2408" y="215"/>
                    <a:pt x="2404" y="215"/>
                    <a:pt x="2401" y="215"/>
                  </a:cubicBezTo>
                  <a:cubicBezTo>
                    <a:pt x="2400" y="211"/>
                    <a:pt x="2403" y="211"/>
                    <a:pt x="2403" y="208"/>
                  </a:cubicBezTo>
                  <a:cubicBezTo>
                    <a:pt x="2400" y="201"/>
                    <a:pt x="2389" y="208"/>
                    <a:pt x="2384" y="208"/>
                  </a:cubicBezTo>
                  <a:cubicBezTo>
                    <a:pt x="2378" y="197"/>
                    <a:pt x="2422" y="207"/>
                    <a:pt x="2411" y="201"/>
                  </a:cubicBezTo>
                  <a:cubicBezTo>
                    <a:pt x="2412" y="198"/>
                    <a:pt x="2414" y="199"/>
                    <a:pt x="2414" y="200"/>
                  </a:cubicBezTo>
                  <a:cubicBezTo>
                    <a:pt x="2421" y="203"/>
                    <a:pt x="2431" y="203"/>
                    <a:pt x="2442" y="202"/>
                  </a:cubicBezTo>
                  <a:cubicBezTo>
                    <a:pt x="2444" y="201"/>
                    <a:pt x="2446" y="200"/>
                    <a:pt x="2450" y="200"/>
                  </a:cubicBezTo>
                  <a:cubicBezTo>
                    <a:pt x="2450" y="198"/>
                    <a:pt x="2450" y="195"/>
                    <a:pt x="2450" y="193"/>
                  </a:cubicBezTo>
                  <a:cubicBezTo>
                    <a:pt x="2456" y="187"/>
                    <a:pt x="2447" y="202"/>
                    <a:pt x="2458" y="202"/>
                  </a:cubicBezTo>
                  <a:cubicBezTo>
                    <a:pt x="2463" y="202"/>
                    <a:pt x="2468" y="203"/>
                    <a:pt x="2463" y="204"/>
                  </a:cubicBezTo>
                  <a:cubicBezTo>
                    <a:pt x="2460" y="206"/>
                    <a:pt x="2455" y="203"/>
                    <a:pt x="2455" y="207"/>
                  </a:cubicBezTo>
                  <a:cubicBezTo>
                    <a:pt x="2453" y="211"/>
                    <a:pt x="2468" y="210"/>
                    <a:pt x="2466" y="207"/>
                  </a:cubicBezTo>
                  <a:cubicBezTo>
                    <a:pt x="2469" y="205"/>
                    <a:pt x="2469" y="201"/>
                    <a:pt x="2474" y="202"/>
                  </a:cubicBezTo>
                  <a:cubicBezTo>
                    <a:pt x="2474" y="198"/>
                    <a:pt x="2477" y="198"/>
                    <a:pt x="2477" y="195"/>
                  </a:cubicBezTo>
                  <a:cubicBezTo>
                    <a:pt x="2481" y="195"/>
                    <a:pt x="2478" y="202"/>
                    <a:pt x="2483" y="202"/>
                  </a:cubicBezTo>
                  <a:cubicBezTo>
                    <a:pt x="2490" y="202"/>
                    <a:pt x="2492" y="198"/>
                    <a:pt x="2491" y="192"/>
                  </a:cubicBezTo>
                  <a:cubicBezTo>
                    <a:pt x="2499" y="194"/>
                    <a:pt x="2494" y="196"/>
                    <a:pt x="2494" y="201"/>
                  </a:cubicBezTo>
                  <a:cubicBezTo>
                    <a:pt x="2500" y="202"/>
                    <a:pt x="2504" y="201"/>
                    <a:pt x="2505" y="197"/>
                  </a:cubicBezTo>
                  <a:cubicBezTo>
                    <a:pt x="2508" y="196"/>
                    <a:pt x="2506" y="200"/>
                    <a:pt x="2507" y="201"/>
                  </a:cubicBezTo>
                  <a:cubicBezTo>
                    <a:pt x="2511" y="203"/>
                    <a:pt x="2519" y="200"/>
                    <a:pt x="2524" y="201"/>
                  </a:cubicBezTo>
                  <a:cubicBezTo>
                    <a:pt x="2527" y="200"/>
                    <a:pt x="2529" y="198"/>
                    <a:pt x="2529" y="194"/>
                  </a:cubicBezTo>
                  <a:cubicBezTo>
                    <a:pt x="2540" y="192"/>
                    <a:pt x="2540" y="192"/>
                    <a:pt x="2551" y="193"/>
                  </a:cubicBezTo>
                  <a:cubicBezTo>
                    <a:pt x="2553" y="201"/>
                    <a:pt x="2548" y="202"/>
                    <a:pt x="2549" y="208"/>
                  </a:cubicBezTo>
                  <a:cubicBezTo>
                    <a:pt x="2546" y="206"/>
                    <a:pt x="2542" y="205"/>
                    <a:pt x="2538" y="205"/>
                  </a:cubicBezTo>
                  <a:cubicBezTo>
                    <a:pt x="2537" y="212"/>
                    <a:pt x="2544" y="213"/>
                    <a:pt x="2543" y="219"/>
                  </a:cubicBezTo>
                  <a:close/>
                  <a:moveTo>
                    <a:pt x="2549" y="212"/>
                  </a:moveTo>
                  <a:cubicBezTo>
                    <a:pt x="2550" y="209"/>
                    <a:pt x="2552" y="213"/>
                    <a:pt x="2557" y="212"/>
                  </a:cubicBezTo>
                  <a:cubicBezTo>
                    <a:pt x="2559" y="219"/>
                    <a:pt x="2547" y="215"/>
                    <a:pt x="2552" y="224"/>
                  </a:cubicBezTo>
                  <a:cubicBezTo>
                    <a:pt x="2539" y="223"/>
                    <a:pt x="2556" y="214"/>
                    <a:pt x="2549" y="212"/>
                  </a:cubicBezTo>
                  <a:close/>
                  <a:moveTo>
                    <a:pt x="2549" y="238"/>
                  </a:moveTo>
                  <a:cubicBezTo>
                    <a:pt x="2548" y="233"/>
                    <a:pt x="2554" y="235"/>
                    <a:pt x="2554" y="231"/>
                  </a:cubicBezTo>
                  <a:cubicBezTo>
                    <a:pt x="2558" y="231"/>
                    <a:pt x="2557" y="235"/>
                    <a:pt x="2557" y="238"/>
                  </a:cubicBezTo>
                  <a:cubicBezTo>
                    <a:pt x="2555" y="238"/>
                    <a:pt x="2552" y="238"/>
                    <a:pt x="2549" y="238"/>
                  </a:cubicBezTo>
                  <a:close/>
                  <a:moveTo>
                    <a:pt x="2553" y="146"/>
                  </a:moveTo>
                  <a:cubicBezTo>
                    <a:pt x="2555" y="146"/>
                    <a:pt x="2557" y="146"/>
                    <a:pt x="2559" y="146"/>
                  </a:cubicBezTo>
                  <a:cubicBezTo>
                    <a:pt x="2559" y="153"/>
                    <a:pt x="2538" y="146"/>
                    <a:pt x="2553" y="146"/>
                  </a:cubicBezTo>
                  <a:close/>
                  <a:moveTo>
                    <a:pt x="2570" y="167"/>
                  </a:moveTo>
                  <a:cubicBezTo>
                    <a:pt x="2567" y="175"/>
                    <a:pt x="2562" y="165"/>
                    <a:pt x="2564" y="160"/>
                  </a:cubicBezTo>
                  <a:cubicBezTo>
                    <a:pt x="2568" y="161"/>
                    <a:pt x="2565" y="167"/>
                    <a:pt x="2570" y="167"/>
                  </a:cubicBezTo>
                  <a:close/>
                  <a:moveTo>
                    <a:pt x="2567" y="137"/>
                  </a:moveTo>
                  <a:cubicBezTo>
                    <a:pt x="2570" y="138"/>
                    <a:pt x="2572" y="140"/>
                    <a:pt x="2572" y="144"/>
                  </a:cubicBezTo>
                  <a:cubicBezTo>
                    <a:pt x="2569" y="143"/>
                    <a:pt x="2566" y="141"/>
                    <a:pt x="2567" y="137"/>
                  </a:cubicBezTo>
                  <a:close/>
                  <a:moveTo>
                    <a:pt x="2568" y="191"/>
                  </a:moveTo>
                  <a:cubicBezTo>
                    <a:pt x="2570" y="191"/>
                    <a:pt x="2573" y="191"/>
                    <a:pt x="2576" y="191"/>
                  </a:cubicBezTo>
                  <a:cubicBezTo>
                    <a:pt x="2575" y="196"/>
                    <a:pt x="2564" y="192"/>
                    <a:pt x="2559" y="193"/>
                  </a:cubicBezTo>
                  <a:cubicBezTo>
                    <a:pt x="2560" y="190"/>
                    <a:pt x="2564" y="191"/>
                    <a:pt x="2568" y="191"/>
                  </a:cubicBezTo>
                  <a:close/>
                  <a:moveTo>
                    <a:pt x="2559" y="200"/>
                  </a:moveTo>
                  <a:cubicBezTo>
                    <a:pt x="2562" y="205"/>
                    <a:pt x="2573" y="201"/>
                    <a:pt x="2565" y="198"/>
                  </a:cubicBezTo>
                  <a:cubicBezTo>
                    <a:pt x="2567" y="194"/>
                    <a:pt x="2569" y="198"/>
                    <a:pt x="2576" y="195"/>
                  </a:cubicBezTo>
                  <a:cubicBezTo>
                    <a:pt x="2576" y="199"/>
                    <a:pt x="2564" y="203"/>
                    <a:pt x="2576" y="202"/>
                  </a:cubicBezTo>
                  <a:cubicBezTo>
                    <a:pt x="2586" y="207"/>
                    <a:pt x="2561" y="202"/>
                    <a:pt x="2562" y="207"/>
                  </a:cubicBezTo>
                  <a:cubicBezTo>
                    <a:pt x="2560" y="208"/>
                    <a:pt x="2560" y="206"/>
                    <a:pt x="2560" y="205"/>
                  </a:cubicBezTo>
                  <a:cubicBezTo>
                    <a:pt x="2560" y="203"/>
                    <a:pt x="2560" y="202"/>
                    <a:pt x="2559" y="200"/>
                  </a:cubicBezTo>
                  <a:close/>
                  <a:moveTo>
                    <a:pt x="2595" y="219"/>
                  </a:moveTo>
                  <a:cubicBezTo>
                    <a:pt x="2593" y="223"/>
                    <a:pt x="2594" y="216"/>
                    <a:pt x="2590" y="216"/>
                  </a:cubicBezTo>
                  <a:cubicBezTo>
                    <a:pt x="2587" y="216"/>
                    <a:pt x="2585" y="212"/>
                    <a:pt x="2584" y="207"/>
                  </a:cubicBezTo>
                  <a:cubicBezTo>
                    <a:pt x="2588" y="207"/>
                    <a:pt x="2592" y="207"/>
                    <a:pt x="2595" y="207"/>
                  </a:cubicBezTo>
                  <a:cubicBezTo>
                    <a:pt x="2597" y="214"/>
                    <a:pt x="2590" y="214"/>
                    <a:pt x="2595" y="219"/>
                  </a:cubicBezTo>
                  <a:close/>
                  <a:moveTo>
                    <a:pt x="2591" y="263"/>
                  </a:moveTo>
                  <a:cubicBezTo>
                    <a:pt x="2589" y="268"/>
                    <a:pt x="2586" y="265"/>
                    <a:pt x="2588" y="256"/>
                  </a:cubicBezTo>
                  <a:cubicBezTo>
                    <a:pt x="2590" y="250"/>
                    <a:pt x="2591" y="262"/>
                    <a:pt x="2591" y="263"/>
                  </a:cubicBezTo>
                  <a:close/>
                  <a:moveTo>
                    <a:pt x="2582" y="230"/>
                  </a:moveTo>
                  <a:cubicBezTo>
                    <a:pt x="2594" y="232"/>
                    <a:pt x="2580" y="245"/>
                    <a:pt x="2582" y="230"/>
                  </a:cubicBezTo>
                  <a:close/>
                  <a:moveTo>
                    <a:pt x="2571" y="228"/>
                  </a:moveTo>
                  <a:cubicBezTo>
                    <a:pt x="2572" y="226"/>
                    <a:pt x="2573" y="224"/>
                    <a:pt x="2576" y="224"/>
                  </a:cubicBezTo>
                  <a:cubicBezTo>
                    <a:pt x="2575" y="220"/>
                    <a:pt x="2568" y="222"/>
                    <a:pt x="2571" y="214"/>
                  </a:cubicBezTo>
                  <a:cubicBezTo>
                    <a:pt x="2579" y="214"/>
                    <a:pt x="2580" y="220"/>
                    <a:pt x="2582" y="226"/>
                  </a:cubicBezTo>
                  <a:cubicBezTo>
                    <a:pt x="2579" y="228"/>
                    <a:pt x="2576" y="228"/>
                    <a:pt x="2571" y="228"/>
                  </a:cubicBezTo>
                  <a:close/>
                  <a:moveTo>
                    <a:pt x="2560" y="221"/>
                  </a:moveTo>
                  <a:cubicBezTo>
                    <a:pt x="2560" y="219"/>
                    <a:pt x="2560" y="217"/>
                    <a:pt x="2560" y="214"/>
                  </a:cubicBezTo>
                  <a:cubicBezTo>
                    <a:pt x="2562" y="214"/>
                    <a:pt x="2565" y="214"/>
                    <a:pt x="2568" y="214"/>
                  </a:cubicBezTo>
                  <a:cubicBezTo>
                    <a:pt x="2565" y="217"/>
                    <a:pt x="2567" y="223"/>
                    <a:pt x="2560" y="221"/>
                  </a:cubicBezTo>
                  <a:close/>
                  <a:moveTo>
                    <a:pt x="2568" y="231"/>
                  </a:moveTo>
                  <a:cubicBezTo>
                    <a:pt x="2578" y="230"/>
                    <a:pt x="2572" y="243"/>
                    <a:pt x="2577" y="247"/>
                  </a:cubicBezTo>
                  <a:cubicBezTo>
                    <a:pt x="2566" y="249"/>
                    <a:pt x="2569" y="238"/>
                    <a:pt x="2568" y="231"/>
                  </a:cubicBezTo>
                  <a:close/>
                  <a:moveTo>
                    <a:pt x="2569" y="254"/>
                  </a:moveTo>
                  <a:cubicBezTo>
                    <a:pt x="2568" y="251"/>
                    <a:pt x="2576" y="246"/>
                    <a:pt x="2577" y="252"/>
                  </a:cubicBezTo>
                  <a:cubicBezTo>
                    <a:pt x="2576" y="254"/>
                    <a:pt x="2578" y="254"/>
                    <a:pt x="2580" y="254"/>
                  </a:cubicBezTo>
                  <a:cubicBezTo>
                    <a:pt x="2578" y="261"/>
                    <a:pt x="2574" y="252"/>
                    <a:pt x="2569" y="254"/>
                  </a:cubicBezTo>
                  <a:close/>
                  <a:moveTo>
                    <a:pt x="2579" y="242"/>
                  </a:moveTo>
                  <a:cubicBezTo>
                    <a:pt x="2578" y="238"/>
                    <a:pt x="2592" y="239"/>
                    <a:pt x="2588" y="244"/>
                  </a:cubicBezTo>
                  <a:cubicBezTo>
                    <a:pt x="2586" y="245"/>
                    <a:pt x="2584" y="245"/>
                    <a:pt x="2582" y="245"/>
                  </a:cubicBezTo>
                  <a:cubicBezTo>
                    <a:pt x="2583" y="243"/>
                    <a:pt x="2581" y="242"/>
                    <a:pt x="2579" y="242"/>
                  </a:cubicBezTo>
                  <a:close/>
                  <a:moveTo>
                    <a:pt x="2585" y="275"/>
                  </a:moveTo>
                  <a:cubicBezTo>
                    <a:pt x="2586" y="269"/>
                    <a:pt x="2596" y="271"/>
                    <a:pt x="2596" y="266"/>
                  </a:cubicBezTo>
                  <a:cubicBezTo>
                    <a:pt x="2603" y="268"/>
                    <a:pt x="2595" y="278"/>
                    <a:pt x="2585" y="275"/>
                  </a:cubicBezTo>
                  <a:close/>
                  <a:moveTo>
                    <a:pt x="2631" y="232"/>
                  </a:moveTo>
                  <a:cubicBezTo>
                    <a:pt x="2638" y="234"/>
                    <a:pt x="2643" y="237"/>
                    <a:pt x="2643" y="246"/>
                  </a:cubicBezTo>
                  <a:cubicBezTo>
                    <a:pt x="2637" y="247"/>
                    <a:pt x="2639" y="243"/>
                    <a:pt x="2637" y="241"/>
                  </a:cubicBezTo>
                  <a:cubicBezTo>
                    <a:pt x="2635" y="239"/>
                    <a:pt x="2630" y="235"/>
                    <a:pt x="2631" y="232"/>
                  </a:cubicBezTo>
                  <a:close/>
                  <a:moveTo>
                    <a:pt x="2613" y="263"/>
                  </a:moveTo>
                  <a:cubicBezTo>
                    <a:pt x="2615" y="262"/>
                    <a:pt x="2622" y="254"/>
                    <a:pt x="2615" y="253"/>
                  </a:cubicBezTo>
                  <a:cubicBezTo>
                    <a:pt x="2616" y="247"/>
                    <a:pt x="2624" y="253"/>
                    <a:pt x="2621" y="258"/>
                  </a:cubicBezTo>
                  <a:cubicBezTo>
                    <a:pt x="2630" y="261"/>
                    <a:pt x="2623" y="250"/>
                    <a:pt x="2632" y="253"/>
                  </a:cubicBezTo>
                  <a:cubicBezTo>
                    <a:pt x="2632" y="255"/>
                    <a:pt x="2631" y="255"/>
                    <a:pt x="2629" y="255"/>
                  </a:cubicBezTo>
                  <a:cubicBezTo>
                    <a:pt x="2629" y="262"/>
                    <a:pt x="2633" y="260"/>
                    <a:pt x="2629" y="267"/>
                  </a:cubicBezTo>
                  <a:cubicBezTo>
                    <a:pt x="2628" y="270"/>
                    <a:pt x="2629" y="272"/>
                    <a:pt x="2624" y="272"/>
                  </a:cubicBezTo>
                  <a:cubicBezTo>
                    <a:pt x="2621" y="265"/>
                    <a:pt x="2628" y="266"/>
                    <a:pt x="2626" y="260"/>
                  </a:cubicBezTo>
                  <a:cubicBezTo>
                    <a:pt x="2620" y="259"/>
                    <a:pt x="2621" y="264"/>
                    <a:pt x="2621" y="267"/>
                  </a:cubicBezTo>
                  <a:cubicBezTo>
                    <a:pt x="2611" y="266"/>
                    <a:pt x="2598" y="263"/>
                    <a:pt x="2604" y="254"/>
                  </a:cubicBezTo>
                  <a:cubicBezTo>
                    <a:pt x="2600" y="253"/>
                    <a:pt x="2599" y="255"/>
                    <a:pt x="2599" y="258"/>
                  </a:cubicBezTo>
                  <a:cubicBezTo>
                    <a:pt x="2591" y="257"/>
                    <a:pt x="2601" y="253"/>
                    <a:pt x="2599" y="249"/>
                  </a:cubicBezTo>
                  <a:cubicBezTo>
                    <a:pt x="2604" y="251"/>
                    <a:pt x="2608" y="253"/>
                    <a:pt x="2607" y="261"/>
                  </a:cubicBezTo>
                  <a:cubicBezTo>
                    <a:pt x="2610" y="260"/>
                    <a:pt x="2612" y="261"/>
                    <a:pt x="2613" y="263"/>
                  </a:cubicBezTo>
                  <a:close/>
                  <a:moveTo>
                    <a:pt x="2607" y="232"/>
                  </a:moveTo>
                  <a:cubicBezTo>
                    <a:pt x="2605" y="239"/>
                    <a:pt x="2611" y="238"/>
                    <a:pt x="2610" y="244"/>
                  </a:cubicBezTo>
                  <a:cubicBezTo>
                    <a:pt x="2607" y="244"/>
                    <a:pt x="2604" y="244"/>
                    <a:pt x="2601" y="244"/>
                  </a:cubicBezTo>
                  <a:cubicBezTo>
                    <a:pt x="2601" y="240"/>
                    <a:pt x="2605" y="239"/>
                    <a:pt x="2604" y="235"/>
                  </a:cubicBezTo>
                  <a:cubicBezTo>
                    <a:pt x="2601" y="236"/>
                    <a:pt x="2598" y="238"/>
                    <a:pt x="2599" y="242"/>
                  </a:cubicBezTo>
                  <a:cubicBezTo>
                    <a:pt x="2594" y="240"/>
                    <a:pt x="2594" y="234"/>
                    <a:pt x="2593" y="230"/>
                  </a:cubicBezTo>
                  <a:cubicBezTo>
                    <a:pt x="2596" y="232"/>
                    <a:pt x="2600" y="233"/>
                    <a:pt x="2607" y="232"/>
                  </a:cubicBezTo>
                  <a:close/>
                  <a:moveTo>
                    <a:pt x="2584" y="198"/>
                  </a:moveTo>
                  <a:cubicBezTo>
                    <a:pt x="2586" y="194"/>
                    <a:pt x="2591" y="196"/>
                    <a:pt x="2592" y="197"/>
                  </a:cubicBezTo>
                  <a:cubicBezTo>
                    <a:pt x="2593" y="198"/>
                    <a:pt x="2597" y="197"/>
                    <a:pt x="2598" y="197"/>
                  </a:cubicBezTo>
                  <a:cubicBezTo>
                    <a:pt x="2599" y="198"/>
                    <a:pt x="2598" y="204"/>
                    <a:pt x="2603" y="202"/>
                  </a:cubicBezTo>
                  <a:cubicBezTo>
                    <a:pt x="2596" y="210"/>
                    <a:pt x="2590" y="198"/>
                    <a:pt x="2584" y="198"/>
                  </a:cubicBezTo>
                  <a:close/>
                  <a:moveTo>
                    <a:pt x="2586" y="146"/>
                  </a:moveTo>
                  <a:cubicBezTo>
                    <a:pt x="2591" y="147"/>
                    <a:pt x="2598" y="146"/>
                    <a:pt x="2597" y="153"/>
                  </a:cubicBezTo>
                  <a:cubicBezTo>
                    <a:pt x="2591" y="149"/>
                    <a:pt x="2594" y="153"/>
                    <a:pt x="2586" y="153"/>
                  </a:cubicBezTo>
                  <a:cubicBezTo>
                    <a:pt x="2586" y="151"/>
                    <a:pt x="2586" y="148"/>
                    <a:pt x="2586" y="146"/>
                  </a:cubicBezTo>
                  <a:close/>
                  <a:moveTo>
                    <a:pt x="2625" y="171"/>
                  </a:moveTo>
                  <a:cubicBezTo>
                    <a:pt x="2625" y="167"/>
                    <a:pt x="2625" y="163"/>
                    <a:pt x="2625" y="159"/>
                  </a:cubicBezTo>
                  <a:cubicBezTo>
                    <a:pt x="2633" y="155"/>
                    <a:pt x="2633" y="174"/>
                    <a:pt x="2625" y="171"/>
                  </a:cubicBezTo>
                  <a:close/>
                  <a:moveTo>
                    <a:pt x="2639" y="182"/>
                  </a:moveTo>
                  <a:cubicBezTo>
                    <a:pt x="2631" y="179"/>
                    <a:pt x="2636" y="177"/>
                    <a:pt x="2633" y="168"/>
                  </a:cubicBezTo>
                  <a:cubicBezTo>
                    <a:pt x="2636" y="168"/>
                    <a:pt x="2638" y="168"/>
                    <a:pt x="2641" y="168"/>
                  </a:cubicBezTo>
                  <a:cubicBezTo>
                    <a:pt x="2638" y="171"/>
                    <a:pt x="2638" y="177"/>
                    <a:pt x="2639" y="182"/>
                  </a:cubicBezTo>
                  <a:close/>
                  <a:moveTo>
                    <a:pt x="2655" y="173"/>
                  </a:moveTo>
                  <a:cubicBezTo>
                    <a:pt x="2662" y="173"/>
                    <a:pt x="2656" y="181"/>
                    <a:pt x="2655" y="182"/>
                  </a:cubicBezTo>
                  <a:cubicBezTo>
                    <a:pt x="2647" y="181"/>
                    <a:pt x="2658" y="177"/>
                    <a:pt x="2655" y="173"/>
                  </a:cubicBezTo>
                  <a:close/>
                  <a:moveTo>
                    <a:pt x="2663" y="189"/>
                  </a:moveTo>
                  <a:cubicBezTo>
                    <a:pt x="2661" y="187"/>
                    <a:pt x="2657" y="187"/>
                    <a:pt x="2652" y="187"/>
                  </a:cubicBezTo>
                  <a:cubicBezTo>
                    <a:pt x="2652" y="183"/>
                    <a:pt x="2668" y="182"/>
                    <a:pt x="2663" y="189"/>
                  </a:cubicBezTo>
                  <a:close/>
                  <a:moveTo>
                    <a:pt x="2660" y="154"/>
                  </a:moveTo>
                  <a:cubicBezTo>
                    <a:pt x="2656" y="157"/>
                    <a:pt x="2653" y="157"/>
                    <a:pt x="2649" y="154"/>
                  </a:cubicBezTo>
                  <a:cubicBezTo>
                    <a:pt x="2651" y="146"/>
                    <a:pt x="2656" y="154"/>
                    <a:pt x="2666" y="151"/>
                  </a:cubicBezTo>
                  <a:cubicBezTo>
                    <a:pt x="2668" y="150"/>
                    <a:pt x="2668" y="146"/>
                    <a:pt x="2674" y="147"/>
                  </a:cubicBezTo>
                  <a:cubicBezTo>
                    <a:pt x="2675" y="151"/>
                    <a:pt x="2672" y="151"/>
                    <a:pt x="2668" y="151"/>
                  </a:cubicBezTo>
                  <a:cubicBezTo>
                    <a:pt x="2668" y="154"/>
                    <a:pt x="2669" y="156"/>
                    <a:pt x="2671" y="156"/>
                  </a:cubicBezTo>
                  <a:cubicBezTo>
                    <a:pt x="2671" y="162"/>
                    <a:pt x="2661" y="156"/>
                    <a:pt x="2660" y="154"/>
                  </a:cubicBezTo>
                  <a:close/>
                  <a:moveTo>
                    <a:pt x="2669" y="168"/>
                  </a:moveTo>
                  <a:cubicBezTo>
                    <a:pt x="2669" y="166"/>
                    <a:pt x="2669" y="165"/>
                    <a:pt x="2669" y="163"/>
                  </a:cubicBezTo>
                  <a:cubicBezTo>
                    <a:pt x="2670" y="163"/>
                    <a:pt x="2672" y="163"/>
                    <a:pt x="2674" y="163"/>
                  </a:cubicBezTo>
                  <a:cubicBezTo>
                    <a:pt x="2674" y="165"/>
                    <a:pt x="2674" y="166"/>
                    <a:pt x="2674" y="168"/>
                  </a:cubicBezTo>
                  <a:cubicBezTo>
                    <a:pt x="2672" y="168"/>
                    <a:pt x="2670" y="168"/>
                    <a:pt x="2669" y="168"/>
                  </a:cubicBezTo>
                  <a:close/>
                  <a:moveTo>
                    <a:pt x="2685" y="184"/>
                  </a:moveTo>
                  <a:cubicBezTo>
                    <a:pt x="2679" y="185"/>
                    <a:pt x="2681" y="180"/>
                    <a:pt x="2677" y="179"/>
                  </a:cubicBezTo>
                  <a:cubicBezTo>
                    <a:pt x="2678" y="174"/>
                    <a:pt x="2688" y="179"/>
                    <a:pt x="2685" y="184"/>
                  </a:cubicBezTo>
                  <a:close/>
                  <a:moveTo>
                    <a:pt x="2682" y="135"/>
                  </a:moveTo>
                  <a:cubicBezTo>
                    <a:pt x="2682" y="141"/>
                    <a:pt x="2671" y="138"/>
                    <a:pt x="2671" y="144"/>
                  </a:cubicBezTo>
                  <a:cubicBezTo>
                    <a:pt x="2669" y="142"/>
                    <a:pt x="2661" y="135"/>
                    <a:pt x="2663" y="147"/>
                  </a:cubicBezTo>
                  <a:cubicBezTo>
                    <a:pt x="2659" y="148"/>
                    <a:pt x="2661" y="140"/>
                    <a:pt x="2660" y="140"/>
                  </a:cubicBezTo>
                  <a:cubicBezTo>
                    <a:pt x="2657" y="139"/>
                    <a:pt x="2654" y="144"/>
                    <a:pt x="2649" y="140"/>
                  </a:cubicBezTo>
                  <a:cubicBezTo>
                    <a:pt x="2647" y="139"/>
                    <a:pt x="2630" y="144"/>
                    <a:pt x="2632" y="136"/>
                  </a:cubicBezTo>
                  <a:cubicBezTo>
                    <a:pt x="2628" y="135"/>
                    <a:pt x="2627" y="137"/>
                    <a:pt x="2627" y="140"/>
                  </a:cubicBezTo>
                  <a:cubicBezTo>
                    <a:pt x="2620" y="142"/>
                    <a:pt x="2621" y="136"/>
                    <a:pt x="2616" y="136"/>
                  </a:cubicBezTo>
                  <a:cubicBezTo>
                    <a:pt x="2613" y="137"/>
                    <a:pt x="2614" y="141"/>
                    <a:pt x="2610" y="141"/>
                  </a:cubicBezTo>
                  <a:cubicBezTo>
                    <a:pt x="2606" y="142"/>
                    <a:pt x="2605" y="139"/>
                    <a:pt x="2605" y="136"/>
                  </a:cubicBezTo>
                  <a:cubicBezTo>
                    <a:pt x="2593" y="134"/>
                    <a:pt x="2592" y="141"/>
                    <a:pt x="2583" y="141"/>
                  </a:cubicBezTo>
                  <a:cubicBezTo>
                    <a:pt x="2583" y="139"/>
                    <a:pt x="2583" y="136"/>
                    <a:pt x="2583" y="134"/>
                  </a:cubicBezTo>
                  <a:cubicBezTo>
                    <a:pt x="2573" y="133"/>
                    <a:pt x="2581" y="141"/>
                    <a:pt x="2572" y="137"/>
                  </a:cubicBezTo>
                  <a:cubicBezTo>
                    <a:pt x="2572" y="137"/>
                    <a:pt x="2568" y="134"/>
                    <a:pt x="2569" y="134"/>
                  </a:cubicBezTo>
                  <a:cubicBezTo>
                    <a:pt x="2568" y="134"/>
                    <a:pt x="2561" y="140"/>
                    <a:pt x="2561" y="134"/>
                  </a:cubicBezTo>
                  <a:cubicBezTo>
                    <a:pt x="2558" y="135"/>
                    <a:pt x="2560" y="137"/>
                    <a:pt x="2561" y="137"/>
                  </a:cubicBezTo>
                  <a:cubicBezTo>
                    <a:pt x="2562" y="142"/>
                    <a:pt x="2551" y="138"/>
                    <a:pt x="2547" y="139"/>
                  </a:cubicBezTo>
                  <a:cubicBezTo>
                    <a:pt x="2547" y="137"/>
                    <a:pt x="2551" y="138"/>
                    <a:pt x="2553" y="137"/>
                  </a:cubicBezTo>
                  <a:cubicBezTo>
                    <a:pt x="2561" y="132"/>
                    <a:pt x="2569" y="128"/>
                    <a:pt x="2577" y="127"/>
                  </a:cubicBezTo>
                  <a:cubicBezTo>
                    <a:pt x="2578" y="127"/>
                    <a:pt x="2577" y="132"/>
                    <a:pt x="2578" y="132"/>
                  </a:cubicBezTo>
                  <a:cubicBezTo>
                    <a:pt x="2580" y="134"/>
                    <a:pt x="2586" y="128"/>
                    <a:pt x="2586" y="127"/>
                  </a:cubicBezTo>
                  <a:cubicBezTo>
                    <a:pt x="2587" y="128"/>
                    <a:pt x="2589" y="128"/>
                    <a:pt x="2591" y="129"/>
                  </a:cubicBezTo>
                  <a:cubicBezTo>
                    <a:pt x="2594" y="131"/>
                    <a:pt x="2595" y="131"/>
                    <a:pt x="2599" y="131"/>
                  </a:cubicBezTo>
                  <a:cubicBezTo>
                    <a:pt x="2601" y="132"/>
                    <a:pt x="2603" y="134"/>
                    <a:pt x="2602" y="134"/>
                  </a:cubicBezTo>
                  <a:cubicBezTo>
                    <a:pt x="2606" y="134"/>
                    <a:pt x="2608" y="130"/>
                    <a:pt x="2616" y="131"/>
                  </a:cubicBezTo>
                  <a:cubicBezTo>
                    <a:pt x="2617" y="131"/>
                    <a:pt x="2619" y="133"/>
                    <a:pt x="2619" y="133"/>
                  </a:cubicBezTo>
                  <a:cubicBezTo>
                    <a:pt x="2621" y="134"/>
                    <a:pt x="2623" y="131"/>
                    <a:pt x="2627" y="131"/>
                  </a:cubicBezTo>
                  <a:cubicBezTo>
                    <a:pt x="2626" y="131"/>
                    <a:pt x="2631" y="135"/>
                    <a:pt x="2632" y="133"/>
                  </a:cubicBezTo>
                  <a:cubicBezTo>
                    <a:pt x="2635" y="130"/>
                    <a:pt x="2634" y="133"/>
                    <a:pt x="2638" y="133"/>
                  </a:cubicBezTo>
                  <a:cubicBezTo>
                    <a:pt x="2642" y="133"/>
                    <a:pt x="2643" y="131"/>
                    <a:pt x="2646" y="131"/>
                  </a:cubicBezTo>
                  <a:cubicBezTo>
                    <a:pt x="2657" y="131"/>
                    <a:pt x="2670" y="132"/>
                    <a:pt x="2682" y="135"/>
                  </a:cubicBezTo>
                  <a:close/>
                  <a:moveTo>
                    <a:pt x="2665" y="116"/>
                  </a:moveTo>
                  <a:cubicBezTo>
                    <a:pt x="2665" y="119"/>
                    <a:pt x="2662" y="118"/>
                    <a:pt x="2660" y="119"/>
                  </a:cubicBezTo>
                  <a:cubicBezTo>
                    <a:pt x="2657" y="120"/>
                    <a:pt x="2657" y="124"/>
                    <a:pt x="2651" y="124"/>
                  </a:cubicBezTo>
                  <a:cubicBezTo>
                    <a:pt x="2653" y="122"/>
                    <a:pt x="2654" y="120"/>
                    <a:pt x="2654" y="116"/>
                  </a:cubicBezTo>
                  <a:cubicBezTo>
                    <a:pt x="2650" y="116"/>
                    <a:pt x="2645" y="126"/>
                    <a:pt x="2646" y="117"/>
                  </a:cubicBezTo>
                  <a:cubicBezTo>
                    <a:pt x="2650" y="117"/>
                    <a:pt x="2651" y="115"/>
                    <a:pt x="2651" y="112"/>
                  </a:cubicBezTo>
                  <a:cubicBezTo>
                    <a:pt x="2660" y="110"/>
                    <a:pt x="2657" y="118"/>
                    <a:pt x="2665" y="116"/>
                  </a:cubicBezTo>
                  <a:close/>
                  <a:moveTo>
                    <a:pt x="2673" y="107"/>
                  </a:moveTo>
                  <a:cubicBezTo>
                    <a:pt x="2664" y="110"/>
                    <a:pt x="2671" y="99"/>
                    <a:pt x="2662" y="102"/>
                  </a:cubicBezTo>
                  <a:cubicBezTo>
                    <a:pt x="2664" y="92"/>
                    <a:pt x="2681" y="102"/>
                    <a:pt x="2673" y="107"/>
                  </a:cubicBezTo>
                  <a:close/>
                  <a:moveTo>
                    <a:pt x="2724" y="24"/>
                  </a:moveTo>
                  <a:cubicBezTo>
                    <a:pt x="2718" y="17"/>
                    <a:pt x="2716" y="33"/>
                    <a:pt x="2715" y="19"/>
                  </a:cubicBezTo>
                  <a:cubicBezTo>
                    <a:pt x="2721" y="18"/>
                    <a:pt x="2724" y="19"/>
                    <a:pt x="2724" y="24"/>
                  </a:cubicBezTo>
                  <a:close/>
                  <a:moveTo>
                    <a:pt x="2694" y="71"/>
                  </a:moveTo>
                  <a:cubicBezTo>
                    <a:pt x="2697" y="71"/>
                    <a:pt x="2697" y="74"/>
                    <a:pt x="2697" y="76"/>
                  </a:cubicBezTo>
                  <a:cubicBezTo>
                    <a:pt x="2700" y="76"/>
                    <a:pt x="2702" y="75"/>
                    <a:pt x="2703" y="73"/>
                  </a:cubicBezTo>
                  <a:cubicBezTo>
                    <a:pt x="2706" y="75"/>
                    <a:pt x="2708" y="78"/>
                    <a:pt x="2708" y="83"/>
                  </a:cubicBezTo>
                  <a:cubicBezTo>
                    <a:pt x="2703" y="77"/>
                    <a:pt x="2689" y="81"/>
                    <a:pt x="2694" y="71"/>
                  </a:cubicBezTo>
                  <a:close/>
                  <a:moveTo>
                    <a:pt x="2700" y="106"/>
                  </a:moveTo>
                  <a:cubicBezTo>
                    <a:pt x="2698" y="104"/>
                    <a:pt x="2690" y="106"/>
                    <a:pt x="2692" y="99"/>
                  </a:cubicBezTo>
                  <a:cubicBezTo>
                    <a:pt x="2698" y="99"/>
                    <a:pt x="2701" y="101"/>
                    <a:pt x="2700" y="106"/>
                  </a:cubicBezTo>
                  <a:close/>
                  <a:moveTo>
                    <a:pt x="2698" y="97"/>
                  </a:moveTo>
                  <a:cubicBezTo>
                    <a:pt x="2698" y="95"/>
                    <a:pt x="2701" y="95"/>
                    <a:pt x="2703" y="94"/>
                  </a:cubicBezTo>
                  <a:cubicBezTo>
                    <a:pt x="2705" y="94"/>
                    <a:pt x="2707" y="94"/>
                    <a:pt x="2708" y="94"/>
                  </a:cubicBezTo>
                  <a:cubicBezTo>
                    <a:pt x="2708" y="98"/>
                    <a:pt x="2702" y="96"/>
                    <a:pt x="2698" y="97"/>
                  </a:cubicBezTo>
                  <a:close/>
                  <a:moveTo>
                    <a:pt x="2722" y="99"/>
                  </a:moveTo>
                  <a:cubicBezTo>
                    <a:pt x="2722" y="101"/>
                    <a:pt x="2725" y="101"/>
                    <a:pt x="2725" y="101"/>
                  </a:cubicBezTo>
                  <a:cubicBezTo>
                    <a:pt x="2725" y="105"/>
                    <a:pt x="2721" y="107"/>
                    <a:pt x="2725" y="108"/>
                  </a:cubicBezTo>
                  <a:cubicBezTo>
                    <a:pt x="2726" y="109"/>
                    <a:pt x="2720" y="111"/>
                    <a:pt x="2720" y="111"/>
                  </a:cubicBezTo>
                  <a:cubicBezTo>
                    <a:pt x="2717" y="108"/>
                    <a:pt x="2722" y="104"/>
                    <a:pt x="2717" y="104"/>
                  </a:cubicBezTo>
                  <a:cubicBezTo>
                    <a:pt x="2713" y="103"/>
                    <a:pt x="2717" y="101"/>
                    <a:pt x="2717" y="99"/>
                  </a:cubicBezTo>
                  <a:cubicBezTo>
                    <a:pt x="2717" y="97"/>
                    <a:pt x="2716" y="97"/>
                    <a:pt x="2714" y="97"/>
                  </a:cubicBezTo>
                  <a:cubicBezTo>
                    <a:pt x="2707" y="92"/>
                    <a:pt x="2720" y="98"/>
                    <a:pt x="2725" y="96"/>
                  </a:cubicBezTo>
                  <a:cubicBezTo>
                    <a:pt x="2727" y="99"/>
                    <a:pt x="2722" y="98"/>
                    <a:pt x="2722" y="99"/>
                  </a:cubicBezTo>
                  <a:close/>
                  <a:moveTo>
                    <a:pt x="2733" y="99"/>
                  </a:moveTo>
                  <a:cubicBezTo>
                    <a:pt x="2732" y="91"/>
                    <a:pt x="2741" y="92"/>
                    <a:pt x="2741" y="87"/>
                  </a:cubicBezTo>
                  <a:cubicBezTo>
                    <a:pt x="2744" y="79"/>
                    <a:pt x="2745" y="104"/>
                    <a:pt x="2733" y="99"/>
                  </a:cubicBezTo>
                  <a:close/>
                  <a:moveTo>
                    <a:pt x="2736" y="106"/>
                  </a:moveTo>
                  <a:cubicBezTo>
                    <a:pt x="2736" y="102"/>
                    <a:pt x="2748" y="108"/>
                    <a:pt x="2747" y="112"/>
                  </a:cubicBezTo>
                  <a:cubicBezTo>
                    <a:pt x="2738" y="115"/>
                    <a:pt x="2741" y="106"/>
                    <a:pt x="2736" y="106"/>
                  </a:cubicBezTo>
                  <a:close/>
                  <a:moveTo>
                    <a:pt x="2766" y="79"/>
                  </a:moveTo>
                  <a:cubicBezTo>
                    <a:pt x="2767" y="75"/>
                    <a:pt x="2769" y="81"/>
                    <a:pt x="2769" y="84"/>
                  </a:cubicBezTo>
                  <a:cubicBezTo>
                    <a:pt x="2768" y="88"/>
                    <a:pt x="2765" y="82"/>
                    <a:pt x="2766" y="79"/>
                  </a:cubicBezTo>
                  <a:close/>
                  <a:moveTo>
                    <a:pt x="2762" y="23"/>
                  </a:moveTo>
                  <a:cubicBezTo>
                    <a:pt x="2767" y="22"/>
                    <a:pt x="2766" y="33"/>
                    <a:pt x="2759" y="30"/>
                  </a:cubicBezTo>
                  <a:cubicBezTo>
                    <a:pt x="2759" y="28"/>
                    <a:pt x="2759" y="27"/>
                    <a:pt x="2759" y="25"/>
                  </a:cubicBezTo>
                  <a:cubicBezTo>
                    <a:pt x="2762" y="26"/>
                    <a:pt x="2762" y="24"/>
                    <a:pt x="2762" y="23"/>
                  </a:cubicBezTo>
                  <a:close/>
                  <a:moveTo>
                    <a:pt x="2757" y="35"/>
                  </a:moveTo>
                  <a:cubicBezTo>
                    <a:pt x="2761" y="35"/>
                    <a:pt x="2758" y="42"/>
                    <a:pt x="2762" y="42"/>
                  </a:cubicBezTo>
                  <a:cubicBezTo>
                    <a:pt x="2759" y="49"/>
                    <a:pt x="2751" y="37"/>
                    <a:pt x="2757" y="35"/>
                  </a:cubicBezTo>
                  <a:close/>
                  <a:moveTo>
                    <a:pt x="2761" y="100"/>
                  </a:moveTo>
                  <a:cubicBezTo>
                    <a:pt x="2757" y="99"/>
                    <a:pt x="2756" y="96"/>
                    <a:pt x="2755" y="91"/>
                  </a:cubicBezTo>
                  <a:cubicBezTo>
                    <a:pt x="2763" y="89"/>
                    <a:pt x="2760" y="96"/>
                    <a:pt x="2761" y="100"/>
                  </a:cubicBezTo>
                  <a:close/>
                  <a:moveTo>
                    <a:pt x="2769" y="112"/>
                  </a:moveTo>
                  <a:cubicBezTo>
                    <a:pt x="2767" y="112"/>
                    <a:pt x="2765" y="112"/>
                    <a:pt x="2764" y="112"/>
                  </a:cubicBezTo>
                  <a:cubicBezTo>
                    <a:pt x="2764" y="110"/>
                    <a:pt x="2763" y="110"/>
                    <a:pt x="2761" y="110"/>
                  </a:cubicBezTo>
                  <a:cubicBezTo>
                    <a:pt x="2760" y="105"/>
                    <a:pt x="2773" y="106"/>
                    <a:pt x="2769" y="112"/>
                  </a:cubicBezTo>
                  <a:close/>
                  <a:moveTo>
                    <a:pt x="2780" y="86"/>
                  </a:moveTo>
                  <a:cubicBezTo>
                    <a:pt x="2775" y="84"/>
                    <a:pt x="2779" y="82"/>
                    <a:pt x="2780" y="79"/>
                  </a:cubicBezTo>
                  <a:cubicBezTo>
                    <a:pt x="2785" y="81"/>
                    <a:pt x="2780" y="83"/>
                    <a:pt x="2780" y="86"/>
                  </a:cubicBezTo>
                  <a:close/>
                  <a:moveTo>
                    <a:pt x="2787" y="11"/>
                  </a:moveTo>
                  <a:cubicBezTo>
                    <a:pt x="2783" y="10"/>
                    <a:pt x="2784" y="5"/>
                    <a:pt x="2784" y="1"/>
                  </a:cubicBezTo>
                  <a:cubicBezTo>
                    <a:pt x="2795" y="0"/>
                    <a:pt x="2785" y="6"/>
                    <a:pt x="2787" y="11"/>
                  </a:cubicBezTo>
                  <a:close/>
                  <a:moveTo>
                    <a:pt x="2795" y="43"/>
                  </a:moveTo>
                  <a:cubicBezTo>
                    <a:pt x="2792" y="43"/>
                    <a:pt x="2793" y="39"/>
                    <a:pt x="2793" y="36"/>
                  </a:cubicBezTo>
                  <a:cubicBezTo>
                    <a:pt x="2797" y="35"/>
                    <a:pt x="2798" y="38"/>
                    <a:pt x="2798" y="41"/>
                  </a:cubicBezTo>
                  <a:cubicBezTo>
                    <a:pt x="2796" y="41"/>
                    <a:pt x="2795" y="42"/>
                    <a:pt x="2795" y="43"/>
                  </a:cubicBezTo>
                  <a:close/>
                  <a:moveTo>
                    <a:pt x="2791" y="123"/>
                  </a:moveTo>
                  <a:cubicBezTo>
                    <a:pt x="2792" y="121"/>
                    <a:pt x="2794" y="121"/>
                    <a:pt x="2794" y="119"/>
                  </a:cubicBezTo>
                  <a:cubicBezTo>
                    <a:pt x="2796" y="119"/>
                    <a:pt x="2798" y="119"/>
                    <a:pt x="2799" y="119"/>
                  </a:cubicBezTo>
                  <a:cubicBezTo>
                    <a:pt x="2801" y="124"/>
                    <a:pt x="2796" y="123"/>
                    <a:pt x="2791" y="123"/>
                  </a:cubicBezTo>
                  <a:close/>
                  <a:moveTo>
                    <a:pt x="2808" y="126"/>
                  </a:moveTo>
                  <a:cubicBezTo>
                    <a:pt x="2802" y="125"/>
                    <a:pt x="2802" y="120"/>
                    <a:pt x="2802" y="114"/>
                  </a:cubicBezTo>
                  <a:cubicBezTo>
                    <a:pt x="2805" y="118"/>
                    <a:pt x="2813" y="121"/>
                    <a:pt x="2808" y="126"/>
                  </a:cubicBezTo>
                  <a:close/>
                  <a:moveTo>
                    <a:pt x="2819" y="114"/>
                  </a:moveTo>
                  <a:cubicBezTo>
                    <a:pt x="2815" y="114"/>
                    <a:pt x="2817" y="116"/>
                    <a:pt x="2819" y="116"/>
                  </a:cubicBezTo>
                  <a:cubicBezTo>
                    <a:pt x="2812" y="124"/>
                    <a:pt x="2808" y="109"/>
                    <a:pt x="2810" y="102"/>
                  </a:cubicBezTo>
                  <a:cubicBezTo>
                    <a:pt x="2814" y="103"/>
                    <a:pt x="2816" y="105"/>
                    <a:pt x="2816" y="109"/>
                  </a:cubicBezTo>
                  <a:cubicBezTo>
                    <a:pt x="2823" y="106"/>
                    <a:pt x="2821" y="98"/>
                    <a:pt x="2827" y="109"/>
                  </a:cubicBezTo>
                  <a:cubicBezTo>
                    <a:pt x="2827" y="110"/>
                    <a:pt x="2829" y="108"/>
                    <a:pt x="2830" y="111"/>
                  </a:cubicBezTo>
                  <a:cubicBezTo>
                    <a:pt x="2830" y="113"/>
                    <a:pt x="2829" y="116"/>
                    <a:pt x="2830" y="118"/>
                  </a:cubicBezTo>
                  <a:cubicBezTo>
                    <a:pt x="2822" y="120"/>
                    <a:pt x="2824" y="113"/>
                    <a:pt x="2819" y="114"/>
                  </a:cubicBezTo>
                  <a:close/>
                  <a:moveTo>
                    <a:pt x="2846" y="111"/>
                  </a:moveTo>
                  <a:cubicBezTo>
                    <a:pt x="2845" y="114"/>
                    <a:pt x="2843" y="116"/>
                    <a:pt x="2838" y="116"/>
                  </a:cubicBezTo>
                  <a:cubicBezTo>
                    <a:pt x="2839" y="113"/>
                    <a:pt x="2841" y="111"/>
                    <a:pt x="2846" y="111"/>
                  </a:cubicBezTo>
                  <a:close/>
                  <a:moveTo>
                    <a:pt x="2851" y="64"/>
                  </a:moveTo>
                  <a:cubicBezTo>
                    <a:pt x="2860" y="64"/>
                    <a:pt x="2850" y="70"/>
                    <a:pt x="2856" y="71"/>
                  </a:cubicBezTo>
                  <a:cubicBezTo>
                    <a:pt x="2853" y="78"/>
                    <a:pt x="2848" y="68"/>
                    <a:pt x="2851" y="64"/>
                  </a:cubicBezTo>
                  <a:close/>
                  <a:moveTo>
                    <a:pt x="2862" y="87"/>
                  </a:moveTo>
                  <a:cubicBezTo>
                    <a:pt x="2860" y="80"/>
                    <a:pt x="2866" y="81"/>
                    <a:pt x="2865" y="75"/>
                  </a:cubicBezTo>
                  <a:cubicBezTo>
                    <a:pt x="2868" y="75"/>
                    <a:pt x="2866" y="78"/>
                    <a:pt x="2867" y="80"/>
                  </a:cubicBezTo>
                  <a:cubicBezTo>
                    <a:pt x="2867" y="80"/>
                    <a:pt x="2873" y="84"/>
                    <a:pt x="2873" y="82"/>
                  </a:cubicBezTo>
                  <a:cubicBezTo>
                    <a:pt x="2872" y="86"/>
                    <a:pt x="2868" y="85"/>
                    <a:pt x="2862" y="87"/>
                  </a:cubicBezTo>
                  <a:close/>
                  <a:moveTo>
                    <a:pt x="2867" y="54"/>
                  </a:moveTo>
                  <a:cubicBezTo>
                    <a:pt x="2868" y="53"/>
                    <a:pt x="2871" y="54"/>
                    <a:pt x="2870" y="52"/>
                  </a:cubicBezTo>
                  <a:cubicBezTo>
                    <a:pt x="2883" y="60"/>
                    <a:pt x="2857" y="64"/>
                    <a:pt x="2867" y="54"/>
                  </a:cubicBezTo>
                  <a:close/>
                  <a:moveTo>
                    <a:pt x="2875" y="40"/>
                  </a:moveTo>
                  <a:cubicBezTo>
                    <a:pt x="2876" y="34"/>
                    <a:pt x="2879" y="29"/>
                    <a:pt x="2869" y="28"/>
                  </a:cubicBezTo>
                  <a:cubicBezTo>
                    <a:pt x="2875" y="17"/>
                    <a:pt x="2888" y="40"/>
                    <a:pt x="2875" y="40"/>
                  </a:cubicBezTo>
                  <a:close/>
                  <a:moveTo>
                    <a:pt x="2881" y="91"/>
                  </a:moveTo>
                  <a:cubicBezTo>
                    <a:pt x="2881" y="90"/>
                    <a:pt x="2881" y="88"/>
                    <a:pt x="2881" y="87"/>
                  </a:cubicBezTo>
                  <a:cubicBezTo>
                    <a:pt x="2883" y="87"/>
                    <a:pt x="2885" y="87"/>
                    <a:pt x="2887" y="87"/>
                  </a:cubicBezTo>
                  <a:cubicBezTo>
                    <a:pt x="2887" y="88"/>
                    <a:pt x="2887" y="90"/>
                    <a:pt x="2887" y="91"/>
                  </a:cubicBezTo>
                  <a:cubicBezTo>
                    <a:pt x="2885" y="91"/>
                    <a:pt x="2883" y="91"/>
                    <a:pt x="288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9" name="Freeform 20"/>
            <p:cNvSpPr>
              <a:spLocks/>
            </p:cNvSpPr>
            <p:nvPr userDrawn="1"/>
          </p:nvSpPr>
          <p:spPr bwMode="auto">
            <a:xfrm>
              <a:off x="5827" y="2112"/>
              <a:ext cx="11" cy="12"/>
            </a:xfrm>
            <a:custGeom>
              <a:avLst/>
              <a:gdLst>
                <a:gd name="T0" fmla="*/ 0 w 5"/>
                <a:gd name="T1" fmla="*/ 5 h 5"/>
                <a:gd name="T2" fmla="*/ 5 w 5"/>
                <a:gd name="T3" fmla="*/ 5 h 5"/>
                <a:gd name="T4" fmla="*/ 5 w 5"/>
                <a:gd name="T5" fmla="*/ 0 h 5"/>
                <a:gd name="T6" fmla="*/ 0 w 5"/>
                <a:gd name="T7" fmla="*/ 0 h 5"/>
                <a:gd name="T8" fmla="*/ 0 w 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cubicBezTo>
                    <a:pt x="1" y="5"/>
                    <a:pt x="3" y="5"/>
                    <a:pt x="5" y="5"/>
                  </a:cubicBezTo>
                  <a:cubicBezTo>
                    <a:pt x="5" y="3"/>
                    <a:pt x="5" y="2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2"/>
                    <a:pt x="0" y="3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0" name="Freeform 21"/>
            <p:cNvSpPr>
              <a:spLocks/>
            </p:cNvSpPr>
            <p:nvPr userDrawn="1"/>
          </p:nvSpPr>
          <p:spPr bwMode="auto">
            <a:xfrm>
              <a:off x="5373" y="2207"/>
              <a:ext cx="33" cy="47"/>
            </a:xfrm>
            <a:custGeom>
              <a:avLst/>
              <a:gdLst>
                <a:gd name="T0" fmla="*/ 11 w 14"/>
                <a:gd name="T1" fmla="*/ 1 h 20"/>
                <a:gd name="T2" fmla="*/ 12 w 14"/>
                <a:gd name="T3" fmla="*/ 20 h 20"/>
                <a:gd name="T4" fmla="*/ 11 w 14"/>
                <a:gd name="T5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0">
                  <a:moveTo>
                    <a:pt x="11" y="1"/>
                  </a:moveTo>
                  <a:cubicBezTo>
                    <a:pt x="0" y="0"/>
                    <a:pt x="6" y="19"/>
                    <a:pt x="12" y="20"/>
                  </a:cubicBezTo>
                  <a:cubicBezTo>
                    <a:pt x="14" y="10"/>
                    <a:pt x="5" y="6"/>
                    <a:pt x="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1" name="Freeform 22"/>
            <p:cNvSpPr>
              <a:spLocks/>
            </p:cNvSpPr>
            <p:nvPr userDrawn="1"/>
          </p:nvSpPr>
          <p:spPr bwMode="auto">
            <a:xfrm>
              <a:off x="6280" y="2349"/>
              <a:ext cx="12" cy="12"/>
            </a:xfrm>
            <a:custGeom>
              <a:avLst/>
              <a:gdLst>
                <a:gd name="T0" fmla="*/ 1 w 5"/>
                <a:gd name="T1" fmla="*/ 5 h 5"/>
                <a:gd name="T2" fmla="*/ 5 w 5"/>
                <a:gd name="T3" fmla="*/ 4 h 5"/>
                <a:gd name="T4" fmla="*/ 5 w 5"/>
                <a:gd name="T5" fmla="*/ 0 h 5"/>
                <a:gd name="T6" fmla="*/ 1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1" y="5"/>
                  </a:moveTo>
                  <a:cubicBezTo>
                    <a:pt x="3" y="4"/>
                    <a:pt x="4" y="4"/>
                    <a:pt x="5" y="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2" name="Freeform 23"/>
            <p:cNvSpPr>
              <a:spLocks/>
            </p:cNvSpPr>
            <p:nvPr userDrawn="1"/>
          </p:nvSpPr>
          <p:spPr bwMode="auto">
            <a:xfrm>
              <a:off x="4920" y="2209"/>
              <a:ext cx="21" cy="14"/>
            </a:xfrm>
            <a:custGeom>
              <a:avLst/>
              <a:gdLst>
                <a:gd name="T0" fmla="*/ 0 w 9"/>
                <a:gd name="T1" fmla="*/ 1 h 6"/>
                <a:gd name="T2" fmla="*/ 0 w 9"/>
                <a:gd name="T3" fmla="*/ 6 h 6"/>
                <a:gd name="T4" fmla="*/ 8 w 9"/>
                <a:gd name="T5" fmla="*/ 6 h 6"/>
                <a:gd name="T6" fmla="*/ 0 w 9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6">
                  <a:moveTo>
                    <a:pt x="0" y="1"/>
                  </a:moveTo>
                  <a:cubicBezTo>
                    <a:pt x="0" y="3"/>
                    <a:pt x="0" y="4"/>
                    <a:pt x="0" y="6"/>
                  </a:cubicBezTo>
                  <a:cubicBezTo>
                    <a:pt x="3" y="6"/>
                    <a:pt x="6" y="6"/>
                    <a:pt x="8" y="6"/>
                  </a:cubicBezTo>
                  <a:cubicBezTo>
                    <a:pt x="9" y="1"/>
                    <a:pt x="6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3" name="Freeform 24"/>
            <p:cNvSpPr>
              <a:spLocks/>
            </p:cNvSpPr>
            <p:nvPr userDrawn="1"/>
          </p:nvSpPr>
          <p:spPr bwMode="auto">
            <a:xfrm>
              <a:off x="5647" y="2205"/>
              <a:ext cx="31" cy="16"/>
            </a:xfrm>
            <a:custGeom>
              <a:avLst/>
              <a:gdLst>
                <a:gd name="T0" fmla="*/ 13 w 13"/>
                <a:gd name="T1" fmla="*/ 2 h 7"/>
                <a:gd name="T2" fmla="*/ 8 w 13"/>
                <a:gd name="T3" fmla="*/ 0 h 7"/>
                <a:gd name="T4" fmla="*/ 13 w 13"/>
                <a:gd name="T5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7">
                  <a:moveTo>
                    <a:pt x="13" y="2"/>
                  </a:moveTo>
                  <a:cubicBezTo>
                    <a:pt x="10" y="2"/>
                    <a:pt x="10" y="0"/>
                    <a:pt x="8" y="0"/>
                  </a:cubicBezTo>
                  <a:cubicBezTo>
                    <a:pt x="0" y="5"/>
                    <a:pt x="13" y="7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4" name="Freeform 25"/>
            <p:cNvSpPr>
              <a:spLocks/>
            </p:cNvSpPr>
            <p:nvPr userDrawn="1"/>
          </p:nvSpPr>
          <p:spPr bwMode="auto">
            <a:xfrm>
              <a:off x="5928" y="2372"/>
              <a:ext cx="31" cy="36"/>
            </a:xfrm>
            <a:custGeom>
              <a:avLst/>
              <a:gdLst>
                <a:gd name="T0" fmla="*/ 0 w 13"/>
                <a:gd name="T1" fmla="*/ 7 h 15"/>
                <a:gd name="T2" fmla="*/ 8 w 13"/>
                <a:gd name="T3" fmla="*/ 4 h 15"/>
                <a:gd name="T4" fmla="*/ 13 w 13"/>
                <a:gd name="T5" fmla="*/ 9 h 15"/>
                <a:gd name="T6" fmla="*/ 11 w 13"/>
                <a:gd name="T7" fmla="*/ 7 h 15"/>
                <a:gd name="T8" fmla="*/ 13 w 13"/>
                <a:gd name="T9" fmla="*/ 0 h 15"/>
                <a:gd name="T10" fmla="*/ 0 w 13"/>
                <a:gd name="T1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cubicBezTo>
                    <a:pt x="3" y="7"/>
                    <a:pt x="6" y="6"/>
                    <a:pt x="8" y="4"/>
                  </a:cubicBezTo>
                  <a:cubicBezTo>
                    <a:pt x="5" y="9"/>
                    <a:pt x="12" y="15"/>
                    <a:pt x="13" y="9"/>
                  </a:cubicBezTo>
                  <a:cubicBezTo>
                    <a:pt x="12" y="9"/>
                    <a:pt x="10" y="8"/>
                    <a:pt x="11" y="7"/>
                  </a:cubicBezTo>
                  <a:cubicBezTo>
                    <a:pt x="11" y="6"/>
                    <a:pt x="12" y="0"/>
                    <a:pt x="13" y="0"/>
                  </a:cubicBezTo>
                  <a:cubicBezTo>
                    <a:pt x="10" y="3"/>
                    <a:pt x="0" y="1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5" name="Freeform 26"/>
            <p:cNvSpPr>
              <a:spLocks/>
            </p:cNvSpPr>
            <p:nvPr userDrawn="1"/>
          </p:nvSpPr>
          <p:spPr bwMode="auto">
            <a:xfrm>
              <a:off x="5361" y="2202"/>
              <a:ext cx="19" cy="14"/>
            </a:xfrm>
            <a:custGeom>
              <a:avLst/>
              <a:gdLst>
                <a:gd name="T0" fmla="*/ 0 w 8"/>
                <a:gd name="T1" fmla="*/ 1 h 6"/>
                <a:gd name="T2" fmla="*/ 0 w 8"/>
                <a:gd name="T3" fmla="*/ 6 h 6"/>
                <a:gd name="T4" fmla="*/ 8 w 8"/>
                <a:gd name="T5" fmla="*/ 5 h 6"/>
                <a:gd name="T6" fmla="*/ 0 w 8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6">
                  <a:moveTo>
                    <a:pt x="0" y="1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2" y="5"/>
                    <a:pt x="5" y="5"/>
                    <a:pt x="8" y="5"/>
                  </a:cubicBezTo>
                  <a:cubicBezTo>
                    <a:pt x="8" y="1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6" name="Freeform 27"/>
            <p:cNvSpPr>
              <a:spLocks/>
            </p:cNvSpPr>
            <p:nvPr userDrawn="1"/>
          </p:nvSpPr>
          <p:spPr bwMode="auto">
            <a:xfrm>
              <a:off x="5990" y="2375"/>
              <a:ext cx="21" cy="33"/>
            </a:xfrm>
            <a:custGeom>
              <a:avLst/>
              <a:gdLst>
                <a:gd name="T0" fmla="*/ 4 w 9"/>
                <a:gd name="T1" fmla="*/ 1 h 14"/>
                <a:gd name="T2" fmla="*/ 1 w 9"/>
                <a:gd name="T3" fmla="*/ 10 h 14"/>
                <a:gd name="T4" fmla="*/ 4 w 9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4" y="1"/>
                  </a:moveTo>
                  <a:cubicBezTo>
                    <a:pt x="3" y="4"/>
                    <a:pt x="0" y="5"/>
                    <a:pt x="1" y="10"/>
                  </a:cubicBezTo>
                  <a:cubicBezTo>
                    <a:pt x="9" y="14"/>
                    <a:pt x="9" y="0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</p:grp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46618" y="1930400"/>
            <a:ext cx="11169649" cy="38703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buNone/>
              <a:defRPr sz="2000"/>
            </a:lvl1pPr>
            <a:lvl2pPr marL="179388" indent="-179388">
              <a:lnSpc>
                <a:spcPct val="95000"/>
              </a:lnSpc>
              <a:spcBef>
                <a:spcPts val="1000"/>
              </a:spcBef>
              <a:buClr>
                <a:srgbClr val="C25327"/>
              </a:buClr>
              <a:buFont typeface="Arial" panose="020B0604020202020204" pitchFamily="34" charset="0"/>
              <a:buChar char="•"/>
              <a:defRPr sz="2000"/>
            </a:lvl2pPr>
            <a:lvl3pPr marL="358775" indent="-179388">
              <a:lnSpc>
                <a:spcPct val="95000"/>
              </a:lnSpc>
              <a:spcBef>
                <a:spcPts val="400"/>
              </a:spcBef>
              <a:buClr>
                <a:srgbClr val="C25327"/>
              </a:buClr>
              <a:buFont typeface="Arial" panose="020B0604020202020204" pitchFamily="34" charset="0"/>
              <a:buChar char="–"/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46618" y="1440000"/>
            <a:ext cx="11169649" cy="381000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2400" b="0">
                <a:solidFill>
                  <a:srgbClr val="C25327"/>
                </a:solidFill>
                <a:latin typeface="Fungo" pitchFamily="50" charset="0"/>
              </a:defRPr>
            </a:lvl1pPr>
          </a:lstStyle>
          <a:p>
            <a:pPr lvl="0"/>
            <a:r>
              <a:rPr lang="en-US"/>
              <a:t>Sub heading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8086057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"/>
          <p:cNvGrpSpPr>
            <a:grpSpLocks noChangeAspect="1"/>
          </p:cNvGrpSpPr>
          <p:nvPr userDrawn="1"/>
        </p:nvGrpSpPr>
        <p:grpSpPr bwMode="auto">
          <a:xfrm>
            <a:off x="-12000" y="0"/>
            <a:ext cx="12216000" cy="1178432"/>
            <a:chOff x="-530" y="1723"/>
            <a:chExt cx="6834" cy="879"/>
          </a:xfrm>
          <a:solidFill>
            <a:schemeClr val="accent4"/>
          </a:solidFill>
        </p:grpSpPr>
        <p:sp>
          <p:nvSpPr>
            <p:cNvPr id="56" name="Freeform 6"/>
            <p:cNvSpPr>
              <a:spLocks/>
            </p:cNvSpPr>
            <p:nvPr userDrawn="1"/>
          </p:nvSpPr>
          <p:spPr bwMode="auto">
            <a:xfrm>
              <a:off x="4076" y="2427"/>
              <a:ext cx="45" cy="49"/>
            </a:xfrm>
            <a:custGeom>
              <a:avLst/>
              <a:gdLst>
                <a:gd name="T0" fmla="*/ 8 w 19"/>
                <a:gd name="T1" fmla="*/ 14 h 21"/>
                <a:gd name="T2" fmla="*/ 11 w 19"/>
                <a:gd name="T3" fmla="*/ 21 h 21"/>
                <a:gd name="T4" fmla="*/ 16 w 19"/>
                <a:gd name="T5" fmla="*/ 2 h 21"/>
                <a:gd name="T6" fmla="*/ 8 w 19"/>
                <a:gd name="T7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8" y="14"/>
                  </a:moveTo>
                  <a:cubicBezTo>
                    <a:pt x="9" y="17"/>
                    <a:pt x="7" y="21"/>
                    <a:pt x="11" y="21"/>
                  </a:cubicBezTo>
                  <a:cubicBezTo>
                    <a:pt x="16" y="14"/>
                    <a:pt x="19" y="12"/>
                    <a:pt x="16" y="2"/>
                  </a:cubicBezTo>
                  <a:cubicBezTo>
                    <a:pt x="0" y="0"/>
                    <a:pt x="7" y="11"/>
                    <a:pt x="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6" name="Freeform 7"/>
            <p:cNvSpPr>
              <a:spLocks/>
            </p:cNvSpPr>
            <p:nvPr userDrawn="1"/>
          </p:nvSpPr>
          <p:spPr bwMode="auto">
            <a:xfrm>
              <a:off x="5264" y="2389"/>
              <a:ext cx="22" cy="12"/>
            </a:xfrm>
            <a:custGeom>
              <a:avLst/>
              <a:gdLst>
                <a:gd name="T0" fmla="*/ 1 w 9"/>
                <a:gd name="T1" fmla="*/ 5 h 5"/>
                <a:gd name="T2" fmla="*/ 9 w 9"/>
                <a:gd name="T3" fmla="*/ 0 h 5"/>
                <a:gd name="T4" fmla="*/ 1 w 9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5">
                  <a:moveTo>
                    <a:pt x="1" y="5"/>
                  </a:moveTo>
                  <a:cubicBezTo>
                    <a:pt x="6" y="5"/>
                    <a:pt x="8" y="3"/>
                    <a:pt x="9" y="0"/>
                  </a:cubicBezTo>
                  <a:cubicBezTo>
                    <a:pt x="5" y="0"/>
                    <a:pt x="0" y="0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7" name="Freeform 8"/>
            <p:cNvSpPr>
              <a:spLocks/>
            </p:cNvSpPr>
            <p:nvPr userDrawn="1"/>
          </p:nvSpPr>
          <p:spPr bwMode="auto">
            <a:xfrm>
              <a:off x="5659" y="2375"/>
              <a:ext cx="28" cy="35"/>
            </a:xfrm>
            <a:custGeom>
              <a:avLst/>
              <a:gdLst>
                <a:gd name="T0" fmla="*/ 7 w 12"/>
                <a:gd name="T1" fmla="*/ 5 h 15"/>
                <a:gd name="T2" fmla="*/ 4 w 12"/>
                <a:gd name="T3" fmla="*/ 8 h 15"/>
                <a:gd name="T4" fmla="*/ 1 w 12"/>
                <a:gd name="T5" fmla="*/ 6 h 15"/>
                <a:gd name="T6" fmla="*/ 4 w 12"/>
                <a:gd name="T7" fmla="*/ 15 h 15"/>
                <a:gd name="T8" fmla="*/ 7 w 12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7" y="5"/>
                  </a:moveTo>
                  <a:cubicBezTo>
                    <a:pt x="7" y="7"/>
                    <a:pt x="6" y="8"/>
                    <a:pt x="4" y="8"/>
                  </a:cubicBezTo>
                  <a:cubicBezTo>
                    <a:pt x="4" y="6"/>
                    <a:pt x="4" y="5"/>
                    <a:pt x="1" y="6"/>
                  </a:cubicBezTo>
                  <a:cubicBezTo>
                    <a:pt x="2" y="9"/>
                    <a:pt x="0" y="14"/>
                    <a:pt x="4" y="15"/>
                  </a:cubicBezTo>
                  <a:cubicBezTo>
                    <a:pt x="6" y="13"/>
                    <a:pt x="12" y="0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8" name="Freeform 9"/>
            <p:cNvSpPr>
              <a:spLocks/>
            </p:cNvSpPr>
            <p:nvPr userDrawn="1"/>
          </p:nvSpPr>
          <p:spPr bwMode="auto">
            <a:xfrm>
              <a:off x="6155" y="2018"/>
              <a:ext cx="68" cy="35"/>
            </a:xfrm>
            <a:custGeom>
              <a:avLst/>
              <a:gdLst>
                <a:gd name="T0" fmla="*/ 16 w 29"/>
                <a:gd name="T1" fmla="*/ 12 h 15"/>
                <a:gd name="T2" fmla="*/ 27 w 29"/>
                <a:gd name="T3" fmla="*/ 7 h 15"/>
                <a:gd name="T4" fmla="*/ 5 w 29"/>
                <a:gd name="T5" fmla="*/ 0 h 15"/>
                <a:gd name="T6" fmla="*/ 3 w 29"/>
                <a:gd name="T7" fmla="*/ 12 h 15"/>
                <a:gd name="T8" fmla="*/ 16 w 29"/>
                <a:gd name="T9" fmla="*/ 7 h 15"/>
                <a:gd name="T10" fmla="*/ 16 w 29"/>
                <a:gd name="T11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5">
                  <a:moveTo>
                    <a:pt x="16" y="12"/>
                  </a:moveTo>
                  <a:cubicBezTo>
                    <a:pt x="21" y="15"/>
                    <a:pt x="29" y="8"/>
                    <a:pt x="27" y="7"/>
                  </a:cubicBezTo>
                  <a:cubicBezTo>
                    <a:pt x="24" y="1"/>
                    <a:pt x="11" y="3"/>
                    <a:pt x="5" y="0"/>
                  </a:cubicBezTo>
                  <a:cubicBezTo>
                    <a:pt x="6" y="6"/>
                    <a:pt x="0" y="5"/>
                    <a:pt x="3" y="12"/>
                  </a:cubicBezTo>
                  <a:cubicBezTo>
                    <a:pt x="11" y="15"/>
                    <a:pt x="10" y="8"/>
                    <a:pt x="16" y="7"/>
                  </a:cubicBezTo>
                  <a:cubicBezTo>
                    <a:pt x="16" y="7"/>
                    <a:pt x="16" y="11"/>
                    <a:pt x="1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09" name="Freeform 10"/>
            <p:cNvSpPr>
              <a:spLocks/>
            </p:cNvSpPr>
            <p:nvPr userDrawn="1"/>
          </p:nvSpPr>
          <p:spPr bwMode="auto">
            <a:xfrm>
              <a:off x="5633" y="2365"/>
              <a:ext cx="24" cy="29"/>
            </a:xfrm>
            <a:custGeom>
              <a:avLst/>
              <a:gdLst>
                <a:gd name="T0" fmla="*/ 4 w 10"/>
                <a:gd name="T1" fmla="*/ 0 h 12"/>
                <a:gd name="T2" fmla="*/ 7 w 10"/>
                <a:gd name="T3" fmla="*/ 12 h 12"/>
                <a:gd name="T4" fmla="*/ 4 w 10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4" y="0"/>
                  </a:moveTo>
                  <a:cubicBezTo>
                    <a:pt x="0" y="3"/>
                    <a:pt x="3" y="9"/>
                    <a:pt x="7" y="12"/>
                  </a:cubicBezTo>
                  <a:cubicBezTo>
                    <a:pt x="10" y="9"/>
                    <a:pt x="8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0" name="Freeform 11"/>
            <p:cNvSpPr>
              <a:spLocks/>
            </p:cNvSpPr>
            <p:nvPr userDrawn="1"/>
          </p:nvSpPr>
          <p:spPr bwMode="auto">
            <a:xfrm>
              <a:off x="4187" y="2453"/>
              <a:ext cx="33" cy="21"/>
            </a:xfrm>
            <a:custGeom>
              <a:avLst/>
              <a:gdLst>
                <a:gd name="T0" fmla="*/ 7 w 14"/>
                <a:gd name="T1" fmla="*/ 0 h 9"/>
                <a:gd name="T2" fmla="*/ 2 w 14"/>
                <a:gd name="T3" fmla="*/ 7 h 9"/>
                <a:gd name="T4" fmla="*/ 7 w 14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9">
                  <a:moveTo>
                    <a:pt x="7" y="0"/>
                  </a:moveTo>
                  <a:cubicBezTo>
                    <a:pt x="7" y="3"/>
                    <a:pt x="0" y="2"/>
                    <a:pt x="2" y="7"/>
                  </a:cubicBezTo>
                  <a:cubicBezTo>
                    <a:pt x="8" y="9"/>
                    <a:pt x="14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1" name="Freeform 12"/>
            <p:cNvSpPr>
              <a:spLocks/>
            </p:cNvSpPr>
            <p:nvPr userDrawn="1"/>
          </p:nvSpPr>
          <p:spPr bwMode="auto">
            <a:xfrm>
              <a:off x="5678" y="2379"/>
              <a:ext cx="40" cy="31"/>
            </a:xfrm>
            <a:custGeom>
              <a:avLst/>
              <a:gdLst>
                <a:gd name="T0" fmla="*/ 7 w 17"/>
                <a:gd name="T1" fmla="*/ 6 h 13"/>
                <a:gd name="T2" fmla="*/ 4 w 17"/>
                <a:gd name="T3" fmla="*/ 6 h 13"/>
                <a:gd name="T4" fmla="*/ 7 w 17"/>
                <a:gd name="T5" fmla="*/ 8 h 13"/>
                <a:gd name="T6" fmla="*/ 15 w 17"/>
                <a:gd name="T7" fmla="*/ 1 h 13"/>
                <a:gd name="T8" fmla="*/ 7 w 17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3">
                  <a:moveTo>
                    <a:pt x="7" y="6"/>
                  </a:moveTo>
                  <a:cubicBezTo>
                    <a:pt x="7" y="4"/>
                    <a:pt x="5" y="3"/>
                    <a:pt x="4" y="6"/>
                  </a:cubicBezTo>
                  <a:cubicBezTo>
                    <a:pt x="6" y="6"/>
                    <a:pt x="8" y="6"/>
                    <a:pt x="7" y="8"/>
                  </a:cubicBezTo>
                  <a:cubicBezTo>
                    <a:pt x="0" y="13"/>
                    <a:pt x="17" y="6"/>
                    <a:pt x="15" y="1"/>
                  </a:cubicBezTo>
                  <a:cubicBezTo>
                    <a:pt x="10" y="0"/>
                    <a:pt x="10" y="4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2" name="Freeform 13"/>
            <p:cNvSpPr>
              <a:spLocks/>
            </p:cNvSpPr>
            <p:nvPr userDrawn="1"/>
          </p:nvSpPr>
          <p:spPr bwMode="auto">
            <a:xfrm>
              <a:off x="6219" y="2016"/>
              <a:ext cx="73" cy="35"/>
            </a:xfrm>
            <a:custGeom>
              <a:avLst/>
              <a:gdLst>
                <a:gd name="T0" fmla="*/ 20 w 31"/>
                <a:gd name="T1" fmla="*/ 10 h 15"/>
                <a:gd name="T2" fmla="*/ 19 w 31"/>
                <a:gd name="T3" fmla="*/ 0 h 15"/>
                <a:gd name="T4" fmla="*/ 11 w 31"/>
                <a:gd name="T5" fmla="*/ 5 h 15"/>
                <a:gd name="T6" fmla="*/ 0 w 31"/>
                <a:gd name="T7" fmla="*/ 1 h 15"/>
                <a:gd name="T8" fmla="*/ 9 w 31"/>
                <a:gd name="T9" fmla="*/ 15 h 15"/>
                <a:gd name="T10" fmla="*/ 11 w 31"/>
                <a:gd name="T11" fmla="*/ 7 h 15"/>
                <a:gd name="T12" fmla="*/ 11 w 31"/>
                <a:gd name="T13" fmla="*/ 12 h 15"/>
                <a:gd name="T14" fmla="*/ 31 w 31"/>
                <a:gd name="T15" fmla="*/ 11 h 15"/>
                <a:gd name="T16" fmla="*/ 31 w 31"/>
                <a:gd name="T17" fmla="*/ 2 h 15"/>
                <a:gd name="T18" fmla="*/ 20 w 31"/>
                <a:gd name="T1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15">
                  <a:moveTo>
                    <a:pt x="20" y="10"/>
                  </a:moveTo>
                  <a:cubicBezTo>
                    <a:pt x="15" y="5"/>
                    <a:pt x="20" y="7"/>
                    <a:pt x="19" y="0"/>
                  </a:cubicBezTo>
                  <a:cubicBezTo>
                    <a:pt x="14" y="0"/>
                    <a:pt x="14" y="4"/>
                    <a:pt x="11" y="5"/>
                  </a:cubicBezTo>
                  <a:cubicBezTo>
                    <a:pt x="9" y="2"/>
                    <a:pt x="5" y="1"/>
                    <a:pt x="0" y="1"/>
                  </a:cubicBezTo>
                  <a:cubicBezTo>
                    <a:pt x="2" y="6"/>
                    <a:pt x="2" y="13"/>
                    <a:pt x="9" y="15"/>
                  </a:cubicBezTo>
                  <a:cubicBezTo>
                    <a:pt x="9" y="12"/>
                    <a:pt x="8" y="8"/>
                    <a:pt x="11" y="7"/>
                  </a:cubicBezTo>
                  <a:cubicBezTo>
                    <a:pt x="11" y="9"/>
                    <a:pt x="11" y="11"/>
                    <a:pt x="11" y="12"/>
                  </a:cubicBezTo>
                  <a:cubicBezTo>
                    <a:pt x="19" y="12"/>
                    <a:pt x="26" y="12"/>
                    <a:pt x="31" y="1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6" y="3"/>
                    <a:pt x="28" y="11"/>
                    <a:pt x="2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3" name="Freeform 14"/>
            <p:cNvSpPr>
              <a:spLocks/>
            </p:cNvSpPr>
            <p:nvPr userDrawn="1"/>
          </p:nvSpPr>
          <p:spPr bwMode="auto">
            <a:xfrm>
              <a:off x="4256" y="2441"/>
              <a:ext cx="24" cy="21"/>
            </a:xfrm>
            <a:custGeom>
              <a:avLst/>
              <a:gdLst>
                <a:gd name="T0" fmla="*/ 0 w 10"/>
                <a:gd name="T1" fmla="*/ 7 h 9"/>
                <a:gd name="T2" fmla="*/ 9 w 10"/>
                <a:gd name="T3" fmla="*/ 9 h 9"/>
                <a:gd name="T4" fmla="*/ 0 w 10"/>
                <a:gd name="T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7"/>
                  </a:moveTo>
                  <a:cubicBezTo>
                    <a:pt x="4" y="6"/>
                    <a:pt x="6" y="8"/>
                    <a:pt x="9" y="9"/>
                  </a:cubicBezTo>
                  <a:cubicBezTo>
                    <a:pt x="10" y="2"/>
                    <a:pt x="1" y="0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4" name="Freeform 15"/>
            <p:cNvSpPr>
              <a:spLocks/>
            </p:cNvSpPr>
            <p:nvPr userDrawn="1"/>
          </p:nvSpPr>
          <p:spPr bwMode="auto">
            <a:xfrm>
              <a:off x="3859" y="2455"/>
              <a:ext cx="14" cy="31"/>
            </a:xfrm>
            <a:custGeom>
              <a:avLst/>
              <a:gdLst>
                <a:gd name="T0" fmla="*/ 1 w 6"/>
                <a:gd name="T1" fmla="*/ 8 h 13"/>
                <a:gd name="T2" fmla="*/ 4 w 6"/>
                <a:gd name="T3" fmla="*/ 13 h 13"/>
                <a:gd name="T4" fmla="*/ 1 w 6"/>
                <a:gd name="T5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3">
                  <a:moveTo>
                    <a:pt x="1" y="8"/>
                  </a:moveTo>
                  <a:cubicBezTo>
                    <a:pt x="0" y="10"/>
                    <a:pt x="2" y="13"/>
                    <a:pt x="4" y="13"/>
                  </a:cubicBezTo>
                  <a:cubicBezTo>
                    <a:pt x="6" y="13"/>
                    <a:pt x="5" y="0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5" name="Freeform 16"/>
            <p:cNvSpPr>
              <a:spLocks/>
            </p:cNvSpPr>
            <p:nvPr userDrawn="1"/>
          </p:nvSpPr>
          <p:spPr bwMode="auto">
            <a:xfrm>
              <a:off x="3982" y="2455"/>
              <a:ext cx="38" cy="31"/>
            </a:xfrm>
            <a:custGeom>
              <a:avLst/>
              <a:gdLst>
                <a:gd name="T0" fmla="*/ 10 w 16"/>
                <a:gd name="T1" fmla="*/ 12 h 13"/>
                <a:gd name="T2" fmla="*/ 15 w 16"/>
                <a:gd name="T3" fmla="*/ 2 h 13"/>
                <a:gd name="T4" fmla="*/ 10 w 16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10" y="12"/>
                  </a:moveTo>
                  <a:cubicBezTo>
                    <a:pt x="11" y="12"/>
                    <a:pt x="16" y="5"/>
                    <a:pt x="15" y="2"/>
                  </a:cubicBezTo>
                  <a:cubicBezTo>
                    <a:pt x="0" y="0"/>
                    <a:pt x="4" y="13"/>
                    <a:pt x="1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6" name="Freeform 17"/>
            <p:cNvSpPr>
              <a:spLocks/>
            </p:cNvSpPr>
            <p:nvPr userDrawn="1"/>
          </p:nvSpPr>
          <p:spPr bwMode="auto">
            <a:xfrm>
              <a:off x="5872" y="2004"/>
              <a:ext cx="56" cy="54"/>
            </a:xfrm>
            <a:custGeom>
              <a:avLst/>
              <a:gdLst>
                <a:gd name="T0" fmla="*/ 18 w 24"/>
                <a:gd name="T1" fmla="*/ 13 h 23"/>
                <a:gd name="T2" fmla="*/ 24 w 24"/>
                <a:gd name="T3" fmla="*/ 15 h 23"/>
                <a:gd name="T4" fmla="*/ 18 w 24"/>
                <a:gd name="T5" fmla="*/ 8 h 23"/>
                <a:gd name="T6" fmla="*/ 16 w 24"/>
                <a:gd name="T7" fmla="*/ 10 h 23"/>
                <a:gd name="T8" fmla="*/ 2 w 24"/>
                <a:gd name="T9" fmla="*/ 1 h 23"/>
                <a:gd name="T10" fmla="*/ 5 w 24"/>
                <a:gd name="T11" fmla="*/ 8 h 23"/>
                <a:gd name="T12" fmla="*/ 5 w 24"/>
                <a:gd name="T13" fmla="*/ 15 h 23"/>
                <a:gd name="T14" fmla="*/ 10 w 24"/>
                <a:gd name="T15" fmla="*/ 20 h 23"/>
                <a:gd name="T16" fmla="*/ 18 w 24"/>
                <a:gd name="T17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3">
                  <a:moveTo>
                    <a:pt x="18" y="13"/>
                  </a:moveTo>
                  <a:cubicBezTo>
                    <a:pt x="19" y="14"/>
                    <a:pt x="21" y="15"/>
                    <a:pt x="24" y="15"/>
                  </a:cubicBezTo>
                  <a:cubicBezTo>
                    <a:pt x="24" y="12"/>
                    <a:pt x="21" y="7"/>
                    <a:pt x="18" y="8"/>
                  </a:cubicBezTo>
                  <a:cubicBezTo>
                    <a:pt x="18" y="8"/>
                    <a:pt x="18" y="12"/>
                    <a:pt x="16" y="10"/>
                  </a:cubicBezTo>
                  <a:cubicBezTo>
                    <a:pt x="13" y="9"/>
                    <a:pt x="12" y="0"/>
                    <a:pt x="2" y="1"/>
                  </a:cubicBezTo>
                  <a:cubicBezTo>
                    <a:pt x="2" y="4"/>
                    <a:pt x="3" y="6"/>
                    <a:pt x="5" y="8"/>
                  </a:cubicBezTo>
                  <a:cubicBezTo>
                    <a:pt x="4" y="11"/>
                    <a:pt x="0" y="14"/>
                    <a:pt x="5" y="15"/>
                  </a:cubicBezTo>
                  <a:cubicBezTo>
                    <a:pt x="7" y="5"/>
                    <a:pt x="16" y="16"/>
                    <a:pt x="10" y="20"/>
                  </a:cubicBezTo>
                  <a:cubicBezTo>
                    <a:pt x="20" y="23"/>
                    <a:pt x="12" y="12"/>
                    <a:pt x="1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7" name="Freeform 18"/>
            <p:cNvSpPr>
              <a:spLocks/>
            </p:cNvSpPr>
            <p:nvPr userDrawn="1"/>
          </p:nvSpPr>
          <p:spPr bwMode="auto">
            <a:xfrm>
              <a:off x="6129" y="2051"/>
              <a:ext cx="26" cy="31"/>
            </a:xfrm>
            <a:custGeom>
              <a:avLst/>
              <a:gdLst>
                <a:gd name="T0" fmla="*/ 3 w 11"/>
                <a:gd name="T1" fmla="*/ 5 h 13"/>
                <a:gd name="T2" fmla="*/ 0 w 11"/>
                <a:gd name="T3" fmla="*/ 0 h 13"/>
                <a:gd name="T4" fmla="*/ 0 w 11"/>
                <a:gd name="T5" fmla="*/ 12 h 13"/>
                <a:gd name="T6" fmla="*/ 11 w 11"/>
                <a:gd name="T7" fmla="*/ 7 h 13"/>
                <a:gd name="T8" fmla="*/ 3 w 11"/>
                <a:gd name="T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3" y="5"/>
                  </a:moveTo>
                  <a:cubicBezTo>
                    <a:pt x="2" y="3"/>
                    <a:pt x="3" y="0"/>
                    <a:pt x="0" y="0"/>
                  </a:cubicBezTo>
                  <a:cubicBezTo>
                    <a:pt x="0" y="4"/>
                    <a:pt x="0" y="8"/>
                    <a:pt x="0" y="12"/>
                  </a:cubicBezTo>
                  <a:cubicBezTo>
                    <a:pt x="6" y="13"/>
                    <a:pt x="11" y="11"/>
                    <a:pt x="11" y="7"/>
                  </a:cubicBezTo>
                  <a:cubicBezTo>
                    <a:pt x="8" y="7"/>
                    <a:pt x="3" y="8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8" name="Freeform 19"/>
            <p:cNvSpPr>
              <a:spLocks noEditPoints="1"/>
            </p:cNvSpPr>
            <p:nvPr userDrawn="1"/>
          </p:nvSpPr>
          <p:spPr bwMode="auto">
            <a:xfrm>
              <a:off x="-530" y="1723"/>
              <a:ext cx="6834" cy="879"/>
            </a:xfrm>
            <a:custGeom>
              <a:avLst/>
              <a:gdLst>
                <a:gd name="T0" fmla="*/ 389 w 2893"/>
                <a:gd name="T1" fmla="*/ 342 h 372"/>
                <a:gd name="T2" fmla="*/ 740 w 2893"/>
                <a:gd name="T3" fmla="*/ 359 h 372"/>
                <a:gd name="T4" fmla="*/ 1103 w 2893"/>
                <a:gd name="T5" fmla="*/ 367 h 372"/>
                <a:gd name="T6" fmla="*/ 1426 w 2893"/>
                <a:gd name="T7" fmla="*/ 356 h 372"/>
                <a:gd name="T8" fmla="*/ 1695 w 2893"/>
                <a:gd name="T9" fmla="*/ 331 h 372"/>
                <a:gd name="T10" fmla="*/ 1895 w 2893"/>
                <a:gd name="T11" fmla="*/ 320 h 372"/>
                <a:gd name="T12" fmla="*/ 2114 w 2893"/>
                <a:gd name="T13" fmla="*/ 302 h 372"/>
                <a:gd name="T14" fmla="*/ 2309 w 2893"/>
                <a:gd name="T15" fmla="*/ 287 h 372"/>
                <a:gd name="T16" fmla="*/ 2459 w 2893"/>
                <a:gd name="T17" fmla="*/ 275 h 372"/>
                <a:gd name="T18" fmla="*/ 2597 w 2893"/>
                <a:gd name="T19" fmla="*/ 289 h 372"/>
                <a:gd name="T20" fmla="*/ 2723 w 2893"/>
                <a:gd name="T21" fmla="*/ 280 h 372"/>
                <a:gd name="T22" fmla="*/ 2838 w 2893"/>
                <a:gd name="T23" fmla="*/ 287 h 372"/>
                <a:gd name="T24" fmla="*/ 2866 w 2893"/>
                <a:gd name="T25" fmla="*/ 183 h 372"/>
                <a:gd name="T26" fmla="*/ 2808 w 2893"/>
                <a:gd name="T27" fmla="*/ 147 h 372"/>
                <a:gd name="T28" fmla="*/ 2631 w 2893"/>
                <a:gd name="T29" fmla="*/ 218 h 372"/>
                <a:gd name="T30" fmla="*/ 2665 w 2893"/>
                <a:gd name="T31" fmla="*/ 112 h 372"/>
                <a:gd name="T32" fmla="*/ 2857 w 2893"/>
                <a:gd name="T33" fmla="*/ 113 h 372"/>
                <a:gd name="T34" fmla="*/ 485 w 2893"/>
                <a:gd name="T35" fmla="*/ 201 h 372"/>
                <a:gd name="T36" fmla="*/ 777 w 2893"/>
                <a:gd name="T37" fmla="*/ 267 h 372"/>
                <a:gd name="T38" fmla="*/ 1016 w 2893"/>
                <a:gd name="T39" fmla="*/ 272 h 372"/>
                <a:gd name="T40" fmla="*/ 1266 w 2893"/>
                <a:gd name="T41" fmla="*/ 265 h 372"/>
                <a:gd name="T42" fmla="*/ 1356 w 2893"/>
                <a:gd name="T43" fmla="*/ 252 h 372"/>
                <a:gd name="T44" fmla="*/ 1456 w 2893"/>
                <a:gd name="T45" fmla="*/ 330 h 372"/>
                <a:gd name="T46" fmla="*/ 1548 w 2893"/>
                <a:gd name="T47" fmla="*/ 241 h 372"/>
                <a:gd name="T48" fmla="*/ 1656 w 2893"/>
                <a:gd name="T49" fmla="*/ 331 h 372"/>
                <a:gd name="T50" fmla="*/ 1709 w 2893"/>
                <a:gd name="T51" fmla="*/ 232 h 372"/>
                <a:gd name="T52" fmla="*/ 1779 w 2893"/>
                <a:gd name="T53" fmla="*/ 259 h 372"/>
                <a:gd name="T54" fmla="*/ 1829 w 2893"/>
                <a:gd name="T55" fmla="*/ 147 h 372"/>
                <a:gd name="T56" fmla="*/ 1920 w 2893"/>
                <a:gd name="T57" fmla="*/ 193 h 372"/>
                <a:gd name="T58" fmla="*/ 1900 w 2893"/>
                <a:gd name="T59" fmla="*/ 151 h 372"/>
                <a:gd name="T60" fmla="*/ 1948 w 2893"/>
                <a:gd name="T61" fmla="*/ 220 h 372"/>
                <a:gd name="T62" fmla="*/ 2044 w 2893"/>
                <a:gd name="T63" fmla="*/ 214 h 372"/>
                <a:gd name="T64" fmla="*/ 2069 w 2893"/>
                <a:gd name="T65" fmla="*/ 218 h 372"/>
                <a:gd name="T66" fmla="*/ 2172 w 2893"/>
                <a:gd name="T67" fmla="*/ 167 h 372"/>
                <a:gd name="T68" fmla="*/ 2111 w 2893"/>
                <a:gd name="T69" fmla="*/ 107 h 372"/>
                <a:gd name="T70" fmla="*/ 2115 w 2893"/>
                <a:gd name="T71" fmla="*/ 217 h 372"/>
                <a:gd name="T72" fmla="*/ 2157 w 2893"/>
                <a:gd name="T73" fmla="*/ 236 h 372"/>
                <a:gd name="T74" fmla="*/ 2191 w 2893"/>
                <a:gd name="T75" fmla="*/ 148 h 372"/>
                <a:gd name="T76" fmla="*/ 2262 w 2893"/>
                <a:gd name="T77" fmla="*/ 135 h 372"/>
                <a:gd name="T78" fmla="*/ 2862 w 2893"/>
                <a:gd name="T79" fmla="*/ 247 h 372"/>
                <a:gd name="T80" fmla="*/ 2740 w 2893"/>
                <a:gd name="T81" fmla="*/ 190 h 372"/>
                <a:gd name="T82" fmla="*/ 2824 w 2893"/>
                <a:gd name="T83" fmla="*/ 259 h 372"/>
                <a:gd name="T84" fmla="*/ 2831 w 2893"/>
                <a:gd name="T85" fmla="*/ 198 h 372"/>
                <a:gd name="T86" fmla="*/ 2792 w 2893"/>
                <a:gd name="T87" fmla="*/ 177 h 372"/>
                <a:gd name="T88" fmla="*/ 2732 w 2893"/>
                <a:gd name="T89" fmla="*/ 181 h 372"/>
                <a:gd name="T90" fmla="*/ 2702 w 2893"/>
                <a:gd name="T91" fmla="*/ 207 h 372"/>
                <a:gd name="T92" fmla="*/ 2674 w 2893"/>
                <a:gd name="T93" fmla="*/ 8 h 372"/>
                <a:gd name="T94" fmla="*/ 2563 w 2893"/>
                <a:gd name="T95" fmla="*/ 116 h 372"/>
                <a:gd name="T96" fmla="*/ 2514 w 2893"/>
                <a:gd name="T97" fmla="*/ 121 h 372"/>
                <a:gd name="T98" fmla="*/ 2453 w 2893"/>
                <a:gd name="T99" fmla="*/ 101 h 372"/>
                <a:gd name="T100" fmla="*/ 2349 w 2893"/>
                <a:gd name="T101" fmla="*/ 103 h 372"/>
                <a:gd name="T102" fmla="*/ 2298 w 2893"/>
                <a:gd name="T103" fmla="*/ 139 h 372"/>
                <a:gd name="T104" fmla="*/ 2305 w 2893"/>
                <a:gd name="T105" fmla="*/ 231 h 372"/>
                <a:gd name="T106" fmla="*/ 2365 w 2893"/>
                <a:gd name="T107" fmla="*/ 211 h 372"/>
                <a:gd name="T108" fmla="*/ 2456 w 2893"/>
                <a:gd name="T109" fmla="*/ 256 h 372"/>
                <a:gd name="T110" fmla="*/ 2497 w 2893"/>
                <a:gd name="T111" fmla="*/ 213 h 372"/>
                <a:gd name="T112" fmla="*/ 2543 w 2893"/>
                <a:gd name="T113" fmla="*/ 219 h 372"/>
                <a:gd name="T114" fmla="*/ 2582 w 2893"/>
                <a:gd name="T115" fmla="*/ 230 h 372"/>
                <a:gd name="T116" fmla="*/ 2599 w 2893"/>
                <a:gd name="T117" fmla="*/ 258 h 372"/>
                <a:gd name="T118" fmla="*/ 2671 w 2893"/>
                <a:gd name="T119" fmla="*/ 156 h 372"/>
                <a:gd name="T120" fmla="*/ 2638 w 2893"/>
                <a:gd name="T121" fmla="*/ 133 h 372"/>
                <a:gd name="T122" fmla="*/ 2741 w 2893"/>
                <a:gd name="T123" fmla="*/ 87 h 372"/>
                <a:gd name="T124" fmla="*/ 2808 w 2893"/>
                <a:gd name="T125" fmla="*/ 12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93" h="372">
                  <a:moveTo>
                    <a:pt x="288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1"/>
                    <a:pt x="1" y="320"/>
                    <a:pt x="2" y="320"/>
                  </a:cubicBezTo>
                  <a:cubicBezTo>
                    <a:pt x="1" y="331"/>
                    <a:pt x="12" y="320"/>
                    <a:pt x="15" y="320"/>
                  </a:cubicBezTo>
                  <a:cubicBezTo>
                    <a:pt x="16" y="328"/>
                    <a:pt x="25" y="329"/>
                    <a:pt x="35" y="329"/>
                  </a:cubicBezTo>
                  <a:cubicBezTo>
                    <a:pt x="35" y="327"/>
                    <a:pt x="35" y="324"/>
                    <a:pt x="37" y="324"/>
                  </a:cubicBezTo>
                  <a:cubicBezTo>
                    <a:pt x="39" y="331"/>
                    <a:pt x="43" y="322"/>
                    <a:pt x="48" y="324"/>
                  </a:cubicBezTo>
                  <a:cubicBezTo>
                    <a:pt x="50" y="329"/>
                    <a:pt x="56" y="325"/>
                    <a:pt x="62" y="326"/>
                  </a:cubicBezTo>
                  <a:cubicBezTo>
                    <a:pt x="70" y="328"/>
                    <a:pt x="66" y="332"/>
                    <a:pt x="70" y="328"/>
                  </a:cubicBezTo>
                  <a:cubicBezTo>
                    <a:pt x="77" y="323"/>
                    <a:pt x="90" y="333"/>
                    <a:pt x="87" y="333"/>
                  </a:cubicBezTo>
                  <a:cubicBezTo>
                    <a:pt x="102" y="336"/>
                    <a:pt x="117" y="327"/>
                    <a:pt x="136" y="330"/>
                  </a:cubicBezTo>
                  <a:cubicBezTo>
                    <a:pt x="139" y="338"/>
                    <a:pt x="156" y="332"/>
                    <a:pt x="167" y="334"/>
                  </a:cubicBezTo>
                  <a:cubicBezTo>
                    <a:pt x="170" y="334"/>
                    <a:pt x="170" y="336"/>
                    <a:pt x="175" y="336"/>
                  </a:cubicBezTo>
                  <a:cubicBezTo>
                    <a:pt x="178" y="336"/>
                    <a:pt x="179" y="334"/>
                    <a:pt x="183" y="333"/>
                  </a:cubicBezTo>
                  <a:cubicBezTo>
                    <a:pt x="190" y="333"/>
                    <a:pt x="194" y="335"/>
                    <a:pt x="200" y="336"/>
                  </a:cubicBezTo>
                  <a:cubicBezTo>
                    <a:pt x="202" y="332"/>
                    <a:pt x="204" y="328"/>
                    <a:pt x="210" y="328"/>
                  </a:cubicBezTo>
                  <a:cubicBezTo>
                    <a:pt x="211" y="331"/>
                    <a:pt x="210" y="335"/>
                    <a:pt x="213" y="335"/>
                  </a:cubicBezTo>
                  <a:cubicBezTo>
                    <a:pt x="216" y="328"/>
                    <a:pt x="221" y="337"/>
                    <a:pt x="222" y="337"/>
                  </a:cubicBezTo>
                  <a:cubicBezTo>
                    <a:pt x="225" y="339"/>
                    <a:pt x="233" y="339"/>
                    <a:pt x="238" y="340"/>
                  </a:cubicBezTo>
                  <a:cubicBezTo>
                    <a:pt x="246" y="340"/>
                    <a:pt x="240" y="332"/>
                    <a:pt x="246" y="337"/>
                  </a:cubicBezTo>
                  <a:cubicBezTo>
                    <a:pt x="248" y="338"/>
                    <a:pt x="255" y="336"/>
                    <a:pt x="257" y="337"/>
                  </a:cubicBezTo>
                  <a:cubicBezTo>
                    <a:pt x="259" y="338"/>
                    <a:pt x="260" y="343"/>
                    <a:pt x="266" y="341"/>
                  </a:cubicBezTo>
                  <a:cubicBezTo>
                    <a:pt x="275" y="336"/>
                    <a:pt x="294" y="346"/>
                    <a:pt x="307" y="341"/>
                  </a:cubicBezTo>
                  <a:cubicBezTo>
                    <a:pt x="309" y="340"/>
                    <a:pt x="309" y="334"/>
                    <a:pt x="312" y="334"/>
                  </a:cubicBezTo>
                  <a:cubicBezTo>
                    <a:pt x="312" y="335"/>
                    <a:pt x="312" y="337"/>
                    <a:pt x="312" y="338"/>
                  </a:cubicBezTo>
                  <a:cubicBezTo>
                    <a:pt x="315" y="339"/>
                    <a:pt x="321" y="337"/>
                    <a:pt x="323" y="338"/>
                  </a:cubicBezTo>
                  <a:cubicBezTo>
                    <a:pt x="323" y="338"/>
                    <a:pt x="323" y="340"/>
                    <a:pt x="323" y="340"/>
                  </a:cubicBezTo>
                  <a:cubicBezTo>
                    <a:pt x="327" y="341"/>
                    <a:pt x="334" y="339"/>
                    <a:pt x="340" y="340"/>
                  </a:cubicBezTo>
                  <a:cubicBezTo>
                    <a:pt x="342" y="341"/>
                    <a:pt x="343" y="342"/>
                    <a:pt x="345" y="342"/>
                  </a:cubicBezTo>
                  <a:cubicBezTo>
                    <a:pt x="345" y="342"/>
                    <a:pt x="345" y="340"/>
                    <a:pt x="348" y="340"/>
                  </a:cubicBezTo>
                  <a:cubicBezTo>
                    <a:pt x="349" y="340"/>
                    <a:pt x="347" y="343"/>
                    <a:pt x="351" y="342"/>
                  </a:cubicBezTo>
                  <a:cubicBezTo>
                    <a:pt x="352" y="342"/>
                    <a:pt x="354" y="338"/>
                    <a:pt x="356" y="338"/>
                  </a:cubicBezTo>
                  <a:cubicBezTo>
                    <a:pt x="355" y="338"/>
                    <a:pt x="360" y="341"/>
                    <a:pt x="361" y="337"/>
                  </a:cubicBezTo>
                  <a:cubicBezTo>
                    <a:pt x="361" y="339"/>
                    <a:pt x="361" y="341"/>
                    <a:pt x="362" y="342"/>
                  </a:cubicBezTo>
                  <a:cubicBezTo>
                    <a:pt x="370" y="341"/>
                    <a:pt x="374" y="337"/>
                    <a:pt x="381" y="335"/>
                  </a:cubicBezTo>
                  <a:cubicBezTo>
                    <a:pt x="381" y="341"/>
                    <a:pt x="376" y="340"/>
                    <a:pt x="381" y="344"/>
                  </a:cubicBezTo>
                  <a:cubicBezTo>
                    <a:pt x="387" y="347"/>
                    <a:pt x="389" y="333"/>
                    <a:pt x="389" y="342"/>
                  </a:cubicBezTo>
                  <a:cubicBezTo>
                    <a:pt x="389" y="345"/>
                    <a:pt x="400" y="345"/>
                    <a:pt x="403" y="346"/>
                  </a:cubicBezTo>
                  <a:cubicBezTo>
                    <a:pt x="403" y="344"/>
                    <a:pt x="403" y="341"/>
                    <a:pt x="405" y="341"/>
                  </a:cubicBezTo>
                  <a:cubicBezTo>
                    <a:pt x="405" y="345"/>
                    <a:pt x="407" y="346"/>
                    <a:pt x="408" y="348"/>
                  </a:cubicBezTo>
                  <a:cubicBezTo>
                    <a:pt x="423" y="348"/>
                    <a:pt x="437" y="348"/>
                    <a:pt x="452" y="348"/>
                  </a:cubicBezTo>
                  <a:cubicBezTo>
                    <a:pt x="453" y="346"/>
                    <a:pt x="452" y="343"/>
                    <a:pt x="455" y="343"/>
                  </a:cubicBezTo>
                  <a:cubicBezTo>
                    <a:pt x="453" y="352"/>
                    <a:pt x="461" y="345"/>
                    <a:pt x="463" y="345"/>
                  </a:cubicBezTo>
                  <a:cubicBezTo>
                    <a:pt x="465" y="345"/>
                    <a:pt x="466" y="349"/>
                    <a:pt x="469" y="350"/>
                  </a:cubicBezTo>
                  <a:cubicBezTo>
                    <a:pt x="469" y="350"/>
                    <a:pt x="471" y="345"/>
                    <a:pt x="474" y="347"/>
                  </a:cubicBezTo>
                  <a:cubicBezTo>
                    <a:pt x="475" y="351"/>
                    <a:pt x="481" y="349"/>
                    <a:pt x="485" y="349"/>
                  </a:cubicBezTo>
                  <a:cubicBezTo>
                    <a:pt x="485" y="345"/>
                    <a:pt x="487" y="341"/>
                    <a:pt x="490" y="340"/>
                  </a:cubicBezTo>
                  <a:cubicBezTo>
                    <a:pt x="491" y="343"/>
                    <a:pt x="490" y="349"/>
                    <a:pt x="493" y="349"/>
                  </a:cubicBezTo>
                  <a:cubicBezTo>
                    <a:pt x="494" y="345"/>
                    <a:pt x="503" y="348"/>
                    <a:pt x="504" y="344"/>
                  </a:cubicBezTo>
                  <a:cubicBezTo>
                    <a:pt x="506" y="341"/>
                    <a:pt x="501" y="332"/>
                    <a:pt x="507" y="332"/>
                  </a:cubicBezTo>
                  <a:cubicBezTo>
                    <a:pt x="506" y="340"/>
                    <a:pt x="512" y="341"/>
                    <a:pt x="510" y="349"/>
                  </a:cubicBezTo>
                  <a:cubicBezTo>
                    <a:pt x="515" y="350"/>
                    <a:pt x="515" y="346"/>
                    <a:pt x="518" y="344"/>
                  </a:cubicBezTo>
                  <a:cubicBezTo>
                    <a:pt x="518" y="356"/>
                    <a:pt x="541" y="354"/>
                    <a:pt x="551" y="351"/>
                  </a:cubicBezTo>
                  <a:cubicBezTo>
                    <a:pt x="552" y="346"/>
                    <a:pt x="547" y="345"/>
                    <a:pt x="551" y="343"/>
                  </a:cubicBezTo>
                  <a:cubicBezTo>
                    <a:pt x="555" y="344"/>
                    <a:pt x="553" y="349"/>
                    <a:pt x="554" y="353"/>
                  </a:cubicBezTo>
                  <a:cubicBezTo>
                    <a:pt x="563" y="352"/>
                    <a:pt x="578" y="356"/>
                    <a:pt x="578" y="348"/>
                  </a:cubicBezTo>
                  <a:cubicBezTo>
                    <a:pt x="576" y="347"/>
                    <a:pt x="573" y="348"/>
                    <a:pt x="573" y="345"/>
                  </a:cubicBezTo>
                  <a:cubicBezTo>
                    <a:pt x="575" y="346"/>
                    <a:pt x="577" y="345"/>
                    <a:pt x="578" y="345"/>
                  </a:cubicBezTo>
                  <a:cubicBezTo>
                    <a:pt x="582" y="346"/>
                    <a:pt x="579" y="348"/>
                    <a:pt x="581" y="350"/>
                  </a:cubicBezTo>
                  <a:cubicBezTo>
                    <a:pt x="583" y="351"/>
                    <a:pt x="587" y="349"/>
                    <a:pt x="587" y="352"/>
                  </a:cubicBezTo>
                  <a:cubicBezTo>
                    <a:pt x="601" y="349"/>
                    <a:pt x="614" y="358"/>
                    <a:pt x="622" y="352"/>
                  </a:cubicBezTo>
                  <a:cubicBezTo>
                    <a:pt x="619" y="351"/>
                    <a:pt x="616" y="348"/>
                    <a:pt x="620" y="347"/>
                  </a:cubicBezTo>
                  <a:cubicBezTo>
                    <a:pt x="623" y="348"/>
                    <a:pt x="625" y="350"/>
                    <a:pt x="625" y="354"/>
                  </a:cubicBezTo>
                  <a:cubicBezTo>
                    <a:pt x="630" y="356"/>
                    <a:pt x="634" y="351"/>
                    <a:pt x="636" y="351"/>
                  </a:cubicBezTo>
                  <a:cubicBezTo>
                    <a:pt x="636" y="351"/>
                    <a:pt x="638" y="356"/>
                    <a:pt x="639" y="356"/>
                  </a:cubicBezTo>
                  <a:cubicBezTo>
                    <a:pt x="641" y="357"/>
                    <a:pt x="645" y="356"/>
                    <a:pt x="647" y="356"/>
                  </a:cubicBezTo>
                  <a:cubicBezTo>
                    <a:pt x="649" y="356"/>
                    <a:pt x="649" y="358"/>
                    <a:pt x="650" y="358"/>
                  </a:cubicBezTo>
                  <a:cubicBezTo>
                    <a:pt x="656" y="359"/>
                    <a:pt x="655" y="355"/>
                    <a:pt x="658" y="358"/>
                  </a:cubicBezTo>
                  <a:cubicBezTo>
                    <a:pt x="659" y="359"/>
                    <a:pt x="663" y="358"/>
                    <a:pt x="664" y="358"/>
                  </a:cubicBezTo>
                  <a:cubicBezTo>
                    <a:pt x="673" y="359"/>
                    <a:pt x="674" y="359"/>
                    <a:pt x="680" y="360"/>
                  </a:cubicBezTo>
                  <a:cubicBezTo>
                    <a:pt x="690" y="350"/>
                    <a:pt x="712" y="364"/>
                    <a:pt x="721" y="355"/>
                  </a:cubicBezTo>
                  <a:cubicBezTo>
                    <a:pt x="720" y="356"/>
                    <a:pt x="716" y="350"/>
                    <a:pt x="721" y="350"/>
                  </a:cubicBezTo>
                  <a:cubicBezTo>
                    <a:pt x="724" y="355"/>
                    <a:pt x="726" y="361"/>
                    <a:pt x="738" y="359"/>
                  </a:cubicBezTo>
                  <a:cubicBezTo>
                    <a:pt x="741" y="353"/>
                    <a:pt x="727" y="352"/>
                    <a:pt x="735" y="350"/>
                  </a:cubicBezTo>
                  <a:cubicBezTo>
                    <a:pt x="740" y="350"/>
                    <a:pt x="741" y="354"/>
                    <a:pt x="740" y="359"/>
                  </a:cubicBezTo>
                  <a:cubicBezTo>
                    <a:pt x="750" y="362"/>
                    <a:pt x="742" y="351"/>
                    <a:pt x="749" y="352"/>
                  </a:cubicBezTo>
                  <a:cubicBezTo>
                    <a:pt x="749" y="356"/>
                    <a:pt x="756" y="355"/>
                    <a:pt x="754" y="361"/>
                  </a:cubicBezTo>
                  <a:cubicBezTo>
                    <a:pt x="785" y="357"/>
                    <a:pt x="804" y="370"/>
                    <a:pt x="820" y="360"/>
                  </a:cubicBezTo>
                  <a:cubicBezTo>
                    <a:pt x="821" y="363"/>
                    <a:pt x="826" y="363"/>
                    <a:pt x="828" y="364"/>
                  </a:cubicBezTo>
                  <a:cubicBezTo>
                    <a:pt x="833" y="360"/>
                    <a:pt x="828" y="362"/>
                    <a:pt x="828" y="355"/>
                  </a:cubicBezTo>
                  <a:cubicBezTo>
                    <a:pt x="837" y="363"/>
                    <a:pt x="829" y="348"/>
                    <a:pt x="839" y="350"/>
                  </a:cubicBezTo>
                  <a:cubicBezTo>
                    <a:pt x="838" y="356"/>
                    <a:pt x="834" y="360"/>
                    <a:pt x="839" y="364"/>
                  </a:cubicBezTo>
                  <a:cubicBezTo>
                    <a:pt x="851" y="363"/>
                    <a:pt x="864" y="362"/>
                    <a:pt x="875" y="364"/>
                  </a:cubicBezTo>
                  <a:cubicBezTo>
                    <a:pt x="873" y="357"/>
                    <a:pt x="881" y="359"/>
                    <a:pt x="883" y="356"/>
                  </a:cubicBezTo>
                  <a:cubicBezTo>
                    <a:pt x="884" y="362"/>
                    <a:pt x="887" y="366"/>
                    <a:pt x="894" y="366"/>
                  </a:cubicBezTo>
                  <a:cubicBezTo>
                    <a:pt x="894" y="365"/>
                    <a:pt x="895" y="360"/>
                    <a:pt x="897" y="361"/>
                  </a:cubicBezTo>
                  <a:cubicBezTo>
                    <a:pt x="898" y="361"/>
                    <a:pt x="896" y="365"/>
                    <a:pt x="897" y="366"/>
                  </a:cubicBezTo>
                  <a:cubicBezTo>
                    <a:pt x="900" y="367"/>
                    <a:pt x="905" y="364"/>
                    <a:pt x="908" y="365"/>
                  </a:cubicBezTo>
                  <a:cubicBezTo>
                    <a:pt x="908" y="366"/>
                    <a:pt x="908" y="368"/>
                    <a:pt x="908" y="368"/>
                  </a:cubicBezTo>
                  <a:cubicBezTo>
                    <a:pt x="915" y="368"/>
                    <a:pt x="927" y="366"/>
                    <a:pt x="935" y="367"/>
                  </a:cubicBezTo>
                  <a:cubicBezTo>
                    <a:pt x="939" y="368"/>
                    <a:pt x="939" y="370"/>
                    <a:pt x="941" y="367"/>
                  </a:cubicBezTo>
                  <a:cubicBezTo>
                    <a:pt x="943" y="365"/>
                    <a:pt x="958" y="367"/>
                    <a:pt x="960" y="367"/>
                  </a:cubicBezTo>
                  <a:cubicBezTo>
                    <a:pt x="964" y="366"/>
                    <a:pt x="963" y="364"/>
                    <a:pt x="966" y="367"/>
                  </a:cubicBezTo>
                  <a:cubicBezTo>
                    <a:pt x="968" y="370"/>
                    <a:pt x="980" y="364"/>
                    <a:pt x="982" y="367"/>
                  </a:cubicBezTo>
                  <a:cubicBezTo>
                    <a:pt x="986" y="361"/>
                    <a:pt x="975" y="358"/>
                    <a:pt x="982" y="357"/>
                  </a:cubicBezTo>
                  <a:cubicBezTo>
                    <a:pt x="988" y="362"/>
                    <a:pt x="987" y="365"/>
                    <a:pt x="990" y="366"/>
                  </a:cubicBezTo>
                  <a:cubicBezTo>
                    <a:pt x="988" y="365"/>
                    <a:pt x="995" y="358"/>
                    <a:pt x="993" y="366"/>
                  </a:cubicBezTo>
                  <a:cubicBezTo>
                    <a:pt x="1002" y="368"/>
                    <a:pt x="1002" y="363"/>
                    <a:pt x="1007" y="361"/>
                  </a:cubicBezTo>
                  <a:cubicBezTo>
                    <a:pt x="1006" y="361"/>
                    <a:pt x="1009" y="364"/>
                    <a:pt x="1011" y="362"/>
                  </a:cubicBezTo>
                  <a:cubicBezTo>
                    <a:pt x="1008" y="367"/>
                    <a:pt x="1012" y="366"/>
                    <a:pt x="1018" y="366"/>
                  </a:cubicBezTo>
                  <a:cubicBezTo>
                    <a:pt x="1020" y="366"/>
                    <a:pt x="1020" y="368"/>
                    <a:pt x="1020" y="368"/>
                  </a:cubicBezTo>
                  <a:cubicBezTo>
                    <a:pt x="1028" y="369"/>
                    <a:pt x="1040" y="368"/>
                    <a:pt x="1042" y="365"/>
                  </a:cubicBezTo>
                  <a:cubicBezTo>
                    <a:pt x="1042" y="368"/>
                    <a:pt x="1044" y="367"/>
                    <a:pt x="1045" y="368"/>
                  </a:cubicBezTo>
                  <a:cubicBezTo>
                    <a:pt x="1045" y="368"/>
                    <a:pt x="1049" y="370"/>
                    <a:pt x="1048" y="370"/>
                  </a:cubicBezTo>
                  <a:cubicBezTo>
                    <a:pt x="1058" y="372"/>
                    <a:pt x="1076" y="367"/>
                    <a:pt x="1078" y="367"/>
                  </a:cubicBezTo>
                  <a:cubicBezTo>
                    <a:pt x="1081" y="367"/>
                    <a:pt x="1082" y="369"/>
                    <a:pt x="1086" y="369"/>
                  </a:cubicBezTo>
                  <a:cubicBezTo>
                    <a:pt x="1087" y="369"/>
                    <a:pt x="1086" y="367"/>
                    <a:pt x="1089" y="367"/>
                  </a:cubicBezTo>
                  <a:cubicBezTo>
                    <a:pt x="1090" y="367"/>
                    <a:pt x="1089" y="370"/>
                    <a:pt x="1092" y="369"/>
                  </a:cubicBezTo>
                  <a:cubicBezTo>
                    <a:pt x="1091" y="369"/>
                    <a:pt x="1094" y="367"/>
                    <a:pt x="1095" y="367"/>
                  </a:cubicBezTo>
                  <a:cubicBezTo>
                    <a:pt x="1097" y="366"/>
                    <a:pt x="1099" y="365"/>
                    <a:pt x="1100" y="362"/>
                  </a:cubicBezTo>
                  <a:cubicBezTo>
                    <a:pt x="1097" y="362"/>
                    <a:pt x="1096" y="360"/>
                    <a:pt x="1094" y="357"/>
                  </a:cubicBezTo>
                  <a:cubicBezTo>
                    <a:pt x="1098" y="357"/>
                    <a:pt x="1100" y="356"/>
                    <a:pt x="1103" y="355"/>
                  </a:cubicBezTo>
                  <a:cubicBezTo>
                    <a:pt x="1105" y="362"/>
                    <a:pt x="1105" y="359"/>
                    <a:pt x="1103" y="367"/>
                  </a:cubicBezTo>
                  <a:cubicBezTo>
                    <a:pt x="1112" y="371"/>
                    <a:pt x="1115" y="365"/>
                    <a:pt x="1127" y="366"/>
                  </a:cubicBezTo>
                  <a:cubicBezTo>
                    <a:pt x="1131" y="365"/>
                    <a:pt x="1128" y="357"/>
                    <a:pt x="1133" y="357"/>
                  </a:cubicBezTo>
                  <a:cubicBezTo>
                    <a:pt x="1132" y="364"/>
                    <a:pt x="1133" y="370"/>
                    <a:pt x="1141" y="368"/>
                  </a:cubicBezTo>
                  <a:cubicBezTo>
                    <a:pt x="1143" y="364"/>
                    <a:pt x="1133" y="359"/>
                    <a:pt x="1141" y="357"/>
                  </a:cubicBezTo>
                  <a:cubicBezTo>
                    <a:pt x="1145" y="359"/>
                    <a:pt x="1144" y="366"/>
                    <a:pt x="1152" y="366"/>
                  </a:cubicBezTo>
                  <a:cubicBezTo>
                    <a:pt x="1152" y="363"/>
                    <a:pt x="1153" y="360"/>
                    <a:pt x="1158" y="361"/>
                  </a:cubicBezTo>
                  <a:cubicBezTo>
                    <a:pt x="1158" y="357"/>
                    <a:pt x="1157" y="353"/>
                    <a:pt x="1163" y="354"/>
                  </a:cubicBezTo>
                  <a:cubicBezTo>
                    <a:pt x="1167" y="363"/>
                    <a:pt x="1155" y="359"/>
                    <a:pt x="1158" y="366"/>
                  </a:cubicBezTo>
                  <a:cubicBezTo>
                    <a:pt x="1172" y="369"/>
                    <a:pt x="1165" y="355"/>
                    <a:pt x="1174" y="354"/>
                  </a:cubicBezTo>
                  <a:cubicBezTo>
                    <a:pt x="1182" y="360"/>
                    <a:pt x="1176" y="360"/>
                    <a:pt x="1174" y="368"/>
                  </a:cubicBezTo>
                  <a:cubicBezTo>
                    <a:pt x="1185" y="370"/>
                    <a:pt x="1191" y="370"/>
                    <a:pt x="1199" y="365"/>
                  </a:cubicBezTo>
                  <a:cubicBezTo>
                    <a:pt x="1202" y="369"/>
                    <a:pt x="1216" y="362"/>
                    <a:pt x="1221" y="367"/>
                  </a:cubicBezTo>
                  <a:cubicBezTo>
                    <a:pt x="1221" y="365"/>
                    <a:pt x="1221" y="362"/>
                    <a:pt x="1223" y="362"/>
                  </a:cubicBezTo>
                  <a:cubicBezTo>
                    <a:pt x="1223" y="364"/>
                    <a:pt x="1223" y="365"/>
                    <a:pt x="1223" y="367"/>
                  </a:cubicBezTo>
                  <a:cubicBezTo>
                    <a:pt x="1233" y="362"/>
                    <a:pt x="1233" y="372"/>
                    <a:pt x="1240" y="367"/>
                  </a:cubicBezTo>
                  <a:cubicBezTo>
                    <a:pt x="1240" y="363"/>
                    <a:pt x="1239" y="359"/>
                    <a:pt x="1237" y="357"/>
                  </a:cubicBezTo>
                  <a:cubicBezTo>
                    <a:pt x="1242" y="358"/>
                    <a:pt x="1243" y="355"/>
                    <a:pt x="1248" y="355"/>
                  </a:cubicBezTo>
                  <a:cubicBezTo>
                    <a:pt x="1247" y="358"/>
                    <a:pt x="1244" y="359"/>
                    <a:pt x="1243" y="362"/>
                  </a:cubicBezTo>
                  <a:cubicBezTo>
                    <a:pt x="1252" y="364"/>
                    <a:pt x="1246" y="352"/>
                    <a:pt x="1256" y="355"/>
                  </a:cubicBezTo>
                  <a:cubicBezTo>
                    <a:pt x="1255" y="359"/>
                    <a:pt x="1250" y="361"/>
                    <a:pt x="1251" y="367"/>
                  </a:cubicBezTo>
                  <a:cubicBezTo>
                    <a:pt x="1261" y="366"/>
                    <a:pt x="1261" y="363"/>
                    <a:pt x="1270" y="366"/>
                  </a:cubicBezTo>
                  <a:cubicBezTo>
                    <a:pt x="1284" y="364"/>
                    <a:pt x="1292" y="371"/>
                    <a:pt x="1298" y="363"/>
                  </a:cubicBezTo>
                  <a:cubicBezTo>
                    <a:pt x="1302" y="371"/>
                    <a:pt x="1312" y="359"/>
                    <a:pt x="1317" y="365"/>
                  </a:cubicBezTo>
                  <a:cubicBezTo>
                    <a:pt x="1315" y="360"/>
                    <a:pt x="1314" y="356"/>
                    <a:pt x="1319" y="351"/>
                  </a:cubicBezTo>
                  <a:cubicBezTo>
                    <a:pt x="1324" y="356"/>
                    <a:pt x="1318" y="356"/>
                    <a:pt x="1319" y="363"/>
                  </a:cubicBezTo>
                  <a:cubicBezTo>
                    <a:pt x="1328" y="365"/>
                    <a:pt x="1324" y="358"/>
                    <a:pt x="1325" y="353"/>
                  </a:cubicBezTo>
                  <a:cubicBezTo>
                    <a:pt x="1329" y="353"/>
                    <a:pt x="1336" y="345"/>
                    <a:pt x="1338" y="351"/>
                  </a:cubicBezTo>
                  <a:cubicBezTo>
                    <a:pt x="1334" y="351"/>
                    <a:pt x="1331" y="353"/>
                    <a:pt x="1330" y="356"/>
                  </a:cubicBezTo>
                  <a:cubicBezTo>
                    <a:pt x="1340" y="356"/>
                    <a:pt x="1325" y="364"/>
                    <a:pt x="1333" y="363"/>
                  </a:cubicBezTo>
                  <a:cubicBezTo>
                    <a:pt x="1337" y="358"/>
                    <a:pt x="1343" y="365"/>
                    <a:pt x="1350" y="360"/>
                  </a:cubicBezTo>
                  <a:cubicBezTo>
                    <a:pt x="1353" y="365"/>
                    <a:pt x="1369" y="361"/>
                    <a:pt x="1377" y="362"/>
                  </a:cubicBezTo>
                  <a:cubicBezTo>
                    <a:pt x="1378" y="358"/>
                    <a:pt x="1374" y="348"/>
                    <a:pt x="1379" y="348"/>
                  </a:cubicBezTo>
                  <a:cubicBezTo>
                    <a:pt x="1389" y="350"/>
                    <a:pt x="1381" y="352"/>
                    <a:pt x="1382" y="360"/>
                  </a:cubicBezTo>
                  <a:cubicBezTo>
                    <a:pt x="1388" y="358"/>
                    <a:pt x="1401" y="362"/>
                    <a:pt x="1402" y="357"/>
                  </a:cubicBezTo>
                  <a:cubicBezTo>
                    <a:pt x="1399" y="356"/>
                    <a:pt x="1395" y="353"/>
                    <a:pt x="1399" y="352"/>
                  </a:cubicBezTo>
                  <a:cubicBezTo>
                    <a:pt x="1401" y="355"/>
                    <a:pt x="1409" y="353"/>
                    <a:pt x="1407" y="359"/>
                  </a:cubicBezTo>
                  <a:cubicBezTo>
                    <a:pt x="1418" y="359"/>
                    <a:pt x="1409" y="352"/>
                    <a:pt x="1415" y="357"/>
                  </a:cubicBezTo>
                  <a:cubicBezTo>
                    <a:pt x="1421" y="361"/>
                    <a:pt x="1422" y="357"/>
                    <a:pt x="1426" y="356"/>
                  </a:cubicBezTo>
                  <a:cubicBezTo>
                    <a:pt x="1438" y="354"/>
                    <a:pt x="1439" y="354"/>
                    <a:pt x="1446" y="358"/>
                  </a:cubicBezTo>
                  <a:cubicBezTo>
                    <a:pt x="1446" y="355"/>
                    <a:pt x="1445" y="350"/>
                    <a:pt x="1451" y="351"/>
                  </a:cubicBezTo>
                  <a:cubicBezTo>
                    <a:pt x="1451" y="347"/>
                    <a:pt x="1448" y="346"/>
                    <a:pt x="1448" y="342"/>
                  </a:cubicBezTo>
                  <a:cubicBezTo>
                    <a:pt x="1451" y="342"/>
                    <a:pt x="1454" y="342"/>
                    <a:pt x="1456" y="342"/>
                  </a:cubicBezTo>
                  <a:cubicBezTo>
                    <a:pt x="1457" y="346"/>
                    <a:pt x="1453" y="347"/>
                    <a:pt x="1454" y="351"/>
                  </a:cubicBezTo>
                  <a:cubicBezTo>
                    <a:pt x="1460" y="350"/>
                    <a:pt x="1464" y="352"/>
                    <a:pt x="1465" y="356"/>
                  </a:cubicBezTo>
                  <a:cubicBezTo>
                    <a:pt x="1473" y="356"/>
                    <a:pt x="1481" y="355"/>
                    <a:pt x="1489" y="355"/>
                  </a:cubicBezTo>
                  <a:cubicBezTo>
                    <a:pt x="1492" y="353"/>
                    <a:pt x="1494" y="347"/>
                    <a:pt x="1497" y="346"/>
                  </a:cubicBezTo>
                  <a:cubicBezTo>
                    <a:pt x="1502" y="345"/>
                    <a:pt x="1504" y="349"/>
                    <a:pt x="1508" y="348"/>
                  </a:cubicBezTo>
                  <a:cubicBezTo>
                    <a:pt x="1508" y="343"/>
                    <a:pt x="1509" y="339"/>
                    <a:pt x="1514" y="338"/>
                  </a:cubicBezTo>
                  <a:cubicBezTo>
                    <a:pt x="1515" y="346"/>
                    <a:pt x="1508" y="348"/>
                    <a:pt x="1514" y="352"/>
                  </a:cubicBezTo>
                  <a:cubicBezTo>
                    <a:pt x="1526" y="355"/>
                    <a:pt x="1523" y="344"/>
                    <a:pt x="1533" y="345"/>
                  </a:cubicBezTo>
                  <a:cubicBezTo>
                    <a:pt x="1534" y="347"/>
                    <a:pt x="1533" y="350"/>
                    <a:pt x="1536" y="350"/>
                  </a:cubicBezTo>
                  <a:cubicBezTo>
                    <a:pt x="1539" y="350"/>
                    <a:pt x="1540" y="353"/>
                    <a:pt x="1541" y="350"/>
                  </a:cubicBezTo>
                  <a:cubicBezTo>
                    <a:pt x="1537" y="349"/>
                    <a:pt x="1543" y="344"/>
                    <a:pt x="1541" y="340"/>
                  </a:cubicBezTo>
                  <a:cubicBezTo>
                    <a:pt x="1541" y="339"/>
                    <a:pt x="1533" y="341"/>
                    <a:pt x="1536" y="336"/>
                  </a:cubicBezTo>
                  <a:cubicBezTo>
                    <a:pt x="1540" y="336"/>
                    <a:pt x="1545" y="336"/>
                    <a:pt x="1549" y="335"/>
                  </a:cubicBezTo>
                  <a:cubicBezTo>
                    <a:pt x="1553" y="343"/>
                    <a:pt x="1552" y="345"/>
                    <a:pt x="1547" y="350"/>
                  </a:cubicBezTo>
                  <a:cubicBezTo>
                    <a:pt x="1555" y="349"/>
                    <a:pt x="1563" y="349"/>
                    <a:pt x="1572" y="349"/>
                  </a:cubicBezTo>
                  <a:cubicBezTo>
                    <a:pt x="1573" y="346"/>
                    <a:pt x="1574" y="344"/>
                    <a:pt x="1577" y="342"/>
                  </a:cubicBezTo>
                  <a:cubicBezTo>
                    <a:pt x="1579" y="353"/>
                    <a:pt x="1592" y="340"/>
                    <a:pt x="1599" y="346"/>
                  </a:cubicBezTo>
                  <a:cubicBezTo>
                    <a:pt x="1600" y="345"/>
                    <a:pt x="1599" y="342"/>
                    <a:pt x="1602" y="342"/>
                  </a:cubicBezTo>
                  <a:cubicBezTo>
                    <a:pt x="1604" y="345"/>
                    <a:pt x="1609" y="340"/>
                    <a:pt x="1615" y="344"/>
                  </a:cubicBezTo>
                  <a:cubicBezTo>
                    <a:pt x="1619" y="338"/>
                    <a:pt x="1617" y="328"/>
                    <a:pt x="1626" y="327"/>
                  </a:cubicBezTo>
                  <a:cubicBezTo>
                    <a:pt x="1629" y="330"/>
                    <a:pt x="1629" y="336"/>
                    <a:pt x="1632" y="339"/>
                  </a:cubicBezTo>
                  <a:cubicBezTo>
                    <a:pt x="1628" y="339"/>
                    <a:pt x="1623" y="329"/>
                    <a:pt x="1624" y="339"/>
                  </a:cubicBezTo>
                  <a:cubicBezTo>
                    <a:pt x="1627" y="342"/>
                    <a:pt x="1633" y="343"/>
                    <a:pt x="1640" y="343"/>
                  </a:cubicBezTo>
                  <a:cubicBezTo>
                    <a:pt x="1640" y="340"/>
                    <a:pt x="1639" y="335"/>
                    <a:pt x="1643" y="334"/>
                  </a:cubicBezTo>
                  <a:cubicBezTo>
                    <a:pt x="1642" y="340"/>
                    <a:pt x="1647" y="341"/>
                    <a:pt x="1651" y="343"/>
                  </a:cubicBezTo>
                  <a:cubicBezTo>
                    <a:pt x="1651" y="340"/>
                    <a:pt x="1656" y="341"/>
                    <a:pt x="1656" y="338"/>
                  </a:cubicBezTo>
                  <a:cubicBezTo>
                    <a:pt x="1655" y="338"/>
                    <a:pt x="1653" y="336"/>
                    <a:pt x="1656" y="336"/>
                  </a:cubicBezTo>
                  <a:cubicBezTo>
                    <a:pt x="1662" y="335"/>
                    <a:pt x="1663" y="338"/>
                    <a:pt x="1667" y="338"/>
                  </a:cubicBezTo>
                  <a:cubicBezTo>
                    <a:pt x="1667" y="338"/>
                    <a:pt x="1669" y="334"/>
                    <a:pt x="1670" y="333"/>
                  </a:cubicBezTo>
                  <a:cubicBezTo>
                    <a:pt x="1670" y="333"/>
                    <a:pt x="1678" y="338"/>
                    <a:pt x="1681" y="336"/>
                  </a:cubicBezTo>
                  <a:cubicBezTo>
                    <a:pt x="1682" y="330"/>
                    <a:pt x="1676" y="330"/>
                    <a:pt x="1678" y="324"/>
                  </a:cubicBezTo>
                  <a:cubicBezTo>
                    <a:pt x="1682" y="323"/>
                    <a:pt x="1683" y="320"/>
                    <a:pt x="1686" y="319"/>
                  </a:cubicBezTo>
                  <a:cubicBezTo>
                    <a:pt x="1686" y="322"/>
                    <a:pt x="1691" y="321"/>
                    <a:pt x="1692" y="324"/>
                  </a:cubicBezTo>
                  <a:cubicBezTo>
                    <a:pt x="1681" y="324"/>
                    <a:pt x="1694" y="328"/>
                    <a:pt x="1695" y="331"/>
                  </a:cubicBezTo>
                  <a:cubicBezTo>
                    <a:pt x="1695" y="330"/>
                    <a:pt x="1687" y="343"/>
                    <a:pt x="1695" y="340"/>
                  </a:cubicBezTo>
                  <a:cubicBezTo>
                    <a:pt x="1694" y="335"/>
                    <a:pt x="1705" y="339"/>
                    <a:pt x="1709" y="337"/>
                  </a:cubicBezTo>
                  <a:cubicBezTo>
                    <a:pt x="1709" y="335"/>
                    <a:pt x="1712" y="334"/>
                    <a:pt x="1714" y="333"/>
                  </a:cubicBezTo>
                  <a:cubicBezTo>
                    <a:pt x="1714" y="335"/>
                    <a:pt x="1715" y="338"/>
                    <a:pt x="1720" y="337"/>
                  </a:cubicBezTo>
                  <a:cubicBezTo>
                    <a:pt x="1716" y="330"/>
                    <a:pt x="1728" y="335"/>
                    <a:pt x="1725" y="328"/>
                  </a:cubicBezTo>
                  <a:cubicBezTo>
                    <a:pt x="1721" y="327"/>
                    <a:pt x="1715" y="329"/>
                    <a:pt x="1714" y="326"/>
                  </a:cubicBezTo>
                  <a:cubicBezTo>
                    <a:pt x="1717" y="322"/>
                    <a:pt x="1718" y="318"/>
                    <a:pt x="1722" y="316"/>
                  </a:cubicBezTo>
                  <a:cubicBezTo>
                    <a:pt x="1718" y="324"/>
                    <a:pt x="1731" y="317"/>
                    <a:pt x="1730" y="323"/>
                  </a:cubicBezTo>
                  <a:cubicBezTo>
                    <a:pt x="1727" y="323"/>
                    <a:pt x="1727" y="329"/>
                    <a:pt x="1730" y="330"/>
                  </a:cubicBezTo>
                  <a:cubicBezTo>
                    <a:pt x="1734" y="325"/>
                    <a:pt x="1735" y="318"/>
                    <a:pt x="1744" y="318"/>
                  </a:cubicBezTo>
                  <a:cubicBezTo>
                    <a:pt x="1741" y="323"/>
                    <a:pt x="1735" y="326"/>
                    <a:pt x="1733" y="332"/>
                  </a:cubicBezTo>
                  <a:cubicBezTo>
                    <a:pt x="1748" y="334"/>
                    <a:pt x="1742" y="318"/>
                    <a:pt x="1760" y="322"/>
                  </a:cubicBezTo>
                  <a:cubicBezTo>
                    <a:pt x="1767" y="320"/>
                    <a:pt x="1754" y="312"/>
                    <a:pt x="1763" y="308"/>
                  </a:cubicBezTo>
                  <a:cubicBezTo>
                    <a:pt x="1759" y="319"/>
                    <a:pt x="1769" y="319"/>
                    <a:pt x="1774" y="322"/>
                  </a:cubicBezTo>
                  <a:cubicBezTo>
                    <a:pt x="1773" y="327"/>
                    <a:pt x="1760" y="323"/>
                    <a:pt x="1763" y="332"/>
                  </a:cubicBezTo>
                  <a:cubicBezTo>
                    <a:pt x="1770" y="333"/>
                    <a:pt x="1769" y="327"/>
                    <a:pt x="1777" y="329"/>
                  </a:cubicBezTo>
                  <a:cubicBezTo>
                    <a:pt x="1776" y="324"/>
                    <a:pt x="1779" y="322"/>
                    <a:pt x="1785" y="322"/>
                  </a:cubicBezTo>
                  <a:cubicBezTo>
                    <a:pt x="1783" y="330"/>
                    <a:pt x="1790" y="330"/>
                    <a:pt x="1796" y="331"/>
                  </a:cubicBezTo>
                  <a:cubicBezTo>
                    <a:pt x="1793" y="321"/>
                    <a:pt x="1802" y="324"/>
                    <a:pt x="1807" y="322"/>
                  </a:cubicBezTo>
                  <a:cubicBezTo>
                    <a:pt x="1809" y="320"/>
                    <a:pt x="1810" y="315"/>
                    <a:pt x="1815" y="317"/>
                  </a:cubicBezTo>
                  <a:cubicBezTo>
                    <a:pt x="1818" y="323"/>
                    <a:pt x="1811" y="323"/>
                    <a:pt x="1813" y="329"/>
                  </a:cubicBezTo>
                  <a:cubicBezTo>
                    <a:pt x="1818" y="329"/>
                    <a:pt x="1817" y="327"/>
                    <a:pt x="1818" y="324"/>
                  </a:cubicBezTo>
                  <a:cubicBezTo>
                    <a:pt x="1818" y="323"/>
                    <a:pt x="1821" y="324"/>
                    <a:pt x="1821" y="324"/>
                  </a:cubicBezTo>
                  <a:cubicBezTo>
                    <a:pt x="1822" y="321"/>
                    <a:pt x="1820" y="317"/>
                    <a:pt x="1821" y="314"/>
                  </a:cubicBezTo>
                  <a:cubicBezTo>
                    <a:pt x="1822" y="303"/>
                    <a:pt x="1828" y="308"/>
                    <a:pt x="1823" y="314"/>
                  </a:cubicBezTo>
                  <a:cubicBezTo>
                    <a:pt x="1834" y="316"/>
                    <a:pt x="1825" y="302"/>
                    <a:pt x="1837" y="305"/>
                  </a:cubicBezTo>
                  <a:cubicBezTo>
                    <a:pt x="1834" y="311"/>
                    <a:pt x="1833" y="322"/>
                    <a:pt x="1843" y="323"/>
                  </a:cubicBezTo>
                  <a:cubicBezTo>
                    <a:pt x="1849" y="318"/>
                    <a:pt x="1839" y="319"/>
                    <a:pt x="1840" y="312"/>
                  </a:cubicBezTo>
                  <a:cubicBezTo>
                    <a:pt x="1843" y="312"/>
                    <a:pt x="1844" y="315"/>
                    <a:pt x="1848" y="314"/>
                  </a:cubicBezTo>
                  <a:cubicBezTo>
                    <a:pt x="1853" y="308"/>
                    <a:pt x="1844" y="304"/>
                    <a:pt x="1851" y="300"/>
                  </a:cubicBezTo>
                  <a:cubicBezTo>
                    <a:pt x="1858" y="309"/>
                    <a:pt x="1841" y="322"/>
                    <a:pt x="1854" y="328"/>
                  </a:cubicBezTo>
                  <a:cubicBezTo>
                    <a:pt x="1853" y="321"/>
                    <a:pt x="1854" y="316"/>
                    <a:pt x="1859" y="314"/>
                  </a:cubicBezTo>
                  <a:cubicBezTo>
                    <a:pt x="1868" y="315"/>
                    <a:pt x="1866" y="307"/>
                    <a:pt x="1873" y="306"/>
                  </a:cubicBezTo>
                  <a:cubicBezTo>
                    <a:pt x="1875" y="314"/>
                    <a:pt x="1870" y="316"/>
                    <a:pt x="1867" y="320"/>
                  </a:cubicBezTo>
                  <a:cubicBezTo>
                    <a:pt x="1878" y="323"/>
                    <a:pt x="1872" y="312"/>
                    <a:pt x="1881" y="313"/>
                  </a:cubicBezTo>
                  <a:cubicBezTo>
                    <a:pt x="1881" y="316"/>
                    <a:pt x="1878" y="317"/>
                    <a:pt x="1878" y="320"/>
                  </a:cubicBezTo>
                  <a:cubicBezTo>
                    <a:pt x="1884" y="321"/>
                    <a:pt x="1884" y="317"/>
                    <a:pt x="1886" y="315"/>
                  </a:cubicBezTo>
                  <a:cubicBezTo>
                    <a:pt x="1891" y="316"/>
                    <a:pt x="1889" y="321"/>
                    <a:pt x="1895" y="320"/>
                  </a:cubicBezTo>
                  <a:cubicBezTo>
                    <a:pt x="1897" y="315"/>
                    <a:pt x="1895" y="308"/>
                    <a:pt x="1903" y="303"/>
                  </a:cubicBezTo>
                  <a:cubicBezTo>
                    <a:pt x="1903" y="307"/>
                    <a:pt x="1904" y="309"/>
                    <a:pt x="1906" y="310"/>
                  </a:cubicBezTo>
                  <a:cubicBezTo>
                    <a:pt x="1895" y="307"/>
                    <a:pt x="1905" y="325"/>
                    <a:pt x="1906" y="325"/>
                  </a:cubicBezTo>
                  <a:cubicBezTo>
                    <a:pt x="1909" y="319"/>
                    <a:pt x="1905" y="320"/>
                    <a:pt x="1908" y="313"/>
                  </a:cubicBezTo>
                  <a:cubicBezTo>
                    <a:pt x="1919" y="315"/>
                    <a:pt x="1916" y="307"/>
                    <a:pt x="1925" y="308"/>
                  </a:cubicBezTo>
                  <a:cubicBezTo>
                    <a:pt x="1929" y="309"/>
                    <a:pt x="1925" y="317"/>
                    <a:pt x="1930" y="317"/>
                  </a:cubicBezTo>
                  <a:cubicBezTo>
                    <a:pt x="1936" y="311"/>
                    <a:pt x="1927" y="306"/>
                    <a:pt x="1933" y="303"/>
                  </a:cubicBezTo>
                  <a:cubicBezTo>
                    <a:pt x="1937" y="303"/>
                    <a:pt x="1935" y="309"/>
                    <a:pt x="1939" y="310"/>
                  </a:cubicBezTo>
                  <a:cubicBezTo>
                    <a:pt x="1939" y="308"/>
                    <a:pt x="1941" y="307"/>
                    <a:pt x="1944" y="307"/>
                  </a:cubicBezTo>
                  <a:cubicBezTo>
                    <a:pt x="1948" y="307"/>
                    <a:pt x="1955" y="298"/>
                    <a:pt x="1949" y="298"/>
                  </a:cubicBezTo>
                  <a:cubicBezTo>
                    <a:pt x="1950" y="303"/>
                    <a:pt x="1941" y="298"/>
                    <a:pt x="1941" y="296"/>
                  </a:cubicBezTo>
                  <a:cubicBezTo>
                    <a:pt x="1952" y="300"/>
                    <a:pt x="1950" y="292"/>
                    <a:pt x="1955" y="295"/>
                  </a:cubicBezTo>
                  <a:cubicBezTo>
                    <a:pt x="1957" y="297"/>
                    <a:pt x="1963" y="294"/>
                    <a:pt x="1966" y="295"/>
                  </a:cubicBezTo>
                  <a:cubicBezTo>
                    <a:pt x="1966" y="293"/>
                    <a:pt x="1966" y="291"/>
                    <a:pt x="1968" y="291"/>
                  </a:cubicBezTo>
                  <a:cubicBezTo>
                    <a:pt x="1968" y="295"/>
                    <a:pt x="1972" y="295"/>
                    <a:pt x="1974" y="297"/>
                  </a:cubicBezTo>
                  <a:cubicBezTo>
                    <a:pt x="1975" y="302"/>
                    <a:pt x="1971" y="303"/>
                    <a:pt x="1971" y="307"/>
                  </a:cubicBezTo>
                  <a:cubicBezTo>
                    <a:pt x="1978" y="311"/>
                    <a:pt x="1992" y="309"/>
                    <a:pt x="1999" y="306"/>
                  </a:cubicBezTo>
                  <a:cubicBezTo>
                    <a:pt x="1999" y="304"/>
                    <a:pt x="1998" y="300"/>
                    <a:pt x="2001" y="299"/>
                  </a:cubicBezTo>
                  <a:cubicBezTo>
                    <a:pt x="2004" y="301"/>
                    <a:pt x="2011" y="310"/>
                    <a:pt x="2013" y="304"/>
                  </a:cubicBezTo>
                  <a:cubicBezTo>
                    <a:pt x="2011" y="304"/>
                    <a:pt x="2009" y="302"/>
                    <a:pt x="2012" y="301"/>
                  </a:cubicBezTo>
                  <a:cubicBezTo>
                    <a:pt x="2013" y="298"/>
                    <a:pt x="2011" y="296"/>
                    <a:pt x="2010" y="295"/>
                  </a:cubicBezTo>
                  <a:cubicBezTo>
                    <a:pt x="2017" y="296"/>
                    <a:pt x="2017" y="291"/>
                    <a:pt x="2023" y="292"/>
                  </a:cubicBezTo>
                  <a:cubicBezTo>
                    <a:pt x="2024" y="298"/>
                    <a:pt x="2019" y="297"/>
                    <a:pt x="2023" y="301"/>
                  </a:cubicBezTo>
                  <a:cubicBezTo>
                    <a:pt x="2021" y="301"/>
                    <a:pt x="2020" y="305"/>
                    <a:pt x="2024" y="306"/>
                  </a:cubicBezTo>
                  <a:cubicBezTo>
                    <a:pt x="2025" y="297"/>
                    <a:pt x="2032" y="305"/>
                    <a:pt x="2034" y="303"/>
                  </a:cubicBezTo>
                  <a:cubicBezTo>
                    <a:pt x="2036" y="303"/>
                    <a:pt x="2034" y="298"/>
                    <a:pt x="2037" y="299"/>
                  </a:cubicBezTo>
                  <a:cubicBezTo>
                    <a:pt x="2037" y="303"/>
                    <a:pt x="2045" y="300"/>
                    <a:pt x="2045" y="303"/>
                  </a:cubicBezTo>
                  <a:cubicBezTo>
                    <a:pt x="2038" y="300"/>
                    <a:pt x="2033" y="310"/>
                    <a:pt x="2040" y="310"/>
                  </a:cubicBezTo>
                  <a:cubicBezTo>
                    <a:pt x="2040" y="304"/>
                    <a:pt x="2048" y="306"/>
                    <a:pt x="2051" y="303"/>
                  </a:cubicBezTo>
                  <a:cubicBezTo>
                    <a:pt x="2053" y="301"/>
                    <a:pt x="2050" y="291"/>
                    <a:pt x="2059" y="294"/>
                  </a:cubicBezTo>
                  <a:cubicBezTo>
                    <a:pt x="2057" y="299"/>
                    <a:pt x="2051" y="301"/>
                    <a:pt x="2051" y="308"/>
                  </a:cubicBezTo>
                  <a:cubicBezTo>
                    <a:pt x="2061" y="307"/>
                    <a:pt x="2062" y="299"/>
                    <a:pt x="2073" y="298"/>
                  </a:cubicBezTo>
                  <a:cubicBezTo>
                    <a:pt x="2072" y="294"/>
                    <a:pt x="2064" y="279"/>
                    <a:pt x="2075" y="279"/>
                  </a:cubicBezTo>
                  <a:cubicBezTo>
                    <a:pt x="2072" y="288"/>
                    <a:pt x="2072" y="298"/>
                    <a:pt x="2084" y="303"/>
                  </a:cubicBezTo>
                  <a:cubicBezTo>
                    <a:pt x="2085" y="299"/>
                    <a:pt x="2080" y="297"/>
                    <a:pt x="2084" y="296"/>
                  </a:cubicBezTo>
                  <a:cubicBezTo>
                    <a:pt x="2090" y="299"/>
                    <a:pt x="2088" y="301"/>
                    <a:pt x="2087" y="307"/>
                  </a:cubicBezTo>
                  <a:cubicBezTo>
                    <a:pt x="2095" y="308"/>
                    <a:pt x="2096" y="298"/>
                    <a:pt x="2103" y="305"/>
                  </a:cubicBezTo>
                  <a:cubicBezTo>
                    <a:pt x="2102" y="295"/>
                    <a:pt x="2109" y="303"/>
                    <a:pt x="2114" y="302"/>
                  </a:cubicBezTo>
                  <a:cubicBezTo>
                    <a:pt x="2115" y="299"/>
                    <a:pt x="2118" y="298"/>
                    <a:pt x="2117" y="293"/>
                  </a:cubicBezTo>
                  <a:cubicBezTo>
                    <a:pt x="2122" y="293"/>
                    <a:pt x="2122" y="289"/>
                    <a:pt x="2125" y="288"/>
                  </a:cubicBezTo>
                  <a:cubicBezTo>
                    <a:pt x="2124" y="293"/>
                    <a:pt x="2119" y="301"/>
                    <a:pt x="2128" y="302"/>
                  </a:cubicBezTo>
                  <a:cubicBezTo>
                    <a:pt x="2128" y="300"/>
                    <a:pt x="2128" y="297"/>
                    <a:pt x="2130" y="297"/>
                  </a:cubicBezTo>
                  <a:cubicBezTo>
                    <a:pt x="2127" y="305"/>
                    <a:pt x="2139" y="299"/>
                    <a:pt x="2136" y="306"/>
                  </a:cubicBezTo>
                  <a:cubicBezTo>
                    <a:pt x="2135" y="306"/>
                    <a:pt x="2133" y="308"/>
                    <a:pt x="2136" y="309"/>
                  </a:cubicBezTo>
                  <a:cubicBezTo>
                    <a:pt x="2137" y="306"/>
                    <a:pt x="2140" y="304"/>
                    <a:pt x="2139" y="299"/>
                  </a:cubicBezTo>
                  <a:cubicBezTo>
                    <a:pt x="2146" y="298"/>
                    <a:pt x="2149" y="288"/>
                    <a:pt x="2152" y="285"/>
                  </a:cubicBezTo>
                  <a:cubicBezTo>
                    <a:pt x="2154" y="292"/>
                    <a:pt x="2154" y="289"/>
                    <a:pt x="2152" y="297"/>
                  </a:cubicBezTo>
                  <a:cubicBezTo>
                    <a:pt x="2166" y="292"/>
                    <a:pt x="2160" y="304"/>
                    <a:pt x="2169" y="303"/>
                  </a:cubicBezTo>
                  <a:cubicBezTo>
                    <a:pt x="2175" y="311"/>
                    <a:pt x="2170" y="295"/>
                    <a:pt x="2174" y="294"/>
                  </a:cubicBezTo>
                  <a:cubicBezTo>
                    <a:pt x="2176" y="294"/>
                    <a:pt x="2179" y="297"/>
                    <a:pt x="2180" y="296"/>
                  </a:cubicBezTo>
                  <a:cubicBezTo>
                    <a:pt x="2182" y="294"/>
                    <a:pt x="2177" y="287"/>
                    <a:pt x="2182" y="287"/>
                  </a:cubicBezTo>
                  <a:cubicBezTo>
                    <a:pt x="2187" y="286"/>
                    <a:pt x="2184" y="294"/>
                    <a:pt x="2188" y="294"/>
                  </a:cubicBezTo>
                  <a:cubicBezTo>
                    <a:pt x="2189" y="285"/>
                    <a:pt x="2188" y="282"/>
                    <a:pt x="2190" y="280"/>
                  </a:cubicBezTo>
                  <a:cubicBezTo>
                    <a:pt x="2201" y="287"/>
                    <a:pt x="2186" y="293"/>
                    <a:pt x="2193" y="294"/>
                  </a:cubicBezTo>
                  <a:cubicBezTo>
                    <a:pt x="2200" y="294"/>
                    <a:pt x="2195" y="303"/>
                    <a:pt x="2196" y="305"/>
                  </a:cubicBezTo>
                  <a:cubicBezTo>
                    <a:pt x="2208" y="306"/>
                    <a:pt x="2196" y="302"/>
                    <a:pt x="2199" y="296"/>
                  </a:cubicBezTo>
                  <a:cubicBezTo>
                    <a:pt x="2205" y="293"/>
                    <a:pt x="2206" y="296"/>
                    <a:pt x="2213" y="291"/>
                  </a:cubicBezTo>
                  <a:cubicBezTo>
                    <a:pt x="2218" y="293"/>
                    <a:pt x="2212" y="304"/>
                    <a:pt x="2218" y="305"/>
                  </a:cubicBezTo>
                  <a:cubicBezTo>
                    <a:pt x="2219" y="299"/>
                    <a:pt x="2223" y="297"/>
                    <a:pt x="2226" y="293"/>
                  </a:cubicBezTo>
                  <a:cubicBezTo>
                    <a:pt x="2227" y="299"/>
                    <a:pt x="2231" y="290"/>
                    <a:pt x="2237" y="293"/>
                  </a:cubicBezTo>
                  <a:cubicBezTo>
                    <a:pt x="2244" y="290"/>
                    <a:pt x="2232" y="284"/>
                    <a:pt x="2240" y="281"/>
                  </a:cubicBezTo>
                  <a:cubicBezTo>
                    <a:pt x="2243" y="281"/>
                    <a:pt x="2242" y="285"/>
                    <a:pt x="2245" y="286"/>
                  </a:cubicBezTo>
                  <a:cubicBezTo>
                    <a:pt x="2253" y="281"/>
                    <a:pt x="2242" y="274"/>
                    <a:pt x="2248" y="274"/>
                  </a:cubicBezTo>
                  <a:cubicBezTo>
                    <a:pt x="2250" y="274"/>
                    <a:pt x="2252" y="274"/>
                    <a:pt x="2253" y="274"/>
                  </a:cubicBezTo>
                  <a:cubicBezTo>
                    <a:pt x="2250" y="277"/>
                    <a:pt x="2250" y="280"/>
                    <a:pt x="2254" y="283"/>
                  </a:cubicBezTo>
                  <a:cubicBezTo>
                    <a:pt x="2250" y="286"/>
                    <a:pt x="2245" y="287"/>
                    <a:pt x="2243" y="290"/>
                  </a:cubicBezTo>
                  <a:cubicBezTo>
                    <a:pt x="2247" y="290"/>
                    <a:pt x="2252" y="290"/>
                    <a:pt x="2257" y="290"/>
                  </a:cubicBezTo>
                  <a:cubicBezTo>
                    <a:pt x="2256" y="296"/>
                    <a:pt x="2257" y="299"/>
                    <a:pt x="2262" y="300"/>
                  </a:cubicBezTo>
                  <a:cubicBezTo>
                    <a:pt x="2263" y="295"/>
                    <a:pt x="2259" y="288"/>
                    <a:pt x="2267" y="290"/>
                  </a:cubicBezTo>
                  <a:cubicBezTo>
                    <a:pt x="2268" y="293"/>
                    <a:pt x="2264" y="294"/>
                    <a:pt x="2268" y="295"/>
                  </a:cubicBezTo>
                  <a:cubicBezTo>
                    <a:pt x="2272" y="288"/>
                    <a:pt x="2276" y="301"/>
                    <a:pt x="2281" y="302"/>
                  </a:cubicBezTo>
                  <a:cubicBezTo>
                    <a:pt x="2281" y="295"/>
                    <a:pt x="2280" y="288"/>
                    <a:pt x="2287" y="287"/>
                  </a:cubicBezTo>
                  <a:cubicBezTo>
                    <a:pt x="2287" y="292"/>
                    <a:pt x="2289" y="295"/>
                    <a:pt x="2292" y="297"/>
                  </a:cubicBezTo>
                  <a:cubicBezTo>
                    <a:pt x="2293" y="294"/>
                    <a:pt x="2295" y="295"/>
                    <a:pt x="2298" y="297"/>
                  </a:cubicBezTo>
                  <a:cubicBezTo>
                    <a:pt x="2298" y="294"/>
                    <a:pt x="2297" y="290"/>
                    <a:pt x="2300" y="289"/>
                  </a:cubicBezTo>
                  <a:cubicBezTo>
                    <a:pt x="2303" y="298"/>
                    <a:pt x="2306" y="286"/>
                    <a:pt x="2309" y="287"/>
                  </a:cubicBezTo>
                  <a:cubicBezTo>
                    <a:pt x="2311" y="288"/>
                    <a:pt x="2311" y="294"/>
                    <a:pt x="2314" y="294"/>
                  </a:cubicBezTo>
                  <a:cubicBezTo>
                    <a:pt x="2318" y="288"/>
                    <a:pt x="2307" y="285"/>
                    <a:pt x="2314" y="284"/>
                  </a:cubicBezTo>
                  <a:cubicBezTo>
                    <a:pt x="2321" y="283"/>
                    <a:pt x="2319" y="289"/>
                    <a:pt x="2322" y="291"/>
                  </a:cubicBezTo>
                  <a:cubicBezTo>
                    <a:pt x="2319" y="291"/>
                    <a:pt x="2313" y="298"/>
                    <a:pt x="2320" y="299"/>
                  </a:cubicBezTo>
                  <a:cubicBezTo>
                    <a:pt x="2320" y="296"/>
                    <a:pt x="2323" y="295"/>
                    <a:pt x="2325" y="294"/>
                  </a:cubicBezTo>
                  <a:cubicBezTo>
                    <a:pt x="2326" y="290"/>
                    <a:pt x="2317" y="282"/>
                    <a:pt x="2325" y="280"/>
                  </a:cubicBezTo>
                  <a:cubicBezTo>
                    <a:pt x="2330" y="280"/>
                    <a:pt x="2326" y="301"/>
                    <a:pt x="2331" y="294"/>
                  </a:cubicBezTo>
                  <a:cubicBezTo>
                    <a:pt x="2331" y="284"/>
                    <a:pt x="2328" y="271"/>
                    <a:pt x="2338" y="270"/>
                  </a:cubicBezTo>
                  <a:cubicBezTo>
                    <a:pt x="2332" y="275"/>
                    <a:pt x="2338" y="281"/>
                    <a:pt x="2339" y="286"/>
                  </a:cubicBezTo>
                  <a:cubicBezTo>
                    <a:pt x="2339" y="289"/>
                    <a:pt x="2336" y="289"/>
                    <a:pt x="2336" y="291"/>
                  </a:cubicBezTo>
                  <a:cubicBezTo>
                    <a:pt x="2336" y="294"/>
                    <a:pt x="2340" y="295"/>
                    <a:pt x="2342" y="296"/>
                  </a:cubicBezTo>
                  <a:cubicBezTo>
                    <a:pt x="2342" y="292"/>
                    <a:pt x="2340" y="287"/>
                    <a:pt x="2344" y="286"/>
                  </a:cubicBezTo>
                  <a:cubicBezTo>
                    <a:pt x="2348" y="286"/>
                    <a:pt x="2347" y="290"/>
                    <a:pt x="2350" y="291"/>
                  </a:cubicBezTo>
                  <a:cubicBezTo>
                    <a:pt x="2352" y="278"/>
                    <a:pt x="2350" y="297"/>
                    <a:pt x="2358" y="293"/>
                  </a:cubicBezTo>
                  <a:cubicBezTo>
                    <a:pt x="2362" y="286"/>
                    <a:pt x="2357" y="286"/>
                    <a:pt x="2358" y="277"/>
                  </a:cubicBezTo>
                  <a:cubicBezTo>
                    <a:pt x="2363" y="278"/>
                    <a:pt x="2361" y="271"/>
                    <a:pt x="2366" y="270"/>
                  </a:cubicBezTo>
                  <a:cubicBezTo>
                    <a:pt x="2369" y="269"/>
                    <a:pt x="2374" y="270"/>
                    <a:pt x="2374" y="272"/>
                  </a:cubicBezTo>
                  <a:cubicBezTo>
                    <a:pt x="2371" y="273"/>
                    <a:pt x="2367" y="274"/>
                    <a:pt x="2366" y="277"/>
                  </a:cubicBezTo>
                  <a:cubicBezTo>
                    <a:pt x="2366" y="276"/>
                    <a:pt x="2371" y="279"/>
                    <a:pt x="2369" y="281"/>
                  </a:cubicBezTo>
                  <a:cubicBezTo>
                    <a:pt x="2365" y="285"/>
                    <a:pt x="2368" y="284"/>
                    <a:pt x="2369" y="288"/>
                  </a:cubicBezTo>
                  <a:cubicBezTo>
                    <a:pt x="2369" y="288"/>
                    <a:pt x="2363" y="293"/>
                    <a:pt x="2369" y="293"/>
                  </a:cubicBezTo>
                  <a:cubicBezTo>
                    <a:pt x="2374" y="285"/>
                    <a:pt x="2379" y="296"/>
                    <a:pt x="2386" y="295"/>
                  </a:cubicBezTo>
                  <a:cubicBezTo>
                    <a:pt x="2387" y="295"/>
                    <a:pt x="2385" y="289"/>
                    <a:pt x="2388" y="290"/>
                  </a:cubicBezTo>
                  <a:cubicBezTo>
                    <a:pt x="2389" y="296"/>
                    <a:pt x="2397" y="291"/>
                    <a:pt x="2399" y="290"/>
                  </a:cubicBezTo>
                  <a:cubicBezTo>
                    <a:pt x="2399" y="282"/>
                    <a:pt x="2392" y="273"/>
                    <a:pt x="2401" y="267"/>
                  </a:cubicBezTo>
                  <a:cubicBezTo>
                    <a:pt x="2397" y="274"/>
                    <a:pt x="2403" y="277"/>
                    <a:pt x="2402" y="288"/>
                  </a:cubicBezTo>
                  <a:cubicBezTo>
                    <a:pt x="2407" y="288"/>
                    <a:pt x="2409" y="292"/>
                    <a:pt x="2413" y="294"/>
                  </a:cubicBezTo>
                  <a:cubicBezTo>
                    <a:pt x="2411" y="288"/>
                    <a:pt x="2417" y="288"/>
                    <a:pt x="2415" y="283"/>
                  </a:cubicBezTo>
                  <a:cubicBezTo>
                    <a:pt x="2412" y="282"/>
                    <a:pt x="2408" y="283"/>
                    <a:pt x="2407" y="281"/>
                  </a:cubicBezTo>
                  <a:cubicBezTo>
                    <a:pt x="2420" y="283"/>
                    <a:pt x="2414" y="269"/>
                    <a:pt x="2423" y="269"/>
                  </a:cubicBezTo>
                  <a:cubicBezTo>
                    <a:pt x="2419" y="274"/>
                    <a:pt x="2426" y="278"/>
                    <a:pt x="2426" y="283"/>
                  </a:cubicBezTo>
                  <a:cubicBezTo>
                    <a:pt x="2427" y="285"/>
                    <a:pt x="2421" y="288"/>
                    <a:pt x="2427" y="290"/>
                  </a:cubicBezTo>
                  <a:cubicBezTo>
                    <a:pt x="2428" y="286"/>
                    <a:pt x="2430" y="290"/>
                    <a:pt x="2435" y="289"/>
                  </a:cubicBezTo>
                  <a:cubicBezTo>
                    <a:pt x="2438" y="284"/>
                    <a:pt x="2424" y="282"/>
                    <a:pt x="2432" y="280"/>
                  </a:cubicBezTo>
                  <a:cubicBezTo>
                    <a:pt x="2441" y="278"/>
                    <a:pt x="2436" y="288"/>
                    <a:pt x="2443" y="287"/>
                  </a:cubicBezTo>
                  <a:cubicBezTo>
                    <a:pt x="2441" y="278"/>
                    <a:pt x="2434" y="268"/>
                    <a:pt x="2443" y="261"/>
                  </a:cubicBezTo>
                  <a:cubicBezTo>
                    <a:pt x="2448" y="268"/>
                    <a:pt x="2439" y="284"/>
                    <a:pt x="2451" y="289"/>
                  </a:cubicBezTo>
                  <a:cubicBezTo>
                    <a:pt x="2449" y="280"/>
                    <a:pt x="2456" y="279"/>
                    <a:pt x="2459" y="275"/>
                  </a:cubicBezTo>
                  <a:cubicBezTo>
                    <a:pt x="2458" y="280"/>
                    <a:pt x="2467" y="277"/>
                    <a:pt x="2468" y="282"/>
                  </a:cubicBezTo>
                  <a:cubicBezTo>
                    <a:pt x="2459" y="285"/>
                    <a:pt x="2472" y="291"/>
                    <a:pt x="2465" y="294"/>
                  </a:cubicBezTo>
                  <a:cubicBezTo>
                    <a:pt x="2473" y="295"/>
                    <a:pt x="2470" y="289"/>
                    <a:pt x="2476" y="289"/>
                  </a:cubicBezTo>
                  <a:cubicBezTo>
                    <a:pt x="2476" y="292"/>
                    <a:pt x="2477" y="294"/>
                    <a:pt x="2482" y="293"/>
                  </a:cubicBezTo>
                  <a:cubicBezTo>
                    <a:pt x="2479" y="288"/>
                    <a:pt x="2479" y="284"/>
                    <a:pt x="2484" y="279"/>
                  </a:cubicBezTo>
                  <a:cubicBezTo>
                    <a:pt x="2489" y="278"/>
                    <a:pt x="2500" y="282"/>
                    <a:pt x="2500" y="277"/>
                  </a:cubicBezTo>
                  <a:cubicBezTo>
                    <a:pt x="2499" y="277"/>
                    <a:pt x="2497" y="275"/>
                    <a:pt x="2500" y="274"/>
                  </a:cubicBezTo>
                  <a:cubicBezTo>
                    <a:pt x="2501" y="277"/>
                    <a:pt x="2504" y="279"/>
                    <a:pt x="2503" y="284"/>
                  </a:cubicBezTo>
                  <a:cubicBezTo>
                    <a:pt x="2500" y="281"/>
                    <a:pt x="2479" y="277"/>
                    <a:pt x="2484" y="289"/>
                  </a:cubicBezTo>
                  <a:cubicBezTo>
                    <a:pt x="2493" y="290"/>
                    <a:pt x="2493" y="285"/>
                    <a:pt x="2498" y="284"/>
                  </a:cubicBezTo>
                  <a:cubicBezTo>
                    <a:pt x="2496" y="288"/>
                    <a:pt x="2502" y="287"/>
                    <a:pt x="2503" y="288"/>
                  </a:cubicBezTo>
                  <a:cubicBezTo>
                    <a:pt x="2505" y="290"/>
                    <a:pt x="2503" y="295"/>
                    <a:pt x="2509" y="293"/>
                  </a:cubicBezTo>
                  <a:cubicBezTo>
                    <a:pt x="2507" y="284"/>
                    <a:pt x="2508" y="287"/>
                    <a:pt x="2506" y="276"/>
                  </a:cubicBezTo>
                  <a:cubicBezTo>
                    <a:pt x="2512" y="282"/>
                    <a:pt x="2523" y="270"/>
                    <a:pt x="2525" y="281"/>
                  </a:cubicBezTo>
                  <a:cubicBezTo>
                    <a:pt x="2522" y="278"/>
                    <a:pt x="2515" y="278"/>
                    <a:pt x="2511" y="281"/>
                  </a:cubicBezTo>
                  <a:cubicBezTo>
                    <a:pt x="2512" y="287"/>
                    <a:pt x="2514" y="291"/>
                    <a:pt x="2520" y="293"/>
                  </a:cubicBezTo>
                  <a:cubicBezTo>
                    <a:pt x="2522" y="289"/>
                    <a:pt x="2526" y="288"/>
                    <a:pt x="2531" y="288"/>
                  </a:cubicBezTo>
                  <a:cubicBezTo>
                    <a:pt x="2531" y="290"/>
                    <a:pt x="2531" y="292"/>
                    <a:pt x="2534" y="292"/>
                  </a:cubicBezTo>
                  <a:cubicBezTo>
                    <a:pt x="2531" y="284"/>
                    <a:pt x="2533" y="284"/>
                    <a:pt x="2528" y="276"/>
                  </a:cubicBezTo>
                  <a:cubicBezTo>
                    <a:pt x="2531" y="274"/>
                    <a:pt x="2535" y="273"/>
                    <a:pt x="2542" y="273"/>
                  </a:cubicBezTo>
                  <a:cubicBezTo>
                    <a:pt x="2540" y="277"/>
                    <a:pt x="2538" y="278"/>
                    <a:pt x="2542" y="281"/>
                  </a:cubicBezTo>
                  <a:cubicBezTo>
                    <a:pt x="2544" y="282"/>
                    <a:pt x="2539" y="291"/>
                    <a:pt x="2545" y="290"/>
                  </a:cubicBezTo>
                  <a:cubicBezTo>
                    <a:pt x="2549" y="285"/>
                    <a:pt x="2551" y="283"/>
                    <a:pt x="2547" y="276"/>
                  </a:cubicBezTo>
                  <a:cubicBezTo>
                    <a:pt x="2558" y="280"/>
                    <a:pt x="2550" y="270"/>
                    <a:pt x="2555" y="269"/>
                  </a:cubicBezTo>
                  <a:cubicBezTo>
                    <a:pt x="2554" y="269"/>
                    <a:pt x="2564" y="276"/>
                    <a:pt x="2572" y="273"/>
                  </a:cubicBezTo>
                  <a:cubicBezTo>
                    <a:pt x="2573" y="272"/>
                    <a:pt x="2571" y="266"/>
                    <a:pt x="2577" y="268"/>
                  </a:cubicBezTo>
                  <a:cubicBezTo>
                    <a:pt x="2578" y="274"/>
                    <a:pt x="2576" y="278"/>
                    <a:pt x="2572" y="280"/>
                  </a:cubicBezTo>
                  <a:cubicBezTo>
                    <a:pt x="2571" y="277"/>
                    <a:pt x="2569" y="276"/>
                    <a:pt x="2566" y="275"/>
                  </a:cubicBezTo>
                  <a:cubicBezTo>
                    <a:pt x="2567" y="286"/>
                    <a:pt x="2558" y="276"/>
                    <a:pt x="2555" y="276"/>
                  </a:cubicBezTo>
                  <a:cubicBezTo>
                    <a:pt x="2552" y="281"/>
                    <a:pt x="2562" y="284"/>
                    <a:pt x="2555" y="285"/>
                  </a:cubicBezTo>
                  <a:cubicBezTo>
                    <a:pt x="2554" y="285"/>
                    <a:pt x="2552" y="285"/>
                    <a:pt x="2553" y="287"/>
                  </a:cubicBezTo>
                  <a:cubicBezTo>
                    <a:pt x="2560" y="288"/>
                    <a:pt x="2561" y="284"/>
                    <a:pt x="2566" y="282"/>
                  </a:cubicBezTo>
                  <a:cubicBezTo>
                    <a:pt x="2571" y="290"/>
                    <a:pt x="2578" y="281"/>
                    <a:pt x="2580" y="289"/>
                  </a:cubicBezTo>
                  <a:cubicBezTo>
                    <a:pt x="2580" y="291"/>
                    <a:pt x="2581" y="292"/>
                    <a:pt x="2583" y="292"/>
                  </a:cubicBezTo>
                  <a:cubicBezTo>
                    <a:pt x="2583" y="287"/>
                    <a:pt x="2580" y="286"/>
                    <a:pt x="2580" y="282"/>
                  </a:cubicBezTo>
                  <a:cubicBezTo>
                    <a:pt x="2583" y="282"/>
                    <a:pt x="2583" y="280"/>
                    <a:pt x="2585" y="280"/>
                  </a:cubicBezTo>
                  <a:cubicBezTo>
                    <a:pt x="2586" y="290"/>
                    <a:pt x="2587" y="280"/>
                    <a:pt x="2591" y="280"/>
                  </a:cubicBezTo>
                  <a:cubicBezTo>
                    <a:pt x="2589" y="285"/>
                    <a:pt x="2594" y="295"/>
                    <a:pt x="2597" y="289"/>
                  </a:cubicBezTo>
                  <a:cubicBezTo>
                    <a:pt x="2594" y="289"/>
                    <a:pt x="2593" y="285"/>
                    <a:pt x="2597" y="284"/>
                  </a:cubicBezTo>
                  <a:cubicBezTo>
                    <a:pt x="2600" y="284"/>
                    <a:pt x="2599" y="288"/>
                    <a:pt x="2602" y="289"/>
                  </a:cubicBezTo>
                  <a:cubicBezTo>
                    <a:pt x="2606" y="287"/>
                    <a:pt x="2602" y="283"/>
                    <a:pt x="2602" y="279"/>
                  </a:cubicBezTo>
                  <a:cubicBezTo>
                    <a:pt x="2602" y="277"/>
                    <a:pt x="2605" y="278"/>
                    <a:pt x="2605" y="277"/>
                  </a:cubicBezTo>
                  <a:cubicBezTo>
                    <a:pt x="2606" y="274"/>
                    <a:pt x="2601" y="266"/>
                    <a:pt x="2607" y="265"/>
                  </a:cubicBezTo>
                  <a:cubicBezTo>
                    <a:pt x="2614" y="270"/>
                    <a:pt x="2618" y="277"/>
                    <a:pt x="2629" y="277"/>
                  </a:cubicBezTo>
                  <a:cubicBezTo>
                    <a:pt x="2633" y="277"/>
                    <a:pt x="2632" y="272"/>
                    <a:pt x="2635" y="272"/>
                  </a:cubicBezTo>
                  <a:cubicBezTo>
                    <a:pt x="2638" y="271"/>
                    <a:pt x="2643" y="272"/>
                    <a:pt x="2643" y="269"/>
                  </a:cubicBezTo>
                  <a:cubicBezTo>
                    <a:pt x="2628" y="273"/>
                    <a:pt x="2637" y="256"/>
                    <a:pt x="2637" y="255"/>
                  </a:cubicBezTo>
                  <a:cubicBezTo>
                    <a:pt x="2642" y="248"/>
                    <a:pt x="2636" y="253"/>
                    <a:pt x="2634" y="248"/>
                  </a:cubicBezTo>
                  <a:cubicBezTo>
                    <a:pt x="2639" y="249"/>
                    <a:pt x="2644" y="250"/>
                    <a:pt x="2645" y="253"/>
                  </a:cubicBezTo>
                  <a:cubicBezTo>
                    <a:pt x="2641" y="253"/>
                    <a:pt x="2639" y="255"/>
                    <a:pt x="2640" y="260"/>
                  </a:cubicBezTo>
                  <a:cubicBezTo>
                    <a:pt x="2650" y="264"/>
                    <a:pt x="2655" y="257"/>
                    <a:pt x="2662" y="262"/>
                  </a:cubicBezTo>
                  <a:cubicBezTo>
                    <a:pt x="2658" y="265"/>
                    <a:pt x="2661" y="274"/>
                    <a:pt x="2654" y="274"/>
                  </a:cubicBezTo>
                  <a:cubicBezTo>
                    <a:pt x="2649" y="268"/>
                    <a:pt x="2658" y="265"/>
                    <a:pt x="2648" y="265"/>
                  </a:cubicBezTo>
                  <a:cubicBezTo>
                    <a:pt x="2646" y="276"/>
                    <a:pt x="2650" y="280"/>
                    <a:pt x="2646" y="290"/>
                  </a:cubicBezTo>
                  <a:cubicBezTo>
                    <a:pt x="2654" y="292"/>
                    <a:pt x="2649" y="286"/>
                    <a:pt x="2651" y="283"/>
                  </a:cubicBezTo>
                  <a:cubicBezTo>
                    <a:pt x="2653" y="282"/>
                    <a:pt x="2658" y="284"/>
                    <a:pt x="2657" y="281"/>
                  </a:cubicBezTo>
                  <a:cubicBezTo>
                    <a:pt x="2654" y="280"/>
                    <a:pt x="2650" y="277"/>
                    <a:pt x="2654" y="276"/>
                  </a:cubicBezTo>
                  <a:cubicBezTo>
                    <a:pt x="2661" y="278"/>
                    <a:pt x="2660" y="287"/>
                    <a:pt x="2668" y="288"/>
                  </a:cubicBezTo>
                  <a:cubicBezTo>
                    <a:pt x="2669" y="285"/>
                    <a:pt x="2672" y="282"/>
                    <a:pt x="2673" y="285"/>
                  </a:cubicBezTo>
                  <a:cubicBezTo>
                    <a:pt x="2674" y="287"/>
                    <a:pt x="2674" y="290"/>
                    <a:pt x="2676" y="290"/>
                  </a:cubicBezTo>
                  <a:cubicBezTo>
                    <a:pt x="2676" y="283"/>
                    <a:pt x="2677" y="278"/>
                    <a:pt x="2681" y="276"/>
                  </a:cubicBezTo>
                  <a:cubicBezTo>
                    <a:pt x="2684" y="283"/>
                    <a:pt x="2687" y="273"/>
                    <a:pt x="2690" y="273"/>
                  </a:cubicBezTo>
                  <a:cubicBezTo>
                    <a:pt x="2690" y="276"/>
                    <a:pt x="2692" y="276"/>
                    <a:pt x="2692" y="278"/>
                  </a:cubicBezTo>
                  <a:cubicBezTo>
                    <a:pt x="2690" y="281"/>
                    <a:pt x="2690" y="287"/>
                    <a:pt x="2684" y="287"/>
                  </a:cubicBezTo>
                  <a:cubicBezTo>
                    <a:pt x="2684" y="286"/>
                    <a:pt x="2682" y="285"/>
                    <a:pt x="2682" y="287"/>
                  </a:cubicBezTo>
                  <a:cubicBezTo>
                    <a:pt x="2689" y="293"/>
                    <a:pt x="2699" y="287"/>
                    <a:pt x="2701" y="287"/>
                  </a:cubicBezTo>
                  <a:cubicBezTo>
                    <a:pt x="2704" y="287"/>
                    <a:pt x="2703" y="283"/>
                    <a:pt x="2706" y="282"/>
                  </a:cubicBezTo>
                  <a:cubicBezTo>
                    <a:pt x="2709" y="282"/>
                    <a:pt x="2710" y="284"/>
                    <a:pt x="2712" y="285"/>
                  </a:cubicBezTo>
                  <a:cubicBezTo>
                    <a:pt x="2715" y="275"/>
                    <a:pt x="2700" y="281"/>
                    <a:pt x="2698" y="275"/>
                  </a:cubicBezTo>
                  <a:cubicBezTo>
                    <a:pt x="2702" y="275"/>
                    <a:pt x="2708" y="276"/>
                    <a:pt x="2709" y="273"/>
                  </a:cubicBezTo>
                  <a:cubicBezTo>
                    <a:pt x="2696" y="273"/>
                    <a:pt x="2699" y="251"/>
                    <a:pt x="2711" y="252"/>
                  </a:cubicBezTo>
                  <a:cubicBezTo>
                    <a:pt x="2712" y="255"/>
                    <a:pt x="2710" y="260"/>
                    <a:pt x="2714" y="261"/>
                  </a:cubicBezTo>
                  <a:cubicBezTo>
                    <a:pt x="2720" y="259"/>
                    <a:pt x="2713" y="248"/>
                    <a:pt x="2719" y="247"/>
                  </a:cubicBezTo>
                  <a:cubicBezTo>
                    <a:pt x="2715" y="256"/>
                    <a:pt x="2725" y="258"/>
                    <a:pt x="2725" y="263"/>
                  </a:cubicBezTo>
                  <a:cubicBezTo>
                    <a:pt x="2725" y="263"/>
                    <a:pt x="2720" y="263"/>
                    <a:pt x="2720" y="263"/>
                  </a:cubicBezTo>
                  <a:cubicBezTo>
                    <a:pt x="2719" y="264"/>
                    <a:pt x="2719" y="272"/>
                    <a:pt x="2723" y="280"/>
                  </a:cubicBezTo>
                  <a:cubicBezTo>
                    <a:pt x="2719" y="280"/>
                    <a:pt x="2717" y="279"/>
                    <a:pt x="2714" y="277"/>
                  </a:cubicBezTo>
                  <a:cubicBezTo>
                    <a:pt x="2714" y="281"/>
                    <a:pt x="2716" y="283"/>
                    <a:pt x="2717" y="285"/>
                  </a:cubicBezTo>
                  <a:cubicBezTo>
                    <a:pt x="2723" y="284"/>
                    <a:pt x="2723" y="288"/>
                    <a:pt x="2726" y="289"/>
                  </a:cubicBezTo>
                  <a:cubicBezTo>
                    <a:pt x="2726" y="284"/>
                    <a:pt x="2731" y="273"/>
                    <a:pt x="2731" y="275"/>
                  </a:cubicBezTo>
                  <a:cubicBezTo>
                    <a:pt x="2731" y="273"/>
                    <a:pt x="2728" y="268"/>
                    <a:pt x="2728" y="268"/>
                  </a:cubicBezTo>
                  <a:cubicBezTo>
                    <a:pt x="2729" y="266"/>
                    <a:pt x="2735" y="265"/>
                    <a:pt x="2736" y="263"/>
                  </a:cubicBezTo>
                  <a:cubicBezTo>
                    <a:pt x="2739" y="259"/>
                    <a:pt x="2735" y="255"/>
                    <a:pt x="2741" y="254"/>
                  </a:cubicBezTo>
                  <a:cubicBezTo>
                    <a:pt x="2745" y="254"/>
                    <a:pt x="2747" y="256"/>
                    <a:pt x="2747" y="260"/>
                  </a:cubicBezTo>
                  <a:cubicBezTo>
                    <a:pt x="2742" y="260"/>
                    <a:pt x="2741" y="263"/>
                    <a:pt x="2736" y="263"/>
                  </a:cubicBezTo>
                  <a:cubicBezTo>
                    <a:pt x="2738" y="266"/>
                    <a:pt x="2733" y="275"/>
                    <a:pt x="2739" y="275"/>
                  </a:cubicBezTo>
                  <a:cubicBezTo>
                    <a:pt x="2742" y="270"/>
                    <a:pt x="2738" y="264"/>
                    <a:pt x="2750" y="263"/>
                  </a:cubicBezTo>
                  <a:cubicBezTo>
                    <a:pt x="2751" y="268"/>
                    <a:pt x="2745" y="268"/>
                    <a:pt x="2747" y="275"/>
                  </a:cubicBezTo>
                  <a:cubicBezTo>
                    <a:pt x="2748" y="274"/>
                    <a:pt x="2752" y="275"/>
                    <a:pt x="2753" y="275"/>
                  </a:cubicBezTo>
                  <a:cubicBezTo>
                    <a:pt x="2753" y="273"/>
                    <a:pt x="2752" y="271"/>
                    <a:pt x="2753" y="270"/>
                  </a:cubicBezTo>
                  <a:cubicBezTo>
                    <a:pt x="2754" y="265"/>
                    <a:pt x="2759" y="256"/>
                    <a:pt x="2755" y="251"/>
                  </a:cubicBezTo>
                  <a:cubicBezTo>
                    <a:pt x="2764" y="252"/>
                    <a:pt x="2766" y="250"/>
                    <a:pt x="2769" y="253"/>
                  </a:cubicBezTo>
                  <a:cubicBezTo>
                    <a:pt x="2768" y="255"/>
                    <a:pt x="2767" y="256"/>
                    <a:pt x="2763" y="256"/>
                  </a:cubicBezTo>
                  <a:cubicBezTo>
                    <a:pt x="2763" y="257"/>
                    <a:pt x="2763" y="260"/>
                    <a:pt x="2761" y="260"/>
                  </a:cubicBezTo>
                  <a:cubicBezTo>
                    <a:pt x="2763" y="264"/>
                    <a:pt x="2762" y="272"/>
                    <a:pt x="2767" y="274"/>
                  </a:cubicBezTo>
                  <a:cubicBezTo>
                    <a:pt x="2769" y="266"/>
                    <a:pt x="2780" y="274"/>
                    <a:pt x="2783" y="269"/>
                  </a:cubicBezTo>
                  <a:cubicBezTo>
                    <a:pt x="2779" y="269"/>
                    <a:pt x="2783" y="260"/>
                    <a:pt x="2783" y="260"/>
                  </a:cubicBezTo>
                  <a:cubicBezTo>
                    <a:pt x="2784" y="259"/>
                    <a:pt x="2788" y="262"/>
                    <a:pt x="2788" y="262"/>
                  </a:cubicBezTo>
                  <a:cubicBezTo>
                    <a:pt x="2789" y="257"/>
                    <a:pt x="2783" y="255"/>
                    <a:pt x="2785" y="246"/>
                  </a:cubicBezTo>
                  <a:cubicBezTo>
                    <a:pt x="2789" y="246"/>
                    <a:pt x="2789" y="243"/>
                    <a:pt x="2793" y="243"/>
                  </a:cubicBezTo>
                  <a:cubicBezTo>
                    <a:pt x="2796" y="252"/>
                    <a:pt x="2787" y="256"/>
                    <a:pt x="2794" y="262"/>
                  </a:cubicBezTo>
                  <a:cubicBezTo>
                    <a:pt x="2789" y="262"/>
                    <a:pt x="2787" y="264"/>
                    <a:pt x="2786" y="267"/>
                  </a:cubicBezTo>
                  <a:cubicBezTo>
                    <a:pt x="2792" y="267"/>
                    <a:pt x="2789" y="268"/>
                    <a:pt x="2788" y="272"/>
                  </a:cubicBezTo>
                  <a:cubicBezTo>
                    <a:pt x="2787" y="278"/>
                    <a:pt x="2792" y="281"/>
                    <a:pt x="2791" y="283"/>
                  </a:cubicBezTo>
                  <a:cubicBezTo>
                    <a:pt x="2791" y="283"/>
                    <a:pt x="2781" y="286"/>
                    <a:pt x="2789" y="288"/>
                  </a:cubicBezTo>
                  <a:cubicBezTo>
                    <a:pt x="2792" y="284"/>
                    <a:pt x="2797" y="279"/>
                    <a:pt x="2791" y="274"/>
                  </a:cubicBezTo>
                  <a:cubicBezTo>
                    <a:pt x="2795" y="274"/>
                    <a:pt x="2797" y="273"/>
                    <a:pt x="2799" y="271"/>
                  </a:cubicBezTo>
                  <a:cubicBezTo>
                    <a:pt x="2799" y="274"/>
                    <a:pt x="2800" y="286"/>
                    <a:pt x="2802" y="278"/>
                  </a:cubicBezTo>
                  <a:cubicBezTo>
                    <a:pt x="2799" y="266"/>
                    <a:pt x="2808" y="278"/>
                    <a:pt x="2810" y="271"/>
                  </a:cubicBezTo>
                  <a:cubicBezTo>
                    <a:pt x="2805" y="272"/>
                    <a:pt x="2806" y="260"/>
                    <a:pt x="2813" y="264"/>
                  </a:cubicBezTo>
                  <a:cubicBezTo>
                    <a:pt x="2811" y="266"/>
                    <a:pt x="2807" y="273"/>
                    <a:pt x="2816" y="271"/>
                  </a:cubicBezTo>
                  <a:cubicBezTo>
                    <a:pt x="2817" y="268"/>
                    <a:pt x="2812" y="259"/>
                    <a:pt x="2818" y="259"/>
                  </a:cubicBezTo>
                  <a:cubicBezTo>
                    <a:pt x="2817" y="267"/>
                    <a:pt x="2826" y="270"/>
                    <a:pt x="2830" y="275"/>
                  </a:cubicBezTo>
                  <a:cubicBezTo>
                    <a:pt x="2832" y="279"/>
                    <a:pt x="2829" y="288"/>
                    <a:pt x="2838" y="287"/>
                  </a:cubicBezTo>
                  <a:cubicBezTo>
                    <a:pt x="2838" y="283"/>
                    <a:pt x="2830" y="274"/>
                    <a:pt x="2838" y="271"/>
                  </a:cubicBezTo>
                  <a:cubicBezTo>
                    <a:pt x="2842" y="271"/>
                    <a:pt x="2841" y="276"/>
                    <a:pt x="2843" y="278"/>
                  </a:cubicBezTo>
                  <a:cubicBezTo>
                    <a:pt x="2836" y="272"/>
                    <a:pt x="2837" y="282"/>
                    <a:pt x="2841" y="285"/>
                  </a:cubicBezTo>
                  <a:cubicBezTo>
                    <a:pt x="2861" y="284"/>
                    <a:pt x="2841" y="259"/>
                    <a:pt x="2859" y="254"/>
                  </a:cubicBezTo>
                  <a:cubicBezTo>
                    <a:pt x="2859" y="257"/>
                    <a:pt x="2861" y="259"/>
                    <a:pt x="2862" y="261"/>
                  </a:cubicBezTo>
                  <a:cubicBezTo>
                    <a:pt x="2856" y="261"/>
                    <a:pt x="2861" y="269"/>
                    <a:pt x="2860" y="273"/>
                  </a:cubicBezTo>
                  <a:cubicBezTo>
                    <a:pt x="2855" y="271"/>
                    <a:pt x="2855" y="284"/>
                    <a:pt x="2860" y="282"/>
                  </a:cubicBezTo>
                  <a:cubicBezTo>
                    <a:pt x="2860" y="279"/>
                    <a:pt x="2863" y="278"/>
                    <a:pt x="2865" y="277"/>
                  </a:cubicBezTo>
                  <a:cubicBezTo>
                    <a:pt x="2870" y="283"/>
                    <a:pt x="2861" y="286"/>
                    <a:pt x="2871" y="287"/>
                  </a:cubicBezTo>
                  <a:cubicBezTo>
                    <a:pt x="2873" y="278"/>
                    <a:pt x="2862" y="271"/>
                    <a:pt x="2876" y="270"/>
                  </a:cubicBezTo>
                  <a:cubicBezTo>
                    <a:pt x="2879" y="277"/>
                    <a:pt x="2872" y="276"/>
                    <a:pt x="2874" y="282"/>
                  </a:cubicBezTo>
                  <a:cubicBezTo>
                    <a:pt x="2885" y="280"/>
                    <a:pt x="2879" y="273"/>
                    <a:pt x="2879" y="265"/>
                  </a:cubicBezTo>
                  <a:cubicBezTo>
                    <a:pt x="2881" y="265"/>
                    <a:pt x="2884" y="265"/>
                    <a:pt x="2884" y="263"/>
                  </a:cubicBezTo>
                  <a:cubicBezTo>
                    <a:pt x="2886" y="263"/>
                    <a:pt x="2887" y="261"/>
                    <a:pt x="2884" y="260"/>
                  </a:cubicBezTo>
                  <a:cubicBezTo>
                    <a:pt x="2884" y="264"/>
                    <a:pt x="2880" y="261"/>
                    <a:pt x="2879" y="258"/>
                  </a:cubicBezTo>
                  <a:cubicBezTo>
                    <a:pt x="2884" y="259"/>
                    <a:pt x="2884" y="255"/>
                    <a:pt x="2887" y="253"/>
                  </a:cubicBezTo>
                  <a:cubicBezTo>
                    <a:pt x="2887" y="255"/>
                    <a:pt x="2887" y="256"/>
                    <a:pt x="2888" y="257"/>
                  </a:cubicBezTo>
                  <a:cubicBezTo>
                    <a:pt x="2888" y="244"/>
                    <a:pt x="2888" y="244"/>
                    <a:pt x="2888" y="244"/>
                  </a:cubicBezTo>
                  <a:cubicBezTo>
                    <a:pt x="2887" y="244"/>
                    <a:pt x="2885" y="244"/>
                    <a:pt x="2884" y="244"/>
                  </a:cubicBezTo>
                  <a:cubicBezTo>
                    <a:pt x="2884" y="242"/>
                    <a:pt x="2884" y="239"/>
                    <a:pt x="2884" y="237"/>
                  </a:cubicBezTo>
                  <a:cubicBezTo>
                    <a:pt x="2886" y="237"/>
                    <a:pt x="2887" y="238"/>
                    <a:pt x="2888" y="239"/>
                  </a:cubicBezTo>
                  <a:cubicBezTo>
                    <a:pt x="2888" y="205"/>
                    <a:pt x="2888" y="205"/>
                    <a:pt x="2888" y="205"/>
                  </a:cubicBezTo>
                  <a:cubicBezTo>
                    <a:pt x="2885" y="205"/>
                    <a:pt x="2883" y="205"/>
                    <a:pt x="2881" y="209"/>
                  </a:cubicBezTo>
                  <a:cubicBezTo>
                    <a:pt x="2884" y="211"/>
                    <a:pt x="2893" y="228"/>
                    <a:pt x="2881" y="228"/>
                  </a:cubicBezTo>
                  <a:cubicBezTo>
                    <a:pt x="2886" y="223"/>
                    <a:pt x="2880" y="220"/>
                    <a:pt x="2875" y="218"/>
                  </a:cubicBezTo>
                  <a:cubicBezTo>
                    <a:pt x="2875" y="222"/>
                    <a:pt x="2876" y="227"/>
                    <a:pt x="2873" y="228"/>
                  </a:cubicBezTo>
                  <a:cubicBezTo>
                    <a:pt x="2872" y="222"/>
                    <a:pt x="2871" y="217"/>
                    <a:pt x="2862" y="219"/>
                  </a:cubicBezTo>
                  <a:cubicBezTo>
                    <a:pt x="2860" y="224"/>
                    <a:pt x="2865" y="236"/>
                    <a:pt x="2859" y="237"/>
                  </a:cubicBezTo>
                  <a:cubicBezTo>
                    <a:pt x="2855" y="232"/>
                    <a:pt x="2852" y="240"/>
                    <a:pt x="2851" y="235"/>
                  </a:cubicBezTo>
                  <a:cubicBezTo>
                    <a:pt x="2851" y="231"/>
                    <a:pt x="2851" y="228"/>
                    <a:pt x="2853" y="226"/>
                  </a:cubicBezTo>
                  <a:cubicBezTo>
                    <a:pt x="2851" y="225"/>
                    <a:pt x="2848" y="226"/>
                    <a:pt x="2848" y="223"/>
                  </a:cubicBezTo>
                  <a:cubicBezTo>
                    <a:pt x="2857" y="221"/>
                    <a:pt x="2854" y="229"/>
                    <a:pt x="2859" y="230"/>
                  </a:cubicBezTo>
                  <a:cubicBezTo>
                    <a:pt x="2857" y="227"/>
                    <a:pt x="2862" y="218"/>
                    <a:pt x="2856" y="219"/>
                  </a:cubicBezTo>
                  <a:cubicBezTo>
                    <a:pt x="2856" y="221"/>
                    <a:pt x="2851" y="222"/>
                    <a:pt x="2851" y="219"/>
                  </a:cubicBezTo>
                  <a:cubicBezTo>
                    <a:pt x="2851" y="209"/>
                    <a:pt x="2859" y="220"/>
                    <a:pt x="2861" y="214"/>
                  </a:cubicBezTo>
                  <a:cubicBezTo>
                    <a:pt x="2857" y="213"/>
                    <a:pt x="2859" y="209"/>
                    <a:pt x="2861" y="207"/>
                  </a:cubicBezTo>
                  <a:cubicBezTo>
                    <a:pt x="2855" y="204"/>
                    <a:pt x="2860" y="192"/>
                    <a:pt x="2858" y="186"/>
                  </a:cubicBezTo>
                  <a:cubicBezTo>
                    <a:pt x="2862" y="185"/>
                    <a:pt x="2862" y="183"/>
                    <a:pt x="2866" y="183"/>
                  </a:cubicBezTo>
                  <a:cubicBezTo>
                    <a:pt x="2860" y="196"/>
                    <a:pt x="2870" y="207"/>
                    <a:pt x="2864" y="216"/>
                  </a:cubicBezTo>
                  <a:cubicBezTo>
                    <a:pt x="2867" y="216"/>
                    <a:pt x="2870" y="216"/>
                    <a:pt x="2873" y="216"/>
                  </a:cubicBezTo>
                  <a:cubicBezTo>
                    <a:pt x="2869" y="209"/>
                    <a:pt x="2873" y="210"/>
                    <a:pt x="2870" y="204"/>
                  </a:cubicBezTo>
                  <a:cubicBezTo>
                    <a:pt x="2874" y="204"/>
                    <a:pt x="2871" y="198"/>
                    <a:pt x="2875" y="197"/>
                  </a:cubicBezTo>
                  <a:cubicBezTo>
                    <a:pt x="2876" y="200"/>
                    <a:pt x="2878" y="202"/>
                    <a:pt x="2881" y="204"/>
                  </a:cubicBezTo>
                  <a:cubicBezTo>
                    <a:pt x="2877" y="196"/>
                    <a:pt x="2884" y="198"/>
                    <a:pt x="2888" y="197"/>
                  </a:cubicBezTo>
                  <a:cubicBezTo>
                    <a:pt x="2888" y="191"/>
                    <a:pt x="2888" y="191"/>
                    <a:pt x="2888" y="191"/>
                  </a:cubicBezTo>
                  <a:cubicBezTo>
                    <a:pt x="2888" y="190"/>
                    <a:pt x="2888" y="189"/>
                    <a:pt x="2888" y="188"/>
                  </a:cubicBezTo>
                  <a:cubicBezTo>
                    <a:pt x="2888" y="159"/>
                    <a:pt x="2888" y="159"/>
                    <a:pt x="2888" y="159"/>
                  </a:cubicBezTo>
                  <a:cubicBezTo>
                    <a:pt x="2885" y="158"/>
                    <a:pt x="2882" y="158"/>
                    <a:pt x="2877" y="160"/>
                  </a:cubicBezTo>
                  <a:cubicBezTo>
                    <a:pt x="2877" y="157"/>
                    <a:pt x="2880" y="158"/>
                    <a:pt x="2882" y="157"/>
                  </a:cubicBezTo>
                  <a:cubicBezTo>
                    <a:pt x="2883" y="155"/>
                    <a:pt x="2881" y="155"/>
                    <a:pt x="2880" y="155"/>
                  </a:cubicBezTo>
                  <a:cubicBezTo>
                    <a:pt x="2879" y="151"/>
                    <a:pt x="2884" y="152"/>
                    <a:pt x="2888" y="152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2" y="148"/>
                    <a:pt x="2884" y="141"/>
                    <a:pt x="2877" y="143"/>
                  </a:cubicBezTo>
                  <a:cubicBezTo>
                    <a:pt x="2876" y="145"/>
                    <a:pt x="2877" y="148"/>
                    <a:pt x="2874" y="148"/>
                  </a:cubicBezTo>
                  <a:cubicBezTo>
                    <a:pt x="2874" y="140"/>
                    <a:pt x="2871" y="146"/>
                    <a:pt x="2866" y="146"/>
                  </a:cubicBezTo>
                  <a:cubicBezTo>
                    <a:pt x="2866" y="146"/>
                    <a:pt x="2866" y="143"/>
                    <a:pt x="2866" y="143"/>
                  </a:cubicBezTo>
                  <a:cubicBezTo>
                    <a:pt x="2863" y="142"/>
                    <a:pt x="2859" y="146"/>
                    <a:pt x="2858" y="146"/>
                  </a:cubicBezTo>
                  <a:cubicBezTo>
                    <a:pt x="2855" y="145"/>
                    <a:pt x="2855" y="141"/>
                    <a:pt x="2849" y="141"/>
                  </a:cubicBezTo>
                  <a:cubicBezTo>
                    <a:pt x="2848" y="141"/>
                    <a:pt x="2849" y="147"/>
                    <a:pt x="2847" y="146"/>
                  </a:cubicBezTo>
                  <a:cubicBezTo>
                    <a:pt x="2849" y="138"/>
                    <a:pt x="2838" y="143"/>
                    <a:pt x="2835" y="139"/>
                  </a:cubicBezTo>
                  <a:cubicBezTo>
                    <a:pt x="2829" y="145"/>
                    <a:pt x="2836" y="151"/>
                    <a:pt x="2836" y="158"/>
                  </a:cubicBezTo>
                  <a:cubicBezTo>
                    <a:pt x="2832" y="157"/>
                    <a:pt x="2826" y="160"/>
                    <a:pt x="2822" y="158"/>
                  </a:cubicBezTo>
                  <a:cubicBezTo>
                    <a:pt x="2821" y="158"/>
                    <a:pt x="2822" y="151"/>
                    <a:pt x="2816" y="153"/>
                  </a:cubicBezTo>
                  <a:cubicBezTo>
                    <a:pt x="2818" y="161"/>
                    <a:pt x="2815" y="164"/>
                    <a:pt x="2814" y="170"/>
                  </a:cubicBezTo>
                  <a:cubicBezTo>
                    <a:pt x="2823" y="172"/>
                    <a:pt x="2818" y="162"/>
                    <a:pt x="2825" y="163"/>
                  </a:cubicBezTo>
                  <a:cubicBezTo>
                    <a:pt x="2825" y="166"/>
                    <a:pt x="2826" y="168"/>
                    <a:pt x="2828" y="170"/>
                  </a:cubicBezTo>
                  <a:cubicBezTo>
                    <a:pt x="2821" y="171"/>
                    <a:pt x="2822" y="177"/>
                    <a:pt x="2817" y="179"/>
                  </a:cubicBezTo>
                  <a:cubicBezTo>
                    <a:pt x="2818" y="174"/>
                    <a:pt x="2816" y="171"/>
                    <a:pt x="2811" y="170"/>
                  </a:cubicBezTo>
                  <a:cubicBezTo>
                    <a:pt x="2811" y="173"/>
                    <a:pt x="2812" y="177"/>
                    <a:pt x="2809" y="177"/>
                  </a:cubicBezTo>
                  <a:cubicBezTo>
                    <a:pt x="2810" y="171"/>
                    <a:pt x="2798" y="175"/>
                    <a:pt x="2798" y="170"/>
                  </a:cubicBezTo>
                  <a:cubicBezTo>
                    <a:pt x="2805" y="172"/>
                    <a:pt x="2795" y="159"/>
                    <a:pt x="2803" y="161"/>
                  </a:cubicBezTo>
                  <a:cubicBezTo>
                    <a:pt x="2803" y="164"/>
                    <a:pt x="2802" y="169"/>
                    <a:pt x="2806" y="170"/>
                  </a:cubicBezTo>
                  <a:cubicBezTo>
                    <a:pt x="2808" y="158"/>
                    <a:pt x="2819" y="154"/>
                    <a:pt x="2814" y="142"/>
                  </a:cubicBezTo>
                  <a:cubicBezTo>
                    <a:pt x="2815" y="142"/>
                    <a:pt x="2817" y="140"/>
                    <a:pt x="2814" y="139"/>
                  </a:cubicBezTo>
                  <a:cubicBezTo>
                    <a:pt x="2812" y="142"/>
                    <a:pt x="2811" y="145"/>
                    <a:pt x="2808" y="147"/>
                  </a:cubicBezTo>
                  <a:cubicBezTo>
                    <a:pt x="2803" y="140"/>
                    <a:pt x="2792" y="144"/>
                    <a:pt x="2784" y="147"/>
                  </a:cubicBezTo>
                  <a:cubicBezTo>
                    <a:pt x="2787" y="139"/>
                    <a:pt x="2775" y="145"/>
                    <a:pt x="2778" y="138"/>
                  </a:cubicBezTo>
                  <a:cubicBezTo>
                    <a:pt x="2768" y="138"/>
                    <a:pt x="2772" y="150"/>
                    <a:pt x="2759" y="147"/>
                  </a:cubicBezTo>
                  <a:cubicBezTo>
                    <a:pt x="2759" y="144"/>
                    <a:pt x="2759" y="141"/>
                    <a:pt x="2759" y="138"/>
                  </a:cubicBezTo>
                  <a:cubicBezTo>
                    <a:pt x="2749" y="139"/>
                    <a:pt x="2748" y="142"/>
                    <a:pt x="2739" y="138"/>
                  </a:cubicBezTo>
                  <a:cubicBezTo>
                    <a:pt x="2739" y="143"/>
                    <a:pt x="2738" y="146"/>
                    <a:pt x="2734" y="148"/>
                  </a:cubicBezTo>
                  <a:cubicBezTo>
                    <a:pt x="2736" y="143"/>
                    <a:pt x="2733" y="130"/>
                    <a:pt x="2728" y="139"/>
                  </a:cubicBezTo>
                  <a:cubicBezTo>
                    <a:pt x="2733" y="139"/>
                    <a:pt x="2729" y="142"/>
                    <a:pt x="2729" y="146"/>
                  </a:cubicBezTo>
                  <a:cubicBezTo>
                    <a:pt x="2729" y="148"/>
                    <a:pt x="2731" y="148"/>
                    <a:pt x="2731" y="150"/>
                  </a:cubicBezTo>
                  <a:cubicBezTo>
                    <a:pt x="2731" y="150"/>
                    <a:pt x="2728" y="151"/>
                    <a:pt x="2729" y="153"/>
                  </a:cubicBezTo>
                  <a:cubicBezTo>
                    <a:pt x="2729" y="153"/>
                    <a:pt x="2733" y="153"/>
                    <a:pt x="2731" y="155"/>
                  </a:cubicBezTo>
                  <a:cubicBezTo>
                    <a:pt x="2727" y="155"/>
                    <a:pt x="2721" y="156"/>
                    <a:pt x="2720" y="153"/>
                  </a:cubicBezTo>
                  <a:cubicBezTo>
                    <a:pt x="2722" y="148"/>
                    <a:pt x="2728" y="148"/>
                    <a:pt x="2726" y="141"/>
                  </a:cubicBezTo>
                  <a:cubicBezTo>
                    <a:pt x="2717" y="144"/>
                    <a:pt x="2716" y="140"/>
                    <a:pt x="2707" y="144"/>
                  </a:cubicBezTo>
                  <a:cubicBezTo>
                    <a:pt x="2710" y="139"/>
                    <a:pt x="2702" y="133"/>
                    <a:pt x="2701" y="139"/>
                  </a:cubicBezTo>
                  <a:cubicBezTo>
                    <a:pt x="2710" y="142"/>
                    <a:pt x="2694" y="142"/>
                    <a:pt x="2690" y="142"/>
                  </a:cubicBezTo>
                  <a:cubicBezTo>
                    <a:pt x="2688" y="149"/>
                    <a:pt x="2697" y="146"/>
                    <a:pt x="2698" y="151"/>
                  </a:cubicBezTo>
                  <a:cubicBezTo>
                    <a:pt x="2693" y="152"/>
                    <a:pt x="2698" y="161"/>
                    <a:pt x="2693" y="163"/>
                  </a:cubicBezTo>
                  <a:cubicBezTo>
                    <a:pt x="2696" y="164"/>
                    <a:pt x="2699" y="165"/>
                    <a:pt x="2702" y="167"/>
                  </a:cubicBezTo>
                  <a:cubicBezTo>
                    <a:pt x="2701" y="172"/>
                    <a:pt x="2696" y="174"/>
                    <a:pt x="2693" y="177"/>
                  </a:cubicBezTo>
                  <a:cubicBezTo>
                    <a:pt x="2699" y="182"/>
                    <a:pt x="2691" y="188"/>
                    <a:pt x="2699" y="193"/>
                  </a:cubicBezTo>
                  <a:cubicBezTo>
                    <a:pt x="2696" y="194"/>
                    <a:pt x="2694" y="196"/>
                    <a:pt x="2694" y="200"/>
                  </a:cubicBezTo>
                  <a:cubicBezTo>
                    <a:pt x="2697" y="207"/>
                    <a:pt x="2694" y="206"/>
                    <a:pt x="2700" y="210"/>
                  </a:cubicBezTo>
                  <a:cubicBezTo>
                    <a:pt x="2698" y="213"/>
                    <a:pt x="2695" y="215"/>
                    <a:pt x="2691" y="217"/>
                  </a:cubicBezTo>
                  <a:cubicBezTo>
                    <a:pt x="2689" y="215"/>
                    <a:pt x="2688" y="202"/>
                    <a:pt x="2683" y="210"/>
                  </a:cubicBezTo>
                  <a:cubicBezTo>
                    <a:pt x="2690" y="213"/>
                    <a:pt x="2683" y="220"/>
                    <a:pt x="2683" y="224"/>
                  </a:cubicBezTo>
                  <a:cubicBezTo>
                    <a:pt x="2683" y="226"/>
                    <a:pt x="2681" y="227"/>
                    <a:pt x="2681" y="226"/>
                  </a:cubicBezTo>
                  <a:cubicBezTo>
                    <a:pt x="2680" y="231"/>
                    <a:pt x="2684" y="232"/>
                    <a:pt x="2683" y="236"/>
                  </a:cubicBezTo>
                  <a:cubicBezTo>
                    <a:pt x="2680" y="233"/>
                    <a:pt x="2673" y="234"/>
                    <a:pt x="2672" y="229"/>
                  </a:cubicBezTo>
                  <a:cubicBezTo>
                    <a:pt x="2677" y="224"/>
                    <a:pt x="2676" y="212"/>
                    <a:pt x="2669" y="210"/>
                  </a:cubicBezTo>
                  <a:cubicBezTo>
                    <a:pt x="2668" y="216"/>
                    <a:pt x="2673" y="227"/>
                    <a:pt x="2667" y="229"/>
                  </a:cubicBezTo>
                  <a:cubicBezTo>
                    <a:pt x="2662" y="229"/>
                    <a:pt x="2665" y="222"/>
                    <a:pt x="2661" y="222"/>
                  </a:cubicBezTo>
                  <a:cubicBezTo>
                    <a:pt x="2662" y="222"/>
                    <a:pt x="2658" y="231"/>
                    <a:pt x="2653" y="227"/>
                  </a:cubicBezTo>
                  <a:cubicBezTo>
                    <a:pt x="2653" y="222"/>
                    <a:pt x="2661" y="224"/>
                    <a:pt x="2658" y="217"/>
                  </a:cubicBezTo>
                  <a:cubicBezTo>
                    <a:pt x="2650" y="215"/>
                    <a:pt x="2652" y="221"/>
                    <a:pt x="2648" y="222"/>
                  </a:cubicBezTo>
                  <a:cubicBezTo>
                    <a:pt x="2647" y="213"/>
                    <a:pt x="2640" y="222"/>
                    <a:pt x="2634" y="218"/>
                  </a:cubicBezTo>
                  <a:cubicBezTo>
                    <a:pt x="2634" y="224"/>
                    <a:pt x="2635" y="229"/>
                    <a:pt x="2629" y="230"/>
                  </a:cubicBezTo>
                  <a:cubicBezTo>
                    <a:pt x="2627" y="224"/>
                    <a:pt x="2633" y="224"/>
                    <a:pt x="2631" y="218"/>
                  </a:cubicBezTo>
                  <a:cubicBezTo>
                    <a:pt x="2627" y="216"/>
                    <a:pt x="2622" y="221"/>
                    <a:pt x="2620" y="220"/>
                  </a:cubicBezTo>
                  <a:cubicBezTo>
                    <a:pt x="2616" y="219"/>
                    <a:pt x="2619" y="205"/>
                    <a:pt x="2612" y="214"/>
                  </a:cubicBezTo>
                  <a:cubicBezTo>
                    <a:pt x="2616" y="212"/>
                    <a:pt x="2616" y="225"/>
                    <a:pt x="2612" y="223"/>
                  </a:cubicBezTo>
                  <a:cubicBezTo>
                    <a:pt x="2614" y="212"/>
                    <a:pt x="2603" y="213"/>
                    <a:pt x="2598" y="209"/>
                  </a:cubicBezTo>
                  <a:cubicBezTo>
                    <a:pt x="2609" y="212"/>
                    <a:pt x="2608" y="205"/>
                    <a:pt x="2612" y="202"/>
                  </a:cubicBezTo>
                  <a:cubicBezTo>
                    <a:pt x="2621" y="200"/>
                    <a:pt x="2637" y="204"/>
                    <a:pt x="2642" y="199"/>
                  </a:cubicBezTo>
                  <a:cubicBezTo>
                    <a:pt x="2638" y="193"/>
                    <a:pt x="2634" y="203"/>
                    <a:pt x="2631" y="197"/>
                  </a:cubicBezTo>
                  <a:cubicBezTo>
                    <a:pt x="2635" y="196"/>
                    <a:pt x="2635" y="193"/>
                    <a:pt x="2639" y="192"/>
                  </a:cubicBezTo>
                  <a:cubicBezTo>
                    <a:pt x="2643" y="195"/>
                    <a:pt x="2642" y="202"/>
                    <a:pt x="2650" y="201"/>
                  </a:cubicBezTo>
                  <a:cubicBezTo>
                    <a:pt x="2647" y="194"/>
                    <a:pt x="2659" y="198"/>
                    <a:pt x="2661" y="194"/>
                  </a:cubicBezTo>
                  <a:cubicBezTo>
                    <a:pt x="2662" y="199"/>
                    <a:pt x="2666" y="200"/>
                    <a:pt x="2669" y="203"/>
                  </a:cubicBezTo>
                  <a:cubicBezTo>
                    <a:pt x="2665" y="203"/>
                    <a:pt x="2662" y="205"/>
                    <a:pt x="2661" y="208"/>
                  </a:cubicBezTo>
                  <a:cubicBezTo>
                    <a:pt x="2669" y="206"/>
                    <a:pt x="2671" y="210"/>
                    <a:pt x="2678" y="210"/>
                  </a:cubicBezTo>
                  <a:cubicBezTo>
                    <a:pt x="2678" y="205"/>
                    <a:pt x="2674" y="205"/>
                    <a:pt x="2672" y="203"/>
                  </a:cubicBezTo>
                  <a:cubicBezTo>
                    <a:pt x="2679" y="199"/>
                    <a:pt x="2680" y="204"/>
                    <a:pt x="2683" y="203"/>
                  </a:cubicBezTo>
                  <a:cubicBezTo>
                    <a:pt x="2684" y="202"/>
                    <a:pt x="2682" y="197"/>
                    <a:pt x="2683" y="196"/>
                  </a:cubicBezTo>
                  <a:cubicBezTo>
                    <a:pt x="2685" y="194"/>
                    <a:pt x="2686" y="198"/>
                    <a:pt x="2686" y="198"/>
                  </a:cubicBezTo>
                  <a:cubicBezTo>
                    <a:pt x="2690" y="199"/>
                    <a:pt x="2695" y="192"/>
                    <a:pt x="2694" y="189"/>
                  </a:cubicBezTo>
                  <a:cubicBezTo>
                    <a:pt x="2687" y="186"/>
                    <a:pt x="2684" y="199"/>
                    <a:pt x="2680" y="191"/>
                  </a:cubicBezTo>
                  <a:cubicBezTo>
                    <a:pt x="2682" y="188"/>
                    <a:pt x="2686" y="187"/>
                    <a:pt x="2691" y="186"/>
                  </a:cubicBezTo>
                  <a:cubicBezTo>
                    <a:pt x="2691" y="182"/>
                    <a:pt x="2691" y="179"/>
                    <a:pt x="2693" y="177"/>
                  </a:cubicBezTo>
                  <a:cubicBezTo>
                    <a:pt x="2690" y="175"/>
                    <a:pt x="2688" y="172"/>
                    <a:pt x="2688" y="167"/>
                  </a:cubicBezTo>
                  <a:cubicBezTo>
                    <a:pt x="2684" y="167"/>
                    <a:pt x="2681" y="167"/>
                    <a:pt x="2682" y="163"/>
                  </a:cubicBezTo>
                  <a:cubicBezTo>
                    <a:pt x="2688" y="168"/>
                    <a:pt x="2689" y="159"/>
                    <a:pt x="2693" y="156"/>
                  </a:cubicBezTo>
                  <a:cubicBezTo>
                    <a:pt x="2690" y="155"/>
                    <a:pt x="2685" y="156"/>
                    <a:pt x="2685" y="154"/>
                  </a:cubicBezTo>
                  <a:cubicBezTo>
                    <a:pt x="2688" y="147"/>
                    <a:pt x="2688" y="141"/>
                    <a:pt x="2685" y="135"/>
                  </a:cubicBezTo>
                  <a:cubicBezTo>
                    <a:pt x="2694" y="138"/>
                    <a:pt x="2686" y="127"/>
                    <a:pt x="2693" y="128"/>
                  </a:cubicBezTo>
                  <a:cubicBezTo>
                    <a:pt x="2696" y="128"/>
                    <a:pt x="2696" y="131"/>
                    <a:pt x="2695" y="134"/>
                  </a:cubicBezTo>
                  <a:cubicBezTo>
                    <a:pt x="2702" y="130"/>
                    <a:pt x="2705" y="137"/>
                    <a:pt x="2709" y="132"/>
                  </a:cubicBezTo>
                  <a:cubicBezTo>
                    <a:pt x="2706" y="130"/>
                    <a:pt x="2704" y="127"/>
                    <a:pt x="2701" y="125"/>
                  </a:cubicBezTo>
                  <a:cubicBezTo>
                    <a:pt x="2705" y="125"/>
                    <a:pt x="2710" y="125"/>
                    <a:pt x="2709" y="120"/>
                  </a:cubicBezTo>
                  <a:cubicBezTo>
                    <a:pt x="2701" y="123"/>
                    <a:pt x="2701" y="120"/>
                    <a:pt x="2690" y="121"/>
                  </a:cubicBezTo>
                  <a:cubicBezTo>
                    <a:pt x="2690" y="126"/>
                    <a:pt x="2688" y="128"/>
                    <a:pt x="2682" y="128"/>
                  </a:cubicBezTo>
                  <a:cubicBezTo>
                    <a:pt x="2682" y="125"/>
                    <a:pt x="2685" y="124"/>
                    <a:pt x="2684" y="121"/>
                  </a:cubicBezTo>
                  <a:cubicBezTo>
                    <a:pt x="2672" y="118"/>
                    <a:pt x="2679" y="130"/>
                    <a:pt x="2668" y="128"/>
                  </a:cubicBezTo>
                  <a:cubicBezTo>
                    <a:pt x="2674" y="124"/>
                    <a:pt x="2667" y="121"/>
                    <a:pt x="2668" y="119"/>
                  </a:cubicBezTo>
                  <a:cubicBezTo>
                    <a:pt x="2668" y="118"/>
                    <a:pt x="2673" y="117"/>
                    <a:pt x="2670" y="114"/>
                  </a:cubicBezTo>
                  <a:cubicBezTo>
                    <a:pt x="2670" y="113"/>
                    <a:pt x="2664" y="114"/>
                    <a:pt x="2665" y="112"/>
                  </a:cubicBezTo>
                  <a:cubicBezTo>
                    <a:pt x="2678" y="107"/>
                    <a:pt x="2672" y="119"/>
                    <a:pt x="2681" y="118"/>
                  </a:cubicBezTo>
                  <a:cubicBezTo>
                    <a:pt x="2691" y="118"/>
                    <a:pt x="2676" y="111"/>
                    <a:pt x="2684" y="111"/>
                  </a:cubicBezTo>
                  <a:cubicBezTo>
                    <a:pt x="2687" y="112"/>
                    <a:pt x="2687" y="115"/>
                    <a:pt x="2687" y="118"/>
                  </a:cubicBezTo>
                  <a:cubicBezTo>
                    <a:pt x="2699" y="117"/>
                    <a:pt x="2715" y="120"/>
                    <a:pt x="2723" y="115"/>
                  </a:cubicBezTo>
                  <a:cubicBezTo>
                    <a:pt x="2727" y="117"/>
                    <a:pt x="2722" y="127"/>
                    <a:pt x="2731" y="124"/>
                  </a:cubicBezTo>
                  <a:cubicBezTo>
                    <a:pt x="2731" y="122"/>
                    <a:pt x="2730" y="118"/>
                    <a:pt x="2734" y="117"/>
                  </a:cubicBezTo>
                  <a:cubicBezTo>
                    <a:pt x="2737" y="117"/>
                    <a:pt x="2741" y="117"/>
                    <a:pt x="2745" y="117"/>
                  </a:cubicBezTo>
                  <a:cubicBezTo>
                    <a:pt x="2744" y="123"/>
                    <a:pt x="2745" y="126"/>
                    <a:pt x="2747" y="129"/>
                  </a:cubicBezTo>
                  <a:cubicBezTo>
                    <a:pt x="2739" y="126"/>
                    <a:pt x="2740" y="128"/>
                    <a:pt x="2737" y="134"/>
                  </a:cubicBezTo>
                  <a:cubicBezTo>
                    <a:pt x="2748" y="138"/>
                    <a:pt x="2756" y="128"/>
                    <a:pt x="2758" y="129"/>
                  </a:cubicBezTo>
                  <a:cubicBezTo>
                    <a:pt x="2762" y="129"/>
                    <a:pt x="2763" y="138"/>
                    <a:pt x="2767" y="136"/>
                  </a:cubicBezTo>
                  <a:cubicBezTo>
                    <a:pt x="2764" y="127"/>
                    <a:pt x="2779" y="132"/>
                    <a:pt x="2775" y="121"/>
                  </a:cubicBezTo>
                  <a:cubicBezTo>
                    <a:pt x="2765" y="119"/>
                    <a:pt x="2771" y="130"/>
                    <a:pt x="2761" y="129"/>
                  </a:cubicBezTo>
                  <a:cubicBezTo>
                    <a:pt x="2770" y="121"/>
                    <a:pt x="2751" y="126"/>
                    <a:pt x="2753" y="117"/>
                  </a:cubicBezTo>
                  <a:cubicBezTo>
                    <a:pt x="2759" y="122"/>
                    <a:pt x="2765" y="117"/>
                    <a:pt x="2769" y="114"/>
                  </a:cubicBezTo>
                  <a:cubicBezTo>
                    <a:pt x="2770" y="117"/>
                    <a:pt x="2772" y="118"/>
                    <a:pt x="2775" y="119"/>
                  </a:cubicBezTo>
                  <a:cubicBezTo>
                    <a:pt x="2778" y="115"/>
                    <a:pt x="2772" y="107"/>
                    <a:pt x="2780" y="102"/>
                  </a:cubicBezTo>
                  <a:cubicBezTo>
                    <a:pt x="2779" y="108"/>
                    <a:pt x="2781" y="112"/>
                    <a:pt x="2783" y="114"/>
                  </a:cubicBezTo>
                  <a:cubicBezTo>
                    <a:pt x="2780" y="114"/>
                    <a:pt x="2780" y="118"/>
                    <a:pt x="2783" y="119"/>
                  </a:cubicBezTo>
                  <a:cubicBezTo>
                    <a:pt x="2784" y="117"/>
                    <a:pt x="2785" y="116"/>
                    <a:pt x="2788" y="116"/>
                  </a:cubicBezTo>
                  <a:cubicBezTo>
                    <a:pt x="2789" y="112"/>
                    <a:pt x="2785" y="111"/>
                    <a:pt x="2786" y="107"/>
                  </a:cubicBezTo>
                  <a:cubicBezTo>
                    <a:pt x="2790" y="107"/>
                    <a:pt x="2796" y="106"/>
                    <a:pt x="2797" y="109"/>
                  </a:cubicBezTo>
                  <a:cubicBezTo>
                    <a:pt x="2797" y="114"/>
                    <a:pt x="2794" y="117"/>
                    <a:pt x="2788" y="116"/>
                  </a:cubicBezTo>
                  <a:cubicBezTo>
                    <a:pt x="2791" y="124"/>
                    <a:pt x="2785" y="124"/>
                    <a:pt x="2778" y="124"/>
                  </a:cubicBezTo>
                  <a:cubicBezTo>
                    <a:pt x="2775" y="129"/>
                    <a:pt x="2782" y="137"/>
                    <a:pt x="2783" y="131"/>
                  </a:cubicBezTo>
                  <a:cubicBezTo>
                    <a:pt x="2780" y="131"/>
                    <a:pt x="2780" y="127"/>
                    <a:pt x="2783" y="126"/>
                  </a:cubicBezTo>
                  <a:cubicBezTo>
                    <a:pt x="2790" y="133"/>
                    <a:pt x="2785" y="127"/>
                    <a:pt x="2794" y="126"/>
                  </a:cubicBezTo>
                  <a:cubicBezTo>
                    <a:pt x="2794" y="130"/>
                    <a:pt x="2797" y="131"/>
                    <a:pt x="2797" y="135"/>
                  </a:cubicBezTo>
                  <a:cubicBezTo>
                    <a:pt x="2806" y="138"/>
                    <a:pt x="2799" y="127"/>
                    <a:pt x="2808" y="130"/>
                  </a:cubicBezTo>
                  <a:cubicBezTo>
                    <a:pt x="2808" y="133"/>
                    <a:pt x="2804" y="133"/>
                    <a:pt x="2805" y="137"/>
                  </a:cubicBezTo>
                  <a:cubicBezTo>
                    <a:pt x="2816" y="140"/>
                    <a:pt x="2809" y="128"/>
                    <a:pt x="2819" y="130"/>
                  </a:cubicBezTo>
                  <a:cubicBezTo>
                    <a:pt x="2817" y="132"/>
                    <a:pt x="2813" y="139"/>
                    <a:pt x="2822" y="137"/>
                  </a:cubicBezTo>
                  <a:cubicBezTo>
                    <a:pt x="2822" y="128"/>
                    <a:pt x="2825" y="128"/>
                    <a:pt x="2821" y="121"/>
                  </a:cubicBezTo>
                  <a:cubicBezTo>
                    <a:pt x="2830" y="123"/>
                    <a:pt x="2842" y="119"/>
                    <a:pt x="2854" y="122"/>
                  </a:cubicBezTo>
                  <a:cubicBezTo>
                    <a:pt x="2855" y="118"/>
                    <a:pt x="2851" y="118"/>
                    <a:pt x="2849" y="115"/>
                  </a:cubicBezTo>
                  <a:cubicBezTo>
                    <a:pt x="2852" y="109"/>
                    <a:pt x="2840" y="104"/>
                    <a:pt x="2849" y="101"/>
                  </a:cubicBezTo>
                  <a:cubicBezTo>
                    <a:pt x="2850" y="101"/>
                    <a:pt x="2852" y="101"/>
                    <a:pt x="2854" y="101"/>
                  </a:cubicBezTo>
                  <a:cubicBezTo>
                    <a:pt x="2856" y="105"/>
                    <a:pt x="2851" y="113"/>
                    <a:pt x="2857" y="113"/>
                  </a:cubicBezTo>
                  <a:cubicBezTo>
                    <a:pt x="2856" y="103"/>
                    <a:pt x="2863" y="111"/>
                    <a:pt x="2868" y="110"/>
                  </a:cubicBezTo>
                  <a:cubicBezTo>
                    <a:pt x="2868" y="107"/>
                    <a:pt x="2867" y="102"/>
                    <a:pt x="2871" y="101"/>
                  </a:cubicBezTo>
                  <a:cubicBezTo>
                    <a:pt x="2869" y="104"/>
                    <a:pt x="2874" y="113"/>
                    <a:pt x="2868" y="113"/>
                  </a:cubicBezTo>
                  <a:cubicBezTo>
                    <a:pt x="2858" y="108"/>
                    <a:pt x="2860" y="115"/>
                    <a:pt x="2857" y="122"/>
                  </a:cubicBezTo>
                  <a:cubicBezTo>
                    <a:pt x="2862" y="124"/>
                    <a:pt x="2866" y="120"/>
                    <a:pt x="2868" y="120"/>
                  </a:cubicBezTo>
                  <a:cubicBezTo>
                    <a:pt x="2871" y="120"/>
                    <a:pt x="2873" y="123"/>
                    <a:pt x="2876" y="122"/>
                  </a:cubicBezTo>
                  <a:cubicBezTo>
                    <a:pt x="2878" y="121"/>
                    <a:pt x="2876" y="116"/>
                    <a:pt x="2879" y="117"/>
                  </a:cubicBezTo>
                  <a:cubicBezTo>
                    <a:pt x="2877" y="123"/>
                    <a:pt x="2883" y="122"/>
                    <a:pt x="2888" y="122"/>
                  </a:cubicBezTo>
                  <a:cubicBezTo>
                    <a:pt x="2888" y="114"/>
                    <a:pt x="2888" y="114"/>
                    <a:pt x="2888" y="114"/>
                  </a:cubicBezTo>
                  <a:cubicBezTo>
                    <a:pt x="2885" y="113"/>
                    <a:pt x="2882" y="111"/>
                    <a:pt x="2876" y="113"/>
                  </a:cubicBezTo>
                  <a:cubicBezTo>
                    <a:pt x="2877" y="110"/>
                    <a:pt x="2881" y="110"/>
                    <a:pt x="2884" y="110"/>
                  </a:cubicBezTo>
                  <a:cubicBezTo>
                    <a:pt x="2887" y="110"/>
                    <a:pt x="2886" y="107"/>
                    <a:pt x="2887" y="105"/>
                  </a:cubicBezTo>
                  <a:cubicBezTo>
                    <a:pt x="2887" y="105"/>
                    <a:pt x="2888" y="105"/>
                    <a:pt x="2888" y="105"/>
                  </a:cubicBezTo>
                  <a:cubicBezTo>
                    <a:pt x="2888" y="74"/>
                    <a:pt x="2888" y="74"/>
                    <a:pt x="2888" y="74"/>
                  </a:cubicBezTo>
                  <a:cubicBezTo>
                    <a:pt x="2887" y="73"/>
                    <a:pt x="2887" y="72"/>
                    <a:pt x="2888" y="70"/>
                  </a:cubicBezTo>
                  <a:lnTo>
                    <a:pt x="2888" y="0"/>
                  </a:lnTo>
                  <a:close/>
                  <a:moveTo>
                    <a:pt x="220" y="274"/>
                  </a:moveTo>
                  <a:cubicBezTo>
                    <a:pt x="213" y="274"/>
                    <a:pt x="214" y="263"/>
                    <a:pt x="217" y="260"/>
                  </a:cubicBezTo>
                  <a:cubicBezTo>
                    <a:pt x="224" y="260"/>
                    <a:pt x="219" y="270"/>
                    <a:pt x="220" y="274"/>
                  </a:cubicBezTo>
                  <a:close/>
                  <a:moveTo>
                    <a:pt x="227" y="203"/>
                  </a:moveTo>
                  <a:cubicBezTo>
                    <a:pt x="224" y="203"/>
                    <a:pt x="225" y="199"/>
                    <a:pt x="225" y="196"/>
                  </a:cubicBezTo>
                  <a:cubicBezTo>
                    <a:pt x="229" y="195"/>
                    <a:pt x="230" y="198"/>
                    <a:pt x="230" y="201"/>
                  </a:cubicBezTo>
                  <a:cubicBezTo>
                    <a:pt x="228" y="201"/>
                    <a:pt x="228" y="202"/>
                    <a:pt x="227" y="203"/>
                  </a:cubicBezTo>
                  <a:close/>
                  <a:moveTo>
                    <a:pt x="305" y="256"/>
                  </a:moveTo>
                  <a:cubicBezTo>
                    <a:pt x="297" y="258"/>
                    <a:pt x="298" y="253"/>
                    <a:pt x="291" y="254"/>
                  </a:cubicBezTo>
                  <a:cubicBezTo>
                    <a:pt x="292" y="247"/>
                    <a:pt x="306" y="249"/>
                    <a:pt x="305" y="256"/>
                  </a:cubicBezTo>
                  <a:close/>
                  <a:moveTo>
                    <a:pt x="340" y="197"/>
                  </a:moveTo>
                  <a:cubicBezTo>
                    <a:pt x="342" y="197"/>
                    <a:pt x="343" y="197"/>
                    <a:pt x="345" y="197"/>
                  </a:cubicBezTo>
                  <a:cubicBezTo>
                    <a:pt x="346" y="203"/>
                    <a:pt x="325" y="196"/>
                    <a:pt x="340" y="197"/>
                  </a:cubicBezTo>
                  <a:close/>
                  <a:moveTo>
                    <a:pt x="357" y="258"/>
                  </a:moveTo>
                  <a:cubicBezTo>
                    <a:pt x="359" y="255"/>
                    <a:pt x="361" y="253"/>
                    <a:pt x="357" y="253"/>
                  </a:cubicBezTo>
                  <a:cubicBezTo>
                    <a:pt x="361" y="245"/>
                    <a:pt x="364" y="258"/>
                    <a:pt x="371" y="255"/>
                  </a:cubicBezTo>
                  <a:cubicBezTo>
                    <a:pt x="372" y="260"/>
                    <a:pt x="361" y="256"/>
                    <a:pt x="357" y="258"/>
                  </a:cubicBezTo>
                  <a:close/>
                  <a:moveTo>
                    <a:pt x="415" y="259"/>
                  </a:moveTo>
                  <a:cubicBezTo>
                    <a:pt x="409" y="260"/>
                    <a:pt x="405" y="259"/>
                    <a:pt x="401" y="257"/>
                  </a:cubicBezTo>
                  <a:cubicBezTo>
                    <a:pt x="401" y="253"/>
                    <a:pt x="419" y="252"/>
                    <a:pt x="415" y="259"/>
                  </a:cubicBezTo>
                  <a:close/>
                  <a:moveTo>
                    <a:pt x="480" y="201"/>
                  </a:moveTo>
                  <a:cubicBezTo>
                    <a:pt x="482" y="201"/>
                    <a:pt x="484" y="201"/>
                    <a:pt x="485" y="201"/>
                  </a:cubicBezTo>
                  <a:cubicBezTo>
                    <a:pt x="486" y="208"/>
                    <a:pt x="465" y="201"/>
                    <a:pt x="480" y="201"/>
                  </a:cubicBezTo>
                  <a:close/>
                  <a:moveTo>
                    <a:pt x="502" y="201"/>
                  </a:moveTo>
                  <a:cubicBezTo>
                    <a:pt x="514" y="202"/>
                    <a:pt x="499" y="215"/>
                    <a:pt x="502" y="201"/>
                  </a:cubicBezTo>
                  <a:close/>
                  <a:moveTo>
                    <a:pt x="538" y="205"/>
                  </a:moveTo>
                  <a:cubicBezTo>
                    <a:pt x="538" y="200"/>
                    <a:pt x="545" y="200"/>
                    <a:pt x="548" y="203"/>
                  </a:cubicBezTo>
                  <a:cubicBezTo>
                    <a:pt x="548" y="206"/>
                    <a:pt x="542" y="205"/>
                    <a:pt x="538" y="205"/>
                  </a:cubicBezTo>
                  <a:close/>
                  <a:moveTo>
                    <a:pt x="552" y="264"/>
                  </a:moveTo>
                  <a:cubicBezTo>
                    <a:pt x="551" y="259"/>
                    <a:pt x="554" y="257"/>
                    <a:pt x="555" y="254"/>
                  </a:cubicBezTo>
                  <a:cubicBezTo>
                    <a:pt x="561" y="256"/>
                    <a:pt x="563" y="264"/>
                    <a:pt x="552" y="264"/>
                  </a:cubicBezTo>
                  <a:close/>
                  <a:moveTo>
                    <a:pt x="573" y="204"/>
                  </a:moveTo>
                  <a:cubicBezTo>
                    <a:pt x="574" y="199"/>
                    <a:pt x="587" y="203"/>
                    <a:pt x="592" y="202"/>
                  </a:cubicBezTo>
                  <a:cubicBezTo>
                    <a:pt x="591" y="207"/>
                    <a:pt x="579" y="203"/>
                    <a:pt x="573" y="204"/>
                  </a:cubicBezTo>
                  <a:close/>
                  <a:moveTo>
                    <a:pt x="592" y="199"/>
                  </a:moveTo>
                  <a:cubicBezTo>
                    <a:pt x="587" y="198"/>
                    <a:pt x="592" y="195"/>
                    <a:pt x="592" y="192"/>
                  </a:cubicBezTo>
                  <a:cubicBezTo>
                    <a:pt x="597" y="194"/>
                    <a:pt x="593" y="197"/>
                    <a:pt x="592" y="199"/>
                  </a:cubicBezTo>
                  <a:close/>
                  <a:moveTo>
                    <a:pt x="624" y="265"/>
                  </a:moveTo>
                  <a:cubicBezTo>
                    <a:pt x="625" y="262"/>
                    <a:pt x="627" y="260"/>
                    <a:pt x="632" y="260"/>
                  </a:cubicBezTo>
                  <a:cubicBezTo>
                    <a:pt x="631" y="263"/>
                    <a:pt x="628" y="265"/>
                    <a:pt x="624" y="265"/>
                  </a:cubicBezTo>
                  <a:close/>
                  <a:moveTo>
                    <a:pt x="653" y="203"/>
                  </a:moveTo>
                  <a:cubicBezTo>
                    <a:pt x="655" y="203"/>
                    <a:pt x="658" y="203"/>
                    <a:pt x="661" y="203"/>
                  </a:cubicBezTo>
                  <a:cubicBezTo>
                    <a:pt x="661" y="208"/>
                    <a:pt x="651" y="204"/>
                    <a:pt x="647" y="205"/>
                  </a:cubicBezTo>
                  <a:cubicBezTo>
                    <a:pt x="647" y="203"/>
                    <a:pt x="651" y="204"/>
                    <a:pt x="653" y="203"/>
                  </a:cubicBezTo>
                  <a:close/>
                  <a:moveTo>
                    <a:pt x="656" y="264"/>
                  </a:moveTo>
                  <a:cubicBezTo>
                    <a:pt x="650" y="263"/>
                    <a:pt x="639" y="267"/>
                    <a:pt x="643" y="260"/>
                  </a:cubicBezTo>
                  <a:cubicBezTo>
                    <a:pt x="652" y="263"/>
                    <a:pt x="661" y="258"/>
                    <a:pt x="667" y="264"/>
                  </a:cubicBezTo>
                  <a:cubicBezTo>
                    <a:pt x="676" y="266"/>
                    <a:pt x="663" y="265"/>
                    <a:pt x="656" y="264"/>
                  </a:cubicBezTo>
                  <a:close/>
                  <a:moveTo>
                    <a:pt x="690" y="266"/>
                  </a:moveTo>
                  <a:cubicBezTo>
                    <a:pt x="697" y="257"/>
                    <a:pt x="707" y="271"/>
                    <a:pt x="690" y="266"/>
                  </a:cubicBezTo>
                  <a:close/>
                  <a:moveTo>
                    <a:pt x="714" y="263"/>
                  </a:moveTo>
                  <a:cubicBezTo>
                    <a:pt x="716" y="263"/>
                    <a:pt x="718" y="263"/>
                    <a:pt x="720" y="263"/>
                  </a:cubicBezTo>
                  <a:cubicBezTo>
                    <a:pt x="720" y="270"/>
                    <a:pt x="699" y="263"/>
                    <a:pt x="714" y="263"/>
                  </a:cubicBezTo>
                  <a:close/>
                  <a:moveTo>
                    <a:pt x="738" y="209"/>
                  </a:moveTo>
                  <a:cubicBezTo>
                    <a:pt x="737" y="208"/>
                    <a:pt x="745" y="206"/>
                    <a:pt x="743" y="204"/>
                  </a:cubicBezTo>
                  <a:cubicBezTo>
                    <a:pt x="753" y="208"/>
                    <a:pt x="740" y="210"/>
                    <a:pt x="738" y="209"/>
                  </a:cubicBezTo>
                  <a:close/>
                  <a:moveTo>
                    <a:pt x="777" y="267"/>
                  </a:moveTo>
                  <a:cubicBezTo>
                    <a:pt x="773" y="266"/>
                    <a:pt x="763" y="269"/>
                    <a:pt x="766" y="262"/>
                  </a:cubicBezTo>
                  <a:cubicBezTo>
                    <a:pt x="773" y="263"/>
                    <a:pt x="779" y="265"/>
                    <a:pt x="788" y="264"/>
                  </a:cubicBezTo>
                  <a:cubicBezTo>
                    <a:pt x="788" y="270"/>
                    <a:pt x="782" y="267"/>
                    <a:pt x="777" y="267"/>
                  </a:cubicBezTo>
                  <a:close/>
                  <a:moveTo>
                    <a:pt x="791" y="269"/>
                  </a:moveTo>
                  <a:cubicBezTo>
                    <a:pt x="793" y="266"/>
                    <a:pt x="797" y="264"/>
                    <a:pt x="802" y="264"/>
                  </a:cubicBezTo>
                  <a:cubicBezTo>
                    <a:pt x="801" y="268"/>
                    <a:pt x="797" y="269"/>
                    <a:pt x="791" y="269"/>
                  </a:cubicBezTo>
                  <a:close/>
                  <a:moveTo>
                    <a:pt x="810" y="261"/>
                  </a:moveTo>
                  <a:cubicBezTo>
                    <a:pt x="814" y="263"/>
                    <a:pt x="815" y="266"/>
                    <a:pt x="816" y="271"/>
                  </a:cubicBezTo>
                  <a:cubicBezTo>
                    <a:pt x="807" y="272"/>
                    <a:pt x="806" y="265"/>
                    <a:pt x="810" y="261"/>
                  </a:cubicBezTo>
                  <a:close/>
                  <a:moveTo>
                    <a:pt x="824" y="264"/>
                  </a:moveTo>
                  <a:cubicBezTo>
                    <a:pt x="830" y="269"/>
                    <a:pt x="836" y="261"/>
                    <a:pt x="840" y="266"/>
                  </a:cubicBezTo>
                  <a:cubicBezTo>
                    <a:pt x="836" y="270"/>
                    <a:pt x="824" y="273"/>
                    <a:pt x="824" y="264"/>
                  </a:cubicBezTo>
                  <a:close/>
                  <a:moveTo>
                    <a:pt x="865" y="268"/>
                  </a:moveTo>
                  <a:cubicBezTo>
                    <a:pt x="867" y="267"/>
                    <a:pt x="869" y="267"/>
                    <a:pt x="871" y="267"/>
                  </a:cubicBezTo>
                  <a:cubicBezTo>
                    <a:pt x="871" y="274"/>
                    <a:pt x="850" y="267"/>
                    <a:pt x="865" y="268"/>
                  </a:cubicBezTo>
                  <a:close/>
                  <a:moveTo>
                    <a:pt x="866" y="326"/>
                  </a:moveTo>
                  <a:cubicBezTo>
                    <a:pt x="866" y="325"/>
                    <a:pt x="866" y="323"/>
                    <a:pt x="866" y="321"/>
                  </a:cubicBezTo>
                  <a:cubicBezTo>
                    <a:pt x="868" y="321"/>
                    <a:pt x="870" y="321"/>
                    <a:pt x="871" y="321"/>
                  </a:cubicBezTo>
                  <a:cubicBezTo>
                    <a:pt x="872" y="323"/>
                    <a:pt x="872" y="325"/>
                    <a:pt x="872" y="326"/>
                  </a:cubicBezTo>
                  <a:cubicBezTo>
                    <a:pt x="870" y="326"/>
                    <a:pt x="868" y="326"/>
                    <a:pt x="866" y="326"/>
                  </a:cubicBezTo>
                  <a:close/>
                  <a:moveTo>
                    <a:pt x="903" y="269"/>
                  </a:moveTo>
                  <a:cubicBezTo>
                    <a:pt x="912" y="260"/>
                    <a:pt x="913" y="276"/>
                    <a:pt x="903" y="269"/>
                  </a:cubicBezTo>
                  <a:close/>
                  <a:moveTo>
                    <a:pt x="925" y="266"/>
                  </a:moveTo>
                  <a:cubicBezTo>
                    <a:pt x="930" y="266"/>
                    <a:pt x="931" y="269"/>
                    <a:pt x="936" y="269"/>
                  </a:cubicBezTo>
                  <a:cubicBezTo>
                    <a:pt x="937" y="273"/>
                    <a:pt x="921" y="273"/>
                    <a:pt x="925" y="266"/>
                  </a:cubicBezTo>
                  <a:close/>
                  <a:moveTo>
                    <a:pt x="947" y="271"/>
                  </a:moveTo>
                  <a:cubicBezTo>
                    <a:pt x="945" y="264"/>
                    <a:pt x="953" y="266"/>
                    <a:pt x="958" y="266"/>
                  </a:cubicBezTo>
                  <a:cubicBezTo>
                    <a:pt x="958" y="270"/>
                    <a:pt x="954" y="271"/>
                    <a:pt x="947" y="271"/>
                  </a:cubicBezTo>
                  <a:close/>
                  <a:moveTo>
                    <a:pt x="961" y="271"/>
                  </a:moveTo>
                  <a:cubicBezTo>
                    <a:pt x="963" y="269"/>
                    <a:pt x="964" y="267"/>
                    <a:pt x="964" y="263"/>
                  </a:cubicBezTo>
                  <a:cubicBezTo>
                    <a:pt x="971" y="263"/>
                    <a:pt x="972" y="267"/>
                    <a:pt x="978" y="268"/>
                  </a:cubicBezTo>
                  <a:cubicBezTo>
                    <a:pt x="977" y="273"/>
                    <a:pt x="966" y="269"/>
                    <a:pt x="961" y="271"/>
                  </a:cubicBezTo>
                  <a:close/>
                  <a:moveTo>
                    <a:pt x="986" y="275"/>
                  </a:moveTo>
                  <a:cubicBezTo>
                    <a:pt x="985" y="273"/>
                    <a:pt x="987" y="273"/>
                    <a:pt x="989" y="272"/>
                  </a:cubicBezTo>
                  <a:cubicBezTo>
                    <a:pt x="985" y="269"/>
                    <a:pt x="980" y="268"/>
                    <a:pt x="986" y="263"/>
                  </a:cubicBezTo>
                  <a:cubicBezTo>
                    <a:pt x="994" y="261"/>
                    <a:pt x="989" y="271"/>
                    <a:pt x="1000" y="268"/>
                  </a:cubicBezTo>
                  <a:cubicBezTo>
                    <a:pt x="995" y="270"/>
                    <a:pt x="993" y="274"/>
                    <a:pt x="986" y="275"/>
                  </a:cubicBezTo>
                  <a:close/>
                  <a:moveTo>
                    <a:pt x="1011" y="272"/>
                  </a:moveTo>
                  <a:cubicBezTo>
                    <a:pt x="1011" y="270"/>
                    <a:pt x="1011" y="269"/>
                    <a:pt x="1010" y="267"/>
                  </a:cubicBezTo>
                  <a:cubicBezTo>
                    <a:pt x="1012" y="267"/>
                    <a:pt x="1014" y="267"/>
                    <a:pt x="1016" y="267"/>
                  </a:cubicBezTo>
                  <a:cubicBezTo>
                    <a:pt x="1016" y="269"/>
                    <a:pt x="1016" y="270"/>
                    <a:pt x="1016" y="272"/>
                  </a:cubicBezTo>
                  <a:cubicBezTo>
                    <a:pt x="1014" y="272"/>
                    <a:pt x="1012" y="272"/>
                    <a:pt x="1011" y="272"/>
                  </a:cubicBezTo>
                  <a:close/>
                  <a:moveTo>
                    <a:pt x="1150" y="270"/>
                  </a:moveTo>
                  <a:cubicBezTo>
                    <a:pt x="1150" y="268"/>
                    <a:pt x="1150" y="266"/>
                    <a:pt x="1150" y="265"/>
                  </a:cubicBezTo>
                  <a:cubicBezTo>
                    <a:pt x="1152" y="265"/>
                    <a:pt x="1154" y="265"/>
                    <a:pt x="1156" y="265"/>
                  </a:cubicBezTo>
                  <a:cubicBezTo>
                    <a:pt x="1156" y="266"/>
                    <a:pt x="1156" y="268"/>
                    <a:pt x="1156" y="269"/>
                  </a:cubicBezTo>
                  <a:cubicBezTo>
                    <a:pt x="1154" y="270"/>
                    <a:pt x="1152" y="270"/>
                    <a:pt x="1150" y="270"/>
                  </a:cubicBezTo>
                  <a:close/>
                  <a:moveTo>
                    <a:pt x="1170" y="269"/>
                  </a:moveTo>
                  <a:cubicBezTo>
                    <a:pt x="1170" y="268"/>
                    <a:pt x="1170" y="266"/>
                    <a:pt x="1170" y="265"/>
                  </a:cubicBezTo>
                  <a:cubicBezTo>
                    <a:pt x="1171" y="265"/>
                    <a:pt x="1173" y="265"/>
                    <a:pt x="1175" y="264"/>
                  </a:cubicBezTo>
                  <a:cubicBezTo>
                    <a:pt x="1175" y="266"/>
                    <a:pt x="1175" y="268"/>
                    <a:pt x="1175" y="269"/>
                  </a:cubicBezTo>
                  <a:cubicBezTo>
                    <a:pt x="1173" y="269"/>
                    <a:pt x="1171" y="269"/>
                    <a:pt x="1170" y="269"/>
                  </a:cubicBezTo>
                  <a:close/>
                  <a:moveTo>
                    <a:pt x="1194" y="271"/>
                  </a:moveTo>
                  <a:cubicBezTo>
                    <a:pt x="1195" y="263"/>
                    <a:pt x="1187" y="272"/>
                    <a:pt x="1181" y="267"/>
                  </a:cubicBezTo>
                  <a:cubicBezTo>
                    <a:pt x="1179" y="261"/>
                    <a:pt x="1191" y="267"/>
                    <a:pt x="1194" y="264"/>
                  </a:cubicBezTo>
                  <a:cubicBezTo>
                    <a:pt x="1194" y="264"/>
                    <a:pt x="1194" y="262"/>
                    <a:pt x="1194" y="262"/>
                  </a:cubicBezTo>
                  <a:cubicBezTo>
                    <a:pt x="1200" y="261"/>
                    <a:pt x="1208" y="268"/>
                    <a:pt x="1211" y="261"/>
                  </a:cubicBezTo>
                  <a:cubicBezTo>
                    <a:pt x="1221" y="266"/>
                    <a:pt x="1208" y="265"/>
                    <a:pt x="1205" y="266"/>
                  </a:cubicBezTo>
                  <a:cubicBezTo>
                    <a:pt x="1201" y="268"/>
                    <a:pt x="1198" y="272"/>
                    <a:pt x="1194" y="271"/>
                  </a:cubicBezTo>
                  <a:close/>
                  <a:moveTo>
                    <a:pt x="1199" y="353"/>
                  </a:moveTo>
                  <a:cubicBezTo>
                    <a:pt x="1207" y="350"/>
                    <a:pt x="1205" y="357"/>
                    <a:pt x="1210" y="358"/>
                  </a:cubicBezTo>
                  <a:cubicBezTo>
                    <a:pt x="1209" y="363"/>
                    <a:pt x="1194" y="361"/>
                    <a:pt x="1199" y="353"/>
                  </a:cubicBezTo>
                  <a:close/>
                  <a:moveTo>
                    <a:pt x="1212" y="355"/>
                  </a:moveTo>
                  <a:cubicBezTo>
                    <a:pt x="1215" y="349"/>
                    <a:pt x="1216" y="353"/>
                    <a:pt x="1223" y="353"/>
                  </a:cubicBezTo>
                  <a:cubicBezTo>
                    <a:pt x="1223" y="358"/>
                    <a:pt x="1216" y="358"/>
                    <a:pt x="1212" y="355"/>
                  </a:cubicBezTo>
                  <a:close/>
                  <a:moveTo>
                    <a:pt x="1227" y="261"/>
                  </a:moveTo>
                  <a:cubicBezTo>
                    <a:pt x="1232" y="261"/>
                    <a:pt x="1234" y="265"/>
                    <a:pt x="1235" y="261"/>
                  </a:cubicBezTo>
                  <a:cubicBezTo>
                    <a:pt x="1247" y="264"/>
                    <a:pt x="1223" y="271"/>
                    <a:pt x="1227" y="261"/>
                  </a:cubicBezTo>
                  <a:close/>
                  <a:moveTo>
                    <a:pt x="1237" y="195"/>
                  </a:moveTo>
                  <a:cubicBezTo>
                    <a:pt x="1237" y="194"/>
                    <a:pt x="1237" y="192"/>
                    <a:pt x="1237" y="191"/>
                  </a:cubicBezTo>
                  <a:cubicBezTo>
                    <a:pt x="1239" y="190"/>
                    <a:pt x="1240" y="190"/>
                    <a:pt x="1242" y="190"/>
                  </a:cubicBezTo>
                  <a:cubicBezTo>
                    <a:pt x="1242" y="192"/>
                    <a:pt x="1242" y="194"/>
                    <a:pt x="1242" y="195"/>
                  </a:cubicBezTo>
                  <a:cubicBezTo>
                    <a:pt x="1241" y="195"/>
                    <a:pt x="1239" y="195"/>
                    <a:pt x="1237" y="195"/>
                  </a:cubicBezTo>
                  <a:close/>
                  <a:moveTo>
                    <a:pt x="1259" y="195"/>
                  </a:moveTo>
                  <a:cubicBezTo>
                    <a:pt x="1252" y="196"/>
                    <a:pt x="1252" y="190"/>
                    <a:pt x="1250" y="186"/>
                  </a:cubicBezTo>
                  <a:cubicBezTo>
                    <a:pt x="1258" y="185"/>
                    <a:pt x="1258" y="190"/>
                    <a:pt x="1259" y="195"/>
                  </a:cubicBezTo>
                  <a:close/>
                  <a:moveTo>
                    <a:pt x="1252" y="261"/>
                  </a:moveTo>
                  <a:cubicBezTo>
                    <a:pt x="1256" y="260"/>
                    <a:pt x="1262" y="262"/>
                    <a:pt x="1263" y="258"/>
                  </a:cubicBezTo>
                  <a:cubicBezTo>
                    <a:pt x="1266" y="259"/>
                    <a:pt x="1265" y="262"/>
                    <a:pt x="1266" y="265"/>
                  </a:cubicBezTo>
                  <a:cubicBezTo>
                    <a:pt x="1263" y="268"/>
                    <a:pt x="1252" y="268"/>
                    <a:pt x="1252" y="261"/>
                  </a:cubicBezTo>
                  <a:close/>
                  <a:moveTo>
                    <a:pt x="1279" y="267"/>
                  </a:moveTo>
                  <a:cubicBezTo>
                    <a:pt x="1271" y="269"/>
                    <a:pt x="1269" y="262"/>
                    <a:pt x="1274" y="258"/>
                  </a:cubicBezTo>
                  <a:cubicBezTo>
                    <a:pt x="1279" y="259"/>
                    <a:pt x="1280" y="262"/>
                    <a:pt x="1279" y="267"/>
                  </a:cubicBezTo>
                  <a:close/>
                  <a:moveTo>
                    <a:pt x="1282" y="260"/>
                  </a:moveTo>
                  <a:cubicBezTo>
                    <a:pt x="1283" y="254"/>
                    <a:pt x="1287" y="263"/>
                    <a:pt x="1293" y="260"/>
                  </a:cubicBezTo>
                  <a:cubicBezTo>
                    <a:pt x="1291" y="268"/>
                    <a:pt x="1287" y="262"/>
                    <a:pt x="1282" y="260"/>
                  </a:cubicBezTo>
                  <a:close/>
                  <a:moveTo>
                    <a:pt x="1312" y="257"/>
                  </a:moveTo>
                  <a:cubicBezTo>
                    <a:pt x="1308" y="258"/>
                    <a:pt x="1310" y="265"/>
                    <a:pt x="1301" y="262"/>
                  </a:cubicBezTo>
                  <a:cubicBezTo>
                    <a:pt x="1300" y="255"/>
                    <a:pt x="1310" y="257"/>
                    <a:pt x="1315" y="255"/>
                  </a:cubicBezTo>
                  <a:cubicBezTo>
                    <a:pt x="1316" y="259"/>
                    <a:pt x="1312" y="260"/>
                    <a:pt x="1312" y="257"/>
                  </a:cubicBezTo>
                  <a:close/>
                  <a:moveTo>
                    <a:pt x="1479" y="238"/>
                  </a:moveTo>
                  <a:cubicBezTo>
                    <a:pt x="1478" y="239"/>
                    <a:pt x="1476" y="232"/>
                    <a:pt x="1474" y="233"/>
                  </a:cubicBezTo>
                  <a:cubicBezTo>
                    <a:pt x="1478" y="225"/>
                    <a:pt x="1481" y="236"/>
                    <a:pt x="1479" y="238"/>
                  </a:cubicBezTo>
                  <a:close/>
                  <a:moveTo>
                    <a:pt x="1448" y="177"/>
                  </a:moveTo>
                  <a:cubicBezTo>
                    <a:pt x="1447" y="180"/>
                    <a:pt x="1445" y="182"/>
                    <a:pt x="1440" y="182"/>
                  </a:cubicBezTo>
                  <a:cubicBezTo>
                    <a:pt x="1438" y="177"/>
                    <a:pt x="1444" y="178"/>
                    <a:pt x="1448" y="177"/>
                  </a:cubicBezTo>
                  <a:close/>
                  <a:moveTo>
                    <a:pt x="1424" y="248"/>
                  </a:moveTo>
                  <a:cubicBezTo>
                    <a:pt x="1429" y="248"/>
                    <a:pt x="1429" y="250"/>
                    <a:pt x="1433" y="251"/>
                  </a:cubicBezTo>
                  <a:cubicBezTo>
                    <a:pt x="1434" y="255"/>
                    <a:pt x="1420" y="254"/>
                    <a:pt x="1424" y="248"/>
                  </a:cubicBezTo>
                  <a:close/>
                  <a:moveTo>
                    <a:pt x="1334" y="259"/>
                  </a:moveTo>
                  <a:cubicBezTo>
                    <a:pt x="1334" y="257"/>
                    <a:pt x="1331" y="258"/>
                    <a:pt x="1329" y="257"/>
                  </a:cubicBezTo>
                  <a:cubicBezTo>
                    <a:pt x="1331" y="252"/>
                    <a:pt x="1344" y="256"/>
                    <a:pt x="1350" y="254"/>
                  </a:cubicBezTo>
                  <a:cubicBezTo>
                    <a:pt x="1347" y="261"/>
                    <a:pt x="1344" y="256"/>
                    <a:pt x="1334" y="259"/>
                  </a:cubicBezTo>
                  <a:close/>
                  <a:moveTo>
                    <a:pt x="1392" y="279"/>
                  </a:moveTo>
                  <a:cubicBezTo>
                    <a:pt x="1392" y="278"/>
                    <a:pt x="1392" y="276"/>
                    <a:pt x="1392" y="275"/>
                  </a:cubicBezTo>
                  <a:cubicBezTo>
                    <a:pt x="1394" y="275"/>
                    <a:pt x="1396" y="275"/>
                    <a:pt x="1397" y="275"/>
                  </a:cubicBezTo>
                  <a:cubicBezTo>
                    <a:pt x="1398" y="276"/>
                    <a:pt x="1398" y="278"/>
                    <a:pt x="1398" y="279"/>
                  </a:cubicBezTo>
                  <a:cubicBezTo>
                    <a:pt x="1396" y="279"/>
                    <a:pt x="1394" y="279"/>
                    <a:pt x="1392" y="279"/>
                  </a:cubicBezTo>
                  <a:close/>
                  <a:moveTo>
                    <a:pt x="1394" y="258"/>
                  </a:moveTo>
                  <a:cubicBezTo>
                    <a:pt x="1394" y="261"/>
                    <a:pt x="1392" y="260"/>
                    <a:pt x="1392" y="258"/>
                  </a:cubicBezTo>
                  <a:cubicBezTo>
                    <a:pt x="1388" y="259"/>
                    <a:pt x="1384" y="259"/>
                    <a:pt x="1383" y="256"/>
                  </a:cubicBezTo>
                  <a:cubicBezTo>
                    <a:pt x="1381" y="258"/>
                    <a:pt x="1376" y="260"/>
                    <a:pt x="1375" y="256"/>
                  </a:cubicBezTo>
                  <a:cubicBezTo>
                    <a:pt x="1373" y="257"/>
                    <a:pt x="1372" y="259"/>
                    <a:pt x="1370" y="259"/>
                  </a:cubicBezTo>
                  <a:cubicBezTo>
                    <a:pt x="1369" y="261"/>
                    <a:pt x="1371" y="261"/>
                    <a:pt x="1373" y="261"/>
                  </a:cubicBezTo>
                  <a:cubicBezTo>
                    <a:pt x="1373" y="267"/>
                    <a:pt x="1365" y="260"/>
                    <a:pt x="1367" y="256"/>
                  </a:cubicBezTo>
                  <a:cubicBezTo>
                    <a:pt x="1362" y="257"/>
                    <a:pt x="1365" y="266"/>
                    <a:pt x="1356" y="264"/>
                  </a:cubicBezTo>
                  <a:cubicBezTo>
                    <a:pt x="1358" y="256"/>
                    <a:pt x="1351" y="256"/>
                    <a:pt x="1356" y="252"/>
                  </a:cubicBezTo>
                  <a:cubicBezTo>
                    <a:pt x="1360" y="249"/>
                    <a:pt x="1366" y="255"/>
                    <a:pt x="1367" y="254"/>
                  </a:cubicBezTo>
                  <a:cubicBezTo>
                    <a:pt x="1367" y="254"/>
                    <a:pt x="1367" y="252"/>
                    <a:pt x="1367" y="252"/>
                  </a:cubicBezTo>
                  <a:cubicBezTo>
                    <a:pt x="1370" y="251"/>
                    <a:pt x="1372" y="254"/>
                    <a:pt x="1372" y="254"/>
                  </a:cubicBezTo>
                  <a:cubicBezTo>
                    <a:pt x="1379" y="253"/>
                    <a:pt x="1377" y="249"/>
                    <a:pt x="1383" y="249"/>
                  </a:cubicBezTo>
                  <a:cubicBezTo>
                    <a:pt x="1383" y="249"/>
                    <a:pt x="1384" y="255"/>
                    <a:pt x="1386" y="254"/>
                  </a:cubicBezTo>
                  <a:cubicBezTo>
                    <a:pt x="1392" y="254"/>
                    <a:pt x="1387" y="245"/>
                    <a:pt x="1389" y="242"/>
                  </a:cubicBezTo>
                  <a:cubicBezTo>
                    <a:pt x="1391" y="243"/>
                    <a:pt x="1393" y="244"/>
                    <a:pt x="1397" y="244"/>
                  </a:cubicBezTo>
                  <a:cubicBezTo>
                    <a:pt x="1396" y="246"/>
                    <a:pt x="1395" y="248"/>
                    <a:pt x="1392" y="249"/>
                  </a:cubicBezTo>
                  <a:cubicBezTo>
                    <a:pt x="1391" y="255"/>
                    <a:pt x="1404" y="247"/>
                    <a:pt x="1400" y="256"/>
                  </a:cubicBezTo>
                  <a:cubicBezTo>
                    <a:pt x="1395" y="255"/>
                    <a:pt x="1390" y="258"/>
                    <a:pt x="1394" y="258"/>
                  </a:cubicBezTo>
                  <a:close/>
                  <a:moveTo>
                    <a:pt x="1405" y="258"/>
                  </a:moveTo>
                  <a:cubicBezTo>
                    <a:pt x="1407" y="258"/>
                    <a:pt x="1409" y="258"/>
                    <a:pt x="1411" y="258"/>
                  </a:cubicBezTo>
                  <a:cubicBezTo>
                    <a:pt x="1412" y="265"/>
                    <a:pt x="1390" y="258"/>
                    <a:pt x="1405" y="258"/>
                  </a:cubicBezTo>
                  <a:close/>
                  <a:moveTo>
                    <a:pt x="1403" y="279"/>
                  </a:moveTo>
                  <a:cubicBezTo>
                    <a:pt x="1403" y="277"/>
                    <a:pt x="1406" y="277"/>
                    <a:pt x="1408" y="277"/>
                  </a:cubicBezTo>
                  <a:cubicBezTo>
                    <a:pt x="1410" y="277"/>
                    <a:pt x="1412" y="277"/>
                    <a:pt x="1414" y="277"/>
                  </a:cubicBezTo>
                  <a:cubicBezTo>
                    <a:pt x="1413" y="280"/>
                    <a:pt x="1407" y="279"/>
                    <a:pt x="1403" y="279"/>
                  </a:cubicBezTo>
                  <a:close/>
                  <a:moveTo>
                    <a:pt x="1416" y="256"/>
                  </a:moveTo>
                  <a:cubicBezTo>
                    <a:pt x="1412" y="256"/>
                    <a:pt x="1407" y="256"/>
                    <a:pt x="1403" y="256"/>
                  </a:cubicBezTo>
                  <a:cubicBezTo>
                    <a:pt x="1401" y="247"/>
                    <a:pt x="1411" y="248"/>
                    <a:pt x="1419" y="248"/>
                  </a:cubicBezTo>
                  <a:cubicBezTo>
                    <a:pt x="1419" y="254"/>
                    <a:pt x="1424" y="256"/>
                    <a:pt x="1419" y="260"/>
                  </a:cubicBezTo>
                  <a:cubicBezTo>
                    <a:pt x="1416" y="260"/>
                    <a:pt x="1417" y="257"/>
                    <a:pt x="1416" y="256"/>
                  </a:cubicBezTo>
                  <a:close/>
                  <a:moveTo>
                    <a:pt x="1418" y="352"/>
                  </a:moveTo>
                  <a:cubicBezTo>
                    <a:pt x="1417" y="348"/>
                    <a:pt x="1423" y="346"/>
                    <a:pt x="1418" y="345"/>
                  </a:cubicBezTo>
                  <a:cubicBezTo>
                    <a:pt x="1420" y="342"/>
                    <a:pt x="1424" y="342"/>
                    <a:pt x="1423" y="338"/>
                  </a:cubicBezTo>
                  <a:cubicBezTo>
                    <a:pt x="1428" y="340"/>
                    <a:pt x="1430" y="344"/>
                    <a:pt x="1426" y="347"/>
                  </a:cubicBezTo>
                  <a:cubicBezTo>
                    <a:pt x="1427" y="352"/>
                    <a:pt x="1433" y="344"/>
                    <a:pt x="1440" y="347"/>
                  </a:cubicBezTo>
                  <a:cubicBezTo>
                    <a:pt x="1439" y="354"/>
                    <a:pt x="1426" y="351"/>
                    <a:pt x="1418" y="352"/>
                  </a:cubicBezTo>
                  <a:close/>
                  <a:moveTo>
                    <a:pt x="1433" y="281"/>
                  </a:moveTo>
                  <a:cubicBezTo>
                    <a:pt x="1435" y="277"/>
                    <a:pt x="1438" y="281"/>
                    <a:pt x="1441" y="281"/>
                  </a:cubicBezTo>
                  <a:cubicBezTo>
                    <a:pt x="1440" y="285"/>
                    <a:pt x="1437" y="281"/>
                    <a:pt x="1433" y="281"/>
                  </a:cubicBezTo>
                  <a:close/>
                  <a:moveTo>
                    <a:pt x="1438" y="250"/>
                  </a:moveTo>
                  <a:cubicBezTo>
                    <a:pt x="1435" y="241"/>
                    <a:pt x="1455" y="254"/>
                    <a:pt x="1452" y="241"/>
                  </a:cubicBezTo>
                  <a:cubicBezTo>
                    <a:pt x="1457" y="241"/>
                    <a:pt x="1454" y="249"/>
                    <a:pt x="1460" y="248"/>
                  </a:cubicBezTo>
                  <a:cubicBezTo>
                    <a:pt x="1459" y="250"/>
                    <a:pt x="1439" y="253"/>
                    <a:pt x="1438" y="250"/>
                  </a:cubicBezTo>
                  <a:close/>
                  <a:moveTo>
                    <a:pt x="1456" y="330"/>
                  </a:moveTo>
                  <a:cubicBezTo>
                    <a:pt x="1459" y="331"/>
                    <a:pt x="1462" y="333"/>
                    <a:pt x="1462" y="337"/>
                  </a:cubicBezTo>
                  <a:cubicBezTo>
                    <a:pt x="1458" y="336"/>
                    <a:pt x="1456" y="334"/>
                    <a:pt x="1456" y="330"/>
                  </a:cubicBezTo>
                  <a:close/>
                  <a:moveTo>
                    <a:pt x="1485" y="250"/>
                  </a:moveTo>
                  <a:cubicBezTo>
                    <a:pt x="1485" y="251"/>
                    <a:pt x="1485" y="253"/>
                    <a:pt x="1485" y="254"/>
                  </a:cubicBezTo>
                  <a:cubicBezTo>
                    <a:pt x="1482" y="254"/>
                    <a:pt x="1483" y="251"/>
                    <a:pt x="1482" y="250"/>
                  </a:cubicBezTo>
                  <a:cubicBezTo>
                    <a:pt x="1477" y="251"/>
                    <a:pt x="1466" y="247"/>
                    <a:pt x="1466" y="252"/>
                  </a:cubicBezTo>
                  <a:cubicBezTo>
                    <a:pt x="1462" y="252"/>
                    <a:pt x="1463" y="246"/>
                    <a:pt x="1463" y="243"/>
                  </a:cubicBezTo>
                  <a:cubicBezTo>
                    <a:pt x="1468" y="244"/>
                    <a:pt x="1471" y="242"/>
                    <a:pt x="1471" y="238"/>
                  </a:cubicBezTo>
                  <a:cubicBezTo>
                    <a:pt x="1476" y="242"/>
                    <a:pt x="1478" y="248"/>
                    <a:pt x="1487" y="247"/>
                  </a:cubicBezTo>
                  <a:cubicBezTo>
                    <a:pt x="1488" y="249"/>
                    <a:pt x="1486" y="249"/>
                    <a:pt x="1485" y="250"/>
                  </a:cubicBezTo>
                  <a:close/>
                  <a:moveTo>
                    <a:pt x="1493" y="233"/>
                  </a:moveTo>
                  <a:cubicBezTo>
                    <a:pt x="1505" y="234"/>
                    <a:pt x="1490" y="247"/>
                    <a:pt x="1493" y="233"/>
                  </a:cubicBezTo>
                  <a:close/>
                  <a:moveTo>
                    <a:pt x="1529" y="251"/>
                  </a:moveTo>
                  <a:cubicBezTo>
                    <a:pt x="1523" y="254"/>
                    <a:pt x="1525" y="247"/>
                    <a:pt x="1523" y="247"/>
                  </a:cubicBezTo>
                  <a:cubicBezTo>
                    <a:pt x="1516" y="244"/>
                    <a:pt x="1502" y="249"/>
                    <a:pt x="1493" y="247"/>
                  </a:cubicBezTo>
                  <a:cubicBezTo>
                    <a:pt x="1492" y="243"/>
                    <a:pt x="1499" y="246"/>
                    <a:pt x="1501" y="245"/>
                  </a:cubicBezTo>
                  <a:cubicBezTo>
                    <a:pt x="1504" y="242"/>
                    <a:pt x="1505" y="245"/>
                    <a:pt x="1512" y="242"/>
                  </a:cubicBezTo>
                  <a:cubicBezTo>
                    <a:pt x="1513" y="242"/>
                    <a:pt x="1517" y="243"/>
                    <a:pt x="1518" y="242"/>
                  </a:cubicBezTo>
                  <a:cubicBezTo>
                    <a:pt x="1519" y="240"/>
                    <a:pt x="1519" y="240"/>
                    <a:pt x="1520" y="242"/>
                  </a:cubicBezTo>
                  <a:cubicBezTo>
                    <a:pt x="1525" y="242"/>
                    <a:pt x="1526" y="239"/>
                    <a:pt x="1531" y="239"/>
                  </a:cubicBezTo>
                  <a:cubicBezTo>
                    <a:pt x="1532" y="245"/>
                    <a:pt x="1526" y="245"/>
                    <a:pt x="1529" y="251"/>
                  </a:cubicBezTo>
                  <a:close/>
                  <a:moveTo>
                    <a:pt x="1606" y="125"/>
                  </a:moveTo>
                  <a:cubicBezTo>
                    <a:pt x="1608" y="119"/>
                    <a:pt x="1609" y="131"/>
                    <a:pt x="1609" y="132"/>
                  </a:cubicBezTo>
                  <a:cubicBezTo>
                    <a:pt x="1608" y="137"/>
                    <a:pt x="1604" y="134"/>
                    <a:pt x="1606" y="125"/>
                  </a:cubicBezTo>
                  <a:close/>
                  <a:moveTo>
                    <a:pt x="1536" y="181"/>
                  </a:moveTo>
                  <a:cubicBezTo>
                    <a:pt x="1539" y="181"/>
                    <a:pt x="1541" y="180"/>
                    <a:pt x="1544" y="180"/>
                  </a:cubicBezTo>
                  <a:cubicBezTo>
                    <a:pt x="1546" y="182"/>
                    <a:pt x="1547" y="178"/>
                    <a:pt x="1547" y="178"/>
                  </a:cubicBezTo>
                  <a:cubicBezTo>
                    <a:pt x="1560" y="181"/>
                    <a:pt x="1525" y="188"/>
                    <a:pt x="1536" y="181"/>
                  </a:cubicBezTo>
                  <a:close/>
                  <a:moveTo>
                    <a:pt x="1566" y="340"/>
                  </a:moveTo>
                  <a:cubicBezTo>
                    <a:pt x="1566" y="338"/>
                    <a:pt x="1566" y="337"/>
                    <a:pt x="1566" y="335"/>
                  </a:cubicBezTo>
                  <a:cubicBezTo>
                    <a:pt x="1571" y="334"/>
                    <a:pt x="1574" y="335"/>
                    <a:pt x="1574" y="340"/>
                  </a:cubicBezTo>
                  <a:cubicBezTo>
                    <a:pt x="1571" y="340"/>
                    <a:pt x="1569" y="340"/>
                    <a:pt x="1566" y="340"/>
                  </a:cubicBezTo>
                  <a:close/>
                  <a:moveTo>
                    <a:pt x="1582" y="342"/>
                  </a:moveTo>
                  <a:cubicBezTo>
                    <a:pt x="1581" y="343"/>
                    <a:pt x="1574" y="336"/>
                    <a:pt x="1580" y="333"/>
                  </a:cubicBezTo>
                  <a:cubicBezTo>
                    <a:pt x="1582" y="332"/>
                    <a:pt x="1584" y="340"/>
                    <a:pt x="1582" y="342"/>
                  </a:cubicBezTo>
                  <a:close/>
                  <a:moveTo>
                    <a:pt x="1573" y="248"/>
                  </a:moveTo>
                  <a:cubicBezTo>
                    <a:pt x="1569" y="250"/>
                    <a:pt x="1569" y="237"/>
                    <a:pt x="1564" y="241"/>
                  </a:cubicBezTo>
                  <a:cubicBezTo>
                    <a:pt x="1564" y="241"/>
                    <a:pt x="1565" y="243"/>
                    <a:pt x="1564" y="244"/>
                  </a:cubicBezTo>
                  <a:cubicBezTo>
                    <a:pt x="1559" y="245"/>
                    <a:pt x="1545" y="243"/>
                    <a:pt x="1537" y="244"/>
                  </a:cubicBezTo>
                  <a:cubicBezTo>
                    <a:pt x="1537" y="236"/>
                    <a:pt x="1545" y="242"/>
                    <a:pt x="1548" y="241"/>
                  </a:cubicBezTo>
                  <a:cubicBezTo>
                    <a:pt x="1550" y="241"/>
                    <a:pt x="1550" y="239"/>
                    <a:pt x="1551" y="239"/>
                  </a:cubicBezTo>
                  <a:cubicBezTo>
                    <a:pt x="1553" y="239"/>
                    <a:pt x="1557" y="243"/>
                    <a:pt x="1556" y="237"/>
                  </a:cubicBezTo>
                  <a:cubicBezTo>
                    <a:pt x="1558" y="238"/>
                    <a:pt x="1559" y="238"/>
                    <a:pt x="1561" y="239"/>
                  </a:cubicBezTo>
                  <a:cubicBezTo>
                    <a:pt x="1562" y="239"/>
                    <a:pt x="1566" y="238"/>
                    <a:pt x="1567" y="239"/>
                  </a:cubicBezTo>
                  <a:cubicBezTo>
                    <a:pt x="1569" y="241"/>
                    <a:pt x="1568" y="240"/>
                    <a:pt x="1578" y="239"/>
                  </a:cubicBezTo>
                  <a:cubicBezTo>
                    <a:pt x="1580" y="238"/>
                    <a:pt x="1588" y="240"/>
                    <a:pt x="1589" y="238"/>
                  </a:cubicBezTo>
                  <a:cubicBezTo>
                    <a:pt x="1592" y="235"/>
                    <a:pt x="1589" y="239"/>
                    <a:pt x="1600" y="238"/>
                  </a:cubicBezTo>
                  <a:cubicBezTo>
                    <a:pt x="1605" y="238"/>
                    <a:pt x="1606" y="236"/>
                    <a:pt x="1611" y="236"/>
                  </a:cubicBezTo>
                  <a:cubicBezTo>
                    <a:pt x="1613" y="249"/>
                    <a:pt x="1568" y="231"/>
                    <a:pt x="1573" y="248"/>
                  </a:cubicBezTo>
                  <a:close/>
                  <a:moveTo>
                    <a:pt x="1593" y="337"/>
                  </a:moveTo>
                  <a:cubicBezTo>
                    <a:pt x="1596" y="328"/>
                    <a:pt x="1599" y="337"/>
                    <a:pt x="1604" y="337"/>
                  </a:cubicBezTo>
                  <a:cubicBezTo>
                    <a:pt x="1606" y="337"/>
                    <a:pt x="1609" y="333"/>
                    <a:pt x="1612" y="334"/>
                  </a:cubicBezTo>
                  <a:cubicBezTo>
                    <a:pt x="1610" y="343"/>
                    <a:pt x="1601" y="336"/>
                    <a:pt x="1593" y="337"/>
                  </a:cubicBezTo>
                  <a:close/>
                  <a:moveTo>
                    <a:pt x="1619" y="238"/>
                  </a:moveTo>
                  <a:cubicBezTo>
                    <a:pt x="1618" y="242"/>
                    <a:pt x="1626" y="239"/>
                    <a:pt x="1627" y="240"/>
                  </a:cubicBezTo>
                  <a:cubicBezTo>
                    <a:pt x="1630" y="244"/>
                    <a:pt x="1618" y="241"/>
                    <a:pt x="1619" y="247"/>
                  </a:cubicBezTo>
                  <a:cubicBezTo>
                    <a:pt x="1615" y="245"/>
                    <a:pt x="1616" y="237"/>
                    <a:pt x="1613" y="233"/>
                  </a:cubicBezTo>
                  <a:cubicBezTo>
                    <a:pt x="1618" y="237"/>
                    <a:pt x="1623" y="231"/>
                    <a:pt x="1633" y="233"/>
                  </a:cubicBezTo>
                  <a:cubicBezTo>
                    <a:pt x="1636" y="241"/>
                    <a:pt x="1624" y="237"/>
                    <a:pt x="1619" y="238"/>
                  </a:cubicBezTo>
                  <a:close/>
                  <a:moveTo>
                    <a:pt x="1642" y="320"/>
                  </a:moveTo>
                  <a:cubicBezTo>
                    <a:pt x="1644" y="319"/>
                    <a:pt x="1647" y="313"/>
                    <a:pt x="1648" y="313"/>
                  </a:cubicBezTo>
                  <a:cubicBezTo>
                    <a:pt x="1651" y="312"/>
                    <a:pt x="1651" y="320"/>
                    <a:pt x="1642" y="320"/>
                  </a:cubicBezTo>
                  <a:close/>
                  <a:moveTo>
                    <a:pt x="1644" y="249"/>
                  </a:moveTo>
                  <a:cubicBezTo>
                    <a:pt x="1652" y="240"/>
                    <a:pt x="1653" y="256"/>
                    <a:pt x="1644" y="249"/>
                  </a:cubicBezTo>
                  <a:close/>
                  <a:moveTo>
                    <a:pt x="1638" y="245"/>
                  </a:moveTo>
                  <a:cubicBezTo>
                    <a:pt x="1634" y="243"/>
                    <a:pt x="1638" y="242"/>
                    <a:pt x="1641" y="242"/>
                  </a:cubicBezTo>
                  <a:cubicBezTo>
                    <a:pt x="1642" y="238"/>
                    <a:pt x="1638" y="237"/>
                    <a:pt x="1638" y="240"/>
                  </a:cubicBezTo>
                  <a:cubicBezTo>
                    <a:pt x="1637" y="241"/>
                    <a:pt x="1635" y="236"/>
                    <a:pt x="1635" y="235"/>
                  </a:cubicBezTo>
                  <a:cubicBezTo>
                    <a:pt x="1636" y="234"/>
                    <a:pt x="1640" y="236"/>
                    <a:pt x="1641" y="235"/>
                  </a:cubicBezTo>
                  <a:cubicBezTo>
                    <a:pt x="1642" y="235"/>
                    <a:pt x="1640" y="231"/>
                    <a:pt x="1641" y="230"/>
                  </a:cubicBezTo>
                  <a:cubicBezTo>
                    <a:pt x="1644" y="229"/>
                    <a:pt x="1643" y="235"/>
                    <a:pt x="1644" y="235"/>
                  </a:cubicBezTo>
                  <a:cubicBezTo>
                    <a:pt x="1644" y="236"/>
                    <a:pt x="1650" y="232"/>
                    <a:pt x="1652" y="235"/>
                  </a:cubicBezTo>
                  <a:cubicBezTo>
                    <a:pt x="1649" y="238"/>
                    <a:pt x="1637" y="240"/>
                    <a:pt x="1652" y="240"/>
                  </a:cubicBezTo>
                  <a:cubicBezTo>
                    <a:pt x="1648" y="247"/>
                    <a:pt x="1643" y="241"/>
                    <a:pt x="1638" y="245"/>
                  </a:cubicBezTo>
                  <a:close/>
                  <a:moveTo>
                    <a:pt x="1739" y="203"/>
                  </a:moveTo>
                  <a:cubicBezTo>
                    <a:pt x="1739" y="206"/>
                    <a:pt x="1731" y="204"/>
                    <a:pt x="1731" y="208"/>
                  </a:cubicBezTo>
                  <a:cubicBezTo>
                    <a:pt x="1722" y="205"/>
                    <a:pt x="1734" y="201"/>
                    <a:pt x="1739" y="203"/>
                  </a:cubicBezTo>
                  <a:close/>
                  <a:moveTo>
                    <a:pt x="1656" y="331"/>
                  </a:moveTo>
                  <a:cubicBezTo>
                    <a:pt x="1656" y="330"/>
                    <a:pt x="1656" y="328"/>
                    <a:pt x="1656" y="327"/>
                  </a:cubicBezTo>
                  <a:cubicBezTo>
                    <a:pt x="1660" y="326"/>
                    <a:pt x="1664" y="326"/>
                    <a:pt x="1667" y="326"/>
                  </a:cubicBezTo>
                  <a:cubicBezTo>
                    <a:pt x="1670" y="333"/>
                    <a:pt x="1661" y="331"/>
                    <a:pt x="1656" y="331"/>
                  </a:cubicBezTo>
                  <a:close/>
                  <a:moveTo>
                    <a:pt x="1662" y="315"/>
                  </a:moveTo>
                  <a:cubicBezTo>
                    <a:pt x="1663" y="315"/>
                    <a:pt x="1665" y="315"/>
                    <a:pt x="1667" y="315"/>
                  </a:cubicBezTo>
                  <a:cubicBezTo>
                    <a:pt x="1668" y="321"/>
                    <a:pt x="1647" y="314"/>
                    <a:pt x="1662" y="315"/>
                  </a:cubicBezTo>
                  <a:close/>
                  <a:moveTo>
                    <a:pt x="1669" y="289"/>
                  </a:moveTo>
                  <a:cubicBezTo>
                    <a:pt x="1662" y="297"/>
                    <a:pt x="1652" y="284"/>
                    <a:pt x="1669" y="289"/>
                  </a:cubicBezTo>
                  <a:close/>
                  <a:moveTo>
                    <a:pt x="1663" y="268"/>
                  </a:moveTo>
                  <a:cubicBezTo>
                    <a:pt x="1664" y="268"/>
                    <a:pt x="1666" y="263"/>
                    <a:pt x="1666" y="263"/>
                  </a:cubicBezTo>
                  <a:cubicBezTo>
                    <a:pt x="1666" y="263"/>
                    <a:pt x="1666" y="261"/>
                    <a:pt x="1666" y="261"/>
                  </a:cubicBezTo>
                  <a:cubicBezTo>
                    <a:pt x="1676" y="259"/>
                    <a:pt x="1667" y="271"/>
                    <a:pt x="1663" y="268"/>
                  </a:cubicBezTo>
                  <a:close/>
                  <a:moveTo>
                    <a:pt x="1697" y="293"/>
                  </a:moveTo>
                  <a:cubicBezTo>
                    <a:pt x="1695" y="297"/>
                    <a:pt x="1694" y="292"/>
                    <a:pt x="1694" y="288"/>
                  </a:cubicBezTo>
                  <a:cubicBezTo>
                    <a:pt x="1686" y="285"/>
                    <a:pt x="1700" y="286"/>
                    <a:pt x="1697" y="293"/>
                  </a:cubicBezTo>
                  <a:close/>
                  <a:moveTo>
                    <a:pt x="1705" y="269"/>
                  </a:moveTo>
                  <a:cubicBezTo>
                    <a:pt x="1700" y="269"/>
                    <a:pt x="1698" y="265"/>
                    <a:pt x="1699" y="260"/>
                  </a:cubicBezTo>
                  <a:cubicBezTo>
                    <a:pt x="1704" y="260"/>
                    <a:pt x="1705" y="264"/>
                    <a:pt x="1705" y="269"/>
                  </a:cubicBezTo>
                  <a:close/>
                  <a:moveTo>
                    <a:pt x="1718" y="269"/>
                  </a:moveTo>
                  <a:cubicBezTo>
                    <a:pt x="1713" y="268"/>
                    <a:pt x="1716" y="260"/>
                    <a:pt x="1710" y="260"/>
                  </a:cubicBezTo>
                  <a:cubicBezTo>
                    <a:pt x="1710" y="257"/>
                    <a:pt x="1715" y="258"/>
                    <a:pt x="1718" y="257"/>
                  </a:cubicBezTo>
                  <a:cubicBezTo>
                    <a:pt x="1717" y="265"/>
                    <a:pt x="1723" y="264"/>
                    <a:pt x="1718" y="269"/>
                  </a:cubicBezTo>
                  <a:close/>
                  <a:moveTo>
                    <a:pt x="1718" y="238"/>
                  </a:moveTo>
                  <a:cubicBezTo>
                    <a:pt x="1720" y="234"/>
                    <a:pt x="1726" y="233"/>
                    <a:pt x="1734" y="234"/>
                  </a:cubicBezTo>
                  <a:cubicBezTo>
                    <a:pt x="1731" y="237"/>
                    <a:pt x="1725" y="238"/>
                    <a:pt x="1718" y="238"/>
                  </a:cubicBezTo>
                  <a:close/>
                  <a:moveTo>
                    <a:pt x="1738" y="309"/>
                  </a:moveTo>
                  <a:cubicBezTo>
                    <a:pt x="1739" y="306"/>
                    <a:pt x="1742" y="304"/>
                    <a:pt x="1746" y="304"/>
                  </a:cubicBezTo>
                  <a:cubicBezTo>
                    <a:pt x="1745" y="307"/>
                    <a:pt x="1743" y="309"/>
                    <a:pt x="1738" y="309"/>
                  </a:cubicBezTo>
                  <a:close/>
                  <a:moveTo>
                    <a:pt x="1747" y="318"/>
                  </a:moveTo>
                  <a:cubicBezTo>
                    <a:pt x="1747" y="316"/>
                    <a:pt x="1747" y="315"/>
                    <a:pt x="1747" y="313"/>
                  </a:cubicBezTo>
                  <a:cubicBezTo>
                    <a:pt x="1748" y="313"/>
                    <a:pt x="1750" y="313"/>
                    <a:pt x="1752" y="313"/>
                  </a:cubicBezTo>
                  <a:cubicBezTo>
                    <a:pt x="1752" y="315"/>
                    <a:pt x="1752" y="316"/>
                    <a:pt x="1752" y="318"/>
                  </a:cubicBezTo>
                  <a:cubicBezTo>
                    <a:pt x="1750" y="318"/>
                    <a:pt x="1748" y="318"/>
                    <a:pt x="1747" y="318"/>
                  </a:cubicBezTo>
                  <a:close/>
                  <a:moveTo>
                    <a:pt x="1745" y="236"/>
                  </a:moveTo>
                  <a:cubicBezTo>
                    <a:pt x="1752" y="231"/>
                    <a:pt x="1741" y="225"/>
                    <a:pt x="1740" y="233"/>
                  </a:cubicBezTo>
                  <a:cubicBezTo>
                    <a:pt x="1733" y="231"/>
                    <a:pt x="1714" y="229"/>
                    <a:pt x="1712" y="234"/>
                  </a:cubicBezTo>
                  <a:cubicBezTo>
                    <a:pt x="1712" y="234"/>
                    <a:pt x="1713" y="239"/>
                    <a:pt x="1712" y="239"/>
                  </a:cubicBezTo>
                  <a:cubicBezTo>
                    <a:pt x="1708" y="239"/>
                    <a:pt x="1712" y="233"/>
                    <a:pt x="1709" y="232"/>
                  </a:cubicBezTo>
                  <a:cubicBezTo>
                    <a:pt x="1705" y="230"/>
                    <a:pt x="1701" y="234"/>
                    <a:pt x="1699" y="234"/>
                  </a:cubicBezTo>
                  <a:cubicBezTo>
                    <a:pt x="1694" y="235"/>
                    <a:pt x="1683" y="231"/>
                    <a:pt x="1685" y="239"/>
                  </a:cubicBezTo>
                  <a:cubicBezTo>
                    <a:pt x="1683" y="237"/>
                    <a:pt x="1677" y="236"/>
                    <a:pt x="1677" y="239"/>
                  </a:cubicBezTo>
                  <a:cubicBezTo>
                    <a:pt x="1674" y="239"/>
                    <a:pt x="1675" y="237"/>
                    <a:pt x="1677" y="237"/>
                  </a:cubicBezTo>
                  <a:cubicBezTo>
                    <a:pt x="1678" y="235"/>
                    <a:pt x="1670" y="233"/>
                    <a:pt x="1668" y="235"/>
                  </a:cubicBezTo>
                  <a:cubicBezTo>
                    <a:pt x="1665" y="237"/>
                    <a:pt x="1667" y="234"/>
                    <a:pt x="1663" y="235"/>
                  </a:cubicBezTo>
                  <a:cubicBezTo>
                    <a:pt x="1660" y="235"/>
                    <a:pt x="1658" y="235"/>
                    <a:pt x="1657" y="237"/>
                  </a:cubicBezTo>
                  <a:cubicBezTo>
                    <a:pt x="1653" y="236"/>
                    <a:pt x="1659" y="234"/>
                    <a:pt x="1657" y="230"/>
                  </a:cubicBezTo>
                  <a:cubicBezTo>
                    <a:pt x="1660" y="229"/>
                    <a:pt x="1660" y="232"/>
                    <a:pt x="1660" y="232"/>
                  </a:cubicBezTo>
                  <a:cubicBezTo>
                    <a:pt x="1663" y="233"/>
                    <a:pt x="1663" y="230"/>
                    <a:pt x="1663" y="230"/>
                  </a:cubicBezTo>
                  <a:cubicBezTo>
                    <a:pt x="1666" y="230"/>
                    <a:pt x="1669" y="233"/>
                    <a:pt x="1671" y="232"/>
                  </a:cubicBezTo>
                  <a:cubicBezTo>
                    <a:pt x="1675" y="231"/>
                    <a:pt x="1680" y="223"/>
                    <a:pt x="1687" y="230"/>
                  </a:cubicBezTo>
                  <a:cubicBezTo>
                    <a:pt x="1691" y="229"/>
                    <a:pt x="1690" y="225"/>
                    <a:pt x="1690" y="223"/>
                  </a:cubicBezTo>
                  <a:cubicBezTo>
                    <a:pt x="1696" y="223"/>
                    <a:pt x="1699" y="222"/>
                    <a:pt x="1698" y="218"/>
                  </a:cubicBezTo>
                  <a:cubicBezTo>
                    <a:pt x="1707" y="219"/>
                    <a:pt x="1704" y="228"/>
                    <a:pt x="1693" y="225"/>
                  </a:cubicBezTo>
                  <a:cubicBezTo>
                    <a:pt x="1692" y="229"/>
                    <a:pt x="1696" y="229"/>
                    <a:pt x="1696" y="232"/>
                  </a:cubicBezTo>
                  <a:cubicBezTo>
                    <a:pt x="1699" y="233"/>
                    <a:pt x="1697" y="228"/>
                    <a:pt x="1698" y="227"/>
                  </a:cubicBezTo>
                  <a:cubicBezTo>
                    <a:pt x="1701" y="226"/>
                    <a:pt x="1701" y="229"/>
                    <a:pt x="1701" y="229"/>
                  </a:cubicBezTo>
                  <a:cubicBezTo>
                    <a:pt x="1701" y="229"/>
                    <a:pt x="1710" y="227"/>
                    <a:pt x="1712" y="227"/>
                  </a:cubicBezTo>
                  <a:cubicBezTo>
                    <a:pt x="1714" y="226"/>
                    <a:pt x="1719" y="222"/>
                    <a:pt x="1720" y="229"/>
                  </a:cubicBezTo>
                  <a:cubicBezTo>
                    <a:pt x="1723" y="230"/>
                    <a:pt x="1722" y="225"/>
                    <a:pt x="1723" y="224"/>
                  </a:cubicBezTo>
                  <a:cubicBezTo>
                    <a:pt x="1734" y="222"/>
                    <a:pt x="1746" y="228"/>
                    <a:pt x="1756" y="224"/>
                  </a:cubicBezTo>
                  <a:cubicBezTo>
                    <a:pt x="1754" y="229"/>
                    <a:pt x="1753" y="235"/>
                    <a:pt x="1745" y="236"/>
                  </a:cubicBezTo>
                  <a:close/>
                  <a:moveTo>
                    <a:pt x="1753" y="186"/>
                  </a:moveTo>
                  <a:cubicBezTo>
                    <a:pt x="1755" y="187"/>
                    <a:pt x="1755" y="189"/>
                    <a:pt x="1758" y="188"/>
                  </a:cubicBezTo>
                  <a:cubicBezTo>
                    <a:pt x="1758" y="194"/>
                    <a:pt x="1745" y="191"/>
                    <a:pt x="1753" y="186"/>
                  </a:cubicBezTo>
                  <a:close/>
                  <a:moveTo>
                    <a:pt x="1831" y="110"/>
                  </a:moveTo>
                  <a:cubicBezTo>
                    <a:pt x="1831" y="108"/>
                    <a:pt x="1831" y="107"/>
                    <a:pt x="1831" y="105"/>
                  </a:cubicBezTo>
                  <a:cubicBezTo>
                    <a:pt x="1837" y="104"/>
                    <a:pt x="1832" y="113"/>
                    <a:pt x="1834" y="117"/>
                  </a:cubicBezTo>
                  <a:cubicBezTo>
                    <a:pt x="1831" y="115"/>
                    <a:pt x="1829" y="114"/>
                    <a:pt x="1828" y="117"/>
                  </a:cubicBezTo>
                  <a:cubicBezTo>
                    <a:pt x="1819" y="115"/>
                    <a:pt x="1831" y="112"/>
                    <a:pt x="1831" y="110"/>
                  </a:cubicBezTo>
                  <a:close/>
                  <a:moveTo>
                    <a:pt x="1792" y="230"/>
                  </a:moveTo>
                  <a:cubicBezTo>
                    <a:pt x="1789" y="237"/>
                    <a:pt x="1781" y="233"/>
                    <a:pt x="1775" y="233"/>
                  </a:cubicBezTo>
                  <a:cubicBezTo>
                    <a:pt x="1776" y="228"/>
                    <a:pt x="1787" y="232"/>
                    <a:pt x="1792" y="230"/>
                  </a:cubicBezTo>
                  <a:close/>
                  <a:moveTo>
                    <a:pt x="1779" y="259"/>
                  </a:moveTo>
                  <a:cubicBezTo>
                    <a:pt x="1776" y="258"/>
                    <a:pt x="1776" y="256"/>
                    <a:pt x="1773" y="256"/>
                  </a:cubicBezTo>
                  <a:cubicBezTo>
                    <a:pt x="1773" y="255"/>
                    <a:pt x="1773" y="253"/>
                    <a:pt x="1773" y="252"/>
                  </a:cubicBezTo>
                  <a:cubicBezTo>
                    <a:pt x="1779" y="250"/>
                    <a:pt x="1778" y="255"/>
                    <a:pt x="1779" y="259"/>
                  </a:cubicBezTo>
                  <a:close/>
                  <a:moveTo>
                    <a:pt x="1771" y="310"/>
                  </a:moveTo>
                  <a:cubicBezTo>
                    <a:pt x="1777" y="309"/>
                    <a:pt x="1775" y="315"/>
                    <a:pt x="1780" y="315"/>
                  </a:cubicBezTo>
                  <a:cubicBezTo>
                    <a:pt x="1780" y="319"/>
                    <a:pt x="1769" y="315"/>
                    <a:pt x="1771" y="310"/>
                  </a:cubicBezTo>
                  <a:close/>
                  <a:moveTo>
                    <a:pt x="1790" y="280"/>
                  </a:moveTo>
                  <a:cubicBezTo>
                    <a:pt x="1788" y="283"/>
                    <a:pt x="1792" y="288"/>
                    <a:pt x="1785" y="287"/>
                  </a:cubicBezTo>
                  <a:cubicBezTo>
                    <a:pt x="1789" y="283"/>
                    <a:pt x="1786" y="274"/>
                    <a:pt x="1795" y="275"/>
                  </a:cubicBezTo>
                  <a:cubicBezTo>
                    <a:pt x="1796" y="278"/>
                    <a:pt x="1791" y="278"/>
                    <a:pt x="1790" y="280"/>
                  </a:cubicBezTo>
                  <a:close/>
                  <a:moveTo>
                    <a:pt x="1789" y="226"/>
                  </a:moveTo>
                  <a:cubicBezTo>
                    <a:pt x="1787" y="225"/>
                    <a:pt x="1786" y="226"/>
                    <a:pt x="1786" y="228"/>
                  </a:cubicBezTo>
                  <a:cubicBezTo>
                    <a:pt x="1784" y="228"/>
                    <a:pt x="1784" y="225"/>
                    <a:pt x="1783" y="223"/>
                  </a:cubicBezTo>
                  <a:cubicBezTo>
                    <a:pt x="1785" y="223"/>
                    <a:pt x="1787" y="223"/>
                    <a:pt x="1789" y="223"/>
                  </a:cubicBezTo>
                  <a:cubicBezTo>
                    <a:pt x="1787" y="218"/>
                    <a:pt x="1781" y="219"/>
                    <a:pt x="1786" y="214"/>
                  </a:cubicBezTo>
                  <a:cubicBezTo>
                    <a:pt x="1791" y="214"/>
                    <a:pt x="1792" y="218"/>
                    <a:pt x="1792" y="223"/>
                  </a:cubicBezTo>
                  <a:cubicBezTo>
                    <a:pt x="1798" y="219"/>
                    <a:pt x="1803" y="224"/>
                    <a:pt x="1805" y="221"/>
                  </a:cubicBezTo>
                  <a:cubicBezTo>
                    <a:pt x="1809" y="222"/>
                    <a:pt x="1807" y="224"/>
                    <a:pt x="1805" y="225"/>
                  </a:cubicBezTo>
                  <a:cubicBezTo>
                    <a:pt x="1799" y="229"/>
                    <a:pt x="1799" y="225"/>
                    <a:pt x="1789" y="226"/>
                  </a:cubicBezTo>
                  <a:close/>
                  <a:moveTo>
                    <a:pt x="1800" y="235"/>
                  </a:moveTo>
                  <a:cubicBezTo>
                    <a:pt x="1792" y="232"/>
                    <a:pt x="1806" y="225"/>
                    <a:pt x="1808" y="230"/>
                  </a:cubicBezTo>
                  <a:cubicBezTo>
                    <a:pt x="1808" y="233"/>
                    <a:pt x="1800" y="231"/>
                    <a:pt x="1800" y="235"/>
                  </a:cubicBezTo>
                  <a:close/>
                  <a:moveTo>
                    <a:pt x="1812" y="314"/>
                  </a:moveTo>
                  <a:cubicBezTo>
                    <a:pt x="1808" y="312"/>
                    <a:pt x="1806" y="308"/>
                    <a:pt x="1810" y="305"/>
                  </a:cubicBezTo>
                  <a:cubicBezTo>
                    <a:pt x="1814" y="307"/>
                    <a:pt x="1816" y="311"/>
                    <a:pt x="1812" y="314"/>
                  </a:cubicBezTo>
                  <a:close/>
                  <a:moveTo>
                    <a:pt x="1811" y="258"/>
                  </a:moveTo>
                  <a:cubicBezTo>
                    <a:pt x="1811" y="256"/>
                    <a:pt x="1811" y="255"/>
                    <a:pt x="1811" y="253"/>
                  </a:cubicBezTo>
                  <a:cubicBezTo>
                    <a:pt x="1817" y="252"/>
                    <a:pt x="1817" y="257"/>
                    <a:pt x="1817" y="260"/>
                  </a:cubicBezTo>
                  <a:cubicBezTo>
                    <a:pt x="1815" y="260"/>
                    <a:pt x="1814" y="258"/>
                    <a:pt x="1811" y="258"/>
                  </a:cubicBezTo>
                  <a:close/>
                  <a:moveTo>
                    <a:pt x="1822" y="225"/>
                  </a:moveTo>
                  <a:cubicBezTo>
                    <a:pt x="1819" y="225"/>
                    <a:pt x="1816" y="225"/>
                    <a:pt x="1814" y="225"/>
                  </a:cubicBezTo>
                  <a:cubicBezTo>
                    <a:pt x="1816" y="218"/>
                    <a:pt x="1810" y="219"/>
                    <a:pt x="1811" y="213"/>
                  </a:cubicBezTo>
                  <a:cubicBezTo>
                    <a:pt x="1815" y="212"/>
                    <a:pt x="1823" y="218"/>
                    <a:pt x="1816" y="218"/>
                  </a:cubicBezTo>
                  <a:cubicBezTo>
                    <a:pt x="1818" y="220"/>
                    <a:pt x="1823" y="220"/>
                    <a:pt x="1822" y="225"/>
                  </a:cubicBezTo>
                  <a:close/>
                  <a:moveTo>
                    <a:pt x="1815" y="155"/>
                  </a:moveTo>
                  <a:cubicBezTo>
                    <a:pt x="1817" y="153"/>
                    <a:pt x="1818" y="151"/>
                    <a:pt x="1818" y="147"/>
                  </a:cubicBezTo>
                  <a:cubicBezTo>
                    <a:pt x="1821" y="148"/>
                    <a:pt x="1822" y="152"/>
                    <a:pt x="1826" y="152"/>
                  </a:cubicBezTo>
                  <a:cubicBezTo>
                    <a:pt x="1825" y="155"/>
                    <a:pt x="1819" y="154"/>
                    <a:pt x="1815" y="155"/>
                  </a:cubicBezTo>
                  <a:close/>
                  <a:moveTo>
                    <a:pt x="1829" y="147"/>
                  </a:moveTo>
                  <a:cubicBezTo>
                    <a:pt x="1832" y="148"/>
                    <a:pt x="1831" y="152"/>
                    <a:pt x="1834" y="152"/>
                  </a:cubicBezTo>
                  <a:cubicBezTo>
                    <a:pt x="1833" y="158"/>
                    <a:pt x="1826" y="152"/>
                    <a:pt x="1829" y="147"/>
                  </a:cubicBezTo>
                  <a:close/>
                  <a:moveTo>
                    <a:pt x="1830" y="229"/>
                  </a:moveTo>
                  <a:cubicBezTo>
                    <a:pt x="1826" y="225"/>
                    <a:pt x="1830" y="226"/>
                    <a:pt x="1830" y="220"/>
                  </a:cubicBezTo>
                  <a:cubicBezTo>
                    <a:pt x="1835" y="220"/>
                    <a:pt x="1837" y="224"/>
                    <a:pt x="1838" y="220"/>
                  </a:cubicBezTo>
                  <a:cubicBezTo>
                    <a:pt x="1843" y="220"/>
                    <a:pt x="1836" y="230"/>
                    <a:pt x="1830" y="229"/>
                  </a:cubicBezTo>
                  <a:close/>
                  <a:moveTo>
                    <a:pt x="1850" y="137"/>
                  </a:moveTo>
                  <a:cubicBezTo>
                    <a:pt x="1850" y="140"/>
                    <a:pt x="1845" y="139"/>
                    <a:pt x="1845" y="142"/>
                  </a:cubicBezTo>
                  <a:cubicBezTo>
                    <a:pt x="1842" y="142"/>
                    <a:pt x="1843" y="139"/>
                    <a:pt x="1842" y="138"/>
                  </a:cubicBezTo>
                  <a:cubicBezTo>
                    <a:pt x="1846" y="135"/>
                    <a:pt x="1847" y="137"/>
                    <a:pt x="1850" y="137"/>
                  </a:cubicBezTo>
                  <a:close/>
                  <a:moveTo>
                    <a:pt x="1845" y="154"/>
                  </a:moveTo>
                  <a:cubicBezTo>
                    <a:pt x="1844" y="154"/>
                    <a:pt x="1842" y="151"/>
                    <a:pt x="1843" y="149"/>
                  </a:cubicBezTo>
                  <a:cubicBezTo>
                    <a:pt x="1846" y="141"/>
                    <a:pt x="1848" y="154"/>
                    <a:pt x="1845" y="154"/>
                  </a:cubicBezTo>
                  <a:close/>
                  <a:moveTo>
                    <a:pt x="1841" y="227"/>
                  </a:moveTo>
                  <a:cubicBezTo>
                    <a:pt x="1840" y="223"/>
                    <a:pt x="1847" y="224"/>
                    <a:pt x="1849" y="222"/>
                  </a:cubicBezTo>
                  <a:cubicBezTo>
                    <a:pt x="1855" y="217"/>
                    <a:pt x="1850" y="226"/>
                    <a:pt x="1841" y="227"/>
                  </a:cubicBezTo>
                  <a:close/>
                  <a:moveTo>
                    <a:pt x="1855" y="220"/>
                  </a:moveTo>
                  <a:cubicBezTo>
                    <a:pt x="1864" y="221"/>
                    <a:pt x="1851" y="235"/>
                    <a:pt x="1858" y="234"/>
                  </a:cubicBezTo>
                  <a:cubicBezTo>
                    <a:pt x="1848" y="244"/>
                    <a:pt x="1856" y="220"/>
                    <a:pt x="1852" y="229"/>
                  </a:cubicBezTo>
                  <a:cubicBezTo>
                    <a:pt x="1844" y="227"/>
                    <a:pt x="1858" y="225"/>
                    <a:pt x="1855" y="220"/>
                  </a:cubicBezTo>
                  <a:close/>
                  <a:moveTo>
                    <a:pt x="1853" y="255"/>
                  </a:moveTo>
                  <a:cubicBezTo>
                    <a:pt x="1849" y="254"/>
                    <a:pt x="1850" y="249"/>
                    <a:pt x="1850" y="246"/>
                  </a:cubicBezTo>
                  <a:cubicBezTo>
                    <a:pt x="1856" y="246"/>
                    <a:pt x="1856" y="252"/>
                    <a:pt x="1853" y="255"/>
                  </a:cubicBezTo>
                  <a:close/>
                  <a:moveTo>
                    <a:pt x="1859" y="309"/>
                  </a:moveTo>
                  <a:cubicBezTo>
                    <a:pt x="1856" y="308"/>
                    <a:pt x="1857" y="304"/>
                    <a:pt x="1853" y="304"/>
                  </a:cubicBezTo>
                  <a:cubicBezTo>
                    <a:pt x="1854" y="302"/>
                    <a:pt x="1858" y="302"/>
                    <a:pt x="1862" y="302"/>
                  </a:cubicBezTo>
                  <a:cubicBezTo>
                    <a:pt x="1862" y="306"/>
                    <a:pt x="1859" y="306"/>
                    <a:pt x="1859" y="309"/>
                  </a:cubicBezTo>
                  <a:close/>
                  <a:moveTo>
                    <a:pt x="1848" y="154"/>
                  </a:moveTo>
                  <a:cubicBezTo>
                    <a:pt x="1849" y="150"/>
                    <a:pt x="1852" y="148"/>
                    <a:pt x="1853" y="144"/>
                  </a:cubicBezTo>
                  <a:cubicBezTo>
                    <a:pt x="1857" y="145"/>
                    <a:pt x="1860" y="149"/>
                    <a:pt x="1856" y="149"/>
                  </a:cubicBezTo>
                  <a:cubicBezTo>
                    <a:pt x="1856" y="151"/>
                    <a:pt x="1860" y="151"/>
                    <a:pt x="1862" y="151"/>
                  </a:cubicBezTo>
                  <a:cubicBezTo>
                    <a:pt x="1871" y="154"/>
                    <a:pt x="1852" y="154"/>
                    <a:pt x="1848" y="154"/>
                  </a:cubicBezTo>
                  <a:close/>
                  <a:moveTo>
                    <a:pt x="1928" y="178"/>
                  </a:moveTo>
                  <a:cubicBezTo>
                    <a:pt x="1929" y="177"/>
                    <a:pt x="1931" y="176"/>
                    <a:pt x="1931" y="174"/>
                  </a:cubicBezTo>
                  <a:cubicBezTo>
                    <a:pt x="1933" y="174"/>
                    <a:pt x="1934" y="174"/>
                    <a:pt x="1936" y="174"/>
                  </a:cubicBezTo>
                  <a:cubicBezTo>
                    <a:pt x="1938" y="179"/>
                    <a:pt x="1932" y="178"/>
                    <a:pt x="1928" y="178"/>
                  </a:cubicBezTo>
                  <a:close/>
                  <a:moveTo>
                    <a:pt x="1930" y="138"/>
                  </a:moveTo>
                  <a:cubicBezTo>
                    <a:pt x="1937" y="141"/>
                    <a:pt x="1932" y="154"/>
                    <a:pt x="1922" y="150"/>
                  </a:cubicBezTo>
                  <a:cubicBezTo>
                    <a:pt x="1919" y="142"/>
                    <a:pt x="1928" y="143"/>
                    <a:pt x="1930" y="138"/>
                  </a:cubicBezTo>
                  <a:close/>
                  <a:moveTo>
                    <a:pt x="1920" y="193"/>
                  </a:moveTo>
                  <a:cubicBezTo>
                    <a:pt x="1929" y="190"/>
                    <a:pt x="1922" y="200"/>
                    <a:pt x="1931" y="197"/>
                  </a:cubicBezTo>
                  <a:cubicBezTo>
                    <a:pt x="1930" y="202"/>
                    <a:pt x="1918" y="198"/>
                    <a:pt x="1920" y="193"/>
                  </a:cubicBezTo>
                  <a:close/>
                  <a:moveTo>
                    <a:pt x="1892" y="144"/>
                  </a:moveTo>
                  <a:cubicBezTo>
                    <a:pt x="1896" y="145"/>
                    <a:pt x="1894" y="147"/>
                    <a:pt x="1892" y="149"/>
                  </a:cubicBezTo>
                  <a:cubicBezTo>
                    <a:pt x="1887" y="152"/>
                    <a:pt x="1885" y="151"/>
                    <a:pt x="1892" y="144"/>
                  </a:cubicBezTo>
                  <a:close/>
                  <a:moveTo>
                    <a:pt x="1875" y="123"/>
                  </a:moveTo>
                  <a:cubicBezTo>
                    <a:pt x="1878" y="124"/>
                    <a:pt x="1877" y="128"/>
                    <a:pt x="1881" y="128"/>
                  </a:cubicBezTo>
                  <a:cubicBezTo>
                    <a:pt x="1880" y="130"/>
                    <a:pt x="1877" y="129"/>
                    <a:pt x="1875" y="130"/>
                  </a:cubicBezTo>
                  <a:cubicBezTo>
                    <a:pt x="1872" y="127"/>
                    <a:pt x="1874" y="126"/>
                    <a:pt x="1875" y="123"/>
                  </a:cubicBezTo>
                  <a:close/>
                  <a:moveTo>
                    <a:pt x="1867" y="147"/>
                  </a:moveTo>
                  <a:cubicBezTo>
                    <a:pt x="1869" y="138"/>
                    <a:pt x="1883" y="151"/>
                    <a:pt x="1883" y="144"/>
                  </a:cubicBezTo>
                  <a:cubicBezTo>
                    <a:pt x="1880" y="141"/>
                    <a:pt x="1883" y="143"/>
                    <a:pt x="1886" y="144"/>
                  </a:cubicBezTo>
                  <a:cubicBezTo>
                    <a:pt x="1882" y="147"/>
                    <a:pt x="1883" y="155"/>
                    <a:pt x="1873" y="154"/>
                  </a:cubicBezTo>
                  <a:cubicBezTo>
                    <a:pt x="1874" y="149"/>
                    <a:pt x="1872" y="146"/>
                    <a:pt x="1867" y="147"/>
                  </a:cubicBezTo>
                  <a:close/>
                  <a:moveTo>
                    <a:pt x="1877" y="229"/>
                  </a:moveTo>
                  <a:cubicBezTo>
                    <a:pt x="1878" y="231"/>
                    <a:pt x="1880" y="232"/>
                    <a:pt x="1880" y="236"/>
                  </a:cubicBezTo>
                  <a:cubicBezTo>
                    <a:pt x="1877" y="236"/>
                    <a:pt x="1874" y="236"/>
                    <a:pt x="1871" y="236"/>
                  </a:cubicBezTo>
                  <a:cubicBezTo>
                    <a:pt x="1874" y="234"/>
                    <a:pt x="1874" y="230"/>
                    <a:pt x="1874" y="226"/>
                  </a:cubicBezTo>
                  <a:cubicBezTo>
                    <a:pt x="1877" y="226"/>
                    <a:pt x="1879" y="226"/>
                    <a:pt x="1882" y="226"/>
                  </a:cubicBezTo>
                  <a:cubicBezTo>
                    <a:pt x="1887" y="228"/>
                    <a:pt x="1881" y="229"/>
                    <a:pt x="1877" y="229"/>
                  </a:cubicBezTo>
                  <a:close/>
                  <a:moveTo>
                    <a:pt x="1884" y="182"/>
                  </a:moveTo>
                  <a:cubicBezTo>
                    <a:pt x="1881" y="170"/>
                    <a:pt x="1883" y="167"/>
                    <a:pt x="1881" y="156"/>
                  </a:cubicBezTo>
                  <a:cubicBezTo>
                    <a:pt x="1884" y="155"/>
                    <a:pt x="1886" y="156"/>
                    <a:pt x="1886" y="158"/>
                  </a:cubicBezTo>
                  <a:cubicBezTo>
                    <a:pt x="1887" y="161"/>
                    <a:pt x="1892" y="160"/>
                    <a:pt x="1892" y="163"/>
                  </a:cubicBezTo>
                  <a:cubicBezTo>
                    <a:pt x="1894" y="168"/>
                    <a:pt x="1887" y="166"/>
                    <a:pt x="1887" y="170"/>
                  </a:cubicBezTo>
                  <a:cubicBezTo>
                    <a:pt x="1886" y="174"/>
                    <a:pt x="1889" y="174"/>
                    <a:pt x="1892" y="174"/>
                  </a:cubicBezTo>
                  <a:cubicBezTo>
                    <a:pt x="1892" y="178"/>
                    <a:pt x="1881" y="179"/>
                    <a:pt x="1892" y="179"/>
                  </a:cubicBezTo>
                  <a:cubicBezTo>
                    <a:pt x="1893" y="181"/>
                    <a:pt x="1891" y="181"/>
                    <a:pt x="1890" y="181"/>
                  </a:cubicBezTo>
                  <a:cubicBezTo>
                    <a:pt x="1888" y="181"/>
                    <a:pt x="1886" y="181"/>
                    <a:pt x="1884" y="182"/>
                  </a:cubicBezTo>
                  <a:close/>
                  <a:moveTo>
                    <a:pt x="1888" y="238"/>
                  </a:moveTo>
                  <a:cubicBezTo>
                    <a:pt x="1888" y="236"/>
                    <a:pt x="1888" y="235"/>
                    <a:pt x="1888" y="233"/>
                  </a:cubicBezTo>
                  <a:cubicBezTo>
                    <a:pt x="1890" y="233"/>
                    <a:pt x="1892" y="233"/>
                    <a:pt x="1893" y="233"/>
                  </a:cubicBezTo>
                  <a:cubicBezTo>
                    <a:pt x="1893" y="235"/>
                    <a:pt x="1893" y="236"/>
                    <a:pt x="1893" y="238"/>
                  </a:cubicBezTo>
                  <a:cubicBezTo>
                    <a:pt x="1892" y="238"/>
                    <a:pt x="1890" y="238"/>
                    <a:pt x="1888" y="238"/>
                  </a:cubicBezTo>
                  <a:close/>
                  <a:moveTo>
                    <a:pt x="1888" y="228"/>
                  </a:moveTo>
                  <a:cubicBezTo>
                    <a:pt x="1889" y="225"/>
                    <a:pt x="1894" y="224"/>
                    <a:pt x="1899" y="224"/>
                  </a:cubicBezTo>
                  <a:cubicBezTo>
                    <a:pt x="1901" y="231"/>
                    <a:pt x="1893" y="228"/>
                    <a:pt x="1888" y="228"/>
                  </a:cubicBezTo>
                  <a:close/>
                  <a:moveTo>
                    <a:pt x="1900" y="151"/>
                  </a:moveTo>
                  <a:cubicBezTo>
                    <a:pt x="1896" y="152"/>
                    <a:pt x="1898" y="157"/>
                    <a:pt x="1897" y="160"/>
                  </a:cubicBezTo>
                  <a:cubicBezTo>
                    <a:pt x="1890" y="154"/>
                    <a:pt x="1894" y="148"/>
                    <a:pt x="1900" y="144"/>
                  </a:cubicBezTo>
                  <a:cubicBezTo>
                    <a:pt x="1905" y="143"/>
                    <a:pt x="1905" y="145"/>
                    <a:pt x="1906" y="148"/>
                  </a:cubicBezTo>
                  <a:cubicBezTo>
                    <a:pt x="1910" y="146"/>
                    <a:pt x="1911" y="141"/>
                    <a:pt x="1919" y="141"/>
                  </a:cubicBezTo>
                  <a:cubicBezTo>
                    <a:pt x="1921" y="148"/>
                    <a:pt x="1912" y="147"/>
                    <a:pt x="1911" y="153"/>
                  </a:cubicBezTo>
                  <a:cubicBezTo>
                    <a:pt x="1914" y="155"/>
                    <a:pt x="1912" y="162"/>
                    <a:pt x="1919" y="160"/>
                  </a:cubicBezTo>
                  <a:cubicBezTo>
                    <a:pt x="1919" y="168"/>
                    <a:pt x="1910" y="155"/>
                    <a:pt x="1911" y="162"/>
                  </a:cubicBezTo>
                  <a:cubicBezTo>
                    <a:pt x="1900" y="162"/>
                    <a:pt x="1915" y="150"/>
                    <a:pt x="1900" y="151"/>
                  </a:cubicBezTo>
                  <a:close/>
                  <a:moveTo>
                    <a:pt x="1908" y="310"/>
                  </a:moveTo>
                  <a:cubicBezTo>
                    <a:pt x="1909" y="307"/>
                    <a:pt x="1913" y="307"/>
                    <a:pt x="1914" y="303"/>
                  </a:cubicBezTo>
                  <a:cubicBezTo>
                    <a:pt x="1921" y="304"/>
                    <a:pt x="1914" y="312"/>
                    <a:pt x="1908" y="310"/>
                  </a:cubicBezTo>
                  <a:close/>
                  <a:moveTo>
                    <a:pt x="1915" y="235"/>
                  </a:moveTo>
                  <a:cubicBezTo>
                    <a:pt x="1917" y="233"/>
                    <a:pt x="1920" y="231"/>
                    <a:pt x="1923" y="230"/>
                  </a:cubicBezTo>
                  <a:cubicBezTo>
                    <a:pt x="1923" y="227"/>
                    <a:pt x="1917" y="228"/>
                    <a:pt x="1912" y="228"/>
                  </a:cubicBezTo>
                  <a:cubicBezTo>
                    <a:pt x="1919" y="222"/>
                    <a:pt x="1906" y="222"/>
                    <a:pt x="1909" y="212"/>
                  </a:cubicBezTo>
                  <a:cubicBezTo>
                    <a:pt x="1918" y="212"/>
                    <a:pt x="1913" y="223"/>
                    <a:pt x="1918" y="226"/>
                  </a:cubicBezTo>
                  <a:cubicBezTo>
                    <a:pt x="1923" y="224"/>
                    <a:pt x="1923" y="218"/>
                    <a:pt x="1929" y="223"/>
                  </a:cubicBezTo>
                  <a:cubicBezTo>
                    <a:pt x="1928" y="232"/>
                    <a:pt x="1922" y="232"/>
                    <a:pt x="1926" y="240"/>
                  </a:cubicBezTo>
                  <a:cubicBezTo>
                    <a:pt x="1922" y="239"/>
                    <a:pt x="1924" y="232"/>
                    <a:pt x="1915" y="235"/>
                  </a:cubicBezTo>
                  <a:close/>
                  <a:moveTo>
                    <a:pt x="1930" y="287"/>
                  </a:moveTo>
                  <a:cubicBezTo>
                    <a:pt x="1923" y="294"/>
                    <a:pt x="1917" y="280"/>
                    <a:pt x="1930" y="287"/>
                  </a:cubicBezTo>
                  <a:close/>
                  <a:moveTo>
                    <a:pt x="1918" y="219"/>
                  </a:moveTo>
                  <a:cubicBezTo>
                    <a:pt x="1915" y="212"/>
                    <a:pt x="1924" y="214"/>
                    <a:pt x="1929" y="214"/>
                  </a:cubicBezTo>
                  <a:cubicBezTo>
                    <a:pt x="1929" y="210"/>
                    <a:pt x="1926" y="208"/>
                    <a:pt x="1923" y="207"/>
                  </a:cubicBezTo>
                  <a:cubicBezTo>
                    <a:pt x="1923" y="204"/>
                    <a:pt x="1928" y="205"/>
                    <a:pt x="1931" y="204"/>
                  </a:cubicBezTo>
                  <a:cubicBezTo>
                    <a:pt x="1930" y="209"/>
                    <a:pt x="1933" y="210"/>
                    <a:pt x="1934" y="214"/>
                  </a:cubicBezTo>
                  <a:cubicBezTo>
                    <a:pt x="1936" y="216"/>
                    <a:pt x="1940" y="216"/>
                    <a:pt x="1940" y="221"/>
                  </a:cubicBezTo>
                  <a:cubicBezTo>
                    <a:pt x="1936" y="217"/>
                    <a:pt x="1926" y="219"/>
                    <a:pt x="1918" y="219"/>
                  </a:cubicBezTo>
                  <a:close/>
                  <a:moveTo>
                    <a:pt x="1943" y="258"/>
                  </a:moveTo>
                  <a:cubicBezTo>
                    <a:pt x="1938" y="258"/>
                    <a:pt x="1937" y="254"/>
                    <a:pt x="1937" y="249"/>
                  </a:cubicBezTo>
                  <a:cubicBezTo>
                    <a:pt x="1946" y="246"/>
                    <a:pt x="1942" y="254"/>
                    <a:pt x="1943" y="258"/>
                  </a:cubicBezTo>
                  <a:close/>
                  <a:moveTo>
                    <a:pt x="1945" y="216"/>
                  </a:moveTo>
                  <a:cubicBezTo>
                    <a:pt x="1947" y="214"/>
                    <a:pt x="1948" y="212"/>
                    <a:pt x="1948" y="209"/>
                  </a:cubicBezTo>
                  <a:cubicBezTo>
                    <a:pt x="1951" y="209"/>
                    <a:pt x="1950" y="213"/>
                    <a:pt x="1953" y="213"/>
                  </a:cubicBezTo>
                  <a:cubicBezTo>
                    <a:pt x="1954" y="215"/>
                    <a:pt x="1952" y="215"/>
                    <a:pt x="1951" y="216"/>
                  </a:cubicBezTo>
                  <a:cubicBezTo>
                    <a:pt x="1949" y="216"/>
                    <a:pt x="1947" y="216"/>
                    <a:pt x="1945" y="216"/>
                  </a:cubicBezTo>
                  <a:close/>
                  <a:moveTo>
                    <a:pt x="1948" y="225"/>
                  </a:moveTo>
                  <a:cubicBezTo>
                    <a:pt x="1948" y="224"/>
                    <a:pt x="1948" y="222"/>
                    <a:pt x="1948" y="220"/>
                  </a:cubicBezTo>
                  <a:cubicBezTo>
                    <a:pt x="1953" y="220"/>
                    <a:pt x="1957" y="221"/>
                    <a:pt x="1956" y="225"/>
                  </a:cubicBezTo>
                  <a:cubicBezTo>
                    <a:pt x="1954" y="225"/>
                    <a:pt x="1951" y="225"/>
                    <a:pt x="1948" y="225"/>
                  </a:cubicBezTo>
                  <a:close/>
                  <a:moveTo>
                    <a:pt x="2054" y="169"/>
                  </a:moveTo>
                  <a:cubicBezTo>
                    <a:pt x="2050" y="171"/>
                    <a:pt x="2055" y="181"/>
                    <a:pt x="2046" y="179"/>
                  </a:cubicBezTo>
                  <a:cubicBezTo>
                    <a:pt x="2045" y="173"/>
                    <a:pt x="2047" y="169"/>
                    <a:pt x="2054" y="169"/>
                  </a:cubicBezTo>
                  <a:close/>
                  <a:moveTo>
                    <a:pt x="1985" y="145"/>
                  </a:moveTo>
                  <a:cubicBezTo>
                    <a:pt x="1984" y="151"/>
                    <a:pt x="1981" y="141"/>
                    <a:pt x="1977" y="142"/>
                  </a:cubicBezTo>
                  <a:cubicBezTo>
                    <a:pt x="1979" y="135"/>
                    <a:pt x="1982" y="145"/>
                    <a:pt x="1985" y="145"/>
                  </a:cubicBezTo>
                  <a:close/>
                  <a:moveTo>
                    <a:pt x="1985" y="274"/>
                  </a:moveTo>
                  <a:cubicBezTo>
                    <a:pt x="1984" y="278"/>
                    <a:pt x="1981" y="272"/>
                    <a:pt x="1982" y="269"/>
                  </a:cubicBezTo>
                  <a:cubicBezTo>
                    <a:pt x="1983" y="265"/>
                    <a:pt x="1985" y="271"/>
                    <a:pt x="1985" y="274"/>
                  </a:cubicBezTo>
                  <a:close/>
                  <a:moveTo>
                    <a:pt x="1979" y="255"/>
                  </a:moveTo>
                  <a:cubicBezTo>
                    <a:pt x="1978" y="250"/>
                    <a:pt x="1981" y="248"/>
                    <a:pt x="1987" y="248"/>
                  </a:cubicBezTo>
                  <a:cubicBezTo>
                    <a:pt x="1984" y="250"/>
                    <a:pt x="1986" y="257"/>
                    <a:pt x="1979" y="255"/>
                  </a:cubicBezTo>
                  <a:close/>
                  <a:moveTo>
                    <a:pt x="1998" y="252"/>
                  </a:moveTo>
                  <a:cubicBezTo>
                    <a:pt x="1993" y="260"/>
                    <a:pt x="1990" y="247"/>
                    <a:pt x="1990" y="243"/>
                  </a:cubicBezTo>
                  <a:cubicBezTo>
                    <a:pt x="1993" y="243"/>
                    <a:pt x="1991" y="241"/>
                    <a:pt x="1989" y="241"/>
                  </a:cubicBezTo>
                  <a:cubicBezTo>
                    <a:pt x="1989" y="239"/>
                    <a:pt x="1991" y="239"/>
                    <a:pt x="1992" y="238"/>
                  </a:cubicBezTo>
                  <a:cubicBezTo>
                    <a:pt x="1994" y="238"/>
                    <a:pt x="1996" y="238"/>
                    <a:pt x="1998" y="238"/>
                  </a:cubicBezTo>
                  <a:cubicBezTo>
                    <a:pt x="2001" y="245"/>
                    <a:pt x="1993" y="252"/>
                    <a:pt x="1998" y="252"/>
                  </a:cubicBezTo>
                  <a:close/>
                  <a:moveTo>
                    <a:pt x="1999" y="285"/>
                  </a:moveTo>
                  <a:cubicBezTo>
                    <a:pt x="2002" y="279"/>
                    <a:pt x="2005" y="276"/>
                    <a:pt x="2001" y="269"/>
                  </a:cubicBezTo>
                  <a:cubicBezTo>
                    <a:pt x="2009" y="268"/>
                    <a:pt x="2004" y="278"/>
                    <a:pt x="2009" y="278"/>
                  </a:cubicBezTo>
                  <a:cubicBezTo>
                    <a:pt x="2009" y="281"/>
                    <a:pt x="2007" y="279"/>
                    <a:pt x="2007" y="278"/>
                  </a:cubicBezTo>
                  <a:cubicBezTo>
                    <a:pt x="2000" y="277"/>
                    <a:pt x="2008" y="289"/>
                    <a:pt x="1999" y="285"/>
                  </a:cubicBezTo>
                  <a:close/>
                  <a:moveTo>
                    <a:pt x="2001" y="297"/>
                  </a:moveTo>
                  <a:cubicBezTo>
                    <a:pt x="2005" y="293"/>
                    <a:pt x="2007" y="288"/>
                    <a:pt x="2015" y="287"/>
                  </a:cubicBezTo>
                  <a:cubicBezTo>
                    <a:pt x="2012" y="291"/>
                    <a:pt x="2009" y="297"/>
                    <a:pt x="2001" y="297"/>
                  </a:cubicBezTo>
                  <a:close/>
                  <a:moveTo>
                    <a:pt x="2017" y="266"/>
                  </a:moveTo>
                  <a:cubicBezTo>
                    <a:pt x="2018" y="261"/>
                    <a:pt x="2025" y="261"/>
                    <a:pt x="2028" y="264"/>
                  </a:cubicBezTo>
                  <a:cubicBezTo>
                    <a:pt x="2028" y="267"/>
                    <a:pt x="2021" y="266"/>
                    <a:pt x="2017" y="266"/>
                  </a:cubicBezTo>
                  <a:close/>
                  <a:moveTo>
                    <a:pt x="2042" y="254"/>
                  </a:moveTo>
                  <a:cubicBezTo>
                    <a:pt x="2042" y="252"/>
                    <a:pt x="2042" y="251"/>
                    <a:pt x="2042" y="249"/>
                  </a:cubicBezTo>
                  <a:cubicBezTo>
                    <a:pt x="2044" y="249"/>
                    <a:pt x="2045" y="249"/>
                    <a:pt x="2047" y="249"/>
                  </a:cubicBezTo>
                  <a:cubicBezTo>
                    <a:pt x="2047" y="251"/>
                    <a:pt x="2047" y="252"/>
                    <a:pt x="2047" y="254"/>
                  </a:cubicBezTo>
                  <a:cubicBezTo>
                    <a:pt x="2046" y="254"/>
                    <a:pt x="2044" y="254"/>
                    <a:pt x="2042" y="254"/>
                  </a:cubicBezTo>
                  <a:close/>
                  <a:moveTo>
                    <a:pt x="2044" y="221"/>
                  </a:moveTo>
                  <a:cubicBezTo>
                    <a:pt x="2044" y="219"/>
                    <a:pt x="2044" y="216"/>
                    <a:pt x="2044" y="214"/>
                  </a:cubicBezTo>
                  <a:cubicBezTo>
                    <a:pt x="2038" y="213"/>
                    <a:pt x="2039" y="217"/>
                    <a:pt x="2039" y="221"/>
                  </a:cubicBezTo>
                  <a:cubicBezTo>
                    <a:pt x="2034" y="222"/>
                    <a:pt x="2025" y="219"/>
                    <a:pt x="2028" y="226"/>
                  </a:cubicBezTo>
                  <a:cubicBezTo>
                    <a:pt x="2018" y="222"/>
                    <a:pt x="2031" y="219"/>
                    <a:pt x="2033" y="217"/>
                  </a:cubicBezTo>
                  <a:cubicBezTo>
                    <a:pt x="2032" y="211"/>
                    <a:pt x="2021" y="216"/>
                    <a:pt x="2016" y="214"/>
                  </a:cubicBezTo>
                  <a:cubicBezTo>
                    <a:pt x="2013" y="222"/>
                    <a:pt x="2025" y="216"/>
                    <a:pt x="2022" y="224"/>
                  </a:cubicBezTo>
                  <a:cubicBezTo>
                    <a:pt x="2018" y="224"/>
                    <a:pt x="2014" y="224"/>
                    <a:pt x="2014" y="226"/>
                  </a:cubicBezTo>
                  <a:cubicBezTo>
                    <a:pt x="2011" y="226"/>
                    <a:pt x="2012" y="222"/>
                    <a:pt x="2008" y="222"/>
                  </a:cubicBezTo>
                  <a:cubicBezTo>
                    <a:pt x="2001" y="221"/>
                    <a:pt x="2016" y="231"/>
                    <a:pt x="2003" y="229"/>
                  </a:cubicBezTo>
                  <a:cubicBezTo>
                    <a:pt x="2001" y="236"/>
                    <a:pt x="2007" y="235"/>
                    <a:pt x="2006" y="241"/>
                  </a:cubicBezTo>
                  <a:cubicBezTo>
                    <a:pt x="1999" y="239"/>
                    <a:pt x="1997" y="231"/>
                    <a:pt x="2000" y="227"/>
                  </a:cubicBezTo>
                  <a:cubicBezTo>
                    <a:pt x="2001" y="226"/>
                    <a:pt x="2006" y="227"/>
                    <a:pt x="2006" y="226"/>
                  </a:cubicBezTo>
                  <a:cubicBezTo>
                    <a:pt x="2006" y="224"/>
                    <a:pt x="1999" y="222"/>
                    <a:pt x="2006" y="217"/>
                  </a:cubicBezTo>
                  <a:cubicBezTo>
                    <a:pt x="2005" y="214"/>
                    <a:pt x="1999" y="215"/>
                    <a:pt x="1994" y="215"/>
                  </a:cubicBezTo>
                  <a:cubicBezTo>
                    <a:pt x="1987" y="217"/>
                    <a:pt x="1992" y="218"/>
                    <a:pt x="1992" y="224"/>
                  </a:cubicBezTo>
                  <a:cubicBezTo>
                    <a:pt x="1983" y="227"/>
                    <a:pt x="1988" y="217"/>
                    <a:pt x="1984" y="215"/>
                  </a:cubicBezTo>
                  <a:cubicBezTo>
                    <a:pt x="1976" y="215"/>
                    <a:pt x="1980" y="222"/>
                    <a:pt x="1978" y="225"/>
                  </a:cubicBezTo>
                  <a:cubicBezTo>
                    <a:pt x="1978" y="225"/>
                    <a:pt x="1973" y="224"/>
                    <a:pt x="1973" y="225"/>
                  </a:cubicBezTo>
                  <a:cubicBezTo>
                    <a:pt x="1971" y="226"/>
                    <a:pt x="1974" y="230"/>
                    <a:pt x="1973" y="232"/>
                  </a:cubicBezTo>
                  <a:cubicBezTo>
                    <a:pt x="1967" y="230"/>
                    <a:pt x="1967" y="228"/>
                    <a:pt x="1970" y="225"/>
                  </a:cubicBezTo>
                  <a:cubicBezTo>
                    <a:pt x="1965" y="224"/>
                    <a:pt x="1965" y="227"/>
                    <a:pt x="1965" y="230"/>
                  </a:cubicBezTo>
                  <a:cubicBezTo>
                    <a:pt x="1961" y="229"/>
                    <a:pt x="1962" y="224"/>
                    <a:pt x="1962" y="220"/>
                  </a:cubicBezTo>
                  <a:cubicBezTo>
                    <a:pt x="1966" y="220"/>
                    <a:pt x="1971" y="220"/>
                    <a:pt x="1975" y="220"/>
                  </a:cubicBezTo>
                  <a:cubicBezTo>
                    <a:pt x="1976" y="214"/>
                    <a:pt x="1960" y="222"/>
                    <a:pt x="1964" y="213"/>
                  </a:cubicBezTo>
                  <a:cubicBezTo>
                    <a:pt x="1974" y="212"/>
                    <a:pt x="1988" y="216"/>
                    <a:pt x="1986" y="206"/>
                  </a:cubicBezTo>
                  <a:cubicBezTo>
                    <a:pt x="1992" y="205"/>
                    <a:pt x="1995" y="207"/>
                    <a:pt x="1994" y="213"/>
                  </a:cubicBezTo>
                  <a:cubicBezTo>
                    <a:pt x="2004" y="211"/>
                    <a:pt x="2003" y="210"/>
                    <a:pt x="2011" y="212"/>
                  </a:cubicBezTo>
                  <a:cubicBezTo>
                    <a:pt x="2015" y="211"/>
                    <a:pt x="2010" y="209"/>
                    <a:pt x="2011" y="205"/>
                  </a:cubicBezTo>
                  <a:cubicBezTo>
                    <a:pt x="2018" y="204"/>
                    <a:pt x="2021" y="206"/>
                    <a:pt x="2019" y="212"/>
                  </a:cubicBezTo>
                  <a:cubicBezTo>
                    <a:pt x="2024" y="212"/>
                    <a:pt x="2026" y="210"/>
                    <a:pt x="2027" y="207"/>
                  </a:cubicBezTo>
                  <a:cubicBezTo>
                    <a:pt x="2031" y="208"/>
                    <a:pt x="2032" y="211"/>
                    <a:pt x="2036" y="212"/>
                  </a:cubicBezTo>
                  <a:cubicBezTo>
                    <a:pt x="2039" y="212"/>
                    <a:pt x="2037" y="210"/>
                    <a:pt x="2038" y="209"/>
                  </a:cubicBezTo>
                  <a:cubicBezTo>
                    <a:pt x="2041" y="209"/>
                    <a:pt x="2045" y="214"/>
                    <a:pt x="2047" y="207"/>
                  </a:cubicBezTo>
                  <a:cubicBezTo>
                    <a:pt x="2051" y="208"/>
                    <a:pt x="2049" y="214"/>
                    <a:pt x="2058" y="211"/>
                  </a:cubicBezTo>
                  <a:cubicBezTo>
                    <a:pt x="2066" y="214"/>
                    <a:pt x="2050" y="214"/>
                    <a:pt x="2047" y="214"/>
                  </a:cubicBezTo>
                  <a:cubicBezTo>
                    <a:pt x="2047" y="220"/>
                    <a:pt x="2057" y="218"/>
                    <a:pt x="2060" y="221"/>
                  </a:cubicBezTo>
                  <a:cubicBezTo>
                    <a:pt x="2057" y="225"/>
                    <a:pt x="2054" y="221"/>
                    <a:pt x="2044" y="221"/>
                  </a:cubicBezTo>
                  <a:close/>
                  <a:moveTo>
                    <a:pt x="2063" y="221"/>
                  </a:moveTo>
                  <a:cubicBezTo>
                    <a:pt x="2063" y="218"/>
                    <a:pt x="2067" y="219"/>
                    <a:pt x="2069" y="218"/>
                  </a:cubicBezTo>
                  <a:cubicBezTo>
                    <a:pt x="2069" y="214"/>
                    <a:pt x="2069" y="210"/>
                    <a:pt x="2068" y="207"/>
                  </a:cubicBezTo>
                  <a:cubicBezTo>
                    <a:pt x="2080" y="203"/>
                    <a:pt x="2069" y="219"/>
                    <a:pt x="2077" y="218"/>
                  </a:cubicBezTo>
                  <a:cubicBezTo>
                    <a:pt x="2077" y="223"/>
                    <a:pt x="2067" y="219"/>
                    <a:pt x="2063" y="221"/>
                  </a:cubicBezTo>
                  <a:close/>
                  <a:moveTo>
                    <a:pt x="2074" y="239"/>
                  </a:moveTo>
                  <a:cubicBezTo>
                    <a:pt x="2073" y="239"/>
                    <a:pt x="2071" y="239"/>
                    <a:pt x="2069" y="239"/>
                  </a:cubicBezTo>
                  <a:cubicBezTo>
                    <a:pt x="2069" y="237"/>
                    <a:pt x="2069" y="235"/>
                    <a:pt x="2069" y="232"/>
                  </a:cubicBezTo>
                  <a:cubicBezTo>
                    <a:pt x="2073" y="232"/>
                    <a:pt x="2074" y="235"/>
                    <a:pt x="2077" y="235"/>
                  </a:cubicBezTo>
                  <a:cubicBezTo>
                    <a:pt x="2077" y="237"/>
                    <a:pt x="2074" y="237"/>
                    <a:pt x="2074" y="239"/>
                  </a:cubicBezTo>
                  <a:close/>
                  <a:moveTo>
                    <a:pt x="2200" y="66"/>
                  </a:moveTo>
                  <a:cubicBezTo>
                    <a:pt x="2203" y="68"/>
                    <a:pt x="2211" y="66"/>
                    <a:pt x="2209" y="72"/>
                  </a:cubicBezTo>
                  <a:cubicBezTo>
                    <a:pt x="2206" y="70"/>
                    <a:pt x="2199" y="72"/>
                    <a:pt x="2200" y="66"/>
                  </a:cubicBezTo>
                  <a:close/>
                  <a:moveTo>
                    <a:pt x="2184" y="71"/>
                  </a:moveTo>
                  <a:cubicBezTo>
                    <a:pt x="2184" y="72"/>
                    <a:pt x="2184" y="74"/>
                    <a:pt x="2184" y="75"/>
                  </a:cubicBezTo>
                  <a:cubicBezTo>
                    <a:pt x="2182" y="75"/>
                    <a:pt x="2180" y="75"/>
                    <a:pt x="2179" y="75"/>
                  </a:cubicBezTo>
                  <a:cubicBezTo>
                    <a:pt x="2179" y="74"/>
                    <a:pt x="2179" y="72"/>
                    <a:pt x="2179" y="71"/>
                  </a:cubicBezTo>
                  <a:cubicBezTo>
                    <a:pt x="2180" y="71"/>
                    <a:pt x="2182" y="71"/>
                    <a:pt x="2184" y="71"/>
                  </a:cubicBezTo>
                  <a:close/>
                  <a:moveTo>
                    <a:pt x="2180" y="132"/>
                  </a:moveTo>
                  <a:cubicBezTo>
                    <a:pt x="2179" y="136"/>
                    <a:pt x="2175" y="141"/>
                    <a:pt x="2174" y="144"/>
                  </a:cubicBezTo>
                  <a:cubicBezTo>
                    <a:pt x="2172" y="142"/>
                    <a:pt x="2170" y="141"/>
                    <a:pt x="2166" y="141"/>
                  </a:cubicBezTo>
                  <a:cubicBezTo>
                    <a:pt x="2162" y="135"/>
                    <a:pt x="2171" y="136"/>
                    <a:pt x="2171" y="132"/>
                  </a:cubicBezTo>
                  <a:cubicBezTo>
                    <a:pt x="2172" y="129"/>
                    <a:pt x="2177" y="130"/>
                    <a:pt x="2180" y="129"/>
                  </a:cubicBezTo>
                  <a:cubicBezTo>
                    <a:pt x="2180" y="127"/>
                    <a:pt x="2178" y="127"/>
                    <a:pt x="2177" y="127"/>
                  </a:cubicBezTo>
                  <a:cubicBezTo>
                    <a:pt x="2185" y="120"/>
                    <a:pt x="2181" y="128"/>
                    <a:pt x="2180" y="132"/>
                  </a:cubicBezTo>
                  <a:close/>
                  <a:moveTo>
                    <a:pt x="2183" y="174"/>
                  </a:moveTo>
                  <a:cubicBezTo>
                    <a:pt x="2180" y="173"/>
                    <a:pt x="2179" y="170"/>
                    <a:pt x="2175" y="169"/>
                  </a:cubicBezTo>
                  <a:cubicBezTo>
                    <a:pt x="2175" y="167"/>
                    <a:pt x="2178" y="168"/>
                    <a:pt x="2178" y="169"/>
                  </a:cubicBezTo>
                  <a:cubicBezTo>
                    <a:pt x="2180" y="169"/>
                    <a:pt x="2180" y="166"/>
                    <a:pt x="2180" y="165"/>
                  </a:cubicBezTo>
                  <a:cubicBezTo>
                    <a:pt x="2184" y="165"/>
                    <a:pt x="2183" y="170"/>
                    <a:pt x="2183" y="174"/>
                  </a:cubicBezTo>
                  <a:close/>
                  <a:moveTo>
                    <a:pt x="2177" y="120"/>
                  </a:moveTo>
                  <a:cubicBezTo>
                    <a:pt x="2176" y="125"/>
                    <a:pt x="2164" y="121"/>
                    <a:pt x="2166" y="116"/>
                  </a:cubicBezTo>
                  <a:cubicBezTo>
                    <a:pt x="2173" y="114"/>
                    <a:pt x="2171" y="120"/>
                    <a:pt x="2177" y="120"/>
                  </a:cubicBezTo>
                  <a:close/>
                  <a:moveTo>
                    <a:pt x="2166" y="108"/>
                  </a:moveTo>
                  <a:cubicBezTo>
                    <a:pt x="2166" y="108"/>
                    <a:pt x="2168" y="109"/>
                    <a:pt x="2168" y="108"/>
                  </a:cubicBezTo>
                  <a:cubicBezTo>
                    <a:pt x="2169" y="108"/>
                    <a:pt x="2169" y="102"/>
                    <a:pt x="2171" y="104"/>
                  </a:cubicBezTo>
                  <a:cubicBezTo>
                    <a:pt x="2179" y="111"/>
                    <a:pt x="2155" y="110"/>
                    <a:pt x="2166" y="108"/>
                  </a:cubicBezTo>
                  <a:close/>
                  <a:moveTo>
                    <a:pt x="2177" y="146"/>
                  </a:moveTo>
                  <a:cubicBezTo>
                    <a:pt x="2172" y="149"/>
                    <a:pt x="2177" y="160"/>
                    <a:pt x="2169" y="160"/>
                  </a:cubicBezTo>
                  <a:cubicBezTo>
                    <a:pt x="2171" y="162"/>
                    <a:pt x="2172" y="164"/>
                    <a:pt x="2172" y="167"/>
                  </a:cubicBezTo>
                  <a:cubicBezTo>
                    <a:pt x="2164" y="171"/>
                    <a:pt x="2163" y="152"/>
                    <a:pt x="2172" y="155"/>
                  </a:cubicBezTo>
                  <a:cubicBezTo>
                    <a:pt x="2171" y="151"/>
                    <a:pt x="2167" y="150"/>
                    <a:pt x="2161" y="151"/>
                  </a:cubicBezTo>
                  <a:cubicBezTo>
                    <a:pt x="2164" y="147"/>
                    <a:pt x="2170" y="146"/>
                    <a:pt x="2177" y="146"/>
                  </a:cubicBezTo>
                  <a:close/>
                  <a:moveTo>
                    <a:pt x="2164" y="205"/>
                  </a:moveTo>
                  <a:cubicBezTo>
                    <a:pt x="2165" y="200"/>
                    <a:pt x="2174" y="207"/>
                    <a:pt x="2173" y="212"/>
                  </a:cubicBezTo>
                  <a:cubicBezTo>
                    <a:pt x="2170" y="212"/>
                    <a:pt x="2167" y="212"/>
                    <a:pt x="2165" y="212"/>
                  </a:cubicBezTo>
                  <a:cubicBezTo>
                    <a:pt x="2166" y="210"/>
                    <a:pt x="2169" y="205"/>
                    <a:pt x="2164" y="205"/>
                  </a:cubicBezTo>
                  <a:close/>
                  <a:moveTo>
                    <a:pt x="2164" y="186"/>
                  </a:moveTo>
                  <a:cubicBezTo>
                    <a:pt x="2166" y="173"/>
                    <a:pt x="2181" y="193"/>
                    <a:pt x="2167" y="193"/>
                  </a:cubicBezTo>
                  <a:cubicBezTo>
                    <a:pt x="2167" y="191"/>
                    <a:pt x="2170" y="191"/>
                    <a:pt x="2170" y="188"/>
                  </a:cubicBezTo>
                  <a:cubicBezTo>
                    <a:pt x="2170" y="186"/>
                    <a:pt x="2166" y="187"/>
                    <a:pt x="2164" y="186"/>
                  </a:cubicBezTo>
                  <a:close/>
                  <a:moveTo>
                    <a:pt x="2154" y="99"/>
                  </a:moveTo>
                  <a:cubicBezTo>
                    <a:pt x="2166" y="98"/>
                    <a:pt x="2156" y="104"/>
                    <a:pt x="2157" y="109"/>
                  </a:cubicBezTo>
                  <a:cubicBezTo>
                    <a:pt x="2149" y="108"/>
                    <a:pt x="2150" y="117"/>
                    <a:pt x="2144" y="111"/>
                  </a:cubicBezTo>
                  <a:cubicBezTo>
                    <a:pt x="2145" y="106"/>
                    <a:pt x="2158" y="109"/>
                    <a:pt x="2154" y="99"/>
                  </a:cubicBezTo>
                  <a:close/>
                  <a:moveTo>
                    <a:pt x="2159" y="207"/>
                  </a:moveTo>
                  <a:cubicBezTo>
                    <a:pt x="2146" y="210"/>
                    <a:pt x="2154" y="195"/>
                    <a:pt x="2159" y="203"/>
                  </a:cubicBezTo>
                  <a:cubicBezTo>
                    <a:pt x="2159" y="204"/>
                    <a:pt x="2159" y="206"/>
                    <a:pt x="2159" y="207"/>
                  </a:cubicBezTo>
                  <a:close/>
                  <a:moveTo>
                    <a:pt x="2141" y="130"/>
                  </a:moveTo>
                  <a:cubicBezTo>
                    <a:pt x="2150" y="127"/>
                    <a:pt x="2143" y="138"/>
                    <a:pt x="2152" y="135"/>
                  </a:cubicBezTo>
                  <a:cubicBezTo>
                    <a:pt x="2150" y="139"/>
                    <a:pt x="2147" y="143"/>
                    <a:pt x="2139" y="142"/>
                  </a:cubicBezTo>
                  <a:cubicBezTo>
                    <a:pt x="2137" y="136"/>
                    <a:pt x="2144" y="137"/>
                    <a:pt x="2141" y="130"/>
                  </a:cubicBezTo>
                  <a:close/>
                  <a:moveTo>
                    <a:pt x="2115" y="189"/>
                  </a:moveTo>
                  <a:cubicBezTo>
                    <a:pt x="2120" y="183"/>
                    <a:pt x="2127" y="192"/>
                    <a:pt x="2134" y="187"/>
                  </a:cubicBezTo>
                  <a:cubicBezTo>
                    <a:pt x="2135" y="195"/>
                    <a:pt x="2119" y="190"/>
                    <a:pt x="2115" y="194"/>
                  </a:cubicBezTo>
                  <a:cubicBezTo>
                    <a:pt x="2117" y="192"/>
                    <a:pt x="2118" y="190"/>
                    <a:pt x="2115" y="189"/>
                  </a:cubicBezTo>
                  <a:close/>
                  <a:moveTo>
                    <a:pt x="2128" y="140"/>
                  </a:moveTo>
                  <a:cubicBezTo>
                    <a:pt x="2125" y="148"/>
                    <a:pt x="2122" y="137"/>
                    <a:pt x="2119" y="138"/>
                  </a:cubicBezTo>
                  <a:cubicBezTo>
                    <a:pt x="2114" y="135"/>
                    <a:pt x="2116" y="142"/>
                    <a:pt x="2114" y="142"/>
                  </a:cubicBezTo>
                  <a:cubicBezTo>
                    <a:pt x="2112" y="143"/>
                    <a:pt x="2108" y="139"/>
                    <a:pt x="2103" y="142"/>
                  </a:cubicBezTo>
                  <a:cubicBezTo>
                    <a:pt x="2103" y="140"/>
                    <a:pt x="2103" y="138"/>
                    <a:pt x="2103" y="135"/>
                  </a:cubicBezTo>
                  <a:cubicBezTo>
                    <a:pt x="2114" y="137"/>
                    <a:pt x="2112" y="136"/>
                    <a:pt x="2125" y="135"/>
                  </a:cubicBezTo>
                  <a:cubicBezTo>
                    <a:pt x="2124" y="138"/>
                    <a:pt x="2126" y="139"/>
                    <a:pt x="2128" y="140"/>
                  </a:cubicBezTo>
                  <a:close/>
                  <a:moveTo>
                    <a:pt x="2130" y="107"/>
                  </a:moveTo>
                  <a:cubicBezTo>
                    <a:pt x="2124" y="116"/>
                    <a:pt x="2136" y="115"/>
                    <a:pt x="2133" y="128"/>
                  </a:cubicBezTo>
                  <a:cubicBezTo>
                    <a:pt x="2130" y="128"/>
                    <a:pt x="2131" y="124"/>
                    <a:pt x="2130" y="121"/>
                  </a:cubicBezTo>
                  <a:cubicBezTo>
                    <a:pt x="2129" y="118"/>
                    <a:pt x="2117" y="107"/>
                    <a:pt x="2130" y="107"/>
                  </a:cubicBezTo>
                  <a:close/>
                  <a:moveTo>
                    <a:pt x="2111" y="107"/>
                  </a:moveTo>
                  <a:cubicBezTo>
                    <a:pt x="2110" y="110"/>
                    <a:pt x="2099" y="112"/>
                    <a:pt x="2111" y="112"/>
                  </a:cubicBezTo>
                  <a:cubicBezTo>
                    <a:pt x="2110" y="115"/>
                    <a:pt x="2106" y="114"/>
                    <a:pt x="2102" y="114"/>
                  </a:cubicBezTo>
                  <a:cubicBezTo>
                    <a:pt x="2098" y="107"/>
                    <a:pt x="2103" y="102"/>
                    <a:pt x="2111" y="107"/>
                  </a:cubicBezTo>
                  <a:close/>
                  <a:moveTo>
                    <a:pt x="2088" y="251"/>
                  </a:moveTo>
                  <a:cubicBezTo>
                    <a:pt x="2084" y="249"/>
                    <a:pt x="2081" y="243"/>
                    <a:pt x="2085" y="239"/>
                  </a:cubicBezTo>
                  <a:cubicBezTo>
                    <a:pt x="2091" y="239"/>
                    <a:pt x="2087" y="247"/>
                    <a:pt x="2088" y="251"/>
                  </a:cubicBezTo>
                  <a:close/>
                  <a:moveTo>
                    <a:pt x="2085" y="227"/>
                  </a:moveTo>
                  <a:cubicBezTo>
                    <a:pt x="2075" y="221"/>
                    <a:pt x="2088" y="214"/>
                    <a:pt x="2082" y="204"/>
                  </a:cubicBezTo>
                  <a:cubicBezTo>
                    <a:pt x="2085" y="205"/>
                    <a:pt x="2085" y="209"/>
                    <a:pt x="2090" y="209"/>
                  </a:cubicBezTo>
                  <a:cubicBezTo>
                    <a:pt x="2090" y="216"/>
                    <a:pt x="2083" y="218"/>
                    <a:pt x="2085" y="227"/>
                  </a:cubicBezTo>
                  <a:close/>
                  <a:moveTo>
                    <a:pt x="2103" y="168"/>
                  </a:moveTo>
                  <a:cubicBezTo>
                    <a:pt x="2105" y="169"/>
                    <a:pt x="2096" y="175"/>
                    <a:pt x="2093" y="171"/>
                  </a:cubicBezTo>
                  <a:cubicBezTo>
                    <a:pt x="2092" y="169"/>
                    <a:pt x="2102" y="167"/>
                    <a:pt x="2103" y="168"/>
                  </a:cubicBezTo>
                  <a:close/>
                  <a:moveTo>
                    <a:pt x="2095" y="293"/>
                  </a:moveTo>
                  <a:cubicBezTo>
                    <a:pt x="2095" y="289"/>
                    <a:pt x="2104" y="291"/>
                    <a:pt x="2103" y="286"/>
                  </a:cubicBezTo>
                  <a:cubicBezTo>
                    <a:pt x="2107" y="287"/>
                    <a:pt x="2105" y="293"/>
                    <a:pt x="2114" y="290"/>
                  </a:cubicBezTo>
                  <a:cubicBezTo>
                    <a:pt x="2108" y="295"/>
                    <a:pt x="2101" y="295"/>
                    <a:pt x="2095" y="293"/>
                  </a:cubicBezTo>
                  <a:close/>
                  <a:moveTo>
                    <a:pt x="2094" y="270"/>
                  </a:moveTo>
                  <a:cubicBezTo>
                    <a:pt x="2095" y="265"/>
                    <a:pt x="2098" y="271"/>
                    <a:pt x="2097" y="274"/>
                  </a:cubicBezTo>
                  <a:cubicBezTo>
                    <a:pt x="2096" y="279"/>
                    <a:pt x="2094" y="273"/>
                    <a:pt x="2094" y="270"/>
                  </a:cubicBezTo>
                  <a:close/>
                  <a:moveTo>
                    <a:pt x="2102" y="225"/>
                  </a:moveTo>
                  <a:cubicBezTo>
                    <a:pt x="2094" y="222"/>
                    <a:pt x="2109" y="208"/>
                    <a:pt x="2102" y="225"/>
                  </a:cubicBezTo>
                  <a:close/>
                  <a:moveTo>
                    <a:pt x="2110" y="218"/>
                  </a:moveTo>
                  <a:cubicBezTo>
                    <a:pt x="2117" y="218"/>
                    <a:pt x="2111" y="226"/>
                    <a:pt x="2110" y="227"/>
                  </a:cubicBezTo>
                  <a:cubicBezTo>
                    <a:pt x="2102" y="226"/>
                    <a:pt x="2112" y="222"/>
                    <a:pt x="2110" y="218"/>
                  </a:cubicBezTo>
                  <a:close/>
                  <a:moveTo>
                    <a:pt x="2119" y="281"/>
                  </a:moveTo>
                  <a:cubicBezTo>
                    <a:pt x="2117" y="288"/>
                    <a:pt x="2115" y="277"/>
                    <a:pt x="2116" y="274"/>
                  </a:cubicBezTo>
                  <a:cubicBezTo>
                    <a:pt x="2113" y="277"/>
                    <a:pt x="2112" y="275"/>
                    <a:pt x="2108" y="274"/>
                  </a:cubicBezTo>
                  <a:cubicBezTo>
                    <a:pt x="2110" y="272"/>
                    <a:pt x="2114" y="271"/>
                    <a:pt x="2113" y="267"/>
                  </a:cubicBezTo>
                  <a:cubicBezTo>
                    <a:pt x="2118" y="269"/>
                    <a:pt x="2120" y="274"/>
                    <a:pt x="2119" y="281"/>
                  </a:cubicBezTo>
                  <a:close/>
                  <a:moveTo>
                    <a:pt x="2121" y="246"/>
                  </a:moveTo>
                  <a:cubicBezTo>
                    <a:pt x="2121" y="246"/>
                    <a:pt x="2116" y="243"/>
                    <a:pt x="2116" y="243"/>
                  </a:cubicBezTo>
                  <a:cubicBezTo>
                    <a:pt x="2116" y="240"/>
                    <a:pt x="2120" y="243"/>
                    <a:pt x="2121" y="241"/>
                  </a:cubicBezTo>
                  <a:cubicBezTo>
                    <a:pt x="2121" y="240"/>
                    <a:pt x="2122" y="234"/>
                    <a:pt x="2124" y="236"/>
                  </a:cubicBezTo>
                  <a:cubicBezTo>
                    <a:pt x="2124" y="237"/>
                    <a:pt x="2121" y="245"/>
                    <a:pt x="2121" y="246"/>
                  </a:cubicBezTo>
                  <a:close/>
                  <a:moveTo>
                    <a:pt x="2115" y="217"/>
                  </a:moveTo>
                  <a:cubicBezTo>
                    <a:pt x="2117" y="212"/>
                    <a:pt x="2129" y="216"/>
                    <a:pt x="2126" y="222"/>
                  </a:cubicBezTo>
                  <a:cubicBezTo>
                    <a:pt x="2122" y="221"/>
                    <a:pt x="2119" y="219"/>
                    <a:pt x="2115" y="217"/>
                  </a:cubicBezTo>
                  <a:close/>
                  <a:moveTo>
                    <a:pt x="2122" y="276"/>
                  </a:moveTo>
                  <a:cubicBezTo>
                    <a:pt x="2122" y="272"/>
                    <a:pt x="2126" y="271"/>
                    <a:pt x="2133" y="271"/>
                  </a:cubicBezTo>
                  <a:cubicBezTo>
                    <a:pt x="2132" y="275"/>
                    <a:pt x="2128" y="277"/>
                    <a:pt x="2122" y="276"/>
                  </a:cubicBezTo>
                  <a:close/>
                  <a:moveTo>
                    <a:pt x="2129" y="243"/>
                  </a:moveTo>
                  <a:cubicBezTo>
                    <a:pt x="2129" y="241"/>
                    <a:pt x="2129" y="240"/>
                    <a:pt x="2129" y="238"/>
                  </a:cubicBezTo>
                  <a:cubicBezTo>
                    <a:pt x="2131" y="238"/>
                    <a:pt x="2133" y="238"/>
                    <a:pt x="2135" y="238"/>
                  </a:cubicBezTo>
                  <a:cubicBezTo>
                    <a:pt x="2135" y="240"/>
                    <a:pt x="2135" y="241"/>
                    <a:pt x="2135" y="243"/>
                  </a:cubicBezTo>
                  <a:cubicBezTo>
                    <a:pt x="2133" y="243"/>
                    <a:pt x="2131" y="243"/>
                    <a:pt x="2129" y="243"/>
                  </a:cubicBezTo>
                  <a:close/>
                  <a:moveTo>
                    <a:pt x="2134" y="210"/>
                  </a:moveTo>
                  <a:cubicBezTo>
                    <a:pt x="2132" y="212"/>
                    <a:pt x="2130" y="212"/>
                    <a:pt x="2126" y="213"/>
                  </a:cubicBezTo>
                  <a:cubicBezTo>
                    <a:pt x="2126" y="213"/>
                    <a:pt x="2126" y="210"/>
                    <a:pt x="2126" y="210"/>
                  </a:cubicBezTo>
                  <a:cubicBezTo>
                    <a:pt x="2124" y="211"/>
                    <a:pt x="2124" y="213"/>
                    <a:pt x="2123" y="213"/>
                  </a:cubicBezTo>
                  <a:cubicBezTo>
                    <a:pt x="2121" y="213"/>
                    <a:pt x="2120" y="210"/>
                    <a:pt x="2121" y="210"/>
                  </a:cubicBezTo>
                  <a:cubicBezTo>
                    <a:pt x="2121" y="210"/>
                    <a:pt x="2113" y="212"/>
                    <a:pt x="2112" y="213"/>
                  </a:cubicBezTo>
                  <a:cubicBezTo>
                    <a:pt x="2110" y="215"/>
                    <a:pt x="2112" y="213"/>
                    <a:pt x="2101" y="213"/>
                  </a:cubicBezTo>
                  <a:cubicBezTo>
                    <a:pt x="2103" y="207"/>
                    <a:pt x="2100" y="205"/>
                    <a:pt x="2093" y="206"/>
                  </a:cubicBezTo>
                  <a:cubicBezTo>
                    <a:pt x="2092" y="203"/>
                    <a:pt x="2097" y="205"/>
                    <a:pt x="2099" y="204"/>
                  </a:cubicBezTo>
                  <a:cubicBezTo>
                    <a:pt x="2103" y="199"/>
                    <a:pt x="2097" y="191"/>
                    <a:pt x="2107" y="192"/>
                  </a:cubicBezTo>
                  <a:cubicBezTo>
                    <a:pt x="2101" y="197"/>
                    <a:pt x="2105" y="205"/>
                    <a:pt x="2107" y="211"/>
                  </a:cubicBezTo>
                  <a:cubicBezTo>
                    <a:pt x="2112" y="208"/>
                    <a:pt x="2122" y="210"/>
                    <a:pt x="2121" y="203"/>
                  </a:cubicBezTo>
                  <a:cubicBezTo>
                    <a:pt x="2123" y="205"/>
                    <a:pt x="2125" y="207"/>
                    <a:pt x="2126" y="210"/>
                  </a:cubicBezTo>
                  <a:cubicBezTo>
                    <a:pt x="2130" y="206"/>
                    <a:pt x="2135" y="204"/>
                    <a:pt x="2134" y="196"/>
                  </a:cubicBezTo>
                  <a:cubicBezTo>
                    <a:pt x="2138" y="196"/>
                    <a:pt x="2135" y="203"/>
                    <a:pt x="2140" y="203"/>
                  </a:cubicBezTo>
                  <a:cubicBezTo>
                    <a:pt x="2138" y="205"/>
                    <a:pt x="2133" y="206"/>
                    <a:pt x="2134" y="210"/>
                  </a:cubicBezTo>
                  <a:close/>
                  <a:moveTo>
                    <a:pt x="2144" y="285"/>
                  </a:moveTo>
                  <a:cubicBezTo>
                    <a:pt x="2139" y="283"/>
                    <a:pt x="2136" y="275"/>
                    <a:pt x="2141" y="271"/>
                  </a:cubicBezTo>
                  <a:cubicBezTo>
                    <a:pt x="2147" y="271"/>
                    <a:pt x="2142" y="281"/>
                    <a:pt x="2144" y="285"/>
                  </a:cubicBezTo>
                  <a:close/>
                  <a:moveTo>
                    <a:pt x="2143" y="215"/>
                  </a:moveTo>
                  <a:cubicBezTo>
                    <a:pt x="2146" y="216"/>
                    <a:pt x="2148" y="218"/>
                    <a:pt x="2148" y="222"/>
                  </a:cubicBezTo>
                  <a:cubicBezTo>
                    <a:pt x="2145" y="221"/>
                    <a:pt x="2143" y="219"/>
                    <a:pt x="2143" y="215"/>
                  </a:cubicBezTo>
                  <a:close/>
                  <a:moveTo>
                    <a:pt x="2147" y="156"/>
                  </a:moveTo>
                  <a:cubicBezTo>
                    <a:pt x="2143" y="154"/>
                    <a:pt x="2148" y="152"/>
                    <a:pt x="2144" y="146"/>
                  </a:cubicBezTo>
                  <a:cubicBezTo>
                    <a:pt x="2154" y="144"/>
                    <a:pt x="2150" y="154"/>
                    <a:pt x="2155" y="156"/>
                  </a:cubicBezTo>
                  <a:cubicBezTo>
                    <a:pt x="2154" y="159"/>
                    <a:pt x="2151" y="156"/>
                    <a:pt x="2150" y="153"/>
                  </a:cubicBezTo>
                  <a:cubicBezTo>
                    <a:pt x="2147" y="153"/>
                    <a:pt x="2147" y="154"/>
                    <a:pt x="2147" y="156"/>
                  </a:cubicBezTo>
                  <a:close/>
                  <a:moveTo>
                    <a:pt x="2157" y="250"/>
                  </a:moveTo>
                  <a:cubicBezTo>
                    <a:pt x="2153" y="249"/>
                    <a:pt x="2156" y="243"/>
                    <a:pt x="2151" y="243"/>
                  </a:cubicBezTo>
                  <a:cubicBezTo>
                    <a:pt x="2153" y="240"/>
                    <a:pt x="2158" y="240"/>
                    <a:pt x="2157" y="236"/>
                  </a:cubicBezTo>
                  <a:cubicBezTo>
                    <a:pt x="2164" y="238"/>
                    <a:pt x="2156" y="246"/>
                    <a:pt x="2157" y="250"/>
                  </a:cubicBezTo>
                  <a:close/>
                  <a:moveTo>
                    <a:pt x="2159" y="221"/>
                  </a:moveTo>
                  <a:cubicBezTo>
                    <a:pt x="2160" y="224"/>
                    <a:pt x="2159" y="236"/>
                    <a:pt x="2157" y="228"/>
                  </a:cubicBezTo>
                  <a:cubicBezTo>
                    <a:pt x="2157" y="224"/>
                    <a:pt x="2156" y="219"/>
                    <a:pt x="2156" y="214"/>
                  </a:cubicBezTo>
                  <a:cubicBezTo>
                    <a:pt x="2160" y="214"/>
                    <a:pt x="2164" y="214"/>
                    <a:pt x="2167" y="214"/>
                  </a:cubicBezTo>
                  <a:cubicBezTo>
                    <a:pt x="2168" y="219"/>
                    <a:pt x="2165" y="222"/>
                    <a:pt x="2159" y="221"/>
                  </a:cubicBezTo>
                  <a:close/>
                  <a:moveTo>
                    <a:pt x="2168" y="273"/>
                  </a:moveTo>
                  <a:cubicBezTo>
                    <a:pt x="2171" y="274"/>
                    <a:pt x="2173" y="275"/>
                    <a:pt x="2177" y="275"/>
                  </a:cubicBezTo>
                  <a:cubicBezTo>
                    <a:pt x="2176" y="284"/>
                    <a:pt x="2173" y="284"/>
                    <a:pt x="2177" y="292"/>
                  </a:cubicBezTo>
                  <a:cubicBezTo>
                    <a:pt x="2165" y="293"/>
                    <a:pt x="2169" y="281"/>
                    <a:pt x="2168" y="273"/>
                  </a:cubicBezTo>
                  <a:close/>
                  <a:moveTo>
                    <a:pt x="2174" y="273"/>
                  </a:moveTo>
                  <a:cubicBezTo>
                    <a:pt x="2174" y="271"/>
                    <a:pt x="2174" y="270"/>
                    <a:pt x="2174" y="268"/>
                  </a:cubicBezTo>
                  <a:cubicBezTo>
                    <a:pt x="2176" y="268"/>
                    <a:pt x="2177" y="268"/>
                    <a:pt x="2179" y="268"/>
                  </a:cubicBezTo>
                  <a:cubicBezTo>
                    <a:pt x="2179" y="270"/>
                    <a:pt x="2179" y="271"/>
                    <a:pt x="2179" y="273"/>
                  </a:cubicBezTo>
                  <a:cubicBezTo>
                    <a:pt x="2177" y="273"/>
                    <a:pt x="2176" y="273"/>
                    <a:pt x="2174" y="273"/>
                  </a:cubicBezTo>
                  <a:close/>
                  <a:moveTo>
                    <a:pt x="2170" y="217"/>
                  </a:moveTo>
                  <a:cubicBezTo>
                    <a:pt x="2171" y="213"/>
                    <a:pt x="2177" y="214"/>
                    <a:pt x="2181" y="214"/>
                  </a:cubicBezTo>
                  <a:cubicBezTo>
                    <a:pt x="2180" y="219"/>
                    <a:pt x="2174" y="220"/>
                    <a:pt x="2170" y="217"/>
                  </a:cubicBezTo>
                  <a:close/>
                  <a:moveTo>
                    <a:pt x="2181" y="197"/>
                  </a:moveTo>
                  <a:cubicBezTo>
                    <a:pt x="2173" y="193"/>
                    <a:pt x="2182" y="183"/>
                    <a:pt x="2183" y="179"/>
                  </a:cubicBezTo>
                  <a:cubicBezTo>
                    <a:pt x="2189" y="182"/>
                    <a:pt x="2180" y="191"/>
                    <a:pt x="2181" y="197"/>
                  </a:cubicBezTo>
                  <a:close/>
                  <a:moveTo>
                    <a:pt x="2188" y="136"/>
                  </a:moveTo>
                  <a:cubicBezTo>
                    <a:pt x="2190" y="136"/>
                    <a:pt x="2192" y="136"/>
                    <a:pt x="2193" y="136"/>
                  </a:cubicBezTo>
                  <a:cubicBezTo>
                    <a:pt x="2195" y="141"/>
                    <a:pt x="2190" y="141"/>
                    <a:pt x="2185" y="141"/>
                  </a:cubicBezTo>
                  <a:cubicBezTo>
                    <a:pt x="2186" y="139"/>
                    <a:pt x="2188" y="139"/>
                    <a:pt x="2188" y="136"/>
                  </a:cubicBezTo>
                  <a:close/>
                  <a:moveTo>
                    <a:pt x="2189" y="204"/>
                  </a:moveTo>
                  <a:cubicBezTo>
                    <a:pt x="2188" y="209"/>
                    <a:pt x="2186" y="203"/>
                    <a:pt x="2186" y="200"/>
                  </a:cubicBezTo>
                  <a:cubicBezTo>
                    <a:pt x="2187" y="195"/>
                    <a:pt x="2190" y="201"/>
                    <a:pt x="2189" y="204"/>
                  </a:cubicBezTo>
                  <a:close/>
                  <a:moveTo>
                    <a:pt x="2189" y="214"/>
                  </a:moveTo>
                  <a:cubicBezTo>
                    <a:pt x="2194" y="213"/>
                    <a:pt x="2194" y="216"/>
                    <a:pt x="2198" y="216"/>
                  </a:cubicBezTo>
                  <a:cubicBezTo>
                    <a:pt x="2195" y="223"/>
                    <a:pt x="2195" y="223"/>
                    <a:pt x="2198" y="230"/>
                  </a:cubicBezTo>
                  <a:cubicBezTo>
                    <a:pt x="2190" y="229"/>
                    <a:pt x="2193" y="219"/>
                    <a:pt x="2189" y="214"/>
                  </a:cubicBezTo>
                  <a:close/>
                  <a:moveTo>
                    <a:pt x="2191" y="148"/>
                  </a:moveTo>
                  <a:cubicBezTo>
                    <a:pt x="2192" y="145"/>
                    <a:pt x="2198" y="146"/>
                    <a:pt x="2202" y="145"/>
                  </a:cubicBezTo>
                  <a:cubicBezTo>
                    <a:pt x="2201" y="137"/>
                    <a:pt x="2204" y="132"/>
                    <a:pt x="2213" y="131"/>
                  </a:cubicBezTo>
                  <a:cubicBezTo>
                    <a:pt x="2207" y="140"/>
                    <a:pt x="2204" y="142"/>
                    <a:pt x="2207" y="155"/>
                  </a:cubicBezTo>
                  <a:cubicBezTo>
                    <a:pt x="2200" y="155"/>
                    <a:pt x="2204" y="153"/>
                    <a:pt x="2205" y="150"/>
                  </a:cubicBezTo>
                  <a:cubicBezTo>
                    <a:pt x="2200" y="145"/>
                    <a:pt x="2198" y="152"/>
                    <a:pt x="2191" y="148"/>
                  </a:cubicBezTo>
                  <a:close/>
                  <a:moveTo>
                    <a:pt x="2214" y="220"/>
                  </a:moveTo>
                  <a:cubicBezTo>
                    <a:pt x="2205" y="222"/>
                    <a:pt x="2213" y="209"/>
                    <a:pt x="2203" y="211"/>
                  </a:cubicBezTo>
                  <a:cubicBezTo>
                    <a:pt x="2203" y="208"/>
                    <a:pt x="2208" y="209"/>
                    <a:pt x="2211" y="209"/>
                  </a:cubicBezTo>
                  <a:cubicBezTo>
                    <a:pt x="2209" y="215"/>
                    <a:pt x="2215" y="215"/>
                    <a:pt x="2214" y="220"/>
                  </a:cubicBezTo>
                  <a:close/>
                  <a:moveTo>
                    <a:pt x="2211" y="202"/>
                  </a:moveTo>
                  <a:cubicBezTo>
                    <a:pt x="2208" y="201"/>
                    <a:pt x="2206" y="202"/>
                    <a:pt x="2206" y="204"/>
                  </a:cubicBezTo>
                  <a:cubicBezTo>
                    <a:pt x="2201" y="203"/>
                    <a:pt x="2207" y="201"/>
                    <a:pt x="2206" y="197"/>
                  </a:cubicBezTo>
                  <a:cubicBezTo>
                    <a:pt x="2209" y="201"/>
                    <a:pt x="2217" y="200"/>
                    <a:pt x="2217" y="206"/>
                  </a:cubicBezTo>
                  <a:cubicBezTo>
                    <a:pt x="2214" y="205"/>
                    <a:pt x="2212" y="204"/>
                    <a:pt x="2211" y="202"/>
                  </a:cubicBezTo>
                  <a:close/>
                  <a:moveTo>
                    <a:pt x="2222" y="223"/>
                  </a:moveTo>
                  <a:cubicBezTo>
                    <a:pt x="2219" y="222"/>
                    <a:pt x="2220" y="217"/>
                    <a:pt x="2219" y="213"/>
                  </a:cubicBezTo>
                  <a:cubicBezTo>
                    <a:pt x="2222" y="213"/>
                    <a:pt x="2225" y="213"/>
                    <a:pt x="2228" y="213"/>
                  </a:cubicBezTo>
                  <a:cubicBezTo>
                    <a:pt x="2231" y="221"/>
                    <a:pt x="2219" y="215"/>
                    <a:pt x="2222" y="223"/>
                  </a:cubicBezTo>
                  <a:close/>
                  <a:moveTo>
                    <a:pt x="2233" y="187"/>
                  </a:moveTo>
                  <a:cubicBezTo>
                    <a:pt x="2235" y="187"/>
                    <a:pt x="2236" y="187"/>
                    <a:pt x="2238" y="187"/>
                  </a:cubicBezTo>
                  <a:cubicBezTo>
                    <a:pt x="2240" y="192"/>
                    <a:pt x="2234" y="192"/>
                    <a:pt x="2230" y="192"/>
                  </a:cubicBezTo>
                  <a:cubicBezTo>
                    <a:pt x="2231" y="190"/>
                    <a:pt x="2233" y="190"/>
                    <a:pt x="2233" y="187"/>
                  </a:cubicBezTo>
                  <a:close/>
                  <a:moveTo>
                    <a:pt x="2236" y="225"/>
                  </a:moveTo>
                  <a:cubicBezTo>
                    <a:pt x="2234" y="223"/>
                    <a:pt x="2230" y="215"/>
                    <a:pt x="2230" y="208"/>
                  </a:cubicBezTo>
                  <a:cubicBezTo>
                    <a:pt x="2230" y="207"/>
                    <a:pt x="2235" y="207"/>
                    <a:pt x="2236" y="206"/>
                  </a:cubicBezTo>
                  <a:cubicBezTo>
                    <a:pt x="2237" y="205"/>
                    <a:pt x="2232" y="201"/>
                    <a:pt x="2236" y="199"/>
                  </a:cubicBezTo>
                  <a:cubicBezTo>
                    <a:pt x="2244" y="199"/>
                    <a:pt x="2230" y="217"/>
                    <a:pt x="2239" y="211"/>
                  </a:cubicBezTo>
                  <a:cubicBezTo>
                    <a:pt x="2247" y="214"/>
                    <a:pt x="2234" y="219"/>
                    <a:pt x="2236" y="225"/>
                  </a:cubicBezTo>
                  <a:close/>
                  <a:moveTo>
                    <a:pt x="2264" y="104"/>
                  </a:moveTo>
                  <a:cubicBezTo>
                    <a:pt x="2271" y="105"/>
                    <a:pt x="2267" y="115"/>
                    <a:pt x="2259" y="112"/>
                  </a:cubicBezTo>
                  <a:cubicBezTo>
                    <a:pt x="2261" y="109"/>
                    <a:pt x="2265" y="109"/>
                    <a:pt x="2264" y="104"/>
                  </a:cubicBezTo>
                  <a:close/>
                  <a:moveTo>
                    <a:pt x="2267" y="128"/>
                  </a:moveTo>
                  <a:cubicBezTo>
                    <a:pt x="2277" y="126"/>
                    <a:pt x="2268" y="138"/>
                    <a:pt x="2265" y="135"/>
                  </a:cubicBezTo>
                  <a:cubicBezTo>
                    <a:pt x="2265" y="135"/>
                    <a:pt x="2267" y="130"/>
                    <a:pt x="2267" y="130"/>
                  </a:cubicBezTo>
                  <a:cubicBezTo>
                    <a:pt x="2268" y="130"/>
                    <a:pt x="2267" y="128"/>
                    <a:pt x="2267" y="128"/>
                  </a:cubicBezTo>
                  <a:close/>
                  <a:moveTo>
                    <a:pt x="2265" y="121"/>
                  </a:moveTo>
                  <a:cubicBezTo>
                    <a:pt x="2266" y="120"/>
                    <a:pt x="2256" y="119"/>
                    <a:pt x="2256" y="119"/>
                  </a:cubicBezTo>
                  <a:cubicBezTo>
                    <a:pt x="2255" y="115"/>
                    <a:pt x="2271" y="115"/>
                    <a:pt x="2265" y="121"/>
                  </a:cubicBezTo>
                  <a:close/>
                  <a:moveTo>
                    <a:pt x="2243" y="135"/>
                  </a:moveTo>
                  <a:cubicBezTo>
                    <a:pt x="2245" y="134"/>
                    <a:pt x="2245" y="138"/>
                    <a:pt x="2246" y="138"/>
                  </a:cubicBezTo>
                  <a:cubicBezTo>
                    <a:pt x="2248" y="138"/>
                    <a:pt x="2248" y="135"/>
                    <a:pt x="2248" y="135"/>
                  </a:cubicBezTo>
                  <a:cubicBezTo>
                    <a:pt x="2252" y="135"/>
                    <a:pt x="2258" y="140"/>
                    <a:pt x="2259" y="135"/>
                  </a:cubicBezTo>
                  <a:cubicBezTo>
                    <a:pt x="2255" y="132"/>
                    <a:pt x="2259" y="134"/>
                    <a:pt x="2262" y="135"/>
                  </a:cubicBezTo>
                  <a:cubicBezTo>
                    <a:pt x="2261" y="135"/>
                    <a:pt x="2260" y="139"/>
                    <a:pt x="2259" y="140"/>
                  </a:cubicBezTo>
                  <a:cubicBezTo>
                    <a:pt x="2256" y="141"/>
                    <a:pt x="2255" y="137"/>
                    <a:pt x="2254" y="137"/>
                  </a:cubicBezTo>
                  <a:cubicBezTo>
                    <a:pt x="2249" y="138"/>
                    <a:pt x="2241" y="144"/>
                    <a:pt x="2243" y="135"/>
                  </a:cubicBezTo>
                  <a:close/>
                  <a:moveTo>
                    <a:pt x="2247" y="220"/>
                  </a:moveTo>
                  <a:cubicBezTo>
                    <a:pt x="2252" y="215"/>
                    <a:pt x="2247" y="217"/>
                    <a:pt x="2247" y="210"/>
                  </a:cubicBezTo>
                  <a:cubicBezTo>
                    <a:pt x="2256" y="210"/>
                    <a:pt x="2258" y="221"/>
                    <a:pt x="2247" y="220"/>
                  </a:cubicBezTo>
                  <a:close/>
                  <a:moveTo>
                    <a:pt x="2244" y="192"/>
                  </a:moveTo>
                  <a:cubicBezTo>
                    <a:pt x="2237" y="190"/>
                    <a:pt x="2252" y="187"/>
                    <a:pt x="2257" y="187"/>
                  </a:cubicBezTo>
                  <a:cubicBezTo>
                    <a:pt x="2255" y="190"/>
                    <a:pt x="2249" y="190"/>
                    <a:pt x="2244" y="192"/>
                  </a:cubicBezTo>
                  <a:close/>
                  <a:moveTo>
                    <a:pt x="2249" y="182"/>
                  </a:moveTo>
                  <a:cubicBezTo>
                    <a:pt x="2251" y="180"/>
                    <a:pt x="2252" y="178"/>
                    <a:pt x="2252" y="175"/>
                  </a:cubicBezTo>
                  <a:cubicBezTo>
                    <a:pt x="2255" y="175"/>
                    <a:pt x="2257" y="175"/>
                    <a:pt x="2260" y="175"/>
                  </a:cubicBezTo>
                  <a:cubicBezTo>
                    <a:pt x="2258" y="178"/>
                    <a:pt x="2256" y="183"/>
                    <a:pt x="2249" y="182"/>
                  </a:cubicBezTo>
                  <a:close/>
                  <a:moveTo>
                    <a:pt x="2261" y="227"/>
                  </a:moveTo>
                  <a:cubicBezTo>
                    <a:pt x="2261" y="221"/>
                    <a:pt x="2266" y="230"/>
                    <a:pt x="2272" y="226"/>
                  </a:cubicBezTo>
                  <a:cubicBezTo>
                    <a:pt x="2272" y="232"/>
                    <a:pt x="2263" y="227"/>
                    <a:pt x="2261" y="227"/>
                  </a:cubicBezTo>
                  <a:close/>
                  <a:moveTo>
                    <a:pt x="2269" y="234"/>
                  </a:moveTo>
                  <a:cubicBezTo>
                    <a:pt x="2281" y="234"/>
                    <a:pt x="2267" y="247"/>
                    <a:pt x="2269" y="234"/>
                  </a:cubicBezTo>
                  <a:close/>
                  <a:moveTo>
                    <a:pt x="2273" y="109"/>
                  </a:moveTo>
                  <a:cubicBezTo>
                    <a:pt x="2269" y="106"/>
                    <a:pt x="2266" y="97"/>
                    <a:pt x="2269" y="95"/>
                  </a:cubicBezTo>
                  <a:cubicBezTo>
                    <a:pt x="2273" y="98"/>
                    <a:pt x="2276" y="106"/>
                    <a:pt x="2273" y="109"/>
                  </a:cubicBezTo>
                  <a:close/>
                  <a:moveTo>
                    <a:pt x="2886" y="232"/>
                  </a:moveTo>
                  <a:cubicBezTo>
                    <a:pt x="2880" y="240"/>
                    <a:pt x="2873" y="226"/>
                    <a:pt x="2886" y="232"/>
                  </a:cubicBezTo>
                  <a:close/>
                  <a:moveTo>
                    <a:pt x="2865" y="263"/>
                  </a:moveTo>
                  <a:cubicBezTo>
                    <a:pt x="2870" y="263"/>
                    <a:pt x="2871" y="266"/>
                    <a:pt x="2876" y="265"/>
                  </a:cubicBezTo>
                  <a:cubicBezTo>
                    <a:pt x="2877" y="269"/>
                    <a:pt x="2861" y="270"/>
                    <a:pt x="2865" y="263"/>
                  </a:cubicBezTo>
                  <a:close/>
                  <a:moveTo>
                    <a:pt x="2865" y="230"/>
                  </a:moveTo>
                  <a:cubicBezTo>
                    <a:pt x="2876" y="227"/>
                    <a:pt x="2872" y="238"/>
                    <a:pt x="2878" y="239"/>
                  </a:cubicBezTo>
                  <a:cubicBezTo>
                    <a:pt x="2877" y="243"/>
                    <a:pt x="2872" y="241"/>
                    <a:pt x="2873" y="237"/>
                  </a:cubicBezTo>
                  <a:cubicBezTo>
                    <a:pt x="2865" y="239"/>
                    <a:pt x="2875" y="246"/>
                    <a:pt x="2879" y="246"/>
                  </a:cubicBezTo>
                  <a:cubicBezTo>
                    <a:pt x="2876" y="250"/>
                    <a:pt x="2877" y="256"/>
                    <a:pt x="2868" y="254"/>
                  </a:cubicBezTo>
                  <a:cubicBezTo>
                    <a:pt x="2866" y="252"/>
                    <a:pt x="2873" y="249"/>
                    <a:pt x="2873" y="249"/>
                  </a:cubicBezTo>
                  <a:cubicBezTo>
                    <a:pt x="2873" y="246"/>
                    <a:pt x="2869" y="248"/>
                    <a:pt x="2867" y="247"/>
                  </a:cubicBezTo>
                  <a:cubicBezTo>
                    <a:pt x="2867" y="246"/>
                    <a:pt x="2868" y="243"/>
                    <a:pt x="2867" y="242"/>
                  </a:cubicBezTo>
                  <a:cubicBezTo>
                    <a:pt x="2866" y="241"/>
                    <a:pt x="2863" y="237"/>
                    <a:pt x="2865" y="230"/>
                  </a:cubicBezTo>
                  <a:close/>
                  <a:moveTo>
                    <a:pt x="2862" y="247"/>
                  </a:moveTo>
                  <a:cubicBezTo>
                    <a:pt x="2860" y="251"/>
                    <a:pt x="2859" y="245"/>
                    <a:pt x="2859" y="242"/>
                  </a:cubicBezTo>
                  <a:cubicBezTo>
                    <a:pt x="2851" y="239"/>
                    <a:pt x="2866" y="240"/>
                    <a:pt x="2862" y="247"/>
                  </a:cubicBezTo>
                  <a:close/>
                  <a:moveTo>
                    <a:pt x="2869" y="193"/>
                  </a:moveTo>
                  <a:cubicBezTo>
                    <a:pt x="2871" y="190"/>
                    <a:pt x="2873" y="188"/>
                    <a:pt x="2869" y="188"/>
                  </a:cubicBezTo>
                  <a:cubicBezTo>
                    <a:pt x="2872" y="178"/>
                    <a:pt x="2881" y="196"/>
                    <a:pt x="2869" y="193"/>
                  </a:cubicBezTo>
                  <a:close/>
                  <a:moveTo>
                    <a:pt x="2872" y="160"/>
                  </a:moveTo>
                  <a:cubicBezTo>
                    <a:pt x="2866" y="156"/>
                    <a:pt x="2868" y="160"/>
                    <a:pt x="2861" y="160"/>
                  </a:cubicBezTo>
                  <a:cubicBezTo>
                    <a:pt x="2860" y="158"/>
                    <a:pt x="2862" y="158"/>
                    <a:pt x="2863" y="157"/>
                  </a:cubicBezTo>
                  <a:cubicBezTo>
                    <a:pt x="2863" y="155"/>
                    <a:pt x="2860" y="156"/>
                    <a:pt x="2858" y="155"/>
                  </a:cubicBezTo>
                  <a:cubicBezTo>
                    <a:pt x="2859" y="147"/>
                    <a:pt x="2872" y="152"/>
                    <a:pt x="2872" y="160"/>
                  </a:cubicBezTo>
                  <a:close/>
                  <a:moveTo>
                    <a:pt x="2705" y="221"/>
                  </a:moveTo>
                  <a:cubicBezTo>
                    <a:pt x="2707" y="221"/>
                    <a:pt x="2709" y="221"/>
                    <a:pt x="2711" y="221"/>
                  </a:cubicBezTo>
                  <a:cubicBezTo>
                    <a:pt x="2711" y="223"/>
                    <a:pt x="2711" y="224"/>
                    <a:pt x="2711" y="226"/>
                  </a:cubicBezTo>
                  <a:cubicBezTo>
                    <a:pt x="2709" y="226"/>
                    <a:pt x="2707" y="226"/>
                    <a:pt x="2705" y="226"/>
                  </a:cubicBezTo>
                  <a:cubicBezTo>
                    <a:pt x="2705" y="224"/>
                    <a:pt x="2705" y="223"/>
                    <a:pt x="2705" y="221"/>
                  </a:cubicBezTo>
                  <a:close/>
                  <a:moveTo>
                    <a:pt x="2714" y="245"/>
                  </a:moveTo>
                  <a:cubicBezTo>
                    <a:pt x="2718" y="236"/>
                    <a:pt x="2706" y="240"/>
                    <a:pt x="2708" y="233"/>
                  </a:cubicBezTo>
                  <a:cubicBezTo>
                    <a:pt x="2713" y="233"/>
                    <a:pt x="2714" y="230"/>
                    <a:pt x="2719" y="230"/>
                  </a:cubicBezTo>
                  <a:cubicBezTo>
                    <a:pt x="2725" y="236"/>
                    <a:pt x="2714" y="241"/>
                    <a:pt x="2725" y="242"/>
                  </a:cubicBezTo>
                  <a:cubicBezTo>
                    <a:pt x="2724" y="245"/>
                    <a:pt x="2718" y="244"/>
                    <a:pt x="2714" y="245"/>
                  </a:cubicBezTo>
                  <a:close/>
                  <a:moveTo>
                    <a:pt x="2727" y="237"/>
                  </a:moveTo>
                  <a:cubicBezTo>
                    <a:pt x="2730" y="232"/>
                    <a:pt x="2734" y="229"/>
                    <a:pt x="2733" y="221"/>
                  </a:cubicBezTo>
                  <a:cubicBezTo>
                    <a:pt x="2743" y="224"/>
                    <a:pt x="2734" y="228"/>
                    <a:pt x="2738" y="235"/>
                  </a:cubicBezTo>
                  <a:cubicBezTo>
                    <a:pt x="2733" y="235"/>
                    <a:pt x="2733" y="238"/>
                    <a:pt x="2727" y="237"/>
                  </a:cubicBezTo>
                  <a:close/>
                  <a:moveTo>
                    <a:pt x="2733" y="242"/>
                  </a:moveTo>
                  <a:cubicBezTo>
                    <a:pt x="2735" y="244"/>
                    <a:pt x="2739" y="244"/>
                    <a:pt x="2739" y="249"/>
                  </a:cubicBezTo>
                  <a:cubicBezTo>
                    <a:pt x="2731" y="250"/>
                    <a:pt x="2731" y="244"/>
                    <a:pt x="2730" y="240"/>
                  </a:cubicBezTo>
                  <a:cubicBezTo>
                    <a:pt x="2735" y="240"/>
                    <a:pt x="2736" y="237"/>
                    <a:pt x="2741" y="237"/>
                  </a:cubicBezTo>
                  <a:cubicBezTo>
                    <a:pt x="2743" y="242"/>
                    <a:pt x="2737" y="242"/>
                    <a:pt x="2733" y="242"/>
                  </a:cubicBezTo>
                  <a:close/>
                  <a:moveTo>
                    <a:pt x="2730" y="218"/>
                  </a:moveTo>
                  <a:cubicBezTo>
                    <a:pt x="2727" y="211"/>
                    <a:pt x="2747" y="206"/>
                    <a:pt x="2730" y="207"/>
                  </a:cubicBezTo>
                  <a:cubicBezTo>
                    <a:pt x="2729" y="198"/>
                    <a:pt x="2749" y="206"/>
                    <a:pt x="2751" y="199"/>
                  </a:cubicBezTo>
                  <a:cubicBezTo>
                    <a:pt x="2758" y="201"/>
                    <a:pt x="2748" y="208"/>
                    <a:pt x="2752" y="216"/>
                  </a:cubicBezTo>
                  <a:cubicBezTo>
                    <a:pt x="2746" y="217"/>
                    <a:pt x="2748" y="211"/>
                    <a:pt x="2743" y="211"/>
                  </a:cubicBezTo>
                  <a:cubicBezTo>
                    <a:pt x="2735" y="213"/>
                    <a:pt x="2750" y="215"/>
                    <a:pt x="2746" y="221"/>
                  </a:cubicBezTo>
                  <a:cubicBezTo>
                    <a:pt x="2741" y="218"/>
                    <a:pt x="2738" y="222"/>
                    <a:pt x="2730" y="218"/>
                  </a:cubicBezTo>
                  <a:close/>
                  <a:moveTo>
                    <a:pt x="2740" y="185"/>
                  </a:moveTo>
                  <a:cubicBezTo>
                    <a:pt x="2742" y="185"/>
                    <a:pt x="2744" y="185"/>
                    <a:pt x="2746" y="185"/>
                  </a:cubicBezTo>
                  <a:cubicBezTo>
                    <a:pt x="2746" y="187"/>
                    <a:pt x="2746" y="188"/>
                    <a:pt x="2746" y="190"/>
                  </a:cubicBezTo>
                  <a:cubicBezTo>
                    <a:pt x="2744" y="190"/>
                    <a:pt x="2742" y="190"/>
                    <a:pt x="2740" y="190"/>
                  </a:cubicBezTo>
                  <a:cubicBezTo>
                    <a:pt x="2740" y="189"/>
                    <a:pt x="2740" y="187"/>
                    <a:pt x="2740" y="185"/>
                  </a:cubicBezTo>
                  <a:close/>
                  <a:moveTo>
                    <a:pt x="2755" y="242"/>
                  </a:moveTo>
                  <a:cubicBezTo>
                    <a:pt x="2751" y="242"/>
                    <a:pt x="2748" y="242"/>
                    <a:pt x="2744" y="242"/>
                  </a:cubicBezTo>
                  <a:cubicBezTo>
                    <a:pt x="2743" y="237"/>
                    <a:pt x="2751" y="238"/>
                    <a:pt x="2749" y="239"/>
                  </a:cubicBezTo>
                  <a:cubicBezTo>
                    <a:pt x="2755" y="235"/>
                    <a:pt x="2752" y="229"/>
                    <a:pt x="2763" y="230"/>
                  </a:cubicBezTo>
                  <a:cubicBezTo>
                    <a:pt x="2766" y="238"/>
                    <a:pt x="2750" y="231"/>
                    <a:pt x="2755" y="242"/>
                  </a:cubicBezTo>
                  <a:close/>
                  <a:moveTo>
                    <a:pt x="2763" y="248"/>
                  </a:moveTo>
                  <a:cubicBezTo>
                    <a:pt x="2760" y="248"/>
                    <a:pt x="2761" y="244"/>
                    <a:pt x="2760" y="241"/>
                  </a:cubicBezTo>
                  <a:cubicBezTo>
                    <a:pt x="2763" y="241"/>
                    <a:pt x="2766" y="241"/>
                    <a:pt x="2769" y="241"/>
                  </a:cubicBezTo>
                  <a:cubicBezTo>
                    <a:pt x="2768" y="244"/>
                    <a:pt x="2764" y="245"/>
                    <a:pt x="2763" y="248"/>
                  </a:cubicBezTo>
                  <a:close/>
                  <a:moveTo>
                    <a:pt x="2771" y="222"/>
                  </a:moveTo>
                  <a:cubicBezTo>
                    <a:pt x="2784" y="224"/>
                    <a:pt x="2769" y="237"/>
                    <a:pt x="2771" y="222"/>
                  </a:cubicBezTo>
                  <a:close/>
                  <a:moveTo>
                    <a:pt x="2777" y="262"/>
                  </a:moveTo>
                  <a:cubicBezTo>
                    <a:pt x="2771" y="261"/>
                    <a:pt x="2775" y="250"/>
                    <a:pt x="2777" y="248"/>
                  </a:cubicBezTo>
                  <a:cubicBezTo>
                    <a:pt x="2783" y="249"/>
                    <a:pt x="2779" y="261"/>
                    <a:pt x="2777" y="262"/>
                  </a:cubicBezTo>
                  <a:close/>
                  <a:moveTo>
                    <a:pt x="2782" y="236"/>
                  </a:moveTo>
                  <a:cubicBezTo>
                    <a:pt x="2781" y="236"/>
                    <a:pt x="2779" y="236"/>
                    <a:pt x="2777" y="237"/>
                  </a:cubicBezTo>
                  <a:cubicBezTo>
                    <a:pt x="2777" y="234"/>
                    <a:pt x="2776" y="234"/>
                    <a:pt x="2774" y="234"/>
                  </a:cubicBezTo>
                  <a:cubicBezTo>
                    <a:pt x="2773" y="230"/>
                    <a:pt x="2786" y="231"/>
                    <a:pt x="2782" y="236"/>
                  </a:cubicBezTo>
                  <a:close/>
                  <a:moveTo>
                    <a:pt x="2794" y="269"/>
                  </a:moveTo>
                  <a:cubicBezTo>
                    <a:pt x="2794" y="268"/>
                    <a:pt x="2794" y="266"/>
                    <a:pt x="2794" y="264"/>
                  </a:cubicBezTo>
                  <a:cubicBezTo>
                    <a:pt x="2796" y="264"/>
                    <a:pt x="2797" y="264"/>
                    <a:pt x="2799" y="264"/>
                  </a:cubicBezTo>
                  <a:cubicBezTo>
                    <a:pt x="2799" y="266"/>
                    <a:pt x="2799" y="267"/>
                    <a:pt x="2799" y="269"/>
                  </a:cubicBezTo>
                  <a:cubicBezTo>
                    <a:pt x="2798" y="269"/>
                    <a:pt x="2796" y="269"/>
                    <a:pt x="2794" y="269"/>
                  </a:cubicBezTo>
                  <a:close/>
                  <a:moveTo>
                    <a:pt x="2807" y="259"/>
                  </a:moveTo>
                  <a:cubicBezTo>
                    <a:pt x="2804" y="256"/>
                    <a:pt x="2796" y="257"/>
                    <a:pt x="2796" y="250"/>
                  </a:cubicBezTo>
                  <a:cubicBezTo>
                    <a:pt x="2804" y="253"/>
                    <a:pt x="2809" y="244"/>
                    <a:pt x="2799" y="245"/>
                  </a:cubicBezTo>
                  <a:cubicBezTo>
                    <a:pt x="2799" y="242"/>
                    <a:pt x="2806" y="238"/>
                    <a:pt x="2804" y="245"/>
                  </a:cubicBezTo>
                  <a:cubicBezTo>
                    <a:pt x="2808" y="245"/>
                    <a:pt x="2809" y="246"/>
                    <a:pt x="2810" y="248"/>
                  </a:cubicBezTo>
                  <a:cubicBezTo>
                    <a:pt x="2819" y="247"/>
                    <a:pt x="2802" y="239"/>
                    <a:pt x="2815" y="241"/>
                  </a:cubicBezTo>
                  <a:cubicBezTo>
                    <a:pt x="2815" y="245"/>
                    <a:pt x="2815" y="250"/>
                    <a:pt x="2816" y="255"/>
                  </a:cubicBezTo>
                  <a:cubicBezTo>
                    <a:pt x="2810" y="254"/>
                    <a:pt x="2807" y="255"/>
                    <a:pt x="2807" y="259"/>
                  </a:cubicBezTo>
                  <a:close/>
                  <a:moveTo>
                    <a:pt x="2810" y="231"/>
                  </a:moveTo>
                  <a:cubicBezTo>
                    <a:pt x="2809" y="234"/>
                    <a:pt x="2806" y="236"/>
                    <a:pt x="2801" y="236"/>
                  </a:cubicBezTo>
                  <a:cubicBezTo>
                    <a:pt x="2800" y="231"/>
                    <a:pt x="2805" y="232"/>
                    <a:pt x="2810" y="231"/>
                  </a:cubicBezTo>
                  <a:close/>
                  <a:moveTo>
                    <a:pt x="2824" y="259"/>
                  </a:moveTo>
                  <a:cubicBezTo>
                    <a:pt x="2834" y="255"/>
                    <a:pt x="2826" y="267"/>
                    <a:pt x="2832" y="266"/>
                  </a:cubicBezTo>
                  <a:cubicBezTo>
                    <a:pt x="2830" y="272"/>
                    <a:pt x="2821" y="265"/>
                    <a:pt x="2824" y="259"/>
                  </a:cubicBezTo>
                  <a:close/>
                  <a:moveTo>
                    <a:pt x="2838" y="268"/>
                  </a:moveTo>
                  <a:cubicBezTo>
                    <a:pt x="2838" y="267"/>
                    <a:pt x="2838" y="265"/>
                    <a:pt x="2838" y="264"/>
                  </a:cubicBezTo>
                  <a:cubicBezTo>
                    <a:pt x="2840" y="264"/>
                    <a:pt x="2841" y="264"/>
                    <a:pt x="2843" y="264"/>
                  </a:cubicBezTo>
                  <a:cubicBezTo>
                    <a:pt x="2843" y="265"/>
                    <a:pt x="2843" y="267"/>
                    <a:pt x="2843" y="268"/>
                  </a:cubicBezTo>
                  <a:cubicBezTo>
                    <a:pt x="2841" y="268"/>
                    <a:pt x="2840" y="268"/>
                    <a:pt x="2838" y="268"/>
                  </a:cubicBezTo>
                  <a:close/>
                  <a:moveTo>
                    <a:pt x="2833" y="163"/>
                  </a:moveTo>
                  <a:cubicBezTo>
                    <a:pt x="2839" y="163"/>
                    <a:pt x="2835" y="173"/>
                    <a:pt x="2836" y="177"/>
                  </a:cubicBezTo>
                  <a:cubicBezTo>
                    <a:pt x="2840" y="176"/>
                    <a:pt x="2838" y="171"/>
                    <a:pt x="2839" y="167"/>
                  </a:cubicBezTo>
                  <a:cubicBezTo>
                    <a:pt x="2849" y="167"/>
                    <a:pt x="2846" y="180"/>
                    <a:pt x="2850" y="186"/>
                  </a:cubicBezTo>
                  <a:cubicBezTo>
                    <a:pt x="2845" y="186"/>
                    <a:pt x="2847" y="192"/>
                    <a:pt x="2839" y="191"/>
                  </a:cubicBezTo>
                  <a:cubicBezTo>
                    <a:pt x="2838" y="181"/>
                    <a:pt x="2852" y="178"/>
                    <a:pt x="2833" y="179"/>
                  </a:cubicBezTo>
                  <a:cubicBezTo>
                    <a:pt x="2836" y="171"/>
                    <a:pt x="2827" y="168"/>
                    <a:pt x="2833" y="163"/>
                  </a:cubicBezTo>
                  <a:close/>
                  <a:moveTo>
                    <a:pt x="2850" y="198"/>
                  </a:moveTo>
                  <a:cubicBezTo>
                    <a:pt x="2847" y="202"/>
                    <a:pt x="2834" y="210"/>
                    <a:pt x="2834" y="198"/>
                  </a:cubicBezTo>
                  <a:cubicBezTo>
                    <a:pt x="2843" y="200"/>
                    <a:pt x="2845" y="193"/>
                    <a:pt x="2850" y="198"/>
                  </a:cubicBezTo>
                  <a:close/>
                  <a:moveTo>
                    <a:pt x="2836" y="191"/>
                  </a:moveTo>
                  <a:cubicBezTo>
                    <a:pt x="2834" y="190"/>
                    <a:pt x="2834" y="192"/>
                    <a:pt x="2834" y="193"/>
                  </a:cubicBezTo>
                  <a:cubicBezTo>
                    <a:pt x="2830" y="193"/>
                    <a:pt x="2831" y="189"/>
                    <a:pt x="2831" y="186"/>
                  </a:cubicBezTo>
                  <a:cubicBezTo>
                    <a:pt x="2835" y="185"/>
                    <a:pt x="2836" y="188"/>
                    <a:pt x="2836" y="191"/>
                  </a:cubicBezTo>
                  <a:close/>
                  <a:moveTo>
                    <a:pt x="2825" y="175"/>
                  </a:moveTo>
                  <a:cubicBezTo>
                    <a:pt x="2831" y="176"/>
                    <a:pt x="2831" y="178"/>
                    <a:pt x="2828" y="182"/>
                  </a:cubicBezTo>
                  <a:cubicBezTo>
                    <a:pt x="2826" y="182"/>
                    <a:pt x="2824" y="182"/>
                    <a:pt x="2822" y="182"/>
                  </a:cubicBezTo>
                  <a:cubicBezTo>
                    <a:pt x="2822" y="178"/>
                    <a:pt x="2825" y="178"/>
                    <a:pt x="2825" y="175"/>
                  </a:cubicBezTo>
                  <a:close/>
                  <a:moveTo>
                    <a:pt x="2812" y="184"/>
                  </a:moveTo>
                  <a:cubicBezTo>
                    <a:pt x="2823" y="185"/>
                    <a:pt x="2812" y="190"/>
                    <a:pt x="2817" y="196"/>
                  </a:cubicBezTo>
                  <a:cubicBezTo>
                    <a:pt x="2808" y="198"/>
                    <a:pt x="2813" y="189"/>
                    <a:pt x="2812" y="184"/>
                  </a:cubicBezTo>
                  <a:close/>
                  <a:moveTo>
                    <a:pt x="2801" y="182"/>
                  </a:moveTo>
                  <a:cubicBezTo>
                    <a:pt x="2802" y="182"/>
                    <a:pt x="2804" y="182"/>
                    <a:pt x="2806" y="182"/>
                  </a:cubicBezTo>
                  <a:cubicBezTo>
                    <a:pt x="2806" y="184"/>
                    <a:pt x="2807" y="184"/>
                    <a:pt x="2809" y="184"/>
                  </a:cubicBezTo>
                  <a:cubicBezTo>
                    <a:pt x="2809" y="187"/>
                    <a:pt x="2805" y="186"/>
                    <a:pt x="2803" y="187"/>
                  </a:cubicBezTo>
                  <a:cubicBezTo>
                    <a:pt x="2805" y="189"/>
                    <a:pt x="2806" y="190"/>
                    <a:pt x="2806" y="194"/>
                  </a:cubicBezTo>
                  <a:cubicBezTo>
                    <a:pt x="2795" y="194"/>
                    <a:pt x="2799" y="188"/>
                    <a:pt x="2801" y="182"/>
                  </a:cubicBezTo>
                  <a:close/>
                  <a:moveTo>
                    <a:pt x="2801" y="215"/>
                  </a:moveTo>
                  <a:cubicBezTo>
                    <a:pt x="2811" y="212"/>
                    <a:pt x="2811" y="209"/>
                    <a:pt x="2820" y="215"/>
                  </a:cubicBezTo>
                  <a:cubicBezTo>
                    <a:pt x="2823" y="214"/>
                    <a:pt x="2822" y="212"/>
                    <a:pt x="2823" y="210"/>
                  </a:cubicBezTo>
                  <a:cubicBezTo>
                    <a:pt x="2822" y="208"/>
                    <a:pt x="2811" y="204"/>
                    <a:pt x="2812" y="208"/>
                  </a:cubicBezTo>
                  <a:cubicBezTo>
                    <a:pt x="2803" y="206"/>
                    <a:pt x="2815" y="203"/>
                    <a:pt x="2815" y="201"/>
                  </a:cubicBezTo>
                  <a:cubicBezTo>
                    <a:pt x="2815" y="197"/>
                    <a:pt x="2827" y="197"/>
                    <a:pt x="2831" y="198"/>
                  </a:cubicBezTo>
                  <a:cubicBezTo>
                    <a:pt x="2830" y="200"/>
                    <a:pt x="2826" y="200"/>
                    <a:pt x="2826" y="203"/>
                  </a:cubicBezTo>
                  <a:cubicBezTo>
                    <a:pt x="2825" y="206"/>
                    <a:pt x="2831" y="204"/>
                    <a:pt x="2831" y="205"/>
                  </a:cubicBezTo>
                  <a:cubicBezTo>
                    <a:pt x="2832" y="206"/>
                    <a:pt x="2825" y="218"/>
                    <a:pt x="2840" y="214"/>
                  </a:cubicBezTo>
                  <a:cubicBezTo>
                    <a:pt x="2843" y="212"/>
                    <a:pt x="2844" y="207"/>
                    <a:pt x="2853" y="209"/>
                  </a:cubicBezTo>
                  <a:cubicBezTo>
                    <a:pt x="2846" y="218"/>
                    <a:pt x="2842" y="225"/>
                    <a:pt x="2845" y="238"/>
                  </a:cubicBezTo>
                  <a:cubicBezTo>
                    <a:pt x="2842" y="238"/>
                    <a:pt x="2838" y="238"/>
                    <a:pt x="2834" y="238"/>
                  </a:cubicBezTo>
                  <a:cubicBezTo>
                    <a:pt x="2835" y="235"/>
                    <a:pt x="2839" y="236"/>
                    <a:pt x="2843" y="235"/>
                  </a:cubicBezTo>
                  <a:cubicBezTo>
                    <a:pt x="2844" y="230"/>
                    <a:pt x="2837" y="232"/>
                    <a:pt x="2837" y="228"/>
                  </a:cubicBezTo>
                  <a:cubicBezTo>
                    <a:pt x="2835" y="223"/>
                    <a:pt x="2841" y="225"/>
                    <a:pt x="2842" y="224"/>
                  </a:cubicBezTo>
                  <a:cubicBezTo>
                    <a:pt x="2844" y="222"/>
                    <a:pt x="2842" y="218"/>
                    <a:pt x="2845" y="219"/>
                  </a:cubicBezTo>
                  <a:cubicBezTo>
                    <a:pt x="2844" y="215"/>
                    <a:pt x="2842" y="220"/>
                    <a:pt x="2837" y="219"/>
                  </a:cubicBezTo>
                  <a:cubicBezTo>
                    <a:pt x="2838" y="215"/>
                    <a:pt x="2821" y="215"/>
                    <a:pt x="2826" y="222"/>
                  </a:cubicBezTo>
                  <a:cubicBezTo>
                    <a:pt x="2820" y="218"/>
                    <a:pt x="2816" y="223"/>
                    <a:pt x="2812" y="222"/>
                  </a:cubicBezTo>
                  <a:cubicBezTo>
                    <a:pt x="2811" y="221"/>
                    <a:pt x="2813" y="216"/>
                    <a:pt x="2809" y="217"/>
                  </a:cubicBezTo>
                  <a:cubicBezTo>
                    <a:pt x="2806" y="218"/>
                    <a:pt x="2807" y="221"/>
                    <a:pt x="2807" y="224"/>
                  </a:cubicBezTo>
                  <a:cubicBezTo>
                    <a:pt x="2800" y="225"/>
                    <a:pt x="2804" y="217"/>
                    <a:pt x="2798" y="217"/>
                  </a:cubicBezTo>
                  <a:cubicBezTo>
                    <a:pt x="2788" y="223"/>
                    <a:pt x="2807" y="240"/>
                    <a:pt x="2791" y="239"/>
                  </a:cubicBezTo>
                  <a:cubicBezTo>
                    <a:pt x="2791" y="237"/>
                    <a:pt x="2787" y="236"/>
                    <a:pt x="2788" y="234"/>
                  </a:cubicBezTo>
                  <a:cubicBezTo>
                    <a:pt x="2788" y="233"/>
                    <a:pt x="2793" y="232"/>
                    <a:pt x="2793" y="231"/>
                  </a:cubicBezTo>
                  <a:cubicBezTo>
                    <a:pt x="2793" y="227"/>
                    <a:pt x="2787" y="225"/>
                    <a:pt x="2790" y="217"/>
                  </a:cubicBezTo>
                  <a:cubicBezTo>
                    <a:pt x="2788" y="219"/>
                    <a:pt x="2783" y="219"/>
                    <a:pt x="2782" y="222"/>
                  </a:cubicBezTo>
                  <a:cubicBezTo>
                    <a:pt x="2777" y="220"/>
                    <a:pt x="2776" y="213"/>
                    <a:pt x="2771" y="211"/>
                  </a:cubicBezTo>
                  <a:cubicBezTo>
                    <a:pt x="2773" y="206"/>
                    <a:pt x="2776" y="210"/>
                    <a:pt x="2779" y="211"/>
                  </a:cubicBezTo>
                  <a:cubicBezTo>
                    <a:pt x="2776" y="203"/>
                    <a:pt x="2777" y="201"/>
                    <a:pt x="2782" y="196"/>
                  </a:cubicBezTo>
                  <a:cubicBezTo>
                    <a:pt x="2789" y="200"/>
                    <a:pt x="2782" y="211"/>
                    <a:pt x="2779" y="213"/>
                  </a:cubicBezTo>
                  <a:cubicBezTo>
                    <a:pt x="2780" y="219"/>
                    <a:pt x="2801" y="204"/>
                    <a:pt x="2793" y="215"/>
                  </a:cubicBezTo>
                  <a:cubicBezTo>
                    <a:pt x="2795" y="214"/>
                    <a:pt x="2798" y="213"/>
                    <a:pt x="2798" y="210"/>
                  </a:cubicBezTo>
                  <a:cubicBezTo>
                    <a:pt x="2798" y="208"/>
                    <a:pt x="2793" y="208"/>
                    <a:pt x="2790" y="208"/>
                  </a:cubicBezTo>
                  <a:cubicBezTo>
                    <a:pt x="2790" y="204"/>
                    <a:pt x="2790" y="200"/>
                    <a:pt x="2790" y="196"/>
                  </a:cubicBezTo>
                  <a:cubicBezTo>
                    <a:pt x="2807" y="195"/>
                    <a:pt x="2808" y="206"/>
                    <a:pt x="2801" y="215"/>
                  </a:cubicBezTo>
                  <a:close/>
                  <a:moveTo>
                    <a:pt x="2781" y="180"/>
                  </a:moveTo>
                  <a:cubicBezTo>
                    <a:pt x="2794" y="180"/>
                    <a:pt x="2782" y="188"/>
                    <a:pt x="2784" y="194"/>
                  </a:cubicBezTo>
                  <a:cubicBezTo>
                    <a:pt x="2778" y="194"/>
                    <a:pt x="2783" y="184"/>
                    <a:pt x="2781" y="180"/>
                  </a:cubicBezTo>
                  <a:close/>
                  <a:moveTo>
                    <a:pt x="2797" y="159"/>
                  </a:moveTo>
                  <a:cubicBezTo>
                    <a:pt x="2802" y="154"/>
                    <a:pt x="2797" y="156"/>
                    <a:pt x="2797" y="149"/>
                  </a:cubicBezTo>
                  <a:cubicBezTo>
                    <a:pt x="2803" y="148"/>
                    <a:pt x="2807" y="161"/>
                    <a:pt x="2797" y="159"/>
                  </a:cubicBezTo>
                  <a:close/>
                  <a:moveTo>
                    <a:pt x="2792" y="177"/>
                  </a:moveTo>
                  <a:cubicBezTo>
                    <a:pt x="2805" y="179"/>
                    <a:pt x="2790" y="192"/>
                    <a:pt x="2792" y="177"/>
                  </a:cubicBezTo>
                  <a:close/>
                  <a:moveTo>
                    <a:pt x="2784" y="149"/>
                  </a:moveTo>
                  <a:cubicBezTo>
                    <a:pt x="2786" y="149"/>
                    <a:pt x="2786" y="152"/>
                    <a:pt x="2786" y="154"/>
                  </a:cubicBezTo>
                  <a:cubicBezTo>
                    <a:pt x="2790" y="154"/>
                    <a:pt x="2791" y="153"/>
                    <a:pt x="2792" y="152"/>
                  </a:cubicBezTo>
                  <a:cubicBezTo>
                    <a:pt x="2802" y="156"/>
                    <a:pt x="2784" y="157"/>
                    <a:pt x="2778" y="157"/>
                  </a:cubicBezTo>
                  <a:cubicBezTo>
                    <a:pt x="2779" y="153"/>
                    <a:pt x="2783" y="153"/>
                    <a:pt x="2784" y="149"/>
                  </a:cubicBezTo>
                  <a:close/>
                  <a:moveTo>
                    <a:pt x="2776" y="166"/>
                  </a:moveTo>
                  <a:cubicBezTo>
                    <a:pt x="2779" y="167"/>
                    <a:pt x="2778" y="171"/>
                    <a:pt x="2781" y="171"/>
                  </a:cubicBezTo>
                  <a:cubicBezTo>
                    <a:pt x="2780" y="177"/>
                    <a:pt x="2772" y="171"/>
                    <a:pt x="2776" y="166"/>
                  </a:cubicBezTo>
                  <a:close/>
                  <a:moveTo>
                    <a:pt x="2770" y="175"/>
                  </a:moveTo>
                  <a:cubicBezTo>
                    <a:pt x="2770" y="178"/>
                    <a:pt x="2774" y="177"/>
                    <a:pt x="2776" y="178"/>
                  </a:cubicBezTo>
                  <a:cubicBezTo>
                    <a:pt x="2774" y="181"/>
                    <a:pt x="2779" y="190"/>
                    <a:pt x="2773" y="190"/>
                  </a:cubicBezTo>
                  <a:cubicBezTo>
                    <a:pt x="2773" y="203"/>
                    <a:pt x="2772" y="201"/>
                    <a:pt x="2768" y="211"/>
                  </a:cubicBezTo>
                  <a:cubicBezTo>
                    <a:pt x="2769" y="213"/>
                    <a:pt x="2771" y="215"/>
                    <a:pt x="2774" y="215"/>
                  </a:cubicBezTo>
                  <a:cubicBezTo>
                    <a:pt x="2773" y="218"/>
                    <a:pt x="2768" y="217"/>
                    <a:pt x="2768" y="220"/>
                  </a:cubicBezTo>
                  <a:cubicBezTo>
                    <a:pt x="2764" y="220"/>
                    <a:pt x="2767" y="213"/>
                    <a:pt x="2763" y="213"/>
                  </a:cubicBezTo>
                  <a:cubicBezTo>
                    <a:pt x="2753" y="215"/>
                    <a:pt x="2764" y="220"/>
                    <a:pt x="2757" y="225"/>
                  </a:cubicBezTo>
                  <a:cubicBezTo>
                    <a:pt x="2755" y="224"/>
                    <a:pt x="2752" y="223"/>
                    <a:pt x="2752" y="220"/>
                  </a:cubicBezTo>
                  <a:cubicBezTo>
                    <a:pt x="2752" y="218"/>
                    <a:pt x="2757" y="217"/>
                    <a:pt x="2757" y="216"/>
                  </a:cubicBezTo>
                  <a:cubicBezTo>
                    <a:pt x="2759" y="209"/>
                    <a:pt x="2756" y="199"/>
                    <a:pt x="2768" y="201"/>
                  </a:cubicBezTo>
                  <a:cubicBezTo>
                    <a:pt x="2762" y="195"/>
                    <a:pt x="2768" y="193"/>
                    <a:pt x="2768" y="183"/>
                  </a:cubicBezTo>
                  <a:cubicBezTo>
                    <a:pt x="2768" y="182"/>
                    <a:pt x="2768" y="178"/>
                    <a:pt x="2768" y="178"/>
                  </a:cubicBezTo>
                  <a:cubicBezTo>
                    <a:pt x="2767" y="178"/>
                    <a:pt x="2765" y="178"/>
                    <a:pt x="2765" y="178"/>
                  </a:cubicBezTo>
                  <a:cubicBezTo>
                    <a:pt x="2765" y="177"/>
                    <a:pt x="2767" y="175"/>
                    <a:pt x="2768" y="176"/>
                  </a:cubicBezTo>
                  <a:cubicBezTo>
                    <a:pt x="2767" y="174"/>
                    <a:pt x="2762" y="171"/>
                    <a:pt x="2762" y="171"/>
                  </a:cubicBezTo>
                  <a:cubicBezTo>
                    <a:pt x="2761" y="167"/>
                    <a:pt x="2764" y="167"/>
                    <a:pt x="2765" y="164"/>
                  </a:cubicBezTo>
                  <a:cubicBezTo>
                    <a:pt x="2765" y="159"/>
                    <a:pt x="2762" y="157"/>
                    <a:pt x="2762" y="152"/>
                  </a:cubicBezTo>
                  <a:cubicBezTo>
                    <a:pt x="2775" y="151"/>
                    <a:pt x="2768" y="167"/>
                    <a:pt x="2770" y="175"/>
                  </a:cubicBezTo>
                  <a:close/>
                  <a:moveTo>
                    <a:pt x="2757" y="185"/>
                  </a:moveTo>
                  <a:cubicBezTo>
                    <a:pt x="2768" y="184"/>
                    <a:pt x="2759" y="193"/>
                    <a:pt x="2760" y="197"/>
                  </a:cubicBezTo>
                  <a:cubicBezTo>
                    <a:pt x="2754" y="197"/>
                    <a:pt x="2758" y="189"/>
                    <a:pt x="2757" y="185"/>
                  </a:cubicBezTo>
                  <a:close/>
                  <a:moveTo>
                    <a:pt x="2734" y="153"/>
                  </a:moveTo>
                  <a:cubicBezTo>
                    <a:pt x="2748" y="151"/>
                    <a:pt x="2748" y="152"/>
                    <a:pt x="2759" y="150"/>
                  </a:cubicBezTo>
                  <a:cubicBezTo>
                    <a:pt x="2757" y="157"/>
                    <a:pt x="2761" y="159"/>
                    <a:pt x="2759" y="164"/>
                  </a:cubicBezTo>
                  <a:cubicBezTo>
                    <a:pt x="2759" y="164"/>
                    <a:pt x="2755" y="161"/>
                    <a:pt x="2754" y="162"/>
                  </a:cubicBezTo>
                  <a:cubicBezTo>
                    <a:pt x="2752" y="162"/>
                    <a:pt x="2749" y="168"/>
                    <a:pt x="2756" y="169"/>
                  </a:cubicBezTo>
                  <a:cubicBezTo>
                    <a:pt x="2754" y="171"/>
                    <a:pt x="2739" y="181"/>
                    <a:pt x="2751" y="181"/>
                  </a:cubicBezTo>
                  <a:cubicBezTo>
                    <a:pt x="2761" y="181"/>
                    <a:pt x="2743" y="187"/>
                    <a:pt x="2746" y="181"/>
                  </a:cubicBezTo>
                  <a:cubicBezTo>
                    <a:pt x="2739" y="181"/>
                    <a:pt x="2737" y="185"/>
                    <a:pt x="2732" y="181"/>
                  </a:cubicBezTo>
                  <a:cubicBezTo>
                    <a:pt x="2734" y="177"/>
                    <a:pt x="2741" y="177"/>
                    <a:pt x="2746" y="176"/>
                  </a:cubicBezTo>
                  <a:cubicBezTo>
                    <a:pt x="2743" y="172"/>
                    <a:pt x="2754" y="168"/>
                    <a:pt x="2745" y="166"/>
                  </a:cubicBezTo>
                  <a:cubicBezTo>
                    <a:pt x="2748" y="164"/>
                    <a:pt x="2751" y="162"/>
                    <a:pt x="2754" y="159"/>
                  </a:cubicBezTo>
                  <a:cubicBezTo>
                    <a:pt x="2751" y="151"/>
                    <a:pt x="2737" y="166"/>
                    <a:pt x="2740" y="155"/>
                  </a:cubicBezTo>
                  <a:cubicBezTo>
                    <a:pt x="2736" y="156"/>
                    <a:pt x="2733" y="159"/>
                    <a:pt x="2732" y="162"/>
                  </a:cubicBezTo>
                  <a:cubicBezTo>
                    <a:pt x="2723" y="160"/>
                    <a:pt x="2735" y="156"/>
                    <a:pt x="2734" y="153"/>
                  </a:cubicBezTo>
                  <a:close/>
                  <a:moveTo>
                    <a:pt x="2724" y="169"/>
                  </a:moveTo>
                  <a:cubicBezTo>
                    <a:pt x="2728" y="170"/>
                    <a:pt x="2729" y="167"/>
                    <a:pt x="2729" y="164"/>
                  </a:cubicBezTo>
                  <a:cubicBezTo>
                    <a:pt x="2734" y="165"/>
                    <a:pt x="2735" y="161"/>
                    <a:pt x="2740" y="162"/>
                  </a:cubicBezTo>
                  <a:cubicBezTo>
                    <a:pt x="2739" y="165"/>
                    <a:pt x="2741" y="166"/>
                    <a:pt x="2743" y="167"/>
                  </a:cubicBezTo>
                  <a:cubicBezTo>
                    <a:pt x="2740" y="170"/>
                    <a:pt x="2735" y="173"/>
                    <a:pt x="2732" y="176"/>
                  </a:cubicBezTo>
                  <a:cubicBezTo>
                    <a:pt x="2729" y="177"/>
                    <a:pt x="2730" y="172"/>
                    <a:pt x="2729" y="171"/>
                  </a:cubicBezTo>
                  <a:cubicBezTo>
                    <a:pt x="2725" y="170"/>
                    <a:pt x="2721" y="176"/>
                    <a:pt x="2715" y="172"/>
                  </a:cubicBezTo>
                  <a:cubicBezTo>
                    <a:pt x="2708" y="172"/>
                    <a:pt x="2719" y="176"/>
                    <a:pt x="2716" y="181"/>
                  </a:cubicBezTo>
                  <a:cubicBezTo>
                    <a:pt x="2705" y="180"/>
                    <a:pt x="2718" y="171"/>
                    <a:pt x="2704" y="172"/>
                  </a:cubicBezTo>
                  <a:cubicBezTo>
                    <a:pt x="2711" y="167"/>
                    <a:pt x="2699" y="160"/>
                    <a:pt x="2712" y="160"/>
                  </a:cubicBezTo>
                  <a:cubicBezTo>
                    <a:pt x="2711" y="166"/>
                    <a:pt x="2708" y="169"/>
                    <a:pt x="2718" y="169"/>
                  </a:cubicBezTo>
                  <a:cubicBezTo>
                    <a:pt x="2722" y="169"/>
                    <a:pt x="2722" y="149"/>
                    <a:pt x="2724" y="169"/>
                  </a:cubicBezTo>
                  <a:close/>
                  <a:moveTo>
                    <a:pt x="2701" y="151"/>
                  </a:moveTo>
                  <a:cubicBezTo>
                    <a:pt x="2704" y="148"/>
                    <a:pt x="2711" y="148"/>
                    <a:pt x="2718" y="148"/>
                  </a:cubicBezTo>
                  <a:cubicBezTo>
                    <a:pt x="2722" y="156"/>
                    <a:pt x="2700" y="160"/>
                    <a:pt x="2701" y="151"/>
                  </a:cubicBezTo>
                  <a:close/>
                  <a:moveTo>
                    <a:pt x="2699" y="203"/>
                  </a:moveTo>
                  <a:cubicBezTo>
                    <a:pt x="2699" y="198"/>
                    <a:pt x="2704" y="198"/>
                    <a:pt x="2705" y="193"/>
                  </a:cubicBezTo>
                  <a:cubicBezTo>
                    <a:pt x="2706" y="187"/>
                    <a:pt x="2702" y="187"/>
                    <a:pt x="2702" y="181"/>
                  </a:cubicBezTo>
                  <a:cubicBezTo>
                    <a:pt x="2717" y="180"/>
                    <a:pt x="2702" y="192"/>
                    <a:pt x="2710" y="195"/>
                  </a:cubicBezTo>
                  <a:cubicBezTo>
                    <a:pt x="2713" y="195"/>
                    <a:pt x="2712" y="193"/>
                    <a:pt x="2710" y="193"/>
                  </a:cubicBezTo>
                  <a:cubicBezTo>
                    <a:pt x="2712" y="190"/>
                    <a:pt x="2716" y="189"/>
                    <a:pt x="2721" y="188"/>
                  </a:cubicBezTo>
                  <a:cubicBezTo>
                    <a:pt x="2722" y="184"/>
                    <a:pt x="2718" y="176"/>
                    <a:pt x="2726" y="179"/>
                  </a:cubicBezTo>
                  <a:cubicBezTo>
                    <a:pt x="2723" y="186"/>
                    <a:pt x="2728" y="187"/>
                    <a:pt x="2727" y="197"/>
                  </a:cubicBezTo>
                  <a:cubicBezTo>
                    <a:pt x="2724" y="196"/>
                    <a:pt x="2723" y="193"/>
                    <a:pt x="2721" y="190"/>
                  </a:cubicBezTo>
                  <a:cubicBezTo>
                    <a:pt x="2713" y="192"/>
                    <a:pt x="2724" y="208"/>
                    <a:pt x="2727" y="200"/>
                  </a:cubicBezTo>
                  <a:cubicBezTo>
                    <a:pt x="2733" y="201"/>
                    <a:pt x="2724" y="203"/>
                    <a:pt x="2724" y="205"/>
                  </a:cubicBezTo>
                  <a:cubicBezTo>
                    <a:pt x="2723" y="210"/>
                    <a:pt x="2726" y="213"/>
                    <a:pt x="2727" y="219"/>
                  </a:cubicBezTo>
                  <a:cubicBezTo>
                    <a:pt x="2714" y="218"/>
                    <a:pt x="2724" y="222"/>
                    <a:pt x="2719" y="226"/>
                  </a:cubicBezTo>
                  <a:cubicBezTo>
                    <a:pt x="2711" y="223"/>
                    <a:pt x="2722" y="218"/>
                    <a:pt x="2719" y="212"/>
                  </a:cubicBezTo>
                  <a:cubicBezTo>
                    <a:pt x="2716" y="212"/>
                    <a:pt x="2717" y="215"/>
                    <a:pt x="2716" y="216"/>
                  </a:cubicBezTo>
                  <a:cubicBezTo>
                    <a:pt x="2714" y="215"/>
                    <a:pt x="2709" y="213"/>
                    <a:pt x="2708" y="217"/>
                  </a:cubicBezTo>
                  <a:cubicBezTo>
                    <a:pt x="2701" y="216"/>
                    <a:pt x="2703" y="210"/>
                    <a:pt x="2702" y="207"/>
                  </a:cubicBezTo>
                  <a:cubicBezTo>
                    <a:pt x="2702" y="205"/>
                    <a:pt x="2700" y="205"/>
                    <a:pt x="2699" y="203"/>
                  </a:cubicBezTo>
                  <a:close/>
                  <a:moveTo>
                    <a:pt x="2698" y="280"/>
                  </a:moveTo>
                  <a:cubicBezTo>
                    <a:pt x="2698" y="282"/>
                    <a:pt x="2698" y="283"/>
                    <a:pt x="2698" y="285"/>
                  </a:cubicBezTo>
                  <a:cubicBezTo>
                    <a:pt x="2696" y="285"/>
                    <a:pt x="2694" y="285"/>
                    <a:pt x="2693" y="285"/>
                  </a:cubicBezTo>
                  <a:cubicBezTo>
                    <a:pt x="2693" y="283"/>
                    <a:pt x="2693" y="282"/>
                    <a:pt x="2693" y="280"/>
                  </a:cubicBezTo>
                  <a:cubicBezTo>
                    <a:pt x="2694" y="280"/>
                    <a:pt x="2696" y="280"/>
                    <a:pt x="2698" y="280"/>
                  </a:cubicBezTo>
                  <a:close/>
                  <a:moveTo>
                    <a:pt x="2694" y="226"/>
                  </a:moveTo>
                  <a:cubicBezTo>
                    <a:pt x="2689" y="233"/>
                    <a:pt x="2695" y="245"/>
                    <a:pt x="2698" y="252"/>
                  </a:cubicBezTo>
                  <a:cubicBezTo>
                    <a:pt x="2695" y="259"/>
                    <a:pt x="2695" y="245"/>
                    <a:pt x="2689" y="247"/>
                  </a:cubicBezTo>
                  <a:cubicBezTo>
                    <a:pt x="2692" y="241"/>
                    <a:pt x="2683" y="225"/>
                    <a:pt x="2694" y="226"/>
                  </a:cubicBezTo>
                  <a:close/>
                  <a:moveTo>
                    <a:pt x="2695" y="259"/>
                  </a:moveTo>
                  <a:cubicBezTo>
                    <a:pt x="2695" y="264"/>
                    <a:pt x="2695" y="268"/>
                    <a:pt x="2695" y="273"/>
                  </a:cubicBezTo>
                  <a:cubicBezTo>
                    <a:pt x="2691" y="271"/>
                    <a:pt x="2689" y="267"/>
                    <a:pt x="2692" y="264"/>
                  </a:cubicBezTo>
                  <a:cubicBezTo>
                    <a:pt x="2682" y="261"/>
                    <a:pt x="2692" y="274"/>
                    <a:pt x="2681" y="271"/>
                  </a:cubicBezTo>
                  <a:cubicBezTo>
                    <a:pt x="2680" y="265"/>
                    <a:pt x="2686" y="266"/>
                    <a:pt x="2684" y="259"/>
                  </a:cubicBezTo>
                  <a:cubicBezTo>
                    <a:pt x="2688" y="259"/>
                    <a:pt x="2691" y="259"/>
                    <a:pt x="2695" y="259"/>
                  </a:cubicBezTo>
                  <a:close/>
                  <a:moveTo>
                    <a:pt x="2687" y="252"/>
                  </a:moveTo>
                  <a:cubicBezTo>
                    <a:pt x="2687" y="254"/>
                    <a:pt x="2687" y="255"/>
                    <a:pt x="2687" y="257"/>
                  </a:cubicBezTo>
                  <a:cubicBezTo>
                    <a:pt x="2685" y="257"/>
                    <a:pt x="2683" y="257"/>
                    <a:pt x="2681" y="257"/>
                  </a:cubicBezTo>
                  <a:cubicBezTo>
                    <a:pt x="2681" y="255"/>
                    <a:pt x="2681" y="254"/>
                    <a:pt x="2681" y="252"/>
                  </a:cubicBezTo>
                  <a:cubicBezTo>
                    <a:pt x="2683" y="252"/>
                    <a:pt x="2685" y="252"/>
                    <a:pt x="2687" y="252"/>
                  </a:cubicBezTo>
                  <a:close/>
                  <a:moveTo>
                    <a:pt x="2679" y="271"/>
                  </a:moveTo>
                  <a:cubicBezTo>
                    <a:pt x="2676" y="275"/>
                    <a:pt x="2674" y="279"/>
                    <a:pt x="2665" y="278"/>
                  </a:cubicBezTo>
                  <a:cubicBezTo>
                    <a:pt x="2667" y="276"/>
                    <a:pt x="2668" y="274"/>
                    <a:pt x="2665" y="274"/>
                  </a:cubicBezTo>
                  <a:cubicBezTo>
                    <a:pt x="2664" y="269"/>
                    <a:pt x="2675" y="272"/>
                    <a:pt x="2679" y="271"/>
                  </a:cubicBezTo>
                  <a:close/>
                  <a:moveTo>
                    <a:pt x="2673" y="259"/>
                  </a:moveTo>
                  <a:cubicBezTo>
                    <a:pt x="2671" y="262"/>
                    <a:pt x="2667" y="268"/>
                    <a:pt x="2676" y="266"/>
                  </a:cubicBezTo>
                  <a:cubicBezTo>
                    <a:pt x="2669" y="276"/>
                    <a:pt x="2657" y="258"/>
                    <a:pt x="2673" y="259"/>
                  </a:cubicBezTo>
                  <a:close/>
                  <a:moveTo>
                    <a:pt x="2676" y="255"/>
                  </a:moveTo>
                  <a:cubicBezTo>
                    <a:pt x="2673" y="253"/>
                    <a:pt x="2669" y="252"/>
                    <a:pt x="2665" y="253"/>
                  </a:cubicBezTo>
                  <a:cubicBezTo>
                    <a:pt x="2669" y="245"/>
                    <a:pt x="2664" y="243"/>
                    <a:pt x="2667" y="238"/>
                  </a:cubicBezTo>
                  <a:cubicBezTo>
                    <a:pt x="2673" y="239"/>
                    <a:pt x="2674" y="245"/>
                    <a:pt x="2670" y="248"/>
                  </a:cubicBezTo>
                  <a:cubicBezTo>
                    <a:pt x="2672" y="250"/>
                    <a:pt x="2676" y="250"/>
                    <a:pt x="2676" y="255"/>
                  </a:cubicBezTo>
                  <a:close/>
                  <a:moveTo>
                    <a:pt x="2672" y="234"/>
                  </a:moveTo>
                  <a:cubicBezTo>
                    <a:pt x="2665" y="242"/>
                    <a:pt x="2655" y="229"/>
                    <a:pt x="2672" y="234"/>
                  </a:cubicBezTo>
                  <a:close/>
                  <a:moveTo>
                    <a:pt x="2653" y="234"/>
                  </a:moveTo>
                  <a:cubicBezTo>
                    <a:pt x="2647" y="242"/>
                    <a:pt x="2642" y="226"/>
                    <a:pt x="2653" y="234"/>
                  </a:cubicBezTo>
                  <a:close/>
                  <a:moveTo>
                    <a:pt x="2674" y="8"/>
                  </a:moveTo>
                  <a:cubicBezTo>
                    <a:pt x="2674" y="13"/>
                    <a:pt x="2662" y="10"/>
                    <a:pt x="2660" y="8"/>
                  </a:cubicBezTo>
                  <a:cubicBezTo>
                    <a:pt x="2663" y="1"/>
                    <a:pt x="2669" y="9"/>
                    <a:pt x="2674" y="8"/>
                  </a:cubicBezTo>
                  <a:close/>
                  <a:moveTo>
                    <a:pt x="2646" y="124"/>
                  </a:moveTo>
                  <a:cubicBezTo>
                    <a:pt x="2655" y="127"/>
                    <a:pt x="2636" y="126"/>
                    <a:pt x="2632" y="126"/>
                  </a:cubicBezTo>
                  <a:cubicBezTo>
                    <a:pt x="2632" y="124"/>
                    <a:pt x="2636" y="124"/>
                    <a:pt x="2638" y="124"/>
                  </a:cubicBezTo>
                  <a:cubicBezTo>
                    <a:pt x="2636" y="122"/>
                    <a:pt x="2635" y="120"/>
                    <a:pt x="2632" y="119"/>
                  </a:cubicBezTo>
                  <a:cubicBezTo>
                    <a:pt x="2633" y="116"/>
                    <a:pt x="2639" y="117"/>
                    <a:pt x="2643" y="117"/>
                  </a:cubicBezTo>
                  <a:cubicBezTo>
                    <a:pt x="2643" y="119"/>
                    <a:pt x="2640" y="119"/>
                    <a:pt x="2640" y="121"/>
                  </a:cubicBezTo>
                  <a:cubicBezTo>
                    <a:pt x="2641" y="124"/>
                    <a:pt x="2644" y="123"/>
                    <a:pt x="2646" y="124"/>
                  </a:cubicBezTo>
                  <a:close/>
                  <a:moveTo>
                    <a:pt x="2640" y="100"/>
                  </a:moveTo>
                  <a:cubicBezTo>
                    <a:pt x="2639" y="103"/>
                    <a:pt x="2635" y="104"/>
                    <a:pt x="2635" y="107"/>
                  </a:cubicBezTo>
                  <a:cubicBezTo>
                    <a:pt x="2628" y="107"/>
                    <a:pt x="2634" y="98"/>
                    <a:pt x="2640" y="100"/>
                  </a:cubicBezTo>
                  <a:close/>
                  <a:moveTo>
                    <a:pt x="2626" y="103"/>
                  </a:moveTo>
                  <a:cubicBezTo>
                    <a:pt x="2622" y="104"/>
                    <a:pt x="2623" y="105"/>
                    <a:pt x="2618" y="103"/>
                  </a:cubicBezTo>
                  <a:cubicBezTo>
                    <a:pt x="2615" y="101"/>
                    <a:pt x="2634" y="100"/>
                    <a:pt x="2626" y="103"/>
                  </a:cubicBezTo>
                  <a:close/>
                  <a:moveTo>
                    <a:pt x="2618" y="82"/>
                  </a:moveTo>
                  <a:cubicBezTo>
                    <a:pt x="2623" y="83"/>
                    <a:pt x="2618" y="86"/>
                    <a:pt x="2618" y="89"/>
                  </a:cubicBezTo>
                  <a:cubicBezTo>
                    <a:pt x="2613" y="87"/>
                    <a:pt x="2617" y="85"/>
                    <a:pt x="2618" y="82"/>
                  </a:cubicBezTo>
                  <a:close/>
                  <a:moveTo>
                    <a:pt x="2616" y="117"/>
                  </a:moveTo>
                  <a:cubicBezTo>
                    <a:pt x="2621" y="116"/>
                    <a:pt x="2621" y="119"/>
                    <a:pt x="2618" y="119"/>
                  </a:cubicBezTo>
                  <a:cubicBezTo>
                    <a:pt x="2615" y="117"/>
                    <a:pt x="2607" y="122"/>
                    <a:pt x="2608" y="122"/>
                  </a:cubicBezTo>
                  <a:cubicBezTo>
                    <a:pt x="2600" y="121"/>
                    <a:pt x="2606" y="115"/>
                    <a:pt x="2616" y="117"/>
                  </a:cubicBezTo>
                  <a:close/>
                  <a:moveTo>
                    <a:pt x="2588" y="99"/>
                  </a:moveTo>
                  <a:cubicBezTo>
                    <a:pt x="2592" y="99"/>
                    <a:pt x="2590" y="105"/>
                    <a:pt x="2591" y="108"/>
                  </a:cubicBezTo>
                  <a:cubicBezTo>
                    <a:pt x="2588" y="107"/>
                    <a:pt x="2586" y="105"/>
                    <a:pt x="2585" y="108"/>
                  </a:cubicBezTo>
                  <a:cubicBezTo>
                    <a:pt x="2577" y="106"/>
                    <a:pt x="2592" y="105"/>
                    <a:pt x="2588" y="99"/>
                  </a:cubicBezTo>
                  <a:close/>
                  <a:moveTo>
                    <a:pt x="2584" y="38"/>
                  </a:moveTo>
                  <a:cubicBezTo>
                    <a:pt x="2583" y="43"/>
                    <a:pt x="2577" y="43"/>
                    <a:pt x="2573" y="40"/>
                  </a:cubicBezTo>
                  <a:cubicBezTo>
                    <a:pt x="2574" y="37"/>
                    <a:pt x="2580" y="38"/>
                    <a:pt x="2584" y="38"/>
                  </a:cubicBezTo>
                  <a:close/>
                  <a:moveTo>
                    <a:pt x="2563" y="116"/>
                  </a:moveTo>
                  <a:cubicBezTo>
                    <a:pt x="2565" y="112"/>
                    <a:pt x="2561" y="107"/>
                    <a:pt x="2563" y="104"/>
                  </a:cubicBezTo>
                  <a:cubicBezTo>
                    <a:pt x="2564" y="102"/>
                    <a:pt x="2573" y="103"/>
                    <a:pt x="2571" y="99"/>
                  </a:cubicBezTo>
                  <a:cubicBezTo>
                    <a:pt x="2580" y="103"/>
                    <a:pt x="2563" y="104"/>
                    <a:pt x="2569" y="113"/>
                  </a:cubicBezTo>
                  <a:cubicBezTo>
                    <a:pt x="2569" y="118"/>
                    <a:pt x="2579" y="114"/>
                    <a:pt x="2583" y="115"/>
                  </a:cubicBezTo>
                  <a:cubicBezTo>
                    <a:pt x="2590" y="121"/>
                    <a:pt x="2556" y="112"/>
                    <a:pt x="2566" y="127"/>
                  </a:cubicBezTo>
                  <a:cubicBezTo>
                    <a:pt x="2562" y="128"/>
                    <a:pt x="2561" y="126"/>
                    <a:pt x="2561" y="123"/>
                  </a:cubicBezTo>
                  <a:cubicBezTo>
                    <a:pt x="2559" y="121"/>
                    <a:pt x="2556" y="119"/>
                    <a:pt x="2552" y="118"/>
                  </a:cubicBezTo>
                  <a:cubicBezTo>
                    <a:pt x="2553" y="115"/>
                    <a:pt x="2559" y="116"/>
                    <a:pt x="2563" y="116"/>
                  </a:cubicBezTo>
                  <a:close/>
                  <a:moveTo>
                    <a:pt x="2544" y="121"/>
                  </a:moveTo>
                  <a:cubicBezTo>
                    <a:pt x="2542" y="119"/>
                    <a:pt x="2540" y="118"/>
                    <a:pt x="2536" y="118"/>
                  </a:cubicBezTo>
                  <a:cubicBezTo>
                    <a:pt x="2537" y="112"/>
                    <a:pt x="2546" y="113"/>
                    <a:pt x="2544" y="121"/>
                  </a:cubicBezTo>
                  <a:close/>
                  <a:moveTo>
                    <a:pt x="2554" y="179"/>
                  </a:moveTo>
                  <a:cubicBezTo>
                    <a:pt x="2555" y="184"/>
                    <a:pt x="2552" y="186"/>
                    <a:pt x="2551" y="189"/>
                  </a:cubicBezTo>
                  <a:cubicBezTo>
                    <a:pt x="2548" y="186"/>
                    <a:pt x="2546" y="182"/>
                    <a:pt x="2537" y="184"/>
                  </a:cubicBezTo>
                  <a:cubicBezTo>
                    <a:pt x="2536" y="179"/>
                    <a:pt x="2542" y="179"/>
                    <a:pt x="2540" y="172"/>
                  </a:cubicBezTo>
                  <a:cubicBezTo>
                    <a:pt x="2538" y="172"/>
                    <a:pt x="2536" y="173"/>
                    <a:pt x="2534" y="173"/>
                  </a:cubicBezTo>
                  <a:cubicBezTo>
                    <a:pt x="2535" y="170"/>
                    <a:pt x="2539" y="170"/>
                    <a:pt x="2542" y="170"/>
                  </a:cubicBezTo>
                  <a:cubicBezTo>
                    <a:pt x="2540" y="178"/>
                    <a:pt x="2544" y="181"/>
                    <a:pt x="2554" y="179"/>
                  </a:cubicBezTo>
                  <a:close/>
                  <a:moveTo>
                    <a:pt x="2548" y="168"/>
                  </a:moveTo>
                  <a:cubicBezTo>
                    <a:pt x="2552" y="168"/>
                    <a:pt x="2552" y="172"/>
                    <a:pt x="2556" y="172"/>
                  </a:cubicBezTo>
                  <a:cubicBezTo>
                    <a:pt x="2556" y="175"/>
                    <a:pt x="2553" y="173"/>
                    <a:pt x="2553" y="172"/>
                  </a:cubicBezTo>
                  <a:cubicBezTo>
                    <a:pt x="2551" y="172"/>
                    <a:pt x="2551" y="173"/>
                    <a:pt x="2551" y="175"/>
                  </a:cubicBezTo>
                  <a:cubicBezTo>
                    <a:pt x="2548" y="174"/>
                    <a:pt x="2548" y="170"/>
                    <a:pt x="2548" y="168"/>
                  </a:cubicBezTo>
                  <a:close/>
                  <a:moveTo>
                    <a:pt x="2531" y="130"/>
                  </a:moveTo>
                  <a:cubicBezTo>
                    <a:pt x="2543" y="132"/>
                    <a:pt x="2529" y="145"/>
                    <a:pt x="2531" y="130"/>
                  </a:cubicBezTo>
                  <a:close/>
                  <a:moveTo>
                    <a:pt x="2519" y="72"/>
                  </a:moveTo>
                  <a:cubicBezTo>
                    <a:pt x="2522" y="73"/>
                    <a:pt x="2523" y="76"/>
                    <a:pt x="2527" y="76"/>
                  </a:cubicBezTo>
                  <a:cubicBezTo>
                    <a:pt x="2526" y="82"/>
                    <a:pt x="2517" y="77"/>
                    <a:pt x="2519" y="72"/>
                  </a:cubicBezTo>
                  <a:close/>
                  <a:moveTo>
                    <a:pt x="2517" y="131"/>
                  </a:moveTo>
                  <a:cubicBezTo>
                    <a:pt x="2520" y="133"/>
                    <a:pt x="2527" y="131"/>
                    <a:pt x="2525" y="137"/>
                  </a:cubicBezTo>
                  <a:cubicBezTo>
                    <a:pt x="2523" y="135"/>
                    <a:pt x="2515" y="137"/>
                    <a:pt x="2517" y="131"/>
                  </a:cubicBezTo>
                  <a:close/>
                  <a:moveTo>
                    <a:pt x="2520" y="166"/>
                  </a:moveTo>
                  <a:cubicBezTo>
                    <a:pt x="2520" y="169"/>
                    <a:pt x="2514" y="168"/>
                    <a:pt x="2510" y="168"/>
                  </a:cubicBezTo>
                  <a:cubicBezTo>
                    <a:pt x="2511" y="166"/>
                    <a:pt x="2516" y="166"/>
                    <a:pt x="2515" y="161"/>
                  </a:cubicBezTo>
                  <a:cubicBezTo>
                    <a:pt x="2518" y="162"/>
                    <a:pt x="2517" y="166"/>
                    <a:pt x="2520" y="166"/>
                  </a:cubicBezTo>
                  <a:close/>
                  <a:moveTo>
                    <a:pt x="2518" y="196"/>
                  </a:moveTo>
                  <a:cubicBezTo>
                    <a:pt x="2517" y="197"/>
                    <a:pt x="2515" y="191"/>
                    <a:pt x="2513" y="192"/>
                  </a:cubicBezTo>
                  <a:cubicBezTo>
                    <a:pt x="2517" y="184"/>
                    <a:pt x="2520" y="194"/>
                    <a:pt x="2518" y="196"/>
                  </a:cubicBezTo>
                  <a:close/>
                  <a:moveTo>
                    <a:pt x="2513" y="185"/>
                  </a:moveTo>
                  <a:cubicBezTo>
                    <a:pt x="2512" y="187"/>
                    <a:pt x="2507" y="186"/>
                    <a:pt x="2507" y="189"/>
                  </a:cubicBezTo>
                  <a:cubicBezTo>
                    <a:pt x="2507" y="198"/>
                    <a:pt x="2497" y="182"/>
                    <a:pt x="2513" y="185"/>
                  </a:cubicBezTo>
                  <a:close/>
                  <a:moveTo>
                    <a:pt x="2514" y="121"/>
                  </a:moveTo>
                  <a:cubicBezTo>
                    <a:pt x="2514" y="123"/>
                    <a:pt x="2514" y="124"/>
                    <a:pt x="2514" y="126"/>
                  </a:cubicBezTo>
                  <a:cubicBezTo>
                    <a:pt x="2512" y="126"/>
                    <a:pt x="2511" y="126"/>
                    <a:pt x="2509" y="126"/>
                  </a:cubicBezTo>
                  <a:cubicBezTo>
                    <a:pt x="2509" y="124"/>
                    <a:pt x="2509" y="123"/>
                    <a:pt x="2509" y="121"/>
                  </a:cubicBezTo>
                  <a:cubicBezTo>
                    <a:pt x="2510" y="121"/>
                    <a:pt x="2512" y="121"/>
                    <a:pt x="2514" y="121"/>
                  </a:cubicBezTo>
                  <a:close/>
                  <a:moveTo>
                    <a:pt x="2503" y="131"/>
                  </a:moveTo>
                  <a:cubicBezTo>
                    <a:pt x="2503" y="131"/>
                    <a:pt x="2505" y="135"/>
                    <a:pt x="2506" y="133"/>
                  </a:cubicBezTo>
                  <a:cubicBezTo>
                    <a:pt x="2508" y="131"/>
                    <a:pt x="2508" y="131"/>
                    <a:pt x="2509" y="133"/>
                  </a:cubicBezTo>
                  <a:cubicBezTo>
                    <a:pt x="2512" y="133"/>
                    <a:pt x="2511" y="137"/>
                    <a:pt x="2512" y="140"/>
                  </a:cubicBezTo>
                  <a:cubicBezTo>
                    <a:pt x="2506" y="136"/>
                    <a:pt x="2492" y="139"/>
                    <a:pt x="2482" y="138"/>
                  </a:cubicBezTo>
                  <a:cubicBezTo>
                    <a:pt x="2483" y="136"/>
                    <a:pt x="2485" y="134"/>
                    <a:pt x="2481" y="133"/>
                  </a:cubicBezTo>
                  <a:cubicBezTo>
                    <a:pt x="2485" y="130"/>
                    <a:pt x="2497" y="130"/>
                    <a:pt x="2503" y="131"/>
                  </a:cubicBezTo>
                  <a:close/>
                  <a:moveTo>
                    <a:pt x="2488" y="190"/>
                  </a:moveTo>
                  <a:cubicBezTo>
                    <a:pt x="2488" y="188"/>
                    <a:pt x="2488" y="187"/>
                    <a:pt x="2488" y="185"/>
                  </a:cubicBezTo>
                  <a:cubicBezTo>
                    <a:pt x="2492" y="185"/>
                    <a:pt x="2495" y="185"/>
                    <a:pt x="2499" y="185"/>
                  </a:cubicBezTo>
                  <a:cubicBezTo>
                    <a:pt x="2502" y="192"/>
                    <a:pt x="2493" y="189"/>
                    <a:pt x="2488" y="190"/>
                  </a:cubicBezTo>
                  <a:close/>
                  <a:moveTo>
                    <a:pt x="2480" y="185"/>
                  </a:moveTo>
                  <a:cubicBezTo>
                    <a:pt x="2485" y="187"/>
                    <a:pt x="2480" y="190"/>
                    <a:pt x="2480" y="192"/>
                  </a:cubicBezTo>
                  <a:cubicBezTo>
                    <a:pt x="2475" y="191"/>
                    <a:pt x="2479" y="188"/>
                    <a:pt x="2480" y="185"/>
                  </a:cubicBezTo>
                  <a:close/>
                  <a:moveTo>
                    <a:pt x="2465" y="115"/>
                  </a:moveTo>
                  <a:cubicBezTo>
                    <a:pt x="2474" y="111"/>
                    <a:pt x="2467" y="123"/>
                    <a:pt x="2473" y="122"/>
                  </a:cubicBezTo>
                  <a:cubicBezTo>
                    <a:pt x="2470" y="129"/>
                    <a:pt x="2464" y="119"/>
                    <a:pt x="2465" y="115"/>
                  </a:cubicBezTo>
                  <a:close/>
                  <a:moveTo>
                    <a:pt x="2432" y="134"/>
                  </a:moveTo>
                  <a:cubicBezTo>
                    <a:pt x="2436" y="128"/>
                    <a:pt x="2446" y="135"/>
                    <a:pt x="2449" y="136"/>
                  </a:cubicBezTo>
                  <a:cubicBezTo>
                    <a:pt x="2446" y="142"/>
                    <a:pt x="2440" y="131"/>
                    <a:pt x="2432" y="134"/>
                  </a:cubicBezTo>
                  <a:close/>
                  <a:moveTo>
                    <a:pt x="2427" y="170"/>
                  </a:moveTo>
                  <a:cubicBezTo>
                    <a:pt x="2428" y="166"/>
                    <a:pt x="2432" y="164"/>
                    <a:pt x="2438" y="165"/>
                  </a:cubicBezTo>
                  <a:cubicBezTo>
                    <a:pt x="2441" y="172"/>
                    <a:pt x="2432" y="169"/>
                    <a:pt x="2427" y="170"/>
                  </a:cubicBezTo>
                  <a:close/>
                  <a:moveTo>
                    <a:pt x="2454" y="160"/>
                  </a:moveTo>
                  <a:cubicBezTo>
                    <a:pt x="2454" y="160"/>
                    <a:pt x="2455" y="158"/>
                    <a:pt x="2454" y="158"/>
                  </a:cubicBezTo>
                  <a:cubicBezTo>
                    <a:pt x="2464" y="158"/>
                    <a:pt x="2450" y="165"/>
                    <a:pt x="2446" y="162"/>
                  </a:cubicBezTo>
                  <a:cubicBezTo>
                    <a:pt x="2444" y="161"/>
                    <a:pt x="2453" y="160"/>
                    <a:pt x="2454" y="160"/>
                  </a:cubicBezTo>
                  <a:close/>
                  <a:moveTo>
                    <a:pt x="2457" y="132"/>
                  </a:moveTo>
                  <a:cubicBezTo>
                    <a:pt x="2461" y="123"/>
                    <a:pt x="2462" y="136"/>
                    <a:pt x="2460" y="136"/>
                  </a:cubicBezTo>
                  <a:cubicBezTo>
                    <a:pt x="2458" y="137"/>
                    <a:pt x="2456" y="133"/>
                    <a:pt x="2457" y="132"/>
                  </a:cubicBezTo>
                  <a:close/>
                  <a:moveTo>
                    <a:pt x="2463" y="169"/>
                  </a:moveTo>
                  <a:cubicBezTo>
                    <a:pt x="2462" y="172"/>
                    <a:pt x="2456" y="171"/>
                    <a:pt x="2452" y="172"/>
                  </a:cubicBezTo>
                  <a:cubicBezTo>
                    <a:pt x="2453" y="166"/>
                    <a:pt x="2459" y="166"/>
                    <a:pt x="2463" y="169"/>
                  </a:cubicBezTo>
                  <a:close/>
                  <a:moveTo>
                    <a:pt x="2456" y="110"/>
                  </a:moveTo>
                  <a:cubicBezTo>
                    <a:pt x="2466" y="108"/>
                    <a:pt x="2464" y="125"/>
                    <a:pt x="2454" y="120"/>
                  </a:cubicBezTo>
                  <a:cubicBezTo>
                    <a:pt x="2456" y="118"/>
                    <a:pt x="2457" y="115"/>
                    <a:pt x="2456" y="110"/>
                  </a:cubicBezTo>
                  <a:close/>
                  <a:moveTo>
                    <a:pt x="2448" y="96"/>
                  </a:moveTo>
                  <a:cubicBezTo>
                    <a:pt x="2451" y="97"/>
                    <a:pt x="2450" y="101"/>
                    <a:pt x="2453" y="101"/>
                  </a:cubicBezTo>
                  <a:cubicBezTo>
                    <a:pt x="2452" y="108"/>
                    <a:pt x="2445" y="101"/>
                    <a:pt x="2448" y="96"/>
                  </a:cubicBezTo>
                  <a:close/>
                  <a:moveTo>
                    <a:pt x="2451" y="108"/>
                  </a:moveTo>
                  <a:cubicBezTo>
                    <a:pt x="2443" y="117"/>
                    <a:pt x="2441" y="101"/>
                    <a:pt x="2451" y="108"/>
                  </a:cubicBezTo>
                  <a:close/>
                  <a:moveTo>
                    <a:pt x="2440" y="101"/>
                  </a:moveTo>
                  <a:cubicBezTo>
                    <a:pt x="2435" y="103"/>
                    <a:pt x="2441" y="113"/>
                    <a:pt x="2432" y="111"/>
                  </a:cubicBezTo>
                  <a:cubicBezTo>
                    <a:pt x="2431" y="105"/>
                    <a:pt x="2433" y="101"/>
                    <a:pt x="2440" y="101"/>
                  </a:cubicBezTo>
                  <a:close/>
                  <a:moveTo>
                    <a:pt x="2419" y="149"/>
                  </a:moveTo>
                  <a:cubicBezTo>
                    <a:pt x="2419" y="143"/>
                    <a:pt x="2428" y="148"/>
                    <a:pt x="2430" y="149"/>
                  </a:cubicBezTo>
                  <a:cubicBezTo>
                    <a:pt x="2428" y="156"/>
                    <a:pt x="2424" y="146"/>
                    <a:pt x="2419" y="149"/>
                  </a:cubicBezTo>
                  <a:close/>
                  <a:moveTo>
                    <a:pt x="2427" y="139"/>
                  </a:moveTo>
                  <a:cubicBezTo>
                    <a:pt x="2423" y="139"/>
                    <a:pt x="2419" y="139"/>
                    <a:pt x="2416" y="139"/>
                  </a:cubicBezTo>
                  <a:cubicBezTo>
                    <a:pt x="2417" y="137"/>
                    <a:pt x="2419" y="135"/>
                    <a:pt x="2416" y="135"/>
                  </a:cubicBezTo>
                  <a:cubicBezTo>
                    <a:pt x="2416" y="131"/>
                    <a:pt x="2424" y="134"/>
                    <a:pt x="2424" y="130"/>
                  </a:cubicBezTo>
                  <a:cubicBezTo>
                    <a:pt x="2427" y="131"/>
                    <a:pt x="2426" y="136"/>
                    <a:pt x="2427" y="139"/>
                  </a:cubicBezTo>
                  <a:close/>
                  <a:moveTo>
                    <a:pt x="2410" y="114"/>
                  </a:moveTo>
                  <a:cubicBezTo>
                    <a:pt x="2413" y="116"/>
                    <a:pt x="2417" y="117"/>
                    <a:pt x="2424" y="116"/>
                  </a:cubicBezTo>
                  <a:cubicBezTo>
                    <a:pt x="2421" y="121"/>
                    <a:pt x="2408" y="123"/>
                    <a:pt x="2410" y="114"/>
                  </a:cubicBezTo>
                  <a:close/>
                  <a:moveTo>
                    <a:pt x="2413" y="130"/>
                  </a:moveTo>
                  <a:cubicBezTo>
                    <a:pt x="2414" y="140"/>
                    <a:pt x="2398" y="133"/>
                    <a:pt x="2394" y="133"/>
                  </a:cubicBezTo>
                  <a:cubicBezTo>
                    <a:pt x="2399" y="122"/>
                    <a:pt x="2404" y="136"/>
                    <a:pt x="2413" y="130"/>
                  </a:cubicBezTo>
                  <a:close/>
                  <a:moveTo>
                    <a:pt x="2405" y="151"/>
                  </a:moveTo>
                  <a:cubicBezTo>
                    <a:pt x="2402" y="159"/>
                    <a:pt x="2398" y="149"/>
                    <a:pt x="2394" y="149"/>
                  </a:cubicBezTo>
                  <a:cubicBezTo>
                    <a:pt x="2397" y="146"/>
                    <a:pt x="2404" y="144"/>
                    <a:pt x="2408" y="147"/>
                  </a:cubicBezTo>
                  <a:cubicBezTo>
                    <a:pt x="2408" y="149"/>
                    <a:pt x="2404" y="148"/>
                    <a:pt x="2402" y="149"/>
                  </a:cubicBezTo>
                  <a:cubicBezTo>
                    <a:pt x="2402" y="151"/>
                    <a:pt x="2403" y="151"/>
                    <a:pt x="2405" y="151"/>
                  </a:cubicBezTo>
                  <a:close/>
                  <a:moveTo>
                    <a:pt x="2393" y="116"/>
                  </a:moveTo>
                  <a:cubicBezTo>
                    <a:pt x="2392" y="119"/>
                    <a:pt x="2390" y="121"/>
                    <a:pt x="2385" y="121"/>
                  </a:cubicBezTo>
                  <a:cubicBezTo>
                    <a:pt x="2384" y="116"/>
                    <a:pt x="2389" y="117"/>
                    <a:pt x="2393" y="116"/>
                  </a:cubicBezTo>
                  <a:close/>
                  <a:moveTo>
                    <a:pt x="2374" y="100"/>
                  </a:moveTo>
                  <a:cubicBezTo>
                    <a:pt x="2374" y="100"/>
                    <a:pt x="2380" y="96"/>
                    <a:pt x="2382" y="98"/>
                  </a:cubicBezTo>
                  <a:cubicBezTo>
                    <a:pt x="2384" y="99"/>
                    <a:pt x="2371" y="105"/>
                    <a:pt x="2374" y="100"/>
                  </a:cubicBezTo>
                  <a:close/>
                  <a:moveTo>
                    <a:pt x="2360" y="100"/>
                  </a:moveTo>
                  <a:cubicBezTo>
                    <a:pt x="2366" y="100"/>
                    <a:pt x="2369" y="102"/>
                    <a:pt x="2368" y="107"/>
                  </a:cubicBezTo>
                  <a:cubicBezTo>
                    <a:pt x="2365" y="107"/>
                    <a:pt x="2361" y="107"/>
                    <a:pt x="2360" y="110"/>
                  </a:cubicBezTo>
                  <a:cubicBezTo>
                    <a:pt x="2352" y="108"/>
                    <a:pt x="2363" y="105"/>
                    <a:pt x="2360" y="100"/>
                  </a:cubicBezTo>
                  <a:close/>
                  <a:moveTo>
                    <a:pt x="2349" y="115"/>
                  </a:moveTo>
                  <a:cubicBezTo>
                    <a:pt x="2346" y="113"/>
                    <a:pt x="2344" y="110"/>
                    <a:pt x="2344" y="105"/>
                  </a:cubicBezTo>
                  <a:cubicBezTo>
                    <a:pt x="2347" y="106"/>
                    <a:pt x="2349" y="105"/>
                    <a:pt x="2349" y="103"/>
                  </a:cubicBezTo>
                  <a:cubicBezTo>
                    <a:pt x="2352" y="103"/>
                    <a:pt x="2351" y="105"/>
                    <a:pt x="2349" y="105"/>
                  </a:cubicBezTo>
                  <a:cubicBezTo>
                    <a:pt x="2349" y="112"/>
                    <a:pt x="2354" y="110"/>
                    <a:pt x="2349" y="115"/>
                  </a:cubicBezTo>
                  <a:close/>
                  <a:moveTo>
                    <a:pt x="2347" y="124"/>
                  </a:moveTo>
                  <a:cubicBezTo>
                    <a:pt x="2350" y="121"/>
                    <a:pt x="2352" y="122"/>
                    <a:pt x="2352" y="126"/>
                  </a:cubicBezTo>
                  <a:cubicBezTo>
                    <a:pt x="2346" y="127"/>
                    <a:pt x="2344" y="125"/>
                    <a:pt x="2344" y="119"/>
                  </a:cubicBezTo>
                  <a:cubicBezTo>
                    <a:pt x="2347" y="119"/>
                    <a:pt x="2346" y="122"/>
                    <a:pt x="2347" y="124"/>
                  </a:cubicBezTo>
                  <a:close/>
                  <a:moveTo>
                    <a:pt x="2349" y="86"/>
                  </a:moveTo>
                  <a:cubicBezTo>
                    <a:pt x="2357" y="88"/>
                    <a:pt x="2345" y="90"/>
                    <a:pt x="2346" y="94"/>
                  </a:cubicBezTo>
                  <a:cubicBezTo>
                    <a:pt x="2337" y="91"/>
                    <a:pt x="2349" y="89"/>
                    <a:pt x="2349" y="86"/>
                  </a:cubicBezTo>
                  <a:close/>
                  <a:moveTo>
                    <a:pt x="2327" y="94"/>
                  </a:moveTo>
                  <a:cubicBezTo>
                    <a:pt x="2330" y="94"/>
                    <a:pt x="2329" y="98"/>
                    <a:pt x="2330" y="101"/>
                  </a:cubicBezTo>
                  <a:cubicBezTo>
                    <a:pt x="2330" y="104"/>
                    <a:pt x="2335" y="103"/>
                    <a:pt x="2338" y="103"/>
                  </a:cubicBezTo>
                  <a:cubicBezTo>
                    <a:pt x="2336" y="105"/>
                    <a:pt x="2335" y="109"/>
                    <a:pt x="2336" y="113"/>
                  </a:cubicBezTo>
                  <a:cubicBezTo>
                    <a:pt x="2334" y="111"/>
                    <a:pt x="2331" y="110"/>
                    <a:pt x="2327" y="110"/>
                  </a:cubicBezTo>
                  <a:cubicBezTo>
                    <a:pt x="2328" y="106"/>
                    <a:pt x="2327" y="103"/>
                    <a:pt x="2322" y="103"/>
                  </a:cubicBezTo>
                  <a:cubicBezTo>
                    <a:pt x="2322" y="99"/>
                    <a:pt x="2329" y="100"/>
                    <a:pt x="2327" y="94"/>
                  </a:cubicBezTo>
                  <a:close/>
                  <a:moveTo>
                    <a:pt x="2322" y="125"/>
                  </a:moveTo>
                  <a:cubicBezTo>
                    <a:pt x="2327" y="125"/>
                    <a:pt x="2324" y="132"/>
                    <a:pt x="2328" y="134"/>
                  </a:cubicBezTo>
                  <a:cubicBezTo>
                    <a:pt x="2332" y="134"/>
                    <a:pt x="2338" y="135"/>
                    <a:pt x="2339" y="131"/>
                  </a:cubicBezTo>
                  <a:cubicBezTo>
                    <a:pt x="2343" y="132"/>
                    <a:pt x="2338" y="134"/>
                    <a:pt x="2339" y="138"/>
                  </a:cubicBezTo>
                  <a:cubicBezTo>
                    <a:pt x="2334" y="139"/>
                    <a:pt x="2334" y="136"/>
                    <a:pt x="2331" y="136"/>
                  </a:cubicBezTo>
                  <a:cubicBezTo>
                    <a:pt x="2327" y="139"/>
                    <a:pt x="2326" y="143"/>
                    <a:pt x="2317" y="141"/>
                  </a:cubicBezTo>
                  <a:cubicBezTo>
                    <a:pt x="2320" y="134"/>
                    <a:pt x="2320" y="134"/>
                    <a:pt x="2309" y="134"/>
                  </a:cubicBezTo>
                  <a:cubicBezTo>
                    <a:pt x="2299" y="129"/>
                    <a:pt x="2330" y="137"/>
                    <a:pt x="2322" y="125"/>
                  </a:cubicBezTo>
                  <a:close/>
                  <a:moveTo>
                    <a:pt x="2339" y="162"/>
                  </a:moveTo>
                  <a:cubicBezTo>
                    <a:pt x="2344" y="162"/>
                    <a:pt x="2341" y="170"/>
                    <a:pt x="2348" y="169"/>
                  </a:cubicBezTo>
                  <a:cubicBezTo>
                    <a:pt x="2345" y="175"/>
                    <a:pt x="2332" y="165"/>
                    <a:pt x="2339" y="162"/>
                  </a:cubicBezTo>
                  <a:close/>
                  <a:moveTo>
                    <a:pt x="2351" y="211"/>
                  </a:moveTo>
                  <a:cubicBezTo>
                    <a:pt x="2350" y="214"/>
                    <a:pt x="2348" y="216"/>
                    <a:pt x="2343" y="216"/>
                  </a:cubicBezTo>
                  <a:cubicBezTo>
                    <a:pt x="2342" y="211"/>
                    <a:pt x="2347" y="211"/>
                    <a:pt x="2351" y="211"/>
                  </a:cubicBezTo>
                  <a:close/>
                  <a:moveTo>
                    <a:pt x="2321" y="202"/>
                  </a:moveTo>
                  <a:cubicBezTo>
                    <a:pt x="2322" y="203"/>
                    <a:pt x="2331" y="208"/>
                    <a:pt x="2332" y="202"/>
                  </a:cubicBezTo>
                  <a:cubicBezTo>
                    <a:pt x="2337" y="205"/>
                    <a:pt x="2329" y="210"/>
                    <a:pt x="2335" y="216"/>
                  </a:cubicBezTo>
                  <a:cubicBezTo>
                    <a:pt x="2332" y="216"/>
                    <a:pt x="2330" y="217"/>
                    <a:pt x="2329" y="218"/>
                  </a:cubicBezTo>
                  <a:cubicBezTo>
                    <a:pt x="2326" y="218"/>
                    <a:pt x="2326" y="211"/>
                    <a:pt x="2329" y="211"/>
                  </a:cubicBezTo>
                  <a:cubicBezTo>
                    <a:pt x="2328" y="207"/>
                    <a:pt x="2319" y="210"/>
                    <a:pt x="2321" y="202"/>
                  </a:cubicBezTo>
                  <a:close/>
                  <a:moveTo>
                    <a:pt x="2309" y="141"/>
                  </a:moveTo>
                  <a:cubicBezTo>
                    <a:pt x="2304" y="142"/>
                    <a:pt x="2303" y="138"/>
                    <a:pt x="2298" y="139"/>
                  </a:cubicBezTo>
                  <a:cubicBezTo>
                    <a:pt x="2297" y="135"/>
                    <a:pt x="2313" y="135"/>
                    <a:pt x="2309" y="141"/>
                  </a:cubicBezTo>
                  <a:close/>
                  <a:moveTo>
                    <a:pt x="2287" y="132"/>
                  </a:moveTo>
                  <a:cubicBezTo>
                    <a:pt x="2289" y="132"/>
                    <a:pt x="2292" y="132"/>
                    <a:pt x="2295" y="132"/>
                  </a:cubicBezTo>
                  <a:cubicBezTo>
                    <a:pt x="2293" y="134"/>
                    <a:pt x="2294" y="140"/>
                    <a:pt x="2292" y="142"/>
                  </a:cubicBezTo>
                  <a:cubicBezTo>
                    <a:pt x="2292" y="142"/>
                    <a:pt x="2290" y="141"/>
                    <a:pt x="2290" y="142"/>
                  </a:cubicBezTo>
                  <a:cubicBezTo>
                    <a:pt x="2288" y="146"/>
                    <a:pt x="2294" y="155"/>
                    <a:pt x="2284" y="153"/>
                  </a:cubicBezTo>
                  <a:cubicBezTo>
                    <a:pt x="2289" y="149"/>
                    <a:pt x="2286" y="140"/>
                    <a:pt x="2287" y="132"/>
                  </a:cubicBezTo>
                  <a:close/>
                  <a:moveTo>
                    <a:pt x="2291" y="252"/>
                  </a:moveTo>
                  <a:cubicBezTo>
                    <a:pt x="2291" y="254"/>
                    <a:pt x="2291" y="255"/>
                    <a:pt x="2292" y="257"/>
                  </a:cubicBezTo>
                  <a:cubicBezTo>
                    <a:pt x="2290" y="257"/>
                    <a:pt x="2288" y="257"/>
                    <a:pt x="2286" y="257"/>
                  </a:cubicBezTo>
                  <a:cubicBezTo>
                    <a:pt x="2286" y="255"/>
                    <a:pt x="2286" y="254"/>
                    <a:pt x="2286" y="252"/>
                  </a:cubicBezTo>
                  <a:cubicBezTo>
                    <a:pt x="2288" y="252"/>
                    <a:pt x="2290" y="252"/>
                    <a:pt x="2291" y="252"/>
                  </a:cubicBezTo>
                  <a:close/>
                  <a:moveTo>
                    <a:pt x="2285" y="210"/>
                  </a:moveTo>
                  <a:cubicBezTo>
                    <a:pt x="2297" y="211"/>
                    <a:pt x="2283" y="223"/>
                    <a:pt x="2285" y="210"/>
                  </a:cubicBezTo>
                  <a:close/>
                  <a:moveTo>
                    <a:pt x="2278" y="283"/>
                  </a:moveTo>
                  <a:cubicBezTo>
                    <a:pt x="2279" y="280"/>
                    <a:pt x="2284" y="280"/>
                    <a:pt x="2284" y="283"/>
                  </a:cubicBezTo>
                  <a:cubicBezTo>
                    <a:pt x="2287" y="282"/>
                    <a:pt x="2286" y="278"/>
                    <a:pt x="2286" y="276"/>
                  </a:cubicBezTo>
                  <a:cubicBezTo>
                    <a:pt x="2289" y="277"/>
                    <a:pt x="2291" y="278"/>
                    <a:pt x="2292" y="275"/>
                  </a:cubicBezTo>
                  <a:cubicBezTo>
                    <a:pt x="2299" y="281"/>
                    <a:pt x="2284" y="287"/>
                    <a:pt x="2278" y="283"/>
                  </a:cubicBezTo>
                  <a:close/>
                  <a:moveTo>
                    <a:pt x="2303" y="282"/>
                  </a:moveTo>
                  <a:cubicBezTo>
                    <a:pt x="2303" y="281"/>
                    <a:pt x="2303" y="279"/>
                    <a:pt x="2303" y="278"/>
                  </a:cubicBezTo>
                  <a:cubicBezTo>
                    <a:pt x="2305" y="278"/>
                    <a:pt x="2307" y="278"/>
                    <a:pt x="2308" y="278"/>
                  </a:cubicBezTo>
                  <a:cubicBezTo>
                    <a:pt x="2308" y="279"/>
                    <a:pt x="2308" y="281"/>
                    <a:pt x="2308" y="282"/>
                  </a:cubicBezTo>
                  <a:cubicBezTo>
                    <a:pt x="2307" y="282"/>
                    <a:pt x="2305" y="282"/>
                    <a:pt x="2303" y="282"/>
                  </a:cubicBezTo>
                  <a:close/>
                  <a:moveTo>
                    <a:pt x="2311" y="278"/>
                  </a:moveTo>
                  <a:cubicBezTo>
                    <a:pt x="2316" y="277"/>
                    <a:pt x="2316" y="280"/>
                    <a:pt x="2319" y="280"/>
                  </a:cubicBezTo>
                  <a:cubicBezTo>
                    <a:pt x="2321" y="284"/>
                    <a:pt x="2307" y="283"/>
                    <a:pt x="2311" y="278"/>
                  </a:cubicBezTo>
                  <a:close/>
                  <a:moveTo>
                    <a:pt x="2311" y="254"/>
                  </a:moveTo>
                  <a:cubicBezTo>
                    <a:pt x="2313" y="254"/>
                    <a:pt x="2313" y="253"/>
                    <a:pt x="2313" y="252"/>
                  </a:cubicBezTo>
                  <a:cubicBezTo>
                    <a:pt x="2319" y="251"/>
                    <a:pt x="2318" y="262"/>
                    <a:pt x="2311" y="259"/>
                  </a:cubicBezTo>
                  <a:cubicBezTo>
                    <a:pt x="2311" y="257"/>
                    <a:pt x="2311" y="256"/>
                    <a:pt x="2311" y="254"/>
                  </a:cubicBezTo>
                  <a:close/>
                  <a:moveTo>
                    <a:pt x="2318" y="221"/>
                  </a:moveTo>
                  <a:cubicBezTo>
                    <a:pt x="2313" y="224"/>
                    <a:pt x="2314" y="217"/>
                    <a:pt x="2313" y="216"/>
                  </a:cubicBezTo>
                  <a:cubicBezTo>
                    <a:pt x="2307" y="216"/>
                    <a:pt x="2307" y="222"/>
                    <a:pt x="2308" y="231"/>
                  </a:cubicBezTo>
                  <a:cubicBezTo>
                    <a:pt x="2310" y="231"/>
                    <a:pt x="2310" y="230"/>
                    <a:pt x="2310" y="228"/>
                  </a:cubicBezTo>
                  <a:cubicBezTo>
                    <a:pt x="2319" y="229"/>
                    <a:pt x="2300" y="236"/>
                    <a:pt x="2310" y="238"/>
                  </a:cubicBezTo>
                  <a:cubicBezTo>
                    <a:pt x="2310" y="241"/>
                    <a:pt x="2303" y="239"/>
                    <a:pt x="2302" y="238"/>
                  </a:cubicBezTo>
                  <a:cubicBezTo>
                    <a:pt x="2301" y="234"/>
                    <a:pt x="2305" y="233"/>
                    <a:pt x="2305" y="231"/>
                  </a:cubicBezTo>
                  <a:cubicBezTo>
                    <a:pt x="2304" y="225"/>
                    <a:pt x="2302" y="221"/>
                    <a:pt x="2305" y="219"/>
                  </a:cubicBezTo>
                  <a:cubicBezTo>
                    <a:pt x="2306" y="211"/>
                    <a:pt x="2291" y="218"/>
                    <a:pt x="2293" y="210"/>
                  </a:cubicBezTo>
                  <a:cubicBezTo>
                    <a:pt x="2300" y="204"/>
                    <a:pt x="2307" y="219"/>
                    <a:pt x="2302" y="205"/>
                  </a:cubicBezTo>
                  <a:cubicBezTo>
                    <a:pt x="2307" y="205"/>
                    <a:pt x="2313" y="205"/>
                    <a:pt x="2318" y="205"/>
                  </a:cubicBezTo>
                  <a:cubicBezTo>
                    <a:pt x="2317" y="212"/>
                    <a:pt x="2325" y="216"/>
                    <a:pt x="2318" y="221"/>
                  </a:cubicBezTo>
                  <a:close/>
                  <a:moveTo>
                    <a:pt x="2321" y="228"/>
                  </a:moveTo>
                  <a:cubicBezTo>
                    <a:pt x="2321" y="226"/>
                    <a:pt x="2321" y="225"/>
                    <a:pt x="2321" y="223"/>
                  </a:cubicBezTo>
                  <a:cubicBezTo>
                    <a:pt x="2323" y="223"/>
                    <a:pt x="2325" y="223"/>
                    <a:pt x="2327" y="223"/>
                  </a:cubicBezTo>
                  <a:cubicBezTo>
                    <a:pt x="2327" y="225"/>
                    <a:pt x="2327" y="226"/>
                    <a:pt x="2327" y="228"/>
                  </a:cubicBezTo>
                  <a:cubicBezTo>
                    <a:pt x="2325" y="228"/>
                    <a:pt x="2323" y="228"/>
                    <a:pt x="2321" y="228"/>
                  </a:cubicBezTo>
                  <a:close/>
                  <a:moveTo>
                    <a:pt x="2327" y="258"/>
                  </a:moveTo>
                  <a:cubicBezTo>
                    <a:pt x="2339" y="259"/>
                    <a:pt x="2325" y="272"/>
                    <a:pt x="2327" y="258"/>
                  </a:cubicBezTo>
                  <a:close/>
                  <a:moveTo>
                    <a:pt x="2338" y="249"/>
                  </a:moveTo>
                  <a:cubicBezTo>
                    <a:pt x="2336" y="248"/>
                    <a:pt x="2335" y="247"/>
                    <a:pt x="2333" y="247"/>
                  </a:cubicBezTo>
                  <a:cubicBezTo>
                    <a:pt x="2333" y="245"/>
                    <a:pt x="2335" y="244"/>
                    <a:pt x="2335" y="242"/>
                  </a:cubicBezTo>
                  <a:cubicBezTo>
                    <a:pt x="2337" y="242"/>
                    <a:pt x="2338" y="244"/>
                    <a:pt x="2341" y="244"/>
                  </a:cubicBezTo>
                  <a:cubicBezTo>
                    <a:pt x="2340" y="246"/>
                    <a:pt x="2338" y="246"/>
                    <a:pt x="2338" y="249"/>
                  </a:cubicBezTo>
                  <a:close/>
                  <a:moveTo>
                    <a:pt x="2341" y="239"/>
                  </a:moveTo>
                  <a:cubicBezTo>
                    <a:pt x="2342" y="236"/>
                    <a:pt x="2349" y="237"/>
                    <a:pt x="2346" y="230"/>
                  </a:cubicBezTo>
                  <a:cubicBezTo>
                    <a:pt x="2351" y="234"/>
                    <a:pt x="2351" y="238"/>
                    <a:pt x="2349" y="244"/>
                  </a:cubicBezTo>
                  <a:cubicBezTo>
                    <a:pt x="2346" y="242"/>
                    <a:pt x="2346" y="239"/>
                    <a:pt x="2341" y="239"/>
                  </a:cubicBezTo>
                  <a:close/>
                  <a:moveTo>
                    <a:pt x="2352" y="282"/>
                  </a:moveTo>
                  <a:cubicBezTo>
                    <a:pt x="2351" y="286"/>
                    <a:pt x="2347" y="283"/>
                    <a:pt x="2349" y="274"/>
                  </a:cubicBezTo>
                  <a:cubicBezTo>
                    <a:pt x="2351" y="268"/>
                    <a:pt x="2353" y="280"/>
                    <a:pt x="2352" y="282"/>
                  </a:cubicBezTo>
                  <a:close/>
                  <a:moveTo>
                    <a:pt x="2347" y="138"/>
                  </a:moveTo>
                  <a:cubicBezTo>
                    <a:pt x="2345" y="138"/>
                    <a:pt x="2344" y="139"/>
                    <a:pt x="2344" y="141"/>
                  </a:cubicBezTo>
                  <a:cubicBezTo>
                    <a:pt x="2334" y="139"/>
                    <a:pt x="2360" y="133"/>
                    <a:pt x="2344" y="134"/>
                  </a:cubicBezTo>
                  <a:cubicBezTo>
                    <a:pt x="2344" y="126"/>
                    <a:pt x="2351" y="134"/>
                    <a:pt x="2355" y="133"/>
                  </a:cubicBezTo>
                  <a:cubicBezTo>
                    <a:pt x="2358" y="133"/>
                    <a:pt x="2389" y="124"/>
                    <a:pt x="2377" y="140"/>
                  </a:cubicBezTo>
                  <a:cubicBezTo>
                    <a:pt x="2371" y="141"/>
                    <a:pt x="2374" y="133"/>
                    <a:pt x="2369" y="133"/>
                  </a:cubicBezTo>
                  <a:cubicBezTo>
                    <a:pt x="2365" y="138"/>
                    <a:pt x="2354" y="143"/>
                    <a:pt x="2347" y="138"/>
                  </a:cubicBezTo>
                  <a:close/>
                  <a:moveTo>
                    <a:pt x="2354" y="213"/>
                  </a:moveTo>
                  <a:cubicBezTo>
                    <a:pt x="2356" y="211"/>
                    <a:pt x="2358" y="207"/>
                    <a:pt x="2354" y="206"/>
                  </a:cubicBezTo>
                  <a:cubicBezTo>
                    <a:pt x="2355" y="201"/>
                    <a:pt x="2367" y="205"/>
                    <a:pt x="2373" y="204"/>
                  </a:cubicBezTo>
                  <a:cubicBezTo>
                    <a:pt x="2382" y="205"/>
                    <a:pt x="2368" y="207"/>
                    <a:pt x="2365" y="206"/>
                  </a:cubicBezTo>
                  <a:cubicBezTo>
                    <a:pt x="2358" y="205"/>
                    <a:pt x="2363" y="215"/>
                    <a:pt x="2354" y="213"/>
                  </a:cubicBezTo>
                  <a:close/>
                  <a:moveTo>
                    <a:pt x="2373" y="218"/>
                  </a:moveTo>
                  <a:cubicBezTo>
                    <a:pt x="2371" y="215"/>
                    <a:pt x="2363" y="217"/>
                    <a:pt x="2365" y="211"/>
                  </a:cubicBezTo>
                  <a:cubicBezTo>
                    <a:pt x="2371" y="210"/>
                    <a:pt x="2374" y="213"/>
                    <a:pt x="2373" y="218"/>
                  </a:cubicBezTo>
                  <a:close/>
                  <a:moveTo>
                    <a:pt x="2363" y="263"/>
                  </a:moveTo>
                  <a:cubicBezTo>
                    <a:pt x="2362" y="262"/>
                    <a:pt x="2357" y="267"/>
                    <a:pt x="2358" y="267"/>
                  </a:cubicBezTo>
                  <a:cubicBezTo>
                    <a:pt x="2351" y="265"/>
                    <a:pt x="2366" y="255"/>
                    <a:pt x="2366" y="265"/>
                  </a:cubicBezTo>
                  <a:cubicBezTo>
                    <a:pt x="2363" y="266"/>
                    <a:pt x="2364" y="263"/>
                    <a:pt x="2363" y="263"/>
                  </a:cubicBezTo>
                  <a:close/>
                  <a:moveTo>
                    <a:pt x="2374" y="255"/>
                  </a:moveTo>
                  <a:cubicBezTo>
                    <a:pt x="2366" y="252"/>
                    <a:pt x="2360" y="247"/>
                    <a:pt x="2368" y="241"/>
                  </a:cubicBezTo>
                  <a:cubicBezTo>
                    <a:pt x="2367" y="238"/>
                    <a:pt x="2363" y="239"/>
                    <a:pt x="2363" y="241"/>
                  </a:cubicBezTo>
                  <a:cubicBezTo>
                    <a:pt x="2356" y="240"/>
                    <a:pt x="2361" y="230"/>
                    <a:pt x="2368" y="232"/>
                  </a:cubicBezTo>
                  <a:cubicBezTo>
                    <a:pt x="2367" y="229"/>
                    <a:pt x="2363" y="230"/>
                    <a:pt x="2360" y="230"/>
                  </a:cubicBezTo>
                  <a:cubicBezTo>
                    <a:pt x="2360" y="225"/>
                    <a:pt x="2367" y="227"/>
                    <a:pt x="2365" y="220"/>
                  </a:cubicBezTo>
                  <a:cubicBezTo>
                    <a:pt x="2369" y="223"/>
                    <a:pt x="2371" y="232"/>
                    <a:pt x="2368" y="234"/>
                  </a:cubicBezTo>
                  <a:cubicBezTo>
                    <a:pt x="2366" y="238"/>
                    <a:pt x="2381" y="238"/>
                    <a:pt x="2379" y="234"/>
                  </a:cubicBezTo>
                  <a:cubicBezTo>
                    <a:pt x="2385" y="235"/>
                    <a:pt x="2374" y="244"/>
                    <a:pt x="2371" y="239"/>
                  </a:cubicBezTo>
                  <a:cubicBezTo>
                    <a:pt x="2370" y="243"/>
                    <a:pt x="2373" y="243"/>
                    <a:pt x="2376" y="244"/>
                  </a:cubicBezTo>
                  <a:cubicBezTo>
                    <a:pt x="2378" y="249"/>
                    <a:pt x="2371" y="249"/>
                    <a:pt x="2374" y="255"/>
                  </a:cubicBezTo>
                  <a:close/>
                  <a:moveTo>
                    <a:pt x="2377" y="283"/>
                  </a:moveTo>
                  <a:cubicBezTo>
                    <a:pt x="2375" y="283"/>
                    <a:pt x="2375" y="284"/>
                    <a:pt x="2374" y="286"/>
                  </a:cubicBezTo>
                  <a:cubicBezTo>
                    <a:pt x="2367" y="283"/>
                    <a:pt x="2381" y="279"/>
                    <a:pt x="2388" y="281"/>
                  </a:cubicBezTo>
                  <a:cubicBezTo>
                    <a:pt x="2388" y="283"/>
                    <a:pt x="2388" y="286"/>
                    <a:pt x="2388" y="288"/>
                  </a:cubicBezTo>
                  <a:cubicBezTo>
                    <a:pt x="2380" y="291"/>
                    <a:pt x="2381" y="284"/>
                    <a:pt x="2377" y="283"/>
                  </a:cubicBezTo>
                  <a:close/>
                  <a:moveTo>
                    <a:pt x="2381" y="218"/>
                  </a:moveTo>
                  <a:cubicBezTo>
                    <a:pt x="2378" y="217"/>
                    <a:pt x="2379" y="213"/>
                    <a:pt x="2376" y="213"/>
                  </a:cubicBezTo>
                  <a:cubicBezTo>
                    <a:pt x="2377" y="205"/>
                    <a:pt x="2383" y="215"/>
                    <a:pt x="2387" y="215"/>
                  </a:cubicBezTo>
                  <a:cubicBezTo>
                    <a:pt x="2387" y="215"/>
                    <a:pt x="2390" y="215"/>
                    <a:pt x="2390" y="215"/>
                  </a:cubicBezTo>
                  <a:cubicBezTo>
                    <a:pt x="2392" y="221"/>
                    <a:pt x="2379" y="212"/>
                    <a:pt x="2381" y="218"/>
                  </a:cubicBezTo>
                  <a:close/>
                  <a:moveTo>
                    <a:pt x="2409" y="224"/>
                  </a:moveTo>
                  <a:cubicBezTo>
                    <a:pt x="2413" y="225"/>
                    <a:pt x="2416" y="227"/>
                    <a:pt x="2420" y="229"/>
                  </a:cubicBezTo>
                  <a:cubicBezTo>
                    <a:pt x="2419" y="234"/>
                    <a:pt x="2407" y="229"/>
                    <a:pt x="2409" y="224"/>
                  </a:cubicBezTo>
                  <a:close/>
                  <a:moveTo>
                    <a:pt x="2425" y="217"/>
                  </a:moveTo>
                  <a:cubicBezTo>
                    <a:pt x="2426" y="211"/>
                    <a:pt x="2435" y="216"/>
                    <a:pt x="2436" y="217"/>
                  </a:cubicBezTo>
                  <a:cubicBezTo>
                    <a:pt x="2435" y="224"/>
                    <a:pt x="2430" y="214"/>
                    <a:pt x="2425" y="217"/>
                  </a:cubicBezTo>
                  <a:close/>
                  <a:moveTo>
                    <a:pt x="2436" y="212"/>
                  </a:moveTo>
                  <a:cubicBezTo>
                    <a:pt x="2437" y="211"/>
                    <a:pt x="2442" y="208"/>
                    <a:pt x="2444" y="209"/>
                  </a:cubicBezTo>
                  <a:cubicBezTo>
                    <a:pt x="2451" y="214"/>
                    <a:pt x="2433" y="220"/>
                    <a:pt x="2436" y="212"/>
                  </a:cubicBezTo>
                  <a:close/>
                  <a:moveTo>
                    <a:pt x="2453" y="259"/>
                  </a:moveTo>
                  <a:cubicBezTo>
                    <a:pt x="2451" y="259"/>
                    <a:pt x="2448" y="259"/>
                    <a:pt x="2445" y="259"/>
                  </a:cubicBezTo>
                  <a:cubicBezTo>
                    <a:pt x="2447" y="252"/>
                    <a:pt x="2449" y="256"/>
                    <a:pt x="2456" y="256"/>
                  </a:cubicBezTo>
                  <a:cubicBezTo>
                    <a:pt x="2456" y="260"/>
                    <a:pt x="2456" y="263"/>
                    <a:pt x="2459" y="263"/>
                  </a:cubicBezTo>
                  <a:cubicBezTo>
                    <a:pt x="2458" y="270"/>
                    <a:pt x="2450" y="263"/>
                    <a:pt x="2453" y="259"/>
                  </a:cubicBezTo>
                  <a:close/>
                  <a:moveTo>
                    <a:pt x="2464" y="237"/>
                  </a:moveTo>
                  <a:cubicBezTo>
                    <a:pt x="2460" y="238"/>
                    <a:pt x="2463" y="244"/>
                    <a:pt x="2459" y="244"/>
                  </a:cubicBezTo>
                  <a:cubicBezTo>
                    <a:pt x="2457" y="240"/>
                    <a:pt x="2460" y="238"/>
                    <a:pt x="2461" y="235"/>
                  </a:cubicBezTo>
                  <a:cubicBezTo>
                    <a:pt x="2466" y="234"/>
                    <a:pt x="2467" y="237"/>
                    <a:pt x="2464" y="237"/>
                  </a:cubicBezTo>
                  <a:close/>
                  <a:moveTo>
                    <a:pt x="2478" y="246"/>
                  </a:moveTo>
                  <a:cubicBezTo>
                    <a:pt x="2484" y="241"/>
                    <a:pt x="2475" y="239"/>
                    <a:pt x="2481" y="235"/>
                  </a:cubicBezTo>
                  <a:cubicBezTo>
                    <a:pt x="2485" y="234"/>
                    <a:pt x="2486" y="250"/>
                    <a:pt x="2478" y="246"/>
                  </a:cubicBezTo>
                  <a:close/>
                  <a:moveTo>
                    <a:pt x="2497" y="253"/>
                  </a:moveTo>
                  <a:cubicBezTo>
                    <a:pt x="2497" y="251"/>
                    <a:pt x="2501" y="251"/>
                    <a:pt x="2503" y="251"/>
                  </a:cubicBezTo>
                  <a:cubicBezTo>
                    <a:pt x="2505" y="251"/>
                    <a:pt x="2508" y="251"/>
                    <a:pt x="2511" y="251"/>
                  </a:cubicBezTo>
                  <a:cubicBezTo>
                    <a:pt x="2512" y="256"/>
                    <a:pt x="2501" y="252"/>
                    <a:pt x="2497" y="253"/>
                  </a:cubicBezTo>
                  <a:close/>
                  <a:moveTo>
                    <a:pt x="2503" y="248"/>
                  </a:moveTo>
                  <a:cubicBezTo>
                    <a:pt x="2503" y="245"/>
                    <a:pt x="2503" y="242"/>
                    <a:pt x="2503" y="239"/>
                  </a:cubicBezTo>
                  <a:cubicBezTo>
                    <a:pt x="2505" y="239"/>
                    <a:pt x="2505" y="242"/>
                    <a:pt x="2505" y="244"/>
                  </a:cubicBezTo>
                  <a:cubicBezTo>
                    <a:pt x="2509" y="244"/>
                    <a:pt x="2510" y="243"/>
                    <a:pt x="2511" y="241"/>
                  </a:cubicBezTo>
                  <a:cubicBezTo>
                    <a:pt x="2519" y="244"/>
                    <a:pt x="2507" y="249"/>
                    <a:pt x="2503" y="248"/>
                  </a:cubicBezTo>
                  <a:close/>
                  <a:moveTo>
                    <a:pt x="2517" y="269"/>
                  </a:moveTo>
                  <a:cubicBezTo>
                    <a:pt x="2512" y="275"/>
                    <a:pt x="2517" y="268"/>
                    <a:pt x="2517" y="265"/>
                  </a:cubicBezTo>
                  <a:cubicBezTo>
                    <a:pt x="2517" y="256"/>
                    <a:pt x="2524" y="271"/>
                    <a:pt x="2517" y="269"/>
                  </a:cubicBezTo>
                  <a:close/>
                  <a:moveTo>
                    <a:pt x="2535" y="241"/>
                  </a:moveTo>
                  <a:cubicBezTo>
                    <a:pt x="2533" y="237"/>
                    <a:pt x="2522" y="241"/>
                    <a:pt x="2524" y="234"/>
                  </a:cubicBezTo>
                  <a:cubicBezTo>
                    <a:pt x="2527" y="232"/>
                    <a:pt x="2532" y="231"/>
                    <a:pt x="2538" y="231"/>
                  </a:cubicBezTo>
                  <a:cubicBezTo>
                    <a:pt x="2538" y="235"/>
                    <a:pt x="2535" y="236"/>
                    <a:pt x="2535" y="241"/>
                  </a:cubicBezTo>
                  <a:close/>
                  <a:moveTo>
                    <a:pt x="2543" y="219"/>
                  </a:moveTo>
                  <a:cubicBezTo>
                    <a:pt x="2538" y="215"/>
                    <a:pt x="2538" y="221"/>
                    <a:pt x="2530" y="220"/>
                  </a:cubicBezTo>
                  <a:cubicBezTo>
                    <a:pt x="2526" y="217"/>
                    <a:pt x="2529" y="216"/>
                    <a:pt x="2530" y="213"/>
                  </a:cubicBezTo>
                  <a:cubicBezTo>
                    <a:pt x="2524" y="212"/>
                    <a:pt x="2521" y="215"/>
                    <a:pt x="2521" y="220"/>
                  </a:cubicBezTo>
                  <a:cubicBezTo>
                    <a:pt x="2511" y="215"/>
                    <a:pt x="2520" y="208"/>
                    <a:pt x="2529" y="208"/>
                  </a:cubicBezTo>
                  <a:cubicBezTo>
                    <a:pt x="2529" y="203"/>
                    <a:pt x="2521" y="208"/>
                    <a:pt x="2521" y="208"/>
                  </a:cubicBezTo>
                  <a:cubicBezTo>
                    <a:pt x="2518" y="208"/>
                    <a:pt x="2517" y="204"/>
                    <a:pt x="2513" y="203"/>
                  </a:cubicBezTo>
                  <a:cubicBezTo>
                    <a:pt x="2513" y="209"/>
                    <a:pt x="2518" y="209"/>
                    <a:pt x="2513" y="213"/>
                  </a:cubicBezTo>
                  <a:cubicBezTo>
                    <a:pt x="2511" y="215"/>
                    <a:pt x="2519" y="239"/>
                    <a:pt x="2508" y="236"/>
                  </a:cubicBezTo>
                  <a:cubicBezTo>
                    <a:pt x="2507" y="233"/>
                    <a:pt x="2510" y="232"/>
                    <a:pt x="2511" y="229"/>
                  </a:cubicBezTo>
                  <a:cubicBezTo>
                    <a:pt x="2508" y="225"/>
                    <a:pt x="2504" y="222"/>
                    <a:pt x="2499" y="220"/>
                  </a:cubicBezTo>
                  <a:cubicBezTo>
                    <a:pt x="2499" y="216"/>
                    <a:pt x="2501" y="211"/>
                    <a:pt x="2497" y="211"/>
                  </a:cubicBezTo>
                  <a:cubicBezTo>
                    <a:pt x="2493" y="211"/>
                    <a:pt x="2496" y="214"/>
                    <a:pt x="2497" y="213"/>
                  </a:cubicBezTo>
                  <a:cubicBezTo>
                    <a:pt x="2492" y="219"/>
                    <a:pt x="2486" y="214"/>
                    <a:pt x="2483" y="220"/>
                  </a:cubicBezTo>
                  <a:cubicBezTo>
                    <a:pt x="2481" y="219"/>
                    <a:pt x="2479" y="218"/>
                    <a:pt x="2475" y="218"/>
                  </a:cubicBezTo>
                  <a:cubicBezTo>
                    <a:pt x="2474" y="226"/>
                    <a:pt x="2487" y="222"/>
                    <a:pt x="2483" y="232"/>
                  </a:cubicBezTo>
                  <a:cubicBezTo>
                    <a:pt x="2479" y="233"/>
                    <a:pt x="2478" y="230"/>
                    <a:pt x="2478" y="228"/>
                  </a:cubicBezTo>
                  <a:cubicBezTo>
                    <a:pt x="2478" y="225"/>
                    <a:pt x="2473" y="227"/>
                    <a:pt x="2472" y="225"/>
                  </a:cubicBezTo>
                  <a:cubicBezTo>
                    <a:pt x="2472" y="225"/>
                    <a:pt x="2472" y="216"/>
                    <a:pt x="2469" y="218"/>
                  </a:cubicBezTo>
                  <a:cubicBezTo>
                    <a:pt x="2467" y="220"/>
                    <a:pt x="2464" y="221"/>
                    <a:pt x="2464" y="211"/>
                  </a:cubicBezTo>
                  <a:cubicBezTo>
                    <a:pt x="2459" y="214"/>
                    <a:pt x="2460" y="221"/>
                    <a:pt x="2450" y="219"/>
                  </a:cubicBezTo>
                  <a:cubicBezTo>
                    <a:pt x="2450" y="216"/>
                    <a:pt x="2449" y="214"/>
                    <a:pt x="2447" y="214"/>
                  </a:cubicBezTo>
                  <a:cubicBezTo>
                    <a:pt x="2446" y="210"/>
                    <a:pt x="2449" y="210"/>
                    <a:pt x="2453" y="209"/>
                  </a:cubicBezTo>
                  <a:cubicBezTo>
                    <a:pt x="2452" y="207"/>
                    <a:pt x="2447" y="208"/>
                    <a:pt x="2447" y="205"/>
                  </a:cubicBezTo>
                  <a:cubicBezTo>
                    <a:pt x="2436" y="206"/>
                    <a:pt x="2426" y="206"/>
                    <a:pt x="2414" y="205"/>
                  </a:cubicBezTo>
                  <a:cubicBezTo>
                    <a:pt x="2406" y="208"/>
                    <a:pt x="2418" y="211"/>
                    <a:pt x="2412" y="215"/>
                  </a:cubicBezTo>
                  <a:cubicBezTo>
                    <a:pt x="2408" y="215"/>
                    <a:pt x="2404" y="215"/>
                    <a:pt x="2401" y="215"/>
                  </a:cubicBezTo>
                  <a:cubicBezTo>
                    <a:pt x="2400" y="211"/>
                    <a:pt x="2403" y="211"/>
                    <a:pt x="2403" y="208"/>
                  </a:cubicBezTo>
                  <a:cubicBezTo>
                    <a:pt x="2400" y="201"/>
                    <a:pt x="2389" y="208"/>
                    <a:pt x="2384" y="208"/>
                  </a:cubicBezTo>
                  <a:cubicBezTo>
                    <a:pt x="2378" y="197"/>
                    <a:pt x="2422" y="207"/>
                    <a:pt x="2411" y="201"/>
                  </a:cubicBezTo>
                  <a:cubicBezTo>
                    <a:pt x="2412" y="198"/>
                    <a:pt x="2414" y="199"/>
                    <a:pt x="2414" y="200"/>
                  </a:cubicBezTo>
                  <a:cubicBezTo>
                    <a:pt x="2421" y="203"/>
                    <a:pt x="2431" y="203"/>
                    <a:pt x="2442" y="202"/>
                  </a:cubicBezTo>
                  <a:cubicBezTo>
                    <a:pt x="2444" y="201"/>
                    <a:pt x="2446" y="200"/>
                    <a:pt x="2450" y="200"/>
                  </a:cubicBezTo>
                  <a:cubicBezTo>
                    <a:pt x="2450" y="198"/>
                    <a:pt x="2450" y="195"/>
                    <a:pt x="2450" y="193"/>
                  </a:cubicBezTo>
                  <a:cubicBezTo>
                    <a:pt x="2456" y="187"/>
                    <a:pt x="2447" y="202"/>
                    <a:pt x="2458" y="202"/>
                  </a:cubicBezTo>
                  <a:cubicBezTo>
                    <a:pt x="2463" y="202"/>
                    <a:pt x="2468" y="203"/>
                    <a:pt x="2463" y="204"/>
                  </a:cubicBezTo>
                  <a:cubicBezTo>
                    <a:pt x="2460" y="206"/>
                    <a:pt x="2455" y="203"/>
                    <a:pt x="2455" y="207"/>
                  </a:cubicBezTo>
                  <a:cubicBezTo>
                    <a:pt x="2453" y="211"/>
                    <a:pt x="2468" y="210"/>
                    <a:pt x="2466" y="207"/>
                  </a:cubicBezTo>
                  <a:cubicBezTo>
                    <a:pt x="2469" y="205"/>
                    <a:pt x="2469" y="201"/>
                    <a:pt x="2474" y="202"/>
                  </a:cubicBezTo>
                  <a:cubicBezTo>
                    <a:pt x="2474" y="198"/>
                    <a:pt x="2477" y="198"/>
                    <a:pt x="2477" y="195"/>
                  </a:cubicBezTo>
                  <a:cubicBezTo>
                    <a:pt x="2481" y="195"/>
                    <a:pt x="2478" y="202"/>
                    <a:pt x="2483" y="202"/>
                  </a:cubicBezTo>
                  <a:cubicBezTo>
                    <a:pt x="2490" y="202"/>
                    <a:pt x="2492" y="198"/>
                    <a:pt x="2491" y="192"/>
                  </a:cubicBezTo>
                  <a:cubicBezTo>
                    <a:pt x="2499" y="194"/>
                    <a:pt x="2494" y="196"/>
                    <a:pt x="2494" y="201"/>
                  </a:cubicBezTo>
                  <a:cubicBezTo>
                    <a:pt x="2500" y="202"/>
                    <a:pt x="2504" y="201"/>
                    <a:pt x="2505" y="197"/>
                  </a:cubicBezTo>
                  <a:cubicBezTo>
                    <a:pt x="2508" y="196"/>
                    <a:pt x="2506" y="200"/>
                    <a:pt x="2507" y="201"/>
                  </a:cubicBezTo>
                  <a:cubicBezTo>
                    <a:pt x="2511" y="203"/>
                    <a:pt x="2519" y="200"/>
                    <a:pt x="2524" y="201"/>
                  </a:cubicBezTo>
                  <a:cubicBezTo>
                    <a:pt x="2527" y="200"/>
                    <a:pt x="2529" y="198"/>
                    <a:pt x="2529" y="194"/>
                  </a:cubicBezTo>
                  <a:cubicBezTo>
                    <a:pt x="2540" y="192"/>
                    <a:pt x="2540" y="192"/>
                    <a:pt x="2551" y="193"/>
                  </a:cubicBezTo>
                  <a:cubicBezTo>
                    <a:pt x="2553" y="201"/>
                    <a:pt x="2548" y="202"/>
                    <a:pt x="2549" y="208"/>
                  </a:cubicBezTo>
                  <a:cubicBezTo>
                    <a:pt x="2546" y="206"/>
                    <a:pt x="2542" y="205"/>
                    <a:pt x="2538" y="205"/>
                  </a:cubicBezTo>
                  <a:cubicBezTo>
                    <a:pt x="2537" y="212"/>
                    <a:pt x="2544" y="213"/>
                    <a:pt x="2543" y="219"/>
                  </a:cubicBezTo>
                  <a:close/>
                  <a:moveTo>
                    <a:pt x="2549" y="212"/>
                  </a:moveTo>
                  <a:cubicBezTo>
                    <a:pt x="2550" y="209"/>
                    <a:pt x="2552" y="213"/>
                    <a:pt x="2557" y="212"/>
                  </a:cubicBezTo>
                  <a:cubicBezTo>
                    <a:pt x="2559" y="219"/>
                    <a:pt x="2547" y="215"/>
                    <a:pt x="2552" y="224"/>
                  </a:cubicBezTo>
                  <a:cubicBezTo>
                    <a:pt x="2539" y="223"/>
                    <a:pt x="2556" y="214"/>
                    <a:pt x="2549" y="212"/>
                  </a:cubicBezTo>
                  <a:close/>
                  <a:moveTo>
                    <a:pt x="2549" y="238"/>
                  </a:moveTo>
                  <a:cubicBezTo>
                    <a:pt x="2548" y="233"/>
                    <a:pt x="2554" y="235"/>
                    <a:pt x="2554" y="231"/>
                  </a:cubicBezTo>
                  <a:cubicBezTo>
                    <a:pt x="2558" y="231"/>
                    <a:pt x="2557" y="235"/>
                    <a:pt x="2557" y="238"/>
                  </a:cubicBezTo>
                  <a:cubicBezTo>
                    <a:pt x="2555" y="238"/>
                    <a:pt x="2552" y="238"/>
                    <a:pt x="2549" y="238"/>
                  </a:cubicBezTo>
                  <a:close/>
                  <a:moveTo>
                    <a:pt x="2553" y="146"/>
                  </a:moveTo>
                  <a:cubicBezTo>
                    <a:pt x="2555" y="146"/>
                    <a:pt x="2557" y="146"/>
                    <a:pt x="2559" y="146"/>
                  </a:cubicBezTo>
                  <a:cubicBezTo>
                    <a:pt x="2559" y="153"/>
                    <a:pt x="2538" y="146"/>
                    <a:pt x="2553" y="146"/>
                  </a:cubicBezTo>
                  <a:close/>
                  <a:moveTo>
                    <a:pt x="2570" y="167"/>
                  </a:moveTo>
                  <a:cubicBezTo>
                    <a:pt x="2567" y="175"/>
                    <a:pt x="2562" y="165"/>
                    <a:pt x="2564" y="160"/>
                  </a:cubicBezTo>
                  <a:cubicBezTo>
                    <a:pt x="2568" y="161"/>
                    <a:pt x="2565" y="167"/>
                    <a:pt x="2570" y="167"/>
                  </a:cubicBezTo>
                  <a:close/>
                  <a:moveTo>
                    <a:pt x="2567" y="137"/>
                  </a:moveTo>
                  <a:cubicBezTo>
                    <a:pt x="2570" y="138"/>
                    <a:pt x="2572" y="140"/>
                    <a:pt x="2572" y="144"/>
                  </a:cubicBezTo>
                  <a:cubicBezTo>
                    <a:pt x="2569" y="143"/>
                    <a:pt x="2566" y="141"/>
                    <a:pt x="2567" y="137"/>
                  </a:cubicBezTo>
                  <a:close/>
                  <a:moveTo>
                    <a:pt x="2568" y="191"/>
                  </a:moveTo>
                  <a:cubicBezTo>
                    <a:pt x="2570" y="191"/>
                    <a:pt x="2573" y="191"/>
                    <a:pt x="2576" y="191"/>
                  </a:cubicBezTo>
                  <a:cubicBezTo>
                    <a:pt x="2575" y="196"/>
                    <a:pt x="2564" y="192"/>
                    <a:pt x="2559" y="193"/>
                  </a:cubicBezTo>
                  <a:cubicBezTo>
                    <a:pt x="2560" y="190"/>
                    <a:pt x="2564" y="191"/>
                    <a:pt x="2568" y="191"/>
                  </a:cubicBezTo>
                  <a:close/>
                  <a:moveTo>
                    <a:pt x="2559" y="200"/>
                  </a:moveTo>
                  <a:cubicBezTo>
                    <a:pt x="2562" y="205"/>
                    <a:pt x="2573" y="201"/>
                    <a:pt x="2565" y="198"/>
                  </a:cubicBezTo>
                  <a:cubicBezTo>
                    <a:pt x="2567" y="194"/>
                    <a:pt x="2569" y="198"/>
                    <a:pt x="2576" y="195"/>
                  </a:cubicBezTo>
                  <a:cubicBezTo>
                    <a:pt x="2576" y="199"/>
                    <a:pt x="2564" y="203"/>
                    <a:pt x="2576" y="202"/>
                  </a:cubicBezTo>
                  <a:cubicBezTo>
                    <a:pt x="2586" y="207"/>
                    <a:pt x="2561" y="202"/>
                    <a:pt x="2562" y="207"/>
                  </a:cubicBezTo>
                  <a:cubicBezTo>
                    <a:pt x="2560" y="208"/>
                    <a:pt x="2560" y="206"/>
                    <a:pt x="2560" y="205"/>
                  </a:cubicBezTo>
                  <a:cubicBezTo>
                    <a:pt x="2560" y="203"/>
                    <a:pt x="2560" y="202"/>
                    <a:pt x="2559" y="200"/>
                  </a:cubicBezTo>
                  <a:close/>
                  <a:moveTo>
                    <a:pt x="2595" y="219"/>
                  </a:moveTo>
                  <a:cubicBezTo>
                    <a:pt x="2593" y="223"/>
                    <a:pt x="2594" y="216"/>
                    <a:pt x="2590" y="216"/>
                  </a:cubicBezTo>
                  <a:cubicBezTo>
                    <a:pt x="2587" y="216"/>
                    <a:pt x="2585" y="212"/>
                    <a:pt x="2584" y="207"/>
                  </a:cubicBezTo>
                  <a:cubicBezTo>
                    <a:pt x="2588" y="207"/>
                    <a:pt x="2592" y="207"/>
                    <a:pt x="2595" y="207"/>
                  </a:cubicBezTo>
                  <a:cubicBezTo>
                    <a:pt x="2597" y="214"/>
                    <a:pt x="2590" y="214"/>
                    <a:pt x="2595" y="219"/>
                  </a:cubicBezTo>
                  <a:close/>
                  <a:moveTo>
                    <a:pt x="2591" y="263"/>
                  </a:moveTo>
                  <a:cubicBezTo>
                    <a:pt x="2589" y="268"/>
                    <a:pt x="2586" y="265"/>
                    <a:pt x="2588" y="256"/>
                  </a:cubicBezTo>
                  <a:cubicBezTo>
                    <a:pt x="2590" y="250"/>
                    <a:pt x="2591" y="262"/>
                    <a:pt x="2591" y="263"/>
                  </a:cubicBezTo>
                  <a:close/>
                  <a:moveTo>
                    <a:pt x="2582" y="230"/>
                  </a:moveTo>
                  <a:cubicBezTo>
                    <a:pt x="2594" y="232"/>
                    <a:pt x="2580" y="245"/>
                    <a:pt x="2582" y="230"/>
                  </a:cubicBezTo>
                  <a:close/>
                  <a:moveTo>
                    <a:pt x="2571" y="228"/>
                  </a:moveTo>
                  <a:cubicBezTo>
                    <a:pt x="2572" y="226"/>
                    <a:pt x="2573" y="224"/>
                    <a:pt x="2576" y="224"/>
                  </a:cubicBezTo>
                  <a:cubicBezTo>
                    <a:pt x="2575" y="220"/>
                    <a:pt x="2568" y="222"/>
                    <a:pt x="2571" y="214"/>
                  </a:cubicBezTo>
                  <a:cubicBezTo>
                    <a:pt x="2579" y="214"/>
                    <a:pt x="2580" y="220"/>
                    <a:pt x="2582" y="226"/>
                  </a:cubicBezTo>
                  <a:cubicBezTo>
                    <a:pt x="2579" y="228"/>
                    <a:pt x="2576" y="228"/>
                    <a:pt x="2571" y="228"/>
                  </a:cubicBezTo>
                  <a:close/>
                  <a:moveTo>
                    <a:pt x="2560" y="221"/>
                  </a:moveTo>
                  <a:cubicBezTo>
                    <a:pt x="2560" y="219"/>
                    <a:pt x="2560" y="217"/>
                    <a:pt x="2560" y="214"/>
                  </a:cubicBezTo>
                  <a:cubicBezTo>
                    <a:pt x="2562" y="214"/>
                    <a:pt x="2565" y="214"/>
                    <a:pt x="2568" y="214"/>
                  </a:cubicBezTo>
                  <a:cubicBezTo>
                    <a:pt x="2565" y="217"/>
                    <a:pt x="2567" y="223"/>
                    <a:pt x="2560" y="221"/>
                  </a:cubicBezTo>
                  <a:close/>
                  <a:moveTo>
                    <a:pt x="2568" y="231"/>
                  </a:moveTo>
                  <a:cubicBezTo>
                    <a:pt x="2578" y="230"/>
                    <a:pt x="2572" y="243"/>
                    <a:pt x="2577" y="247"/>
                  </a:cubicBezTo>
                  <a:cubicBezTo>
                    <a:pt x="2566" y="249"/>
                    <a:pt x="2569" y="238"/>
                    <a:pt x="2568" y="231"/>
                  </a:cubicBezTo>
                  <a:close/>
                  <a:moveTo>
                    <a:pt x="2569" y="254"/>
                  </a:moveTo>
                  <a:cubicBezTo>
                    <a:pt x="2568" y="251"/>
                    <a:pt x="2576" y="246"/>
                    <a:pt x="2577" y="252"/>
                  </a:cubicBezTo>
                  <a:cubicBezTo>
                    <a:pt x="2576" y="254"/>
                    <a:pt x="2578" y="254"/>
                    <a:pt x="2580" y="254"/>
                  </a:cubicBezTo>
                  <a:cubicBezTo>
                    <a:pt x="2578" y="261"/>
                    <a:pt x="2574" y="252"/>
                    <a:pt x="2569" y="254"/>
                  </a:cubicBezTo>
                  <a:close/>
                  <a:moveTo>
                    <a:pt x="2579" y="242"/>
                  </a:moveTo>
                  <a:cubicBezTo>
                    <a:pt x="2578" y="238"/>
                    <a:pt x="2592" y="239"/>
                    <a:pt x="2588" y="244"/>
                  </a:cubicBezTo>
                  <a:cubicBezTo>
                    <a:pt x="2586" y="245"/>
                    <a:pt x="2584" y="245"/>
                    <a:pt x="2582" y="245"/>
                  </a:cubicBezTo>
                  <a:cubicBezTo>
                    <a:pt x="2583" y="243"/>
                    <a:pt x="2581" y="242"/>
                    <a:pt x="2579" y="242"/>
                  </a:cubicBezTo>
                  <a:close/>
                  <a:moveTo>
                    <a:pt x="2585" y="275"/>
                  </a:moveTo>
                  <a:cubicBezTo>
                    <a:pt x="2586" y="269"/>
                    <a:pt x="2596" y="271"/>
                    <a:pt x="2596" y="266"/>
                  </a:cubicBezTo>
                  <a:cubicBezTo>
                    <a:pt x="2603" y="268"/>
                    <a:pt x="2595" y="278"/>
                    <a:pt x="2585" y="275"/>
                  </a:cubicBezTo>
                  <a:close/>
                  <a:moveTo>
                    <a:pt x="2631" y="232"/>
                  </a:moveTo>
                  <a:cubicBezTo>
                    <a:pt x="2638" y="234"/>
                    <a:pt x="2643" y="237"/>
                    <a:pt x="2643" y="246"/>
                  </a:cubicBezTo>
                  <a:cubicBezTo>
                    <a:pt x="2637" y="247"/>
                    <a:pt x="2639" y="243"/>
                    <a:pt x="2637" y="241"/>
                  </a:cubicBezTo>
                  <a:cubicBezTo>
                    <a:pt x="2635" y="239"/>
                    <a:pt x="2630" y="235"/>
                    <a:pt x="2631" y="232"/>
                  </a:cubicBezTo>
                  <a:close/>
                  <a:moveTo>
                    <a:pt x="2613" y="263"/>
                  </a:moveTo>
                  <a:cubicBezTo>
                    <a:pt x="2615" y="262"/>
                    <a:pt x="2622" y="254"/>
                    <a:pt x="2615" y="253"/>
                  </a:cubicBezTo>
                  <a:cubicBezTo>
                    <a:pt x="2616" y="247"/>
                    <a:pt x="2624" y="253"/>
                    <a:pt x="2621" y="258"/>
                  </a:cubicBezTo>
                  <a:cubicBezTo>
                    <a:pt x="2630" y="261"/>
                    <a:pt x="2623" y="250"/>
                    <a:pt x="2632" y="253"/>
                  </a:cubicBezTo>
                  <a:cubicBezTo>
                    <a:pt x="2632" y="255"/>
                    <a:pt x="2631" y="255"/>
                    <a:pt x="2629" y="255"/>
                  </a:cubicBezTo>
                  <a:cubicBezTo>
                    <a:pt x="2629" y="262"/>
                    <a:pt x="2633" y="260"/>
                    <a:pt x="2629" y="267"/>
                  </a:cubicBezTo>
                  <a:cubicBezTo>
                    <a:pt x="2628" y="270"/>
                    <a:pt x="2629" y="272"/>
                    <a:pt x="2624" y="272"/>
                  </a:cubicBezTo>
                  <a:cubicBezTo>
                    <a:pt x="2621" y="265"/>
                    <a:pt x="2628" y="266"/>
                    <a:pt x="2626" y="260"/>
                  </a:cubicBezTo>
                  <a:cubicBezTo>
                    <a:pt x="2620" y="259"/>
                    <a:pt x="2621" y="264"/>
                    <a:pt x="2621" y="267"/>
                  </a:cubicBezTo>
                  <a:cubicBezTo>
                    <a:pt x="2611" y="266"/>
                    <a:pt x="2598" y="263"/>
                    <a:pt x="2604" y="254"/>
                  </a:cubicBezTo>
                  <a:cubicBezTo>
                    <a:pt x="2600" y="253"/>
                    <a:pt x="2599" y="255"/>
                    <a:pt x="2599" y="258"/>
                  </a:cubicBezTo>
                  <a:cubicBezTo>
                    <a:pt x="2591" y="257"/>
                    <a:pt x="2601" y="253"/>
                    <a:pt x="2599" y="249"/>
                  </a:cubicBezTo>
                  <a:cubicBezTo>
                    <a:pt x="2604" y="251"/>
                    <a:pt x="2608" y="253"/>
                    <a:pt x="2607" y="261"/>
                  </a:cubicBezTo>
                  <a:cubicBezTo>
                    <a:pt x="2610" y="260"/>
                    <a:pt x="2612" y="261"/>
                    <a:pt x="2613" y="263"/>
                  </a:cubicBezTo>
                  <a:close/>
                  <a:moveTo>
                    <a:pt x="2607" y="232"/>
                  </a:moveTo>
                  <a:cubicBezTo>
                    <a:pt x="2605" y="239"/>
                    <a:pt x="2611" y="238"/>
                    <a:pt x="2610" y="244"/>
                  </a:cubicBezTo>
                  <a:cubicBezTo>
                    <a:pt x="2607" y="244"/>
                    <a:pt x="2604" y="244"/>
                    <a:pt x="2601" y="244"/>
                  </a:cubicBezTo>
                  <a:cubicBezTo>
                    <a:pt x="2601" y="240"/>
                    <a:pt x="2605" y="239"/>
                    <a:pt x="2604" y="235"/>
                  </a:cubicBezTo>
                  <a:cubicBezTo>
                    <a:pt x="2601" y="236"/>
                    <a:pt x="2598" y="238"/>
                    <a:pt x="2599" y="242"/>
                  </a:cubicBezTo>
                  <a:cubicBezTo>
                    <a:pt x="2594" y="240"/>
                    <a:pt x="2594" y="234"/>
                    <a:pt x="2593" y="230"/>
                  </a:cubicBezTo>
                  <a:cubicBezTo>
                    <a:pt x="2596" y="232"/>
                    <a:pt x="2600" y="233"/>
                    <a:pt x="2607" y="232"/>
                  </a:cubicBezTo>
                  <a:close/>
                  <a:moveTo>
                    <a:pt x="2584" y="198"/>
                  </a:moveTo>
                  <a:cubicBezTo>
                    <a:pt x="2586" y="194"/>
                    <a:pt x="2591" y="196"/>
                    <a:pt x="2592" y="197"/>
                  </a:cubicBezTo>
                  <a:cubicBezTo>
                    <a:pt x="2593" y="198"/>
                    <a:pt x="2597" y="197"/>
                    <a:pt x="2598" y="197"/>
                  </a:cubicBezTo>
                  <a:cubicBezTo>
                    <a:pt x="2599" y="198"/>
                    <a:pt x="2598" y="204"/>
                    <a:pt x="2603" y="202"/>
                  </a:cubicBezTo>
                  <a:cubicBezTo>
                    <a:pt x="2596" y="210"/>
                    <a:pt x="2590" y="198"/>
                    <a:pt x="2584" y="198"/>
                  </a:cubicBezTo>
                  <a:close/>
                  <a:moveTo>
                    <a:pt x="2586" y="146"/>
                  </a:moveTo>
                  <a:cubicBezTo>
                    <a:pt x="2591" y="147"/>
                    <a:pt x="2598" y="146"/>
                    <a:pt x="2597" y="153"/>
                  </a:cubicBezTo>
                  <a:cubicBezTo>
                    <a:pt x="2591" y="149"/>
                    <a:pt x="2594" y="153"/>
                    <a:pt x="2586" y="153"/>
                  </a:cubicBezTo>
                  <a:cubicBezTo>
                    <a:pt x="2586" y="151"/>
                    <a:pt x="2586" y="148"/>
                    <a:pt x="2586" y="146"/>
                  </a:cubicBezTo>
                  <a:close/>
                  <a:moveTo>
                    <a:pt x="2625" y="171"/>
                  </a:moveTo>
                  <a:cubicBezTo>
                    <a:pt x="2625" y="167"/>
                    <a:pt x="2625" y="163"/>
                    <a:pt x="2625" y="159"/>
                  </a:cubicBezTo>
                  <a:cubicBezTo>
                    <a:pt x="2633" y="155"/>
                    <a:pt x="2633" y="174"/>
                    <a:pt x="2625" y="171"/>
                  </a:cubicBezTo>
                  <a:close/>
                  <a:moveTo>
                    <a:pt x="2639" y="182"/>
                  </a:moveTo>
                  <a:cubicBezTo>
                    <a:pt x="2631" y="179"/>
                    <a:pt x="2636" y="177"/>
                    <a:pt x="2633" y="168"/>
                  </a:cubicBezTo>
                  <a:cubicBezTo>
                    <a:pt x="2636" y="168"/>
                    <a:pt x="2638" y="168"/>
                    <a:pt x="2641" y="168"/>
                  </a:cubicBezTo>
                  <a:cubicBezTo>
                    <a:pt x="2638" y="171"/>
                    <a:pt x="2638" y="177"/>
                    <a:pt x="2639" y="182"/>
                  </a:cubicBezTo>
                  <a:close/>
                  <a:moveTo>
                    <a:pt x="2655" y="173"/>
                  </a:moveTo>
                  <a:cubicBezTo>
                    <a:pt x="2662" y="173"/>
                    <a:pt x="2656" y="181"/>
                    <a:pt x="2655" y="182"/>
                  </a:cubicBezTo>
                  <a:cubicBezTo>
                    <a:pt x="2647" y="181"/>
                    <a:pt x="2658" y="177"/>
                    <a:pt x="2655" y="173"/>
                  </a:cubicBezTo>
                  <a:close/>
                  <a:moveTo>
                    <a:pt x="2663" y="189"/>
                  </a:moveTo>
                  <a:cubicBezTo>
                    <a:pt x="2661" y="187"/>
                    <a:pt x="2657" y="187"/>
                    <a:pt x="2652" y="187"/>
                  </a:cubicBezTo>
                  <a:cubicBezTo>
                    <a:pt x="2652" y="183"/>
                    <a:pt x="2668" y="182"/>
                    <a:pt x="2663" y="189"/>
                  </a:cubicBezTo>
                  <a:close/>
                  <a:moveTo>
                    <a:pt x="2660" y="154"/>
                  </a:moveTo>
                  <a:cubicBezTo>
                    <a:pt x="2656" y="157"/>
                    <a:pt x="2653" y="157"/>
                    <a:pt x="2649" y="154"/>
                  </a:cubicBezTo>
                  <a:cubicBezTo>
                    <a:pt x="2651" y="146"/>
                    <a:pt x="2656" y="154"/>
                    <a:pt x="2666" y="151"/>
                  </a:cubicBezTo>
                  <a:cubicBezTo>
                    <a:pt x="2668" y="150"/>
                    <a:pt x="2668" y="146"/>
                    <a:pt x="2674" y="147"/>
                  </a:cubicBezTo>
                  <a:cubicBezTo>
                    <a:pt x="2675" y="151"/>
                    <a:pt x="2672" y="151"/>
                    <a:pt x="2668" y="151"/>
                  </a:cubicBezTo>
                  <a:cubicBezTo>
                    <a:pt x="2668" y="154"/>
                    <a:pt x="2669" y="156"/>
                    <a:pt x="2671" y="156"/>
                  </a:cubicBezTo>
                  <a:cubicBezTo>
                    <a:pt x="2671" y="162"/>
                    <a:pt x="2661" y="156"/>
                    <a:pt x="2660" y="154"/>
                  </a:cubicBezTo>
                  <a:close/>
                  <a:moveTo>
                    <a:pt x="2669" y="168"/>
                  </a:moveTo>
                  <a:cubicBezTo>
                    <a:pt x="2669" y="166"/>
                    <a:pt x="2669" y="165"/>
                    <a:pt x="2669" y="163"/>
                  </a:cubicBezTo>
                  <a:cubicBezTo>
                    <a:pt x="2670" y="163"/>
                    <a:pt x="2672" y="163"/>
                    <a:pt x="2674" y="163"/>
                  </a:cubicBezTo>
                  <a:cubicBezTo>
                    <a:pt x="2674" y="165"/>
                    <a:pt x="2674" y="166"/>
                    <a:pt x="2674" y="168"/>
                  </a:cubicBezTo>
                  <a:cubicBezTo>
                    <a:pt x="2672" y="168"/>
                    <a:pt x="2670" y="168"/>
                    <a:pt x="2669" y="168"/>
                  </a:cubicBezTo>
                  <a:close/>
                  <a:moveTo>
                    <a:pt x="2685" y="184"/>
                  </a:moveTo>
                  <a:cubicBezTo>
                    <a:pt x="2679" y="185"/>
                    <a:pt x="2681" y="180"/>
                    <a:pt x="2677" y="179"/>
                  </a:cubicBezTo>
                  <a:cubicBezTo>
                    <a:pt x="2678" y="174"/>
                    <a:pt x="2688" y="179"/>
                    <a:pt x="2685" y="184"/>
                  </a:cubicBezTo>
                  <a:close/>
                  <a:moveTo>
                    <a:pt x="2682" y="135"/>
                  </a:moveTo>
                  <a:cubicBezTo>
                    <a:pt x="2682" y="141"/>
                    <a:pt x="2671" y="138"/>
                    <a:pt x="2671" y="144"/>
                  </a:cubicBezTo>
                  <a:cubicBezTo>
                    <a:pt x="2669" y="142"/>
                    <a:pt x="2661" y="135"/>
                    <a:pt x="2663" y="147"/>
                  </a:cubicBezTo>
                  <a:cubicBezTo>
                    <a:pt x="2659" y="148"/>
                    <a:pt x="2661" y="140"/>
                    <a:pt x="2660" y="140"/>
                  </a:cubicBezTo>
                  <a:cubicBezTo>
                    <a:pt x="2657" y="139"/>
                    <a:pt x="2654" y="144"/>
                    <a:pt x="2649" y="140"/>
                  </a:cubicBezTo>
                  <a:cubicBezTo>
                    <a:pt x="2647" y="139"/>
                    <a:pt x="2630" y="144"/>
                    <a:pt x="2632" y="136"/>
                  </a:cubicBezTo>
                  <a:cubicBezTo>
                    <a:pt x="2628" y="135"/>
                    <a:pt x="2627" y="137"/>
                    <a:pt x="2627" y="140"/>
                  </a:cubicBezTo>
                  <a:cubicBezTo>
                    <a:pt x="2620" y="142"/>
                    <a:pt x="2621" y="136"/>
                    <a:pt x="2616" y="136"/>
                  </a:cubicBezTo>
                  <a:cubicBezTo>
                    <a:pt x="2613" y="137"/>
                    <a:pt x="2614" y="141"/>
                    <a:pt x="2610" y="141"/>
                  </a:cubicBezTo>
                  <a:cubicBezTo>
                    <a:pt x="2606" y="142"/>
                    <a:pt x="2605" y="139"/>
                    <a:pt x="2605" y="136"/>
                  </a:cubicBezTo>
                  <a:cubicBezTo>
                    <a:pt x="2593" y="134"/>
                    <a:pt x="2592" y="141"/>
                    <a:pt x="2583" y="141"/>
                  </a:cubicBezTo>
                  <a:cubicBezTo>
                    <a:pt x="2583" y="139"/>
                    <a:pt x="2583" y="136"/>
                    <a:pt x="2583" y="134"/>
                  </a:cubicBezTo>
                  <a:cubicBezTo>
                    <a:pt x="2573" y="133"/>
                    <a:pt x="2581" y="141"/>
                    <a:pt x="2572" y="137"/>
                  </a:cubicBezTo>
                  <a:cubicBezTo>
                    <a:pt x="2572" y="137"/>
                    <a:pt x="2568" y="134"/>
                    <a:pt x="2569" y="134"/>
                  </a:cubicBezTo>
                  <a:cubicBezTo>
                    <a:pt x="2568" y="134"/>
                    <a:pt x="2561" y="140"/>
                    <a:pt x="2561" y="134"/>
                  </a:cubicBezTo>
                  <a:cubicBezTo>
                    <a:pt x="2558" y="135"/>
                    <a:pt x="2560" y="137"/>
                    <a:pt x="2561" y="137"/>
                  </a:cubicBezTo>
                  <a:cubicBezTo>
                    <a:pt x="2562" y="142"/>
                    <a:pt x="2551" y="138"/>
                    <a:pt x="2547" y="139"/>
                  </a:cubicBezTo>
                  <a:cubicBezTo>
                    <a:pt x="2547" y="137"/>
                    <a:pt x="2551" y="138"/>
                    <a:pt x="2553" y="137"/>
                  </a:cubicBezTo>
                  <a:cubicBezTo>
                    <a:pt x="2561" y="132"/>
                    <a:pt x="2569" y="128"/>
                    <a:pt x="2577" y="127"/>
                  </a:cubicBezTo>
                  <a:cubicBezTo>
                    <a:pt x="2578" y="127"/>
                    <a:pt x="2577" y="132"/>
                    <a:pt x="2578" y="132"/>
                  </a:cubicBezTo>
                  <a:cubicBezTo>
                    <a:pt x="2580" y="134"/>
                    <a:pt x="2586" y="128"/>
                    <a:pt x="2586" y="127"/>
                  </a:cubicBezTo>
                  <a:cubicBezTo>
                    <a:pt x="2587" y="128"/>
                    <a:pt x="2589" y="128"/>
                    <a:pt x="2591" y="129"/>
                  </a:cubicBezTo>
                  <a:cubicBezTo>
                    <a:pt x="2594" y="131"/>
                    <a:pt x="2595" y="131"/>
                    <a:pt x="2599" y="131"/>
                  </a:cubicBezTo>
                  <a:cubicBezTo>
                    <a:pt x="2601" y="132"/>
                    <a:pt x="2603" y="134"/>
                    <a:pt x="2602" y="134"/>
                  </a:cubicBezTo>
                  <a:cubicBezTo>
                    <a:pt x="2606" y="134"/>
                    <a:pt x="2608" y="130"/>
                    <a:pt x="2616" y="131"/>
                  </a:cubicBezTo>
                  <a:cubicBezTo>
                    <a:pt x="2617" y="131"/>
                    <a:pt x="2619" y="133"/>
                    <a:pt x="2619" y="133"/>
                  </a:cubicBezTo>
                  <a:cubicBezTo>
                    <a:pt x="2621" y="134"/>
                    <a:pt x="2623" y="131"/>
                    <a:pt x="2627" y="131"/>
                  </a:cubicBezTo>
                  <a:cubicBezTo>
                    <a:pt x="2626" y="131"/>
                    <a:pt x="2631" y="135"/>
                    <a:pt x="2632" y="133"/>
                  </a:cubicBezTo>
                  <a:cubicBezTo>
                    <a:pt x="2635" y="130"/>
                    <a:pt x="2634" y="133"/>
                    <a:pt x="2638" y="133"/>
                  </a:cubicBezTo>
                  <a:cubicBezTo>
                    <a:pt x="2642" y="133"/>
                    <a:pt x="2643" y="131"/>
                    <a:pt x="2646" y="131"/>
                  </a:cubicBezTo>
                  <a:cubicBezTo>
                    <a:pt x="2657" y="131"/>
                    <a:pt x="2670" y="132"/>
                    <a:pt x="2682" y="135"/>
                  </a:cubicBezTo>
                  <a:close/>
                  <a:moveTo>
                    <a:pt x="2665" y="116"/>
                  </a:moveTo>
                  <a:cubicBezTo>
                    <a:pt x="2665" y="119"/>
                    <a:pt x="2662" y="118"/>
                    <a:pt x="2660" y="119"/>
                  </a:cubicBezTo>
                  <a:cubicBezTo>
                    <a:pt x="2657" y="120"/>
                    <a:pt x="2657" y="124"/>
                    <a:pt x="2651" y="124"/>
                  </a:cubicBezTo>
                  <a:cubicBezTo>
                    <a:pt x="2653" y="122"/>
                    <a:pt x="2654" y="120"/>
                    <a:pt x="2654" y="116"/>
                  </a:cubicBezTo>
                  <a:cubicBezTo>
                    <a:pt x="2650" y="116"/>
                    <a:pt x="2645" y="126"/>
                    <a:pt x="2646" y="117"/>
                  </a:cubicBezTo>
                  <a:cubicBezTo>
                    <a:pt x="2650" y="117"/>
                    <a:pt x="2651" y="115"/>
                    <a:pt x="2651" y="112"/>
                  </a:cubicBezTo>
                  <a:cubicBezTo>
                    <a:pt x="2660" y="110"/>
                    <a:pt x="2657" y="118"/>
                    <a:pt x="2665" y="116"/>
                  </a:cubicBezTo>
                  <a:close/>
                  <a:moveTo>
                    <a:pt x="2673" y="107"/>
                  </a:moveTo>
                  <a:cubicBezTo>
                    <a:pt x="2664" y="110"/>
                    <a:pt x="2671" y="99"/>
                    <a:pt x="2662" y="102"/>
                  </a:cubicBezTo>
                  <a:cubicBezTo>
                    <a:pt x="2664" y="92"/>
                    <a:pt x="2681" y="102"/>
                    <a:pt x="2673" y="107"/>
                  </a:cubicBezTo>
                  <a:close/>
                  <a:moveTo>
                    <a:pt x="2724" y="24"/>
                  </a:moveTo>
                  <a:cubicBezTo>
                    <a:pt x="2718" y="17"/>
                    <a:pt x="2716" y="33"/>
                    <a:pt x="2715" y="19"/>
                  </a:cubicBezTo>
                  <a:cubicBezTo>
                    <a:pt x="2721" y="18"/>
                    <a:pt x="2724" y="19"/>
                    <a:pt x="2724" y="24"/>
                  </a:cubicBezTo>
                  <a:close/>
                  <a:moveTo>
                    <a:pt x="2694" y="71"/>
                  </a:moveTo>
                  <a:cubicBezTo>
                    <a:pt x="2697" y="71"/>
                    <a:pt x="2697" y="74"/>
                    <a:pt x="2697" y="76"/>
                  </a:cubicBezTo>
                  <a:cubicBezTo>
                    <a:pt x="2700" y="76"/>
                    <a:pt x="2702" y="75"/>
                    <a:pt x="2703" y="73"/>
                  </a:cubicBezTo>
                  <a:cubicBezTo>
                    <a:pt x="2706" y="75"/>
                    <a:pt x="2708" y="78"/>
                    <a:pt x="2708" y="83"/>
                  </a:cubicBezTo>
                  <a:cubicBezTo>
                    <a:pt x="2703" y="77"/>
                    <a:pt x="2689" y="81"/>
                    <a:pt x="2694" y="71"/>
                  </a:cubicBezTo>
                  <a:close/>
                  <a:moveTo>
                    <a:pt x="2700" y="106"/>
                  </a:moveTo>
                  <a:cubicBezTo>
                    <a:pt x="2698" y="104"/>
                    <a:pt x="2690" y="106"/>
                    <a:pt x="2692" y="99"/>
                  </a:cubicBezTo>
                  <a:cubicBezTo>
                    <a:pt x="2698" y="99"/>
                    <a:pt x="2701" y="101"/>
                    <a:pt x="2700" y="106"/>
                  </a:cubicBezTo>
                  <a:close/>
                  <a:moveTo>
                    <a:pt x="2698" y="97"/>
                  </a:moveTo>
                  <a:cubicBezTo>
                    <a:pt x="2698" y="95"/>
                    <a:pt x="2701" y="95"/>
                    <a:pt x="2703" y="94"/>
                  </a:cubicBezTo>
                  <a:cubicBezTo>
                    <a:pt x="2705" y="94"/>
                    <a:pt x="2707" y="94"/>
                    <a:pt x="2708" y="94"/>
                  </a:cubicBezTo>
                  <a:cubicBezTo>
                    <a:pt x="2708" y="98"/>
                    <a:pt x="2702" y="96"/>
                    <a:pt x="2698" y="97"/>
                  </a:cubicBezTo>
                  <a:close/>
                  <a:moveTo>
                    <a:pt x="2722" y="99"/>
                  </a:moveTo>
                  <a:cubicBezTo>
                    <a:pt x="2722" y="101"/>
                    <a:pt x="2725" y="101"/>
                    <a:pt x="2725" y="101"/>
                  </a:cubicBezTo>
                  <a:cubicBezTo>
                    <a:pt x="2725" y="105"/>
                    <a:pt x="2721" y="107"/>
                    <a:pt x="2725" y="108"/>
                  </a:cubicBezTo>
                  <a:cubicBezTo>
                    <a:pt x="2726" y="109"/>
                    <a:pt x="2720" y="111"/>
                    <a:pt x="2720" y="111"/>
                  </a:cubicBezTo>
                  <a:cubicBezTo>
                    <a:pt x="2717" y="108"/>
                    <a:pt x="2722" y="104"/>
                    <a:pt x="2717" y="104"/>
                  </a:cubicBezTo>
                  <a:cubicBezTo>
                    <a:pt x="2713" y="103"/>
                    <a:pt x="2717" y="101"/>
                    <a:pt x="2717" y="99"/>
                  </a:cubicBezTo>
                  <a:cubicBezTo>
                    <a:pt x="2717" y="97"/>
                    <a:pt x="2716" y="97"/>
                    <a:pt x="2714" y="97"/>
                  </a:cubicBezTo>
                  <a:cubicBezTo>
                    <a:pt x="2707" y="92"/>
                    <a:pt x="2720" y="98"/>
                    <a:pt x="2725" y="96"/>
                  </a:cubicBezTo>
                  <a:cubicBezTo>
                    <a:pt x="2727" y="99"/>
                    <a:pt x="2722" y="98"/>
                    <a:pt x="2722" y="99"/>
                  </a:cubicBezTo>
                  <a:close/>
                  <a:moveTo>
                    <a:pt x="2733" y="99"/>
                  </a:moveTo>
                  <a:cubicBezTo>
                    <a:pt x="2732" y="91"/>
                    <a:pt x="2741" y="92"/>
                    <a:pt x="2741" y="87"/>
                  </a:cubicBezTo>
                  <a:cubicBezTo>
                    <a:pt x="2744" y="79"/>
                    <a:pt x="2745" y="104"/>
                    <a:pt x="2733" y="99"/>
                  </a:cubicBezTo>
                  <a:close/>
                  <a:moveTo>
                    <a:pt x="2736" y="106"/>
                  </a:moveTo>
                  <a:cubicBezTo>
                    <a:pt x="2736" y="102"/>
                    <a:pt x="2748" y="108"/>
                    <a:pt x="2747" y="112"/>
                  </a:cubicBezTo>
                  <a:cubicBezTo>
                    <a:pt x="2738" y="115"/>
                    <a:pt x="2741" y="106"/>
                    <a:pt x="2736" y="106"/>
                  </a:cubicBezTo>
                  <a:close/>
                  <a:moveTo>
                    <a:pt x="2766" y="79"/>
                  </a:moveTo>
                  <a:cubicBezTo>
                    <a:pt x="2767" y="75"/>
                    <a:pt x="2769" y="81"/>
                    <a:pt x="2769" y="84"/>
                  </a:cubicBezTo>
                  <a:cubicBezTo>
                    <a:pt x="2768" y="88"/>
                    <a:pt x="2765" y="82"/>
                    <a:pt x="2766" y="79"/>
                  </a:cubicBezTo>
                  <a:close/>
                  <a:moveTo>
                    <a:pt x="2762" y="23"/>
                  </a:moveTo>
                  <a:cubicBezTo>
                    <a:pt x="2767" y="22"/>
                    <a:pt x="2766" y="33"/>
                    <a:pt x="2759" y="30"/>
                  </a:cubicBezTo>
                  <a:cubicBezTo>
                    <a:pt x="2759" y="28"/>
                    <a:pt x="2759" y="27"/>
                    <a:pt x="2759" y="25"/>
                  </a:cubicBezTo>
                  <a:cubicBezTo>
                    <a:pt x="2762" y="26"/>
                    <a:pt x="2762" y="24"/>
                    <a:pt x="2762" y="23"/>
                  </a:cubicBezTo>
                  <a:close/>
                  <a:moveTo>
                    <a:pt x="2757" y="35"/>
                  </a:moveTo>
                  <a:cubicBezTo>
                    <a:pt x="2761" y="35"/>
                    <a:pt x="2758" y="42"/>
                    <a:pt x="2762" y="42"/>
                  </a:cubicBezTo>
                  <a:cubicBezTo>
                    <a:pt x="2759" y="49"/>
                    <a:pt x="2751" y="37"/>
                    <a:pt x="2757" y="35"/>
                  </a:cubicBezTo>
                  <a:close/>
                  <a:moveTo>
                    <a:pt x="2761" y="100"/>
                  </a:moveTo>
                  <a:cubicBezTo>
                    <a:pt x="2757" y="99"/>
                    <a:pt x="2756" y="96"/>
                    <a:pt x="2755" y="91"/>
                  </a:cubicBezTo>
                  <a:cubicBezTo>
                    <a:pt x="2763" y="89"/>
                    <a:pt x="2760" y="96"/>
                    <a:pt x="2761" y="100"/>
                  </a:cubicBezTo>
                  <a:close/>
                  <a:moveTo>
                    <a:pt x="2769" y="112"/>
                  </a:moveTo>
                  <a:cubicBezTo>
                    <a:pt x="2767" y="112"/>
                    <a:pt x="2765" y="112"/>
                    <a:pt x="2764" y="112"/>
                  </a:cubicBezTo>
                  <a:cubicBezTo>
                    <a:pt x="2764" y="110"/>
                    <a:pt x="2763" y="110"/>
                    <a:pt x="2761" y="110"/>
                  </a:cubicBezTo>
                  <a:cubicBezTo>
                    <a:pt x="2760" y="105"/>
                    <a:pt x="2773" y="106"/>
                    <a:pt x="2769" y="112"/>
                  </a:cubicBezTo>
                  <a:close/>
                  <a:moveTo>
                    <a:pt x="2780" y="86"/>
                  </a:moveTo>
                  <a:cubicBezTo>
                    <a:pt x="2775" y="84"/>
                    <a:pt x="2779" y="82"/>
                    <a:pt x="2780" y="79"/>
                  </a:cubicBezTo>
                  <a:cubicBezTo>
                    <a:pt x="2785" y="81"/>
                    <a:pt x="2780" y="83"/>
                    <a:pt x="2780" y="86"/>
                  </a:cubicBezTo>
                  <a:close/>
                  <a:moveTo>
                    <a:pt x="2787" y="11"/>
                  </a:moveTo>
                  <a:cubicBezTo>
                    <a:pt x="2783" y="10"/>
                    <a:pt x="2784" y="5"/>
                    <a:pt x="2784" y="1"/>
                  </a:cubicBezTo>
                  <a:cubicBezTo>
                    <a:pt x="2795" y="0"/>
                    <a:pt x="2785" y="6"/>
                    <a:pt x="2787" y="11"/>
                  </a:cubicBezTo>
                  <a:close/>
                  <a:moveTo>
                    <a:pt x="2795" y="43"/>
                  </a:moveTo>
                  <a:cubicBezTo>
                    <a:pt x="2792" y="43"/>
                    <a:pt x="2793" y="39"/>
                    <a:pt x="2793" y="36"/>
                  </a:cubicBezTo>
                  <a:cubicBezTo>
                    <a:pt x="2797" y="35"/>
                    <a:pt x="2798" y="38"/>
                    <a:pt x="2798" y="41"/>
                  </a:cubicBezTo>
                  <a:cubicBezTo>
                    <a:pt x="2796" y="41"/>
                    <a:pt x="2795" y="42"/>
                    <a:pt x="2795" y="43"/>
                  </a:cubicBezTo>
                  <a:close/>
                  <a:moveTo>
                    <a:pt x="2791" y="123"/>
                  </a:moveTo>
                  <a:cubicBezTo>
                    <a:pt x="2792" y="121"/>
                    <a:pt x="2794" y="121"/>
                    <a:pt x="2794" y="119"/>
                  </a:cubicBezTo>
                  <a:cubicBezTo>
                    <a:pt x="2796" y="119"/>
                    <a:pt x="2798" y="119"/>
                    <a:pt x="2799" y="119"/>
                  </a:cubicBezTo>
                  <a:cubicBezTo>
                    <a:pt x="2801" y="124"/>
                    <a:pt x="2796" y="123"/>
                    <a:pt x="2791" y="123"/>
                  </a:cubicBezTo>
                  <a:close/>
                  <a:moveTo>
                    <a:pt x="2808" y="126"/>
                  </a:moveTo>
                  <a:cubicBezTo>
                    <a:pt x="2802" y="125"/>
                    <a:pt x="2802" y="120"/>
                    <a:pt x="2802" y="114"/>
                  </a:cubicBezTo>
                  <a:cubicBezTo>
                    <a:pt x="2805" y="118"/>
                    <a:pt x="2813" y="121"/>
                    <a:pt x="2808" y="126"/>
                  </a:cubicBezTo>
                  <a:close/>
                  <a:moveTo>
                    <a:pt x="2819" y="114"/>
                  </a:moveTo>
                  <a:cubicBezTo>
                    <a:pt x="2815" y="114"/>
                    <a:pt x="2817" y="116"/>
                    <a:pt x="2819" y="116"/>
                  </a:cubicBezTo>
                  <a:cubicBezTo>
                    <a:pt x="2812" y="124"/>
                    <a:pt x="2808" y="109"/>
                    <a:pt x="2810" y="102"/>
                  </a:cubicBezTo>
                  <a:cubicBezTo>
                    <a:pt x="2814" y="103"/>
                    <a:pt x="2816" y="105"/>
                    <a:pt x="2816" y="109"/>
                  </a:cubicBezTo>
                  <a:cubicBezTo>
                    <a:pt x="2823" y="106"/>
                    <a:pt x="2821" y="98"/>
                    <a:pt x="2827" y="109"/>
                  </a:cubicBezTo>
                  <a:cubicBezTo>
                    <a:pt x="2827" y="110"/>
                    <a:pt x="2829" y="108"/>
                    <a:pt x="2830" y="111"/>
                  </a:cubicBezTo>
                  <a:cubicBezTo>
                    <a:pt x="2830" y="113"/>
                    <a:pt x="2829" y="116"/>
                    <a:pt x="2830" y="118"/>
                  </a:cubicBezTo>
                  <a:cubicBezTo>
                    <a:pt x="2822" y="120"/>
                    <a:pt x="2824" y="113"/>
                    <a:pt x="2819" y="114"/>
                  </a:cubicBezTo>
                  <a:close/>
                  <a:moveTo>
                    <a:pt x="2846" y="111"/>
                  </a:moveTo>
                  <a:cubicBezTo>
                    <a:pt x="2845" y="114"/>
                    <a:pt x="2843" y="116"/>
                    <a:pt x="2838" y="116"/>
                  </a:cubicBezTo>
                  <a:cubicBezTo>
                    <a:pt x="2839" y="113"/>
                    <a:pt x="2841" y="111"/>
                    <a:pt x="2846" y="111"/>
                  </a:cubicBezTo>
                  <a:close/>
                  <a:moveTo>
                    <a:pt x="2851" y="64"/>
                  </a:moveTo>
                  <a:cubicBezTo>
                    <a:pt x="2860" y="64"/>
                    <a:pt x="2850" y="70"/>
                    <a:pt x="2856" y="71"/>
                  </a:cubicBezTo>
                  <a:cubicBezTo>
                    <a:pt x="2853" y="78"/>
                    <a:pt x="2848" y="68"/>
                    <a:pt x="2851" y="64"/>
                  </a:cubicBezTo>
                  <a:close/>
                  <a:moveTo>
                    <a:pt x="2862" y="87"/>
                  </a:moveTo>
                  <a:cubicBezTo>
                    <a:pt x="2860" y="80"/>
                    <a:pt x="2866" y="81"/>
                    <a:pt x="2865" y="75"/>
                  </a:cubicBezTo>
                  <a:cubicBezTo>
                    <a:pt x="2868" y="75"/>
                    <a:pt x="2866" y="78"/>
                    <a:pt x="2867" y="80"/>
                  </a:cubicBezTo>
                  <a:cubicBezTo>
                    <a:pt x="2867" y="80"/>
                    <a:pt x="2873" y="84"/>
                    <a:pt x="2873" y="82"/>
                  </a:cubicBezTo>
                  <a:cubicBezTo>
                    <a:pt x="2872" y="86"/>
                    <a:pt x="2868" y="85"/>
                    <a:pt x="2862" y="87"/>
                  </a:cubicBezTo>
                  <a:close/>
                  <a:moveTo>
                    <a:pt x="2867" y="54"/>
                  </a:moveTo>
                  <a:cubicBezTo>
                    <a:pt x="2868" y="53"/>
                    <a:pt x="2871" y="54"/>
                    <a:pt x="2870" y="52"/>
                  </a:cubicBezTo>
                  <a:cubicBezTo>
                    <a:pt x="2883" y="60"/>
                    <a:pt x="2857" y="64"/>
                    <a:pt x="2867" y="54"/>
                  </a:cubicBezTo>
                  <a:close/>
                  <a:moveTo>
                    <a:pt x="2875" y="40"/>
                  </a:moveTo>
                  <a:cubicBezTo>
                    <a:pt x="2876" y="34"/>
                    <a:pt x="2879" y="29"/>
                    <a:pt x="2869" y="28"/>
                  </a:cubicBezTo>
                  <a:cubicBezTo>
                    <a:pt x="2875" y="17"/>
                    <a:pt x="2888" y="40"/>
                    <a:pt x="2875" y="40"/>
                  </a:cubicBezTo>
                  <a:close/>
                  <a:moveTo>
                    <a:pt x="2881" y="91"/>
                  </a:moveTo>
                  <a:cubicBezTo>
                    <a:pt x="2881" y="90"/>
                    <a:pt x="2881" y="88"/>
                    <a:pt x="2881" y="87"/>
                  </a:cubicBezTo>
                  <a:cubicBezTo>
                    <a:pt x="2883" y="87"/>
                    <a:pt x="2885" y="87"/>
                    <a:pt x="2887" y="87"/>
                  </a:cubicBezTo>
                  <a:cubicBezTo>
                    <a:pt x="2887" y="88"/>
                    <a:pt x="2887" y="90"/>
                    <a:pt x="2887" y="91"/>
                  </a:cubicBezTo>
                  <a:cubicBezTo>
                    <a:pt x="2885" y="91"/>
                    <a:pt x="2883" y="91"/>
                    <a:pt x="288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19" name="Freeform 20"/>
            <p:cNvSpPr>
              <a:spLocks/>
            </p:cNvSpPr>
            <p:nvPr userDrawn="1"/>
          </p:nvSpPr>
          <p:spPr bwMode="auto">
            <a:xfrm>
              <a:off x="5827" y="2112"/>
              <a:ext cx="11" cy="12"/>
            </a:xfrm>
            <a:custGeom>
              <a:avLst/>
              <a:gdLst>
                <a:gd name="T0" fmla="*/ 0 w 5"/>
                <a:gd name="T1" fmla="*/ 5 h 5"/>
                <a:gd name="T2" fmla="*/ 5 w 5"/>
                <a:gd name="T3" fmla="*/ 5 h 5"/>
                <a:gd name="T4" fmla="*/ 5 w 5"/>
                <a:gd name="T5" fmla="*/ 0 h 5"/>
                <a:gd name="T6" fmla="*/ 0 w 5"/>
                <a:gd name="T7" fmla="*/ 0 h 5"/>
                <a:gd name="T8" fmla="*/ 0 w 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cubicBezTo>
                    <a:pt x="1" y="5"/>
                    <a:pt x="3" y="5"/>
                    <a:pt x="5" y="5"/>
                  </a:cubicBezTo>
                  <a:cubicBezTo>
                    <a:pt x="5" y="3"/>
                    <a:pt x="5" y="2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2"/>
                    <a:pt x="0" y="3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0" name="Freeform 21"/>
            <p:cNvSpPr>
              <a:spLocks/>
            </p:cNvSpPr>
            <p:nvPr userDrawn="1"/>
          </p:nvSpPr>
          <p:spPr bwMode="auto">
            <a:xfrm>
              <a:off x="5373" y="2207"/>
              <a:ext cx="33" cy="47"/>
            </a:xfrm>
            <a:custGeom>
              <a:avLst/>
              <a:gdLst>
                <a:gd name="T0" fmla="*/ 11 w 14"/>
                <a:gd name="T1" fmla="*/ 1 h 20"/>
                <a:gd name="T2" fmla="*/ 12 w 14"/>
                <a:gd name="T3" fmla="*/ 20 h 20"/>
                <a:gd name="T4" fmla="*/ 11 w 14"/>
                <a:gd name="T5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0">
                  <a:moveTo>
                    <a:pt x="11" y="1"/>
                  </a:moveTo>
                  <a:cubicBezTo>
                    <a:pt x="0" y="0"/>
                    <a:pt x="6" y="19"/>
                    <a:pt x="12" y="20"/>
                  </a:cubicBezTo>
                  <a:cubicBezTo>
                    <a:pt x="14" y="10"/>
                    <a:pt x="5" y="6"/>
                    <a:pt x="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1" name="Freeform 22"/>
            <p:cNvSpPr>
              <a:spLocks/>
            </p:cNvSpPr>
            <p:nvPr userDrawn="1"/>
          </p:nvSpPr>
          <p:spPr bwMode="auto">
            <a:xfrm>
              <a:off x="6280" y="2349"/>
              <a:ext cx="12" cy="12"/>
            </a:xfrm>
            <a:custGeom>
              <a:avLst/>
              <a:gdLst>
                <a:gd name="T0" fmla="*/ 1 w 5"/>
                <a:gd name="T1" fmla="*/ 5 h 5"/>
                <a:gd name="T2" fmla="*/ 5 w 5"/>
                <a:gd name="T3" fmla="*/ 4 h 5"/>
                <a:gd name="T4" fmla="*/ 5 w 5"/>
                <a:gd name="T5" fmla="*/ 0 h 5"/>
                <a:gd name="T6" fmla="*/ 1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1" y="5"/>
                  </a:moveTo>
                  <a:cubicBezTo>
                    <a:pt x="3" y="4"/>
                    <a:pt x="4" y="4"/>
                    <a:pt x="5" y="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2" name="Freeform 23"/>
            <p:cNvSpPr>
              <a:spLocks/>
            </p:cNvSpPr>
            <p:nvPr userDrawn="1"/>
          </p:nvSpPr>
          <p:spPr bwMode="auto">
            <a:xfrm>
              <a:off x="4920" y="2209"/>
              <a:ext cx="21" cy="14"/>
            </a:xfrm>
            <a:custGeom>
              <a:avLst/>
              <a:gdLst>
                <a:gd name="T0" fmla="*/ 0 w 9"/>
                <a:gd name="T1" fmla="*/ 1 h 6"/>
                <a:gd name="T2" fmla="*/ 0 w 9"/>
                <a:gd name="T3" fmla="*/ 6 h 6"/>
                <a:gd name="T4" fmla="*/ 8 w 9"/>
                <a:gd name="T5" fmla="*/ 6 h 6"/>
                <a:gd name="T6" fmla="*/ 0 w 9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6">
                  <a:moveTo>
                    <a:pt x="0" y="1"/>
                  </a:moveTo>
                  <a:cubicBezTo>
                    <a:pt x="0" y="3"/>
                    <a:pt x="0" y="4"/>
                    <a:pt x="0" y="6"/>
                  </a:cubicBezTo>
                  <a:cubicBezTo>
                    <a:pt x="3" y="6"/>
                    <a:pt x="6" y="6"/>
                    <a:pt x="8" y="6"/>
                  </a:cubicBezTo>
                  <a:cubicBezTo>
                    <a:pt x="9" y="1"/>
                    <a:pt x="6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3" name="Freeform 24"/>
            <p:cNvSpPr>
              <a:spLocks/>
            </p:cNvSpPr>
            <p:nvPr userDrawn="1"/>
          </p:nvSpPr>
          <p:spPr bwMode="auto">
            <a:xfrm>
              <a:off x="5647" y="2205"/>
              <a:ext cx="31" cy="16"/>
            </a:xfrm>
            <a:custGeom>
              <a:avLst/>
              <a:gdLst>
                <a:gd name="T0" fmla="*/ 13 w 13"/>
                <a:gd name="T1" fmla="*/ 2 h 7"/>
                <a:gd name="T2" fmla="*/ 8 w 13"/>
                <a:gd name="T3" fmla="*/ 0 h 7"/>
                <a:gd name="T4" fmla="*/ 13 w 13"/>
                <a:gd name="T5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7">
                  <a:moveTo>
                    <a:pt x="13" y="2"/>
                  </a:moveTo>
                  <a:cubicBezTo>
                    <a:pt x="10" y="2"/>
                    <a:pt x="10" y="0"/>
                    <a:pt x="8" y="0"/>
                  </a:cubicBezTo>
                  <a:cubicBezTo>
                    <a:pt x="0" y="5"/>
                    <a:pt x="13" y="7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4" name="Freeform 25"/>
            <p:cNvSpPr>
              <a:spLocks/>
            </p:cNvSpPr>
            <p:nvPr userDrawn="1"/>
          </p:nvSpPr>
          <p:spPr bwMode="auto">
            <a:xfrm>
              <a:off x="5928" y="2372"/>
              <a:ext cx="31" cy="36"/>
            </a:xfrm>
            <a:custGeom>
              <a:avLst/>
              <a:gdLst>
                <a:gd name="T0" fmla="*/ 0 w 13"/>
                <a:gd name="T1" fmla="*/ 7 h 15"/>
                <a:gd name="T2" fmla="*/ 8 w 13"/>
                <a:gd name="T3" fmla="*/ 4 h 15"/>
                <a:gd name="T4" fmla="*/ 13 w 13"/>
                <a:gd name="T5" fmla="*/ 9 h 15"/>
                <a:gd name="T6" fmla="*/ 11 w 13"/>
                <a:gd name="T7" fmla="*/ 7 h 15"/>
                <a:gd name="T8" fmla="*/ 13 w 13"/>
                <a:gd name="T9" fmla="*/ 0 h 15"/>
                <a:gd name="T10" fmla="*/ 0 w 13"/>
                <a:gd name="T1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cubicBezTo>
                    <a:pt x="3" y="7"/>
                    <a:pt x="6" y="6"/>
                    <a:pt x="8" y="4"/>
                  </a:cubicBezTo>
                  <a:cubicBezTo>
                    <a:pt x="5" y="9"/>
                    <a:pt x="12" y="15"/>
                    <a:pt x="13" y="9"/>
                  </a:cubicBezTo>
                  <a:cubicBezTo>
                    <a:pt x="12" y="9"/>
                    <a:pt x="10" y="8"/>
                    <a:pt x="11" y="7"/>
                  </a:cubicBezTo>
                  <a:cubicBezTo>
                    <a:pt x="11" y="6"/>
                    <a:pt x="12" y="0"/>
                    <a:pt x="13" y="0"/>
                  </a:cubicBezTo>
                  <a:cubicBezTo>
                    <a:pt x="10" y="3"/>
                    <a:pt x="0" y="1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5" name="Freeform 26"/>
            <p:cNvSpPr>
              <a:spLocks/>
            </p:cNvSpPr>
            <p:nvPr userDrawn="1"/>
          </p:nvSpPr>
          <p:spPr bwMode="auto">
            <a:xfrm>
              <a:off x="5361" y="2202"/>
              <a:ext cx="19" cy="14"/>
            </a:xfrm>
            <a:custGeom>
              <a:avLst/>
              <a:gdLst>
                <a:gd name="T0" fmla="*/ 0 w 8"/>
                <a:gd name="T1" fmla="*/ 1 h 6"/>
                <a:gd name="T2" fmla="*/ 0 w 8"/>
                <a:gd name="T3" fmla="*/ 6 h 6"/>
                <a:gd name="T4" fmla="*/ 8 w 8"/>
                <a:gd name="T5" fmla="*/ 5 h 6"/>
                <a:gd name="T6" fmla="*/ 0 w 8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6">
                  <a:moveTo>
                    <a:pt x="0" y="1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2" y="5"/>
                    <a:pt x="5" y="5"/>
                    <a:pt x="8" y="5"/>
                  </a:cubicBezTo>
                  <a:cubicBezTo>
                    <a:pt x="8" y="1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126" name="Freeform 27"/>
            <p:cNvSpPr>
              <a:spLocks/>
            </p:cNvSpPr>
            <p:nvPr userDrawn="1"/>
          </p:nvSpPr>
          <p:spPr bwMode="auto">
            <a:xfrm>
              <a:off x="5990" y="2375"/>
              <a:ext cx="21" cy="33"/>
            </a:xfrm>
            <a:custGeom>
              <a:avLst/>
              <a:gdLst>
                <a:gd name="T0" fmla="*/ 4 w 9"/>
                <a:gd name="T1" fmla="*/ 1 h 14"/>
                <a:gd name="T2" fmla="*/ 1 w 9"/>
                <a:gd name="T3" fmla="*/ 10 h 14"/>
                <a:gd name="T4" fmla="*/ 4 w 9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4" y="1"/>
                  </a:moveTo>
                  <a:cubicBezTo>
                    <a:pt x="3" y="4"/>
                    <a:pt x="0" y="5"/>
                    <a:pt x="1" y="10"/>
                  </a:cubicBezTo>
                  <a:cubicBezTo>
                    <a:pt x="9" y="14"/>
                    <a:pt x="9" y="0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</p:grp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46618" y="1930400"/>
            <a:ext cx="11169649" cy="38703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buClr>
                <a:srgbClr val="49853E"/>
              </a:buClr>
              <a:buNone/>
              <a:defRPr sz="2000"/>
            </a:lvl1pPr>
            <a:lvl2pPr marL="179388" indent="-179388">
              <a:lnSpc>
                <a:spcPct val="95000"/>
              </a:lnSpc>
              <a:spcBef>
                <a:spcPts val="1000"/>
              </a:spcBef>
              <a:buClr>
                <a:srgbClr val="442E54"/>
              </a:buClr>
              <a:buFont typeface="Arial" panose="020B0604020202020204" pitchFamily="34" charset="0"/>
              <a:buChar char="•"/>
              <a:defRPr sz="2000"/>
            </a:lvl2pPr>
            <a:lvl3pPr marL="358775" indent="-179388">
              <a:lnSpc>
                <a:spcPct val="95000"/>
              </a:lnSpc>
              <a:spcBef>
                <a:spcPts val="400"/>
              </a:spcBef>
              <a:buClr>
                <a:srgbClr val="442E54"/>
              </a:buClr>
              <a:buFont typeface="Arial" panose="020B0604020202020204" pitchFamily="34" charset="0"/>
              <a:buChar char="–"/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46618" y="1440000"/>
            <a:ext cx="11169649" cy="381000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2400" b="0">
                <a:solidFill>
                  <a:srgbClr val="442E54"/>
                </a:solidFill>
                <a:latin typeface="Fungo" pitchFamily="50" charset="0"/>
              </a:defRPr>
            </a:lvl1pPr>
          </a:lstStyle>
          <a:p>
            <a:pPr lvl="0"/>
            <a:r>
              <a:rPr lang="en-US"/>
              <a:t>Sub heading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1759314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Group 5"/>
          <p:cNvGrpSpPr>
            <a:grpSpLocks noChangeAspect="1"/>
          </p:cNvGrpSpPr>
          <p:nvPr userDrawn="1"/>
        </p:nvGrpSpPr>
        <p:grpSpPr bwMode="auto">
          <a:xfrm>
            <a:off x="-12000" y="0"/>
            <a:ext cx="12216000" cy="1178432"/>
            <a:chOff x="-530" y="1723"/>
            <a:chExt cx="6834" cy="879"/>
          </a:xfrm>
          <a:solidFill>
            <a:schemeClr val="accent5"/>
          </a:solidFill>
        </p:grpSpPr>
        <p:sp>
          <p:nvSpPr>
            <p:cNvPr id="58" name="Freeform 6"/>
            <p:cNvSpPr>
              <a:spLocks/>
            </p:cNvSpPr>
            <p:nvPr userDrawn="1"/>
          </p:nvSpPr>
          <p:spPr bwMode="auto">
            <a:xfrm>
              <a:off x="4076" y="2427"/>
              <a:ext cx="45" cy="49"/>
            </a:xfrm>
            <a:custGeom>
              <a:avLst/>
              <a:gdLst>
                <a:gd name="T0" fmla="*/ 8 w 19"/>
                <a:gd name="T1" fmla="*/ 14 h 21"/>
                <a:gd name="T2" fmla="*/ 11 w 19"/>
                <a:gd name="T3" fmla="*/ 21 h 21"/>
                <a:gd name="T4" fmla="*/ 16 w 19"/>
                <a:gd name="T5" fmla="*/ 2 h 21"/>
                <a:gd name="T6" fmla="*/ 8 w 19"/>
                <a:gd name="T7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8" y="14"/>
                  </a:moveTo>
                  <a:cubicBezTo>
                    <a:pt x="9" y="17"/>
                    <a:pt x="7" y="21"/>
                    <a:pt x="11" y="21"/>
                  </a:cubicBezTo>
                  <a:cubicBezTo>
                    <a:pt x="16" y="14"/>
                    <a:pt x="19" y="12"/>
                    <a:pt x="16" y="2"/>
                  </a:cubicBezTo>
                  <a:cubicBezTo>
                    <a:pt x="0" y="0"/>
                    <a:pt x="7" y="11"/>
                    <a:pt x="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59" name="Freeform 7"/>
            <p:cNvSpPr>
              <a:spLocks/>
            </p:cNvSpPr>
            <p:nvPr userDrawn="1"/>
          </p:nvSpPr>
          <p:spPr bwMode="auto">
            <a:xfrm>
              <a:off x="5264" y="2389"/>
              <a:ext cx="22" cy="12"/>
            </a:xfrm>
            <a:custGeom>
              <a:avLst/>
              <a:gdLst>
                <a:gd name="T0" fmla="*/ 1 w 9"/>
                <a:gd name="T1" fmla="*/ 5 h 5"/>
                <a:gd name="T2" fmla="*/ 9 w 9"/>
                <a:gd name="T3" fmla="*/ 0 h 5"/>
                <a:gd name="T4" fmla="*/ 1 w 9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5">
                  <a:moveTo>
                    <a:pt x="1" y="5"/>
                  </a:moveTo>
                  <a:cubicBezTo>
                    <a:pt x="6" y="5"/>
                    <a:pt x="8" y="3"/>
                    <a:pt x="9" y="0"/>
                  </a:cubicBezTo>
                  <a:cubicBezTo>
                    <a:pt x="5" y="0"/>
                    <a:pt x="0" y="0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0" name="Freeform 8"/>
            <p:cNvSpPr>
              <a:spLocks/>
            </p:cNvSpPr>
            <p:nvPr userDrawn="1"/>
          </p:nvSpPr>
          <p:spPr bwMode="auto">
            <a:xfrm>
              <a:off x="5659" y="2375"/>
              <a:ext cx="28" cy="35"/>
            </a:xfrm>
            <a:custGeom>
              <a:avLst/>
              <a:gdLst>
                <a:gd name="T0" fmla="*/ 7 w 12"/>
                <a:gd name="T1" fmla="*/ 5 h 15"/>
                <a:gd name="T2" fmla="*/ 4 w 12"/>
                <a:gd name="T3" fmla="*/ 8 h 15"/>
                <a:gd name="T4" fmla="*/ 1 w 12"/>
                <a:gd name="T5" fmla="*/ 6 h 15"/>
                <a:gd name="T6" fmla="*/ 4 w 12"/>
                <a:gd name="T7" fmla="*/ 15 h 15"/>
                <a:gd name="T8" fmla="*/ 7 w 12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7" y="5"/>
                  </a:moveTo>
                  <a:cubicBezTo>
                    <a:pt x="7" y="7"/>
                    <a:pt x="6" y="8"/>
                    <a:pt x="4" y="8"/>
                  </a:cubicBezTo>
                  <a:cubicBezTo>
                    <a:pt x="4" y="6"/>
                    <a:pt x="4" y="5"/>
                    <a:pt x="1" y="6"/>
                  </a:cubicBezTo>
                  <a:cubicBezTo>
                    <a:pt x="2" y="9"/>
                    <a:pt x="0" y="14"/>
                    <a:pt x="4" y="15"/>
                  </a:cubicBezTo>
                  <a:cubicBezTo>
                    <a:pt x="6" y="13"/>
                    <a:pt x="12" y="0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1" name="Freeform 9"/>
            <p:cNvSpPr>
              <a:spLocks/>
            </p:cNvSpPr>
            <p:nvPr userDrawn="1"/>
          </p:nvSpPr>
          <p:spPr bwMode="auto">
            <a:xfrm>
              <a:off x="6155" y="2018"/>
              <a:ext cx="68" cy="35"/>
            </a:xfrm>
            <a:custGeom>
              <a:avLst/>
              <a:gdLst>
                <a:gd name="T0" fmla="*/ 16 w 29"/>
                <a:gd name="T1" fmla="*/ 12 h 15"/>
                <a:gd name="T2" fmla="*/ 27 w 29"/>
                <a:gd name="T3" fmla="*/ 7 h 15"/>
                <a:gd name="T4" fmla="*/ 5 w 29"/>
                <a:gd name="T5" fmla="*/ 0 h 15"/>
                <a:gd name="T6" fmla="*/ 3 w 29"/>
                <a:gd name="T7" fmla="*/ 12 h 15"/>
                <a:gd name="T8" fmla="*/ 16 w 29"/>
                <a:gd name="T9" fmla="*/ 7 h 15"/>
                <a:gd name="T10" fmla="*/ 16 w 29"/>
                <a:gd name="T11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5">
                  <a:moveTo>
                    <a:pt x="16" y="12"/>
                  </a:moveTo>
                  <a:cubicBezTo>
                    <a:pt x="21" y="15"/>
                    <a:pt x="29" y="8"/>
                    <a:pt x="27" y="7"/>
                  </a:cubicBezTo>
                  <a:cubicBezTo>
                    <a:pt x="24" y="1"/>
                    <a:pt x="11" y="3"/>
                    <a:pt x="5" y="0"/>
                  </a:cubicBezTo>
                  <a:cubicBezTo>
                    <a:pt x="6" y="6"/>
                    <a:pt x="0" y="5"/>
                    <a:pt x="3" y="12"/>
                  </a:cubicBezTo>
                  <a:cubicBezTo>
                    <a:pt x="11" y="15"/>
                    <a:pt x="10" y="8"/>
                    <a:pt x="16" y="7"/>
                  </a:cubicBezTo>
                  <a:cubicBezTo>
                    <a:pt x="16" y="7"/>
                    <a:pt x="16" y="11"/>
                    <a:pt x="1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2" name="Freeform 10"/>
            <p:cNvSpPr>
              <a:spLocks/>
            </p:cNvSpPr>
            <p:nvPr userDrawn="1"/>
          </p:nvSpPr>
          <p:spPr bwMode="auto">
            <a:xfrm>
              <a:off x="5633" y="2365"/>
              <a:ext cx="24" cy="29"/>
            </a:xfrm>
            <a:custGeom>
              <a:avLst/>
              <a:gdLst>
                <a:gd name="T0" fmla="*/ 4 w 10"/>
                <a:gd name="T1" fmla="*/ 0 h 12"/>
                <a:gd name="T2" fmla="*/ 7 w 10"/>
                <a:gd name="T3" fmla="*/ 12 h 12"/>
                <a:gd name="T4" fmla="*/ 4 w 10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4" y="0"/>
                  </a:moveTo>
                  <a:cubicBezTo>
                    <a:pt x="0" y="3"/>
                    <a:pt x="3" y="9"/>
                    <a:pt x="7" y="12"/>
                  </a:cubicBezTo>
                  <a:cubicBezTo>
                    <a:pt x="10" y="9"/>
                    <a:pt x="8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3" name="Freeform 11"/>
            <p:cNvSpPr>
              <a:spLocks/>
            </p:cNvSpPr>
            <p:nvPr userDrawn="1"/>
          </p:nvSpPr>
          <p:spPr bwMode="auto">
            <a:xfrm>
              <a:off x="4187" y="2453"/>
              <a:ext cx="33" cy="21"/>
            </a:xfrm>
            <a:custGeom>
              <a:avLst/>
              <a:gdLst>
                <a:gd name="T0" fmla="*/ 7 w 14"/>
                <a:gd name="T1" fmla="*/ 0 h 9"/>
                <a:gd name="T2" fmla="*/ 2 w 14"/>
                <a:gd name="T3" fmla="*/ 7 h 9"/>
                <a:gd name="T4" fmla="*/ 7 w 14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9">
                  <a:moveTo>
                    <a:pt x="7" y="0"/>
                  </a:moveTo>
                  <a:cubicBezTo>
                    <a:pt x="7" y="3"/>
                    <a:pt x="0" y="2"/>
                    <a:pt x="2" y="7"/>
                  </a:cubicBezTo>
                  <a:cubicBezTo>
                    <a:pt x="8" y="9"/>
                    <a:pt x="14" y="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4" name="Freeform 12"/>
            <p:cNvSpPr>
              <a:spLocks/>
            </p:cNvSpPr>
            <p:nvPr userDrawn="1"/>
          </p:nvSpPr>
          <p:spPr bwMode="auto">
            <a:xfrm>
              <a:off x="5678" y="2379"/>
              <a:ext cx="40" cy="31"/>
            </a:xfrm>
            <a:custGeom>
              <a:avLst/>
              <a:gdLst>
                <a:gd name="T0" fmla="*/ 7 w 17"/>
                <a:gd name="T1" fmla="*/ 6 h 13"/>
                <a:gd name="T2" fmla="*/ 4 w 17"/>
                <a:gd name="T3" fmla="*/ 6 h 13"/>
                <a:gd name="T4" fmla="*/ 7 w 17"/>
                <a:gd name="T5" fmla="*/ 8 h 13"/>
                <a:gd name="T6" fmla="*/ 15 w 17"/>
                <a:gd name="T7" fmla="*/ 1 h 13"/>
                <a:gd name="T8" fmla="*/ 7 w 17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3">
                  <a:moveTo>
                    <a:pt x="7" y="6"/>
                  </a:moveTo>
                  <a:cubicBezTo>
                    <a:pt x="7" y="4"/>
                    <a:pt x="5" y="3"/>
                    <a:pt x="4" y="6"/>
                  </a:cubicBezTo>
                  <a:cubicBezTo>
                    <a:pt x="6" y="6"/>
                    <a:pt x="8" y="6"/>
                    <a:pt x="7" y="8"/>
                  </a:cubicBezTo>
                  <a:cubicBezTo>
                    <a:pt x="0" y="13"/>
                    <a:pt x="17" y="6"/>
                    <a:pt x="15" y="1"/>
                  </a:cubicBezTo>
                  <a:cubicBezTo>
                    <a:pt x="10" y="0"/>
                    <a:pt x="10" y="4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5" name="Freeform 13"/>
            <p:cNvSpPr>
              <a:spLocks/>
            </p:cNvSpPr>
            <p:nvPr userDrawn="1"/>
          </p:nvSpPr>
          <p:spPr bwMode="auto">
            <a:xfrm>
              <a:off x="6219" y="2016"/>
              <a:ext cx="73" cy="35"/>
            </a:xfrm>
            <a:custGeom>
              <a:avLst/>
              <a:gdLst>
                <a:gd name="T0" fmla="*/ 20 w 31"/>
                <a:gd name="T1" fmla="*/ 10 h 15"/>
                <a:gd name="T2" fmla="*/ 19 w 31"/>
                <a:gd name="T3" fmla="*/ 0 h 15"/>
                <a:gd name="T4" fmla="*/ 11 w 31"/>
                <a:gd name="T5" fmla="*/ 5 h 15"/>
                <a:gd name="T6" fmla="*/ 0 w 31"/>
                <a:gd name="T7" fmla="*/ 1 h 15"/>
                <a:gd name="T8" fmla="*/ 9 w 31"/>
                <a:gd name="T9" fmla="*/ 15 h 15"/>
                <a:gd name="T10" fmla="*/ 11 w 31"/>
                <a:gd name="T11" fmla="*/ 7 h 15"/>
                <a:gd name="T12" fmla="*/ 11 w 31"/>
                <a:gd name="T13" fmla="*/ 12 h 15"/>
                <a:gd name="T14" fmla="*/ 31 w 31"/>
                <a:gd name="T15" fmla="*/ 11 h 15"/>
                <a:gd name="T16" fmla="*/ 31 w 31"/>
                <a:gd name="T17" fmla="*/ 2 h 15"/>
                <a:gd name="T18" fmla="*/ 20 w 31"/>
                <a:gd name="T1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15">
                  <a:moveTo>
                    <a:pt x="20" y="10"/>
                  </a:moveTo>
                  <a:cubicBezTo>
                    <a:pt x="15" y="5"/>
                    <a:pt x="20" y="7"/>
                    <a:pt x="19" y="0"/>
                  </a:cubicBezTo>
                  <a:cubicBezTo>
                    <a:pt x="14" y="0"/>
                    <a:pt x="14" y="4"/>
                    <a:pt x="11" y="5"/>
                  </a:cubicBezTo>
                  <a:cubicBezTo>
                    <a:pt x="9" y="2"/>
                    <a:pt x="5" y="1"/>
                    <a:pt x="0" y="1"/>
                  </a:cubicBezTo>
                  <a:cubicBezTo>
                    <a:pt x="2" y="6"/>
                    <a:pt x="2" y="13"/>
                    <a:pt x="9" y="15"/>
                  </a:cubicBezTo>
                  <a:cubicBezTo>
                    <a:pt x="9" y="12"/>
                    <a:pt x="8" y="8"/>
                    <a:pt x="11" y="7"/>
                  </a:cubicBezTo>
                  <a:cubicBezTo>
                    <a:pt x="11" y="9"/>
                    <a:pt x="11" y="11"/>
                    <a:pt x="11" y="12"/>
                  </a:cubicBezTo>
                  <a:cubicBezTo>
                    <a:pt x="19" y="12"/>
                    <a:pt x="26" y="12"/>
                    <a:pt x="31" y="1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6" y="3"/>
                    <a:pt x="28" y="11"/>
                    <a:pt x="2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6" name="Freeform 14"/>
            <p:cNvSpPr>
              <a:spLocks/>
            </p:cNvSpPr>
            <p:nvPr userDrawn="1"/>
          </p:nvSpPr>
          <p:spPr bwMode="auto">
            <a:xfrm>
              <a:off x="4256" y="2441"/>
              <a:ext cx="24" cy="21"/>
            </a:xfrm>
            <a:custGeom>
              <a:avLst/>
              <a:gdLst>
                <a:gd name="T0" fmla="*/ 0 w 10"/>
                <a:gd name="T1" fmla="*/ 7 h 9"/>
                <a:gd name="T2" fmla="*/ 9 w 10"/>
                <a:gd name="T3" fmla="*/ 9 h 9"/>
                <a:gd name="T4" fmla="*/ 0 w 10"/>
                <a:gd name="T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7"/>
                  </a:moveTo>
                  <a:cubicBezTo>
                    <a:pt x="4" y="6"/>
                    <a:pt x="6" y="8"/>
                    <a:pt x="9" y="9"/>
                  </a:cubicBezTo>
                  <a:cubicBezTo>
                    <a:pt x="10" y="2"/>
                    <a:pt x="1" y="0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7" name="Freeform 15"/>
            <p:cNvSpPr>
              <a:spLocks/>
            </p:cNvSpPr>
            <p:nvPr userDrawn="1"/>
          </p:nvSpPr>
          <p:spPr bwMode="auto">
            <a:xfrm>
              <a:off x="3859" y="2455"/>
              <a:ext cx="14" cy="31"/>
            </a:xfrm>
            <a:custGeom>
              <a:avLst/>
              <a:gdLst>
                <a:gd name="T0" fmla="*/ 1 w 6"/>
                <a:gd name="T1" fmla="*/ 8 h 13"/>
                <a:gd name="T2" fmla="*/ 4 w 6"/>
                <a:gd name="T3" fmla="*/ 13 h 13"/>
                <a:gd name="T4" fmla="*/ 1 w 6"/>
                <a:gd name="T5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3">
                  <a:moveTo>
                    <a:pt x="1" y="8"/>
                  </a:moveTo>
                  <a:cubicBezTo>
                    <a:pt x="0" y="10"/>
                    <a:pt x="2" y="13"/>
                    <a:pt x="4" y="13"/>
                  </a:cubicBezTo>
                  <a:cubicBezTo>
                    <a:pt x="6" y="13"/>
                    <a:pt x="5" y="0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8" name="Freeform 16"/>
            <p:cNvSpPr>
              <a:spLocks/>
            </p:cNvSpPr>
            <p:nvPr userDrawn="1"/>
          </p:nvSpPr>
          <p:spPr bwMode="auto">
            <a:xfrm>
              <a:off x="3982" y="2455"/>
              <a:ext cx="38" cy="31"/>
            </a:xfrm>
            <a:custGeom>
              <a:avLst/>
              <a:gdLst>
                <a:gd name="T0" fmla="*/ 10 w 16"/>
                <a:gd name="T1" fmla="*/ 12 h 13"/>
                <a:gd name="T2" fmla="*/ 15 w 16"/>
                <a:gd name="T3" fmla="*/ 2 h 13"/>
                <a:gd name="T4" fmla="*/ 10 w 16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10" y="12"/>
                  </a:moveTo>
                  <a:cubicBezTo>
                    <a:pt x="11" y="12"/>
                    <a:pt x="16" y="5"/>
                    <a:pt x="15" y="2"/>
                  </a:cubicBezTo>
                  <a:cubicBezTo>
                    <a:pt x="0" y="0"/>
                    <a:pt x="4" y="13"/>
                    <a:pt x="1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69" name="Freeform 17"/>
            <p:cNvSpPr>
              <a:spLocks/>
            </p:cNvSpPr>
            <p:nvPr userDrawn="1"/>
          </p:nvSpPr>
          <p:spPr bwMode="auto">
            <a:xfrm>
              <a:off x="5872" y="2004"/>
              <a:ext cx="56" cy="54"/>
            </a:xfrm>
            <a:custGeom>
              <a:avLst/>
              <a:gdLst>
                <a:gd name="T0" fmla="*/ 18 w 24"/>
                <a:gd name="T1" fmla="*/ 13 h 23"/>
                <a:gd name="T2" fmla="*/ 24 w 24"/>
                <a:gd name="T3" fmla="*/ 15 h 23"/>
                <a:gd name="T4" fmla="*/ 18 w 24"/>
                <a:gd name="T5" fmla="*/ 8 h 23"/>
                <a:gd name="T6" fmla="*/ 16 w 24"/>
                <a:gd name="T7" fmla="*/ 10 h 23"/>
                <a:gd name="T8" fmla="*/ 2 w 24"/>
                <a:gd name="T9" fmla="*/ 1 h 23"/>
                <a:gd name="T10" fmla="*/ 5 w 24"/>
                <a:gd name="T11" fmla="*/ 8 h 23"/>
                <a:gd name="T12" fmla="*/ 5 w 24"/>
                <a:gd name="T13" fmla="*/ 15 h 23"/>
                <a:gd name="T14" fmla="*/ 10 w 24"/>
                <a:gd name="T15" fmla="*/ 20 h 23"/>
                <a:gd name="T16" fmla="*/ 18 w 24"/>
                <a:gd name="T17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3">
                  <a:moveTo>
                    <a:pt x="18" y="13"/>
                  </a:moveTo>
                  <a:cubicBezTo>
                    <a:pt x="19" y="14"/>
                    <a:pt x="21" y="15"/>
                    <a:pt x="24" y="15"/>
                  </a:cubicBezTo>
                  <a:cubicBezTo>
                    <a:pt x="24" y="12"/>
                    <a:pt x="21" y="7"/>
                    <a:pt x="18" y="8"/>
                  </a:cubicBezTo>
                  <a:cubicBezTo>
                    <a:pt x="18" y="8"/>
                    <a:pt x="18" y="12"/>
                    <a:pt x="16" y="10"/>
                  </a:cubicBezTo>
                  <a:cubicBezTo>
                    <a:pt x="13" y="9"/>
                    <a:pt x="12" y="0"/>
                    <a:pt x="2" y="1"/>
                  </a:cubicBezTo>
                  <a:cubicBezTo>
                    <a:pt x="2" y="4"/>
                    <a:pt x="3" y="6"/>
                    <a:pt x="5" y="8"/>
                  </a:cubicBezTo>
                  <a:cubicBezTo>
                    <a:pt x="4" y="11"/>
                    <a:pt x="0" y="14"/>
                    <a:pt x="5" y="15"/>
                  </a:cubicBezTo>
                  <a:cubicBezTo>
                    <a:pt x="7" y="5"/>
                    <a:pt x="16" y="16"/>
                    <a:pt x="10" y="20"/>
                  </a:cubicBezTo>
                  <a:cubicBezTo>
                    <a:pt x="20" y="23"/>
                    <a:pt x="12" y="12"/>
                    <a:pt x="1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0" name="Freeform 18"/>
            <p:cNvSpPr>
              <a:spLocks/>
            </p:cNvSpPr>
            <p:nvPr userDrawn="1"/>
          </p:nvSpPr>
          <p:spPr bwMode="auto">
            <a:xfrm>
              <a:off x="6129" y="2051"/>
              <a:ext cx="26" cy="31"/>
            </a:xfrm>
            <a:custGeom>
              <a:avLst/>
              <a:gdLst>
                <a:gd name="T0" fmla="*/ 3 w 11"/>
                <a:gd name="T1" fmla="*/ 5 h 13"/>
                <a:gd name="T2" fmla="*/ 0 w 11"/>
                <a:gd name="T3" fmla="*/ 0 h 13"/>
                <a:gd name="T4" fmla="*/ 0 w 11"/>
                <a:gd name="T5" fmla="*/ 12 h 13"/>
                <a:gd name="T6" fmla="*/ 11 w 11"/>
                <a:gd name="T7" fmla="*/ 7 h 13"/>
                <a:gd name="T8" fmla="*/ 3 w 11"/>
                <a:gd name="T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3" y="5"/>
                  </a:moveTo>
                  <a:cubicBezTo>
                    <a:pt x="2" y="3"/>
                    <a:pt x="3" y="0"/>
                    <a:pt x="0" y="0"/>
                  </a:cubicBezTo>
                  <a:cubicBezTo>
                    <a:pt x="0" y="4"/>
                    <a:pt x="0" y="8"/>
                    <a:pt x="0" y="12"/>
                  </a:cubicBezTo>
                  <a:cubicBezTo>
                    <a:pt x="6" y="13"/>
                    <a:pt x="11" y="11"/>
                    <a:pt x="11" y="7"/>
                  </a:cubicBezTo>
                  <a:cubicBezTo>
                    <a:pt x="8" y="7"/>
                    <a:pt x="3" y="8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1" name="Freeform 19"/>
            <p:cNvSpPr>
              <a:spLocks noEditPoints="1"/>
            </p:cNvSpPr>
            <p:nvPr userDrawn="1"/>
          </p:nvSpPr>
          <p:spPr bwMode="auto">
            <a:xfrm>
              <a:off x="-530" y="1723"/>
              <a:ext cx="6834" cy="879"/>
            </a:xfrm>
            <a:custGeom>
              <a:avLst/>
              <a:gdLst>
                <a:gd name="T0" fmla="*/ 389 w 2893"/>
                <a:gd name="T1" fmla="*/ 342 h 372"/>
                <a:gd name="T2" fmla="*/ 740 w 2893"/>
                <a:gd name="T3" fmla="*/ 359 h 372"/>
                <a:gd name="T4" fmla="*/ 1103 w 2893"/>
                <a:gd name="T5" fmla="*/ 367 h 372"/>
                <a:gd name="T6" fmla="*/ 1426 w 2893"/>
                <a:gd name="T7" fmla="*/ 356 h 372"/>
                <a:gd name="T8" fmla="*/ 1695 w 2893"/>
                <a:gd name="T9" fmla="*/ 331 h 372"/>
                <a:gd name="T10" fmla="*/ 1895 w 2893"/>
                <a:gd name="T11" fmla="*/ 320 h 372"/>
                <a:gd name="T12" fmla="*/ 2114 w 2893"/>
                <a:gd name="T13" fmla="*/ 302 h 372"/>
                <a:gd name="T14" fmla="*/ 2309 w 2893"/>
                <a:gd name="T15" fmla="*/ 287 h 372"/>
                <a:gd name="T16" fmla="*/ 2459 w 2893"/>
                <a:gd name="T17" fmla="*/ 275 h 372"/>
                <a:gd name="T18" fmla="*/ 2597 w 2893"/>
                <a:gd name="T19" fmla="*/ 289 h 372"/>
                <a:gd name="T20" fmla="*/ 2723 w 2893"/>
                <a:gd name="T21" fmla="*/ 280 h 372"/>
                <a:gd name="T22" fmla="*/ 2838 w 2893"/>
                <a:gd name="T23" fmla="*/ 287 h 372"/>
                <a:gd name="T24" fmla="*/ 2866 w 2893"/>
                <a:gd name="T25" fmla="*/ 183 h 372"/>
                <a:gd name="T26" fmla="*/ 2808 w 2893"/>
                <a:gd name="T27" fmla="*/ 147 h 372"/>
                <a:gd name="T28" fmla="*/ 2631 w 2893"/>
                <a:gd name="T29" fmla="*/ 218 h 372"/>
                <a:gd name="T30" fmla="*/ 2665 w 2893"/>
                <a:gd name="T31" fmla="*/ 112 h 372"/>
                <a:gd name="T32" fmla="*/ 2857 w 2893"/>
                <a:gd name="T33" fmla="*/ 113 h 372"/>
                <a:gd name="T34" fmla="*/ 485 w 2893"/>
                <a:gd name="T35" fmla="*/ 201 h 372"/>
                <a:gd name="T36" fmla="*/ 777 w 2893"/>
                <a:gd name="T37" fmla="*/ 267 h 372"/>
                <a:gd name="T38" fmla="*/ 1016 w 2893"/>
                <a:gd name="T39" fmla="*/ 272 h 372"/>
                <a:gd name="T40" fmla="*/ 1266 w 2893"/>
                <a:gd name="T41" fmla="*/ 265 h 372"/>
                <a:gd name="T42" fmla="*/ 1356 w 2893"/>
                <a:gd name="T43" fmla="*/ 252 h 372"/>
                <a:gd name="T44" fmla="*/ 1456 w 2893"/>
                <a:gd name="T45" fmla="*/ 330 h 372"/>
                <a:gd name="T46" fmla="*/ 1548 w 2893"/>
                <a:gd name="T47" fmla="*/ 241 h 372"/>
                <a:gd name="T48" fmla="*/ 1656 w 2893"/>
                <a:gd name="T49" fmla="*/ 331 h 372"/>
                <a:gd name="T50" fmla="*/ 1709 w 2893"/>
                <a:gd name="T51" fmla="*/ 232 h 372"/>
                <a:gd name="T52" fmla="*/ 1779 w 2893"/>
                <a:gd name="T53" fmla="*/ 259 h 372"/>
                <a:gd name="T54" fmla="*/ 1829 w 2893"/>
                <a:gd name="T55" fmla="*/ 147 h 372"/>
                <a:gd name="T56" fmla="*/ 1920 w 2893"/>
                <a:gd name="T57" fmla="*/ 193 h 372"/>
                <a:gd name="T58" fmla="*/ 1900 w 2893"/>
                <a:gd name="T59" fmla="*/ 151 h 372"/>
                <a:gd name="T60" fmla="*/ 1948 w 2893"/>
                <a:gd name="T61" fmla="*/ 220 h 372"/>
                <a:gd name="T62" fmla="*/ 2044 w 2893"/>
                <a:gd name="T63" fmla="*/ 214 h 372"/>
                <a:gd name="T64" fmla="*/ 2069 w 2893"/>
                <a:gd name="T65" fmla="*/ 218 h 372"/>
                <a:gd name="T66" fmla="*/ 2172 w 2893"/>
                <a:gd name="T67" fmla="*/ 167 h 372"/>
                <a:gd name="T68" fmla="*/ 2111 w 2893"/>
                <a:gd name="T69" fmla="*/ 107 h 372"/>
                <a:gd name="T70" fmla="*/ 2115 w 2893"/>
                <a:gd name="T71" fmla="*/ 217 h 372"/>
                <a:gd name="T72" fmla="*/ 2157 w 2893"/>
                <a:gd name="T73" fmla="*/ 236 h 372"/>
                <a:gd name="T74" fmla="*/ 2191 w 2893"/>
                <a:gd name="T75" fmla="*/ 148 h 372"/>
                <a:gd name="T76" fmla="*/ 2262 w 2893"/>
                <a:gd name="T77" fmla="*/ 135 h 372"/>
                <a:gd name="T78" fmla="*/ 2862 w 2893"/>
                <a:gd name="T79" fmla="*/ 247 h 372"/>
                <a:gd name="T80" fmla="*/ 2740 w 2893"/>
                <a:gd name="T81" fmla="*/ 190 h 372"/>
                <a:gd name="T82" fmla="*/ 2824 w 2893"/>
                <a:gd name="T83" fmla="*/ 259 h 372"/>
                <a:gd name="T84" fmla="*/ 2831 w 2893"/>
                <a:gd name="T85" fmla="*/ 198 h 372"/>
                <a:gd name="T86" fmla="*/ 2792 w 2893"/>
                <a:gd name="T87" fmla="*/ 177 h 372"/>
                <a:gd name="T88" fmla="*/ 2732 w 2893"/>
                <a:gd name="T89" fmla="*/ 181 h 372"/>
                <a:gd name="T90" fmla="*/ 2702 w 2893"/>
                <a:gd name="T91" fmla="*/ 207 h 372"/>
                <a:gd name="T92" fmla="*/ 2674 w 2893"/>
                <a:gd name="T93" fmla="*/ 8 h 372"/>
                <a:gd name="T94" fmla="*/ 2563 w 2893"/>
                <a:gd name="T95" fmla="*/ 116 h 372"/>
                <a:gd name="T96" fmla="*/ 2514 w 2893"/>
                <a:gd name="T97" fmla="*/ 121 h 372"/>
                <a:gd name="T98" fmla="*/ 2453 w 2893"/>
                <a:gd name="T99" fmla="*/ 101 h 372"/>
                <a:gd name="T100" fmla="*/ 2349 w 2893"/>
                <a:gd name="T101" fmla="*/ 103 h 372"/>
                <a:gd name="T102" fmla="*/ 2298 w 2893"/>
                <a:gd name="T103" fmla="*/ 139 h 372"/>
                <a:gd name="T104" fmla="*/ 2305 w 2893"/>
                <a:gd name="T105" fmla="*/ 231 h 372"/>
                <a:gd name="T106" fmla="*/ 2365 w 2893"/>
                <a:gd name="T107" fmla="*/ 211 h 372"/>
                <a:gd name="T108" fmla="*/ 2456 w 2893"/>
                <a:gd name="T109" fmla="*/ 256 h 372"/>
                <a:gd name="T110" fmla="*/ 2497 w 2893"/>
                <a:gd name="T111" fmla="*/ 213 h 372"/>
                <a:gd name="T112" fmla="*/ 2543 w 2893"/>
                <a:gd name="T113" fmla="*/ 219 h 372"/>
                <a:gd name="T114" fmla="*/ 2582 w 2893"/>
                <a:gd name="T115" fmla="*/ 230 h 372"/>
                <a:gd name="T116" fmla="*/ 2599 w 2893"/>
                <a:gd name="T117" fmla="*/ 258 h 372"/>
                <a:gd name="T118" fmla="*/ 2671 w 2893"/>
                <a:gd name="T119" fmla="*/ 156 h 372"/>
                <a:gd name="T120" fmla="*/ 2638 w 2893"/>
                <a:gd name="T121" fmla="*/ 133 h 372"/>
                <a:gd name="T122" fmla="*/ 2741 w 2893"/>
                <a:gd name="T123" fmla="*/ 87 h 372"/>
                <a:gd name="T124" fmla="*/ 2808 w 2893"/>
                <a:gd name="T125" fmla="*/ 12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93" h="372">
                  <a:moveTo>
                    <a:pt x="288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1"/>
                    <a:pt x="1" y="320"/>
                    <a:pt x="2" y="320"/>
                  </a:cubicBezTo>
                  <a:cubicBezTo>
                    <a:pt x="1" y="331"/>
                    <a:pt x="12" y="320"/>
                    <a:pt x="15" y="320"/>
                  </a:cubicBezTo>
                  <a:cubicBezTo>
                    <a:pt x="16" y="328"/>
                    <a:pt x="25" y="329"/>
                    <a:pt x="35" y="329"/>
                  </a:cubicBezTo>
                  <a:cubicBezTo>
                    <a:pt x="35" y="327"/>
                    <a:pt x="35" y="324"/>
                    <a:pt x="37" y="324"/>
                  </a:cubicBezTo>
                  <a:cubicBezTo>
                    <a:pt x="39" y="331"/>
                    <a:pt x="43" y="322"/>
                    <a:pt x="48" y="324"/>
                  </a:cubicBezTo>
                  <a:cubicBezTo>
                    <a:pt x="50" y="329"/>
                    <a:pt x="56" y="325"/>
                    <a:pt x="62" y="326"/>
                  </a:cubicBezTo>
                  <a:cubicBezTo>
                    <a:pt x="70" y="328"/>
                    <a:pt x="66" y="332"/>
                    <a:pt x="70" y="328"/>
                  </a:cubicBezTo>
                  <a:cubicBezTo>
                    <a:pt x="77" y="323"/>
                    <a:pt x="90" y="333"/>
                    <a:pt x="87" y="333"/>
                  </a:cubicBezTo>
                  <a:cubicBezTo>
                    <a:pt x="102" y="336"/>
                    <a:pt x="117" y="327"/>
                    <a:pt x="136" y="330"/>
                  </a:cubicBezTo>
                  <a:cubicBezTo>
                    <a:pt x="139" y="338"/>
                    <a:pt x="156" y="332"/>
                    <a:pt x="167" y="334"/>
                  </a:cubicBezTo>
                  <a:cubicBezTo>
                    <a:pt x="170" y="334"/>
                    <a:pt x="170" y="336"/>
                    <a:pt x="175" y="336"/>
                  </a:cubicBezTo>
                  <a:cubicBezTo>
                    <a:pt x="178" y="336"/>
                    <a:pt x="179" y="334"/>
                    <a:pt x="183" y="333"/>
                  </a:cubicBezTo>
                  <a:cubicBezTo>
                    <a:pt x="190" y="333"/>
                    <a:pt x="194" y="335"/>
                    <a:pt x="200" y="336"/>
                  </a:cubicBezTo>
                  <a:cubicBezTo>
                    <a:pt x="202" y="332"/>
                    <a:pt x="204" y="328"/>
                    <a:pt x="210" y="328"/>
                  </a:cubicBezTo>
                  <a:cubicBezTo>
                    <a:pt x="211" y="331"/>
                    <a:pt x="210" y="335"/>
                    <a:pt x="213" y="335"/>
                  </a:cubicBezTo>
                  <a:cubicBezTo>
                    <a:pt x="216" y="328"/>
                    <a:pt x="221" y="337"/>
                    <a:pt x="222" y="337"/>
                  </a:cubicBezTo>
                  <a:cubicBezTo>
                    <a:pt x="225" y="339"/>
                    <a:pt x="233" y="339"/>
                    <a:pt x="238" y="340"/>
                  </a:cubicBezTo>
                  <a:cubicBezTo>
                    <a:pt x="246" y="340"/>
                    <a:pt x="240" y="332"/>
                    <a:pt x="246" y="337"/>
                  </a:cubicBezTo>
                  <a:cubicBezTo>
                    <a:pt x="248" y="338"/>
                    <a:pt x="255" y="336"/>
                    <a:pt x="257" y="337"/>
                  </a:cubicBezTo>
                  <a:cubicBezTo>
                    <a:pt x="259" y="338"/>
                    <a:pt x="260" y="343"/>
                    <a:pt x="266" y="341"/>
                  </a:cubicBezTo>
                  <a:cubicBezTo>
                    <a:pt x="275" y="336"/>
                    <a:pt x="294" y="346"/>
                    <a:pt x="307" y="341"/>
                  </a:cubicBezTo>
                  <a:cubicBezTo>
                    <a:pt x="309" y="340"/>
                    <a:pt x="309" y="334"/>
                    <a:pt x="312" y="334"/>
                  </a:cubicBezTo>
                  <a:cubicBezTo>
                    <a:pt x="312" y="335"/>
                    <a:pt x="312" y="337"/>
                    <a:pt x="312" y="338"/>
                  </a:cubicBezTo>
                  <a:cubicBezTo>
                    <a:pt x="315" y="339"/>
                    <a:pt x="321" y="337"/>
                    <a:pt x="323" y="338"/>
                  </a:cubicBezTo>
                  <a:cubicBezTo>
                    <a:pt x="323" y="338"/>
                    <a:pt x="323" y="340"/>
                    <a:pt x="323" y="340"/>
                  </a:cubicBezTo>
                  <a:cubicBezTo>
                    <a:pt x="327" y="341"/>
                    <a:pt x="334" y="339"/>
                    <a:pt x="340" y="340"/>
                  </a:cubicBezTo>
                  <a:cubicBezTo>
                    <a:pt x="342" y="341"/>
                    <a:pt x="343" y="342"/>
                    <a:pt x="345" y="342"/>
                  </a:cubicBezTo>
                  <a:cubicBezTo>
                    <a:pt x="345" y="342"/>
                    <a:pt x="345" y="340"/>
                    <a:pt x="348" y="340"/>
                  </a:cubicBezTo>
                  <a:cubicBezTo>
                    <a:pt x="349" y="340"/>
                    <a:pt x="347" y="343"/>
                    <a:pt x="351" y="342"/>
                  </a:cubicBezTo>
                  <a:cubicBezTo>
                    <a:pt x="352" y="342"/>
                    <a:pt x="354" y="338"/>
                    <a:pt x="356" y="338"/>
                  </a:cubicBezTo>
                  <a:cubicBezTo>
                    <a:pt x="355" y="338"/>
                    <a:pt x="360" y="341"/>
                    <a:pt x="361" y="337"/>
                  </a:cubicBezTo>
                  <a:cubicBezTo>
                    <a:pt x="361" y="339"/>
                    <a:pt x="361" y="341"/>
                    <a:pt x="362" y="342"/>
                  </a:cubicBezTo>
                  <a:cubicBezTo>
                    <a:pt x="370" y="341"/>
                    <a:pt x="374" y="337"/>
                    <a:pt x="381" y="335"/>
                  </a:cubicBezTo>
                  <a:cubicBezTo>
                    <a:pt x="381" y="341"/>
                    <a:pt x="376" y="340"/>
                    <a:pt x="381" y="344"/>
                  </a:cubicBezTo>
                  <a:cubicBezTo>
                    <a:pt x="387" y="347"/>
                    <a:pt x="389" y="333"/>
                    <a:pt x="389" y="342"/>
                  </a:cubicBezTo>
                  <a:cubicBezTo>
                    <a:pt x="389" y="345"/>
                    <a:pt x="400" y="345"/>
                    <a:pt x="403" y="346"/>
                  </a:cubicBezTo>
                  <a:cubicBezTo>
                    <a:pt x="403" y="344"/>
                    <a:pt x="403" y="341"/>
                    <a:pt x="405" y="341"/>
                  </a:cubicBezTo>
                  <a:cubicBezTo>
                    <a:pt x="405" y="345"/>
                    <a:pt x="407" y="346"/>
                    <a:pt x="408" y="348"/>
                  </a:cubicBezTo>
                  <a:cubicBezTo>
                    <a:pt x="423" y="348"/>
                    <a:pt x="437" y="348"/>
                    <a:pt x="452" y="348"/>
                  </a:cubicBezTo>
                  <a:cubicBezTo>
                    <a:pt x="453" y="346"/>
                    <a:pt x="452" y="343"/>
                    <a:pt x="455" y="343"/>
                  </a:cubicBezTo>
                  <a:cubicBezTo>
                    <a:pt x="453" y="352"/>
                    <a:pt x="461" y="345"/>
                    <a:pt x="463" y="345"/>
                  </a:cubicBezTo>
                  <a:cubicBezTo>
                    <a:pt x="465" y="345"/>
                    <a:pt x="466" y="349"/>
                    <a:pt x="469" y="350"/>
                  </a:cubicBezTo>
                  <a:cubicBezTo>
                    <a:pt x="469" y="350"/>
                    <a:pt x="471" y="345"/>
                    <a:pt x="474" y="347"/>
                  </a:cubicBezTo>
                  <a:cubicBezTo>
                    <a:pt x="475" y="351"/>
                    <a:pt x="481" y="349"/>
                    <a:pt x="485" y="349"/>
                  </a:cubicBezTo>
                  <a:cubicBezTo>
                    <a:pt x="485" y="345"/>
                    <a:pt x="487" y="341"/>
                    <a:pt x="490" y="340"/>
                  </a:cubicBezTo>
                  <a:cubicBezTo>
                    <a:pt x="491" y="343"/>
                    <a:pt x="490" y="349"/>
                    <a:pt x="493" y="349"/>
                  </a:cubicBezTo>
                  <a:cubicBezTo>
                    <a:pt x="494" y="345"/>
                    <a:pt x="503" y="348"/>
                    <a:pt x="504" y="344"/>
                  </a:cubicBezTo>
                  <a:cubicBezTo>
                    <a:pt x="506" y="341"/>
                    <a:pt x="501" y="332"/>
                    <a:pt x="507" y="332"/>
                  </a:cubicBezTo>
                  <a:cubicBezTo>
                    <a:pt x="506" y="340"/>
                    <a:pt x="512" y="341"/>
                    <a:pt x="510" y="349"/>
                  </a:cubicBezTo>
                  <a:cubicBezTo>
                    <a:pt x="515" y="350"/>
                    <a:pt x="515" y="346"/>
                    <a:pt x="518" y="344"/>
                  </a:cubicBezTo>
                  <a:cubicBezTo>
                    <a:pt x="518" y="356"/>
                    <a:pt x="541" y="354"/>
                    <a:pt x="551" y="351"/>
                  </a:cubicBezTo>
                  <a:cubicBezTo>
                    <a:pt x="552" y="346"/>
                    <a:pt x="547" y="345"/>
                    <a:pt x="551" y="343"/>
                  </a:cubicBezTo>
                  <a:cubicBezTo>
                    <a:pt x="555" y="344"/>
                    <a:pt x="553" y="349"/>
                    <a:pt x="554" y="353"/>
                  </a:cubicBezTo>
                  <a:cubicBezTo>
                    <a:pt x="563" y="352"/>
                    <a:pt x="578" y="356"/>
                    <a:pt x="578" y="348"/>
                  </a:cubicBezTo>
                  <a:cubicBezTo>
                    <a:pt x="576" y="347"/>
                    <a:pt x="573" y="348"/>
                    <a:pt x="573" y="345"/>
                  </a:cubicBezTo>
                  <a:cubicBezTo>
                    <a:pt x="575" y="346"/>
                    <a:pt x="577" y="345"/>
                    <a:pt x="578" y="345"/>
                  </a:cubicBezTo>
                  <a:cubicBezTo>
                    <a:pt x="582" y="346"/>
                    <a:pt x="579" y="348"/>
                    <a:pt x="581" y="350"/>
                  </a:cubicBezTo>
                  <a:cubicBezTo>
                    <a:pt x="583" y="351"/>
                    <a:pt x="587" y="349"/>
                    <a:pt x="587" y="352"/>
                  </a:cubicBezTo>
                  <a:cubicBezTo>
                    <a:pt x="601" y="349"/>
                    <a:pt x="614" y="358"/>
                    <a:pt x="622" y="352"/>
                  </a:cubicBezTo>
                  <a:cubicBezTo>
                    <a:pt x="619" y="351"/>
                    <a:pt x="616" y="348"/>
                    <a:pt x="620" y="347"/>
                  </a:cubicBezTo>
                  <a:cubicBezTo>
                    <a:pt x="623" y="348"/>
                    <a:pt x="625" y="350"/>
                    <a:pt x="625" y="354"/>
                  </a:cubicBezTo>
                  <a:cubicBezTo>
                    <a:pt x="630" y="356"/>
                    <a:pt x="634" y="351"/>
                    <a:pt x="636" y="351"/>
                  </a:cubicBezTo>
                  <a:cubicBezTo>
                    <a:pt x="636" y="351"/>
                    <a:pt x="638" y="356"/>
                    <a:pt x="639" y="356"/>
                  </a:cubicBezTo>
                  <a:cubicBezTo>
                    <a:pt x="641" y="357"/>
                    <a:pt x="645" y="356"/>
                    <a:pt x="647" y="356"/>
                  </a:cubicBezTo>
                  <a:cubicBezTo>
                    <a:pt x="649" y="356"/>
                    <a:pt x="649" y="358"/>
                    <a:pt x="650" y="358"/>
                  </a:cubicBezTo>
                  <a:cubicBezTo>
                    <a:pt x="656" y="359"/>
                    <a:pt x="655" y="355"/>
                    <a:pt x="658" y="358"/>
                  </a:cubicBezTo>
                  <a:cubicBezTo>
                    <a:pt x="659" y="359"/>
                    <a:pt x="663" y="358"/>
                    <a:pt x="664" y="358"/>
                  </a:cubicBezTo>
                  <a:cubicBezTo>
                    <a:pt x="673" y="359"/>
                    <a:pt x="674" y="359"/>
                    <a:pt x="680" y="360"/>
                  </a:cubicBezTo>
                  <a:cubicBezTo>
                    <a:pt x="690" y="350"/>
                    <a:pt x="712" y="364"/>
                    <a:pt x="721" y="355"/>
                  </a:cubicBezTo>
                  <a:cubicBezTo>
                    <a:pt x="720" y="356"/>
                    <a:pt x="716" y="350"/>
                    <a:pt x="721" y="350"/>
                  </a:cubicBezTo>
                  <a:cubicBezTo>
                    <a:pt x="724" y="355"/>
                    <a:pt x="726" y="361"/>
                    <a:pt x="738" y="359"/>
                  </a:cubicBezTo>
                  <a:cubicBezTo>
                    <a:pt x="741" y="353"/>
                    <a:pt x="727" y="352"/>
                    <a:pt x="735" y="350"/>
                  </a:cubicBezTo>
                  <a:cubicBezTo>
                    <a:pt x="740" y="350"/>
                    <a:pt x="741" y="354"/>
                    <a:pt x="740" y="359"/>
                  </a:cubicBezTo>
                  <a:cubicBezTo>
                    <a:pt x="750" y="362"/>
                    <a:pt x="742" y="351"/>
                    <a:pt x="749" y="352"/>
                  </a:cubicBezTo>
                  <a:cubicBezTo>
                    <a:pt x="749" y="356"/>
                    <a:pt x="756" y="355"/>
                    <a:pt x="754" y="361"/>
                  </a:cubicBezTo>
                  <a:cubicBezTo>
                    <a:pt x="785" y="357"/>
                    <a:pt x="804" y="370"/>
                    <a:pt x="820" y="360"/>
                  </a:cubicBezTo>
                  <a:cubicBezTo>
                    <a:pt x="821" y="363"/>
                    <a:pt x="826" y="363"/>
                    <a:pt x="828" y="364"/>
                  </a:cubicBezTo>
                  <a:cubicBezTo>
                    <a:pt x="833" y="360"/>
                    <a:pt x="828" y="362"/>
                    <a:pt x="828" y="355"/>
                  </a:cubicBezTo>
                  <a:cubicBezTo>
                    <a:pt x="837" y="363"/>
                    <a:pt x="829" y="348"/>
                    <a:pt x="839" y="350"/>
                  </a:cubicBezTo>
                  <a:cubicBezTo>
                    <a:pt x="838" y="356"/>
                    <a:pt x="834" y="360"/>
                    <a:pt x="839" y="364"/>
                  </a:cubicBezTo>
                  <a:cubicBezTo>
                    <a:pt x="851" y="363"/>
                    <a:pt x="864" y="362"/>
                    <a:pt x="875" y="364"/>
                  </a:cubicBezTo>
                  <a:cubicBezTo>
                    <a:pt x="873" y="357"/>
                    <a:pt x="881" y="359"/>
                    <a:pt x="883" y="356"/>
                  </a:cubicBezTo>
                  <a:cubicBezTo>
                    <a:pt x="884" y="362"/>
                    <a:pt x="887" y="366"/>
                    <a:pt x="894" y="366"/>
                  </a:cubicBezTo>
                  <a:cubicBezTo>
                    <a:pt x="894" y="365"/>
                    <a:pt x="895" y="360"/>
                    <a:pt x="897" y="361"/>
                  </a:cubicBezTo>
                  <a:cubicBezTo>
                    <a:pt x="898" y="361"/>
                    <a:pt x="896" y="365"/>
                    <a:pt x="897" y="366"/>
                  </a:cubicBezTo>
                  <a:cubicBezTo>
                    <a:pt x="900" y="367"/>
                    <a:pt x="905" y="364"/>
                    <a:pt x="908" y="365"/>
                  </a:cubicBezTo>
                  <a:cubicBezTo>
                    <a:pt x="908" y="366"/>
                    <a:pt x="908" y="368"/>
                    <a:pt x="908" y="368"/>
                  </a:cubicBezTo>
                  <a:cubicBezTo>
                    <a:pt x="915" y="368"/>
                    <a:pt x="927" y="366"/>
                    <a:pt x="935" y="367"/>
                  </a:cubicBezTo>
                  <a:cubicBezTo>
                    <a:pt x="939" y="368"/>
                    <a:pt x="939" y="370"/>
                    <a:pt x="941" y="367"/>
                  </a:cubicBezTo>
                  <a:cubicBezTo>
                    <a:pt x="943" y="365"/>
                    <a:pt x="958" y="367"/>
                    <a:pt x="960" y="367"/>
                  </a:cubicBezTo>
                  <a:cubicBezTo>
                    <a:pt x="964" y="366"/>
                    <a:pt x="963" y="364"/>
                    <a:pt x="966" y="367"/>
                  </a:cubicBezTo>
                  <a:cubicBezTo>
                    <a:pt x="968" y="370"/>
                    <a:pt x="980" y="364"/>
                    <a:pt x="982" y="367"/>
                  </a:cubicBezTo>
                  <a:cubicBezTo>
                    <a:pt x="986" y="361"/>
                    <a:pt x="975" y="358"/>
                    <a:pt x="982" y="357"/>
                  </a:cubicBezTo>
                  <a:cubicBezTo>
                    <a:pt x="988" y="362"/>
                    <a:pt x="987" y="365"/>
                    <a:pt x="990" y="366"/>
                  </a:cubicBezTo>
                  <a:cubicBezTo>
                    <a:pt x="988" y="365"/>
                    <a:pt x="995" y="358"/>
                    <a:pt x="993" y="366"/>
                  </a:cubicBezTo>
                  <a:cubicBezTo>
                    <a:pt x="1002" y="368"/>
                    <a:pt x="1002" y="363"/>
                    <a:pt x="1007" y="361"/>
                  </a:cubicBezTo>
                  <a:cubicBezTo>
                    <a:pt x="1006" y="361"/>
                    <a:pt x="1009" y="364"/>
                    <a:pt x="1011" y="362"/>
                  </a:cubicBezTo>
                  <a:cubicBezTo>
                    <a:pt x="1008" y="367"/>
                    <a:pt x="1012" y="366"/>
                    <a:pt x="1018" y="366"/>
                  </a:cubicBezTo>
                  <a:cubicBezTo>
                    <a:pt x="1020" y="366"/>
                    <a:pt x="1020" y="368"/>
                    <a:pt x="1020" y="368"/>
                  </a:cubicBezTo>
                  <a:cubicBezTo>
                    <a:pt x="1028" y="369"/>
                    <a:pt x="1040" y="368"/>
                    <a:pt x="1042" y="365"/>
                  </a:cubicBezTo>
                  <a:cubicBezTo>
                    <a:pt x="1042" y="368"/>
                    <a:pt x="1044" y="367"/>
                    <a:pt x="1045" y="368"/>
                  </a:cubicBezTo>
                  <a:cubicBezTo>
                    <a:pt x="1045" y="368"/>
                    <a:pt x="1049" y="370"/>
                    <a:pt x="1048" y="370"/>
                  </a:cubicBezTo>
                  <a:cubicBezTo>
                    <a:pt x="1058" y="372"/>
                    <a:pt x="1076" y="367"/>
                    <a:pt x="1078" y="367"/>
                  </a:cubicBezTo>
                  <a:cubicBezTo>
                    <a:pt x="1081" y="367"/>
                    <a:pt x="1082" y="369"/>
                    <a:pt x="1086" y="369"/>
                  </a:cubicBezTo>
                  <a:cubicBezTo>
                    <a:pt x="1087" y="369"/>
                    <a:pt x="1086" y="367"/>
                    <a:pt x="1089" y="367"/>
                  </a:cubicBezTo>
                  <a:cubicBezTo>
                    <a:pt x="1090" y="367"/>
                    <a:pt x="1089" y="370"/>
                    <a:pt x="1092" y="369"/>
                  </a:cubicBezTo>
                  <a:cubicBezTo>
                    <a:pt x="1091" y="369"/>
                    <a:pt x="1094" y="367"/>
                    <a:pt x="1095" y="367"/>
                  </a:cubicBezTo>
                  <a:cubicBezTo>
                    <a:pt x="1097" y="366"/>
                    <a:pt x="1099" y="365"/>
                    <a:pt x="1100" y="362"/>
                  </a:cubicBezTo>
                  <a:cubicBezTo>
                    <a:pt x="1097" y="362"/>
                    <a:pt x="1096" y="360"/>
                    <a:pt x="1094" y="357"/>
                  </a:cubicBezTo>
                  <a:cubicBezTo>
                    <a:pt x="1098" y="357"/>
                    <a:pt x="1100" y="356"/>
                    <a:pt x="1103" y="355"/>
                  </a:cubicBezTo>
                  <a:cubicBezTo>
                    <a:pt x="1105" y="362"/>
                    <a:pt x="1105" y="359"/>
                    <a:pt x="1103" y="367"/>
                  </a:cubicBezTo>
                  <a:cubicBezTo>
                    <a:pt x="1112" y="371"/>
                    <a:pt x="1115" y="365"/>
                    <a:pt x="1127" y="366"/>
                  </a:cubicBezTo>
                  <a:cubicBezTo>
                    <a:pt x="1131" y="365"/>
                    <a:pt x="1128" y="357"/>
                    <a:pt x="1133" y="357"/>
                  </a:cubicBezTo>
                  <a:cubicBezTo>
                    <a:pt x="1132" y="364"/>
                    <a:pt x="1133" y="370"/>
                    <a:pt x="1141" y="368"/>
                  </a:cubicBezTo>
                  <a:cubicBezTo>
                    <a:pt x="1143" y="364"/>
                    <a:pt x="1133" y="359"/>
                    <a:pt x="1141" y="357"/>
                  </a:cubicBezTo>
                  <a:cubicBezTo>
                    <a:pt x="1145" y="359"/>
                    <a:pt x="1144" y="366"/>
                    <a:pt x="1152" y="366"/>
                  </a:cubicBezTo>
                  <a:cubicBezTo>
                    <a:pt x="1152" y="363"/>
                    <a:pt x="1153" y="360"/>
                    <a:pt x="1158" y="361"/>
                  </a:cubicBezTo>
                  <a:cubicBezTo>
                    <a:pt x="1158" y="357"/>
                    <a:pt x="1157" y="353"/>
                    <a:pt x="1163" y="354"/>
                  </a:cubicBezTo>
                  <a:cubicBezTo>
                    <a:pt x="1167" y="363"/>
                    <a:pt x="1155" y="359"/>
                    <a:pt x="1158" y="366"/>
                  </a:cubicBezTo>
                  <a:cubicBezTo>
                    <a:pt x="1172" y="369"/>
                    <a:pt x="1165" y="355"/>
                    <a:pt x="1174" y="354"/>
                  </a:cubicBezTo>
                  <a:cubicBezTo>
                    <a:pt x="1182" y="360"/>
                    <a:pt x="1176" y="360"/>
                    <a:pt x="1174" y="368"/>
                  </a:cubicBezTo>
                  <a:cubicBezTo>
                    <a:pt x="1185" y="370"/>
                    <a:pt x="1191" y="370"/>
                    <a:pt x="1199" y="365"/>
                  </a:cubicBezTo>
                  <a:cubicBezTo>
                    <a:pt x="1202" y="369"/>
                    <a:pt x="1216" y="362"/>
                    <a:pt x="1221" y="367"/>
                  </a:cubicBezTo>
                  <a:cubicBezTo>
                    <a:pt x="1221" y="365"/>
                    <a:pt x="1221" y="362"/>
                    <a:pt x="1223" y="362"/>
                  </a:cubicBezTo>
                  <a:cubicBezTo>
                    <a:pt x="1223" y="364"/>
                    <a:pt x="1223" y="365"/>
                    <a:pt x="1223" y="367"/>
                  </a:cubicBezTo>
                  <a:cubicBezTo>
                    <a:pt x="1233" y="362"/>
                    <a:pt x="1233" y="372"/>
                    <a:pt x="1240" y="367"/>
                  </a:cubicBezTo>
                  <a:cubicBezTo>
                    <a:pt x="1240" y="363"/>
                    <a:pt x="1239" y="359"/>
                    <a:pt x="1237" y="357"/>
                  </a:cubicBezTo>
                  <a:cubicBezTo>
                    <a:pt x="1242" y="358"/>
                    <a:pt x="1243" y="355"/>
                    <a:pt x="1248" y="355"/>
                  </a:cubicBezTo>
                  <a:cubicBezTo>
                    <a:pt x="1247" y="358"/>
                    <a:pt x="1244" y="359"/>
                    <a:pt x="1243" y="362"/>
                  </a:cubicBezTo>
                  <a:cubicBezTo>
                    <a:pt x="1252" y="364"/>
                    <a:pt x="1246" y="352"/>
                    <a:pt x="1256" y="355"/>
                  </a:cubicBezTo>
                  <a:cubicBezTo>
                    <a:pt x="1255" y="359"/>
                    <a:pt x="1250" y="361"/>
                    <a:pt x="1251" y="367"/>
                  </a:cubicBezTo>
                  <a:cubicBezTo>
                    <a:pt x="1261" y="366"/>
                    <a:pt x="1261" y="363"/>
                    <a:pt x="1270" y="366"/>
                  </a:cubicBezTo>
                  <a:cubicBezTo>
                    <a:pt x="1284" y="364"/>
                    <a:pt x="1292" y="371"/>
                    <a:pt x="1298" y="363"/>
                  </a:cubicBezTo>
                  <a:cubicBezTo>
                    <a:pt x="1302" y="371"/>
                    <a:pt x="1312" y="359"/>
                    <a:pt x="1317" y="365"/>
                  </a:cubicBezTo>
                  <a:cubicBezTo>
                    <a:pt x="1315" y="360"/>
                    <a:pt x="1314" y="356"/>
                    <a:pt x="1319" y="351"/>
                  </a:cubicBezTo>
                  <a:cubicBezTo>
                    <a:pt x="1324" y="356"/>
                    <a:pt x="1318" y="356"/>
                    <a:pt x="1319" y="363"/>
                  </a:cubicBezTo>
                  <a:cubicBezTo>
                    <a:pt x="1328" y="365"/>
                    <a:pt x="1324" y="358"/>
                    <a:pt x="1325" y="353"/>
                  </a:cubicBezTo>
                  <a:cubicBezTo>
                    <a:pt x="1329" y="353"/>
                    <a:pt x="1336" y="345"/>
                    <a:pt x="1338" y="351"/>
                  </a:cubicBezTo>
                  <a:cubicBezTo>
                    <a:pt x="1334" y="351"/>
                    <a:pt x="1331" y="353"/>
                    <a:pt x="1330" y="356"/>
                  </a:cubicBezTo>
                  <a:cubicBezTo>
                    <a:pt x="1340" y="356"/>
                    <a:pt x="1325" y="364"/>
                    <a:pt x="1333" y="363"/>
                  </a:cubicBezTo>
                  <a:cubicBezTo>
                    <a:pt x="1337" y="358"/>
                    <a:pt x="1343" y="365"/>
                    <a:pt x="1350" y="360"/>
                  </a:cubicBezTo>
                  <a:cubicBezTo>
                    <a:pt x="1353" y="365"/>
                    <a:pt x="1369" y="361"/>
                    <a:pt x="1377" y="362"/>
                  </a:cubicBezTo>
                  <a:cubicBezTo>
                    <a:pt x="1378" y="358"/>
                    <a:pt x="1374" y="348"/>
                    <a:pt x="1379" y="348"/>
                  </a:cubicBezTo>
                  <a:cubicBezTo>
                    <a:pt x="1389" y="350"/>
                    <a:pt x="1381" y="352"/>
                    <a:pt x="1382" y="360"/>
                  </a:cubicBezTo>
                  <a:cubicBezTo>
                    <a:pt x="1388" y="358"/>
                    <a:pt x="1401" y="362"/>
                    <a:pt x="1402" y="357"/>
                  </a:cubicBezTo>
                  <a:cubicBezTo>
                    <a:pt x="1399" y="356"/>
                    <a:pt x="1395" y="353"/>
                    <a:pt x="1399" y="352"/>
                  </a:cubicBezTo>
                  <a:cubicBezTo>
                    <a:pt x="1401" y="355"/>
                    <a:pt x="1409" y="353"/>
                    <a:pt x="1407" y="359"/>
                  </a:cubicBezTo>
                  <a:cubicBezTo>
                    <a:pt x="1418" y="359"/>
                    <a:pt x="1409" y="352"/>
                    <a:pt x="1415" y="357"/>
                  </a:cubicBezTo>
                  <a:cubicBezTo>
                    <a:pt x="1421" y="361"/>
                    <a:pt x="1422" y="357"/>
                    <a:pt x="1426" y="356"/>
                  </a:cubicBezTo>
                  <a:cubicBezTo>
                    <a:pt x="1438" y="354"/>
                    <a:pt x="1439" y="354"/>
                    <a:pt x="1446" y="358"/>
                  </a:cubicBezTo>
                  <a:cubicBezTo>
                    <a:pt x="1446" y="355"/>
                    <a:pt x="1445" y="350"/>
                    <a:pt x="1451" y="351"/>
                  </a:cubicBezTo>
                  <a:cubicBezTo>
                    <a:pt x="1451" y="347"/>
                    <a:pt x="1448" y="346"/>
                    <a:pt x="1448" y="342"/>
                  </a:cubicBezTo>
                  <a:cubicBezTo>
                    <a:pt x="1451" y="342"/>
                    <a:pt x="1454" y="342"/>
                    <a:pt x="1456" y="342"/>
                  </a:cubicBezTo>
                  <a:cubicBezTo>
                    <a:pt x="1457" y="346"/>
                    <a:pt x="1453" y="347"/>
                    <a:pt x="1454" y="351"/>
                  </a:cubicBezTo>
                  <a:cubicBezTo>
                    <a:pt x="1460" y="350"/>
                    <a:pt x="1464" y="352"/>
                    <a:pt x="1465" y="356"/>
                  </a:cubicBezTo>
                  <a:cubicBezTo>
                    <a:pt x="1473" y="356"/>
                    <a:pt x="1481" y="355"/>
                    <a:pt x="1489" y="355"/>
                  </a:cubicBezTo>
                  <a:cubicBezTo>
                    <a:pt x="1492" y="353"/>
                    <a:pt x="1494" y="347"/>
                    <a:pt x="1497" y="346"/>
                  </a:cubicBezTo>
                  <a:cubicBezTo>
                    <a:pt x="1502" y="345"/>
                    <a:pt x="1504" y="349"/>
                    <a:pt x="1508" y="348"/>
                  </a:cubicBezTo>
                  <a:cubicBezTo>
                    <a:pt x="1508" y="343"/>
                    <a:pt x="1509" y="339"/>
                    <a:pt x="1514" y="338"/>
                  </a:cubicBezTo>
                  <a:cubicBezTo>
                    <a:pt x="1515" y="346"/>
                    <a:pt x="1508" y="348"/>
                    <a:pt x="1514" y="352"/>
                  </a:cubicBezTo>
                  <a:cubicBezTo>
                    <a:pt x="1526" y="355"/>
                    <a:pt x="1523" y="344"/>
                    <a:pt x="1533" y="345"/>
                  </a:cubicBezTo>
                  <a:cubicBezTo>
                    <a:pt x="1534" y="347"/>
                    <a:pt x="1533" y="350"/>
                    <a:pt x="1536" y="350"/>
                  </a:cubicBezTo>
                  <a:cubicBezTo>
                    <a:pt x="1539" y="350"/>
                    <a:pt x="1540" y="353"/>
                    <a:pt x="1541" y="350"/>
                  </a:cubicBezTo>
                  <a:cubicBezTo>
                    <a:pt x="1537" y="349"/>
                    <a:pt x="1543" y="344"/>
                    <a:pt x="1541" y="340"/>
                  </a:cubicBezTo>
                  <a:cubicBezTo>
                    <a:pt x="1541" y="339"/>
                    <a:pt x="1533" y="341"/>
                    <a:pt x="1536" y="336"/>
                  </a:cubicBezTo>
                  <a:cubicBezTo>
                    <a:pt x="1540" y="336"/>
                    <a:pt x="1545" y="336"/>
                    <a:pt x="1549" y="335"/>
                  </a:cubicBezTo>
                  <a:cubicBezTo>
                    <a:pt x="1553" y="343"/>
                    <a:pt x="1552" y="345"/>
                    <a:pt x="1547" y="350"/>
                  </a:cubicBezTo>
                  <a:cubicBezTo>
                    <a:pt x="1555" y="349"/>
                    <a:pt x="1563" y="349"/>
                    <a:pt x="1572" y="349"/>
                  </a:cubicBezTo>
                  <a:cubicBezTo>
                    <a:pt x="1573" y="346"/>
                    <a:pt x="1574" y="344"/>
                    <a:pt x="1577" y="342"/>
                  </a:cubicBezTo>
                  <a:cubicBezTo>
                    <a:pt x="1579" y="353"/>
                    <a:pt x="1592" y="340"/>
                    <a:pt x="1599" y="346"/>
                  </a:cubicBezTo>
                  <a:cubicBezTo>
                    <a:pt x="1600" y="345"/>
                    <a:pt x="1599" y="342"/>
                    <a:pt x="1602" y="342"/>
                  </a:cubicBezTo>
                  <a:cubicBezTo>
                    <a:pt x="1604" y="345"/>
                    <a:pt x="1609" y="340"/>
                    <a:pt x="1615" y="344"/>
                  </a:cubicBezTo>
                  <a:cubicBezTo>
                    <a:pt x="1619" y="338"/>
                    <a:pt x="1617" y="328"/>
                    <a:pt x="1626" y="327"/>
                  </a:cubicBezTo>
                  <a:cubicBezTo>
                    <a:pt x="1629" y="330"/>
                    <a:pt x="1629" y="336"/>
                    <a:pt x="1632" y="339"/>
                  </a:cubicBezTo>
                  <a:cubicBezTo>
                    <a:pt x="1628" y="339"/>
                    <a:pt x="1623" y="329"/>
                    <a:pt x="1624" y="339"/>
                  </a:cubicBezTo>
                  <a:cubicBezTo>
                    <a:pt x="1627" y="342"/>
                    <a:pt x="1633" y="343"/>
                    <a:pt x="1640" y="343"/>
                  </a:cubicBezTo>
                  <a:cubicBezTo>
                    <a:pt x="1640" y="340"/>
                    <a:pt x="1639" y="335"/>
                    <a:pt x="1643" y="334"/>
                  </a:cubicBezTo>
                  <a:cubicBezTo>
                    <a:pt x="1642" y="340"/>
                    <a:pt x="1647" y="341"/>
                    <a:pt x="1651" y="343"/>
                  </a:cubicBezTo>
                  <a:cubicBezTo>
                    <a:pt x="1651" y="340"/>
                    <a:pt x="1656" y="341"/>
                    <a:pt x="1656" y="338"/>
                  </a:cubicBezTo>
                  <a:cubicBezTo>
                    <a:pt x="1655" y="338"/>
                    <a:pt x="1653" y="336"/>
                    <a:pt x="1656" y="336"/>
                  </a:cubicBezTo>
                  <a:cubicBezTo>
                    <a:pt x="1662" y="335"/>
                    <a:pt x="1663" y="338"/>
                    <a:pt x="1667" y="338"/>
                  </a:cubicBezTo>
                  <a:cubicBezTo>
                    <a:pt x="1667" y="338"/>
                    <a:pt x="1669" y="334"/>
                    <a:pt x="1670" y="333"/>
                  </a:cubicBezTo>
                  <a:cubicBezTo>
                    <a:pt x="1670" y="333"/>
                    <a:pt x="1678" y="338"/>
                    <a:pt x="1681" y="336"/>
                  </a:cubicBezTo>
                  <a:cubicBezTo>
                    <a:pt x="1682" y="330"/>
                    <a:pt x="1676" y="330"/>
                    <a:pt x="1678" y="324"/>
                  </a:cubicBezTo>
                  <a:cubicBezTo>
                    <a:pt x="1682" y="323"/>
                    <a:pt x="1683" y="320"/>
                    <a:pt x="1686" y="319"/>
                  </a:cubicBezTo>
                  <a:cubicBezTo>
                    <a:pt x="1686" y="322"/>
                    <a:pt x="1691" y="321"/>
                    <a:pt x="1692" y="324"/>
                  </a:cubicBezTo>
                  <a:cubicBezTo>
                    <a:pt x="1681" y="324"/>
                    <a:pt x="1694" y="328"/>
                    <a:pt x="1695" y="331"/>
                  </a:cubicBezTo>
                  <a:cubicBezTo>
                    <a:pt x="1695" y="330"/>
                    <a:pt x="1687" y="343"/>
                    <a:pt x="1695" y="340"/>
                  </a:cubicBezTo>
                  <a:cubicBezTo>
                    <a:pt x="1694" y="335"/>
                    <a:pt x="1705" y="339"/>
                    <a:pt x="1709" y="337"/>
                  </a:cubicBezTo>
                  <a:cubicBezTo>
                    <a:pt x="1709" y="335"/>
                    <a:pt x="1712" y="334"/>
                    <a:pt x="1714" y="333"/>
                  </a:cubicBezTo>
                  <a:cubicBezTo>
                    <a:pt x="1714" y="335"/>
                    <a:pt x="1715" y="338"/>
                    <a:pt x="1720" y="337"/>
                  </a:cubicBezTo>
                  <a:cubicBezTo>
                    <a:pt x="1716" y="330"/>
                    <a:pt x="1728" y="335"/>
                    <a:pt x="1725" y="328"/>
                  </a:cubicBezTo>
                  <a:cubicBezTo>
                    <a:pt x="1721" y="327"/>
                    <a:pt x="1715" y="329"/>
                    <a:pt x="1714" y="326"/>
                  </a:cubicBezTo>
                  <a:cubicBezTo>
                    <a:pt x="1717" y="322"/>
                    <a:pt x="1718" y="318"/>
                    <a:pt x="1722" y="316"/>
                  </a:cubicBezTo>
                  <a:cubicBezTo>
                    <a:pt x="1718" y="324"/>
                    <a:pt x="1731" y="317"/>
                    <a:pt x="1730" y="323"/>
                  </a:cubicBezTo>
                  <a:cubicBezTo>
                    <a:pt x="1727" y="323"/>
                    <a:pt x="1727" y="329"/>
                    <a:pt x="1730" y="330"/>
                  </a:cubicBezTo>
                  <a:cubicBezTo>
                    <a:pt x="1734" y="325"/>
                    <a:pt x="1735" y="318"/>
                    <a:pt x="1744" y="318"/>
                  </a:cubicBezTo>
                  <a:cubicBezTo>
                    <a:pt x="1741" y="323"/>
                    <a:pt x="1735" y="326"/>
                    <a:pt x="1733" y="332"/>
                  </a:cubicBezTo>
                  <a:cubicBezTo>
                    <a:pt x="1748" y="334"/>
                    <a:pt x="1742" y="318"/>
                    <a:pt x="1760" y="322"/>
                  </a:cubicBezTo>
                  <a:cubicBezTo>
                    <a:pt x="1767" y="320"/>
                    <a:pt x="1754" y="312"/>
                    <a:pt x="1763" y="308"/>
                  </a:cubicBezTo>
                  <a:cubicBezTo>
                    <a:pt x="1759" y="319"/>
                    <a:pt x="1769" y="319"/>
                    <a:pt x="1774" y="322"/>
                  </a:cubicBezTo>
                  <a:cubicBezTo>
                    <a:pt x="1773" y="327"/>
                    <a:pt x="1760" y="323"/>
                    <a:pt x="1763" y="332"/>
                  </a:cubicBezTo>
                  <a:cubicBezTo>
                    <a:pt x="1770" y="333"/>
                    <a:pt x="1769" y="327"/>
                    <a:pt x="1777" y="329"/>
                  </a:cubicBezTo>
                  <a:cubicBezTo>
                    <a:pt x="1776" y="324"/>
                    <a:pt x="1779" y="322"/>
                    <a:pt x="1785" y="322"/>
                  </a:cubicBezTo>
                  <a:cubicBezTo>
                    <a:pt x="1783" y="330"/>
                    <a:pt x="1790" y="330"/>
                    <a:pt x="1796" y="331"/>
                  </a:cubicBezTo>
                  <a:cubicBezTo>
                    <a:pt x="1793" y="321"/>
                    <a:pt x="1802" y="324"/>
                    <a:pt x="1807" y="322"/>
                  </a:cubicBezTo>
                  <a:cubicBezTo>
                    <a:pt x="1809" y="320"/>
                    <a:pt x="1810" y="315"/>
                    <a:pt x="1815" y="317"/>
                  </a:cubicBezTo>
                  <a:cubicBezTo>
                    <a:pt x="1818" y="323"/>
                    <a:pt x="1811" y="323"/>
                    <a:pt x="1813" y="329"/>
                  </a:cubicBezTo>
                  <a:cubicBezTo>
                    <a:pt x="1818" y="329"/>
                    <a:pt x="1817" y="327"/>
                    <a:pt x="1818" y="324"/>
                  </a:cubicBezTo>
                  <a:cubicBezTo>
                    <a:pt x="1818" y="323"/>
                    <a:pt x="1821" y="324"/>
                    <a:pt x="1821" y="324"/>
                  </a:cubicBezTo>
                  <a:cubicBezTo>
                    <a:pt x="1822" y="321"/>
                    <a:pt x="1820" y="317"/>
                    <a:pt x="1821" y="314"/>
                  </a:cubicBezTo>
                  <a:cubicBezTo>
                    <a:pt x="1822" y="303"/>
                    <a:pt x="1828" y="308"/>
                    <a:pt x="1823" y="314"/>
                  </a:cubicBezTo>
                  <a:cubicBezTo>
                    <a:pt x="1834" y="316"/>
                    <a:pt x="1825" y="302"/>
                    <a:pt x="1837" y="305"/>
                  </a:cubicBezTo>
                  <a:cubicBezTo>
                    <a:pt x="1834" y="311"/>
                    <a:pt x="1833" y="322"/>
                    <a:pt x="1843" y="323"/>
                  </a:cubicBezTo>
                  <a:cubicBezTo>
                    <a:pt x="1849" y="318"/>
                    <a:pt x="1839" y="319"/>
                    <a:pt x="1840" y="312"/>
                  </a:cubicBezTo>
                  <a:cubicBezTo>
                    <a:pt x="1843" y="312"/>
                    <a:pt x="1844" y="315"/>
                    <a:pt x="1848" y="314"/>
                  </a:cubicBezTo>
                  <a:cubicBezTo>
                    <a:pt x="1853" y="308"/>
                    <a:pt x="1844" y="304"/>
                    <a:pt x="1851" y="300"/>
                  </a:cubicBezTo>
                  <a:cubicBezTo>
                    <a:pt x="1858" y="309"/>
                    <a:pt x="1841" y="322"/>
                    <a:pt x="1854" y="328"/>
                  </a:cubicBezTo>
                  <a:cubicBezTo>
                    <a:pt x="1853" y="321"/>
                    <a:pt x="1854" y="316"/>
                    <a:pt x="1859" y="314"/>
                  </a:cubicBezTo>
                  <a:cubicBezTo>
                    <a:pt x="1868" y="315"/>
                    <a:pt x="1866" y="307"/>
                    <a:pt x="1873" y="306"/>
                  </a:cubicBezTo>
                  <a:cubicBezTo>
                    <a:pt x="1875" y="314"/>
                    <a:pt x="1870" y="316"/>
                    <a:pt x="1867" y="320"/>
                  </a:cubicBezTo>
                  <a:cubicBezTo>
                    <a:pt x="1878" y="323"/>
                    <a:pt x="1872" y="312"/>
                    <a:pt x="1881" y="313"/>
                  </a:cubicBezTo>
                  <a:cubicBezTo>
                    <a:pt x="1881" y="316"/>
                    <a:pt x="1878" y="317"/>
                    <a:pt x="1878" y="320"/>
                  </a:cubicBezTo>
                  <a:cubicBezTo>
                    <a:pt x="1884" y="321"/>
                    <a:pt x="1884" y="317"/>
                    <a:pt x="1886" y="315"/>
                  </a:cubicBezTo>
                  <a:cubicBezTo>
                    <a:pt x="1891" y="316"/>
                    <a:pt x="1889" y="321"/>
                    <a:pt x="1895" y="320"/>
                  </a:cubicBezTo>
                  <a:cubicBezTo>
                    <a:pt x="1897" y="315"/>
                    <a:pt x="1895" y="308"/>
                    <a:pt x="1903" y="303"/>
                  </a:cubicBezTo>
                  <a:cubicBezTo>
                    <a:pt x="1903" y="307"/>
                    <a:pt x="1904" y="309"/>
                    <a:pt x="1906" y="310"/>
                  </a:cubicBezTo>
                  <a:cubicBezTo>
                    <a:pt x="1895" y="307"/>
                    <a:pt x="1905" y="325"/>
                    <a:pt x="1906" y="325"/>
                  </a:cubicBezTo>
                  <a:cubicBezTo>
                    <a:pt x="1909" y="319"/>
                    <a:pt x="1905" y="320"/>
                    <a:pt x="1908" y="313"/>
                  </a:cubicBezTo>
                  <a:cubicBezTo>
                    <a:pt x="1919" y="315"/>
                    <a:pt x="1916" y="307"/>
                    <a:pt x="1925" y="308"/>
                  </a:cubicBezTo>
                  <a:cubicBezTo>
                    <a:pt x="1929" y="309"/>
                    <a:pt x="1925" y="317"/>
                    <a:pt x="1930" y="317"/>
                  </a:cubicBezTo>
                  <a:cubicBezTo>
                    <a:pt x="1936" y="311"/>
                    <a:pt x="1927" y="306"/>
                    <a:pt x="1933" y="303"/>
                  </a:cubicBezTo>
                  <a:cubicBezTo>
                    <a:pt x="1937" y="303"/>
                    <a:pt x="1935" y="309"/>
                    <a:pt x="1939" y="310"/>
                  </a:cubicBezTo>
                  <a:cubicBezTo>
                    <a:pt x="1939" y="308"/>
                    <a:pt x="1941" y="307"/>
                    <a:pt x="1944" y="307"/>
                  </a:cubicBezTo>
                  <a:cubicBezTo>
                    <a:pt x="1948" y="307"/>
                    <a:pt x="1955" y="298"/>
                    <a:pt x="1949" y="298"/>
                  </a:cubicBezTo>
                  <a:cubicBezTo>
                    <a:pt x="1950" y="303"/>
                    <a:pt x="1941" y="298"/>
                    <a:pt x="1941" y="296"/>
                  </a:cubicBezTo>
                  <a:cubicBezTo>
                    <a:pt x="1952" y="300"/>
                    <a:pt x="1950" y="292"/>
                    <a:pt x="1955" y="295"/>
                  </a:cubicBezTo>
                  <a:cubicBezTo>
                    <a:pt x="1957" y="297"/>
                    <a:pt x="1963" y="294"/>
                    <a:pt x="1966" y="295"/>
                  </a:cubicBezTo>
                  <a:cubicBezTo>
                    <a:pt x="1966" y="293"/>
                    <a:pt x="1966" y="291"/>
                    <a:pt x="1968" y="291"/>
                  </a:cubicBezTo>
                  <a:cubicBezTo>
                    <a:pt x="1968" y="295"/>
                    <a:pt x="1972" y="295"/>
                    <a:pt x="1974" y="297"/>
                  </a:cubicBezTo>
                  <a:cubicBezTo>
                    <a:pt x="1975" y="302"/>
                    <a:pt x="1971" y="303"/>
                    <a:pt x="1971" y="307"/>
                  </a:cubicBezTo>
                  <a:cubicBezTo>
                    <a:pt x="1978" y="311"/>
                    <a:pt x="1992" y="309"/>
                    <a:pt x="1999" y="306"/>
                  </a:cubicBezTo>
                  <a:cubicBezTo>
                    <a:pt x="1999" y="304"/>
                    <a:pt x="1998" y="300"/>
                    <a:pt x="2001" y="299"/>
                  </a:cubicBezTo>
                  <a:cubicBezTo>
                    <a:pt x="2004" y="301"/>
                    <a:pt x="2011" y="310"/>
                    <a:pt x="2013" y="304"/>
                  </a:cubicBezTo>
                  <a:cubicBezTo>
                    <a:pt x="2011" y="304"/>
                    <a:pt x="2009" y="302"/>
                    <a:pt x="2012" y="301"/>
                  </a:cubicBezTo>
                  <a:cubicBezTo>
                    <a:pt x="2013" y="298"/>
                    <a:pt x="2011" y="296"/>
                    <a:pt x="2010" y="295"/>
                  </a:cubicBezTo>
                  <a:cubicBezTo>
                    <a:pt x="2017" y="296"/>
                    <a:pt x="2017" y="291"/>
                    <a:pt x="2023" y="292"/>
                  </a:cubicBezTo>
                  <a:cubicBezTo>
                    <a:pt x="2024" y="298"/>
                    <a:pt x="2019" y="297"/>
                    <a:pt x="2023" y="301"/>
                  </a:cubicBezTo>
                  <a:cubicBezTo>
                    <a:pt x="2021" y="301"/>
                    <a:pt x="2020" y="305"/>
                    <a:pt x="2024" y="306"/>
                  </a:cubicBezTo>
                  <a:cubicBezTo>
                    <a:pt x="2025" y="297"/>
                    <a:pt x="2032" y="305"/>
                    <a:pt x="2034" y="303"/>
                  </a:cubicBezTo>
                  <a:cubicBezTo>
                    <a:pt x="2036" y="303"/>
                    <a:pt x="2034" y="298"/>
                    <a:pt x="2037" y="299"/>
                  </a:cubicBezTo>
                  <a:cubicBezTo>
                    <a:pt x="2037" y="303"/>
                    <a:pt x="2045" y="300"/>
                    <a:pt x="2045" y="303"/>
                  </a:cubicBezTo>
                  <a:cubicBezTo>
                    <a:pt x="2038" y="300"/>
                    <a:pt x="2033" y="310"/>
                    <a:pt x="2040" y="310"/>
                  </a:cubicBezTo>
                  <a:cubicBezTo>
                    <a:pt x="2040" y="304"/>
                    <a:pt x="2048" y="306"/>
                    <a:pt x="2051" y="303"/>
                  </a:cubicBezTo>
                  <a:cubicBezTo>
                    <a:pt x="2053" y="301"/>
                    <a:pt x="2050" y="291"/>
                    <a:pt x="2059" y="294"/>
                  </a:cubicBezTo>
                  <a:cubicBezTo>
                    <a:pt x="2057" y="299"/>
                    <a:pt x="2051" y="301"/>
                    <a:pt x="2051" y="308"/>
                  </a:cubicBezTo>
                  <a:cubicBezTo>
                    <a:pt x="2061" y="307"/>
                    <a:pt x="2062" y="299"/>
                    <a:pt x="2073" y="298"/>
                  </a:cubicBezTo>
                  <a:cubicBezTo>
                    <a:pt x="2072" y="294"/>
                    <a:pt x="2064" y="279"/>
                    <a:pt x="2075" y="279"/>
                  </a:cubicBezTo>
                  <a:cubicBezTo>
                    <a:pt x="2072" y="288"/>
                    <a:pt x="2072" y="298"/>
                    <a:pt x="2084" y="303"/>
                  </a:cubicBezTo>
                  <a:cubicBezTo>
                    <a:pt x="2085" y="299"/>
                    <a:pt x="2080" y="297"/>
                    <a:pt x="2084" y="296"/>
                  </a:cubicBezTo>
                  <a:cubicBezTo>
                    <a:pt x="2090" y="299"/>
                    <a:pt x="2088" y="301"/>
                    <a:pt x="2087" y="307"/>
                  </a:cubicBezTo>
                  <a:cubicBezTo>
                    <a:pt x="2095" y="308"/>
                    <a:pt x="2096" y="298"/>
                    <a:pt x="2103" y="305"/>
                  </a:cubicBezTo>
                  <a:cubicBezTo>
                    <a:pt x="2102" y="295"/>
                    <a:pt x="2109" y="303"/>
                    <a:pt x="2114" y="302"/>
                  </a:cubicBezTo>
                  <a:cubicBezTo>
                    <a:pt x="2115" y="299"/>
                    <a:pt x="2118" y="298"/>
                    <a:pt x="2117" y="293"/>
                  </a:cubicBezTo>
                  <a:cubicBezTo>
                    <a:pt x="2122" y="293"/>
                    <a:pt x="2122" y="289"/>
                    <a:pt x="2125" y="288"/>
                  </a:cubicBezTo>
                  <a:cubicBezTo>
                    <a:pt x="2124" y="293"/>
                    <a:pt x="2119" y="301"/>
                    <a:pt x="2128" y="302"/>
                  </a:cubicBezTo>
                  <a:cubicBezTo>
                    <a:pt x="2128" y="300"/>
                    <a:pt x="2128" y="297"/>
                    <a:pt x="2130" y="297"/>
                  </a:cubicBezTo>
                  <a:cubicBezTo>
                    <a:pt x="2127" y="305"/>
                    <a:pt x="2139" y="299"/>
                    <a:pt x="2136" y="306"/>
                  </a:cubicBezTo>
                  <a:cubicBezTo>
                    <a:pt x="2135" y="306"/>
                    <a:pt x="2133" y="308"/>
                    <a:pt x="2136" y="309"/>
                  </a:cubicBezTo>
                  <a:cubicBezTo>
                    <a:pt x="2137" y="306"/>
                    <a:pt x="2140" y="304"/>
                    <a:pt x="2139" y="299"/>
                  </a:cubicBezTo>
                  <a:cubicBezTo>
                    <a:pt x="2146" y="298"/>
                    <a:pt x="2149" y="288"/>
                    <a:pt x="2152" y="285"/>
                  </a:cubicBezTo>
                  <a:cubicBezTo>
                    <a:pt x="2154" y="292"/>
                    <a:pt x="2154" y="289"/>
                    <a:pt x="2152" y="297"/>
                  </a:cubicBezTo>
                  <a:cubicBezTo>
                    <a:pt x="2166" y="292"/>
                    <a:pt x="2160" y="304"/>
                    <a:pt x="2169" y="303"/>
                  </a:cubicBezTo>
                  <a:cubicBezTo>
                    <a:pt x="2175" y="311"/>
                    <a:pt x="2170" y="295"/>
                    <a:pt x="2174" y="294"/>
                  </a:cubicBezTo>
                  <a:cubicBezTo>
                    <a:pt x="2176" y="294"/>
                    <a:pt x="2179" y="297"/>
                    <a:pt x="2180" y="296"/>
                  </a:cubicBezTo>
                  <a:cubicBezTo>
                    <a:pt x="2182" y="294"/>
                    <a:pt x="2177" y="287"/>
                    <a:pt x="2182" y="287"/>
                  </a:cubicBezTo>
                  <a:cubicBezTo>
                    <a:pt x="2187" y="286"/>
                    <a:pt x="2184" y="294"/>
                    <a:pt x="2188" y="294"/>
                  </a:cubicBezTo>
                  <a:cubicBezTo>
                    <a:pt x="2189" y="285"/>
                    <a:pt x="2188" y="282"/>
                    <a:pt x="2190" y="280"/>
                  </a:cubicBezTo>
                  <a:cubicBezTo>
                    <a:pt x="2201" y="287"/>
                    <a:pt x="2186" y="293"/>
                    <a:pt x="2193" y="294"/>
                  </a:cubicBezTo>
                  <a:cubicBezTo>
                    <a:pt x="2200" y="294"/>
                    <a:pt x="2195" y="303"/>
                    <a:pt x="2196" y="305"/>
                  </a:cubicBezTo>
                  <a:cubicBezTo>
                    <a:pt x="2208" y="306"/>
                    <a:pt x="2196" y="302"/>
                    <a:pt x="2199" y="296"/>
                  </a:cubicBezTo>
                  <a:cubicBezTo>
                    <a:pt x="2205" y="293"/>
                    <a:pt x="2206" y="296"/>
                    <a:pt x="2213" y="291"/>
                  </a:cubicBezTo>
                  <a:cubicBezTo>
                    <a:pt x="2218" y="293"/>
                    <a:pt x="2212" y="304"/>
                    <a:pt x="2218" y="305"/>
                  </a:cubicBezTo>
                  <a:cubicBezTo>
                    <a:pt x="2219" y="299"/>
                    <a:pt x="2223" y="297"/>
                    <a:pt x="2226" y="293"/>
                  </a:cubicBezTo>
                  <a:cubicBezTo>
                    <a:pt x="2227" y="299"/>
                    <a:pt x="2231" y="290"/>
                    <a:pt x="2237" y="293"/>
                  </a:cubicBezTo>
                  <a:cubicBezTo>
                    <a:pt x="2244" y="290"/>
                    <a:pt x="2232" y="284"/>
                    <a:pt x="2240" y="281"/>
                  </a:cubicBezTo>
                  <a:cubicBezTo>
                    <a:pt x="2243" y="281"/>
                    <a:pt x="2242" y="285"/>
                    <a:pt x="2245" y="286"/>
                  </a:cubicBezTo>
                  <a:cubicBezTo>
                    <a:pt x="2253" y="281"/>
                    <a:pt x="2242" y="274"/>
                    <a:pt x="2248" y="274"/>
                  </a:cubicBezTo>
                  <a:cubicBezTo>
                    <a:pt x="2250" y="274"/>
                    <a:pt x="2252" y="274"/>
                    <a:pt x="2253" y="274"/>
                  </a:cubicBezTo>
                  <a:cubicBezTo>
                    <a:pt x="2250" y="277"/>
                    <a:pt x="2250" y="280"/>
                    <a:pt x="2254" y="283"/>
                  </a:cubicBezTo>
                  <a:cubicBezTo>
                    <a:pt x="2250" y="286"/>
                    <a:pt x="2245" y="287"/>
                    <a:pt x="2243" y="290"/>
                  </a:cubicBezTo>
                  <a:cubicBezTo>
                    <a:pt x="2247" y="290"/>
                    <a:pt x="2252" y="290"/>
                    <a:pt x="2257" y="290"/>
                  </a:cubicBezTo>
                  <a:cubicBezTo>
                    <a:pt x="2256" y="296"/>
                    <a:pt x="2257" y="299"/>
                    <a:pt x="2262" y="300"/>
                  </a:cubicBezTo>
                  <a:cubicBezTo>
                    <a:pt x="2263" y="295"/>
                    <a:pt x="2259" y="288"/>
                    <a:pt x="2267" y="290"/>
                  </a:cubicBezTo>
                  <a:cubicBezTo>
                    <a:pt x="2268" y="293"/>
                    <a:pt x="2264" y="294"/>
                    <a:pt x="2268" y="295"/>
                  </a:cubicBezTo>
                  <a:cubicBezTo>
                    <a:pt x="2272" y="288"/>
                    <a:pt x="2276" y="301"/>
                    <a:pt x="2281" y="302"/>
                  </a:cubicBezTo>
                  <a:cubicBezTo>
                    <a:pt x="2281" y="295"/>
                    <a:pt x="2280" y="288"/>
                    <a:pt x="2287" y="287"/>
                  </a:cubicBezTo>
                  <a:cubicBezTo>
                    <a:pt x="2287" y="292"/>
                    <a:pt x="2289" y="295"/>
                    <a:pt x="2292" y="297"/>
                  </a:cubicBezTo>
                  <a:cubicBezTo>
                    <a:pt x="2293" y="294"/>
                    <a:pt x="2295" y="295"/>
                    <a:pt x="2298" y="297"/>
                  </a:cubicBezTo>
                  <a:cubicBezTo>
                    <a:pt x="2298" y="294"/>
                    <a:pt x="2297" y="290"/>
                    <a:pt x="2300" y="289"/>
                  </a:cubicBezTo>
                  <a:cubicBezTo>
                    <a:pt x="2303" y="298"/>
                    <a:pt x="2306" y="286"/>
                    <a:pt x="2309" y="287"/>
                  </a:cubicBezTo>
                  <a:cubicBezTo>
                    <a:pt x="2311" y="288"/>
                    <a:pt x="2311" y="294"/>
                    <a:pt x="2314" y="294"/>
                  </a:cubicBezTo>
                  <a:cubicBezTo>
                    <a:pt x="2318" y="288"/>
                    <a:pt x="2307" y="285"/>
                    <a:pt x="2314" y="284"/>
                  </a:cubicBezTo>
                  <a:cubicBezTo>
                    <a:pt x="2321" y="283"/>
                    <a:pt x="2319" y="289"/>
                    <a:pt x="2322" y="291"/>
                  </a:cubicBezTo>
                  <a:cubicBezTo>
                    <a:pt x="2319" y="291"/>
                    <a:pt x="2313" y="298"/>
                    <a:pt x="2320" y="299"/>
                  </a:cubicBezTo>
                  <a:cubicBezTo>
                    <a:pt x="2320" y="296"/>
                    <a:pt x="2323" y="295"/>
                    <a:pt x="2325" y="294"/>
                  </a:cubicBezTo>
                  <a:cubicBezTo>
                    <a:pt x="2326" y="290"/>
                    <a:pt x="2317" y="282"/>
                    <a:pt x="2325" y="280"/>
                  </a:cubicBezTo>
                  <a:cubicBezTo>
                    <a:pt x="2330" y="280"/>
                    <a:pt x="2326" y="301"/>
                    <a:pt x="2331" y="294"/>
                  </a:cubicBezTo>
                  <a:cubicBezTo>
                    <a:pt x="2331" y="284"/>
                    <a:pt x="2328" y="271"/>
                    <a:pt x="2338" y="270"/>
                  </a:cubicBezTo>
                  <a:cubicBezTo>
                    <a:pt x="2332" y="275"/>
                    <a:pt x="2338" y="281"/>
                    <a:pt x="2339" y="286"/>
                  </a:cubicBezTo>
                  <a:cubicBezTo>
                    <a:pt x="2339" y="289"/>
                    <a:pt x="2336" y="289"/>
                    <a:pt x="2336" y="291"/>
                  </a:cubicBezTo>
                  <a:cubicBezTo>
                    <a:pt x="2336" y="294"/>
                    <a:pt x="2340" y="295"/>
                    <a:pt x="2342" y="296"/>
                  </a:cubicBezTo>
                  <a:cubicBezTo>
                    <a:pt x="2342" y="292"/>
                    <a:pt x="2340" y="287"/>
                    <a:pt x="2344" y="286"/>
                  </a:cubicBezTo>
                  <a:cubicBezTo>
                    <a:pt x="2348" y="286"/>
                    <a:pt x="2347" y="290"/>
                    <a:pt x="2350" y="291"/>
                  </a:cubicBezTo>
                  <a:cubicBezTo>
                    <a:pt x="2352" y="278"/>
                    <a:pt x="2350" y="297"/>
                    <a:pt x="2358" y="293"/>
                  </a:cubicBezTo>
                  <a:cubicBezTo>
                    <a:pt x="2362" y="286"/>
                    <a:pt x="2357" y="286"/>
                    <a:pt x="2358" y="277"/>
                  </a:cubicBezTo>
                  <a:cubicBezTo>
                    <a:pt x="2363" y="278"/>
                    <a:pt x="2361" y="271"/>
                    <a:pt x="2366" y="270"/>
                  </a:cubicBezTo>
                  <a:cubicBezTo>
                    <a:pt x="2369" y="269"/>
                    <a:pt x="2374" y="270"/>
                    <a:pt x="2374" y="272"/>
                  </a:cubicBezTo>
                  <a:cubicBezTo>
                    <a:pt x="2371" y="273"/>
                    <a:pt x="2367" y="274"/>
                    <a:pt x="2366" y="277"/>
                  </a:cubicBezTo>
                  <a:cubicBezTo>
                    <a:pt x="2366" y="276"/>
                    <a:pt x="2371" y="279"/>
                    <a:pt x="2369" y="281"/>
                  </a:cubicBezTo>
                  <a:cubicBezTo>
                    <a:pt x="2365" y="285"/>
                    <a:pt x="2368" y="284"/>
                    <a:pt x="2369" y="288"/>
                  </a:cubicBezTo>
                  <a:cubicBezTo>
                    <a:pt x="2369" y="288"/>
                    <a:pt x="2363" y="293"/>
                    <a:pt x="2369" y="293"/>
                  </a:cubicBezTo>
                  <a:cubicBezTo>
                    <a:pt x="2374" y="285"/>
                    <a:pt x="2379" y="296"/>
                    <a:pt x="2386" y="295"/>
                  </a:cubicBezTo>
                  <a:cubicBezTo>
                    <a:pt x="2387" y="295"/>
                    <a:pt x="2385" y="289"/>
                    <a:pt x="2388" y="290"/>
                  </a:cubicBezTo>
                  <a:cubicBezTo>
                    <a:pt x="2389" y="296"/>
                    <a:pt x="2397" y="291"/>
                    <a:pt x="2399" y="290"/>
                  </a:cubicBezTo>
                  <a:cubicBezTo>
                    <a:pt x="2399" y="282"/>
                    <a:pt x="2392" y="273"/>
                    <a:pt x="2401" y="267"/>
                  </a:cubicBezTo>
                  <a:cubicBezTo>
                    <a:pt x="2397" y="274"/>
                    <a:pt x="2403" y="277"/>
                    <a:pt x="2402" y="288"/>
                  </a:cubicBezTo>
                  <a:cubicBezTo>
                    <a:pt x="2407" y="288"/>
                    <a:pt x="2409" y="292"/>
                    <a:pt x="2413" y="294"/>
                  </a:cubicBezTo>
                  <a:cubicBezTo>
                    <a:pt x="2411" y="288"/>
                    <a:pt x="2417" y="288"/>
                    <a:pt x="2415" y="283"/>
                  </a:cubicBezTo>
                  <a:cubicBezTo>
                    <a:pt x="2412" y="282"/>
                    <a:pt x="2408" y="283"/>
                    <a:pt x="2407" y="281"/>
                  </a:cubicBezTo>
                  <a:cubicBezTo>
                    <a:pt x="2420" y="283"/>
                    <a:pt x="2414" y="269"/>
                    <a:pt x="2423" y="269"/>
                  </a:cubicBezTo>
                  <a:cubicBezTo>
                    <a:pt x="2419" y="274"/>
                    <a:pt x="2426" y="278"/>
                    <a:pt x="2426" y="283"/>
                  </a:cubicBezTo>
                  <a:cubicBezTo>
                    <a:pt x="2427" y="285"/>
                    <a:pt x="2421" y="288"/>
                    <a:pt x="2427" y="290"/>
                  </a:cubicBezTo>
                  <a:cubicBezTo>
                    <a:pt x="2428" y="286"/>
                    <a:pt x="2430" y="290"/>
                    <a:pt x="2435" y="289"/>
                  </a:cubicBezTo>
                  <a:cubicBezTo>
                    <a:pt x="2438" y="284"/>
                    <a:pt x="2424" y="282"/>
                    <a:pt x="2432" y="280"/>
                  </a:cubicBezTo>
                  <a:cubicBezTo>
                    <a:pt x="2441" y="278"/>
                    <a:pt x="2436" y="288"/>
                    <a:pt x="2443" y="287"/>
                  </a:cubicBezTo>
                  <a:cubicBezTo>
                    <a:pt x="2441" y="278"/>
                    <a:pt x="2434" y="268"/>
                    <a:pt x="2443" y="261"/>
                  </a:cubicBezTo>
                  <a:cubicBezTo>
                    <a:pt x="2448" y="268"/>
                    <a:pt x="2439" y="284"/>
                    <a:pt x="2451" y="289"/>
                  </a:cubicBezTo>
                  <a:cubicBezTo>
                    <a:pt x="2449" y="280"/>
                    <a:pt x="2456" y="279"/>
                    <a:pt x="2459" y="275"/>
                  </a:cubicBezTo>
                  <a:cubicBezTo>
                    <a:pt x="2458" y="280"/>
                    <a:pt x="2467" y="277"/>
                    <a:pt x="2468" y="282"/>
                  </a:cubicBezTo>
                  <a:cubicBezTo>
                    <a:pt x="2459" y="285"/>
                    <a:pt x="2472" y="291"/>
                    <a:pt x="2465" y="294"/>
                  </a:cubicBezTo>
                  <a:cubicBezTo>
                    <a:pt x="2473" y="295"/>
                    <a:pt x="2470" y="289"/>
                    <a:pt x="2476" y="289"/>
                  </a:cubicBezTo>
                  <a:cubicBezTo>
                    <a:pt x="2476" y="292"/>
                    <a:pt x="2477" y="294"/>
                    <a:pt x="2482" y="293"/>
                  </a:cubicBezTo>
                  <a:cubicBezTo>
                    <a:pt x="2479" y="288"/>
                    <a:pt x="2479" y="284"/>
                    <a:pt x="2484" y="279"/>
                  </a:cubicBezTo>
                  <a:cubicBezTo>
                    <a:pt x="2489" y="278"/>
                    <a:pt x="2500" y="282"/>
                    <a:pt x="2500" y="277"/>
                  </a:cubicBezTo>
                  <a:cubicBezTo>
                    <a:pt x="2499" y="277"/>
                    <a:pt x="2497" y="275"/>
                    <a:pt x="2500" y="274"/>
                  </a:cubicBezTo>
                  <a:cubicBezTo>
                    <a:pt x="2501" y="277"/>
                    <a:pt x="2504" y="279"/>
                    <a:pt x="2503" y="284"/>
                  </a:cubicBezTo>
                  <a:cubicBezTo>
                    <a:pt x="2500" y="281"/>
                    <a:pt x="2479" y="277"/>
                    <a:pt x="2484" y="289"/>
                  </a:cubicBezTo>
                  <a:cubicBezTo>
                    <a:pt x="2493" y="290"/>
                    <a:pt x="2493" y="285"/>
                    <a:pt x="2498" y="284"/>
                  </a:cubicBezTo>
                  <a:cubicBezTo>
                    <a:pt x="2496" y="288"/>
                    <a:pt x="2502" y="287"/>
                    <a:pt x="2503" y="288"/>
                  </a:cubicBezTo>
                  <a:cubicBezTo>
                    <a:pt x="2505" y="290"/>
                    <a:pt x="2503" y="295"/>
                    <a:pt x="2509" y="293"/>
                  </a:cubicBezTo>
                  <a:cubicBezTo>
                    <a:pt x="2507" y="284"/>
                    <a:pt x="2508" y="287"/>
                    <a:pt x="2506" y="276"/>
                  </a:cubicBezTo>
                  <a:cubicBezTo>
                    <a:pt x="2512" y="282"/>
                    <a:pt x="2523" y="270"/>
                    <a:pt x="2525" y="281"/>
                  </a:cubicBezTo>
                  <a:cubicBezTo>
                    <a:pt x="2522" y="278"/>
                    <a:pt x="2515" y="278"/>
                    <a:pt x="2511" y="281"/>
                  </a:cubicBezTo>
                  <a:cubicBezTo>
                    <a:pt x="2512" y="287"/>
                    <a:pt x="2514" y="291"/>
                    <a:pt x="2520" y="293"/>
                  </a:cubicBezTo>
                  <a:cubicBezTo>
                    <a:pt x="2522" y="289"/>
                    <a:pt x="2526" y="288"/>
                    <a:pt x="2531" y="288"/>
                  </a:cubicBezTo>
                  <a:cubicBezTo>
                    <a:pt x="2531" y="290"/>
                    <a:pt x="2531" y="292"/>
                    <a:pt x="2534" y="292"/>
                  </a:cubicBezTo>
                  <a:cubicBezTo>
                    <a:pt x="2531" y="284"/>
                    <a:pt x="2533" y="284"/>
                    <a:pt x="2528" y="276"/>
                  </a:cubicBezTo>
                  <a:cubicBezTo>
                    <a:pt x="2531" y="274"/>
                    <a:pt x="2535" y="273"/>
                    <a:pt x="2542" y="273"/>
                  </a:cubicBezTo>
                  <a:cubicBezTo>
                    <a:pt x="2540" y="277"/>
                    <a:pt x="2538" y="278"/>
                    <a:pt x="2542" y="281"/>
                  </a:cubicBezTo>
                  <a:cubicBezTo>
                    <a:pt x="2544" y="282"/>
                    <a:pt x="2539" y="291"/>
                    <a:pt x="2545" y="290"/>
                  </a:cubicBezTo>
                  <a:cubicBezTo>
                    <a:pt x="2549" y="285"/>
                    <a:pt x="2551" y="283"/>
                    <a:pt x="2547" y="276"/>
                  </a:cubicBezTo>
                  <a:cubicBezTo>
                    <a:pt x="2558" y="280"/>
                    <a:pt x="2550" y="270"/>
                    <a:pt x="2555" y="269"/>
                  </a:cubicBezTo>
                  <a:cubicBezTo>
                    <a:pt x="2554" y="269"/>
                    <a:pt x="2564" y="276"/>
                    <a:pt x="2572" y="273"/>
                  </a:cubicBezTo>
                  <a:cubicBezTo>
                    <a:pt x="2573" y="272"/>
                    <a:pt x="2571" y="266"/>
                    <a:pt x="2577" y="268"/>
                  </a:cubicBezTo>
                  <a:cubicBezTo>
                    <a:pt x="2578" y="274"/>
                    <a:pt x="2576" y="278"/>
                    <a:pt x="2572" y="280"/>
                  </a:cubicBezTo>
                  <a:cubicBezTo>
                    <a:pt x="2571" y="277"/>
                    <a:pt x="2569" y="276"/>
                    <a:pt x="2566" y="275"/>
                  </a:cubicBezTo>
                  <a:cubicBezTo>
                    <a:pt x="2567" y="286"/>
                    <a:pt x="2558" y="276"/>
                    <a:pt x="2555" y="276"/>
                  </a:cubicBezTo>
                  <a:cubicBezTo>
                    <a:pt x="2552" y="281"/>
                    <a:pt x="2562" y="284"/>
                    <a:pt x="2555" y="285"/>
                  </a:cubicBezTo>
                  <a:cubicBezTo>
                    <a:pt x="2554" y="285"/>
                    <a:pt x="2552" y="285"/>
                    <a:pt x="2553" y="287"/>
                  </a:cubicBezTo>
                  <a:cubicBezTo>
                    <a:pt x="2560" y="288"/>
                    <a:pt x="2561" y="284"/>
                    <a:pt x="2566" y="282"/>
                  </a:cubicBezTo>
                  <a:cubicBezTo>
                    <a:pt x="2571" y="290"/>
                    <a:pt x="2578" y="281"/>
                    <a:pt x="2580" y="289"/>
                  </a:cubicBezTo>
                  <a:cubicBezTo>
                    <a:pt x="2580" y="291"/>
                    <a:pt x="2581" y="292"/>
                    <a:pt x="2583" y="292"/>
                  </a:cubicBezTo>
                  <a:cubicBezTo>
                    <a:pt x="2583" y="287"/>
                    <a:pt x="2580" y="286"/>
                    <a:pt x="2580" y="282"/>
                  </a:cubicBezTo>
                  <a:cubicBezTo>
                    <a:pt x="2583" y="282"/>
                    <a:pt x="2583" y="280"/>
                    <a:pt x="2585" y="280"/>
                  </a:cubicBezTo>
                  <a:cubicBezTo>
                    <a:pt x="2586" y="290"/>
                    <a:pt x="2587" y="280"/>
                    <a:pt x="2591" y="280"/>
                  </a:cubicBezTo>
                  <a:cubicBezTo>
                    <a:pt x="2589" y="285"/>
                    <a:pt x="2594" y="295"/>
                    <a:pt x="2597" y="289"/>
                  </a:cubicBezTo>
                  <a:cubicBezTo>
                    <a:pt x="2594" y="289"/>
                    <a:pt x="2593" y="285"/>
                    <a:pt x="2597" y="284"/>
                  </a:cubicBezTo>
                  <a:cubicBezTo>
                    <a:pt x="2600" y="284"/>
                    <a:pt x="2599" y="288"/>
                    <a:pt x="2602" y="289"/>
                  </a:cubicBezTo>
                  <a:cubicBezTo>
                    <a:pt x="2606" y="287"/>
                    <a:pt x="2602" y="283"/>
                    <a:pt x="2602" y="279"/>
                  </a:cubicBezTo>
                  <a:cubicBezTo>
                    <a:pt x="2602" y="277"/>
                    <a:pt x="2605" y="278"/>
                    <a:pt x="2605" y="277"/>
                  </a:cubicBezTo>
                  <a:cubicBezTo>
                    <a:pt x="2606" y="274"/>
                    <a:pt x="2601" y="266"/>
                    <a:pt x="2607" y="265"/>
                  </a:cubicBezTo>
                  <a:cubicBezTo>
                    <a:pt x="2614" y="270"/>
                    <a:pt x="2618" y="277"/>
                    <a:pt x="2629" y="277"/>
                  </a:cubicBezTo>
                  <a:cubicBezTo>
                    <a:pt x="2633" y="277"/>
                    <a:pt x="2632" y="272"/>
                    <a:pt x="2635" y="272"/>
                  </a:cubicBezTo>
                  <a:cubicBezTo>
                    <a:pt x="2638" y="271"/>
                    <a:pt x="2643" y="272"/>
                    <a:pt x="2643" y="269"/>
                  </a:cubicBezTo>
                  <a:cubicBezTo>
                    <a:pt x="2628" y="273"/>
                    <a:pt x="2637" y="256"/>
                    <a:pt x="2637" y="255"/>
                  </a:cubicBezTo>
                  <a:cubicBezTo>
                    <a:pt x="2642" y="248"/>
                    <a:pt x="2636" y="253"/>
                    <a:pt x="2634" y="248"/>
                  </a:cubicBezTo>
                  <a:cubicBezTo>
                    <a:pt x="2639" y="249"/>
                    <a:pt x="2644" y="250"/>
                    <a:pt x="2645" y="253"/>
                  </a:cubicBezTo>
                  <a:cubicBezTo>
                    <a:pt x="2641" y="253"/>
                    <a:pt x="2639" y="255"/>
                    <a:pt x="2640" y="260"/>
                  </a:cubicBezTo>
                  <a:cubicBezTo>
                    <a:pt x="2650" y="264"/>
                    <a:pt x="2655" y="257"/>
                    <a:pt x="2662" y="262"/>
                  </a:cubicBezTo>
                  <a:cubicBezTo>
                    <a:pt x="2658" y="265"/>
                    <a:pt x="2661" y="274"/>
                    <a:pt x="2654" y="274"/>
                  </a:cubicBezTo>
                  <a:cubicBezTo>
                    <a:pt x="2649" y="268"/>
                    <a:pt x="2658" y="265"/>
                    <a:pt x="2648" y="265"/>
                  </a:cubicBezTo>
                  <a:cubicBezTo>
                    <a:pt x="2646" y="276"/>
                    <a:pt x="2650" y="280"/>
                    <a:pt x="2646" y="290"/>
                  </a:cubicBezTo>
                  <a:cubicBezTo>
                    <a:pt x="2654" y="292"/>
                    <a:pt x="2649" y="286"/>
                    <a:pt x="2651" y="283"/>
                  </a:cubicBezTo>
                  <a:cubicBezTo>
                    <a:pt x="2653" y="282"/>
                    <a:pt x="2658" y="284"/>
                    <a:pt x="2657" y="281"/>
                  </a:cubicBezTo>
                  <a:cubicBezTo>
                    <a:pt x="2654" y="280"/>
                    <a:pt x="2650" y="277"/>
                    <a:pt x="2654" y="276"/>
                  </a:cubicBezTo>
                  <a:cubicBezTo>
                    <a:pt x="2661" y="278"/>
                    <a:pt x="2660" y="287"/>
                    <a:pt x="2668" y="288"/>
                  </a:cubicBezTo>
                  <a:cubicBezTo>
                    <a:pt x="2669" y="285"/>
                    <a:pt x="2672" y="282"/>
                    <a:pt x="2673" y="285"/>
                  </a:cubicBezTo>
                  <a:cubicBezTo>
                    <a:pt x="2674" y="287"/>
                    <a:pt x="2674" y="290"/>
                    <a:pt x="2676" y="290"/>
                  </a:cubicBezTo>
                  <a:cubicBezTo>
                    <a:pt x="2676" y="283"/>
                    <a:pt x="2677" y="278"/>
                    <a:pt x="2681" y="276"/>
                  </a:cubicBezTo>
                  <a:cubicBezTo>
                    <a:pt x="2684" y="283"/>
                    <a:pt x="2687" y="273"/>
                    <a:pt x="2690" y="273"/>
                  </a:cubicBezTo>
                  <a:cubicBezTo>
                    <a:pt x="2690" y="276"/>
                    <a:pt x="2692" y="276"/>
                    <a:pt x="2692" y="278"/>
                  </a:cubicBezTo>
                  <a:cubicBezTo>
                    <a:pt x="2690" y="281"/>
                    <a:pt x="2690" y="287"/>
                    <a:pt x="2684" y="287"/>
                  </a:cubicBezTo>
                  <a:cubicBezTo>
                    <a:pt x="2684" y="286"/>
                    <a:pt x="2682" y="285"/>
                    <a:pt x="2682" y="287"/>
                  </a:cubicBezTo>
                  <a:cubicBezTo>
                    <a:pt x="2689" y="293"/>
                    <a:pt x="2699" y="287"/>
                    <a:pt x="2701" y="287"/>
                  </a:cubicBezTo>
                  <a:cubicBezTo>
                    <a:pt x="2704" y="287"/>
                    <a:pt x="2703" y="283"/>
                    <a:pt x="2706" y="282"/>
                  </a:cubicBezTo>
                  <a:cubicBezTo>
                    <a:pt x="2709" y="282"/>
                    <a:pt x="2710" y="284"/>
                    <a:pt x="2712" y="285"/>
                  </a:cubicBezTo>
                  <a:cubicBezTo>
                    <a:pt x="2715" y="275"/>
                    <a:pt x="2700" y="281"/>
                    <a:pt x="2698" y="275"/>
                  </a:cubicBezTo>
                  <a:cubicBezTo>
                    <a:pt x="2702" y="275"/>
                    <a:pt x="2708" y="276"/>
                    <a:pt x="2709" y="273"/>
                  </a:cubicBezTo>
                  <a:cubicBezTo>
                    <a:pt x="2696" y="273"/>
                    <a:pt x="2699" y="251"/>
                    <a:pt x="2711" y="252"/>
                  </a:cubicBezTo>
                  <a:cubicBezTo>
                    <a:pt x="2712" y="255"/>
                    <a:pt x="2710" y="260"/>
                    <a:pt x="2714" y="261"/>
                  </a:cubicBezTo>
                  <a:cubicBezTo>
                    <a:pt x="2720" y="259"/>
                    <a:pt x="2713" y="248"/>
                    <a:pt x="2719" y="247"/>
                  </a:cubicBezTo>
                  <a:cubicBezTo>
                    <a:pt x="2715" y="256"/>
                    <a:pt x="2725" y="258"/>
                    <a:pt x="2725" y="263"/>
                  </a:cubicBezTo>
                  <a:cubicBezTo>
                    <a:pt x="2725" y="263"/>
                    <a:pt x="2720" y="263"/>
                    <a:pt x="2720" y="263"/>
                  </a:cubicBezTo>
                  <a:cubicBezTo>
                    <a:pt x="2719" y="264"/>
                    <a:pt x="2719" y="272"/>
                    <a:pt x="2723" y="280"/>
                  </a:cubicBezTo>
                  <a:cubicBezTo>
                    <a:pt x="2719" y="280"/>
                    <a:pt x="2717" y="279"/>
                    <a:pt x="2714" y="277"/>
                  </a:cubicBezTo>
                  <a:cubicBezTo>
                    <a:pt x="2714" y="281"/>
                    <a:pt x="2716" y="283"/>
                    <a:pt x="2717" y="285"/>
                  </a:cubicBezTo>
                  <a:cubicBezTo>
                    <a:pt x="2723" y="284"/>
                    <a:pt x="2723" y="288"/>
                    <a:pt x="2726" y="289"/>
                  </a:cubicBezTo>
                  <a:cubicBezTo>
                    <a:pt x="2726" y="284"/>
                    <a:pt x="2731" y="273"/>
                    <a:pt x="2731" y="275"/>
                  </a:cubicBezTo>
                  <a:cubicBezTo>
                    <a:pt x="2731" y="273"/>
                    <a:pt x="2728" y="268"/>
                    <a:pt x="2728" y="268"/>
                  </a:cubicBezTo>
                  <a:cubicBezTo>
                    <a:pt x="2729" y="266"/>
                    <a:pt x="2735" y="265"/>
                    <a:pt x="2736" y="263"/>
                  </a:cubicBezTo>
                  <a:cubicBezTo>
                    <a:pt x="2739" y="259"/>
                    <a:pt x="2735" y="255"/>
                    <a:pt x="2741" y="254"/>
                  </a:cubicBezTo>
                  <a:cubicBezTo>
                    <a:pt x="2745" y="254"/>
                    <a:pt x="2747" y="256"/>
                    <a:pt x="2747" y="260"/>
                  </a:cubicBezTo>
                  <a:cubicBezTo>
                    <a:pt x="2742" y="260"/>
                    <a:pt x="2741" y="263"/>
                    <a:pt x="2736" y="263"/>
                  </a:cubicBezTo>
                  <a:cubicBezTo>
                    <a:pt x="2738" y="266"/>
                    <a:pt x="2733" y="275"/>
                    <a:pt x="2739" y="275"/>
                  </a:cubicBezTo>
                  <a:cubicBezTo>
                    <a:pt x="2742" y="270"/>
                    <a:pt x="2738" y="264"/>
                    <a:pt x="2750" y="263"/>
                  </a:cubicBezTo>
                  <a:cubicBezTo>
                    <a:pt x="2751" y="268"/>
                    <a:pt x="2745" y="268"/>
                    <a:pt x="2747" y="275"/>
                  </a:cubicBezTo>
                  <a:cubicBezTo>
                    <a:pt x="2748" y="274"/>
                    <a:pt x="2752" y="275"/>
                    <a:pt x="2753" y="275"/>
                  </a:cubicBezTo>
                  <a:cubicBezTo>
                    <a:pt x="2753" y="273"/>
                    <a:pt x="2752" y="271"/>
                    <a:pt x="2753" y="270"/>
                  </a:cubicBezTo>
                  <a:cubicBezTo>
                    <a:pt x="2754" y="265"/>
                    <a:pt x="2759" y="256"/>
                    <a:pt x="2755" y="251"/>
                  </a:cubicBezTo>
                  <a:cubicBezTo>
                    <a:pt x="2764" y="252"/>
                    <a:pt x="2766" y="250"/>
                    <a:pt x="2769" y="253"/>
                  </a:cubicBezTo>
                  <a:cubicBezTo>
                    <a:pt x="2768" y="255"/>
                    <a:pt x="2767" y="256"/>
                    <a:pt x="2763" y="256"/>
                  </a:cubicBezTo>
                  <a:cubicBezTo>
                    <a:pt x="2763" y="257"/>
                    <a:pt x="2763" y="260"/>
                    <a:pt x="2761" y="260"/>
                  </a:cubicBezTo>
                  <a:cubicBezTo>
                    <a:pt x="2763" y="264"/>
                    <a:pt x="2762" y="272"/>
                    <a:pt x="2767" y="274"/>
                  </a:cubicBezTo>
                  <a:cubicBezTo>
                    <a:pt x="2769" y="266"/>
                    <a:pt x="2780" y="274"/>
                    <a:pt x="2783" y="269"/>
                  </a:cubicBezTo>
                  <a:cubicBezTo>
                    <a:pt x="2779" y="269"/>
                    <a:pt x="2783" y="260"/>
                    <a:pt x="2783" y="260"/>
                  </a:cubicBezTo>
                  <a:cubicBezTo>
                    <a:pt x="2784" y="259"/>
                    <a:pt x="2788" y="262"/>
                    <a:pt x="2788" y="262"/>
                  </a:cubicBezTo>
                  <a:cubicBezTo>
                    <a:pt x="2789" y="257"/>
                    <a:pt x="2783" y="255"/>
                    <a:pt x="2785" y="246"/>
                  </a:cubicBezTo>
                  <a:cubicBezTo>
                    <a:pt x="2789" y="246"/>
                    <a:pt x="2789" y="243"/>
                    <a:pt x="2793" y="243"/>
                  </a:cubicBezTo>
                  <a:cubicBezTo>
                    <a:pt x="2796" y="252"/>
                    <a:pt x="2787" y="256"/>
                    <a:pt x="2794" y="262"/>
                  </a:cubicBezTo>
                  <a:cubicBezTo>
                    <a:pt x="2789" y="262"/>
                    <a:pt x="2787" y="264"/>
                    <a:pt x="2786" y="267"/>
                  </a:cubicBezTo>
                  <a:cubicBezTo>
                    <a:pt x="2792" y="267"/>
                    <a:pt x="2789" y="268"/>
                    <a:pt x="2788" y="272"/>
                  </a:cubicBezTo>
                  <a:cubicBezTo>
                    <a:pt x="2787" y="278"/>
                    <a:pt x="2792" y="281"/>
                    <a:pt x="2791" y="283"/>
                  </a:cubicBezTo>
                  <a:cubicBezTo>
                    <a:pt x="2791" y="283"/>
                    <a:pt x="2781" y="286"/>
                    <a:pt x="2789" y="288"/>
                  </a:cubicBezTo>
                  <a:cubicBezTo>
                    <a:pt x="2792" y="284"/>
                    <a:pt x="2797" y="279"/>
                    <a:pt x="2791" y="274"/>
                  </a:cubicBezTo>
                  <a:cubicBezTo>
                    <a:pt x="2795" y="274"/>
                    <a:pt x="2797" y="273"/>
                    <a:pt x="2799" y="271"/>
                  </a:cubicBezTo>
                  <a:cubicBezTo>
                    <a:pt x="2799" y="274"/>
                    <a:pt x="2800" y="286"/>
                    <a:pt x="2802" y="278"/>
                  </a:cubicBezTo>
                  <a:cubicBezTo>
                    <a:pt x="2799" y="266"/>
                    <a:pt x="2808" y="278"/>
                    <a:pt x="2810" y="271"/>
                  </a:cubicBezTo>
                  <a:cubicBezTo>
                    <a:pt x="2805" y="272"/>
                    <a:pt x="2806" y="260"/>
                    <a:pt x="2813" y="264"/>
                  </a:cubicBezTo>
                  <a:cubicBezTo>
                    <a:pt x="2811" y="266"/>
                    <a:pt x="2807" y="273"/>
                    <a:pt x="2816" y="271"/>
                  </a:cubicBezTo>
                  <a:cubicBezTo>
                    <a:pt x="2817" y="268"/>
                    <a:pt x="2812" y="259"/>
                    <a:pt x="2818" y="259"/>
                  </a:cubicBezTo>
                  <a:cubicBezTo>
                    <a:pt x="2817" y="267"/>
                    <a:pt x="2826" y="270"/>
                    <a:pt x="2830" y="275"/>
                  </a:cubicBezTo>
                  <a:cubicBezTo>
                    <a:pt x="2832" y="279"/>
                    <a:pt x="2829" y="288"/>
                    <a:pt x="2838" y="287"/>
                  </a:cubicBezTo>
                  <a:cubicBezTo>
                    <a:pt x="2838" y="283"/>
                    <a:pt x="2830" y="274"/>
                    <a:pt x="2838" y="271"/>
                  </a:cubicBezTo>
                  <a:cubicBezTo>
                    <a:pt x="2842" y="271"/>
                    <a:pt x="2841" y="276"/>
                    <a:pt x="2843" y="278"/>
                  </a:cubicBezTo>
                  <a:cubicBezTo>
                    <a:pt x="2836" y="272"/>
                    <a:pt x="2837" y="282"/>
                    <a:pt x="2841" y="285"/>
                  </a:cubicBezTo>
                  <a:cubicBezTo>
                    <a:pt x="2861" y="284"/>
                    <a:pt x="2841" y="259"/>
                    <a:pt x="2859" y="254"/>
                  </a:cubicBezTo>
                  <a:cubicBezTo>
                    <a:pt x="2859" y="257"/>
                    <a:pt x="2861" y="259"/>
                    <a:pt x="2862" y="261"/>
                  </a:cubicBezTo>
                  <a:cubicBezTo>
                    <a:pt x="2856" y="261"/>
                    <a:pt x="2861" y="269"/>
                    <a:pt x="2860" y="273"/>
                  </a:cubicBezTo>
                  <a:cubicBezTo>
                    <a:pt x="2855" y="271"/>
                    <a:pt x="2855" y="284"/>
                    <a:pt x="2860" y="282"/>
                  </a:cubicBezTo>
                  <a:cubicBezTo>
                    <a:pt x="2860" y="279"/>
                    <a:pt x="2863" y="278"/>
                    <a:pt x="2865" y="277"/>
                  </a:cubicBezTo>
                  <a:cubicBezTo>
                    <a:pt x="2870" y="283"/>
                    <a:pt x="2861" y="286"/>
                    <a:pt x="2871" y="287"/>
                  </a:cubicBezTo>
                  <a:cubicBezTo>
                    <a:pt x="2873" y="278"/>
                    <a:pt x="2862" y="271"/>
                    <a:pt x="2876" y="270"/>
                  </a:cubicBezTo>
                  <a:cubicBezTo>
                    <a:pt x="2879" y="277"/>
                    <a:pt x="2872" y="276"/>
                    <a:pt x="2874" y="282"/>
                  </a:cubicBezTo>
                  <a:cubicBezTo>
                    <a:pt x="2885" y="280"/>
                    <a:pt x="2879" y="273"/>
                    <a:pt x="2879" y="265"/>
                  </a:cubicBezTo>
                  <a:cubicBezTo>
                    <a:pt x="2881" y="265"/>
                    <a:pt x="2884" y="265"/>
                    <a:pt x="2884" y="263"/>
                  </a:cubicBezTo>
                  <a:cubicBezTo>
                    <a:pt x="2886" y="263"/>
                    <a:pt x="2887" y="261"/>
                    <a:pt x="2884" y="260"/>
                  </a:cubicBezTo>
                  <a:cubicBezTo>
                    <a:pt x="2884" y="264"/>
                    <a:pt x="2880" y="261"/>
                    <a:pt x="2879" y="258"/>
                  </a:cubicBezTo>
                  <a:cubicBezTo>
                    <a:pt x="2884" y="259"/>
                    <a:pt x="2884" y="255"/>
                    <a:pt x="2887" y="253"/>
                  </a:cubicBezTo>
                  <a:cubicBezTo>
                    <a:pt x="2887" y="255"/>
                    <a:pt x="2887" y="256"/>
                    <a:pt x="2888" y="257"/>
                  </a:cubicBezTo>
                  <a:cubicBezTo>
                    <a:pt x="2888" y="244"/>
                    <a:pt x="2888" y="244"/>
                    <a:pt x="2888" y="244"/>
                  </a:cubicBezTo>
                  <a:cubicBezTo>
                    <a:pt x="2887" y="244"/>
                    <a:pt x="2885" y="244"/>
                    <a:pt x="2884" y="244"/>
                  </a:cubicBezTo>
                  <a:cubicBezTo>
                    <a:pt x="2884" y="242"/>
                    <a:pt x="2884" y="239"/>
                    <a:pt x="2884" y="237"/>
                  </a:cubicBezTo>
                  <a:cubicBezTo>
                    <a:pt x="2886" y="237"/>
                    <a:pt x="2887" y="238"/>
                    <a:pt x="2888" y="239"/>
                  </a:cubicBezTo>
                  <a:cubicBezTo>
                    <a:pt x="2888" y="205"/>
                    <a:pt x="2888" y="205"/>
                    <a:pt x="2888" y="205"/>
                  </a:cubicBezTo>
                  <a:cubicBezTo>
                    <a:pt x="2885" y="205"/>
                    <a:pt x="2883" y="205"/>
                    <a:pt x="2881" y="209"/>
                  </a:cubicBezTo>
                  <a:cubicBezTo>
                    <a:pt x="2884" y="211"/>
                    <a:pt x="2893" y="228"/>
                    <a:pt x="2881" y="228"/>
                  </a:cubicBezTo>
                  <a:cubicBezTo>
                    <a:pt x="2886" y="223"/>
                    <a:pt x="2880" y="220"/>
                    <a:pt x="2875" y="218"/>
                  </a:cubicBezTo>
                  <a:cubicBezTo>
                    <a:pt x="2875" y="222"/>
                    <a:pt x="2876" y="227"/>
                    <a:pt x="2873" y="228"/>
                  </a:cubicBezTo>
                  <a:cubicBezTo>
                    <a:pt x="2872" y="222"/>
                    <a:pt x="2871" y="217"/>
                    <a:pt x="2862" y="219"/>
                  </a:cubicBezTo>
                  <a:cubicBezTo>
                    <a:pt x="2860" y="224"/>
                    <a:pt x="2865" y="236"/>
                    <a:pt x="2859" y="237"/>
                  </a:cubicBezTo>
                  <a:cubicBezTo>
                    <a:pt x="2855" y="232"/>
                    <a:pt x="2852" y="240"/>
                    <a:pt x="2851" y="235"/>
                  </a:cubicBezTo>
                  <a:cubicBezTo>
                    <a:pt x="2851" y="231"/>
                    <a:pt x="2851" y="228"/>
                    <a:pt x="2853" y="226"/>
                  </a:cubicBezTo>
                  <a:cubicBezTo>
                    <a:pt x="2851" y="225"/>
                    <a:pt x="2848" y="226"/>
                    <a:pt x="2848" y="223"/>
                  </a:cubicBezTo>
                  <a:cubicBezTo>
                    <a:pt x="2857" y="221"/>
                    <a:pt x="2854" y="229"/>
                    <a:pt x="2859" y="230"/>
                  </a:cubicBezTo>
                  <a:cubicBezTo>
                    <a:pt x="2857" y="227"/>
                    <a:pt x="2862" y="218"/>
                    <a:pt x="2856" y="219"/>
                  </a:cubicBezTo>
                  <a:cubicBezTo>
                    <a:pt x="2856" y="221"/>
                    <a:pt x="2851" y="222"/>
                    <a:pt x="2851" y="219"/>
                  </a:cubicBezTo>
                  <a:cubicBezTo>
                    <a:pt x="2851" y="209"/>
                    <a:pt x="2859" y="220"/>
                    <a:pt x="2861" y="214"/>
                  </a:cubicBezTo>
                  <a:cubicBezTo>
                    <a:pt x="2857" y="213"/>
                    <a:pt x="2859" y="209"/>
                    <a:pt x="2861" y="207"/>
                  </a:cubicBezTo>
                  <a:cubicBezTo>
                    <a:pt x="2855" y="204"/>
                    <a:pt x="2860" y="192"/>
                    <a:pt x="2858" y="186"/>
                  </a:cubicBezTo>
                  <a:cubicBezTo>
                    <a:pt x="2862" y="185"/>
                    <a:pt x="2862" y="183"/>
                    <a:pt x="2866" y="183"/>
                  </a:cubicBezTo>
                  <a:cubicBezTo>
                    <a:pt x="2860" y="196"/>
                    <a:pt x="2870" y="207"/>
                    <a:pt x="2864" y="216"/>
                  </a:cubicBezTo>
                  <a:cubicBezTo>
                    <a:pt x="2867" y="216"/>
                    <a:pt x="2870" y="216"/>
                    <a:pt x="2873" y="216"/>
                  </a:cubicBezTo>
                  <a:cubicBezTo>
                    <a:pt x="2869" y="209"/>
                    <a:pt x="2873" y="210"/>
                    <a:pt x="2870" y="204"/>
                  </a:cubicBezTo>
                  <a:cubicBezTo>
                    <a:pt x="2874" y="204"/>
                    <a:pt x="2871" y="198"/>
                    <a:pt x="2875" y="197"/>
                  </a:cubicBezTo>
                  <a:cubicBezTo>
                    <a:pt x="2876" y="200"/>
                    <a:pt x="2878" y="202"/>
                    <a:pt x="2881" y="204"/>
                  </a:cubicBezTo>
                  <a:cubicBezTo>
                    <a:pt x="2877" y="196"/>
                    <a:pt x="2884" y="198"/>
                    <a:pt x="2888" y="197"/>
                  </a:cubicBezTo>
                  <a:cubicBezTo>
                    <a:pt x="2888" y="191"/>
                    <a:pt x="2888" y="191"/>
                    <a:pt x="2888" y="191"/>
                  </a:cubicBezTo>
                  <a:cubicBezTo>
                    <a:pt x="2888" y="190"/>
                    <a:pt x="2888" y="189"/>
                    <a:pt x="2888" y="188"/>
                  </a:cubicBezTo>
                  <a:cubicBezTo>
                    <a:pt x="2888" y="159"/>
                    <a:pt x="2888" y="159"/>
                    <a:pt x="2888" y="159"/>
                  </a:cubicBezTo>
                  <a:cubicBezTo>
                    <a:pt x="2885" y="158"/>
                    <a:pt x="2882" y="158"/>
                    <a:pt x="2877" y="160"/>
                  </a:cubicBezTo>
                  <a:cubicBezTo>
                    <a:pt x="2877" y="157"/>
                    <a:pt x="2880" y="158"/>
                    <a:pt x="2882" y="157"/>
                  </a:cubicBezTo>
                  <a:cubicBezTo>
                    <a:pt x="2883" y="155"/>
                    <a:pt x="2881" y="155"/>
                    <a:pt x="2880" y="155"/>
                  </a:cubicBezTo>
                  <a:cubicBezTo>
                    <a:pt x="2879" y="151"/>
                    <a:pt x="2884" y="152"/>
                    <a:pt x="2888" y="152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8" y="148"/>
                    <a:pt x="2888" y="148"/>
                    <a:pt x="2888" y="148"/>
                  </a:cubicBezTo>
                  <a:cubicBezTo>
                    <a:pt x="2882" y="148"/>
                    <a:pt x="2884" y="141"/>
                    <a:pt x="2877" y="143"/>
                  </a:cubicBezTo>
                  <a:cubicBezTo>
                    <a:pt x="2876" y="145"/>
                    <a:pt x="2877" y="148"/>
                    <a:pt x="2874" y="148"/>
                  </a:cubicBezTo>
                  <a:cubicBezTo>
                    <a:pt x="2874" y="140"/>
                    <a:pt x="2871" y="146"/>
                    <a:pt x="2866" y="146"/>
                  </a:cubicBezTo>
                  <a:cubicBezTo>
                    <a:pt x="2866" y="146"/>
                    <a:pt x="2866" y="143"/>
                    <a:pt x="2866" y="143"/>
                  </a:cubicBezTo>
                  <a:cubicBezTo>
                    <a:pt x="2863" y="142"/>
                    <a:pt x="2859" y="146"/>
                    <a:pt x="2858" y="146"/>
                  </a:cubicBezTo>
                  <a:cubicBezTo>
                    <a:pt x="2855" y="145"/>
                    <a:pt x="2855" y="141"/>
                    <a:pt x="2849" y="141"/>
                  </a:cubicBezTo>
                  <a:cubicBezTo>
                    <a:pt x="2848" y="141"/>
                    <a:pt x="2849" y="147"/>
                    <a:pt x="2847" y="146"/>
                  </a:cubicBezTo>
                  <a:cubicBezTo>
                    <a:pt x="2849" y="138"/>
                    <a:pt x="2838" y="143"/>
                    <a:pt x="2835" y="139"/>
                  </a:cubicBezTo>
                  <a:cubicBezTo>
                    <a:pt x="2829" y="145"/>
                    <a:pt x="2836" y="151"/>
                    <a:pt x="2836" y="158"/>
                  </a:cubicBezTo>
                  <a:cubicBezTo>
                    <a:pt x="2832" y="157"/>
                    <a:pt x="2826" y="160"/>
                    <a:pt x="2822" y="158"/>
                  </a:cubicBezTo>
                  <a:cubicBezTo>
                    <a:pt x="2821" y="158"/>
                    <a:pt x="2822" y="151"/>
                    <a:pt x="2816" y="153"/>
                  </a:cubicBezTo>
                  <a:cubicBezTo>
                    <a:pt x="2818" y="161"/>
                    <a:pt x="2815" y="164"/>
                    <a:pt x="2814" y="170"/>
                  </a:cubicBezTo>
                  <a:cubicBezTo>
                    <a:pt x="2823" y="172"/>
                    <a:pt x="2818" y="162"/>
                    <a:pt x="2825" y="163"/>
                  </a:cubicBezTo>
                  <a:cubicBezTo>
                    <a:pt x="2825" y="166"/>
                    <a:pt x="2826" y="168"/>
                    <a:pt x="2828" y="170"/>
                  </a:cubicBezTo>
                  <a:cubicBezTo>
                    <a:pt x="2821" y="171"/>
                    <a:pt x="2822" y="177"/>
                    <a:pt x="2817" y="179"/>
                  </a:cubicBezTo>
                  <a:cubicBezTo>
                    <a:pt x="2818" y="174"/>
                    <a:pt x="2816" y="171"/>
                    <a:pt x="2811" y="170"/>
                  </a:cubicBezTo>
                  <a:cubicBezTo>
                    <a:pt x="2811" y="173"/>
                    <a:pt x="2812" y="177"/>
                    <a:pt x="2809" y="177"/>
                  </a:cubicBezTo>
                  <a:cubicBezTo>
                    <a:pt x="2810" y="171"/>
                    <a:pt x="2798" y="175"/>
                    <a:pt x="2798" y="170"/>
                  </a:cubicBezTo>
                  <a:cubicBezTo>
                    <a:pt x="2805" y="172"/>
                    <a:pt x="2795" y="159"/>
                    <a:pt x="2803" y="161"/>
                  </a:cubicBezTo>
                  <a:cubicBezTo>
                    <a:pt x="2803" y="164"/>
                    <a:pt x="2802" y="169"/>
                    <a:pt x="2806" y="170"/>
                  </a:cubicBezTo>
                  <a:cubicBezTo>
                    <a:pt x="2808" y="158"/>
                    <a:pt x="2819" y="154"/>
                    <a:pt x="2814" y="142"/>
                  </a:cubicBezTo>
                  <a:cubicBezTo>
                    <a:pt x="2815" y="142"/>
                    <a:pt x="2817" y="140"/>
                    <a:pt x="2814" y="139"/>
                  </a:cubicBezTo>
                  <a:cubicBezTo>
                    <a:pt x="2812" y="142"/>
                    <a:pt x="2811" y="145"/>
                    <a:pt x="2808" y="147"/>
                  </a:cubicBezTo>
                  <a:cubicBezTo>
                    <a:pt x="2803" y="140"/>
                    <a:pt x="2792" y="144"/>
                    <a:pt x="2784" y="147"/>
                  </a:cubicBezTo>
                  <a:cubicBezTo>
                    <a:pt x="2787" y="139"/>
                    <a:pt x="2775" y="145"/>
                    <a:pt x="2778" y="138"/>
                  </a:cubicBezTo>
                  <a:cubicBezTo>
                    <a:pt x="2768" y="138"/>
                    <a:pt x="2772" y="150"/>
                    <a:pt x="2759" y="147"/>
                  </a:cubicBezTo>
                  <a:cubicBezTo>
                    <a:pt x="2759" y="144"/>
                    <a:pt x="2759" y="141"/>
                    <a:pt x="2759" y="138"/>
                  </a:cubicBezTo>
                  <a:cubicBezTo>
                    <a:pt x="2749" y="139"/>
                    <a:pt x="2748" y="142"/>
                    <a:pt x="2739" y="138"/>
                  </a:cubicBezTo>
                  <a:cubicBezTo>
                    <a:pt x="2739" y="143"/>
                    <a:pt x="2738" y="146"/>
                    <a:pt x="2734" y="148"/>
                  </a:cubicBezTo>
                  <a:cubicBezTo>
                    <a:pt x="2736" y="143"/>
                    <a:pt x="2733" y="130"/>
                    <a:pt x="2728" y="139"/>
                  </a:cubicBezTo>
                  <a:cubicBezTo>
                    <a:pt x="2733" y="139"/>
                    <a:pt x="2729" y="142"/>
                    <a:pt x="2729" y="146"/>
                  </a:cubicBezTo>
                  <a:cubicBezTo>
                    <a:pt x="2729" y="148"/>
                    <a:pt x="2731" y="148"/>
                    <a:pt x="2731" y="150"/>
                  </a:cubicBezTo>
                  <a:cubicBezTo>
                    <a:pt x="2731" y="150"/>
                    <a:pt x="2728" y="151"/>
                    <a:pt x="2729" y="153"/>
                  </a:cubicBezTo>
                  <a:cubicBezTo>
                    <a:pt x="2729" y="153"/>
                    <a:pt x="2733" y="153"/>
                    <a:pt x="2731" y="155"/>
                  </a:cubicBezTo>
                  <a:cubicBezTo>
                    <a:pt x="2727" y="155"/>
                    <a:pt x="2721" y="156"/>
                    <a:pt x="2720" y="153"/>
                  </a:cubicBezTo>
                  <a:cubicBezTo>
                    <a:pt x="2722" y="148"/>
                    <a:pt x="2728" y="148"/>
                    <a:pt x="2726" y="141"/>
                  </a:cubicBezTo>
                  <a:cubicBezTo>
                    <a:pt x="2717" y="144"/>
                    <a:pt x="2716" y="140"/>
                    <a:pt x="2707" y="144"/>
                  </a:cubicBezTo>
                  <a:cubicBezTo>
                    <a:pt x="2710" y="139"/>
                    <a:pt x="2702" y="133"/>
                    <a:pt x="2701" y="139"/>
                  </a:cubicBezTo>
                  <a:cubicBezTo>
                    <a:pt x="2710" y="142"/>
                    <a:pt x="2694" y="142"/>
                    <a:pt x="2690" y="142"/>
                  </a:cubicBezTo>
                  <a:cubicBezTo>
                    <a:pt x="2688" y="149"/>
                    <a:pt x="2697" y="146"/>
                    <a:pt x="2698" y="151"/>
                  </a:cubicBezTo>
                  <a:cubicBezTo>
                    <a:pt x="2693" y="152"/>
                    <a:pt x="2698" y="161"/>
                    <a:pt x="2693" y="163"/>
                  </a:cubicBezTo>
                  <a:cubicBezTo>
                    <a:pt x="2696" y="164"/>
                    <a:pt x="2699" y="165"/>
                    <a:pt x="2702" y="167"/>
                  </a:cubicBezTo>
                  <a:cubicBezTo>
                    <a:pt x="2701" y="172"/>
                    <a:pt x="2696" y="174"/>
                    <a:pt x="2693" y="177"/>
                  </a:cubicBezTo>
                  <a:cubicBezTo>
                    <a:pt x="2699" y="182"/>
                    <a:pt x="2691" y="188"/>
                    <a:pt x="2699" y="193"/>
                  </a:cubicBezTo>
                  <a:cubicBezTo>
                    <a:pt x="2696" y="194"/>
                    <a:pt x="2694" y="196"/>
                    <a:pt x="2694" y="200"/>
                  </a:cubicBezTo>
                  <a:cubicBezTo>
                    <a:pt x="2697" y="207"/>
                    <a:pt x="2694" y="206"/>
                    <a:pt x="2700" y="210"/>
                  </a:cubicBezTo>
                  <a:cubicBezTo>
                    <a:pt x="2698" y="213"/>
                    <a:pt x="2695" y="215"/>
                    <a:pt x="2691" y="217"/>
                  </a:cubicBezTo>
                  <a:cubicBezTo>
                    <a:pt x="2689" y="215"/>
                    <a:pt x="2688" y="202"/>
                    <a:pt x="2683" y="210"/>
                  </a:cubicBezTo>
                  <a:cubicBezTo>
                    <a:pt x="2690" y="213"/>
                    <a:pt x="2683" y="220"/>
                    <a:pt x="2683" y="224"/>
                  </a:cubicBezTo>
                  <a:cubicBezTo>
                    <a:pt x="2683" y="226"/>
                    <a:pt x="2681" y="227"/>
                    <a:pt x="2681" y="226"/>
                  </a:cubicBezTo>
                  <a:cubicBezTo>
                    <a:pt x="2680" y="231"/>
                    <a:pt x="2684" y="232"/>
                    <a:pt x="2683" y="236"/>
                  </a:cubicBezTo>
                  <a:cubicBezTo>
                    <a:pt x="2680" y="233"/>
                    <a:pt x="2673" y="234"/>
                    <a:pt x="2672" y="229"/>
                  </a:cubicBezTo>
                  <a:cubicBezTo>
                    <a:pt x="2677" y="224"/>
                    <a:pt x="2676" y="212"/>
                    <a:pt x="2669" y="210"/>
                  </a:cubicBezTo>
                  <a:cubicBezTo>
                    <a:pt x="2668" y="216"/>
                    <a:pt x="2673" y="227"/>
                    <a:pt x="2667" y="229"/>
                  </a:cubicBezTo>
                  <a:cubicBezTo>
                    <a:pt x="2662" y="229"/>
                    <a:pt x="2665" y="222"/>
                    <a:pt x="2661" y="222"/>
                  </a:cubicBezTo>
                  <a:cubicBezTo>
                    <a:pt x="2662" y="222"/>
                    <a:pt x="2658" y="231"/>
                    <a:pt x="2653" y="227"/>
                  </a:cubicBezTo>
                  <a:cubicBezTo>
                    <a:pt x="2653" y="222"/>
                    <a:pt x="2661" y="224"/>
                    <a:pt x="2658" y="217"/>
                  </a:cubicBezTo>
                  <a:cubicBezTo>
                    <a:pt x="2650" y="215"/>
                    <a:pt x="2652" y="221"/>
                    <a:pt x="2648" y="222"/>
                  </a:cubicBezTo>
                  <a:cubicBezTo>
                    <a:pt x="2647" y="213"/>
                    <a:pt x="2640" y="222"/>
                    <a:pt x="2634" y="218"/>
                  </a:cubicBezTo>
                  <a:cubicBezTo>
                    <a:pt x="2634" y="224"/>
                    <a:pt x="2635" y="229"/>
                    <a:pt x="2629" y="230"/>
                  </a:cubicBezTo>
                  <a:cubicBezTo>
                    <a:pt x="2627" y="224"/>
                    <a:pt x="2633" y="224"/>
                    <a:pt x="2631" y="218"/>
                  </a:cubicBezTo>
                  <a:cubicBezTo>
                    <a:pt x="2627" y="216"/>
                    <a:pt x="2622" y="221"/>
                    <a:pt x="2620" y="220"/>
                  </a:cubicBezTo>
                  <a:cubicBezTo>
                    <a:pt x="2616" y="219"/>
                    <a:pt x="2619" y="205"/>
                    <a:pt x="2612" y="214"/>
                  </a:cubicBezTo>
                  <a:cubicBezTo>
                    <a:pt x="2616" y="212"/>
                    <a:pt x="2616" y="225"/>
                    <a:pt x="2612" y="223"/>
                  </a:cubicBezTo>
                  <a:cubicBezTo>
                    <a:pt x="2614" y="212"/>
                    <a:pt x="2603" y="213"/>
                    <a:pt x="2598" y="209"/>
                  </a:cubicBezTo>
                  <a:cubicBezTo>
                    <a:pt x="2609" y="212"/>
                    <a:pt x="2608" y="205"/>
                    <a:pt x="2612" y="202"/>
                  </a:cubicBezTo>
                  <a:cubicBezTo>
                    <a:pt x="2621" y="200"/>
                    <a:pt x="2637" y="204"/>
                    <a:pt x="2642" y="199"/>
                  </a:cubicBezTo>
                  <a:cubicBezTo>
                    <a:pt x="2638" y="193"/>
                    <a:pt x="2634" y="203"/>
                    <a:pt x="2631" y="197"/>
                  </a:cubicBezTo>
                  <a:cubicBezTo>
                    <a:pt x="2635" y="196"/>
                    <a:pt x="2635" y="193"/>
                    <a:pt x="2639" y="192"/>
                  </a:cubicBezTo>
                  <a:cubicBezTo>
                    <a:pt x="2643" y="195"/>
                    <a:pt x="2642" y="202"/>
                    <a:pt x="2650" y="201"/>
                  </a:cubicBezTo>
                  <a:cubicBezTo>
                    <a:pt x="2647" y="194"/>
                    <a:pt x="2659" y="198"/>
                    <a:pt x="2661" y="194"/>
                  </a:cubicBezTo>
                  <a:cubicBezTo>
                    <a:pt x="2662" y="199"/>
                    <a:pt x="2666" y="200"/>
                    <a:pt x="2669" y="203"/>
                  </a:cubicBezTo>
                  <a:cubicBezTo>
                    <a:pt x="2665" y="203"/>
                    <a:pt x="2662" y="205"/>
                    <a:pt x="2661" y="208"/>
                  </a:cubicBezTo>
                  <a:cubicBezTo>
                    <a:pt x="2669" y="206"/>
                    <a:pt x="2671" y="210"/>
                    <a:pt x="2678" y="210"/>
                  </a:cubicBezTo>
                  <a:cubicBezTo>
                    <a:pt x="2678" y="205"/>
                    <a:pt x="2674" y="205"/>
                    <a:pt x="2672" y="203"/>
                  </a:cubicBezTo>
                  <a:cubicBezTo>
                    <a:pt x="2679" y="199"/>
                    <a:pt x="2680" y="204"/>
                    <a:pt x="2683" y="203"/>
                  </a:cubicBezTo>
                  <a:cubicBezTo>
                    <a:pt x="2684" y="202"/>
                    <a:pt x="2682" y="197"/>
                    <a:pt x="2683" y="196"/>
                  </a:cubicBezTo>
                  <a:cubicBezTo>
                    <a:pt x="2685" y="194"/>
                    <a:pt x="2686" y="198"/>
                    <a:pt x="2686" y="198"/>
                  </a:cubicBezTo>
                  <a:cubicBezTo>
                    <a:pt x="2690" y="199"/>
                    <a:pt x="2695" y="192"/>
                    <a:pt x="2694" y="189"/>
                  </a:cubicBezTo>
                  <a:cubicBezTo>
                    <a:pt x="2687" y="186"/>
                    <a:pt x="2684" y="199"/>
                    <a:pt x="2680" y="191"/>
                  </a:cubicBezTo>
                  <a:cubicBezTo>
                    <a:pt x="2682" y="188"/>
                    <a:pt x="2686" y="187"/>
                    <a:pt x="2691" y="186"/>
                  </a:cubicBezTo>
                  <a:cubicBezTo>
                    <a:pt x="2691" y="182"/>
                    <a:pt x="2691" y="179"/>
                    <a:pt x="2693" y="177"/>
                  </a:cubicBezTo>
                  <a:cubicBezTo>
                    <a:pt x="2690" y="175"/>
                    <a:pt x="2688" y="172"/>
                    <a:pt x="2688" y="167"/>
                  </a:cubicBezTo>
                  <a:cubicBezTo>
                    <a:pt x="2684" y="167"/>
                    <a:pt x="2681" y="167"/>
                    <a:pt x="2682" y="163"/>
                  </a:cubicBezTo>
                  <a:cubicBezTo>
                    <a:pt x="2688" y="168"/>
                    <a:pt x="2689" y="159"/>
                    <a:pt x="2693" y="156"/>
                  </a:cubicBezTo>
                  <a:cubicBezTo>
                    <a:pt x="2690" y="155"/>
                    <a:pt x="2685" y="156"/>
                    <a:pt x="2685" y="154"/>
                  </a:cubicBezTo>
                  <a:cubicBezTo>
                    <a:pt x="2688" y="147"/>
                    <a:pt x="2688" y="141"/>
                    <a:pt x="2685" y="135"/>
                  </a:cubicBezTo>
                  <a:cubicBezTo>
                    <a:pt x="2694" y="138"/>
                    <a:pt x="2686" y="127"/>
                    <a:pt x="2693" y="128"/>
                  </a:cubicBezTo>
                  <a:cubicBezTo>
                    <a:pt x="2696" y="128"/>
                    <a:pt x="2696" y="131"/>
                    <a:pt x="2695" y="134"/>
                  </a:cubicBezTo>
                  <a:cubicBezTo>
                    <a:pt x="2702" y="130"/>
                    <a:pt x="2705" y="137"/>
                    <a:pt x="2709" y="132"/>
                  </a:cubicBezTo>
                  <a:cubicBezTo>
                    <a:pt x="2706" y="130"/>
                    <a:pt x="2704" y="127"/>
                    <a:pt x="2701" y="125"/>
                  </a:cubicBezTo>
                  <a:cubicBezTo>
                    <a:pt x="2705" y="125"/>
                    <a:pt x="2710" y="125"/>
                    <a:pt x="2709" y="120"/>
                  </a:cubicBezTo>
                  <a:cubicBezTo>
                    <a:pt x="2701" y="123"/>
                    <a:pt x="2701" y="120"/>
                    <a:pt x="2690" y="121"/>
                  </a:cubicBezTo>
                  <a:cubicBezTo>
                    <a:pt x="2690" y="126"/>
                    <a:pt x="2688" y="128"/>
                    <a:pt x="2682" y="128"/>
                  </a:cubicBezTo>
                  <a:cubicBezTo>
                    <a:pt x="2682" y="125"/>
                    <a:pt x="2685" y="124"/>
                    <a:pt x="2684" y="121"/>
                  </a:cubicBezTo>
                  <a:cubicBezTo>
                    <a:pt x="2672" y="118"/>
                    <a:pt x="2679" y="130"/>
                    <a:pt x="2668" y="128"/>
                  </a:cubicBezTo>
                  <a:cubicBezTo>
                    <a:pt x="2674" y="124"/>
                    <a:pt x="2667" y="121"/>
                    <a:pt x="2668" y="119"/>
                  </a:cubicBezTo>
                  <a:cubicBezTo>
                    <a:pt x="2668" y="118"/>
                    <a:pt x="2673" y="117"/>
                    <a:pt x="2670" y="114"/>
                  </a:cubicBezTo>
                  <a:cubicBezTo>
                    <a:pt x="2670" y="113"/>
                    <a:pt x="2664" y="114"/>
                    <a:pt x="2665" y="112"/>
                  </a:cubicBezTo>
                  <a:cubicBezTo>
                    <a:pt x="2678" y="107"/>
                    <a:pt x="2672" y="119"/>
                    <a:pt x="2681" y="118"/>
                  </a:cubicBezTo>
                  <a:cubicBezTo>
                    <a:pt x="2691" y="118"/>
                    <a:pt x="2676" y="111"/>
                    <a:pt x="2684" y="111"/>
                  </a:cubicBezTo>
                  <a:cubicBezTo>
                    <a:pt x="2687" y="112"/>
                    <a:pt x="2687" y="115"/>
                    <a:pt x="2687" y="118"/>
                  </a:cubicBezTo>
                  <a:cubicBezTo>
                    <a:pt x="2699" y="117"/>
                    <a:pt x="2715" y="120"/>
                    <a:pt x="2723" y="115"/>
                  </a:cubicBezTo>
                  <a:cubicBezTo>
                    <a:pt x="2727" y="117"/>
                    <a:pt x="2722" y="127"/>
                    <a:pt x="2731" y="124"/>
                  </a:cubicBezTo>
                  <a:cubicBezTo>
                    <a:pt x="2731" y="122"/>
                    <a:pt x="2730" y="118"/>
                    <a:pt x="2734" y="117"/>
                  </a:cubicBezTo>
                  <a:cubicBezTo>
                    <a:pt x="2737" y="117"/>
                    <a:pt x="2741" y="117"/>
                    <a:pt x="2745" y="117"/>
                  </a:cubicBezTo>
                  <a:cubicBezTo>
                    <a:pt x="2744" y="123"/>
                    <a:pt x="2745" y="126"/>
                    <a:pt x="2747" y="129"/>
                  </a:cubicBezTo>
                  <a:cubicBezTo>
                    <a:pt x="2739" y="126"/>
                    <a:pt x="2740" y="128"/>
                    <a:pt x="2737" y="134"/>
                  </a:cubicBezTo>
                  <a:cubicBezTo>
                    <a:pt x="2748" y="138"/>
                    <a:pt x="2756" y="128"/>
                    <a:pt x="2758" y="129"/>
                  </a:cubicBezTo>
                  <a:cubicBezTo>
                    <a:pt x="2762" y="129"/>
                    <a:pt x="2763" y="138"/>
                    <a:pt x="2767" y="136"/>
                  </a:cubicBezTo>
                  <a:cubicBezTo>
                    <a:pt x="2764" y="127"/>
                    <a:pt x="2779" y="132"/>
                    <a:pt x="2775" y="121"/>
                  </a:cubicBezTo>
                  <a:cubicBezTo>
                    <a:pt x="2765" y="119"/>
                    <a:pt x="2771" y="130"/>
                    <a:pt x="2761" y="129"/>
                  </a:cubicBezTo>
                  <a:cubicBezTo>
                    <a:pt x="2770" y="121"/>
                    <a:pt x="2751" y="126"/>
                    <a:pt x="2753" y="117"/>
                  </a:cubicBezTo>
                  <a:cubicBezTo>
                    <a:pt x="2759" y="122"/>
                    <a:pt x="2765" y="117"/>
                    <a:pt x="2769" y="114"/>
                  </a:cubicBezTo>
                  <a:cubicBezTo>
                    <a:pt x="2770" y="117"/>
                    <a:pt x="2772" y="118"/>
                    <a:pt x="2775" y="119"/>
                  </a:cubicBezTo>
                  <a:cubicBezTo>
                    <a:pt x="2778" y="115"/>
                    <a:pt x="2772" y="107"/>
                    <a:pt x="2780" y="102"/>
                  </a:cubicBezTo>
                  <a:cubicBezTo>
                    <a:pt x="2779" y="108"/>
                    <a:pt x="2781" y="112"/>
                    <a:pt x="2783" y="114"/>
                  </a:cubicBezTo>
                  <a:cubicBezTo>
                    <a:pt x="2780" y="114"/>
                    <a:pt x="2780" y="118"/>
                    <a:pt x="2783" y="119"/>
                  </a:cubicBezTo>
                  <a:cubicBezTo>
                    <a:pt x="2784" y="117"/>
                    <a:pt x="2785" y="116"/>
                    <a:pt x="2788" y="116"/>
                  </a:cubicBezTo>
                  <a:cubicBezTo>
                    <a:pt x="2789" y="112"/>
                    <a:pt x="2785" y="111"/>
                    <a:pt x="2786" y="107"/>
                  </a:cubicBezTo>
                  <a:cubicBezTo>
                    <a:pt x="2790" y="107"/>
                    <a:pt x="2796" y="106"/>
                    <a:pt x="2797" y="109"/>
                  </a:cubicBezTo>
                  <a:cubicBezTo>
                    <a:pt x="2797" y="114"/>
                    <a:pt x="2794" y="117"/>
                    <a:pt x="2788" y="116"/>
                  </a:cubicBezTo>
                  <a:cubicBezTo>
                    <a:pt x="2791" y="124"/>
                    <a:pt x="2785" y="124"/>
                    <a:pt x="2778" y="124"/>
                  </a:cubicBezTo>
                  <a:cubicBezTo>
                    <a:pt x="2775" y="129"/>
                    <a:pt x="2782" y="137"/>
                    <a:pt x="2783" y="131"/>
                  </a:cubicBezTo>
                  <a:cubicBezTo>
                    <a:pt x="2780" y="131"/>
                    <a:pt x="2780" y="127"/>
                    <a:pt x="2783" y="126"/>
                  </a:cubicBezTo>
                  <a:cubicBezTo>
                    <a:pt x="2790" y="133"/>
                    <a:pt x="2785" y="127"/>
                    <a:pt x="2794" y="126"/>
                  </a:cubicBezTo>
                  <a:cubicBezTo>
                    <a:pt x="2794" y="130"/>
                    <a:pt x="2797" y="131"/>
                    <a:pt x="2797" y="135"/>
                  </a:cubicBezTo>
                  <a:cubicBezTo>
                    <a:pt x="2806" y="138"/>
                    <a:pt x="2799" y="127"/>
                    <a:pt x="2808" y="130"/>
                  </a:cubicBezTo>
                  <a:cubicBezTo>
                    <a:pt x="2808" y="133"/>
                    <a:pt x="2804" y="133"/>
                    <a:pt x="2805" y="137"/>
                  </a:cubicBezTo>
                  <a:cubicBezTo>
                    <a:pt x="2816" y="140"/>
                    <a:pt x="2809" y="128"/>
                    <a:pt x="2819" y="130"/>
                  </a:cubicBezTo>
                  <a:cubicBezTo>
                    <a:pt x="2817" y="132"/>
                    <a:pt x="2813" y="139"/>
                    <a:pt x="2822" y="137"/>
                  </a:cubicBezTo>
                  <a:cubicBezTo>
                    <a:pt x="2822" y="128"/>
                    <a:pt x="2825" y="128"/>
                    <a:pt x="2821" y="121"/>
                  </a:cubicBezTo>
                  <a:cubicBezTo>
                    <a:pt x="2830" y="123"/>
                    <a:pt x="2842" y="119"/>
                    <a:pt x="2854" y="122"/>
                  </a:cubicBezTo>
                  <a:cubicBezTo>
                    <a:pt x="2855" y="118"/>
                    <a:pt x="2851" y="118"/>
                    <a:pt x="2849" y="115"/>
                  </a:cubicBezTo>
                  <a:cubicBezTo>
                    <a:pt x="2852" y="109"/>
                    <a:pt x="2840" y="104"/>
                    <a:pt x="2849" y="101"/>
                  </a:cubicBezTo>
                  <a:cubicBezTo>
                    <a:pt x="2850" y="101"/>
                    <a:pt x="2852" y="101"/>
                    <a:pt x="2854" y="101"/>
                  </a:cubicBezTo>
                  <a:cubicBezTo>
                    <a:pt x="2856" y="105"/>
                    <a:pt x="2851" y="113"/>
                    <a:pt x="2857" y="113"/>
                  </a:cubicBezTo>
                  <a:cubicBezTo>
                    <a:pt x="2856" y="103"/>
                    <a:pt x="2863" y="111"/>
                    <a:pt x="2868" y="110"/>
                  </a:cubicBezTo>
                  <a:cubicBezTo>
                    <a:pt x="2868" y="107"/>
                    <a:pt x="2867" y="102"/>
                    <a:pt x="2871" y="101"/>
                  </a:cubicBezTo>
                  <a:cubicBezTo>
                    <a:pt x="2869" y="104"/>
                    <a:pt x="2874" y="113"/>
                    <a:pt x="2868" y="113"/>
                  </a:cubicBezTo>
                  <a:cubicBezTo>
                    <a:pt x="2858" y="108"/>
                    <a:pt x="2860" y="115"/>
                    <a:pt x="2857" y="122"/>
                  </a:cubicBezTo>
                  <a:cubicBezTo>
                    <a:pt x="2862" y="124"/>
                    <a:pt x="2866" y="120"/>
                    <a:pt x="2868" y="120"/>
                  </a:cubicBezTo>
                  <a:cubicBezTo>
                    <a:pt x="2871" y="120"/>
                    <a:pt x="2873" y="123"/>
                    <a:pt x="2876" y="122"/>
                  </a:cubicBezTo>
                  <a:cubicBezTo>
                    <a:pt x="2878" y="121"/>
                    <a:pt x="2876" y="116"/>
                    <a:pt x="2879" y="117"/>
                  </a:cubicBezTo>
                  <a:cubicBezTo>
                    <a:pt x="2877" y="123"/>
                    <a:pt x="2883" y="122"/>
                    <a:pt x="2888" y="122"/>
                  </a:cubicBezTo>
                  <a:cubicBezTo>
                    <a:pt x="2888" y="114"/>
                    <a:pt x="2888" y="114"/>
                    <a:pt x="2888" y="114"/>
                  </a:cubicBezTo>
                  <a:cubicBezTo>
                    <a:pt x="2885" y="113"/>
                    <a:pt x="2882" y="111"/>
                    <a:pt x="2876" y="113"/>
                  </a:cubicBezTo>
                  <a:cubicBezTo>
                    <a:pt x="2877" y="110"/>
                    <a:pt x="2881" y="110"/>
                    <a:pt x="2884" y="110"/>
                  </a:cubicBezTo>
                  <a:cubicBezTo>
                    <a:pt x="2887" y="110"/>
                    <a:pt x="2886" y="107"/>
                    <a:pt x="2887" y="105"/>
                  </a:cubicBezTo>
                  <a:cubicBezTo>
                    <a:pt x="2887" y="105"/>
                    <a:pt x="2888" y="105"/>
                    <a:pt x="2888" y="105"/>
                  </a:cubicBezTo>
                  <a:cubicBezTo>
                    <a:pt x="2888" y="74"/>
                    <a:pt x="2888" y="74"/>
                    <a:pt x="2888" y="74"/>
                  </a:cubicBezTo>
                  <a:cubicBezTo>
                    <a:pt x="2887" y="73"/>
                    <a:pt x="2887" y="72"/>
                    <a:pt x="2888" y="70"/>
                  </a:cubicBezTo>
                  <a:lnTo>
                    <a:pt x="2888" y="0"/>
                  </a:lnTo>
                  <a:close/>
                  <a:moveTo>
                    <a:pt x="220" y="274"/>
                  </a:moveTo>
                  <a:cubicBezTo>
                    <a:pt x="213" y="274"/>
                    <a:pt x="214" y="263"/>
                    <a:pt x="217" y="260"/>
                  </a:cubicBezTo>
                  <a:cubicBezTo>
                    <a:pt x="224" y="260"/>
                    <a:pt x="219" y="270"/>
                    <a:pt x="220" y="274"/>
                  </a:cubicBezTo>
                  <a:close/>
                  <a:moveTo>
                    <a:pt x="227" y="203"/>
                  </a:moveTo>
                  <a:cubicBezTo>
                    <a:pt x="224" y="203"/>
                    <a:pt x="225" y="199"/>
                    <a:pt x="225" y="196"/>
                  </a:cubicBezTo>
                  <a:cubicBezTo>
                    <a:pt x="229" y="195"/>
                    <a:pt x="230" y="198"/>
                    <a:pt x="230" y="201"/>
                  </a:cubicBezTo>
                  <a:cubicBezTo>
                    <a:pt x="228" y="201"/>
                    <a:pt x="228" y="202"/>
                    <a:pt x="227" y="203"/>
                  </a:cubicBezTo>
                  <a:close/>
                  <a:moveTo>
                    <a:pt x="305" y="256"/>
                  </a:moveTo>
                  <a:cubicBezTo>
                    <a:pt x="297" y="258"/>
                    <a:pt x="298" y="253"/>
                    <a:pt x="291" y="254"/>
                  </a:cubicBezTo>
                  <a:cubicBezTo>
                    <a:pt x="292" y="247"/>
                    <a:pt x="306" y="249"/>
                    <a:pt x="305" y="256"/>
                  </a:cubicBezTo>
                  <a:close/>
                  <a:moveTo>
                    <a:pt x="340" y="197"/>
                  </a:moveTo>
                  <a:cubicBezTo>
                    <a:pt x="342" y="197"/>
                    <a:pt x="343" y="197"/>
                    <a:pt x="345" y="197"/>
                  </a:cubicBezTo>
                  <a:cubicBezTo>
                    <a:pt x="346" y="203"/>
                    <a:pt x="325" y="196"/>
                    <a:pt x="340" y="197"/>
                  </a:cubicBezTo>
                  <a:close/>
                  <a:moveTo>
                    <a:pt x="357" y="258"/>
                  </a:moveTo>
                  <a:cubicBezTo>
                    <a:pt x="359" y="255"/>
                    <a:pt x="361" y="253"/>
                    <a:pt x="357" y="253"/>
                  </a:cubicBezTo>
                  <a:cubicBezTo>
                    <a:pt x="361" y="245"/>
                    <a:pt x="364" y="258"/>
                    <a:pt x="371" y="255"/>
                  </a:cubicBezTo>
                  <a:cubicBezTo>
                    <a:pt x="372" y="260"/>
                    <a:pt x="361" y="256"/>
                    <a:pt x="357" y="258"/>
                  </a:cubicBezTo>
                  <a:close/>
                  <a:moveTo>
                    <a:pt x="415" y="259"/>
                  </a:moveTo>
                  <a:cubicBezTo>
                    <a:pt x="409" y="260"/>
                    <a:pt x="405" y="259"/>
                    <a:pt x="401" y="257"/>
                  </a:cubicBezTo>
                  <a:cubicBezTo>
                    <a:pt x="401" y="253"/>
                    <a:pt x="419" y="252"/>
                    <a:pt x="415" y="259"/>
                  </a:cubicBezTo>
                  <a:close/>
                  <a:moveTo>
                    <a:pt x="480" y="201"/>
                  </a:moveTo>
                  <a:cubicBezTo>
                    <a:pt x="482" y="201"/>
                    <a:pt x="484" y="201"/>
                    <a:pt x="485" y="201"/>
                  </a:cubicBezTo>
                  <a:cubicBezTo>
                    <a:pt x="486" y="208"/>
                    <a:pt x="465" y="201"/>
                    <a:pt x="480" y="201"/>
                  </a:cubicBezTo>
                  <a:close/>
                  <a:moveTo>
                    <a:pt x="502" y="201"/>
                  </a:moveTo>
                  <a:cubicBezTo>
                    <a:pt x="514" y="202"/>
                    <a:pt x="499" y="215"/>
                    <a:pt x="502" y="201"/>
                  </a:cubicBezTo>
                  <a:close/>
                  <a:moveTo>
                    <a:pt x="538" y="205"/>
                  </a:moveTo>
                  <a:cubicBezTo>
                    <a:pt x="538" y="200"/>
                    <a:pt x="545" y="200"/>
                    <a:pt x="548" y="203"/>
                  </a:cubicBezTo>
                  <a:cubicBezTo>
                    <a:pt x="548" y="206"/>
                    <a:pt x="542" y="205"/>
                    <a:pt x="538" y="205"/>
                  </a:cubicBezTo>
                  <a:close/>
                  <a:moveTo>
                    <a:pt x="552" y="264"/>
                  </a:moveTo>
                  <a:cubicBezTo>
                    <a:pt x="551" y="259"/>
                    <a:pt x="554" y="257"/>
                    <a:pt x="555" y="254"/>
                  </a:cubicBezTo>
                  <a:cubicBezTo>
                    <a:pt x="561" y="256"/>
                    <a:pt x="563" y="264"/>
                    <a:pt x="552" y="264"/>
                  </a:cubicBezTo>
                  <a:close/>
                  <a:moveTo>
                    <a:pt x="573" y="204"/>
                  </a:moveTo>
                  <a:cubicBezTo>
                    <a:pt x="574" y="199"/>
                    <a:pt x="587" y="203"/>
                    <a:pt x="592" y="202"/>
                  </a:cubicBezTo>
                  <a:cubicBezTo>
                    <a:pt x="591" y="207"/>
                    <a:pt x="579" y="203"/>
                    <a:pt x="573" y="204"/>
                  </a:cubicBezTo>
                  <a:close/>
                  <a:moveTo>
                    <a:pt x="592" y="199"/>
                  </a:moveTo>
                  <a:cubicBezTo>
                    <a:pt x="587" y="198"/>
                    <a:pt x="592" y="195"/>
                    <a:pt x="592" y="192"/>
                  </a:cubicBezTo>
                  <a:cubicBezTo>
                    <a:pt x="597" y="194"/>
                    <a:pt x="593" y="197"/>
                    <a:pt x="592" y="199"/>
                  </a:cubicBezTo>
                  <a:close/>
                  <a:moveTo>
                    <a:pt x="624" y="265"/>
                  </a:moveTo>
                  <a:cubicBezTo>
                    <a:pt x="625" y="262"/>
                    <a:pt x="627" y="260"/>
                    <a:pt x="632" y="260"/>
                  </a:cubicBezTo>
                  <a:cubicBezTo>
                    <a:pt x="631" y="263"/>
                    <a:pt x="628" y="265"/>
                    <a:pt x="624" y="265"/>
                  </a:cubicBezTo>
                  <a:close/>
                  <a:moveTo>
                    <a:pt x="653" y="203"/>
                  </a:moveTo>
                  <a:cubicBezTo>
                    <a:pt x="655" y="203"/>
                    <a:pt x="658" y="203"/>
                    <a:pt x="661" y="203"/>
                  </a:cubicBezTo>
                  <a:cubicBezTo>
                    <a:pt x="661" y="208"/>
                    <a:pt x="651" y="204"/>
                    <a:pt x="647" y="205"/>
                  </a:cubicBezTo>
                  <a:cubicBezTo>
                    <a:pt x="647" y="203"/>
                    <a:pt x="651" y="204"/>
                    <a:pt x="653" y="203"/>
                  </a:cubicBezTo>
                  <a:close/>
                  <a:moveTo>
                    <a:pt x="656" y="264"/>
                  </a:moveTo>
                  <a:cubicBezTo>
                    <a:pt x="650" y="263"/>
                    <a:pt x="639" y="267"/>
                    <a:pt x="643" y="260"/>
                  </a:cubicBezTo>
                  <a:cubicBezTo>
                    <a:pt x="652" y="263"/>
                    <a:pt x="661" y="258"/>
                    <a:pt x="667" y="264"/>
                  </a:cubicBezTo>
                  <a:cubicBezTo>
                    <a:pt x="676" y="266"/>
                    <a:pt x="663" y="265"/>
                    <a:pt x="656" y="264"/>
                  </a:cubicBezTo>
                  <a:close/>
                  <a:moveTo>
                    <a:pt x="690" y="266"/>
                  </a:moveTo>
                  <a:cubicBezTo>
                    <a:pt x="697" y="257"/>
                    <a:pt x="707" y="271"/>
                    <a:pt x="690" y="266"/>
                  </a:cubicBezTo>
                  <a:close/>
                  <a:moveTo>
                    <a:pt x="714" y="263"/>
                  </a:moveTo>
                  <a:cubicBezTo>
                    <a:pt x="716" y="263"/>
                    <a:pt x="718" y="263"/>
                    <a:pt x="720" y="263"/>
                  </a:cubicBezTo>
                  <a:cubicBezTo>
                    <a:pt x="720" y="270"/>
                    <a:pt x="699" y="263"/>
                    <a:pt x="714" y="263"/>
                  </a:cubicBezTo>
                  <a:close/>
                  <a:moveTo>
                    <a:pt x="738" y="209"/>
                  </a:moveTo>
                  <a:cubicBezTo>
                    <a:pt x="737" y="208"/>
                    <a:pt x="745" y="206"/>
                    <a:pt x="743" y="204"/>
                  </a:cubicBezTo>
                  <a:cubicBezTo>
                    <a:pt x="753" y="208"/>
                    <a:pt x="740" y="210"/>
                    <a:pt x="738" y="209"/>
                  </a:cubicBezTo>
                  <a:close/>
                  <a:moveTo>
                    <a:pt x="777" y="267"/>
                  </a:moveTo>
                  <a:cubicBezTo>
                    <a:pt x="773" y="266"/>
                    <a:pt x="763" y="269"/>
                    <a:pt x="766" y="262"/>
                  </a:cubicBezTo>
                  <a:cubicBezTo>
                    <a:pt x="773" y="263"/>
                    <a:pt x="779" y="265"/>
                    <a:pt x="788" y="264"/>
                  </a:cubicBezTo>
                  <a:cubicBezTo>
                    <a:pt x="788" y="270"/>
                    <a:pt x="782" y="267"/>
                    <a:pt x="777" y="267"/>
                  </a:cubicBezTo>
                  <a:close/>
                  <a:moveTo>
                    <a:pt x="791" y="269"/>
                  </a:moveTo>
                  <a:cubicBezTo>
                    <a:pt x="793" y="266"/>
                    <a:pt x="797" y="264"/>
                    <a:pt x="802" y="264"/>
                  </a:cubicBezTo>
                  <a:cubicBezTo>
                    <a:pt x="801" y="268"/>
                    <a:pt x="797" y="269"/>
                    <a:pt x="791" y="269"/>
                  </a:cubicBezTo>
                  <a:close/>
                  <a:moveTo>
                    <a:pt x="810" y="261"/>
                  </a:moveTo>
                  <a:cubicBezTo>
                    <a:pt x="814" y="263"/>
                    <a:pt x="815" y="266"/>
                    <a:pt x="816" y="271"/>
                  </a:cubicBezTo>
                  <a:cubicBezTo>
                    <a:pt x="807" y="272"/>
                    <a:pt x="806" y="265"/>
                    <a:pt x="810" y="261"/>
                  </a:cubicBezTo>
                  <a:close/>
                  <a:moveTo>
                    <a:pt x="824" y="264"/>
                  </a:moveTo>
                  <a:cubicBezTo>
                    <a:pt x="830" y="269"/>
                    <a:pt x="836" y="261"/>
                    <a:pt x="840" y="266"/>
                  </a:cubicBezTo>
                  <a:cubicBezTo>
                    <a:pt x="836" y="270"/>
                    <a:pt x="824" y="273"/>
                    <a:pt x="824" y="264"/>
                  </a:cubicBezTo>
                  <a:close/>
                  <a:moveTo>
                    <a:pt x="865" y="268"/>
                  </a:moveTo>
                  <a:cubicBezTo>
                    <a:pt x="867" y="267"/>
                    <a:pt x="869" y="267"/>
                    <a:pt x="871" y="267"/>
                  </a:cubicBezTo>
                  <a:cubicBezTo>
                    <a:pt x="871" y="274"/>
                    <a:pt x="850" y="267"/>
                    <a:pt x="865" y="268"/>
                  </a:cubicBezTo>
                  <a:close/>
                  <a:moveTo>
                    <a:pt x="866" y="326"/>
                  </a:moveTo>
                  <a:cubicBezTo>
                    <a:pt x="866" y="325"/>
                    <a:pt x="866" y="323"/>
                    <a:pt x="866" y="321"/>
                  </a:cubicBezTo>
                  <a:cubicBezTo>
                    <a:pt x="868" y="321"/>
                    <a:pt x="870" y="321"/>
                    <a:pt x="871" y="321"/>
                  </a:cubicBezTo>
                  <a:cubicBezTo>
                    <a:pt x="872" y="323"/>
                    <a:pt x="872" y="325"/>
                    <a:pt x="872" y="326"/>
                  </a:cubicBezTo>
                  <a:cubicBezTo>
                    <a:pt x="870" y="326"/>
                    <a:pt x="868" y="326"/>
                    <a:pt x="866" y="326"/>
                  </a:cubicBezTo>
                  <a:close/>
                  <a:moveTo>
                    <a:pt x="903" y="269"/>
                  </a:moveTo>
                  <a:cubicBezTo>
                    <a:pt x="912" y="260"/>
                    <a:pt x="913" y="276"/>
                    <a:pt x="903" y="269"/>
                  </a:cubicBezTo>
                  <a:close/>
                  <a:moveTo>
                    <a:pt x="925" y="266"/>
                  </a:moveTo>
                  <a:cubicBezTo>
                    <a:pt x="930" y="266"/>
                    <a:pt x="931" y="269"/>
                    <a:pt x="936" y="269"/>
                  </a:cubicBezTo>
                  <a:cubicBezTo>
                    <a:pt x="937" y="273"/>
                    <a:pt x="921" y="273"/>
                    <a:pt x="925" y="266"/>
                  </a:cubicBezTo>
                  <a:close/>
                  <a:moveTo>
                    <a:pt x="947" y="271"/>
                  </a:moveTo>
                  <a:cubicBezTo>
                    <a:pt x="945" y="264"/>
                    <a:pt x="953" y="266"/>
                    <a:pt x="958" y="266"/>
                  </a:cubicBezTo>
                  <a:cubicBezTo>
                    <a:pt x="958" y="270"/>
                    <a:pt x="954" y="271"/>
                    <a:pt x="947" y="271"/>
                  </a:cubicBezTo>
                  <a:close/>
                  <a:moveTo>
                    <a:pt x="961" y="271"/>
                  </a:moveTo>
                  <a:cubicBezTo>
                    <a:pt x="963" y="269"/>
                    <a:pt x="964" y="267"/>
                    <a:pt x="964" y="263"/>
                  </a:cubicBezTo>
                  <a:cubicBezTo>
                    <a:pt x="971" y="263"/>
                    <a:pt x="972" y="267"/>
                    <a:pt x="978" y="268"/>
                  </a:cubicBezTo>
                  <a:cubicBezTo>
                    <a:pt x="977" y="273"/>
                    <a:pt x="966" y="269"/>
                    <a:pt x="961" y="271"/>
                  </a:cubicBezTo>
                  <a:close/>
                  <a:moveTo>
                    <a:pt x="986" y="275"/>
                  </a:moveTo>
                  <a:cubicBezTo>
                    <a:pt x="985" y="273"/>
                    <a:pt x="987" y="273"/>
                    <a:pt x="989" y="272"/>
                  </a:cubicBezTo>
                  <a:cubicBezTo>
                    <a:pt x="985" y="269"/>
                    <a:pt x="980" y="268"/>
                    <a:pt x="986" y="263"/>
                  </a:cubicBezTo>
                  <a:cubicBezTo>
                    <a:pt x="994" y="261"/>
                    <a:pt x="989" y="271"/>
                    <a:pt x="1000" y="268"/>
                  </a:cubicBezTo>
                  <a:cubicBezTo>
                    <a:pt x="995" y="270"/>
                    <a:pt x="993" y="274"/>
                    <a:pt x="986" y="275"/>
                  </a:cubicBezTo>
                  <a:close/>
                  <a:moveTo>
                    <a:pt x="1011" y="272"/>
                  </a:moveTo>
                  <a:cubicBezTo>
                    <a:pt x="1011" y="270"/>
                    <a:pt x="1011" y="269"/>
                    <a:pt x="1010" y="267"/>
                  </a:cubicBezTo>
                  <a:cubicBezTo>
                    <a:pt x="1012" y="267"/>
                    <a:pt x="1014" y="267"/>
                    <a:pt x="1016" y="267"/>
                  </a:cubicBezTo>
                  <a:cubicBezTo>
                    <a:pt x="1016" y="269"/>
                    <a:pt x="1016" y="270"/>
                    <a:pt x="1016" y="272"/>
                  </a:cubicBezTo>
                  <a:cubicBezTo>
                    <a:pt x="1014" y="272"/>
                    <a:pt x="1012" y="272"/>
                    <a:pt x="1011" y="272"/>
                  </a:cubicBezTo>
                  <a:close/>
                  <a:moveTo>
                    <a:pt x="1150" y="270"/>
                  </a:moveTo>
                  <a:cubicBezTo>
                    <a:pt x="1150" y="268"/>
                    <a:pt x="1150" y="266"/>
                    <a:pt x="1150" y="265"/>
                  </a:cubicBezTo>
                  <a:cubicBezTo>
                    <a:pt x="1152" y="265"/>
                    <a:pt x="1154" y="265"/>
                    <a:pt x="1156" y="265"/>
                  </a:cubicBezTo>
                  <a:cubicBezTo>
                    <a:pt x="1156" y="266"/>
                    <a:pt x="1156" y="268"/>
                    <a:pt x="1156" y="269"/>
                  </a:cubicBezTo>
                  <a:cubicBezTo>
                    <a:pt x="1154" y="270"/>
                    <a:pt x="1152" y="270"/>
                    <a:pt x="1150" y="270"/>
                  </a:cubicBezTo>
                  <a:close/>
                  <a:moveTo>
                    <a:pt x="1170" y="269"/>
                  </a:moveTo>
                  <a:cubicBezTo>
                    <a:pt x="1170" y="268"/>
                    <a:pt x="1170" y="266"/>
                    <a:pt x="1170" y="265"/>
                  </a:cubicBezTo>
                  <a:cubicBezTo>
                    <a:pt x="1171" y="265"/>
                    <a:pt x="1173" y="265"/>
                    <a:pt x="1175" y="264"/>
                  </a:cubicBezTo>
                  <a:cubicBezTo>
                    <a:pt x="1175" y="266"/>
                    <a:pt x="1175" y="268"/>
                    <a:pt x="1175" y="269"/>
                  </a:cubicBezTo>
                  <a:cubicBezTo>
                    <a:pt x="1173" y="269"/>
                    <a:pt x="1171" y="269"/>
                    <a:pt x="1170" y="269"/>
                  </a:cubicBezTo>
                  <a:close/>
                  <a:moveTo>
                    <a:pt x="1194" y="271"/>
                  </a:moveTo>
                  <a:cubicBezTo>
                    <a:pt x="1195" y="263"/>
                    <a:pt x="1187" y="272"/>
                    <a:pt x="1181" y="267"/>
                  </a:cubicBezTo>
                  <a:cubicBezTo>
                    <a:pt x="1179" y="261"/>
                    <a:pt x="1191" y="267"/>
                    <a:pt x="1194" y="264"/>
                  </a:cubicBezTo>
                  <a:cubicBezTo>
                    <a:pt x="1194" y="264"/>
                    <a:pt x="1194" y="262"/>
                    <a:pt x="1194" y="262"/>
                  </a:cubicBezTo>
                  <a:cubicBezTo>
                    <a:pt x="1200" y="261"/>
                    <a:pt x="1208" y="268"/>
                    <a:pt x="1211" y="261"/>
                  </a:cubicBezTo>
                  <a:cubicBezTo>
                    <a:pt x="1221" y="266"/>
                    <a:pt x="1208" y="265"/>
                    <a:pt x="1205" y="266"/>
                  </a:cubicBezTo>
                  <a:cubicBezTo>
                    <a:pt x="1201" y="268"/>
                    <a:pt x="1198" y="272"/>
                    <a:pt x="1194" y="271"/>
                  </a:cubicBezTo>
                  <a:close/>
                  <a:moveTo>
                    <a:pt x="1199" y="353"/>
                  </a:moveTo>
                  <a:cubicBezTo>
                    <a:pt x="1207" y="350"/>
                    <a:pt x="1205" y="357"/>
                    <a:pt x="1210" y="358"/>
                  </a:cubicBezTo>
                  <a:cubicBezTo>
                    <a:pt x="1209" y="363"/>
                    <a:pt x="1194" y="361"/>
                    <a:pt x="1199" y="353"/>
                  </a:cubicBezTo>
                  <a:close/>
                  <a:moveTo>
                    <a:pt x="1212" y="355"/>
                  </a:moveTo>
                  <a:cubicBezTo>
                    <a:pt x="1215" y="349"/>
                    <a:pt x="1216" y="353"/>
                    <a:pt x="1223" y="353"/>
                  </a:cubicBezTo>
                  <a:cubicBezTo>
                    <a:pt x="1223" y="358"/>
                    <a:pt x="1216" y="358"/>
                    <a:pt x="1212" y="355"/>
                  </a:cubicBezTo>
                  <a:close/>
                  <a:moveTo>
                    <a:pt x="1227" y="261"/>
                  </a:moveTo>
                  <a:cubicBezTo>
                    <a:pt x="1232" y="261"/>
                    <a:pt x="1234" y="265"/>
                    <a:pt x="1235" y="261"/>
                  </a:cubicBezTo>
                  <a:cubicBezTo>
                    <a:pt x="1247" y="264"/>
                    <a:pt x="1223" y="271"/>
                    <a:pt x="1227" y="261"/>
                  </a:cubicBezTo>
                  <a:close/>
                  <a:moveTo>
                    <a:pt x="1237" y="195"/>
                  </a:moveTo>
                  <a:cubicBezTo>
                    <a:pt x="1237" y="194"/>
                    <a:pt x="1237" y="192"/>
                    <a:pt x="1237" y="191"/>
                  </a:cubicBezTo>
                  <a:cubicBezTo>
                    <a:pt x="1239" y="190"/>
                    <a:pt x="1240" y="190"/>
                    <a:pt x="1242" y="190"/>
                  </a:cubicBezTo>
                  <a:cubicBezTo>
                    <a:pt x="1242" y="192"/>
                    <a:pt x="1242" y="194"/>
                    <a:pt x="1242" y="195"/>
                  </a:cubicBezTo>
                  <a:cubicBezTo>
                    <a:pt x="1241" y="195"/>
                    <a:pt x="1239" y="195"/>
                    <a:pt x="1237" y="195"/>
                  </a:cubicBezTo>
                  <a:close/>
                  <a:moveTo>
                    <a:pt x="1259" y="195"/>
                  </a:moveTo>
                  <a:cubicBezTo>
                    <a:pt x="1252" y="196"/>
                    <a:pt x="1252" y="190"/>
                    <a:pt x="1250" y="186"/>
                  </a:cubicBezTo>
                  <a:cubicBezTo>
                    <a:pt x="1258" y="185"/>
                    <a:pt x="1258" y="190"/>
                    <a:pt x="1259" y="195"/>
                  </a:cubicBezTo>
                  <a:close/>
                  <a:moveTo>
                    <a:pt x="1252" y="261"/>
                  </a:moveTo>
                  <a:cubicBezTo>
                    <a:pt x="1256" y="260"/>
                    <a:pt x="1262" y="262"/>
                    <a:pt x="1263" y="258"/>
                  </a:cubicBezTo>
                  <a:cubicBezTo>
                    <a:pt x="1266" y="259"/>
                    <a:pt x="1265" y="262"/>
                    <a:pt x="1266" y="265"/>
                  </a:cubicBezTo>
                  <a:cubicBezTo>
                    <a:pt x="1263" y="268"/>
                    <a:pt x="1252" y="268"/>
                    <a:pt x="1252" y="261"/>
                  </a:cubicBezTo>
                  <a:close/>
                  <a:moveTo>
                    <a:pt x="1279" y="267"/>
                  </a:moveTo>
                  <a:cubicBezTo>
                    <a:pt x="1271" y="269"/>
                    <a:pt x="1269" y="262"/>
                    <a:pt x="1274" y="258"/>
                  </a:cubicBezTo>
                  <a:cubicBezTo>
                    <a:pt x="1279" y="259"/>
                    <a:pt x="1280" y="262"/>
                    <a:pt x="1279" y="267"/>
                  </a:cubicBezTo>
                  <a:close/>
                  <a:moveTo>
                    <a:pt x="1282" y="260"/>
                  </a:moveTo>
                  <a:cubicBezTo>
                    <a:pt x="1283" y="254"/>
                    <a:pt x="1287" y="263"/>
                    <a:pt x="1293" y="260"/>
                  </a:cubicBezTo>
                  <a:cubicBezTo>
                    <a:pt x="1291" y="268"/>
                    <a:pt x="1287" y="262"/>
                    <a:pt x="1282" y="260"/>
                  </a:cubicBezTo>
                  <a:close/>
                  <a:moveTo>
                    <a:pt x="1312" y="257"/>
                  </a:moveTo>
                  <a:cubicBezTo>
                    <a:pt x="1308" y="258"/>
                    <a:pt x="1310" y="265"/>
                    <a:pt x="1301" y="262"/>
                  </a:cubicBezTo>
                  <a:cubicBezTo>
                    <a:pt x="1300" y="255"/>
                    <a:pt x="1310" y="257"/>
                    <a:pt x="1315" y="255"/>
                  </a:cubicBezTo>
                  <a:cubicBezTo>
                    <a:pt x="1316" y="259"/>
                    <a:pt x="1312" y="260"/>
                    <a:pt x="1312" y="257"/>
                  </a:cubicBezTo>
                  <a:close/>
                  <a:moveTo>
                    <a:pt x="1479" y="238"/>
                  </a:moveTo>
                  <a:cubicBezTo>
                    <a:pt x="1478" y="239"/>
                    <a:pt x="1476" y="232"/>
                    <a:pt x="1474" y="233"/>
                  </a:cubicBezTo>
                  <a:cubicBezTo>
                    <a:pt x="1478" y="225"/>
                    <a:pt x="1481" y="236"/>
                    <a:pt x="1479" y="238"/>
                  </a:cubicBezTo>
                  <a:close/>
                  <a:moveTo>
                    <a:pt x="1448" y="177"/>
                  </a:moveTo>
                  <a:cubicBezTo>
                    <a:pt x="1447" y="180"/>
                    <a:pt x="1445" y="182"/>
                    <a:pt x="1440" y="182"/>
                  </a:cubicBezTo>
                  <a:cubicBezTo>
                    <a:pt x="1438" y="177"/>
                    <a:pt x="1444" y="178"/>
                    <a:pt x="1448" y="177"/>
                  </a:cubicBezTo>
                  <a:close/>
                  <a:moveTo>
                    <a:pt x="1424" y="248"/>
                  </a:moveTo>
                  <a:cubicBezTo>
                    <a:pt x="1429" y="248"/>
                    <a:pt x="1429" y="250"/>
                    <a:pt x="1433" y="251"/>
                  </a:cubicBezTo>
                  <a:cubicBezTo>
                    <a:pt x="1434" y="255"/>
                    <a:pt x="1420" y="254"/>
                    <a:pt x="1424" y="248"/>
                  </a:cubicBezTo>
                  <a:close/>
                  <a:moveTo>
                    <a:pt x="1334" y="259"/>
                  </a:moveTo>
                  <a:cubicBezTo>
                    <a:pt x="1334" y="257"/>
                    <a:pt x="1331" y="258"/>
                    <a:pt x="1329" y="257"/>
                  </a:cubicBezTo>
                  <a:cubicBezTo>
                    <a:pt x="1331" y="252"/>
                    <a:pt x="1344" y="256"/>
                    <a:pt x="1350" y="254"/>
                  </a:cubicBezTo>
                  <a:cubicBezTo>
                    <a:pt x="1347" y="261"/>
                    <a:pt x="1344" y="256"/>
                    <a:pt x="1334" y="259"/>
                  </a:cubicBezTo>
                  <a:close/>
                  <a:moveTo>
                    <a:pt x="1392" y="279"/>
                  </a:moveTo>
                  <a:cubicBezTo>
                    <a:pt x="1392" y="278"/>
                    <a:pt x="1392" y="276"/>
                    <a:pt x="1392" y="275"/>
                  </a:cubicBezTo>
                  <a:cubicBezTo>
                    <a:pt x="1394" y="275"/>
                    <a:pt x="1396" y="275"/>
                    <a:pt x="1397" y="275"/>
                  </a:cubicBezTo>
                  <a:cubicBezTo>
                    <a:pt x="1398" y="276"/>
                    <a:pt x="1398" y="278"/>
                    <a:pt x="1398" y="279"/>
                  </a:cubicBezTo>
                  <a:cubicBezTo>
                    <a:pt x="1396" y="279"/>
                    <a:pt x="1394" y="279"/>
                    <a:pt x="1392" y="279"/>
                  </a:cubicBezTo>
                  <a:close/>
                  <a:moveTo>
                    <a:pt x="1394" y="258"/>
                  </a:moveTo>
                  <a:cubicBezTo>
                    <a:pt x="1394" y="261"/>
                    <a:pt x="1392" y="260"/>
                    <a:pt x="1392" y="258"/>
                  </a:cubicBezTo>
                  <a:cubicBezTo>
                    <a:pt x="1388" y="259"/>
                    <a:pt x="1384" y="259"/>
                    <a:pt x="1383" y="256"/>
                  </a:cubicBezTo>
                  <a:cubicBezTo>
                    <a:pt x="1381" y="258"/>
                    <a:pt x="1376" y="260"/>
                    <a:pt x="1375" y="256"/>
                  </a:cubicBezTo>
                  <a:cubicBezTo>
                    <a:pt x="1373" y="257"/>
                    <a:pt x="1372" y="259"/>
                    <a:pt x="1370" y="259"/>
                  </a:cubicBezTo>
                  <a:cubicBezTo>
                    <a:pt x="1369" y="261"/>
                    <a:pt x="1371" y="261"/>
                    <a:pt x="1373" y="261"/>
                  </a:cubicBezTo>
                  <a:cubicBezTo>
                    <a:pt x="1373" y="267"/>
                    <a:pt x="1365" y="260"/>
                    <a:pt x="1367" y="256"/>
                  </a:cubicBezTo>
                  <a:cubicBezTo>
                    <a:pt x="1362" y="257"/>
                    <a:pt x="1365" y="266"/>
                    <a:pt x="1356" y="264"/>
                  </a:cubicBezTo>
                  <a:cubicBezTo>
                    <a:pt x="1358" y="256"/>
                    <a:pt x="1351" y="256"/>
                    <a:pt x="1356" y="252"/>
                  </a:cubicBezTo>
                  <a:cubicBezTo>
                    <a:pt x="1360" y="249"/>
                    <a:pt x="1366" y="255"/>
                    <a:pt x="1367" y="254"/>
                  </a:cubicBezTo>
                  <a:cubicBezTo>
                    <a:pt x="1367" y="254"/>
                    <a:pt x="1367" y="252"/>
                    <a:pt x="1367" y="252"/>
                  </a:cubicBezTo>
                  <a:cubicBezTo>
                    <a:pt x="1370" y="251"/>
                    <a:pt x="1372" y="254"/>
                    <a:pt x="1372" y="254"/>
                  </a:cubicBezTo>
                  <a:cubicBezTo>
                    <a:pt x="1379" y="253"/>
                    <a:pt x="1377" y="249"/>
                    <a:pt x="1383" y="249"/>
                  </a:cubicBezTo>
                  <a:cubicBezTo>
                    <a:pt x="1383" y="249"/>
                    <a:pt x="1384" y="255"/>
                    <a:pt x="1386" y="254"/>
                  </a:cubicBezTo>
                  <a:cubicBezTo>
                    <a:pt x="1392" y="254"/>
                    <a:pt x="1387" y="245"/>
                    <a:pt x="1389" y="242"/>
                  </a:cubicBezTo>
                  <a:cubicBezTo>
                    <a:pt x="1391" y="243"/>
                    <a:pt x="1393" y="244"/>
                    <a:pt x="1397" y="244"/>
                  </a:cubicBezTo>
                  <a:cubicBezTo>
                    <a:pt x="1396" y="246"/>
                    <a:pt x="1395" y="248"/>
                    <a:pt x="1392" y="249"/>
                  </a:cubicBezTo>
                  <a:cubicBezTo>
                    <a:pt x="1391" y="255"/>
                    <a:pt x="1404" y="247"/>
                    <a:pt x="1400" y="256"/>
                  </a:cubicBezTo>
                  <a:cubicBezTo>
                    <a:pt x="1395" y="255"/>
                    <a:pt x="1390" y="258"/>
                    <a:pt x="1394" y="258"/>
                  </a:cubicBezTo>
                  <a:close/>
                  <a:moveTo>
                    <a:pt x="1405" y="258"/>
                  </a:moveTo>
                  <a:cubicBezTo>
                    <a:pt x="1407" y="258"/>
                    <a:pt x="1409" y="258"/>
                    <a:pt x="1411" y="258"/>
                  </a:cubicBezTo>
                  <a:cubicBezTo>
                    <a:pt x="1412" y="265"/>
                    <a:pt x="1390" y="258"/>
                    <a:pt x="1405" y="258"/>
                  </a:cubicBezTo>
                  <a:close/>
                  <a:moveTo>
                    <a:pt x="1403" y="279"/>
                  </a:moveTo>
                  <a:cubicBezTo>
                    <a:pt x="1403" y="277"/>
                    <a:pt x="1406" y="277"/>
                    <a:pt x="1408" y="277"/>
                  </a:cubicBezTo>
                  <a:cubicBezTo>
                    <a:pt x="1410" y="277"/>
                    <a:pt x="1412" y="277"/>
                    <a:pt x="1414" y="277"/>
                  </a:cubicBezTo>
                  <a:cubicBezTo>
                    <a:pt x="1413" y="280"/>
                    <a:pt x="1407" y="279"/>
                    <a:pt x="1403" y="279"/>
                  </a:cubicBezTo>
                  <a:close/>
                  <a:moveTo>
                    <a:pt x="1416" y="256"/>
                  </a:moveTo>
                  <a:cubicBezTo>
                    <a:pt x="1412" y="256"/>
                    <a:pt x="1407" y="256"/>
                    <a:pt x="1403" y="256"/>
                  </a:cubicBezTo>
                  <a:cubicBezTo>
                    <a:pt x="1401" y="247"/>
                    <a:pt x="1411" y="248"/>
                    <a:pt x="1419" y="248"/>
                  </a:cubicBezTo>
                  <a:cubicBezTo>
                    <a:pt x="1419" y="254"/>
                    <a:pt x="1424" y="256"/>
                    <a:pt x="1419" y="260"/>
                  </a:cubicBezTo>
                  <a:cubicBezTo>
                    <a:pt x="1416" y="260"/>
                    <a:pt x="1417" y="257"/>
                    <a:pt x="1416" y="256"/>
                  </a:cubicBezTo>
                  <a:close/>
                  <a:moveTo>
                    <a:pt x="1418" y="352"/>
                  </a:moveTo>
                  <a:cubicBezTo>
                    <a:pt x="1417" y="348"/>
                    <a:pt x="1423" y="346"/>
                    <a:pt x="1418" y="345"/>
                  </a:cubicBezTo>
                  <a:cubicBezTo>
                    <a:pt x="1420" y="342"/>
                    <a:pt x="1424" y="342"/>
                    <a:pt x="1423" y="338"/>
                  </a:cubicBezTo>
                  <a:cubicBezTo>
                    <a:pt x="1428" y="340"/>
                    <a:pt x="1430" y="344"/>
                    <a:pt x="1426" y="347"/>
                  </a:cubicBezTo>
                  <a:cubicBezTo>
                    <a:pt x="1427" y="352"/>
                    <a:pt x="1433" y="344"/>
                    <a:pt x="1440" y="347"/>
                  </a:cubicBezTo>
                  <a:cubicBezTo>
                    <a:pt x="1439" y="354"/>
                    <a:pt x="1426" y="351"/>
                    <a:pt x="1418" y="352"/>
                  </a:cubicBezTo>
                  <a:close/>
                  <a:moveTo>
                    <a:pt x="1433" y="281"/>
                  </a:moveTo>
                  <a:cubicBezTo>
                    <a:pt x="1435" y="277"/>
                    <a:pt x="1438" y="281"/>
                    <a:pt x="1441" y="281"/>
                  </a:cubicBezTo>
                  <a:cubicBezTo>
                    <a:pt x="1440" y="285"/>
                    <a:pt x="1437" y="281"/>
                    <a:pt x="1433" y="281"/>
                  </a:cubicBezTo>
                  <a:close/>
                  <a:moveTo>
                    <a:pt x="1438" y="250"/>
                  </a:moveTo>
                  <a:cubicBezTo>
                    <a:pt x="1435" y="241"/>
                    <a:pt x="1455" y="254"/>
                    <a:pt x="1452" y="241"/>
                  </a:cubicBezTo>
                  <a:cubicBezTo>
                    <a:pt x="1457" y="241"/>
                    <a:pt x="1454" y="249"/>
                    <a:pt x="1460" y="248"/>
                  </a:cubicBezTo>
                  <a:cubicBezTo>
                    <a:pt x="1459" y="250"/>
                    <a:pt x="1439" y="253"/>
                    <a:pt x="1438" y="250"/>
                  </a:cubicBezTo>
                  <a:close/>
                  <a:moveTo>
                    <a:pt x="1456" y="330"/>
                  </a:moveTo>
                  <a:cubicBezTo>
                    <a:pt x="1459" y="331"/>
                    <a:pt x="1462" y="333"/>
                    <a:pt x="1462" y="337"/>
                  </a:cubicBezTo>
                  <a:cubicBezTo>
                    <a:pt x="1458" y="336"/>
                    <a:pt x="1456" y="334"/>
                    <a:pt x="1456" y="330"/>
                  </a:cubicBezTo>
                  <a:close/>
                  <a:moveTo>
                    <a:pt x="1485" y="250"/>
                  </a:moveTo>
                  <a:cubicBezTo>
                    <a:pt x="1485" y="251"/>
                    <a:pt x="1485" y="253"/>
                    <a:pt x="1485" y="254"/>
                  </a:cubicBezTo>
                  <a:cubicBezTo>
                    <a:pt x="1482" y="254"/>
                    <a:pt x="1483" y="251"/>
                    <a:pt x="1482" y="250"/>
                  </a:cubicBezTo>
                  <a:cubicBezTo>
                    <a:pt x="1477" y="251"/>
                    <a:pt x="1466" y="247"/>
                    <a:pt x="1466" y="252"/>
                  </a:cubicBezTo>
                  <a:cubicBezTo>
                    <a:pt x="1462" y="252"/>
                    <a:pt x="1463" y="246"/>
                    <a:pt x="1463" y="243"/>
                  </a:cubicBezTo>
                  <a:cubicBezTo>
                    <a:pt x="1468" y="244"/>
                    <a:pt x="1471" y="242"/>
                    <a:pt x="1471" y="238"/>
                  </a:cubicBezTo>
                  <a:cubicBezTo>
                    <a:pt x="1476" y="242"/>
                    <a:pt x="1478" y="248"/>
                    <a:pt x="1487" y="247"/>
                  </a:cubicBezTo>
                  <a:cubicBezTo>
                    <a:pt x="1488" y="249"/>
                    <a:pt x="1486" y="249"/>
                    <a:pt x="1485" y="250"/>
                  </a:cubicBezTo>
                  <a:close/>
                  <a:moveTo>
                    <a:pt x="1493" y="233"/>
                  </a:moveTo>
                  <a:cubicBezTo>
                    <a:pt x="1505" y="234"/>
                    <a:pt x="1490" y="247"/>
                    <a:pt x="1493" y="233"/>
                  </a:cubicBezTo>
                  <a:close/>
                  <a:moveTo>
                    <a:pt x="1529" y="251"/>
                  </a:moveTo>
                  <a:cubicBezTo>
                    <a:pt x="1523" y="254"/>
                    <a:pt x="1525" y="247"/>
                    <a:pt x="1523" y="247"/>
                  </a:cubicBezTo>
                  <a:cubicBezTo>
                    <a:pt x="1516" y="244"/>
                    <a:pt x="1502" y="249"/>
                    <a:pt x="1493" y="247"/>
                  </a:cubicBezTo>
                  <a:cubicBezTo>
                    <a:pt x="1492" y="243"/>
                    <a:pt x="1499" y="246"/>
                    <a:pt x="1501" y="245"/>
                  </a:cubicBezTo>
                  <a:cubicBezTo>
                    <a:pt x="1504" y="242"/>
                    <a:pt x="1505" y="245"/>
                    <a:pt x="1512" y="242"/>
                  </a:cubicBezTo>
                  <a:cubicBezTo>
                    <a:pt x="1513" y="242"/>
                    <a:pt x="1517" y="243"/>
                    <a:pt x="1518" y="242"/>
                  </a:cubicBezTo>
                  <a:cubicBezTo>
                    <a:pt x="1519" y="240"/>
                    <a:pt x="1519" y="240"/>
                    <a:pt x="1520" y="242"/>
                  </a:cubicBezTo>
                  <a:cubicBezTo>
                    <a:pt x="1525" y="242"/>
                    <a:pt x="1526" y="239"/>
                    <a:pt x="1531" y="239"/>
                  </a:cubicBezTo>
                  <a:cubicBezTo>
                    <a:pt x="1532" y="245"/>
                    <a:pt x="1526" y="245"/>
                    <a:pt x="1529" y="251"/>
                  </a:cubicBezTo>
                  <a:close/>
                  <a:moveTo>
                    <a:pt x="1606" y="125"/>
                  </a:moveTo>
                  <a:cubicBezTo>
                    <a:pt x="1608" y="119"/>
                    <a:pt x="1609" y="131"/>
                    <a:pt x="1609" y="132"/>
                  </a:cubicBezTo>
                  <a:cubicBezTo>
                    <a:pt x="1608" y="137"/>
                    <a:pt x="1604" y="134"/>
                    <a:pt x="1606" y="125"/>
                  </a:cubicBezTo>
                  <a:close/>
                  <a:moveTo>
                    <a:pt x="1536" y="181"/>
                  </a:moveTo>
                  <a:cubicBezTo>
                    <a:pt x="1539" y="181"/>
                    <a:pt x="1541" y="180"/>
                    <a:pt x="1544" y="180"/>
                  </a:cubicBezTo>
                  <a:cubicBezTo>
                    <a:pt x="1546" y="182"/>
                    <a:pt x="1547" y="178"/>
                    <a:pt x="1547" y="178"/>
                  </a:cubicBezTo>
                  <a:cubicBezTo>
                    <a:pt x="1560" y="181"/>
                    <a:pt x="1525" y="188"/>
                    <a:pt x="1536" y="181"/>
                  </a:cubicBezTo>
                  <a:close/>
                  <a:moveTo>
                    <a:pt x="1566" y="340"/>
                  </a:moveTo>
                  <a:cubicBezTo>
                    <a:pt x="1566" y="338"/>
                    <a:pt x="1566" y="337"/>
                    <a:pt x="1566" y="335"/>
                  </a:cubicBezTo>
                  <a:cubicBezTo>
                    <a:pt x="1571" y="334"/>
                    <a:pt x="1574" y="335"/>
                    <a:pt x="1574" y="340"/>
                  </a:cubicBezTo>
                  <a:cubicBezTo>
                    <a:pt x="1571" y="340"/>
                    <a:pt x="1569" y="340"/>
                    <a:pt x="1566" y="340"/>
                  </a:cubicBezTo>
                  <a:close/>
                  <a:moveTo>
                    <a:pt x="1582" y="342"/>
                  </a:moveTo>
                  <a:cubicBezTo>
                    <a:pt x="1581" y="343"/>
                    <a:pt x="1574" y="336"/>
                    <a:pt x="1580" y="333"/>
                  </a:cubicBezTo>
                  <a:cubicBezTo>
                    <a:pt x="1582" y="332"/>
                    <a:pt x="1584" y="340"/>
                    <a:pt x="1582" y="342"/>
                  </a:cubicBezTo>
                  <a:close/>
                  <a:moveTo>
                    <a:pt x="1573" y="248"/>
                  </a:moveTo>
                  <a:cubicBezTo>
                    <a:pt x="1569" y="250"/>
                    <a:pt x="1569" y="237"/>
                    <a:pt x="1564" y="241"/>
                  </a:cubicBezTo>
                  <a:cubicBezTo>
                    <a:pt x="1564" y="241"/>
                    <a:pt x="1565" y="243"/>
                    <a:pt x="1564" y="244"/>
                  </a:cubicBezTo>
                  <a:cubicBezTo>
                    <a:pt x="1559" y="245"/>
                    <a:pt x="1545" y="243"/>
                    <a:pt x="1537" y="244"/>
                  </a:cubicBezTo>
                  <a:cubicBezTo>
                    <a:pt x="1537" y="236"/>
                    <a:pt x="1545" y="242"/>
                    <a:pt x="1548" y="241"/>
                  </a:cubicBezTo>
                  <a:cubicBezTo>
                    <a:pt x="1550" y="241"/>
                    <a:pt x="1550" y="239"/>
                    <a:pt x="1551" y="239"/>
                  </a:cubicBezTo>
                  <a:cubicBezTo>
                    <a:pt x="1553" y="239"/>
                    <a:pt x="1557" y="243"/>
                    <a:pt x="1556" y="237"/>
                  </a:cubicBezTo>
                  <a:cubicBezTo>
                    <a:pt x="1558" y="238"/>
                    <a:pt x="1559" y="238"/>
                    <a:pt x="1561" y="239"/>
                  </a:cubicBezTo>
                  <a:cubicBezTo>
                    <a:pt x="1562" y="239"/>
                    <a:pt x="1566" y="238"/>
                    <a:pt x="1567" y="239"/>
                  </a:cubicBezTo>
                  <a:cubicBezTo>
                    <a:pt x="1569" y="241"/>
                    <a:pt x="1568" y="240"/>
                    <a:pt x="1578" y="239"/>
                  </a:cubicBezTo>
                  <a:cubicBezTo>
                    <a:pt x="1580" y="238"/>
                    <a:pt x="1588" y="240"/>
                    <a:pt x="1589" y="238"/>
                  </a:cubicBezTo>
                  <a:cubicBezTo>
                    <a:pt x="1592" y="235"/>
                    <a:pt x="1589" y="239"/>
                    <a:pt x="1600" y="238"/>
                  </a:cubicBezTo>
                  <a:cubicBezTo>
                    <a:pt x="1605" y="238"/>
                    <a:pt x="1606" y="236"/>
                    <a:pt x="1611" y="236"/>
                  </a:cubicBezTo>
                  <a:cubicBezTo>
                    <a:pt x="1613" y="249"/>
                    <a:pt x="1568" y="231"/>
                    <a:pt x="1573" y="248"/>
                  </a:cubicBezTo>
                  <a:close/>
                  <a:moveTo>
                    <a:pt x="1593" y="337"/>
                  </a:moveTo>
                  <a:cubicBezTo>
                    <a:pt x="1596" y="328"/>
                    <a:pt x="1599" y="337"/>
                    <a:pt x="1604" y="337"/>
                  </a:cubicBezTo>
                  <a:cubicBezTo>
                    <a:pt x="1606" y="337"/>
                    <a:pt x="1609" y="333"/>
                    <a:pt x="1612" y="334"/>
                  </a:cubicBezTo>
                  <a:cubicBezTo>
                    <a:pt x="1610" y="343"/>
                    <a:pt x="1601" y="336"/>
                    <a:pt x="1593" y="337"/>
                  </a:cubicBezTo>
                  <a:close/>
                  <a:moveTo>
                    <a:pt x="1619" y="238"/>
                  </a:moveTo>
                  <a:cubicBezTo>
                    <a:pt x="1618" y="242"/>
                    <a:pt x="1626" y="239"/>
                    <a:pt x="1627" y="240"/>
                  </a:cubicBezTo>
                  <a:cubicBezTo>
                    <a:pt x="1630" y="244"/>
                    <a:pt x="1618" y="241"/>
                    <a:pt x="1619" y="247"/>
                  </a:cubicBezTo>
                  <a:cubicBezTo>
                    <a:pt x="1615" y="245"/>
                    <a:pt x="1616" y="237"/>
                    <a:pt x="1613" y="233"/>
                  </a:cubicBezTo>
                  <a:cubicBezTo>
                    <a:pt x="1618" y="237"/>
                    <a:pt x="1623" y="231"/>
                    <a:pt x="1633" y="233"/>
                  </a:cubicBezTo>
                  <a:cubicBezTo>
                    <a:pt x="1636" y="241"/>
                    <a:pt x="1624" y="237"/>
                    <a:pt x="1619" y="238"/>
                  </a:cubicBezTo>
                  <a:close/>
                  <a:moveTo>
                    <a:pt x="1642" y="320"/>
                  </a:moveTo>
                  <a:cubicBezTo>
                    <a:pt x="1644" y="319"/>
                    <a:pt x="1647" y="313"/>
                    <a:pt x="1648" y="313"/>
                  </a:cubicBezTo>
                  <a:cubicBezTo>
                    <a:pt x="1651" y="312"/>
                    <a:pt x="1651" y="320"/>
                    <a:pt x="1642" y="320"/>
                  </a:cubicBezTo>
                  <a:close/>
                  <a:moveTo>
                    <a:pt x="1644" y="249"/>
                  </a:moveTo>
                  <a:cubicBezTo>
                    <a:pt x="1652" y="240"/>
                    <a:pt x="1653" y="256"/>
                    <a:pt x="1644" y="249"/>
                  </a:cubicBezTo>
                  <a:close/>
                  <a:moveTo>
                    <a:pt x="1638" y="245"/>
                  </a:moveTo>
                  <a:cubicBezTo>
                    <a:pt x="1634" y="243"/>
                    <a:pt x="1638" y="242"/>
                    <a:pt x="1641" y="242"/>
                  </a:cubicBezTo>
                  <a:cubicBezTo>
                    <a:pt x="1642" y="238"/>
                    <a:pt x="1638" y="237"/>
                    <a:pt x="1638" y="240"/>
                  </a:cubicBezTo>
                  <a:cubicBezTo>
                    <a:pt x="1637" y="241"/>
                    <a:pt x="1635" y="236"/>
                    <a:pt x="1635" y="235"/>
                  </a:cubicBezTo>
                  <a:cubicBezTo>
                    <a:pt x="1636" y="234"/>
                    <a:pt x="1640" y="236"/>
                    <a:pt x="1641" y="235"/>
                  </a:cubicBezTo>
                  <a:cubicBezTo>
                    <a:pt x="1642" y="235"/>
                    <a:pt x="1640" y="231"/>
                    <a:pt x="1641" y="230"/>
                  </a:cubicBezTo>
                  <a:cubicBezTo>
                    <a:pt x="1644" y="229"/>
                    <a:pt x="1643" y="235"/>
                    <a:pt x="1644" y="235"/>
                  </a:cubicBezTo>
                  <a:cubicBezTo>
                    <a:pt x="1644" y="236"/>
                    <a:pt x="1650" y="232"/>
                    <a:pt x="1652" y="235"/>
                  </a:cubicBezTo>
                  <a:cubicBezTo>
                    <a:pt x="1649" y="238"/>
                    <a:pt x="1637" y="240"/>
                    <a:pt x="1652" y="240"/>
                  </a:cubicBezTo>
                  <a:cubicBezTo>
                    <a:pt x="1648" y="247"/>
                    <a:pt x="1643" y="241"/>
                    <a:pt x="1638" y="245"/>
                  </a:cubicBezTo>
                  <a:close/>
                  <a:moveTo>
                    <a:pt x="1739" y="203"/>
                  </a:moveTo>
                  <a:cubicBezTo>
                    <a:pt x="1739" y="206"/>
                    <a:pt x="1731" y="204"/>
                    <a:pt x="1731" y="208"/>
                  </a:cubicBezTo>
                  <a:cubicBezTo>
                    <a:pt x="1722" y="205"/>
                    <a:pt x="1734" y="201"/>
                    <a:pt x="1739" y="203"/>
                  </a:cubicBezTo>
                  <a:close/>
                  <a:moveTo>
                    <a:pt x="1656" y="331"/>
                  </a:moveTo>
                  <a:cubicBezTo>
                    <a:pt x="1656" y="330"/>
                    <a:pt x="1656" y="328"/>
                    <a:pt x="1656" y="327"/>
                  </a:cubicBezTo>
                  <a:cubicBezTo>
                    <a:pt x="1660" y="326"/>
                    <a:pt x="1664" y="326"/>
                    <a:pt x="1667" y="326"/>
                  </a:cubicBezTo>
                  <a:cubicBezTo>
                    <a:pt x="1670" y="333"/>
                    <a:pt x="1661" y="331"/>
                    <a:pt x="1656" y="331"/>
                  </a:cubicBezTo>
                  <a:close/>
                  <a:moveTo>
                    <a:pt x="1662" y="315"/>
                  </a:moveTo>
                  <a:cubicBezTo>
                    <a:pt x="1663" y="315"/>
                    <a:pt x="1665" y="315"/>
                    <a:pt x="1667" y="315"/>
                  </a:cubicBezTo>
                  <a:cubicBezTo>
                    <a:pt x="1668" y="321"/>
                    <a:pt x="1647" y="314"/>
                    <a:pt x="1662" y="315"/>
                  </a:cubicBezTo>
                  <a:close/>
                  <a:moveTo>
                    <a:pt x="1669" y="289"/>
                  </a:moveTo>
                  <a:cubicBezTo>
                    <a:pt x="1662" y="297"/>
                    <a:pt x="1652" y="284"/>
                    <a:pt x="1669" y="289"/>
                  </a:cubicBezTo>
                  <a:close/>
                  <a:moveTo>
                    <a:pt x="1663" y="268"/>
                  </a:moveTo>
                  <a:cubicBezTo>
                    <a:pt x="1664" y="268"/>
                    <a:pt x="1666" y="263"/>
                    <a:pt x="1666" y="263"/>
                  </a:cubicBezTo>
                  <a:cubicBezTo>
                    <a:pt x="1666" y="263"/>
                    <a:pt x="1666" y="261"/>
                    <a:pt x="1666" y="261"/>
                  </a:cubicBezTo>
                  <a:cubicBezTo>
                    <a:pt x="1676" y="259"/>
                    <a:pt x="1667" y="271"/>
                    <a:pt x="1663" y="268"/>
                  </a:cubicBezTo>
                  <a:close/>
                  <a:moveTo>
                    <a:pt x="1697" y="293"/>
                  </a:moveTo>
                  <a:cubicBezTo>
                    <a:pt x="1695" y="297"/>
                    <a:pt x="1694" y="292"/>
                    <a:pt x="1694" y="288"/>
                  </a:cubicBezTo>
                  <a:cubicBezTo>
                    <a:pt x="1686" y="285"/>
                    <a:pt x="1700" y="286"/>
                    <a:pt x="1697" y="293"/>
                  </a:cubicBezTo>
                  <a:close/>
                  <a:moveTo>
                    <a:pt x="1705" y="269"/>
                  </a:moveTo>
                  <a:cubicBezTo>
                    <a:pt x="1700" y="269"/>
                    <a:pt x="1698" y="265"/>
                    <a:pt x="1699" y="260"/>
                  </a:cubicBezTo>
                  <a:cubicBezTo>
                    <a:pt x="1704" y="260"/>
                    <a:pt x="1705" y="264"/>
                    <a:pt x="1705" y="269"/>
                  </a:cubicBezTo>
                  <a:close/>
                  <a:moveTo>
                    <a:pt x="1718" y="269"/>
                  </a:moveTo>
                  <a:cubicBezTo>
                    <a:pt x="1713" y="268"/>
                    <a:pt x="1716" y="260"/>
                    <a:pt x="1710" y="260"/>
                  </a:cubicBezTo>
                  <a:cubicBezTo>
                    <a:pt x="1710" y="257"/>
                    <a:pt x="1715" y="258"/>
                    <a:pt x="1718" y="257"/>
                  </a:cubicBezTo>
                  <a:cubicBezTo>
                    <a:pt x="1717" y="265"/>
                    <a:pt x="1723" y="264"/>
                    <a:pt x="1718" y="269"/>
                  </a:cubicBezTo>
                  <a:close/>
                  <a:moveTo>
                    <a:pt x="1718" y="238"/>
                  </a:moveTo>
                  <a:cubicBezTo>
                    <a:pt x="1720" y="234"/>
                    <a:pt x="1726" y="233"/>
                    <a:pt x="1734" y="234"/>
                  </a:cubicBezTo>
                  <a:cubicBezTo>
                    <a:pt x="1731" y="237"/>
                    <a:pt x="1725" y="238"/>
                    <a:pt x="1718" y="238"/>
                  </a:cubicBezTo>
                  <a:close/>
                  <a:moveTo>
                    <a:pt x="1738" y="309"/>
                  </a:moveTo>
                  <a:cubicBezTo>
                    <a:pt x="1739" y="306"/>
                    <a:pt x="1742" y="304"/>
                    <a:pt x="1746" y="304"/>
                  </a:cubicBezTo>
                  <a:cubicBezTo>
                    <a:pt x="1745" y="307"/>
                    <a:pt x="1743" y="309"/>
                    <a:pt x="1738" y="309"/>
                  </a:cubicBezTo>
                  <a:close/>
                  <a:moveTo>
                    <a:pt x="1747" y="318"/>
                  </a:moveTo>
                  <a:cubicBezTo>
                    <a:pt x="1747" y="316"/>
                    <a:pt x="1747" y="315"/>
                    <a:pt x="1747" y="313"/>
                  </a:cubicBezTo>
                  <a:cubicBezTo>
                    <a:pt x="1748" y="313"/>
                    <a:pt x="1750" y="313"/>
                    <a:pt x="1752" y="313"/>
                  </a:cubicBezTo>
                  <a:cubicBezTo>
                    <a:pt x="1752" y="315"/>
                    <a:pt x="1752" y="316"/>
                    <a:pt x="1752" y="318"/>
                  </a:cubicBezTo>
                  <a:cubicBezTo>
                    <a:pt x="1750" y="318"/>
                    <a:pt x="1748" y="318"/>
                    <a:pt x="1747" y="318"/>
                  </a:cubicBezTo>
                  <a:close/>
                  <a:moveTo>
                    <a:pt x="1745" y="236"/>
                  </a:moveTo>
                  <a:cubicBezTo>
                    <a:pt x="1752" y="231"/>
                    <a:pt x="1741" y="225"/>
                    <a:pt x="1740" y="233"/>
                  </a:cubicBezTo>
                  <a:cubicBezTo>
                    <a:pt x="1733" y="231"/>
                    <a:pt x="1714" y="229"/>
                    <a:pt x="1712" y="234"/>
                  </a:cubicBezTo>
                  <a:cubicBezTo>
                    <a:pt x="1712" y="234"/>
                    <a:pt x="1713" y="239"/>
                    <a:pt x="1712" y="239"/>
                  </a:cubicBezTo>
                  <a:cubicBezTo>
                    <a:pt x="1708" y="239"/>
                    <a:pt x="1712" y="233"/>
                    <a:pt x="1709" y="232"/>
                  </a:cubicBezTo>
                  <a:cubicBezTo>
                    <a:pt x="1705" y="230"/>
                    <a:pt x="1701" y="234"/>
                    <a:pt x="1699" y="234"/>
                  </a:cubicBezTo>
                  <a:cubicBezTo>
                    <a:pt x="1694" y="235"/>
                    <a:pt x="1683" y="231"/>
                    <a:pt x="1685" y="239"/>
                  </a:cubicBezTo>
                  <a:cubicBezTo>
                    <a:pt x="1683" y="237"/>
                    <a:pt x="1677" y="236"/>
                    <a:pt x="1677" y="239"/>
                  </a:cubicBezTo>
                  <a:cubicBezTo>
                    <a:pt x="1674" y="239"/>
                    <a:pt x="1675" y="237"/>
                    <a:pt x="1677" y="237"/>
                  </a:cubicBezTo>
                  <a:cubicBezTo>
                    <a:pt x="1678" y="235"/>
                    <a:pt x="1670" y="233"/>
                    <a:pt x="1668" y="235"/>
                  </a:cubicBezTo>
                  <a:cubicBezTo>
                    <a:pt x="1665" y="237"/>
                    <a:pt x="1667" y="234"/>
                    <a:pt x="1663" y="235"/>
                  </a:cubicBezTo>
                  <a:cubicBezTo>
                    <a:pt x="1660" y="235"/>
                    <a:pt x="1658" y="235"/>
                    <a:pt x="1657" y="237"/>
                  </a:cubicBezTo>
                  <a:cubicBezTo>
                    <a:pt x="1653" y="236"/>
                    <a:pt x="1659" y="234"/>
                    <a:pt x="1657" y="230"/>
                  </a:cubicBezTo>
                  <a:cubicBezTo>
                    <a:pt x="1660" y="229"/>
                    <a:pt x="1660" y="232"/>
                    <a:pt x="1660" y="232"/>
                  </a:cubicBezTo>
                  <a:cubicBezTo>
                    <a:pt x="1663" y="233"/>
                    <a:pt x="1663" y="230"/>
                    <a:pt x="1663" y="230"/>
                  </a:cubicBezTo>
                  <a:cubicBezTo>
                    <a:pt x="1666" y="230"/>
                    <a:pt x="1669" y="233"/>
                    <a:pt x="1671" y="232"/>
                  </a:cubicBezTo>
                  <a:cubicBezTo>
                    <a:pt x="1675" y="231"/>
                    <a:pt x="1680" y="223"/>
                    <a:pt x="1687" y="230"/>
                  </a:cubicBezTo>
                  <a:cubicBezTo>
                    <a:pt x="1691" y="229"/>
                    <a:pt x="1690" y="225"/>
                    <a:pt x="1690" y="223"/>
                  </a:cubicBezTo>
                  <a:cubicBezTo>
                    <a:pt x="1696" y="223"/>
                    <a:pt x="1699" y="222"/>
                    <a:pt x="1698" y="218"/>
                  </a:cubicBezTo>
                  <a:cubicBezTo>
                    <a:pt x="1707" y="219"/>
                    <a:pt x="1704" y="228"/>
                    <a:pt x="1693" y="225"/>
                  </a:cubicBezTo>
                  <a:cubicBezTo>
                    <a:pt x="1692" y="229"/>
                    <a:pt x="1696" y="229"/>
                    <a:pt x="1696" y="232"/>
                  </a:cubicBezTo>
                  <a:cubicBezTo>
                    <a:pt x="1699" y="233"/>
                    <a:pt x="1697" y="228"/>
                    <a:pt x="1698" y="227"/>
                  </a:cubicBezTo>
                  <a:cubicBezTo>
                    <a:pt x="1701" y="226"/>
                    <a:pt x="1701" y="229"/>
                    <a:pt x="1701" y="229"/>
                  </a:cubicBezTo>
                  <a:cubicBezTo>
                    <a:pt x="1701" y="229"/>
                    <a:pt x="1710" y="227"/>
                    <a:pt x="1712" y="227"/>
                  </a:cubicBezTo>
                  <a:cubicBezTo>
                    <a:pt x="1714" y="226"/>
                    <a:pt x="1719" y="222"/>
                    <a:pt x="1720" y="229"/>
                  </a:cubicBezTo>
                  <a:cubicBezTo>
                    <a:pt x="1723" y="230"/>
                    <a:pt x="1722" y="225"/>
                    <a:pt x="1723" y="224"/>
                  </a:cubicBezTo>
                  <a:cubicBezTo>
                    <a:pt x="1734" y="222"/>
                    <a:pt x="1746" y="228"/>
                    <a:pt x="1756" y="224"/>
                  </a:cubicBezTo>
                  <a:cubicBezTo>
                    <a:pt x="1754" y="229"/>
                    <a:pt x="1753" y="235"/>
                    <a:pt x="1745" y="236"/>
                  </a:cubicBezTo>
                  <a:close/>
                  <a:moveTo>
                    <a:pt x="1753" y="186"/>
                  </a:moveTo>
                  <a:cubicBezTo>
                    <a:pt x="1755" y="187"/>
                    <a:pt x="1755" y="189"/>
                    <a:pt x="1758" y="188"/>
                  </a:cubicBezTo>
                  <a:cubicBezTo>
                    <a:pt x="1758" y="194"/>
                    <a:pt x="1745" y="191"/>
                    <a:pt x="1753" y="186"/>
                  </a:cubicBezTo>
                  <a:close/>
                  <a:moveTo>
                    <a:pt x="1831" y="110"/>
                  </a:moveTo>
                  <a:cubicBezTo>
                    <a:pt x="1831" y="108"/>
                    <a:pt x="1831" y="107"/>
                    <a:pt x="1831" y="105"/>
                  </a:cubicBezTo>
                  <a:cubicBezTo>
                    <a:pt x="1837" y="104"/>
                    <a:pt x="1832" y="113"/>
                    <a:pt x="1834" y="117"/>
                  </a:cubicBezTo>
                  <a:cubicBezTo>
                    <a:pt x="1831" y="115"/>
                    <a:pt x="1829" y="114"/>
                    <a:pt x="1828" y="117"/>
                  </a:cubicBezTo>
                  <a:cubicBezTo>
                    <a:pt x="1819" y="115"/>
                    <a:pt x="1831" y="112"/>
                    <a:pt x="1831" y="110"/>
                  </a:cubicBezTo>
                  <a:close/>
                  <a:moveTo>
                    <a:pt x="1792" y="230"/>
                  </a:moveTo>
                  <a:cubicBezTo>
                    <a:pt x="1789" y="237"/>
                    <a:pt x="1781" y="233"/>
                    <a:pt x="1775" y="233"/>
                  </a:cubicBezTo>
                  <a:cubicBezTo>
                    <a:pt x="1776" y="228"/>
                    <a:pt x="1787" y="232"/>
                    <a:pt x="1792" y="230"/>
                  </a:cubicBezTo>
                  <a:close/>
                  <a:moveTo>
                    <a:pt x="1779" y="259"/>
                  </a:moveTo>
                  <a:cubicBezTo>
                    <a:pt x="1776" y="258"/>
                    <a:pt x="1776" y="256"/>
                    <a:pt x="1773" y="256"/>
                  </a:cubicBezTo>
                  <a:cubicBezTo>
                    <a:pt x="1773" y="255"/>
                    <a:pt x="1773" y="253"/>
                    <a:pt x="1773" y="252"/>
                  </a:cubicBezTo>
                  <a:cubicBezTo>
                    <a:pt x="1779" y="250"/>
                    <a:pt x="1778" y="255"/>
                    <a:pt x="1779" y="259"/>
                  </a:cubicBezTo>
                  <a:close/>
                  <a:moveTo>
                    <a:pt x="1771" y="310"/>
                  </a:moveTo>
                  <a:cubicBezTo>
                    <a:pt x="1777" y="309"/>
                    <a:pt x="1775" y="315"/>
                    <a:pt x="1780" y="315"/>
                  </a:cubicBezTo>
                  <a:cubicBezTo>
                    <a:pt x="1780" y="319"/>
                    <a:pt x="1769" y="315"/>
                    <a:pt x="1771" y="310"/>
                  </a:cubicBezTo>
                  <a:close/>
                  <a:moveTo>
                    <a:pt x="1790" y="280"/>
                  </a:moveTo>
                  <a:cubicBezTo>
                    <a:pt x="1788" y="283"/>
                    <a:pt x="1792" y="288"/>
                    <a:pt x="1785" y="287"/>
                  </a:cubicBezTo>
                  <a:cubicBezTo>
                    <a:pt x="1789" y="283"/>
                    <a:pt x="1786" y="274"/>
                    <a:pt x="1795" y="275"/>
                  </a:cubicBezTo>
                  <a:cubicBezTo>
                    <a:pt x="1796" y="278"/>
                    <a:pt x="1791" y="278"/>
                    <a:pt x="1790" y="280"/>
                  </a:cubicBezTo>
                  <a:close/>
                  <a:moveTo>
                    <a:pt x="1789" y="226"/>
                  </a:moveTo>
                  <a:cubicBezTo>
                    <a:pt x="1787" y="225"/>
                    <a:pt x="1786" y="226"/>
                    <a:pt x="1786" y="228"/>
                  </a:cubicBezTo>
                  <a:cubicBezTo>
                    <a:pt x="1784" y="228"/>
                    <a:pt x="1784" y="225"/>
                    <a:pt x="1783" y="223"/>
                  </a:cubicBezTo>
                  <a:cubicBezTo>
                    <a:pt x="1785" y="223"/>
                    <a:pt x="1787" y="223"/>
                    <a:pt x="1789" y="223"/>
                  </a:cubicBezTo>
                  <a:cubicBezTo>
                    <a:pt x="1787" y="218"/>
                    <a:pt x="1781" y="219"/>
                    <a:pt x="1786" y="214"/>
                  </a:cubicBezTo>
                  <a:cubicBezTo>
                    <a:pt x="1791" y="214"/>
                    <a:pt x="1792" y="218"/>
                    <a:pt x="1792" y="223"/>
                  </a:cubicBezTo>
                  <a:cubicBezTo>
                    <a:pt x="1798" y="219"/>
                    <a:pt x="1803" y="224"/>
                    <a:pt x="1805" y="221"/>
                  </a:cubicBezTo>
                  <a:cubicBezTo>
                    <a:pt x="1809" y="222"/>
                    <a:pt x="1807" y="224"/>
                    <a:pt x="1805" y="225"/>
                  </a:cubicBezTo>
                  <a:cubicBezTo>
                    <a:pt x="1799" y="229"/>
                    <a:pt x="1799" y="225"/>
                    <a:pt x="1789" y="226"/>
                  </a:cubicBezTo>
                  <a:close/>
                  <a:moveTo>
                    <a:pt x="1800" y="235"/>
                  </a:moveTo>
                  <a:cubicBezTo>
                    <a:pt x="1792" y="232"/>
                    <a:pt x="1806" y="225"/>
                    <a:pt x="1808" y="230"/>
                  </a:cubicBezTo>
                  <a:cubicBezTo>
                    <a:pt x="1808" y="233"/>
                    <a:pt x="1800" y="231"/>
                    <a:pt x="1800" y="235"/>
                  </a:cubicBezTo>
                  <a:close/>
                  <a:moveTo>
                    <a:pt x="1812" y="314"/>
                  </a:moveTo>
                  <a:cubicBezTo>
                    <a:pt x="1808" y="312"/>
                    <a:pt x="1806" y="308"/>
                    <a:pt x="1810" y="305"/>
                  </a:cubicBezTo>
                  <a:cubicBezTo>
                    <a:pt x="1814" y="307"/>
                    <a:pt x="1816" y="311"/>
                    <a:pt x="1812" y="314"/>
                  </a:cubicBezTo>
                  <a:close/>
                  <a:moveTo>
                    <a:pt x="1811" y="258"/>
                  </a:moveTo>
                  <a:cubicBezTo>
                    <a:pt x="1811" y="256"/>
                    <a:pt x="1811" y="255"/>
                    <a:pt x="1811" y="253"/>
                  </a:cubicBezTo>
                  <a:cubicBezTo>
                    <a:pt x="1817" y="252"/>
                    <a:pt x="1817" y="257"/>
                    <a:pt x="1817" y="260"/>
                  </a:cubicBezTo>
                  <a:cubicBezTo>
                    <a:pt x="1815" y="260"/>
                    <a:pt x="1814" y="258"/>
                    <a:pt x="1811" y="258"/>
                  </a:cubicBezTo>
                  <a:close/>
                  <a:moveTo>
                    <a:pt x="1822" y="225"/>
                  </a:moveTo>
                  <a:cubicBezTo>
                    <a:pt x="1819" y="225"/>
                    <a:pt x="1816" y="225"/>
                    <a:pt x="1814" y="225"/>
                  </a:cubicBezTo>
                  <a:cubicBezTo>
                    <a:pt x="1816" y="218"/>
                    <a:pt x="1810" y="219"/>
                    <a:pt x="1811" y="213"/>
                  </a:cubicBezTo>
                  <a:cubicBezTo>
                    <a:pt x="1815" y="212"/>
                    <a:pt x="1823" y="218"/>
                    <a:pt x="1816" y="218"/>
                  </a:cubicBezTo>
                  <a:cubicBezTo>
                    <a:pt x="1818" y="220"/>
                    <a:pt x="1823" y="220"/>
                    <a:pt x="1822" y="225"/>
                  </a:cubicBezTo>
                  <a:close/>
                  <a:moveTo>
                    <a:pt x="1815" y="155"/>
                  </a:moveTo>
                  <a:cubicBezTo>
                    <a:pt x="1817" y="153"/>
                    <a:pt x="1818" y="151"/>
                    <a:pt x="1818" y="147"/>
                  </a:cubicBezTo>
                  <a:cubicBezTo>
                    <a:pt x="1821" y="148"/>
                    <a:pt x="1822" y="152"/>
                    <a:pt x="1826" y="152"/>
                  </a:cubicBezTo>
                  <a:cubicBezTo>
                    <a:pt x="1825" y="155"/>
                    <a:pt x="1819" y="154"/>
                    <a:pt x="1815" y="155"/>
                  </a:cubicBezTo>
                  <a:close/>
                  <a:moveTo>
                    <a:pt x="1829" y="147"/>
                  </a:moveTo>
                  <a:cubicBezTo>
                    <a:pt x="1832" y="148"/>
                    <a:pt x="1831" y="152"/>
                    <a:pt x="1834" y="152"/>
                  </a:cubicBezTo>
                  <a:cubicBezTo>
                    <a:pt x="1833" y="158"/>
                    <a:pt x="1826" y="152"/>
                    <a:pt x="1829" y="147"/>
                  </a:cubicBezTo>
                  <a:close/>
                  <a:moveTo>
                    <a:pt x="1830" y="229"/>
                  </a:moveTo>
                  <a:cubicBezTo>
                    <a:pt x="1826" y="225"/>
                    <a:pt x="1830" y="226"/>
                    <a:pt x="1830" y="220"/>
                  </a:cubicBezTo>
                  <a:cubicBezTo>
                    <a:pt x="1835" y="220"/>
                    <a:pt x="1837" y="224"/>
                    <a:pt x="1838" y="220"/>
                  </a:cubicBezTo>
                  <a:cubicBezTo>
                    <a:pt x="1843" y="220"/>
                    <a:pt x="1836" y="230"/>
                    <a:pt x="1830" y="229"/>
                  </a:cubicBezTo>
                  <a:close/>
                  <a:moveTo>
                    <a:pt x="1850" y="137"/>
                  </a:moveTo>
                  <a:cubicBezTo>
                    <a:pt x="1850" y="140"/>
                    <a:pt x="1845" y="139"/>
                    <a:pt x="1845" y="142"/>
                  </a:cubicBezTo>
                  <a:cubicBezTo>
                    <a:pt x="1842" y="142"/>
                    <a:pt x="1843" y="139"/>
                    <a:pt x="1842" y="138"/>
                  </a:cubicBezTo>
                  <a:cubicBezTo>
                    <a:pt x="1846" y="135"/>
                    <a:pt x="1847" y="137"/>
                    <a:pt x="1850" y="137"/>
                  </a:cubicBezTo>
                  <a:close/>
                  <a:moveTo>
                    <a:pt x="1845" y="154"/>
                  </a:moveTo>
                  <a:cubicBezTo>
                    <a:pt x="1844" y="154"/>
                    <a:pt x="1842" y="151"/>
                    <a:pt x="1843" y="149"/>
                  </a:cubicBezTo>
                  <a:cubicBezTo>
                    <a:pt x="1846" y="141"/>
                    <a:pt x="1848" y="154"/>
                    <a:pt x="1845" y="154"/>
                  </a:cubicBezTo>
                  <a:close/>
                  <a:moveTo>
                    <a:pt x="1841" y="227"/>
                  </a:moveTo>
                  <a:cubicBezTo>
                    <a:pt x="1840" y="223"/>
                    <a:pt x="1847" y="224"/>
                    <a:pt x="1849" y="222"/>
                  </a:cubicBezTo>
                  <a:cubicBezTo>
                    <a:pt x="1855" y="217"/>
                    <a:pt x="1850" y="226"/>
                    <a:pt x="1841" y="227"/>
                  </a:cubicBezTo>
                  <a:close/>
                  <a:moveTo>
                    <a:pt x="1855" y="220"/>
                  </a:moveTo>
                  <a:cubicBezTo>
                    <a:pt x="1864" y="221"/>
                    <a:pt x="1851" y="235"/>
                    <a:pt x="1858" y="234"/>
                  </a:cubicBezTo>
                  <a:cubicBezTo>
                    <a:pt x="1848" y="244"/>
                    <a:pt x="1856" y="220"/>
                    <a:pt x="1852" y="229"/>
                  </a:cubicBezTo>
                  <a:cubicBezTo>
                    <a:pt x="1844" y="227"/>
                    <a:pt x="1858" y="225"/>
                    <a:pt x="1855" y="220"/>
                  </a:cubicBezTo>
                  <a:close/>
                  <a:moveTo>
                    <a:pt x="1853" y="255"/>
                  </a:moveTo>
                  <a:cubicBezTo>
                    <a:pt x="1849" y="254"/>
                    <a:pt x="1850" y="249"/>
                    <a:pt x="1850" y="246"/>
                  </a:cubicBezTo>
                  <a:cubicBezTo>
                    <a:pt x="1856" y="246"/>
                    <a:pt x="1856" y="252"/>
                    <a:pt x="1853" y="255"/>
                  </a:cubicBezTo>
                  <a:close/>
                  <a:moveTo>
                    <a:pt x="1859" y="309"/>
                  </a:moveTo>
                  <a:cubicBezTo>
                    <a:pt x="1856" y="308"/>
                    <a:pt x="1857" y="304"/>
                    <a:pt x="1853" y="304"/>
                  </a:cubicBezTo>
                  <a:cubicBezTo>
                    <a:pt x="1854" y="302"/>
                    <a:pt x="1858" y="302"/>
                    <a:pt x="1862" y="302"/>
                  </a:cubicBezTo>
                  <a:cubicBezTo>
                    <a:pt x="1862" y="306"/>
                    <a:pt x="1859" y="306"/>
                    <a:pt x="1859" y="309"/>
                  </a:cubicBezTo>
                  <a:close/>
                  <a:moveTo>
                    <a:pt x="1848" y="154"/>
                  </a:moveTo>
                  <a:cubicBezTo>
                    <a:pt x="1849" y="150"/>
                    <a:pt x="1852" y="148"/>
                    <a:pt x="1853" y="144"/>
                  </a:cubicBezTo>
                  <a:cubicBezTo>
                    <a:pt x="1857" y="145"/>
                    <a:pt x="1860" y="149"/>
                    <a:pt x="1856" y="149"/>
                  </a:cubicBezTo>
                  <a:cubicBezTo>
                    <a:pt x="1856" y="151"/>
                    <a:pt x="1860" y="151"/>
                    <a:pt x="1862" y="151"/>
                  </a:cubicBezTo>
                  <a:cubicBezTo>
                    <a:pt x="1871" y="154"/>
                    <a:pt x="1852" y="154"/>
                    <a:pt x="1848" y="154"/>
                  </a:cubicBezTo>
                  <a:close/>
                  <a:moveTo>
                    <a:pt x="1928" y="178"/>
                  </a:moveTo>
                  <a:cubicBezTo>
                    <a:pt x="1929" y="177"/>
                    <a:pt x="1931" y="176"/>
                    <a:pt x="1931" y="174"/>
                  </a:cubicBezTo>
                  <a:cubicBezTo>
                    <a:pt x="1933" y="174"/>
                    <a:pt x="1934" y="174"/>
                    <a:pt x="1936" y="174"/>
                  </a:cubicBezTo>
                  <a:cubicBezTo>
                    <a:pt x="1938" y="179"/>
                    <a:pt x="1932" y="178"/>
                    <a:pt x="1928" y="178"/>
                  </a:cubicBezTo>
                  <a:close/>
                  <a:moveTo>
                    <a:pt x="1930" y="138"/>
                  </a:moveTo>
                  <a:cubicBezTo>
                    <a:pt x="1937" y="141"/>
                    <a:pt x="1932" y="154"/>
                    <a:pt x="1922" y="150"/>
                  </a:cubicBezTo>
                  <a:cubicBezTo>
                    <a:pt x="1919" y="142"/>
                    <a:pt x="1928" y="143"/>
                    <a:pt x="1930" y="138"/>
                  </a:cubicBezTo>
                  <a:close/>
                  <a:moveTo>
                    <a:pt x="1920" y="193"/>
                  </a:moveTo>
                  <a:cubicBezTo>
                    <a:pt x="1929" y="190"/>
                    <a:pt x="1922" y="200"/>
                    <a:pt x="1931" y="197"/>
                  </a:cubicBezTo>
                  <a:cubicBezTo>
                    <a:pt x="1930" y="202"/>
                    <a:pt x="1918" y="198"/>
                    <a:pt x="1920" y="193"/>
                  </a:cubicBezTo>
                  <a:close/>
                  <a:moveTo>
                    <a:pt x="1892" y="144"/>
                  </a:moveTo>
                  <a:cubicBezTo>
                    <a:pt x="1896" y="145"/>
                    <a:pt x="1894" y="147"/>
                    <a:pt x="1892" y="149"/>
                  </a:cubicBezTo>
                  <a:cubicBezTo>
                    <a:pt x="1887" y="152"/>
                    <a:pt x="1885" y="151"/>
                    <a:pt x="1892" y="144"/>
                  </a:cubicBezTo>
                  <a:close/>
                  <a:moveTo>
                    <a:pt x="1875" y="123"/>
                  </a:moveTo>
                  <a:cubicBezTo>
                    <a:pt x="1878" y="124"/>
                    <a:pt x="1877" y="128"/>
                    <a:pt x="1881" y="128"/>
                  </a:cubicBezTo>
                  <a:cubicBezTo>
                    <a:pt x="1880" y="130"/>
                    <a:pt x="1877" y="129"/>
                    <a:pt x="1875" y="130"/>
                  </a:cubicBezTo>
                  <a:cubicBezTo>
                    <a:pt x="1872" y="127"/>
                    <a:pt x="1874" y="126"/>
                    <a:pt x="1875" y="123"/>
                  </a:cubicBezTo>
                  <a:close/>
                  <a:moveTo>
                    <a:pt x="1867" y="147"/>
                  </a:moveTo>
                  <a:cubicBezTo>
                    <a:pt x="1869" y="138"/>
                    <a:pt x="1883" y="151"/>
                    <a:pt x="1883" y="144"/>
                  </a:cubicBezTo>
                  <a:cubicBezTo>
                    <a:pt x="1880" y="141"/>
                    <a:pt x="1883" y="143"/>
                    <a:pt x="1886" y="144"/>
                  </a:cubicBezTo>
                  <a:cubicBezTo>
                    <a:pt x="1882" y="147"/>
                    <a:pt x="1883" y="155"/>
                    <a:pt x="1873" y="154"/>
                  </a:cubicBezTo>
                  <a:cubicBezTo>
                    <a:pt x="1874" y="149"/>
                    <a:pt x="1872" y="146"/>
                    <a:pt x="1867" y="147"/>
                  </a:cubicBezTo>
                  <a:close/>
                  <a:moveTo>
                    <a:pt x="1877" y="229"/>
                  </a:moveTo>
                  <a:cubicBezTo>
                    <a:pt x="1878" y="231"/>
                    <a:pt x="1880" y="232"/>
                    <a:pt x="1880" y="236"/>
                  </a:cubicBezTo>
                  <a:cubicBezTo>
                    <a:pt x="1877" y="236"/>
                    <a:pt x="1874" y="236"/>
                    <a:pt x="1871" y="236"/>
                  </a:cubicBezTo>
                  <a:cubicBezTo>
                    <a:pt x="1874" y="234"/>
                    <a:pt x="1874" y="230"/>
                    <a:pt x="1874" y="226"/>
                  </a:cubicBezTo>
                  <a:cubicBezTo>
                    <a:pt x="1877" y="226"/>
                    <a:pt x="1879" y="226"/>
                    <a:pt x="1882" y="226"/>
                  </a:cubicBezTo>
                  <a:cubicBezTo>
                    <a:pt x="1887" y="228"/>
                    <a:pt x="1881" y="229"/>
                    <a:pt x="1877" y="229"/>
                  </a:cubicBezTo>
                  <a:close/>
                  <a:moveTo>
                    <a:pt x="1884" y="182"/>
                  </a:moveTo>
                  <a:cubicBezTo>
                    <a:pt x="1881" y="170"/>
                    <a:pt x="1883" y="167"/>
                    <a:pt x="1881" y="156"/>
                  </a:cubicBezTo>
                  <a:cubicBezTo>
                    <a:pt x="1884" y="155"/>
                    <a:pt x="1886" y="156"/>
                    <a:pt x="1886" y="158"/>
                  </a:cubicBezTo>
                  <a:cubicBezTo>
                    <a:pt x="1887" y="161"/>
                    <a:pt x="1892" y="160"/>
                    <a:pt x="1892" y="163"/>
                  </a:cubicBezTo>
                  <a:cubicBezTo>
                    <a:pt x="1894" y="168"/>
                    <a:pt x="1887" y="166"/>
                    <a:pt x="1887" y="170"/>
                  </a:cubicBezTo>
                  <a:cubicBezTo>
                    <a:pt x="1886" y="174"/>
                    <a:pt x="1889" y="174"/>
                    <a:pt x="1892" y="174"/>
                  </a:cubicBezTo>
                  <a:cubicBezTo>
                    <a:pt x="1892" y="178"/>
                    <a:pt x="1881" y="179"/>
                    <a:pt x="1892" y="179"/>
                  </a:cubicBezTo>
                  <a:cubicBezTo>
                    <a:pt x="1893" y="181"/>
                    <a:pt x="1891" y="181"/>
                    <a:pt x="1890" y="181"/>
                  </a:cubicBezTo>
                  <a:cubicBezTo>
                    <a:pt x="1888" y="181"/>
                    <a:pt x="1886" y="181"/>
                    <a:pt x="1884" y="182"/>
                  </a:cubicBezTo>
                  <a:close/>
                  <a:moveTo>
                    <a:pt x="1888" y="238"/>
                  </a:moveTo>
                  <a:cubicBezTo>
                    <a:pt x="1888" y="236"/>
                    <a:pt x="1888" y="235"/>
                    <a:pt x="1888" y="233"/>
                  </a:cubicBezTo>
                  <a:cubicBezTo>
                    <a:pt x="1890" y="233"/>
                    <a:pt x="1892" y="233"/>
                    <a:pt x="1893" y="233"/>
                  </a:cubicBezTo>
                  <a:cubicBezTo>
                    <a:pt x="1893" y="235"/>
                    <a:pt x="1893" y="236"/>
                    <a:pt x="1893" y="238"/>
                  </a:cubicBezTo>
                  <a:cubicBezTo>
                    <a:pt x="1892" y="238"/>
                    <a:pt x="1890" y="238"/>
                    <a:pt x="1888" y="238"/>
                  </a:cubicBezTo>
                  <a:close/>
                  <a:moveTo>
                    <a:pt x="1888" y="228"/>
                  </a:moveTo>
                  <a:cubicBezTo>
                    <a:pt x="1889" y="225"/>
                    <a:pt x="1894" y="224"/>
                    <a:pt x="1899" y="224"/>
                  </a:cubicBezTo>
                  <a:cubicBezTo>
                    <a:pt x="1901" y="231"/>
                    <a:pt x="1893" y="228"/>
                    <a:pt x="1888" y="228"/>
                  </a:cubicBezTo>
                  <a:close/>
                  <a:moveTo>
                    <a:pt x="1900" y="151"/>
                  </a:moveTo>
                  <a:cubicBezTo>
                    <a:pt x="1896" y="152"/>
                    <a:pt x="1898" y="157"/>
                    <a:pt x="1897" y="160"/>
                  </a:cubicBezTo>
                  <a:cubicBezTo>
                    <a:pt x="1890" y="154"/>
                    <a:pt x="1894" y="148"/>
                    <a:pt x="1900" y="144"/>
                  </a:cubicBezTo>
                  <a:cubicBezTo>
                    <a:pt x="1905" y="143"/>
                    <a:pt x="1905" y="145"/>
                    <a:pt x="1906" y="148"/>
                  </a:cubicBezTo>
                  <a:cubicBezTo>
                    <a:pt x="1910" y="146"/>
                    <a:pt x="1911" y="141"/>
                    <a:pt x="1919" y="141"/>
                  </a:cubicBezTo>
                  <a:cubicBezTo>
                    <a:pt x="1921" y="148"/>
                    <a:pt x="1912" y="147"/>
                    <a:pt x="1911" y="153"/>
                  </a:cubicBezTo>
                  <a:cubicBezTo>
                    <a:pt x="1914" y="155"/>
                    <a:pt x="1912" y="162"/>
                    <a:pt x="1919" y="160"/>
                  </a:cubicBezTo>
                  <a:cubicBezTo>
                    <a:pt x="1919" y="168"/>
                    <a:pt x="1910" y="155"/>
                    <a:pt x="1911" y="162"/>
                  </a:cubicBezTo>
                  <a:cubicBezTo>
                    <a:pt x="1900" y="162"/>
                    <a:pt x="1915" y="150"/>
                    <a:pt x="1900" y="151"/>
                  </a:cubicBezTo>
                  <a:close/>
                  <a:moveTo>
                    <a:pt x="1908" y="310"/>
                  </a:moveTo>
                  <a:cubicBezTo>
                    <a:pt x="1909" y="307"/>
                    <a:pt x="1913" y="307"/>
                    <a:pt x="1914" y="303"/>
                  </a:cubicBezTo>
                  <a:cubicBezTo>
                    <a:pt x="1921" y="304"/>
                    <a:pt x="1914" y="312"/>
                    <a:pt x="1908" y="310"/>
                  </a:cubicBezTo>
                  <a:close/>
                  <a:moveTo>
                    <a:pt x="1915" y="235"/>
                  </a:moveTo>
                  <a:cubicBezTo>
                    <a:pt x="1917" y="233"/>
                    <a:pt x="1920" y="231"/>
                    <a:pt x="1923" y="230"/>
                  </a:cubicBezTo>
                  <a:cubicBezTo>
                    <a:pt x="1923" y="227"/>
                    <a:pt x="1917" y="228"/>
                    <a:pt x="1912" y="228"/>
                  </a:cubicBezTo>
                  <a:cubicBezTo>
                    <a:pt x="1919" y="222"/>
                    <a:pt x="1906" y="222"/>
                    <a:pt x="1909" y="212"/>
                  </a:cubicBezTo>
                  <a:cubicBezTo>
                    <a:pt x="1918" y="212"/>
                    <a:pt x="1913" y="223"/>
                    <a:pt x="1918" y="226"/>
                  </a:cubicBezTo>
                  <a:cubicBezTo>
                    <a:pt x="1923" y="224"/>
                    <a:pt x="1923" y="218"/>
                    <a:pt x="1929" y="223"/>
                  </a:cubicBezTo>
                  <a:cubicBezTo>
                    <a:pt x="1928" y="232"/>
                    <a:pt x="1922" y="232"/>
                    <a:pt x="1926" y="240"/>
                  </a:cubicBezTo>
                  <a:cubicBezTo>
                    <a:pt x="1922" y="239"/>
                    <a:pt x="1924" y="232"/>
                    <a:pt x="1915" y="235"/>
                  </a:cubicBezTo>
                  <a:close/>
                  <a:moveTo>
                    <a:pt x="1930" y="287"/>
                  </a:moveTo>
                  <a:cubicBezTo>
                    <a:pt x="1923" y="294"/>
                    <a:pt x="1917" y="280"/>
                    <a:pt x="1930" y="287"/>
                  </a:cubicBezTo>
                  <a:close/>
                  <a:moveTo>
                    <a:pt x="1918" y="219"/>
                  </a:moveTo>
                  <a:cubicBezTo>
                    <a:pt x="1915" y="212"/>
                    <a:pt x="1924" y="214"/>
                    <a:pt x="1929" y="214"/>
                  </a:cubicBezTo>
                  <a:cubicBezTo>
                    <a:pt x="1929" y="210"/>
                    <a:pt x="1926" y="208"/>
                    <a:pt x="1923" y="207"/>
                  </a:cubicBezTo>
                  <a:cubicBezTo>
                    <a:pt x="1923" y="204"/>
                    <a:pt x="1928" y="205"/>
                    <a:pt x="1931" y="204"/>
                  </a:cubicBezTo>
                  <a:cubicBezTo>
                    <a:pt x="1930" y="209"/>
                    <a:pt x="1933" y="210"/>
                    <a:pt x="1934" y="214"/>
                  </a:cubicBezTo>
                  <a:cubicBezTo>
                    <a:pt x="1936" y="216"/>
                    <a:pt x="1940" y="216"/>
                    <a:pt x="1940" y="221"/>
                  </a:cubicBezTo>
                  <a:cubicBezTo>
                    <a:pt x="1936" y="217"/>
                    <a:pt x="1926" y="219"/>
                    <a:pt x="1918" y="219"/>
                  </a:cubicBezTo>
                  <a:close/>
                  <a:moveTo>
                    <a:pt x="1943" y="258"/>
                  </a:moveTo>
                  <a:cubicBezTo>
                    <a:pt x="1938" y="258"/>
                    <a:pt x="1937" y="254"/>
                    <a:pt x="1937" y="249"/>
                  </a:cubicBezTo>
                  <a:cubicBezTo>
                    <a:pt x="1946" y="246"/>
                    <a:pt x="1942" y="254"/>
                    <a:pt x="1943" y="258"/>
                  </a:cubicBezTo>
                  <a:close/>
                  <a:moveTo>
                    <a:pt x="1945" y="216"/>
                  </a:moveTo>
                  <a:cubicBezTo>
                    <a:pt x="1947" y="214"/>
                    <a:pt x="1948" y="212"/>
                    <a:pt x="1948" y="209"/>
                  </a:cubicBezTo>
                  <a:cubicBezTo>
                    <a:pt x="1951" y="209"/>
                    <a:pt x="1950" y="213"/>
                    <a:pt x="1953" y="213"/>
                  </a:cubicBezTo>
                  <a:cubicBezTo>
                    <a:pt x="1954" y="215"/>
                    <a:pt x="1952" y="215"/>
                    <a:pt x="1951" y="216"/>
                  </a:cubicBezTo>
                  <a:cubicBezTo>
                    <a:pt x="1949" y="216"/>
                    <a:pt x="1947" y="216"/>
                    <a:pt x="1945" y="216"/>
                  </a:cubicBezTo>
                  <a:close/>
                  <a:moveTo>
                    <a:pt x="1948" y="225"/>
                  </a:moveTo>
                  <a:cubicBezTo>
                    <a:pt x="1948" y="224"/>
                    <a:pt x="1948" y="222"/>
                    <a:pt x="1948" y="220"/>
                  </a:cubicBezTo>
                  <a:cubicBezTo>
                    <a:pt x="1953" y="220"/>
                    <a:pt x="1957" y="221"/>
                    <a:pt x="1956" y="225"/>
                  </a:cubicBezTo>
                  <a:cubicBezTo>
                    <a:pt x="1954" y="225"/>
                    <a:pt x="1951" y="225"/>
                    <a:pt x="1948" y="225"/>
                  </a:cubicBezTo>
                  <a:close/>
                  <a:moveTo>
                    <a:pt x="2054" y="169"/>
                  </a:moveTo>
                  <a:cubicBezTo>
                    <a:pt x="2050" y="171"/>
                    <a:pt x="2055" y="181"/>
                    <a:pt x="2046" y="179"/>
                  </a:cubicBezTo>
                  <a:cubicBezTo>
                    <a:pt x="2045" y="173"/>
                    <a:pt x="2047" y="169"/>
                    <a:pt x="2054" y="169"/>
                  </a:cubicBezTo>
                  <a:close/>
                  <a:moveTo>
                    <a:pt x="1985" y="145"/>
                  </a:moveTo>
                  <a:cubicBezTo>
                    <a:pt x="1984" y="151"/>
                    <a:pt x="1981" y="141"/>
                    <a:pt x="1977" y="142"/>
                  </a:cubicBezTo>
                  <a:cubicBezTo>
                    <a:pt x="1979" y="135"/>
                    <a:pt x="1982" y="145"/>
                    <a:pt x="1985" y="145"/>
                  </a:cubicBezTo>
                  <a:close/>
                  <a:moveTo>
                    <a:pt x="1985" y="274"/>
                  </a:moveTo>
                  <a:cubicBezTo>
                    <a:pt x="1984" y="278"/>
                    <a:pt x="1981" y="272"/>
                    <a:pt x="1982" y="269"/>
                  </a:cubicBezTo>
                  <a:cubicBezTo>
                    <a:pt x="1983" y="265"/>
                    <a:pt x="1985" y="271"/>
                    <a:pt x="1985" y="274"/>
                  </a:cubicBezTo>
                  <a:close/>
                  <a:moveTo>
                    <a:pt x="1979" y="255"/>
                  </a:moveTo>
                  <a:cubicBezTo>
                    <a:pt x="1978" y="250"/>
                    <a:pt x="1981" y="248"/>
                    <a:pt x="1987" y="248"/>
                  </a:cubicBezTo>
                  <a:cubicBezTo>
                    <a:pt x="1984" y="250"/>
                    <a:pt x="1986" y="257"/>
                    <a:pt x="1979" y="255"/>
                  </a:cubicBezTo>
                  <a:close/>
                  <a:moveTo>
                    <a:pt x="1998" y="252"/>
                  </a:moveTo>
                  <a:cubicBezTo>
                    <a:pt x="1993" y="260"/>
                    <a:pt x="1990" y="247"/>
                    <a:pt x="1990" y="243"/>
                  </a:cubicBezTo>
                  <a:cubicBezTo>
                    <a:pt x="1993" y="243"/>
                    <a:pt x="1991" y="241"/>
                    <a:pt x="1989" y="241"/>
                  </a:cubicBezTo>
                  <a:cubicBezTo>
                    <a:pt x="1989" y="239"/>
                    <a:pt x="1991" y="239"/>
                    <a:pt x="1992" y="238"/>
                  </a:cubicBezTo>
                  <a:cubicBezTo>
                    <a:pt x="1994" y="238"/>
                    <a:pt x="1996" y="238"/>
                    <a:pt x="1998" y="238"/>
                  </a:cubicBezTo>
                  <a:cubicBezTo>
                    <a:pt x="2001" y="245"/>
                    <a:pt x="1993" y="252"/>
                    <a:pt x="1998" y="252"/>
                  </a:cubicBezTo>
                  <a:close/>
                  <a:moveTo>
                    <a:pt x="1999" y="285"/>
                  </a:moveTo>
                  <a:cubicBezTo>
                    <a:pt x="2002" y="279"/>
                    <a:pt x="2005" y="276"/>
                    <a:pt x="2001" y="269"/>
                  </a:cubicBezTo>
                  <a:cubicBezTo>
                    <a:pt x="2009" y="268"/>
                    <a:pt x="2004" y="278"/>
                    <a:pt x="2009" y="278"/>
                  </a:cubicBezTo>
                  <a:cubicBezTo>
                    <a:pt x="2009" y="281"/>
                    <a:pt x="2007" y="279"/>
                    <a:pt x="2007" y="278"/>
                  </a:cubicBezTo>
                  <a:cubicBezTo>
                    <a:pt x="2000" y="277"/>
                    <a:pt x="2008" y="289"/>
                    <a:pt x="1999" y="285"/>
                  </a:cubicBezTo>
                  <a:close/>
                  <a:moveTo>
                    <a:pt x="2001" y="297"/>
                  </a:moveTo>
                  <a:cubicBezTo>
                    <a:pt x="2005" y="293"/>
                    <a:pt x="2007" y="288"/>
                    <a:pt x="2015" y="287"/>
                  </a:cubicBezTo>
                  <a:cubicBezTo>
                    <a:pt x="2012" y="291"/>
                    <a:pt x="2009" y="297"/>
                    <a:pt x="2001" y="297"/>
                  </a:cubicBezTo>
                  <a:close/>
                  <a:moveTo>
                    <a:pt x="2017" y="266"/>
                  </a:moveTo>
                  <a:cubicBezTo>
                    <a:pt x="2018" y="261"/>
                    <a:pt x="2025" y="261"/>
                    <a:pt x="2028" y="264"/>
                  </a:cubicBezTo>
                  <a:cubicBezTo>
                    <a:pt x="2028" y="267"/>
                    <a:pt x="2021" y="266"/>
                    <a:pt x="2017" y="266"/>
                  </a:cubicBezTo>
                  <a:close/>
                  <a:moveTo>
                    <a:pt x="2042" y="254"/>
                  </a:moveTo>
                  <a:cubicBezTo>
                    <a:pt x="2042" y="252"/>
                    <a:pt x="2042" y="251"/>
                    <a:pt x="2042" y="249"/>
                  </a:cubicBezTo>
                  <a:cubicBezTo>
                    <a:pt x="2044" y="249"/>
                    <a:pt x="2045" y="249"/>
                    <a:pt x="2047" y="249"/>
                  </a:cubicBezTo>
                  <a:cubicBezTo>
                    <a:pt x="2047" y="251"/>
                    <a:pt x="2047" y="252"/>
                    <a:pt x="2047" y="254"/>
                  </a:cubicBezTo>
                  <a:cubicBezTo>
                    <a:pt x="2046" y="254"/>
                    <a:pt x="2044" y="254"/>
                    <a:pt x="2042" y="254"/>
                  </a:cubicBezTo>
                  <a:close/>
                  <a:moveTo>
                    <a:pt x="2044" y="221"/>
                  </a:moveTo>
                  <a:cubicBezTo>
                    <a:pt x="2044" y="219"/>
                    <a:pt x="2044" y="216"/>
                    <a:pt x="2044" y="214"/>
                  </a:cubicBezTo>
                  <a:cubicBezTo>
                    <a:pt x="2038" y="213"/>
                    <a:pt x="2039" y="217"/>
                    <a:pt x="2039" y="221"/>
                  </a:cubicBezTo>
                  <a:cubicBezTo>
                    <a:pt x="2034" y="222"/>
                    <a:pt x="2025" y="219"/>
                    <a:pt x="2028" y="226"/>
                  </a:cubicBezTo>
                  <a:cubicBezTo>
                    <a:pt x="2018" y="222"/>
                    <a:pt x="2031" y="219"/>
                    <a:pt x="2033" y="217"/>
                  </a:cubicBezTo>
                  <a:cubicBezTo>
                    <a:pt x="2032" y="211"/>
                    <a:pt x="2021" y="216"/>
                    <a:pt x="2016" y="214"/>
                  </a:cubicBezTo>
                  <a:cubicBezTo>
                    <a:pt x="2013" y="222"/>
                    <a:pt x="2025" y="216"/>
                    <a:pt x="2022" y="224"/>
                  </a:cubicBezTo>
                  <a:cubicBezTo>
                    <a:pt x="2018" y="224"/>
                    <a:pt x="2014" y="224"/>
                    <a:pt x="2014" y="226"/>
                  </a:cubicBezTo>
                  <a:cubicBezTo>
                    <a:pt x="2011" y="226"/>
                    <a:pt x="2012" y="222"/>
                    <a:pt x="2008" y="222"/>
                  </a:cubicBezTo>
                  <a:cubicBezTo>
                    <a:pt x="2001" y="221"/>
                    <a:pt x="2016" y="231"/>
                    <a:pt x="2003" y="229"/>
                  </a:cubicBezTo>
                  <a:cubicBezTo>
                    <a:pt x="2001" y="236"/>
                    <a:pt x="2007" y="235"/>
                    <a:pt x="2006" y="241"/>
                  </a:cubicBezTo>
                  <a:cubicBezTo>
                    <a:pt x="1999" y="239"/>
                    <a:pt x="1997" y="231"/>
                    <a:pt x="2000" y="227"/>
                  </a:cubicBezTo>
                  <a:cubicBezTo>
                    <a:pt x="2001" y="226"/>
                    <a:pt x="2006" y="227"/>
                    <a:pt x="2006" y="226"/>
                  </a:cubicBezTo>
                  <a:cubicBezTo>
                    <a:pt x="2006" y="224"/>
                    <a:pt x="1999" y="222"/>
                    <a:pt x="2006" y="217"/>
                  </a:cubicBezTo>
                  <a:cubicBezTo>
                    <a:pt x="2005" y="214"/>
                    <a:pt x="1999" y="215"/>
                    <a:pt x="1994" y="215"/>
                  </a:cubicBezTo>
                  <a:cubicBezTo>
                    <a:pt x="1987" y="217"/>
                    <a:pt x="1992" y="218"/>
                    <a:pt x="1992" y="224"/>
                  </a:cubicBezTo>
                  <a:cubicBezTo>
                    <a:pt x="1983" y="227"/>
                    <a:pt x="1988" y="217"/>
                    <a:pt x="1984" y="215"/>
                  </a:cubicBezTo>
                  <a:cubicBezTo>
                    <a:pt x="1976" y="215"/>
                    <a:pt x="1980" y="222"/>
                    <a:pt x="1978" y="225"/>
                  </a:cubicBezTo>
                  <a:cubicBezTo>
                    <a:pt x="1978" y="225"/>
                    <a:pt x="1973" y="224"/>
                    <a:pt x="1973" y="225"/>
                  </a:cubicBezTo>
                  <a:cubicBezTo>
                    <a:pt x="1971" y="226"/>
                    <a:pt x="1974" y="230"/>
                    <a:pt x="1973" y="232"/>
                  </a:cubicBezTo>
                  <a:cubicBezTo>
                    <a:pt x="1967" y="230"/>
                    <a:pt x="1967" y="228"/>
                    <a:pt x="1970" y="225"/>
                  </a:cubicBezTo>
                  <a:cubicBezTo>
                    <a:pt x="1965" y="224"/>
                    <a:pt x="1965" y="227"/>
                    <a:pt x="1965" y="230"/>
                  </a:cubicBezTo>
                  <a:cubicBezTo>
                    <a:pt x="1961" y="229"/>
                    <a:pt x="1962" y="224"/>
                    <a:pt x="1962" y="220"/>
                  </a:cubicBezTo>
                  <a:cubicBezTo>
                    <a:pt x="1966" y="220"/>
                    <a:pt x="1971" y="220"/>
                    <a:pt x="1975" y="220"/>
                  </a:cubicBezTo>
                  <a:cubicBezTo>
                    <a:pt x="1976" y="214"/>
                    <a:pt x="1960" y="222"/>
                    <a:pt x="1964" y="213"/>
                  </a:cubicBezTo>
                  <a:cubicBezTo>
                    <a:pt x="1974" y="212"/>
                    <a:pt x="1988" y="216"/>
                    <a:pt x="1986" y="206"/>
                  </a:cubicBezTo>
                  <a:cubicBezTo>
                    <a:pt x="1992" y="205"/>
                    <a:pt x="1995" y="207"/>
                    <a:pt x="1994" y="213"/>
                  </a:cubicBezTo>
                  <a:cubicBezTo>
                    <a:pt x="2004" y="211"/>
                    <a:pt x="2003" y="210"/>
                    <a:pt x="2011" y="212"/>
                  </a:cubicBezTo>
                  <a:cubicBezTo>
                    <a:pt x="2015" y="211"/>
                    <a:pt x="2010" y="209"/>
                    <a:pt x="2011" y="205"/>
                  </a:cubicBezTo>
                  <a:cubicBezTo>
                    <a:pt x="2018" y="204"/>
                    <a:pt x="2021" y="206"/>
                    <a:pt x="2019" y="212"/>
                  </a:cubicBezTo>
                  <a:cubicBezTo>
                    <a:pt x="2024" y="212"/>
                    <a:pt x="2026" y="210"/>
                    <a:pt x="2027" y="207"/>
                  </a:cubicBezTo>
                  <a:cubicBezTo>
                    <a:pt x="2031" y="208"/>
                    <a:pt x="2032" y="211"/>
                    <a:pt x="2036" y="212"/>
                  </a:cubicBezTo>
                  <a:cubicBezTo>
                    <a:pt x="2039" y="212"/>
                    <a:pt x="2037" y="210"/>
                    <a:pt x="2038" y="209"/>
                  </a:cubicBezTo>
                  <a:cubicBezTo>
                    <a:pt x="2041" y="209"/>
                    <a:pt x="2045" y="214"/>
                    <a:pt x="2047" y="207"/>
                  </a:cubicBezTo>
                  <a:cubicBezTo>
                    <a:pt x="2051" y="208"/>
                    <a:pt x="2049" y="214"/>
                    <a:pt x="2058" y="211"/>
                  </a:cubicBezTo>
                  <a:cubicBezTo>
                    <a:pt x="2066" y="214"/>
                    <a:pt x="2050" y="214"/>
                    <a:pt x="2047" y="214"/>
                  </a:cubicBezTo>
                  <a:cubicBezTo>
                    <a:pt x="2047" y="220"/>
                    <a:pt x="2057" y="218"/>
                    <a:pt x="2060" y="221"/>
                  </a:cubicBezTo>
                  <a:cubicBezTo>
                    <a:pt x="2057" y="225"/>
                    <a:pt x="2054" y="221"/>
                    <a:pt x="2044" y="221"/>
                  </a:cubicBezTo>
                  <a:close/>
                  <a:moveTo>
                    <a:pt x="2063" y="221"/>
                  </a:moveTo>
                  <a:cubicBezTo>
                    <a:pt x="2063" y="218"/>
                    <a:pt x="2067" y="219"/>
                    <a:pt x="2069" y="218"/>
                  </a:cubicBezTo>
                  <a:cubicBezTo>
                    <a:pt x="2069" y="214"/>
                    <a:pt x="2069" y="210"/>
                    <a:pt x="2068" y="207"/>
                  </a:cubicBezTo>
                  <a:cubicBezTo>
                    <a:pt x="2080" y="203"/>
                    <a:pt x="2069" y="219"/>
                    <a:pt x="2077" y="218"/>
                  </a:cubicBezTo>
                  <a:cubicBezTo>
                    <a:pt x="2077" y="223"/>
                    <a:pt x="2067" y="219"/>
                    <a:pt x="2063" y="221"/>
                  </a:cubicBezTo>
                  <a:close/>
                  <a:moveTo>
                    <a:pt x="2074" y="239"/>
                  </a:moveTo>
                  <a:cubicBezTo>
                    <a:pt x="2073" y="239"/>
                    <a:pt x="2071" y="239"/>
                    <a:pt x="2069" y="239"/>
                  </a:cubicBezTo>
                  <a:cubicBezTo>
                    <a:pt x="2069" y="237"/>
                    <a:pt x="2069" y="235"/>
                    <a:pt x="2069" y="232"/>
                  </a:cubicBezTo>
                  <a:cubicBezTo>
                    <a:pt x="2073" y="232"/>
                    <a:pt x="2074" y="235"/>
                    <a:pt x="2077" y="235"/>
                  </a:cubicBezTo>
                  <a:cubicBezTo>
                    <a:pt x="2077" y="237"/>
                    <a:pt x="2074" y="237"/>
                    <a:pt x="2074" y="239"/>
                  </a:cubicBezTo>
                  <a:close/>
                  <a:moveTo>
                    <a:pt x="2200" y="66"/>
                  </a:moveTo>
                  <a:cubicBezTo>
                    <a:pt x="2203" y="68"/>
                    <a:pt x="2211" y="66"/>
                    <a:pt x="2209" y="72"/>
                  </a:cubicBezTo>
                  <a:cubicBezTo>
                    <a:pt x="2206" y="70"/>
                    <a:pt x="2199" y="72"/>
                    <a:pt x="2200" y="66"/>
                  </a:cubicBezTo>
                  <a:close/>
                  <a:moveTo>
                    <a:pt x="2184" y="71"/>
                  </a:moveTo>
                  <a:cubicBezTo>
                    <a:pt x="2184" y="72"/>
                    <a:pt x="2184" y="74"/>
                    <a:pt x="2184" y="75"/>
                  </a:cubicBezTo>
                  <a:cubicBezTo>
                    <a:pt x="2182" y="75"/>
                    <a:pt x="2180" y="75"/>
                    <a:pt x="2179" y="75"/>
                  </a:cubicBezTo>
                  <a:cubicBezTo>
                    <a:pt x="2179" y="74"/>
                    <a:pt x="2179" y="72"/>
                    <a:pt x="2179" y="71"/>
                  </a:cubicBezTo>
                  <a:cubicBezTo>
                    <a:pt x="2180" y="71"/>
                    <a:pt x="2182" y="71"/>
                    <a:pt x="2184" y="71"/>
                  </a:cubicBezTo>
                  <a:close/>
                  <a:moveTo>
                    <a:pt x="2180" y="132"/>
                  </a:moveTo>
                  <a:cubicBezTo>
                    <a:pt x="2179" y="136"/>
                    <a:pt x="2175" y="141"/>
                    <a:pt x="2174" y="144"/>
                  </a:cubicBezTo>
                  <a:cubicBezTo>
                    <a:pt x="2172" y="142"/>
                    <a:pt x="2170" y="141"/>
                    <a:pt x="2166" y="141"/>
                  </a:cubicBezTo>
                  <a:cubicBezTo>
                    <a:pt x="2162" y="135"/>
                    <a:pt x="2171" y="136"/>
                    <a:pt x="2171" y="132"/>
                  </a:cubicBezTo>
                  <a:cubicBezTo>
                    <a:pt x="2172" y="129"/>
                    <a:pt x="2177" y="130"/>
                    <a:pt x="2180" y="129"/>
                  </a:cubicBezTo>
                  <a:cubicBezTo>
                    <a:pt x="2180" y="127"/>
                    <a:pt x="2178" y="127"/>
                    <a:pt x="2177" y="127"/>
                  </a:cubicBezTo>
                  <a:cubicBezTo>
                    <a:pt x="2185" y="120"/>
                    <a:pt x="2181" y="128"/>
                    <a:pt x="2180" y="132"/>
                  </a:cubicBezTo>
                  <a:close/>
                  <a:moveTo>
                    <a:pt x="2183" y="174"/>
                  </a:moveTo>
                  <a:cubicBezTo>
                    <a:pt x="2180" y="173"/>
                    <a:pt x="2179" y="170"/>
                    <a:pt x="2175" y="169"/>
                  </a:cubicBezTo>
                  <a:cubicBezTo>
                    <a:pt x="2175" y="167"/>
                    <a:pt x="2178" y="168"/>
                    <a:pt x="2178" y="169"/>
                  </a:cubicBezTo>
                  <a:cubicBezTo>
                    <a:pt x="2180" y="169"/>
                    <a:pt x="2180" y="166"/>
                    <a:pt x="2180" y="165"/>
                  </a:cubicBezTo>
                  <a:cubicBezTo>
                    <a:pt x="2184" y="165"/>
                    <a:pt x="2183" y="170"/>
                    <a:pt x="2183" y="174"/>
                  </a:cubicBezTo>
                  <a:close/>
                  <a:moveTo>
                    <a:pt x="2177" y="120"/>
                  </a:moveTo>
                  <a:cubicBezTo>
                    <a:pt x="2176" y="125"/>
                    <a:pt x="2164" y="121"/>
                    <a:pt x="2166" y="116"/>
                  </a:cubicBezTo>
                  <a:cubicBezTo>
                    <a:pt x="2173" y="114"/>
                    <a:pt x="2171" y="120"/>
                    <a:pt x="2177" y="120"/>
                  </a:cubicBezTo>
                  <a:close/>
                  <a:moveTo>
                    <a:pt x="2166" y="108"/>
                  </a:moveTo>
                  <a:cubicBezTo>
                    <a:pt x="2166" y="108"/>
                    <a:pt x="2168" y="109"/>
                    <a:pt x="2168" y="108"/>
                  </a:cubicBezTo>
                  <a:cubicBezTo>
                    <a:pt x="2169" y="108"/>
                    <a:pt x="2169" y="102"/>
                    <a:pt x="2171" y="104"/>
                  </a:cubicBezTo>
                  <a:cubicBezTo>
                    <a:pt x="2179" y="111"/>
                    <a:pt x="2155" y="110"/>
                    <a:pt x="2166" y="108"/>
                  </a:cubicBezTo>
                  <a:close/>
                  <a:moveTo>
                    <a:pt x="2177" y="146"/>
                  </a:moveTo>
                  <a:cubicBezTo>
                    <a:pt x="2172" y="149"/>
                    <a:pt x="2177" y="160"/>
                    <a:pt x="2169" y="160"/>
                  </a:cubicBezTo>
                  <a:cubicBezTo>
                    <a:pt x="2171" y="162"/>
                    <a:pt x="2172" y="164"/>
                    <a:pt x="2172" y="167"/>
                  </a:cubicBezTo>
                  <a:cubicBezTo>
                    <a:pt x="2164" y="171"/>
                    <a:pt x="2163" y="152"/>
                    <a:pt x="2172" y="155"/>
                  </a:cubicBezTo>
                  <a:cubicBezTo>
                    <a:pt x="2171" y="151"/>
                    <a:pt x="2167" y="150"/>
                    <a:pt x="2161" y="151"/>
                  </a:cubicBezTo>
                  <a:cubicBezTo>
                    <a:pt x="2164" y="147"/>
                    <a:pt x="2170" y="146"/>
                    <a:pt x="2177" y="146"/>
                  </a:cubicBezTo>
                  <a:close/>
                  <a:moveTo>
                    <a:pt x="2164" y="205"/>
                  </a:moveTo>
                  <a:cubicBezTo>
                    <a:pt x="2165" y="200"/>
                    <a:pt x="2174" y="207"/>
                    <a:pt x="2173" y="212"/>
                  </a:cubicBezTo>
                  <a:cubicBezTo>
                    <a:pt x="2170" y="212"/>
                    <a:pt x="2167" y="212"/>
                    <a:pt x="2165" y="212"/>
                  </a:cubicBezTo>
                  <a:cubicBezTo>
                    <a:pt x="2166" y="210"/>
                    <a:pt x="2169" y="205"/>
                    <a:pt x="2164" y="205"/>
                  </a:cubicBezTo>
                  <a:close/>
                  <a:moveTo>
                    <a:pt x="2164" y="186"/>
                  </a:moveTo>
                  <a:cubicBezTo>
                    <a:pt x="2166" y="173"/>
                    <a:pt x="2181" y="193"/>
                    <a:pt x="2167" y="193"/>
                  </a:cubicBezTo>
                  <a:cubicBezTo>
                    <a:pt x="2167" y="191"/>
                    <a:pt x="2170" y="191"/>
                    <a:pt x="2170" y="188"/>
                  </a:cubicBezTo>
                  <a:cubicBezTo>
                    <a:pt x="2170" y="186"/>
                    <a:pt x="2166" y="187"/>
                    <a:pt x="2164" y="186"/>
                  </a:cubicBezTo>
                  <a:close/>
                  <a:moveTo>
                    <a:pt x="2154" y="99"/>
                  </a:moveTo>
                  <a:cubicBezTo>
                    <a:pt x="2166" y="98"/>
                    <a:pt x="2156" y="104"/>
                    <a:pt x="2157" y="109"/>
                  </a:cubicBezTo>
                  <a:cubicBezTo>
                    <a:pt x="2149" y="108"/>
                    <a:pt x="2150" y="117"/>
                    <a:pt x="2144" y="111"/>
                  </a:cubicBezTo>
                  <a:cubicBezTo>
                    <a:pt x="2145" y="106"/>
                    <a:pt x="2158" y="109"/>
                    <a:pt x="2154" y="99"/>
                  </a:cubicBezTo>
                  <a:close/>
                  <a:moveTo>
                    <a:pt x="2159" y="207"/>
                  </a:moveTo>
                  <a:cubicBezTo>
                    <a:pt x="2146" y="210"/>
                    <a:pt x="2154" y="195"/>
                    <a:pt x="2159" y="203"/>
                  </a:cubicBezTo>
                  <a:cubicBezTo>
                    <a:pt x="2159" y="204"/>
                    <a:pt x="2159" y="206"/>
                    <a:pt x="2159" y="207"/>
                  </a:cubicBezTo>
                  <a:close/>
                  <a:moveTo>
                    <a:pt x="2141" y="130"/>
                  </a:moveTo>
                  <a:cubicBezTo>
                    <a:pt x="2150" y="127"/>
                    <a:pt x="2143" y="138"/>
                    <a:pt x="2152" y="135"/>
                  </a:cubicBezTo>
                  <a:cubicBezTo>
                    <a:pt x="2150" y="139"/>
                    <a:pt x="2147" y="143"/>
                    <a:pt x="2139" y="142"/>
                  </a:cubicBezTo>
                  <a:cubicBezTo>
                    <a:pt x="2137" y="136"/>
                    <a:pt x="2144" y="137"/>
                    <a:pt x="2141" y="130"/>
                  </a:cubicBezTo>
                  <a:close/>
                  <a:moveTo>
                    <a:pt x="2115" y="189"/>
                  </a:moveTo>
                  <a:cubicBezTo>
                    <a:pt x="2120" y="183"/>
                    <a:pt x="2127" y="192"/>
                    <a:pt x="2134" y="187"/>
                  </a:cubicBezTo>
                  <a:cubicBezTo>
                    <a:pt x="2135" y="195"/>
                    <a:pt x="2119" y="190"/>
                    <a:pt x="2115" y="194"/>
                  </a:cubicBezTo>
                  <a:cubicBezTo>
                    <a:pt x="2117" y="192"/>
                    <a:pt x="2118" y="190"/>
                    <a:pt x="2115" y="189"/>
                  </a:cubicBezTo>
                  <a:close/>
                  <a:moveTo>
                    <a:pt x="2128" y="140"/>
                  </a:moveTo>
                  <a:cubicBezTo>
                    <a:pt x="2125" y="148"/>
                    <a:pt x="2122" y="137"/>
                    <a:pt x="2119" y="138"/>
                  </a:cubicBezTo>
                  <a:cubicBezTo>
                    <a:pt x="2114" y="135"/>
                    <a:pt x="2116" y="142"/>
                    <a:pt x="2114" y="142"/>
                  </a:cubicBezTo>
                  <a:cubicBezTo>
                    <a:pt x="2112" y="143"/>
                    <a:pt x="2108" y="139"/>
                    <a:pt x="2103" y="142"/>
                  </a:cubicBezTo>
                  <a:cubicBezTo>
                    <a:pt x="2103" y="140"/>
                    <a:pt x="2103" y="138"/>
                    <a:pt x="2103" y="135"/>
                  </a:cubicBezTo>
                  <a:cubicBezTo>
                    <a:pt x="2114" y="137"/>
                    <a:pt x="2112" y="136"/>
                    <a:pt x="2125" y="135"/>
                  </a:cubicBezTo>
                  <a:cubicBezTo>
                    <a:pt x="2124" y="138"/>
                    <a:pt x="2126" y="139"/>
                    <a:pt x="2128" y="140"/>
                  </a:cubicBezTo>
                  <a:close/>
                  <a:moveTo>
                    <a:pt x="2130" y="107"/>
                  </a:moveTo>
                  <a:cubicBezTo>
                    <a:pt x="2124" y="116"/>
                    <a:pt x="2136" y="115"/>
                    <a:pt x="2133" y="128"/>
                  </a:cubicBezTo>
                  <a:cubicBezTo>
                    <a:pt x="2130" y="128"/>
                    <a:pt x="2131" y="124"/>
                    <a:pt x="2130" y="121"/>
                  </a:cubicBezTo>
                  <a:cubicBezTo>
                    <a:pt x="2129" y="118"/>
                    <a:pt x="2117" y="107"/>
                    <a:pt x="2130" y="107"/>
                  </a:cubicBezTo>
                  <a:close/>
                  <a:moveTo>
                    <a:pt x="2111" y="107"/>
                  </a:moveTo>
                  <a:cubicBezTo>
                    <a:pt x="2110" y="110"/>
                    <a:pt x="2099" y="112"/>
                    <a:pt x="2111" y="112"/>
                  </a:cubicBezTo>
                  <a:cubicBezTo>
                    <a:pt x="2110" y="115"/>
                    <a:pt x="2106" y="114"/>
                    <a:pt x="2102" y="114"/>
                  </a:cubicBezTo>
                  <a:cubicBezTo>
                    <a:pt x="2098" y="107"/>
                    <a:pt x="2103" y="102"/>
                    <a:pt x="2111" y="107"/>
                  </a:cubicBezTo>
                  <a:close/>
                  <a:moveTo>
                    <a:pt x="2088" y="251"/>
                  </a:moveTo>
                  <a:cubicBezTo>
                    <a:pt x="2084" y="249"/>
                    <a:pt x="2081" y="243"/>
                    <a:pt x="2085" y="239"/>
                  </a:cubicBezTo>
                  <a:cubicBezTo>
                    <a:pt x="2091" y="239"/>
                    <a:pt x="2087" y="247"/>
                    <a:pt x="2088" y="251"/>
                  </a:cubicBezTo>
                  <a:close/>
                  <a:moveTo>
                    <a:pt x="2085" y="227"/>
                  </a:moveTo>
                  <a:cubicBezTo>
                    <a:pt x="2075" y="221"/>
                    <a:pt x="2088" y="214"/>
                    <a:pt x="2082" y="204"/>
                  </a:cubicBezTo>
                  <a:cubicBezTo>
                    <a:pt x="2085" y="205"/>
                    <a:pt x="2085" y="209"/>
                    <a:pt x="2090" y="209"/>
                  </a:cubicBezTo>
                  <a:cubicBezTo>
                    <a:pt x="2090" y="216"/>
                    <a:pt x="2083" y="218"/>
                    <a:pt x="2085" y="227"/>
                  </a:cubicBezTo>
                  <a:close/>
                  <a:moveTo>
                    <a:pt x="2103" y="168"/>
                  </a:moveTo>
                  <a:cubicBezTo>
                    <a:pt x="2105" y="169"/>
                    <a:pt x="2096" y="175"/>
                    <a:pt x="2093" y="171"/>
                  </a:cubicBezTo>
                  <a:cubicBezTo>
                    <a:pt x="2092" y="169"/>
                    <a:pt x="2102" y="167"/>
                    <a:pt x="2103" y="168"/>
                  </a:cubicBezTo>
                  <a:close/>
                  <a:moveTo>
                    <a:pt x="2095" y="293"/>
                  </a:moveTo>
                  <a:cubicBezTo>
                    <a:pt x="2095" y="289"/>
                    <a:pt x="2104" y="291"/>
                    <a:pt x="2103" y="286"/>
                  </a:cubicBezTo>
                  <a:cubicBezTo>
                    <a:pt x="2107" y="287"/>
                    <a:pt x="2105" y="293"/>
                    <a:pt x="2114" y="290"/>
                  </a:cubicBezTo>
                  <a:cubicBezTo>
                    <a:pt x="2108" y="295"/>
                    <a:pt x="2101" y="295"/>
                    <a:pt x="2095" y="293"/>
                  </a:cubicBezTo>
                  <a:close/>
                  <a:moveTo>
                    <a:pt x="2094" y="270"/>
                  </a:moveTo>
                  <a:cubicBezTo>
                    <a:pt x="2095" y="265"/>
                    <a:pt x="2098" y="271"/>
                    <a:pt x="2097" y="274"/>
                  </a:cubicBezTo>
                  <a:cubicBezTo>
                    <a:pt x="2096" y="279"/>
                    <a:pt x="2094" y="273"/>
                    <a:pt x="2094" y="270"/>
                  </a:cubicBezTo>
                  <a:close/>
                  <a:moveTo>
                    <a:pt x="2102" y="225"/>
                  </a:moveTo>
                  <a:cubicBezTo>
                    <a:pt x="2094" y="222"/>
                    <a:pt x="2109" y="208"/>
                    <a:pt x="2102" y="225"/>
                  </a:cubicBezTo>
                  <a:close/>
                  <a:moveTo>
                    <a:pt x="2110" y="218"/>
                  </a:moveTo>
                  <a:cubicBezTo>
                    <a:pt x="2117" y="218"/>
                    <a:pt x="2111" y="226"/>
                    <a:pt x="2110" y="227"/>
                  </a:cubicBezTo>
                  <a:cubicBezTo>
                    <a:pt x="2102" y="226"/>
                    <a:pt x="2112" y="222"/>
                    <a:pt x="2110" y="218"/>
                  </a:cubicBezTo>
                  <a:close/>
                  <a:moveTo>
                    <a:pt x="2119" y="281"/>
                  </a:moveTo>
                  <a:cubicBezTo>
                    <a:pt x="2117" y="288"/>
                    <a:pt x="2115" y="277"/>
                    <a:pt x="2116" y="274"/>
                  </a:cubicBezTo>
                  <a:cubicBezTo>
                    <a:pt x="2113" y="277"/>
                    <a:pt x="2112" y="275"/>
                    <a:pt x="2108" y="274"/>
                  </a:cubicBezTo>
                  <a:cubicBezTo>
                    <a:pt x="2110" y="272"/>
                    <a:pt x="2114" y="271"/>
                    <a:pt x="2113" y="267"/>
                  </a:cubicBezTo>
                  <a:cubicBezTo>
                    <a:pt x="2118" y="269"/>
                    <a:pt x="2120" y="274"/>
                    <a:pt x="2119" y="281"/>
                  </a:cubicBezTo>
                  <a:close/>
                  <a:moveTo>
                    <a:pt x="2121" y="246"/>
                  </a:moveTo>
                  <a:cubicBezTo>
                    <a:pt x="2121" y="246"/>
                    <a:pt x="2116" y="243"/>
                    <a:pt x="2116" y="243"/>
                  </a:cubicBezTo>
                  <a:cubicBezTo>
                    <a:pt x="2116" y="240"/>
                    <a:pt x="2120" y="243"/>
                    <a:pt x="2121" y="241"/>
                  </a:cubicBezTo>
                  <a:cubicBezTo>
                    <a:pt x="2121" y="240"/>
                    <a:pt x="2122" y="234"/>
                    <a:pt x="2124" y="236"/>
                  </a:cubicBezTo>
                  <a:cubicBezTo>
                    <a:pt x="2124" y="237"/>
                    <a:pt x="2121" y="245"/>
                    <a:pt x="2121" y="246"/>
                  </a:cubicBezTo>
                  <a:close/>
                  <a:moveTo>
                    <a:pt x="2115" y="217"/>
                  </a:moveTo>
                  <a:cubicBezTo>
                    <a:pt x="2117" y="212"/>
                    <a:pt x="2129" y="216"/>
                    <a:pt x="2126" y="222"/>
                  </a:cubicBezTo>
                  <a:cubicBezTo>
                    <a:pt x="2122" y="221"/>
                    <a:pt x="2119" y="219"/>
                    <a:pt x="2115" y="217"/>
                  </a:cubicBezTo>
                  <a:close/>
                  <a:moveTo>
                    <a:pt x="2122" y="276"/>
                  </a:moveTo>
                  <a:cubicBezTo>
                    <a:pt x="2122" y="272"/>
                    <a:pt x="2126" y="271"/>
                    <a:pt x="2133" y="271"/>
                  </a:cubicBezTo>
                  <a:cubicBezTo>
                    <a:pt x="2132" y="275"/>
                    <a:pt x="2128" y="277"/>
                    <a:pt x="2122" y="276"/>
                  </a:cubicBezTo>
                  <a:close/>
                  <a:moveTo>
                    <a:pt x="2129" y="243"/>
                  </a:moveTo>
                  <a:cubicBezTo>
                    <a:pt x="2129" y="241"/>
                    <a:pt x="2129" y="240"/>
                    <a:pt x="2129" y="238"/>
                  </a:cubicBezTo>
                  <a:cubicBezTo>
                    <a:pt x="2131" y="238"/>
                    <a:pt x="2133" y="238"/>
                    <a:pt x="2135" y="238"/>
                  </a:cubicBezTo>
                  <a:cubicBezTo>
                    <a:pt x="2135" y="240"/>
                    <a:pt x="2135" y="241"/>
                    <a:pt x="2135" y="243"/>
                  </a:cubicBezTo>
                  <a:cubicBezTo>
                    <a:pt x="2133" y="243"/>
                    <a:pt x="2131" y="243"/>
                    <a:pt x="2129" y="243"/>
                  </a:cubicBezTo>
                  <a:close/>
                  <a:moveTo>
                    <a:pt x="2134" y="210"/>
                  </a:moveTo>
                  <a:cubicBezTo>
                    <a:pt x="2132" y="212"/>
                    <a:pt x="2130" y="212"/>
                    <a:pt x="2126" y="213"/>
                  </a:cubicBezTo>
                  <a:cubicBezTo>
                    <a:pt x="2126" y="213"/>
                    <a:pt x="2126" y="210"/>
                    <a:pt x="2126" y="210"/>
                  </a:cubicBezTo>
                  <a:cubicBezTo>
                    <a:pt x="2124" y="211"/>
                    <a:pt x="2124" y="213"/>
                    <a:pt x="2123" y="213"/>
                  </a:cubicBezTo>
                  <a:cubicBezTo>
                    <a:pt x="2121" y="213"/>
                    <a:pt x="2120" y="210"/>
                    <a:pt x="2121" y="210"/>
                  </a:cubicBezTo>
                  <a:cubicBezTo>
                    <a:pt x="2121" y="210"/>
                    <a:pt x="2113" y="212"/>
                    <a:pt x="2112" y="213"/>
                  </a:cubicBezTo>
                  <a:cubicBezTo>
                    <a:pt x="2110" y="215"/>
                    <a:pt x="2112" y="213"/>
                    <a:pt x="2101" y="213"/>
                  </a:cubicBezTo>
                  <a:cubicBezTo>
                    <a:pt x="2103" y="207"/>
                    <a:pt x="2100" y="205"/>
                    <a:pt x="2093" y="206"/>
                  </a:cubicBezTo>
                  <a:cubicBezTo>
                    <a:pt x="2092" y="203"/>
                    <a:pt x="2097" y="205"/>
                    <a:pt x="2099" y="204"/>
                  </a:cubicBezTo>
                  <a:cubicBezTo>
                    <a:pt x="2103" y="199"/>
                    <a:pt x="2097" y="191"/>
                    <a:pt x="2107" y="192"/>
                  </a:cubicBezTo>
                  <a:cubicBezTo>
                    <a:pt x="2101" y="197"/>
                    <a:pt x="2105" y="205"/>
                    <a:pt x="2107" y="211"/>
                  </a:cubicBezTo>
                  <a:cubicBezTo>
                    <a:pt x="2112" y="208"/>
                    <a:pt x="2122" y="210"/>
                    <a:pt x="2121" y="203"/>
                  </a:cubicBezTo>
                  <a:cubicBezTo>
                    <a:pt x="2123" y="205"/>
                    <a:pt x="2125" y="207"/>
                    <a:pt x="2126" y="210"/>
                  </a:cubicBezTo>
                  <a:cubicBezTo>
                    <a:pt x="2130" y="206"/>
                    <a:pt x="2135" y="204"/>
                    <a:pt x="2134" y="196"/>
                  </a:cubicBezTo>
                  <a:cubicBezTo>
                    <a:pt x="2138" y="196"/>
                    <a:pt x="2135" y="203"/>
                    <a:pt x="2140" y="203"/>
                  </a:cubicBezTo>
                  <a:cubicBezTo>
                    <a:pt x="2138" y="205"/>
                    <a:pt x="2133" y="206"/>
                    <a:pt x="2134" y="210"/>
                  </a:cubicBezTo>
                  <a:close/>
                  <a:moveTo>
                    <a:pt x="2144" y="285"/>
                  </a:moveTo>
                  <a:cubicBezTo>
                    <a:pt x="2139" y="283"/>
                    <a:pt x="2136" y="275"/>
                    <a:pt x="2141" y="271"/>
                  </a:cubicBezTo>
                  <a:cubicBezTo>
                    <a:pt x="2147" y="271"/>
                    <a:pt x="2142" y="281"/>
                    <a:pt x="2144" y="285"/>
                  </a:cubicBezTo>
                  <a:close/>
                  <a:moveTo>
                    <a:pt x="2143" y="215"/>
                  </a:moveTo>
                  <a:cubicBezTo>
                    <a:pt x="2146" y="216"/>
                    <a:pt x="2148" y="218"/>
                    <a:pt x="2148" y="222"/>
                  </a:cubicBezTo>
                  <a:cubicBezTo>
                    <a:pt x="2145" y="221"/>
                    <a:pt x="2143" y="219"/>
                    <a:pt x="2143" y="215"/>
                  </a:cubicBezTo>
                  <a:close/>
                  <a:moveTo>
                    <a:pt x="2147" y="156"/>
                  </a:moveTo>
                  <a:cubicBezTo>
                    <a:pt x="2143" y="154"/>
                    <a:pt x="2148" y="152"/>
                    <a:pt x="2144" y="146"/>
                  </a:cubicBezTo>
                  <a:cubicBezTo>
                    <a:pt x="2154" y="144"/>
                    <a:pt x="2150" y="154"/>
                    <a:pt x="2155" y="156"/>
                  </a:cubicBezTo>
                  <a:cubicBezTo>
                    <a:pt x="2154" y="159"/>
                    <a:pt x="2151" y="156"/>
                    <a:pt x="2150" y="153"/>
                  </a:cubicBezTo>
                  <a:cubicBezTo>
                    <a:pt x="2147" y="153"/>
                    <a:pt x="2147" y="154"/>
                    <a:pt x="2147" y="156"/>
                  </a:cubicBezTo>
                  <a:close/>
                  <a:moveTo>
                    <a:pt x="2157" y="250"/>
                  </a:moveTo>
                  <a:cubicBezTo>
                    <a:pt x="2153" y="249"/>
                    <a:pt x="2156" y="243"/>
                    <a:pt x="2151" y="243"/>
                  </a:cubicBezTo>
                  <a:cubicBezTo>
                    <a:pt x="2153" y="240"/>
                    <a:pt x="2158" y="240"/>
                    <a:pt x="2157" y="236"/>
                  </a:cubicBezTo>
                  <a:cubicBezTo>
                    <a:pt x="2164" y="238"/>
                    <a:pt x="2156" y="246"/>
                    <a:pt x="2157" y="250"/>
                  </a:cubicBezTo>
                  <a:close/>
                  <a:moveTo>
                    <a:pt x="2159" y="221"/>
                  </a:moveTo>
                  <a:cubicBezTo>
                    <a:pt x="2160" y="224"/>
                    <a:pt x="2159" y="236"/>
                    <a:pt x="2157" y="228"/>
                  </a:cubicBezTo>
                  <a:cubicBezTo>
                    <a:pt x="2157" y="224"/>
                    <a:pt x="2156" y="219"/>
                    <a:pt x="2156" y="214"/>
                  </a:cubicBezTo>
                  <a:cubicBezTo>
                    <a:pt x="2160" y="214"/>
                    <a:pt x="2164" y="214"/>
                    <a:pt x="2167" y="214"/>
                  </a:cubicBezTo>
                  <a:cubicBezTo>
                    <a:pt x="2168" y="219"/>
                    <a:pt x="2165" y="222"/>
                    <a:pt x="2159" y="221"/>
                  </a:cubicBezTo>
                  <a:close/>
                  <a:moveTo>
                    <a:pt x="2168" y="273"/>
                  </a:moveTo>
                  <a:cubicBezTo>
                    <a:pt x="2171" y="274"/>
                    <a:pt x="2173" y="275"/>
                    <a:pt x="2177" y="275"/>
                  </a:cubicBezTo>
                  <a:cubicBezTo>
                    <a:pt x="2176" y="284"/>
                    <a:pt x="2173" y="284"/>
                    <a:pt x="2177" y="292"/>
                  </a:cubicBezTo>
                  <a:cubicBezTo>
                    <a:pt x="2165" y="293"/>
                    <a:pt x="2169" y="281"/>
                    <a:pt x="2168" y="273"/>
                  </a:cubicBezTo>
                  <a:close/>
                  <a:moveTo>
                    <a:pt x="2174" y="273"/>
                  </a:moveTo>
                  <a:cubicBezTo>
                    <a:pt x="2174" y="271"/>
                    <a:pt x="2174" y="270"/>
                    <a:pt x="2174" y="268"/>
                  </a:cubicBezTo>
                  <a:cubicBezTo>
                    <a:pt x="2176" y="268"/>
                    <a:pt x="2177" y="268"/>
                    <a:pt x="2179" y="268"/>
                  </a:cubicBezTo>
                  <a:cubicBezTo>
                    <a:pt x="2179" y="270"/>
                    <a:pt x="2179" y="271"/>
                    <a:pt x="2179" y="273"/>
                  </a:cubicBezTo>
                  <a:cubicBezTo>
                    <a:pt x="2177" y="273"/>
                    <a:pt x="2176" y="273"/>
                    <a:pt x="2174" y="273"/>
                  </a:cubicBezTo>
                  <a:close/>
                  <a:moveTo>
                    <a:pt x="2170" y="217"/>
                  </a:moveTo>
                  <a:cubicBezTo>
                    <a:pt x="2171" y="213"/>
                    <a:pt x="2177" y="214"/>
                    <a:pt x="2181" y="214"/>
                  </a:cubicBezTo>
                  <a:cubicBezTo>
                    <a:pt x="2180" y="219"/>
                    <a:pt x="2174" y="220"/>
                    <a:pt x="2170" y="217"/>
                  </a:cubicBezTo>
                  <a:close/>
                  <a:moveTo>
                    <a:pt x="2181" y="197"/>
                  </a:moveTo>
                  <a:cubicBezTo>
                    <a:pt x="2173" y="193"/>
                    <a:pt x="2182" y="183"/>
                    <a:pt x="2183" y="179"/>
                  </a:cubicBezTo>
                  <a:cubicBezTo>
                    <a:pt x="2189" y="182"/>
                    <a:pt x="2180" y="191"/>
                    <a:pt x="2181" y="197"/>
                  </a:cubicBezTo>
                  <a:close/>
                  <a:moveTo>
                    <a:pt x="2188" y="136"/>
                  </a:moveTo>
                  <a:cubicBezTo>
                    <a:pt x="2190" y="136"/>
                    <a:pt x="2192" y="136"/>
                    <a:pt x="2193" y="136"/>
                  </a:cubicBezTo>
                  <a:cubicBezTo>
                    <a:pt x="2195" y="141"/>
                    <a:pt x="2190" y="141"/>
                    <a:pt x="2185" y="141"/>
                  </a:cubicBezTo>
                  <a:cubicBezTo>
                    <a:pt x="2186" y="139"/>
                    <a:pt x="2188" y="139"/>
                    <a:pt x="2188" y="136"/>
                  </a:cubicBezTo>
                  <a:close/>
                  <a:moveTo>
                    <a:pt x="2189" y="204"/>
                  </a:moveTo>
                  <a:cubicBezTo>
                    <a:pt x="2188" y="209"/>
                    <a:pt x="2186" y="203"/>
                    <a:pt x="2186" y="200"/>
                  </a:cubicBezTo>
                  <a:cubicBezTo>
                    <a:pt x="2187" y="195"/>
                    <a:pt x="2190" y="201"/>
                    <a:pt x="2189" y="204"/>
                  </a:cubicBezTo>
                  <a:close/>
                  <a:moveTo>
                    <a:pt x="2189" y="214"/>
                  </a:moveTo>
                  <a:cubicBezTo>
                    <a:pt x="2194" y="213"/>
                    <a:pt x="2194" y="216"/>
                    <a:pt x="2198" y="216"/>
                  </a:cubicBezTo>
                  <a:cubicBezTo>
                    <a:pt x="2195" y="223"/>
                    <a:pt x="2195" y="223"/>
                    <a:pt x="2198" y="230"/>
                  </a:cubicBezTo>
                  <a:cubicBezTo>
                    <a:pt x="2190" y="229"/>
                    <a:pt x="2193" y="219"/>
                    <a:pt x="2189" y="214"/>
                  </a:cubicBezTo>
                  <a:close/>
                  <a:moveTo>
                    <a:pt x="2191" y="148"/>
                  </a:moveTo>
                  <a:cubicBezTo>
                    <a:pt x="2192" y="145"/>
                    <a:pt x="2198" y="146"/>
                    <a:pt x="2202" y="145"/>
                  </a:cubicBezTo>
                  <a:cubicBezTo>
                    <a:pt x="2201" y="137"/>
                    <a:pt x="2204" y="132"/>
                    <a:pt x="2213" y="131"/>
                  </a:cubicBezTo>
                  <a:cubicBezTo>
                    <a:pt x="2207" y="140"/>
                    <a:pt x="2204" y="142"/>
                    <a:pt x="2207" y="155"/>
                  </a:cubicBezTo>
                  <a:cubicBezTo>
                    <a:pt x="2200" y="155"/>
                    <a:pt x="2204" y="153"/>
                    <a:pt x="2205" y="150"/>
                  </a:cubicBezTo>
                  <a:cubicBezTo>
                    <a:pt x="2200" y="145"/>
                    <a:pt x="2198" y="152"/>
                    <a:pt x="2191" y="148"/>
                  </a:cubicBezTo>
                  <a:close/>
                  <a:moveTo>
                    <a:pt x="2214" y="220"/>
                  </a:moveTo>
                  <a:cubicBezTo>
                    <a:pt x="2205" y="222"/>
                    <a:pt x="2213" y="209"/>
                    <a:pt x="2203" y="211"/>
                  </a:cubicBezTo>
                  <a:cubicBezTo>
                    <a:pt x="2203" y="208"/>
                    <a:pt x="2208" y="209"/>
                    <a:pt x="2211" y="209"/>
                  </a:cubicBezTo>
                  <a:cubicBezTo>
                    <a:pt x="2209" y="215"/>
                    <a:pt x="2215" y="215"/>
                    <a:pt x="2214" y="220"/>
                  </a:cubicBezTo>
                  <a:close/>
                  <a:moveTo>
                    <a:pt x="2211" y="202"/>
                  </a:moveTo>
                  <a:cubicBezTo>
                    <a:pt x="2208" y="201"/>
                    <a:pt x="2206" y="202"/>
                    <a:pt x="2206" y="204"/>
                  </a:cubicBezTo>
                  <a:cubicBezTo>
                    <a:pt x="2201" y="203"/>
                    <a:pt x="2207" y="201"/>
                    <a:pt x="2206" y="197"/>
                  </a:cubicBezTo>
                  <a:cubicBezTo>
                    <a:pt x="2209" y="201"/>
                    <a:pt x="2217" y="200"/>
                    <a:pt x="2217" y="206"/>
                  </a:cubicBezTo>
                  <a:cubicBezTo>
                    <a:pt x="2214" y="205"/>
                    <a:pt x="2212" y="204"/>
                    <a:pt x="2211" y="202"/>
                  </a:cubicBezTo>
                  <a:close/>
                  <a:moveTo>
                    <a:pt x="2222" y="223"/>
                  </a:moveTo>
                  <a:cubicBezTo>
                    <a:pt x="2219" y="222"/>
                    <a:pt x="2220" y="217"/>
                    <a:pt x="2219" y="213"/>
                  </a:cubicBezTo>
                  <a:cubicBezTo>
                    <a:pt x="2222" y="213"/>
                    <a:pt x="2225" y="213"/>
                    <a:pt x="2228" y="213"/>
                  </a:cubicBezTo>
                  <a:cubicBezTo>
                    <a:pt x="2231" y="221"/>
                    <a:pt x="2219" y="215"/>
                    <a:pt x="2222" y="223"/>
                  </a:cubicBezTo>
                  <a:close/>
                  <a:moveTo>
                    <a:pt x="2233" y="187"/>
                  </a:moveTo>
                  <a:cubicBezTo>
                    <a:pt x="2235" y="187"/>
                    <a:pt x="2236" y="187"/>
                    <a:pt x="2238" y="187"/>
                  </a:cubicBezTo>
                  <a:cubicBezTo>
                    <a:pt x="2240" y="192"/>
                    <a:pt x="2234" y="192"/>
                    <a:pt x="2230" y="192"/>
                  </a:cubicBezTo>
                  <a:cubicBezTo>
                    <a:pt x="2231" y="190"/>
                    <a:pt x="2233" y="190"/>
                    <a:pt x="2233" y="187"/>
                  </a:cubicBezTo>
                  <a:close/>
                  <a:moveTo>
                    <a:pt x="2236" y="225"/>
                  </a:moveTo>
                  <a:cubicBezTo>
                    <a:pt x="2234" y="223"/>
                    <a:pt x="2230" y="215"/>
                    <a:pt x="2230" y="208"/>
                  </a:cubicBezTo>
                  <a:cubicBezTo>
                    <a:pt x="2230" y="207"/>
                    <a:pt x="2235" y="207"/>
                    <a:pt x="2236" y="206"/>
                  </a:cubicBezTo>
                  <a:cubicBezTo>
                    <a:pt x="2237" y="205"/>
                    <a:pt x="2232" y="201"/>
                    <a:pt x="2236" y="199"/>
                  </a:cubicBezTo>
                  <a:cubicBezTo>
                    <a:pt x="2244" y="199"/>
                    <a:pt x="2230" y="217"/>
                    <a:pt x="2239" y="211"/>
                  </a:cubicBezTo>
                  <a:cubicBezTo>
                    <a:pt x="2247" y="214"/>
                    <a:pt x="2234" y="219"/>
                    <a:pt x="2236" y="225"/>
                  </a:cubicBezTo>
                  <a:close/>
                  <a:moveTo>
                    <a:pt x="2264" y="104"/>
                  </a:moveTo>
                  <a:cubicBezTo>
                    <a:pt x="2271" y="105"/>
                    <a:pt x="2267" y="115"/>
                    <a:pt x="2259" y="112"/>
                  </a:cubicBezTo>
                  <a:cubicBezTo>
                    <a:pt x="2261" y="109"/>
                    <a:pt x="2265" y="109"/>
                    <a:pt x="2264" y="104"/>
                  </a:cubicBezTo>
                  <a:close/>
                  <a:moveTo>
                    <a:pt x="2267" y="128"/>
                  </a:moveTo>
                  <a:cubicBezTo>
                    <a:pt x="2277" y="126"/>
                    <a:pt x="2268" y="138"/>
                    <a:pt x="2265" y="135"/>
                  </a:cubicBezTo>
                  <a:cubicBezTo>
                    <a:pt x="2265" y="135"/>
                    <a:pt x="2267" y="130"/>
                    <a:pt x="2267" y="130"/>
                  </a:cubicBezTo>
                  <a:cubicBezTo>
                    <a:pt x="2268" y="130"/>
                    <a:pt x="2267" y="128"/>
                    <a:pt x="2267" y="128"/>
                  </a:cubicBezTo>
                  <a:close/>
                  <a:moveTo>
                    <a:pt x="2265" y="121"/>
                  </a:moveTo>
                  <a:cubicBezTo>
                    <a:pt x="2266" y="120"/>
                    <a:pt x="2256" y="119"/>
                    <a:pt x="2256" y="119"/>
                  </a:cubicBezTo>
                  <a:cubicBezTo>
                    <a:pt x="2255" y="115"/>
                    <a:pt x="2271" y="115"/>
                    <a:pt x="2265" y="121"/>
                  </a:cubicBezTo>
                  <a:close/>
                  <a:moveTo>
                    <a:pt x="2243" y="135"/>
                  </a:moveTo>
                  <a:cubicBezTo>
                    <a:pt x="2245" y="134"/>
                    <a:pt x="2245" y="138"/>
                    <a:pt x="2246" y="138"/>
                  </a:cubicBezTo>
                  <a:cubicBezTo>
                    <a:pt x="2248" y="138"/>
                    <a:pt x="2248" y="135"/>
                    <a:pt x="2248" y="135"/>
                  </a:cubicBezTo>
                  <a:cubicBezTo>
                    <a:pt x="2252" y="135"/>
                    <a:pt x="2258" y="140"/>
                    <a:pt x="2259" y="135"/>
                  </a:cubicBezTo>
                  <a:cubicBezTo>
                    <a:pt x="2255" y="132"/>
                    <a:pt x="2259" y="134"/>
                    <a:pt x="2262" y="135"/>
                  </a:cubicBezTo>
                  <a:cubicBezTo>
                    <a:pt x="2261" y="135"/>
                    <a:pt x="2260" y="139"/>
                    <a:pt x="2259" y="140"/>
                  </a:cubicBezTo>
                  <a:cubicBezTo>
                    <a:pt x="2256" y="141"/>
                    <a:pt x="2255" y="137"/>
                    <a:pt x="2254" y="137"/>
                  </a:cubicBezTo>
                  <a:cubicBezTo>
                    <a:pt x="2249" y="138"/>
                    <a:pt x="2241" y="144"/>
                    <a:pt x="2243" y="135"/>
                  </a:cubicBezTo>
                  <a:close/>
                  <a:moveTo>
                    <a:pt x="2247" y="220"/>
                  </a:moveTo>
                  <a:cubicBezTo>
                    <a:pt x="2252" y="215"/>
                    <a:pt x="2247" y="217"/>
                    <a:pt x="2247" y="210"/>
                  </a:cubicBezTo>
                  <a:cubicBezTo>
                    <a:pt x="2256" y="210"/>
                    <a:pt x="2258" y="221"/>
                    <a:pt x="2247" y="220"/>
                  </a:cubicBezTo>
                  <a:close/>
                  <a:moveTo>
                    <a:pt x="2244" y="192"/>
                  </a:moveTo>
                  <a:cubicBezTo>
                    <a:pt x="2237" y="190"/>
                    <a:pt x="2252" y="187"/>
                    <a:pt x="2257" y="187"/>
                  </a:cubicBezTo>
                  <a:cubicBezTo>
                    <a:pt x="2255" y="190"/>
                    <a:pt x="2249" y="190"/>
                    <a:pt x="2244" y="192"/>
                  </a:cubicBezTo>
                  <a:close/>
                  <a:moveTo>
                    <a:pt x="2249" y="182"/>
                  </a:moveTo>
                  <a:cubicBezTo>
                    <a:pt x="2251" y="180"/>
                    <a:pt x="2252" y="178"/>
                    <a:pt x="2252" y="175"/>
                  </a:cubicBezTo>
                  <a:cubicBezTo>
                    <a:pt x="2255" y="175"/>
                    <a:pt x="2257" y="175"/>
                    <a:pt x="2260" y="175"/>
                  </a:cubicBezTo>
                  <a:cubicBezTo>
                    <a:pt x="2258" y="178"/>
                    <a:pt x="2256" y="183"/>
                    <a:pt x="2249" y="182"/>
                  </a:cubicBezTo>
                  <a:close/>
                  <a:moveTo>
                    <a:pt x="2261" y="227"/>
                  </a:moveTo>
                  <a:cubicBezTo>
                    <a:pt x="2261" y="221"/>
                    <a:pt x="2266" y="230"/>
                    <a:pt x="2272" y="226"/>
                  </a:cubicBezTo>
                  <a:cubicBezTo>
                    <a:pt x="2272" y="232"/>
                    <a:pt x="2263" y="227"/>
                    <a:pt x="2261" y="227"/>
                  </a:cubicBezTo>
                  <a:close/>
                  <a:moveTo>
                    <a:pt x="2269" y="234"/>
                  </a:moveTo>
                  <a:cubicBezTo>
                    <a:pt x="2281" y="234"/>
                    <a:pt x="2267" y="247"/>
                    <a:pt x="2269" y="234"/>
                  </a:cubicBezTo>
                  <a:close/>
                  <a:moveTo>
                    <a:pt x="2273" y="109"/>
                  </a:moveTo>
                  <a:cubicBezTo>
                    <a:pt x="2269" y="106"/>
                    <a:pt x="2266" y="97"/>
                    <a:pt x="2269" y="95"/>
                  </a:cubicBezTo>
                  <a:cubicBezTo>
                    <a:pt x="2273" y="98"/>
                    <a:pt x="2276" y="106"/>
                    <a:pt x="2273" y="109"/>
                  </a:cubicBezTo>
                  <a:close/>
                  <a:moveTo>
                    <a:pt x="2886" y="232"/>
                  </a:moveTo>
                  <a:cubicBezTo>
                    <a:pt x="2880" y="240"/>
                    <a:pt x="2873" y="226"/>
                    <a:pt x="2886" y="232"/>
                  </a:cubicBezTo>
                  <a:close/>
                  <a:moveTo>
                    <a:pt x="2865" y="263"/>
                  </a:moveTo>
                  <a:cubicBezTo>
                    <a:pt x="2870" y="263"/>
                    <a:pt x="2871" y="266"/>
                    <a:pt x="2876" y="265"/>
                  </a:cubicBezTo>
                  <a:cubicBezTo>
                    <a:pt x="2877" y="269"/>
                    <a:pt x="2861" y="270"/>
                    <a:pt x="2865" y="263"/>
                  </a:cubicBezTo>
                  <a:close/>
                  <a:moveTo>
                    <a:pt x="2865" y="230"/>
                  </a:moveTo>
                  <a:cubicBezTo>
                    <a:pt x="2876" y="227"/>
                    <a:pt x="2872" y="238"/>
                    <a:pt x="2878" y="239"/>
                  </a:cubicBezTo>
                  <a:cubicBezTo>
                    <a:pt x="2877" y="243"/>
                    <a:pt x="2872" y="241"/>
                    <a:pt x="2873" y="237"/>
                  </a:cubicBezTo>
                  <a:cubicBezTo>
                    <a:pt x="2865" y="239"/>
                    <a:pt x="2875" y="246"/>
                    <a:pt x="2879" y="246"/>
                  </a:cubicBezTo>
                  <a:cubicBezTo>
                    <a:pt x="2876" y="250"/>
                    <a:pt x="2877" y="256"/>
                    <a:pt x="2868" y="254"/>
                  </a:cubicBezTo>
                  <a:cubicBezTo>
                    <a:pt x="2866" y="252"/>
                    <a:pt x="2873" y="249"/>
                    <a:pt x="2873" y="249"/>
                  </a:cubicBezTo>
                  <a:cubicBezTo>
                    <a:pt x="2873" y="246"/>
                    <a:pt x="2869" y="248"/>
                    <a:pt x="2867" y="247"/>
                  </a:cubicBezTo>
                  <a:cubicBezTo>
                    <a:pt x="2867" y="246"/>
                    <a:pt x="2868" y="243"/>
                    <a:pt x="2867" y="242"/>
                  </a:cubicBezTo>
                  <a:cubicBezTo>
                    <a:pt x="2866" y="241"/>
                    <a:pt x="2863" y="237"/>
                    <a:pt x="2865" y="230"/>
                  </a:cubicBezTo>
                  <a:close/>
                  <a:moveTo>
                    <a:pt x="2862" y="247"/>
                  </a:moveTo>
                  <a:cubicBezTo>
                    <a:pt x="2860" y="251"/>
                    <a:pt x="2859" y="245"/>
                    <a:pt x="2859" y="242"/>
                  </a:cubicBezTo>
                  <a:cubicBezTo>
                    <a:pt x="2851" y="239"/>
                    <a:pt x="2866" y="240"/>
                    <a:pt x="2862" y="247"/>
                  </a:cubicBezTo>
                  <a:close/>
                  <a:moveTo>
                    <a:pt x="2869" y="193"/>
                  </a:moveTo>
                  <a:cubicBezTo>
                    <a:pt x="2871" y="190"/>
                    <a:pt x="2873" y="188"/>
                    <a:pt x="2869" y="188"/>
                  </a:cubicBezTo>
                  <a:cubicBezTo>
                    <a:pt x="2872" y="178"/>
                    <a:pt x="2881" y="196"/>
                    <a:pt x="2869" y="193"/>
                  </a:cubicBezTo>
                  <a:close/>
                  <a:moveTo>
                    <a:pt x="2872" y="160"/>
                  </a:moveTo>
                  <a:cubicBezTo>
                    <a:pt x="2866" y="156"/>
                    <a:pt x="2868" y="160"/>
                    <a:pt x="2861" y="160"/>
                  </a:cubicBezTo>
                  <a:cubicBezTo>
                    <a:pt x="2860" y="158"/>
                    <a:pt x="2862" y="158"/>
                    <a:pt x="2863" y="157"/>
                  </a:cubicBezTo>
                  <a:cubicBezTo>
                    <a:pt x="2863" y="155"/>
                    <a:pt x="2860" y="156"/>
                    <a:pt x="2858" y="155"/>
                  </a:cubicBezTo>
                  <a:cubicBezTo>
                    <a:pt x="2859" y="147"/>
                    <a:pt x="2872" y="152"/>
                    <a:pt x="2872" y="160"/>
                  </a:cubicBezTo>
                  <a:close/>
                  <a:moveTo>
                    <a:pt x="2705" y="221"/>
                  </a:moveTo>
                  <a:cubicBezTo>
                    <a:pt x="2707" y="221"/>
                    <a:pt x="2709" y="221"/>
                    <a:pt x="2711" y="221"/>
                  </a:cubicBezTo>
                  <a:cubicBezTo>
                    <a:pt x="2711" y="223"/>
                    <a:pt x="2711" y="224"/>
                    <a:pt x="2711" y="226"/>
                  </a:cubicBezTo>
                  <a:cubicBezTo>
                    <a:pt x="2709" y="226"/>
                    <a:pt x="2707" y="226"/>
                    <a:pt x="2705" y="226"/>
                  </a:cubicBezTo>
                  <a:cubicBezTo>
                    <a:pt x="2705" y="224"/>
                    <a:pt x="2705" y="223"/>
                    <a:pt x="2705" y="221"/>
                  </a:cubicBezTo>
                  <a:close/>
                  <a:moveTo>
                    <a:pt x="2714" y="245"/>
                  </a:moveTo>
                  <a:cubicBezTo>
                    <a:pt x="2718" y="236"/>
                    <a:pt x="2706" y="240"/>
                    <a:pt x="2708" y="233"/>
                  </a:cubicBezTo>
                  <a:cubicBezTo>
                    <a:pt x="2713" y="233"/>
                    <a:pt x="2714" y="230"/>
                    <a:pt x="2719" y="230"/>
                  </a:cubicBezTo>
                  <a:cubicBezTo>
                    <a:pt x="2725" y="236"/>
                    <a:pt x="2714" y="241"/>
                    <a:pt x="2725" y="242"/>
                  </a:cubicBezTo>
                  <a:cubicBezTo>
                    <a:pt x="2724" y="245"/>
                    <a:pt x="2718" y="244"/>
                    <a:pt x="2714" y="245"/>
                  </a:cubicBezTo>
                  <a:close/>
                  <a:moveTo>
                    <a:pt x="2727" y="237"/>
                  </a:moveTo>
                  <a:cubicBezTo>
                    <a:pt x="2730" y="232"/>
                    <a:pt x="2734" y="229"/>
                    <a:pt x="2733" y="221"/>
                  </a:cubicBezTo>
                  <a:cubicBezTo>
                    <a:pt x="2743" y="224"/>
                    <a:pt x="2734" y="228"/>
                    <a:pt x="2738" y="235"/>
                  </a:cubicBezTo>
                  <a:cubicBezTo>
                    <a:pt x="2733" y="235"/>
                    <a:pt x="2733" y="238"/>
                    <a:pt x="2727" y="237"/>
                  </a:cubicBezTo>
                  <a:close/>
                  <a:moveTo>
                    <a:pt x="2733" y="242"/>
                  </a:moveTo>
                  <a:cubicBezTo>
                    <a:pt x="2735" y="244"/>
                    <a:pt x="2739" y="244"/>
                    <a:pt x="2739" y="249"/>
                  </a:cubicBezTo>
                  <a:cubicBezTo>
                    <a:pt x="2731" y="250"/>
                    <a:pt x="2731" y="244"/>
                    <a:pt x="2730" y="240"/>
                  </a:cubicBezTo>
                  <a:cubicBezTo>
                    <a:pt x="2735" y="240"/>
                    <a:pt x="2736" y="237"/>
                    <a:pt x="2741" y="237"/>
                  </a:cubicBezTo>
                  <a:cubicBezTo>
                    <a:pt x="2743" y="242"/>
                    <a:pt x="2737" y="242"/>
                    <a:pt x="2733" y="242"/>
                  </a:cubicBezTo>
                  <a:close/>
                  <a:moveTo>
                    <a:pt x="2730" y="218"/>
                  </a:moveTo>
                  <a:cubicBezTo>
                    <a:pt x="2727" y="211"/>
                    <a:pt x="2747" y="206"/>
                    <a:pt x="2730" y="207"/>
                  </a:cubicBezTo>
                  <a:cubicBezTo>
                    <a:pt x="2729" y="198"/>
                    <a:pt x="2749" y="206"/>
                    <a:pt x="2751" y="199"/>
                  </a:cubicBezTo>
                  <a:cubicBezTo>
                    <a:pt x="2758" y="201"/>
                    <a:pt x="2748" y="208"/>
                    <a:pt x="2752" y="216"/>
                  </a:cubicBezTo>
                  <a:cubicBezTo>
                    <a:pt x="2746" y="217"/>
                    <a:pt x="2748" y="211"/>
                    <a:pt x="2743" y="211"/>
                  </a:cubicBezTo>
                  <a:cubicBezTo>
                    <a:pt x="2735" y="213"/>
                    <a:pt x="2750" y="215"/>
                    <a:pt x="2746" y="221"/>
                  </a:cubicBezTo>
                  <a:cubicBezTo>
                    <a:pt x="2741" y="218"/>
                    <a:pt x="2738" y="222"/>
                    <a:pt x="2730" y="218"/>
                  </a:cubicBezTo>
                  <a:close/>
                  <a:moveTo>
                    <a:pt x="2740" y="185"/>
                  </a:moveTo>
                  <a:cubicBezTo>
                    <a:pt x="2742" y="185"/>
                    <a:pt x="2744" y="185"/>
                    <a:pt x="2746" y="185"/>
                  </a:cubicBezTo>
                  <a:cubicBezTo>
                    <a:pt x="2746" y="187"/>
                    <a:pt x="2746" y="188"/>
                    <a:pt x="2746" y="190"/>
                  </a:cubicBezTo>
                  <a:cubicBezTo>
                    <a:pt x="2744" y="190"/>
                    <a:pt x="2742" y="190"/>
                    <a:pt x="2740" y="190"/>
                  </a:cubicBezTo>
                  <a:cubicBezTo>
                    <a:pt x="2740" y="189"/>
                    <a:pt x="2740" y="187"/>
                    <a:pt x="2740" y="185"/>
                  </a:cubicBezTo>
                  <a:close/>
                  <a:moveTo>
                    <a:pt x="2755" y="242"/>
                  </a:moveTo>
                  <a:cubicBezTo>
                    <a:pt x="2751" y="242"/>
                    <a:pt x="2748" y="242"/>
                    <a:pt x="2744" y="242"/>
                  </a:cubicBezTo>
                  <a:cubicBezTo>
                    <a:pt x="2743" y="237"/>
                    <a:pt x="2751" y="238"/>
                    <a:pt x="2749" y="239"/>
                  </a:cubicBezTo>
                  <a:cubicBezTo>
                    <a:pt x="2755" y="235"/>
                    <a:pt x="2752" y="229"/>
                    <a:pt x="2763" y="230"/>
                  </a:cubicBezTo>
                  <a:cubicBezTo>
                    <a:pt x="2766" y="238"/>
                    <a:pt x="2750" y="231"/>
                    <a:pt x="2755" y="242"/>
                  </a:cubicBezTo>
                  <a:close/>
                  <a:moveTo>
                    <a:pt x="2763" y="248"/>
                  </a:moveTo>
                  <a:cubicBezTo>
                    <a:pt x="2760" y="248"/>
                    <a:pt x="2761" y="244"/>
                    <a:pt x="2760" y="241"/>
                  </a:cubicBezTo>
                  <a:cubicBezTo>
                    <a:pt x="2763" y="241"/>
                    <a:pt x="2766" y="241"/>
                    <a:pt x="2769" y="241"/>
                  </a:cubicBezTo>
                  <a:cubicBezTo>
                    <a:pt x="2768" y="244"/>
                    <a:pt x="2764" y="245"/>
                    <a:pt x="2763" y="248"/>
                  </a:cubicBezTo>
                  <a:close/>
                  <a:moveTo>
                    <a:pt x="2771" y="222"/>
                  </a:moveTo>
                  <a:cubicBezTo>
                    <a:pt x="2784" y="224"/>
                    <a:pt x="2769" y="237"/>
                    <a:pt x="2771" y="222"/>
                  </a:cubicBezTo>
                  <a:close/>
                  <a:moveTo>
                    <a:pt x="2777" y="262"/>
                  </a:moveTo>
                  <a:cubicBezTo>
                    <a:pt x="2771" y="261"/>
                    <a:pt x="2775" y="250"/>
                    <a:pt x="2777" y="248"/>
                  </a:cubicBezTo>
                  <a:cubicBezTo>
                    <a:pt x="2783" y="249"/>
                    <a:pt x="2779" y="261"/>
                    <a:pt x="2777" y="262"/>
                  </a:cubicBezTo>
                  <a:close/>
                  <a:moveTo>
                    <a:pt x="2782" y="236"/>
                  </a:moveTo>
                  <a:cubicBezTo>
                    <a:pt x="2781" y="236"/>
                    <a:pt x="2779" y="236"/>
                    <a:pt x="2777" y="237"/>
                  </a:cubicBezTo>
                  <a:cubicBezTo>
                    <a:pt x="2777" y="234"/>
                    <a:pt x="2776" y="234"/>
                    <a:pt x="2774" y="234"/>
                  </a:cubicBezTo>
                  <a:cubicBezTo>
                    <a:pt x="2773" y="230"/>
                    <a:pt x="2786" y="231"/>
                    <a:pt x="2782" y="236"/>
                  </a:cubicBezTo>
                  <a:close/>
                  <a:moveTo>
                    <a:pt x="2794" y="269"/>
                  </a:moveTo>
                  <a:cubicBezTo>
                    <a:pt x="2794" y="268"/>
                    <a:pt x="2794" y="266"/>
                    <a:pt x="2794" y="264"/>
                  </a:cubicBezTo>
                  <a:cubicBezTo>
                    <a:pt x="2796" y="264"/>
                    <a:pt x="2797" y="264"/>
                    <a:pt x="2799" y="264"/>
                  </a:cubicBezTo>
                  <a:cubicBezTo>
                    <a:pt x="2799" y="266"/>
                    <a:pt x="2799" y="267"/>
                    <a:pt x="2799" y="269"/>
                  </a:cubicBezTo>
                  <a:cubicBezTo>
                    <a:pt x="2798" y="269"/>
                    <a:pt x="2796" y="269"/>
                    <a:pt x="2794" y="269"/>
                  </a:cubicBezTo>
                  <a:close/>
                  <a:moveTo>
                    <a:pt x="2807" y="259"/>
                  </a:moveTo>
                  <a:cubicBezTo>
                    <a:pt x="2804" y="256"/>
                    <a:pt x="2796" y="257"/>
                    <a:pt x="2796" y="250"/>
                  </a:cubicBezTo>
                  <a:cubicBezTo>
                    <a:pt x="2804" y="253"/>
                    <a:pt x="2809" y="244"/>
                    <a:pt x="2799" y="245"/>
                  </a:cubicBezTo>
                  <a:cubicBezTo>
                    <a:pt x="2799" y="242"/>
                    <a:pt x="2806" y="238"/>
                    <a:pt x="2804" y="245"/>
                  </a:cubicBezTo>
                  <a:cubicBezTo>
                    <a:pt x="2808" y="245"/>
                    <a:pt x="2809" y="246"/>
                    <a:pt x="2810" y="248"/>
                  </a:cubicBezTo>
                  <a:cubicBezTo>
                    <a:pt x="2819" y="247"/>
                    <a:pt x="2802" y="239"/>
                    <a:pt x="2815" y="241"/>
                  </a:cubicBezTo>
                  <a:cubicBezTo>
                    <a:pt x="2815" y="245"/>
                    <a:pt x="2815" y="250"/>
                    <a:pt x="2816" y="255"/>
                  </a:cubicBezTo>
                  <a:cubicBezTo>
                    <a:pt x="2810" y="254"/>
                    <a:pt x="2807" y="255"/>
                    <a:pt x="2807" y="259"/>
                  </a:cubicBezTo>
                  <a:close/>
                  <a:moveTo>
                    <a:pt x="2810" y="231"/>
                  </a:moveTo>
                  <a:cubicBezTo>
                    <a:pt x="2809" y="234"/>
                    <a:pt x="2806" y="236"/>
                    <a:pt x="2801" y="236"/>
                  </a:cubicBezTo>
                  <a:cubicBezTo>
                    <a:pt x="2800" y="231"/>
                    <a:pt x="2805" y="232"/>
                    <a:pt x="2810" y="231"/>
                  </a:cubicBezTo>
                  <a:close/>
                  <a:moveTo>
                    <a:pt x="2824" y="259"/>
                  </a:moveTo>
                  <a:cubicBezTo>
                    <a:pt x="2834" y="255"/>
                    <a:pt x="2826" y="267"/>
                    <a:pt x="2832" y="266"/>
                  </a:cubicBezTo>
                  <a:cubicBezTo>
                    <a:pt x="2830" y="272"/>
                    <a:pt x="2821" y="265"/>
                    <a:pt x="2824" y="259"/>
                  </a:cubicBezTo>
                  <a:close/>
                  <a:moveTo>
                    <a:pt x="2838" y="268"/>
                  </a:moveTo>
                  <a:cubicBezTo>
                    <a:pt x="2838" y="267"/>
                    <a:pt x="2838" y="265"/>
                    <a:pt x="2838" y="264"/>
                  </a:cubicBezTo>
                  <a:cubicBezTo>
                    <a:pt x="2840" y="264"/>
                    <a:pt x="2841" y="264"/>
                    <a:pt x="2843" y="264"/>
                  </a:cubicBezTo>
                  <a:cubicBezTo>
                    <a:pt x="2843" y="265"/>
                    <a:pt x="2843" y="267"/>
                    <a:pt x="2843" y="268"/>
                  </a:cubicBezTo>
                  <a:cubicBezTo>
                    <a:pt x="2841" y="268"/>
                    <a:pt x="2840" y="268"/>
                    <a:pt x="2838" y="268"/>
                  </a:cubicBezTo>
                  <a:close/>
                  <a:moveTo>
                    <a:pt x="2833" y="163"/>
                  </a:moveTo>
                  <a:cubicBezTo>
                    <a:pt x="2839" y="163"/>
                    <a:pt x="2835" y="173"/>
                    <a:pt x="2836" y="177"/>
                  </a:cubicBezTo>
                  <a:cubicBezTo>
                    <a:pt x="2840" y="176"/>
                    <a:pt x="2838" y="171"/>
                    <a:pt x="2839" y="167"/>
                  </a:cubicBezTo>
                  <a:cubicBezTo>
                    <a:pt x="2849" y="167"/>
                    <a:pt x="2846" y="180"/>
                    <a:pt x="2850" y="186"/>
                  </a:cubicBezTo>
                  <a:cubicBezTo>
                    <a:pt x="2845" y="186"/>
                    <a:pt x="2847" y="192"/>
                    <a:pt x="2839" y="191"/>
                  </a:cubicBezTo>
                  <a:cubicBezTo>
                    <a:pt x="2838" y="181"/>
                    <a:pt x="2852" y="178"/>
                    <a:pt x="2833" y="179"/>
                  </a:cubicBezTo>
                  <a:cubicBezTo>
                    <a:pt x="2836" y="171"/>
                    <a:pt x="2827" y="168"/>
                    <a:pt x="2833" y="163"/>
                  </a:cubicBezTo>
                  <a:close/>
                  <a:moveTo>
                    <a:pt x="2850" y="198"/>
                  </a:moveTo>
                  <a:cubicBezTo>
                    <a:pt x="2847" y="202"/>
                    <a:pt x="2834" y="210"/>
                    <a:pt x="2834" y="198"/>
                  </a:cubicBezTo>
                  <a:cubicBezTo>
                    <a:pt x="2843" y="200"/>
                    <a:pt x="2845" y="193"/>
                    <a:pt x="2850" y="198"/>
                  </a:cubicBezTo>
                  <a:close/>
                  <a:moveTo>
                    <a:pt x="2836" y="191"/>
                  </a:moveTo>
                  <a:cubicBezTo>
                    <a:pt x="2834" y="190"/>
                    <a:pt x="2834" y="192"/>
                    <a:pt x="2834" y="193"/>
                  </a:cubicBezTo>
                  <a:cubicBezTo>
                    <a:pt x="2830" y="193"/>
                    <a:pt x="2831" y="189"/>
                    <a:pt x="2831" y="186"/>
                  </a:cubicBezTo>
                  <a:cubicBezTo>
                    <a:pt x="2835" y="185"/>
                    <a:pt x="2836" y="188"/>
                    <a:pt x="2836" y="191"/>
                  </a:cubicBezTo>
                  <a:close/>
                  <a:moveTo>
                    <a:pt x="2825" y="175"/>
                  </a:moveTo>
                  <a:cubicBezTo>
                    <a:pt x="2831" y="176"/>
                    <a:pt x="2831" y="178"/>
                    <a:pt x="2828" y="182"/>
                  </a:cubicBezTo>
                  <a:cubicBezTo>
                    <a:pt x="2826" y="182"/>
                    <a:pt x="2824" y="182"/>
                    <a:pt x="2822" y="182"/>
                  </a:cubicBezTo>
                  <a:cubicBezTo>
                    <a:pt x="2822" y="178"/>
                    <a:pt x="2825" y="178"/>
                    <a:pt x="2825" y="175"/>
                  </a:cubicBezTo>
                  <a:close/>
                  <a:moveTo>
                    <a:pt x="2812" y="184"/>
                  </a:moveTo>
                  <a:cubicBezTo>
                    <a:pt x="2823" y="185"/>
                    <a:pt x="2812" y="190"/>
                    <a:pt x="2817" y="196"/>
                  </a:cubicBezTo>
                  <a:cubicBezTo>
                    <a:pt x="2808" y="198"/>
                    <a:pt x="2813" y="189"/>
                    <a:pt x="2812" y="184"/>
                  </a:cubicBezTo>
                  <a:close/>
                  <a:moveTo>
                    <a:pt x="2801" y="182"/>
                  </a:moveTo>
                  <a:cubicBezTo>
                    <a:pt x="2802" y="182"/>
                    <a:pt x="2804" y="182"/>
                    <a:pt x="2806" y="182"/>
                  </a:cubicBezTo>
                  <a:cubicBezTo>
                    <a:pt x="2806" y="184"/>
                    <a:pt x="2807" y="184"/>
                    <a:pt x="2809" y="184"/>
                  </a:cubicBezTo>
                  <a:cubicBezTo>
                    <a:pt x="2809" y="187"/>
                    <a:pt x="2805" y="186"/>
                    <a:pt x="2803" y="187"/>
                  </a:cubicBezTo>
                  <a:cubicBezTo>
                    <a:pt x="2805" y="189"/>
                    <a:pt x="2806" y="190"/>
                    <a:pt x="2806" y="194"/>
                  </a:cubicBezTo>
                  <a:cubicBezTo>
                    <a:pt x="2795" y="194"/>
                    <a:pt x="2799" y="188"/>
                    <a:pt x="2801" y="182"/>
                  </a:cubicBezTo>
                  <a:close/>
                  <a:moveTo>
                    <a:pt x="2801" y="215"/>
                  </a:moveTo>
                  <a:cubicBezTo>
                    <a:pt x="2811" y="212"/>
                    <a:pt x="2811" y="209"/>
                    <a:pt x="2820" y="215"/>
                  </a:cubicBezTo>
                  <a:cubicBezTo>
                    <a:pt x="2823" y="214"/>
                    <a:pt x="2822" y="212"/>
                    <a:pt x="2823" y="210"/>
                  </a:cubicBezTo>
                  <a:cubicBezTo>
                    <a:pt x="2822" y="208"/>
                    <a:pt x="2811" y="204"/>
                    <a:pt x="2812" y="208"/>
                  </a:cubicBezTo>
                  <a:cubicBezTo>
                    <a:pt x="2803" y="206"/>
                    <a:pt x="2815" y="203"/>
                    <a:pt x="2815" y="201"/>
                  </a:cubicBezTo>
                  <a:cubicBezTo>
                    <a:pt x="2815" y="197"/>
                    <a:pt x="2827" y="197"/>
                    <a:pt x="2831" y="198"/>
                  </a:cubicBezTo>
                  <a:cubicBezTo>
                    <a:pt x="2830" y="200"/>
                    <a:pt x="2826" y="200"/>
                    <a:pt x="2826" y="203"/>
                  </a:cubicBezTo>
                  <a:cubicBezTo>
                    <a:pt x="2825" y="206"/>
                    <a:pt x="2831" y="204"/>
                    <a:pt x="2831" y="205"/>
                  </a:cubicBezTo>
                  <a:cubicBezTo>
                    <a:pt x="2832" y="206"/>
                    <a:pt x="2825" y="218"/>
                    <a:pt x="2840" y="214"/>
                  </a:cubicBezTo>
                  <a:cubicBezTo>
                    <a:pt x="2843" y="212"/>
                    <a:pt x="2844" y="207"/>
                    <a:pt x="2853" y="209"/>
                  </a:cubicBezTo>
                  <a:cubicBezTo>
                    <a:pt x="2846" y="218"/>
                    <a:pt x="2842" y="225"/>
                    <a:pt x="2845" y="238"/>
                  </a:cubicBezTo>
                  <a:cubicBezTo>
                    <a:pt x="2842" y="238"/>
                    <a:pt x="2838" y="238"/>
                    <a:pt x="2834" y="238"/>
                  </a:cubicBezTo>
                  <a:cubicBezTo>
                    <a:pt x="2835" y="235"/>
                    <a:pt x="2839" y="236"/>
                    <a:pt x="2843" y="235"/>
                  </a:cubicBezTo>
                  <a:cubicBezTo>
                    <a:pt x="2844" y="230"/>
                    <a:pt x="2837" y="232"/>
                    <a:pt x="2837" y="228"/>
                  </a:cubicBezTo>
                  <a:cubicBezTo>
                    <a:pt x="2835" y="223"/>
                    <a:pt x="2841" y="225"/>
                    <a:pt x="2842" y="224"/>
                  </a:cubicBezTo>
                  <a:cubicBezTo>
                    <a:pt x="2844" y="222"/>
                    <a:pt x="2842" y="218"/>
                    <a:pt x="2845" y="219"/>
                  </a:cubicBezTo>
                  <a:cubicBezTo>
                    <a:pt x="2844" y="215"/>
                    <a:pt x="2842" y="220"/>
                    <a:pt x="2837" y="219"/>
                  </a:cubicBezTo>
                  <a:cubicBezTo>
                    <a:pt x="2838" y="215"/>
                    <a:pt x="2821" y="215"/>
                    <a:pt x="2826" y="222"/>
                  </a:cubicBezTo>
                  <a:cubicBezTo>
                    <a:pt x="2820" y="218"/>
                    <a:pt x="2816" y="223"/>
                    <a:pt x="2812" y="222"/>
                  </a:cubicBezTo>
                  <a:cubicBezTo>
                    <a:pt x="2811" y="221"/>
                    <a:pt x="2813" y="216"/>
                    <a:pt x="2809" y="217"/>
                  </a:cubicBezTo>
                  <a:cubicBezTo>
                    <a:pt x="2806" y="218"/>
                    <a:pt x="2807" y="221"/>
                    <a:pt x="2807" y="224"/>
                  </a:cubicBezTo>
                  <a:cubicBezTo>
                    <a:pt x="2800" y="225"/>
                    <a:pt x="2804" y="217"/>
                    <a:pt x="2798" y="217"/>
                  </a:cubicBezTo>
                  <a:cubicBezTo>
                    <a:pt x="2788" y="223"/>
                    <a:pt x="2807" y="240"/>
                    <a:pt x="2791" y="239"/>
                  </a:cubicBezTo>
                  <a:cubicBezTo>
                    <a:pt x="2791" y="237"/>
                    <a:pt x="2787" y="236"/>
                    <a:pt x="2788" y="234"/>
                  </a:cubicBezTo>
                  <a:cubicBezTo>
                    <a:pt x="2788" y="233"/>
                    <a:pt x="2793" y="232"/>
                    <a:pt x="2793" y="231"/>
                  </a:cubicBezTo>
                  <a:cubicBezTo>
                    <a:pt x="2793" y="227"/>
                    <a:pt x="2787" y="225"/>
                    <a:pt x="2790" y="217"/>
                  </a:cubicBezTo>
                  <a:cubicBezTo>
                    <a:pt x="2788" y="219"/>
                    <a:pt x="2783" y="219"/>
                    <a:pt x="2782" y="222"/>
                  </a:cubicBezTo>
                  <a:cubicBezTo>
                    <a:pt x="2777" y="220"/>
                    <a:pt x="2776" y="213"/>
                    <a:pt x="2771" y="211"/>
                  </a:cubicBezTo>
                  <a:cubicBezTo>
                    <a:pt x="2773" y="206"/>
                    <a:pt x="2776" y="210"/>
                    <a:pt x="2779" y="211"/>
                  </a:cubicBezTo>
                  <a:cubicBezTo>
                    <a:pt x="2776" y="203"/>
                    <a:pt x="2777" y="201"/>
                    <a:pt x="2782" y="196"/>
                  </a:cubicBezTo>
                  <a:cubicBezTo>
                    <a:pt x="2789" y="200"/>
                    <a:pt x="2782" y="211"/>
                    <a:pt x="2779" y="213"/>
                  </a:cubicBezTo>
                  <a:cubicBezTo>
                    <a:pt x="2780" y="219"/>
                    <a:pt x="2801" y="204"/>
                    <a:pt x="2793" y="215"/>
                  </a:cubicBezTo>
                  <a:cubicBezTo>
                    <a:pt x="2795" y="214"/>
                    <a:pt x="2798" y="213"/>
                    <a:pt x="2798" y="210"/>
                  </a:cubicBezTo>
                  <a:cubicBezTo>
                    <a:pt x="2798" y="208"/>
                    <a:pt x="2793" y="208"/>
                    <a:pt x="2790" y="208"/>
                  </a:cubicBezTo>
                  <a:cubicBezTo>
                    <a:pt x="2790" y="204"/>
                    <a:pt x="2790" y="200"/>
                    <a:pt x="2790" y="196"/>
                  </a:cubicBezTo>
                  <a:cubicBezTo>
                    <a:pt x="2807" y="195"/>
                    <a:pt x="2808" y="206"/>
                    <a:pt x="2801" y="215"/>
                  </a:cubicBezTo>
                  <a:close/>
                  <a:moveTo>
                    <a:pt x="2781" y="180"/>
                  </a:moveTo>
                  <a:cubicBezTo>
                    <a:pt x="2794" y="180"/>
                    <a:pt x="2782" y="188"/>
                    <a:pt x="2784" y="194"/>
                  </a:cubicBezTo>
                  <a:cubicBezTo>
                    <a:pt x="2778" y="194"/>
                    <a:pt x="2783" y="184"/>
                    <a:pt x="2781" y="180"/>
                  </a:cubicBezTo>
                  <a:close/>
                  <a:moveTo>
                    <a:pt x="2797" y="159"/>
                  </a:moveTo>
                  <a:cubicBezTo>
                    <a:pt x="2802" y="154"/>
                    <a:pt x="2797" y="156"/>
                    <a:pt x="2797" y="149"/>
                  </a:cubicBezTo>
                  <a:cubicBezTo>
                    <a:pt x="2803" y="148"/>
                    <a:pt x="2807" y="161"/>
                    <a:pt x="2797" y="159"/>
                  </a:cubicBezTo>
                  <a:close/>
                  <a:moveTo>
                    <a:pt x="2792" y="177"/>
                  </a:moveTo>
                  <a:cubicBezTo>
                    <a:pt x="2805" y="179"/>
                    <a:pt x="2790" y="192"/>
                    <a:pt x="2792" y="177"/>
                  </a:cubicBezTo>
                  <a:close/>
                  <a:moveTo>
                    <a:pt x="2784" y="149"/>
                  </a:moveTo>
                  <a:cubicBezTo>
                    <a:pt x="2786" y="149"/>
                    <a:pt x="2786" y="152"/>
                    <a:pt x="2786" y="154"/>
                  </a:cubicBezTo>
                  <a:cubicBezTo>
                    <a:pt x="2790" y="154"/>
                    <a:pt x="2791" y="153"/>
                    <a:pt x="2792" y="152"/>
                  </a:cubicBezTo>
                  <a:cubicBezTo>
                    <a:pt x="2802" y="156"/>
                    <a:pt x="2784" y="157"/>
                    <a:pt x="2778" y="157"/>
                  </a:cubicBezTo>
                  <a:cubicBezTo>
                    <a:pt x="2779" y="153"/>
                    <a:pt x="2783" y="153"/>
                    <a:pt x="2784" y="149"/>
                  </a:cubicBezTo>
                  <a:close/>
                  <a:moveTo>
                    <a:pt x="2776" y="166"/>
                  </a:moveTo>
                  <a:cubicBezTo>
                    <a:pt x="2779" y="167"/>
                    <a:pt x="2778" y="171"/>
                    <a:pt x="2781" y="171"/>
                  </a:cubicBezTo>
                  <a:cubicBezTo>
                    <a:pt x="2780" y="177"/>
                    <a:pt x="2772" y="171"/>
                    <a:pt x="2776" y="166"/>
                  </a:cubicBezTo>
                  <a:close/>
                  <a:moveTo>
                    <a:pt x="2770" y="175"/>
                  </a:moveTo>
                  <a:cubicBezTo>
                    <a:pt x="2770" y="178"/>
                    <a:pt x="2774" y="177"/>
                    <a:pt x="2776" y="178"/>
                  </a:cubicBezTo>
                  <a:cubicBezTo>
                    <a:pt x="2774" y="181"/>
                    <a:pt x="2779" y="190"/>
                    <a:pt x="2773" y="190"/>
                  </a:cubicBezTo>
                  <a:cubicBezTo>
                    <a:pt x="2773" y="203"/>
                    <a:pt x="2772" y="201"/>
                    <a:pt x="2768" y="211"/>
                  </a:cubicBezTo>
                  <a:cubicBezTo>
                    <a:pt x="2769" y="213"/>
                    <a:pt x="2771" y="215"/>
                    <a:pt x="2774" y="215"/>
                  </a:cubicBezTo>
                  <a:cubicBezTo>
                    <a:pt x="2773" y="218"/>
                    <a:pt x="2768" y="217"/>
                    <a:pt x="2768" y="220"/>
                  </a:cubicBezTo>
                  <a:cubicBezTo>
                    <a:pt x="2764" y="220"/>
                    <a:pt x="2767" y="213"/>
                    <a:pt x="2763" y="213"/>
                  </a:cubicBezTo>
                  <a:cubicBezTo>
                    <a:pt x="2753" y="215"/>
                    <a:pt x="2764" y="220"/>
                    <a:pt x="2757" y="225"/>
                  </a:cubicBezTo>
                  <a:cubicBezTo>
                    <a:pt x="2755" y="224"/>
                    <a:pt x="2752" y="223"/>
                    <a:pt x="2752" y="220"/>
                  </a:cubicBezTo>
                  <a:cubicBezTo>
                    <a:pt x="2752" y="218"/>
                    <a:pt x="2757" y="217"/>
                    <a:pt x="2757" y="216"/>
                  </a:cubicBezTo>
                  <a:cubicBezTo>
                    <a:pt x="2759" y="209"/>
                    <a:pt x="2756" y="199"/>
                    <a:pt x="2768" y="201"/>
                  </a:cubicBezTo>
                  <a:cubicBezTo>
                    <a:pt x="2762" y="195"/>
                    <a:pt x="2768" y="193"/>
                    <a:pt x="2768" y="183"/>
                  </a:cubicBezTo>
                  <a:cubicBezTo>
                    <a:pt x="2768" y="182"/>
                    <a:pt x="2768" y="178"/>
                    <a:pt x="2768" y="178"/>
                  </a:cubicBezTo>
                  <a:cubicBezTo>
                    <a:pt x="2767" y="178"/>
                    <a:pt x="2765" y="178"/>
                    <a:pt x="2765" y="178"/>
                  </a:cubicBezTo>
                  <a:cubicBezTo>
                    <a:pt x="2765" y="177"/>
                    <a:pt x="2767" y="175"/>
                    <a:pt x="2768" y="176"/>
                  </a:cubicBezTo>
                  <a:cubicBezTo>
                    <a:pt x="2767" y="174"/>
                    <a:pt x="2762" y="171"/>
                    <a:pt x="2762" y="171"/>
                  </a:cubicBezTo>
                  <a:cubicBezTo>
                    <a:pt x="2761" y="167"/>
                    <a:pt x="2764" y="167"/>
                    <a:pt x="2765" y="164"/>
                  </a:cubicBezTo>
                  <a:cubicBezTo>
                    <a:pt x="2765" y="159"/>
                    <a:pt x="2762" y="157"/>
                    <a:pt x="2762" y="152"/>
                  </a:cubicBezTo>
                  <a:cubicBezTo>
                    <a:pt x="2775" y="151"/>
                    <a:pt x="2768" y="167"/>
                    <a:pt x="2770" y="175"/>
                  </a:cubicBezTo>
                  <a:close/>
                  <a:moveTo>
                    <a:pt x="2757" y="185"/>
                  </a:moveTo>
                  <a:cubicBezTo>
                    <a:pt x="2768" y="184"/>
                    <a:pt x="2759" y="193"/>
                    <a:pt x="2760" y="197"/>
                  </a:cubicBezTo>
                  <a:cubicBezTo>
                    <a:pt x="2754" y="197"/>
                    <a:pt x="2758" y="189"/>
                    <a:pt x="2757" y="185"/>
                  </a:cubicBezTo>
                  <a:close/>
                  <a:moveTo>
                    <a:pt x="2734" y="153"/>
                  </a:moveTo>
                  <a:cubicBezTo>
                    <a:pt x="2748" y="151"/>
                    <a:pt x="2748" y="152"/>
                    <a:pt x="2759" y="150"/>
                  </a:cubicBezTo>
                  <a:cubicBezTo>
                    <a:pt x="2757" y="157"/>
                    <a:pt x="2761" y="159"/>
                    <a:pt x="2759" y="164"/>
                  </a:cubicBezTo>
                  <a:cubicBezTo>
                    <a:pt x="2759" y="164"/>
                    <a:pt x="2755" y="161"/>
                    <a:pt x="2754" y="162"/>
                  </a:cubicBezTo>
                  <a:cubicBezTo>
                    <a:pt x="2752" y="162"/>
                    <a:pt x="2749" y="168"/>
                    <a:pt x="2756" y="169"/>
                  </a:cubicBezTo>
                  <a:cubicBezTo>
                    <a:pt x="2754" y="171"/>
                    <a:pt x="2739" y="181"/>
                    <a:pt x="2751" y="181"/>
                  </a:cubicBezTo>
                  <a:cubicBezTo>
                    <a:pt x="2761" y="181"/>
                    <a:pt x="2743" y="187"/>
                    <a:pt x="2746" y="181"/>
                  </a:cubicBezTo>
                  <a:cubicBezTo>
                    <a:pt x="2739" y="181"/>
                    <a:pt x="2737" y="185"/>
                    <a:pt x="2732" y="181"/>
                  </a:cubicBezTo>
                  <a:cubicBezTo>
                    <a:pt x="2734" y="177"/>
                    <a:pt x="2741" y="177"/>
                    <a:pt x="2746" y="176"/>
                  </a:cubicBezTo>
                  <a:cubicBezTo>
                    <a:pt x="2743" y="172"/>
                    <a:pt x="2754" y="168"/>
                    <a:pt x="2745" y="166"/>
                  </a:cubicBezTo>
                  <a:cubicBezTo>
                    <a:pt x="2748" y="164"/>
                    <a:pt x="2751" y="162"/>
                    <a:pt x="2754" y="159"/>
                  </a:cubicBezTo>
                  <a:cubicBezTo>
                    <a:pt x="2751" y="151"/>
                    <a:pt x="2737" y="166"/>
                    <a:pt x="2740" y="155"/>
                  </a:cubicBezTo>
                  <a:cubicBezTo>
                    <a:pt x="2736" y="156"/>
                    <a:pt x="2733" y="159"/>
                    <a:pt x="2732" y="162"/>
                  </a:cubicBezTo>
                  <a:cubicBezTo>
                    <a:pt x="2723" y="160"/>
                    <a:pt x="2735" y="156"/>
                    <a:pt x="2734" y="153"/>
                  </a:cubicBezTo>
                  <a:close/>
                  <a:moveTo>
                    <a:pt x="2724" y="169"/>
                  </a:moveTo>
                  <a:cubicBezTo>
                    <a:pt x="2728" y="170"/>
                    <a:pt x="2729" y="167"/>
                    <a:pt x="2729" y="164"/>
                  </a:cubicBezTo>
                  <a:cubicBezTo>
                    <a:pt x="2734" y="165"/>
                    <a:pt x="2735" y="161"/>
                    <a:pt x="2740" y="162"/>
                  </a:cubicBezTo>
                  <a:cubicBezTo>
                    <a:pt x="2739" y="165"/>
                    <a:pt x="2741" y="166"/>
                    <a:pt x="2743" y="167"/>
                  </a:cubicBezTo>
                  <a:cubicBezTo>
                    <a:pt x="2740" y="170"/>
                    <a:pt x="2735" y="173"/>
                    <a:pt x="2732" y="176"/>
                  </a:cubicBezTo>
                  <a:cubicBezTo>
                    <a:pt x="2729" y="177"/>
                    <a:pt x="2730" y="172"/>
                    <a:pt x="2729" y="171"/>
                  </a:cubicBezTo>
                  <a:cubicBezTo>
                    <a:pt x="2725" y="170"/>
                    <a:pt x="2721" y="176"/>
                    <a:pt x="2715" y="172"/>
                  </a:cubicBezTo>
                  <a:cubicBezTo>
                    <a:pt x="2708" y="172"/>
                    <a:pt x="2719" y="176"/>
                    <a:pt x="2716" y="181"/>
                  </a:cubicBezTo>
                  <a:cubicBezTo>
                    <a:pt x="2705" y="180"/>
                    <a:pt x="2718" y="171"/>
                    <a:pt x="2704" y="172"/>
                  </a:cubicBezTo>
                  <a:cubicBezTo>
                    <a:pt x="2711" y="167"/>
                    <a:pt x="2699" y="160"/>
                    <a:pt x="2712" y="160"/>
                  </a:cubicBezTo>
                  <a:cubicBezTo>
                    <a:pt x="2711" y="166"/>
                    <a:pt x="2708" y="169"/>
                    <a:pt x="2718" y="169"/>
                  </a:cubicBezTo>
                  <a:cubicBezTo>
                    <a:pt x="2722" y="169"/>
                    <a:pt x="2722" y="149"/>
                    <a:pt x="2724" y="169"/>
                  </a:cubicBezTo>
                  <a:close/>
                  <a:moveTo>
                    <a:pt x="2701" y="151"/>
                  </a:moveTo>
                  <a:cubicBezTo>
                    <a:pt x="2704" y="148"/>
                    <a:pt x="2711" y="148"/>
                    <a:pt x="2718" y="148"/>
                  </a:cubicBezTo>
                  <a:cubicBezTo>
                    <a:pt x="2722" y="156"/>
                    <a:pt x="2700" y="160"/>
                    <a:pt x="2701" y="151"/>
                  </a:cubicBezTo>
                  <a:close/>
                  <a:moveTo>
                    <a:pt x="2699" y="203"/>
                  </a:moveTo>
                  <a:cubicBezTo>
                    <a:pt x="2699" y="198"/>
                    <a:pt x="2704" y="198"/>
                    <a:pt x="2705" y="193"/>
                  </a:cubicBezTo>
                  <a:cubicBezTo>
                    <a:pt x="2706" y="187"/>
                    <a:pt x="2702" y="187"/>
                    <a:pt x="2702" y="181"/>
                  </a:cubicBezTo>
                  <a:cubicBezTo>
                    <a:pt x="2717" y="180"/>
                    <a:pt x="2702" y="192"/>
                    <a:pt x="2710" y="195"/>
                  </a:cubicBezTo>
                  <a:cubicBezTo>
                    <a:pt x="2713" y="195"/>
                    <a:pt x="2712" y="193"/>
                    <a:pt x="2710" y="193"/>
                  </a:cubicBezTo>
                  <a:cubicBezTo>
                    <a:pt x="2712" y="190"/>
                    <a:pt x="2716" y="189"/>
                    <a:pt x="2721" y="188"/>
                  </a:cubicBezTo>
                  <a:cubicBezTo>
                    <a:pt x="2722" y="184"/>
                    <a:pt x="2718" y="176"/>
                    <a:pt x="2726" y="179"/>
                  </a:cubicBezTo>
                  <a:cubicBezTo>
                    <a:pt x="2723" y="186"/>
                    <a:pt x="2728" y="187"/>
                    <a:pt x="2727" y="197"/>
                  </a:cubicBezTo>
                  <a:cubicBezTo>
                    <a:pt x="2724" y="196"/>
                    <a:pt x="2723" y="193"/>
                    <a:pt x="2721" y="190"/>
                  </a:cubicBezTo>
                  <a:cubicBezTo>
                    <a:pt x="2713" y="192"/>
                    <a:pt x="2724" y="208"/>
                    <a:pt x="2727" y="200"/>
                  </a:cubicBezTo>
                  <a:cubicBezTo>
                    <a:pt x="2733" y="201"/>
                    <a:pt x="2724" y="203"/>
                    <a:pt x="2724" y="205"/>
                  </a:cubicBezTo>
                  <a:cubicBezTo>
                    <a:pt x="2723" y="210"/>
                    <a:pt x="2726" y="213"/>
                    <a:pt x="2727" y="219"/>
                  </a:cubicBezTo>
                  <a:cubicBezTo>
                    <a:pt x="2714" y="218"/>
                    <a:pt x="2724" y="222"/>
                    <a:pt x="2719" y="226"/>
                  </a:cubicBezTo>
                  <a:cubicBezTo>
                    <a:pt x="2711" y="223"/>
                    <a:pt x="2722" y="218"/>
                    <a:pt x="2719" y="212"/>
                  </a:cubicBezTo>
                  <a:cubicBezTo>
                    <a:pt x="2716" y="212"/>
                    <a:pt x="2717" y="215"/>
                    <a:pt x="2716" y="216"/>
                  </a:cubicBezTo>
                  <a:cubicBezTo>
                    <a:pt x="2714" y="215"/>
                    <a:pt x="2709" y="213"/>
                    <a:pt x="2708" y="217"/>
                  </a:cubicBezTo>
                  <a:cubicBezTo>
                    <a:pt x="2701" y="216"/>
                    <a:pt x="2703" y="210"/>
                    <a:pt x="2702" y="207"/>
                  </a:cubicBezTo>
                  <a:cubicBezTo>
                    <a:pt x="2702" y="205"/>
                    <a:pt x="2700" y="205"/>
                    <a:pt x="2699" y="203"/>
                  </a:cubicBezTo>
                  <a:close/>
                  <a:moveTo>
                    <a:pt x="2698" y="280"/>
                  </a:moveTo>
                  <a:cubicBezTo>
                    <a:pt x="2698" y="282"/>
                    <a:pt x="2698" y="283"/>
                    <a:pt x="2698" y="285"/>
                  </a:cubicBezTo>
                  <a:cubicBezTo>
                    <a:pt x="2696" y="285"/>
                    <a:pt x="2694" y="285"/>
                    <a:pt x="2693" y="285"/>
                  </a:cubicBezTo>
                  <a:cubicBezTo>
                    <a:pt x="2693" y="283"/>
                    <a:pt x="2693" y="282"/>
                    <a:pt x="2693" y="280"/>
                  </a:cubicBezTo>
                  <a:cubicBezTo>
                    <a:pt x="2694" y="280"/>
                    <a:pt x="2696" y="280"/>
                    <a:pt x="2698" y="280"/>
                  </a:cubicBezTo>
                  <a:close/>
                  <a:moveTo>
                    <a:pt x="2694" y="226"/>
                  </a:moveTo>
                  <a:cubicBezTo>
                    <a:pt x="2689" y="233"/>
                    <a:pt x="2695" y="245"/>
                    <a:pt x="2698" y="252"/>
                  </a:cubicBezTo>
                  <a:cubicBezTo>
                    <a:pt x="2695" y="259"/>
                    <a:pt x="2695" y="245"/>
                    <a:pt x="2689" y="247"/>
                  </a:cubicBezTo>
                  <a:cubicBezTo>
                    <a:pt x="2692" y="241"/>
                    <a:pt x="2683" y="225"/>
                    <a:pt x="2694" y="226"/>
                  </a:cubicBezTo>
                  <a:close/>
                  <a:moveTo>
                    <a:pt x="2695" y="259"/>
                  </a:moveTo>
                  <a:cubicBezTo>
                    <a:pt x="2695" y="264"/>
                    <a:pt x="2695" y="268"/>
                    <a:pt x="2695" y="273"/>
                  </a:cubicBezTo>
                  <a:cubicBezTo>
                    <a:pt x="2691" y="271"/>
                    <a:pt x="2689" y="267"/>
                    <a:pt x="2692" y="264"/>
                  </a:cubicBezTo>
                  <a:cubicBezTo>
                    <a:pt x="2682" y="261"/>
                    <a:pt x="2692" y="274"/>
                    <a:pt x="2681" y="271"/>
                  </a:cubicBezTo>
                  <a:cubicBezTo>
                    <a:pt x="2680" y="265"/>
                    <a:pt x="2686" y="266"/>
                    <a:pt x="2684" y="259"/>
                  </a:cubicBezTo>
                  <a:cubicBezTo>
                    <a:pt x="2688" y="259"/>
                    <a:pt x="2691" y="259"/>
                    <a:pt x="2695" y="259"/>
                  </a:cubicBezTo>
                  <a:close/>
                  <a:moveTo>
                    <a:pt x="2687" y="252"/>
                  </a:moveTo>
                  <a:cubicBezTo>
                    <a:pt x="2687" y="254"/>
                    <a:pt x="2687" y="255"/>
                    <a:pt x="2687" y="257"/>
                  </a:cubicBezTo>
                  <a:cubicBezTo>
                    <a:pt x="2685" y="257"/>
                    <a:pt x="2683" y="257"/>
                    <a:pt x="2681" y="257"/>
                  </a:cubicBezTo>
                  <a:cubicBezTo>
                    <a:pt x="2681" y="255"/>
                    <a:pt x="2681" y="254"/>
                    <a:pt x="2681" y="252"/>
                  </a:cubicBezTo>
                  <a:cubicBezTo>
                    <a:pt x="2683" y="252"/>
                    <a:pt x="2685" y="252"/>
                    <a:pt x="2687" y="252"/>
                  </a:cubicBezTo>
                  <a:close/>
                  <a:moveTo>
                    <a:pt x="2679" y="271"/>
                  </a:moveTo>
                  <a:cubicBezTo>
                    <a:pt x="2676" y="275"/>
                    <a:pt x="2674" y="279"/>
                    <a:pt x="2665" y="278"/>
                  </a:cubicBezTo>
                  <a:cubicBezTo>
                    <a:pt x="2667" y="276"/>
                    <a:pt x="2668" y="274"/>
                    <a:pt x="2665" y="274"/>
                  </a:cubicBezTo>
                  <a:cubicBezTo>
                    <a:pt x="2664" y="269"/>
                    <a:pt x="2675" y="272"/>
                    <a:pt x="2679" y="271"/>
                  </a:cubicBezTo>
                  <a:close/>
                  <a:moveTo>
                    <a:pt x="2673" y="259"/>
                  </a:moveTo>
                  <a:cubicBezTo>
                    <a:pt x="2671" y="262"/>
                    <a:pt x="2667" y="268"/>
                    <a:pt x="2676" y="266"/>
                  </a:cubicBezTo>
                  <a:cubicBezTo>
                    <a:pt x="2669" y="276"/>
                    <a:pt x="2657" y="258"/>
                    <a:pt x="2673" y="259"/>
                  </a:cubicBezTo>
                  <a:close/>
                  <a:moveTo>
                    <a:pt x="2676" y="255"/>
                  </a:moveTo>
                  <a:cubicBezTo>
                    <a:pt x="2673" y="253"/>
                    <a:pt x="2669" y="252"/>
                    <a:pt x="2665" y="253"/>
                  </a:cubicBezTo>
                  <a:cubicBezTo>
                    <a:pt x="2669" y="245"/>
                    <a:pt x="2664" y="243"/>
                    <a:pt x="2667" y="238"/>
                  </a:cubicBezTo>
                  <a:cubicBezTo>
                    <a:pt x="2673" y="239"/>
                    <a:pt x="2674" y="245"/>
                    <a:pt x="2670" y="248"/>
                  </a:cubicBezTo>
                  <a:cubicBezTo>
                    <a:pt x="2672" y="250"/>
                    <a:pt x="2676" y="250"/>
                    <a:pt x="2676" y="255"/>
                  </a:cubicBezTo>
                  <a:close/>
                  <a:moveTo>
                    <a:pt x="2672" y="234"/>
                  </a:moveTo>
                  <a:cubicBezTo>
                    <a:pt x="2665" y="242"/>
                    <a:pt x="2655" y="229"/>
                    <a:pt x="2672" y="234"/>
                  </a:cubicBezTo>
                  <a:close/>
                  <a:moveTo>
                    <a:pt x="2653" y="234"/>
                  </a:moveTo>
                  <a:cubicBezTo>
                    <a:pt x="2647" y="242"/>
                    <a:pt x="2642" y="226"/>
                    <a:pt x="2653" y="234"/>
                  </a:cubicBezTo>
                  <a:close/>
                  <a:moveTo>
                    <a:pt x="2674" y="8"/>
                  </a:moveTo>
                  <a:cubicBezTo>
                    <a:pt x="2674" y="13"/>
                    <a:pt x="2662" y="10"/>
                    <a:pt x="2660" y="8"/>
                  </a:cubicBezTo>
                  <a:cubicBezTo>
                    <a:pt x="2663" y="1"/>
                    <a:pt x="2669" y="9"/>
                    <a:pt x="2674" y="8"/>
                  </a:cubicBezTo>
                  <a:close/>
                  <a:moveTo>
                    <a:pt x="2646" y="124"/>
                  </a:moveTo>
                  <a:cubicBezTo>
                    <a:pt x="2655" y="127"/>
                    <a:pt x="2636" y="126"/>
                    <a:pt x="2632" y="126"/>
                  </a:cubicBezTo>
                  <a:cubicBezTo>
                    <a:pt x="2632" y="124"/>
                    <a:pt x="2636" y="124"/>
                    <a:pt x="2638" y="124"/>
                  </a:cubicBezTo>
                  <a:cubicBezTo>
                    <a:pt x="2636" y="122"/>
                    <a:pt x="2635" y="120"/>
                    <a:pt x="2632" y="119"/>
                  </a:cubicBezTo>
                  <a:cubicBezTo>
                    <a:pt x="2633" y="116"/>
                    <a:pt x="2639" y="117"/>
                    <a:pt x="2643" y="117"/>
                  </a:cubicBezTo>
                  <a:cubicBezTo>
                    <a:pt x="2643" y="119"/>
                    <a:pt x="2640" y="119"/>
                    <a:pt x="2640" y="121"/>
                  </a:cubicBezTo>
                  <a:cubicBezTo>
                    <a:pt x="2641" y="124"/>
                    <a:pt x="2644" y="123"/>
                    <a:pt x="2646" y="124"/>
                  </a:cubicBezTo>
                  <a:close/>
                  <a:moveTo>
                    <a:pt x="2640" y="100"/>
                  </a:moveTo>
                  <a:cubicBezTo>
                    <a:pt x="2639" y="103"/>
                    <a:pt x="2635" y="104"/>
                    <a:pt x="2635" y="107"/>
                  </a:cubicBezTo>
                  <a:cubicBezTo>
                    <a:pt x="2628" y="107"/>
                    <a:pt x="2634" y="98"/>
                    <a:pt x="2640" y="100"/>
                  </a:cubicBezTo>
                  <a:close/>
                  <a:moveTo>
                    <a:pt x="2626" y="103"/>
                  </a:moveTo>
                  <a:cubicBezTo>
                    <a:pt x="2622" y="104"/>
                    <a:pt x="2623" y="105"/>
                    <a:pt x="2618" y="103"/>
                  </a:cubicBezTo>
                  <a:cubicBezTo>
                    <a:pt x="2615" y="101"/>
                    <a:pt x="2634" y="100"/>
                    <a:pt x="2626" y="103"/>
                  </a:cubicBezTo>
                  <a:close/>
                  <a:moveTo>
                    <a:pt x="2618" y="82"/>
                  </a:moveTo>
                  <a:cubicBezTo>
                    <a:pt x="2623" y="83"/>
                    <a:pt x="2618" y="86"/>
                    <a:pt x="2618" y="89"/>
                  </a:cubicBezTo>
                  <a:cubicBezTo>
                    <a:pt x="2613" y="87"/>
                    <a:pt x="2617" y="85"/>
                    <a:pt x="2618" y="82"/>
                  </a:cubicBezTo>
                  <a:close/>
                  <a:moveTo>
                    <a:pt x="2616" y="117"/>
                  </a:moveTo>
                  <a:cubicBezTo>
                    <a:pt x="2621" y="116"/>
                    <a:pt x="2621" y="119"/>
                    <a:pt x="2618" y="119"/>
                  </a:cubicBezTo>
                  <a:cubicBezTo>
                    <a:pt x="2615" y="117"/>
                    <a:pt x="2607" y="122"/>
                    <a:pt x="2608" y="122"/>
                  </a:cubicBezTo>
                  <a:cubicBezTo>
                    <a:pt x="2600" y="121"/>
                    <a:pt x="2606" y="115"/>
                    <a:pt x="2616" y="117"/>
                  </a:cubicBezTo>
                  <a:close/>
                  <a:moveTo>
                    <a:pt x="2588" y="99"/>
                  </a:moveTo>
                  <a:cubicBezTo>
                    <a:pt x="2592" y="99"/>
                    <a:pt x="2590" y="105"/>
                    <a:pt x="2591" y="108"/>
                  </a:cubicBezTo>
                  <a:cubicBezTo>
                    <a:pt x="2588" y="107"/>
                    <a:pt x="2586" y="105"/>
                    <a:pt x="2585" y="108"/>
                  </a:cubicBezTo>
                  <a:cubicBezTo>
                    <a:pt x="2577" y="106"/>
                    <a:pt x="2592" y="105"/>
                    <a:pt x="2588" y="99"/>
                  </a:cubicBezTo>
                  <a:close/>
                  <a:moveTo>
                    <a:pt x="2584" y="38"/>
                  </a:moveTo>
                  <a:cubicBezTo>
                    <a:pt x="2583" y="43"/>
                    <a:pt x="2577" y="43"/>
                    <a:pt x="2573" y="40"/>
                  </a:cubicBezTo>
                  <a:cubicBezTo>
                    <a:pt x="2574" y="37"/>
                    <a:pt x="2580" y="38"/>
                    <a:pt x="2584" y="38"/>
                  </a:cubicBezTo>
                  <a:close/>
                  <a:moveTo>
                    <a:pt x="2563" y="116"/>
                  </a:moveTo>
                  <a:cubicBezTo>
                    <a:pt x="2565" y="112"/>
                    <a:pt x="2561" y="107"/>
                    <a:pt x="2563" y="104"/>
                  </a:cubicBezTo>
                  <a:cubicBezTo>
                    <a:pt x="2564" y="102"/>
                    <a:pt x="2573" y="103"/>
                    <a:pt x="2571" y="99"/>
                  </a:cubicBezTo>
                  <a:cubicBezTo>
                    <a:pt x="2580" y="103"/>
                    <a:pt x="2563" y="104"/>
                    <a:pt x="2569" y="113"/>
                  </a:cubicBezTo>
                  <a:cubicBezTo>
                    <a:pt x="2569" y="118"/>
                    <a:pt x="2579" y="114"/>
                    <a:pt x="2583" y="115"/>
                  </a:cubicBezTo>
                  <a:cubicBezTo>
                    <a:pt x="2590" y="121"/>
                    <a:pt x="2556" y="112"/>
                    <a:pt x="2566" y="127"/>
                  </a:cubicBezTo>
                  <a:cubicBezTo>
                    <a:pt x="2562" y="128"/>
                    <a:pt x="2561" y="126"/>
                    <a:pt x="2561" y="123"/>
                  </a:cubicBezTo>
                  <a:cubicBezTo>
                    <a:pt x="2559" y="121"/>
                    <a:pt x="2556" y="119"/>
                    <a:pt x="2552" y="118"/>
                  </a:cubicBezTo>
                  <a:cubicBezTo>
                    <a:pt x="2553" y="115"/>
                    <a:pt x="2559" y="116"/>
                    <a:pt x="2563" y="116"/>
                  </a:cubicBezTo>
                  <a:close/>
                  <a:moveTo>
                    <a:pt x="2544" y="121"/>
                  </a:moveTo>
                  <a:cubicBezTo>
                    <a:pt x="2542" y="119"/>
                    <a:pt x="2540" y="118"/>
                    <a:pt x="2536" y="118"/>
                  </a:cubicBezTo>
                  <a:cubicBezTo>
                    <a:pt x="2537" y="112"/>
                    <a:pt x="2546" y="113"/>
                    <a:pt x="2544" y="121"/>
                  </a:cubicBezTo>
                  <a:close/>
                  <a:moveTo>
                    <a:pt x="2554" y="179"/>
                  </a:moveTo>
                  <a:cubicBezTo>
                    <a:pt x="2555" y="184"/>
                    <a:pt x="2552" y="186"/>
                    <a:pt x="2551" y="189"/>
                  </a:cubicBezTo>
                  <a:cubicBezTo>
                    <a:pt x="2548" y="186"/>
                    <a:pt x="2546" y="182"/>
                    <a:pt x="2537" y="184"/>
                  </a:cubicBezTo>
                  <a:cubicBezTo>
                    <a:pt x="2536" y="179"/>
                    <a:pt x="2542" y="179"/>
                    <a:pt x="2540" y="172"/>
                  </a:cubicBezTo>
                  <a:cubicBezTo>
                    <a:pt x="2538" y="172"/>
                    <a:pt x="2536" y="173"/>
                    <a:pt x="2534" y="173"/>
                  </a:cubicBezTo>
                  <a:cubicBezTo>
                    <a:pt x="2535" y="170"/>
                    <a:pt x="2539" y="170"/>
                    <a:pt x="2542" y="170"/>
                  </a:cubicBezTo>
                  <a:cubicBezTo>
                    <a:pt x="2540" y="178"/>
                    <a:pt x="2544" y="181"/>
                    <a:pt x="2554" y="179"/>
                  </a:cubicBezTo>
                  <a:close/>
                  <a:moveTo>
                    <a:pt x="2548" y="168"/>
                  </a:moveTo>
                  <a:cubicBezTo>
                    <a:pt x="2552" y="168"/>
                    <a:pt x="2552" y="172"/>
                    <a:pt x="2556" y="172"/>
                  </a:cubicBezTo>
                  <a:cubicBezTo>
                    <a:pt x="2556" y="175"/>
                    <a:pt x="2553" y="173"/>
                    <a:pt x="2553" y="172"/>
                  </a:cubicBezTo>
                  <a:cubicBezTo>
                    <a:pt x="2551" y="172"/>
                    <a:pt x="2551" y="173"/>
                    <a:pt x="2551" y="175"/>
                  </a:cubicBezTo>
                  <a:cubicBezTo>
                    <a:pt x="2548" y="174"/>
                    <a:pt x="2548" y="170"/>
                    <a:pt x="2548" y="168"/>
                  </a:cubicBezTo>
                  <a:close/>
                  <a:moveTo>
                    <a:pt x="2531" y="130"/>
                  </a:moveTo>
                  <a:cubicBezTo>
                    <a:pt x="2543" y="132"/>
                    <a:pt x="2529" y="145"/>
                    <a:pt x="2531" y="130"/>
                  </a:cubicBezTo>
                  <a:close/>
                  <a:moveTo>
                    <a:pt x="2519" y="72"/>
                  </a:moveTo>
                  <a:cubicBezTo>
                    <a:pt x="2522" y="73"/>
                    <a:pt x="2523" y="76"/>
                    <a:pt x="2527" y="76"/>
                  </a:cubicBezTo>
                  <a:cubicBezTo>
                    <a:pt x="2526" y="82"/>
                    <a:pt x="2517" y="77"/>
                    <a:pt x="2519" y="72"/>
                  </a:cubicBezTo>
                  <a:close/>
                  <a:moveTo>
                    <a:pt x="2517" y="131"/>
                  </a:moveTo>
                  <a:cubicBezTo>
                    <a:pt x="2520" y="133"/>
                    <a:pt x="2527" y="131"/>
                    <a:pt x="2525" y="137"/>
                  </a:cubicBezTo>
                  <a:cubicBezTo>
                    <a:pt x="2523" y="135"/>
                    <a:pt x="2515" y="137"/>
                    <a:pt x="2517" y="131"/>
                  </a:cubicBezTo>
                  <a:close/>
                  <a:moveTo>
                    <a:pt x="2520" y="166"/>
                  </a:moveTo>
                  <a:cubicBezTo>
                    <a:pt x="2520" y="169"/>
                    <a:pt x="2514" y="168"/>
                    <a:pt x="2510" y="168"/>
                  </a:cubicBezTo>
                  <a:cubicBezTo>
                    <a:pt x="2511" y="166"/>
                    <a:pt x="2516" y="166"/>
                    <a:pt x="2515" y="161"/>
                  </a:cubicBezTo>
                  <a:cubicBezTo>
                    <a:pt x="2518" y="162"/>
                    <a:pt x="2517" y="166"/>
                    <a:pt x="2520" y="166"/>
                  </a:cubicBezTo>
                  <a:close/>
                  <a:moveTo>
                    <a:pt x="2518" y="196"/>
                  </a:moveTo>
                  <a:cubicBezTo>
                    <a:pt x="2517" y="197"/>
                    <a:pt x="2515" y="191"/>
                    <a:pt x="2513" y="192"/>
                  </a:cubicBezTo>
                  <a:cubicBezTo>
                    <a:pt x="2517" y="184"/>
                    <a:pt x="2520" y="194"/>
                    <a:pt x="2518" y="196"/>
                  </a:cubicBezTo>
                  <a:close/>
                  <a:moveTo>
                    <a:pt x="2513" y="185"/>
                  </a:moveTo>
                  <a:cubicBezTo>
                    <a:pt x="2512" y="187"/>
                    <a:pt x="2507" y="186"/>
                    <a:pt x="2507" y="189"/>
                  </a:cubicBezTo>
                  <a:cubicBezTo>
                    <a:pt x="2507" y="198"/>
                    <a:pt x="2497" y="182"/>
                    <a:pt x="2513" y="185"/>
                  </a:cubicBezTo>
                  <a:close/>
                  <a:moveTo>
                    <a:pt x="2514" y="121"/>
                  </a:moveTo>
                  <a:cubicBezTo>
                    <a:pt x="2514" y="123"/>
                    <a:pt x="2514" y="124"/>
                    <a:pt x="2514" y="126"/>
                  </a:cubicBezTo>
                  <a:cubicBezTo>
                    <a:pt x="2512" y="126"/>
                    <a:pt x="2511" y="126"/>
                    <a:pt x="2509" y="126"/>
                  </a:cubicBezTo>
                  <a:cubicBezTo>
                    <a:pt x="2509" y="124"/>
                    <a:pt x="2509" y="123"/>
                    <a:pt x="2509" y="121"/>
                  </a:cubicBezTo>
                  <a:cubicBezTo>
                    <a:pt x="2510" y="121"/>
                    <a:pt x="2512" y="121"/>
                    <a:pt x="2514" y="121"/>
                  </a:cubicBezTo>
                  <a:close/>
                  <a:moveTo>
                    <a:pt x="2503" y="131"/>
                  </a:moveTo>
                  <a:cubicBezTo>
                    <a:pt x="2503" y="131"/>
                    <a:pt x="2505" y="135"/>
                    <a:pt x="2506" y="133"/>
                  </a:cubicBezTo>
                  <a:cubicBezTo>
                    <a:pt x="2508" y="131"/>
                    <a:pt x="2508" y="131"/>
                    <a:pt x="2509" y="133"/>
                  </a:cubicBezTo>
                  <a:cubicBezTo>
                    <a:pt x="2512" y="133"/>
                    <a:pt x="2511" y="137"/>
                    <a:pt x="2512" y="140"/>
                  </a:cubicBezTo>
                  <a:cubicBezTo>
                    <a:pt x="2506" y="136"/>
                    <a:pt x="2492" y="139"/>
                    <a:pt x="2482" y="138"/>
                  </a:cubicBezTo>
                  <a:cubicBezTo>
                    <a:pt x="2483" y="136"/>
                    <a:pt x="2485" y="134"/>
                    <a:pt x="2481" y="133"/>
                  </a:cubicBezTo>
                  <a:cubicBezTo>
                    <a:pt x="2485" y="130"/>
                    <a:pt x="2497" y="130"/>
                    <a:pt x="2503" y="131"/>
                  </a:cubicBezTo>
                  <a:close/>
                  <a:moveTo>
                    <a:pt x="2488" y="190"/>
                  </a:moveTo>
                  <a:cubicBezTo>
                    <a:pt x="2488" y="188"/>
                    <a:pt x="2488" y="187"/>
                    <a:pt x="2488" y="185"/>
                  </a:cubicBezTo>
                  <a:cubicBezTo>
                    <a:pt x="2492" y="185"/>
                    <a:pt x="2495" y="185"/>
                    <a:pt x="2499" y="185"/>
                  </a:cubicBezTo>
                  <a:cubicBezTo>
                    <a:pt x="2502" y="192"/>
                    <a:pt x="2493" y="189"/>
                    <a:pt x="2488" y="190"/>
                  </a:cubicBezTo>
                  <a:close/>
                  <a:moveTo>
                    <a:pt x="2480" y="185"/>
                  </a:moveTo>
                  <a:cubicBezTo>
                    <a:pt x="2485" y="187"/>
                    <a:pt x="2480" y="190"/>
                    <a:pt x="2480" y="192"/>
                  </a:cubicBezTo>
                  <a:cubicBezTo>
                    <a:pt x="2475" y="191"/>
                    <a:pt x="2479" y="188"/>
                    <a:pt x="2480" y="185"/>
                  </a:cubicBezTo>
                  <a:close/>
                  <a:moveTo>
                    <a:pt x="2465" y="115"/>
                  </a:moveTo>
                  <a:cubicBezTo>
                    <a:pt x="2474" y="111"/>
                    <a:pt x="2467" y="123"/>
                    <a:pt x="2473" y="122"/>
                  </a:cubicBezTo>
                  <a:cubicBezTo>
                    <a:pt x="2470" y="129"/>
                    <a:pt x="2464" y="119"/>
                    <a:pt x="2465" y="115"/>
                  </a:cubicBezTo>
                  <a:close/>
                  <a:moveTo>
                    <a:pt x="2432" y="134"/>
                  </a:moveTo>
                  <a:cubicBezTo>
                    <a:pt x="2436" y="128"/>
                    <a:pt x="2446" y="135"/>
                    <a:pt x="2449" y="136"/>
                  </a:cubicBezTo>
                  <a:cubicBezTo>
                    <a:pt x="2446" y="142"/>
                    <a:pt x="2440" y="131"/>
                    <a:pt x="2432" y="134"/>
                  </a:cubicBezTo>
                  <a:close/>
                  <a:moveTo>
                    <a:pt x="2427" y="170"/>
                  </a:moveTo>
                  <a:cubicBezTo>
                    <a:pt x="2428" y="166"/>
                    <a:pt x="2432" y="164"/>
                    <a:pt x="2438" y="165"/>
                  </a:cubicBezTo>
                  <a:cubicBezTo>
                    <a:pt x="2441" y="172"/>
                    <a:pt x="2432" y="169"/>
                    <a:pt x="2427" y="170"/>
                  </a:cubicBezTo>
                  <a:close/>
                  <a:moveTo>
                    <a:pt x="2454" y="160"/>
                  </a:moveTo>
                  <a:cubicBezTo>
                    <a:pt x="2454" y="160"/>
                    <a:pt x="2455" y="158"/>
                    <a:pt x="2454" y="158"/>
                  </a:cubicBezTo>
                  <a:cubicBezTo>
                    <a:pt x="2464" y="158"/>
                    <a:pt x="2450" y="165"/>
                    <a:pt x="2446" y="162"/>
                  </a:cubicBezTo>
                  <a:cubicBezTo>
                    <a:pt x="2444" y="161"/>
                    <a:pt x="2453" y="160"/>
                    <a:pt x="2454" y="160"/>
                  </a:cubicBezTo>
                  <a:close/>
                  <a:moveTo>
                    <a:pt x="2457" y="132"/>
                  </a:moveTo>
                  <a:cubicBezTo>
                    <a:pt x="2461" y="123"/>
                    <a:pt x="2462" y="136"/>
                    <a:pt x="2460" y="136"/>
                  </a:cubicBezTo>
                  <a:cubicBezTo>
                    <a:pt x="2458" y="137"/>
                    <a:pt x="2456" y="133"/>
                    <a:pt x="2457" y="132"/>
                  </a:cubicBezTo>
                  <a:close/>
                  <a:moveTo>
                    <a:pt x="2463" y="169"/>
                  </a:moveTo>
                  <a:cubicBezTo>
                    <a:pt x="2462" y="172"/>
                    <a:pt x="2456" y="171"/>
                    <a:pt x="2452" y="172"/>
                  </a:cubicBezTo>
                  <a:cubicBezTo>
                    <a:pt x="2453" y="166"/>
                    <a:pt x="2459" y="166"/>
                    <a:pt x="2463" y="169"/>
                  </a:cubicBezTo>
                  <a:close/>
                  <a:moveTo>
                    <a:pt x="2456" y="110"/>
                  </a:moveTo>
                  <a:cubicBezTo>
                    <a:pt x="2466" y="108"/>
                    <a:pt x="2464" y="125"/>
                    <a:pt x="2454" y="120"/>
                  </a:cubicBezTo>
                  <a:cubicBezTo>
                    <a:pt x="2456" y="118"/>
                    <a:pt x="2457" y="115"/>
                    <a:pt x="2456" y="110"/>
                  </a:cubicBezTo>
                  <a:close/>
                  <a:moveTo>
                    <a:pt x="2448" y="96"/>
                  </a:moveTo>
                  <a:cubicBezTo>
                    <a:pt x="2451" y="97"/>
                    <a:pt x="2450" y="101"/>
                    <a:pt x="2453" y="101"/>
                  </a:cubicBezTo>
                  <a:cubicBezTo>
                    <a:pt x="2452" y="108"/>
                    <a:pt x="2445" y="101"/>
                    <a:pt x="2448" y="96"/>
                  </a:cubicBezTo>
                  <a:close/>
                  <a:moveTo>
                    <a:pt x="2451" y="108"/>
                  </a:moveTo>
                  <a:cubicBezTo>
                    <a:pt x="2443" y="117"/>
                    <a:pt x="2441" y="101"/>
                    <a:pt x="2451" y="108"/>
                  </a:cubicBezTo>
                  <a:close/>
                  <a:moveTo>
                    <a:pt x="2440" y="101"/>
                  </a:moveTo>
                  <a:cubicBezTo>
                    <a:pt x="2435" y="103"/>
                    <a:pt x="2441" y="113"/>
                    <a:pt x="2432" y="111"/>
                  </a:cubicBezTo>
                  <a:cubicBezTo>
                    <a:pt x="2431" y="105"/>
                    <a:pt x="2433" y="101"/>
                    <a:pt x="2440" y="101"/>
                  </a:cubicBezTo>
                  <a:close/>
                  <a:moveTo>
                    <a:pt x="2419" y="149"/>
                  </a:moveTo>
                  <a:cubicBezTo>
                    <a:pt x="2419" y="143"/>
                    <a:pt x="2428" y="148"/>
                    <a:pt x="2430" y="149"/>
                  </a:cubicBezTo>
                  <a:cubicBezTo>
                    <a:pt x="2428" y="156"/>
                    <a:pt x="2424" y="146"/>
                    <a:pt x="2419" y="149"/>
                  </a:cubicBezTo>
                  <a:close/>
                  <a:moveTo>
                    <a:pt x="2427" y="139"/>
                  </a:moveTo>
                  <a:cubicBezTo>
                    <a:pt x="2423" y="139"/>
                    <a:pt x="2419" y="139"/>
                    <a:pt x="2416" y="139"/>
                  </a:cubicBezTo>
                  <a:cubicBezTo>
                    <a:pt x="2417" y="137"/>
                    <a:pt x="2419" y="135"/>
                    <a:pt x="2416" y="135"/>
                  </a:cubicBezTo>
                  <a:cubicBezTo>
                    <a:pt x="2416" y="131"/>
                    <a:pt x="2424" y="134"/>
                    <a:pt x="2424" y="130"/>
                  </a:cubicBezTo>
                  <a:cubicBezTo>
                    <a:pt x="2427" y="131"/>
                    <a:pt x="2426" y="136"/>
                    <a:pt x="2427" y="139"/>
                  </a:cubicBezTo>
                  <a:close/>
                  <a:moveTo>
                    <a:pt x="2410" y="114"/>
                  </a:moveTo>
                  <a:cubicBezTo>
                    <a:pt x="2413" y="116"/>
                    <a:pt x="2417" y="117"/>
                    <a:pt x="2424" y="116"/>
                  </a:cubicBezTo>
                  <a:cubicBezTo>
                    <a:pt x="2421" y="121"/>
                    <a:pt x="2408" y="123"/>
                    <a:pt x="2410" y="114"/>
                  </a:cubicBezTo>
                  <a:close/>
                  <a:moveTo>
                    <a:pt x="2413" y="130"/>
                  </a:moveTo>
                  <a:cubicBezTo>
                    <a:pt x="2414" y="140"/>
                    <a:pt x="2398" y="133"/>
                    <a:pt x="2394" y="133"/>
                  </a:cubicBezTo>
                  <a:cubicBezTo>
                    <a:pt x="2399" y="122"/>
                    <a:pt x="2404" y="136"/>
                    <a:pt x="2413" y="130"/>
                  </a:cubicBezTo>
                  <a:close/>
                  <a:moveTo>
                    <a:pt x="2405" y="151"/>
                  </a:moveTo>
                  <a:cubicBezTo>
                    <a:pt x="2402" y="159"/>
                    <a:pt x="2398" y="149"/>
                    <a:pt x="2394" y="149"/>
                  </a:cubicBezTo>
                  <a:cubicBezTo>
                    <a:pt x="2397" y="146"/>
                    <a:pt x="2404" y="144"/>
                    <a:pt x="2408" y="147"/>
                  </a:cubicBezTo>
                  <a:cubicBezTo>
                    <a:pt x="2408" y="149"/>
                    <a:pt x="2404" y="148"/>
                    <a:pt x="2402" y="149"/>
                  </a:cubicBezTo>
                  <a:cubicBezTo>
                    <a:pt x="2402" y="151"/>
                    <a:pt x="2403" y="151"/>
                    <a:pt x="2405" y="151"/>
                  </a:cubicBezTo>
                  <a:close/>
                  <a:moveTo>
                    <a:pt x="2393" y="116"/>
                  </a:moveTo>
                  <a:cubicBezTo>
                    <a:pt x="2392" y="119"/>
                    <a:pt x="2390" y="121"/>
                    <a:pt x="2385" y="121"/>
                  </a:cubicBezTo>
                  <a:cubicBezTo>
                    <a:pt x="2384" y="116"/>
                    <a:pt x="2389" y="117"/>
                    <a:pt x="2393" y="116"/>
                  </a:cubicBezTo>
                  <a:close/>
                  <a:moveTo>
                    <a:pt x="2374" y="100"/>
                  </a:moveTo>
                  <a:cubicBezTo>
                    <a:pt x="2374" y="100"/>
                    <a:pt x="2380" y="96"/>
                    <a:pt x="2382" y="98"/>
                  </a:cubicBezTo>
                  <a:cubicBezTo>
                    <a:pt x="2384" y="99"/>
                    <a:pt x="2371" y="105"/>
                    <a:pt x="2374" y="100"/>
                  </a:cubicBezTo>
                  <a:close/>
                  <a:moveTo>
                    <a:pt x="2360" y="100"/>
                  </a:moveTo>
                  <a:cubicBezTo>
                    <a:pt x="2366" y="100"/>
                    <a:pt x="2369" y="102"/>
                    <a:pt x="2368" y="107"/>
                  </a:cubicBezTo>
                  <a:cubicBezTo>
                    <a:pt x="2365" y="107"/>
                    <a:pt x="2361" y="107"/>
                    <a:pt x="2360" y="110"/>
                  </a:cubicBezTo>
                  <a:cubicBezTo>
                    <a:pt x="2352" y="108"/>
                    <a:pt x="2363" y="105"/>
                    <a:pt x="2360" y="100"/>
                  </a:cubicBezTo>
                  <a:close/>
                  <a:moveTo>
                    <a:pt x="2349" y="115"/>
                  </a:moveTo>
                  <a:cubicBezTo>
                    <a:pt x="2346" y="113"/>
                    <a:pt x="2344" y="110"/>
                    <a:pt x="2344" y="105"/>
                  </a:cubicBezTo>
                  <a:cubicBezTo>
                    <a:pt x="2347" y="106"/>
                    <a:pt x="2349" y="105"/>
                    <a:pt x="2349" y="103"/>
                  </a:cubicBezTo>
                  <a:cubicBezTo>
                    <a:pt x="2352" y="103"/>
                    <a:pt x="2351" y="105"/>
                    <a:pt x="2349" y="105"/>
                  </a:cubicBezTo>
                  <a:cubicBezTo>
                    <a:pt x="2349" y="112"/>
                    <a:pt x="2354" y="110"/>
                    <a:pt x="2349" y="115"/>
                  </a:cubicBezTo>
                  <a:close/>
                  <a:moveTo>
                    <a:pt x="2347" y="124"/>
                  </a:moveTo>
                  <a:cubicBezTo>
                    <a:pt x="2350" y="121"/>
                    <a:pt x="2352" y="122"/>
                    <a:pt x="2352" y="126"/>
                  </a:cubicBezTo>
                  <a:cubicBezTo>
                    <a:pt x="2346" y="127"/>
                    <a:pt x="2344" y="125"/>
                    <a:pt x="2344" y="119"/>
                  </a:cubicBezTo>
                  <a:cubicBezTo>
                    <a:pt x="2347" y="119"/>
                    <a:pt x="2346" y="122"/>
                    <a:pt x="2347" y="124"/>
                  </a:cubicBezTo>
                  <a:close/>
                  <a:moveTo>
                    <a:pt x="2349" y="86"/>
                  </a:moveTo>
                  <a:cubicBezTo>
                    <a:pt x="2357" y="88"/>
                    <a:pt x="2345" y="90"/>
                    <a:pt x="2346" y="94"/>
                  </a:cubicBezTo>
                  <a:cubicBezTo>
                    <a:pt x="2337" y="91"/>
                    <a:pt x="2349" y="89"/>
                    <a:pt x="2349" y="86"/>
                  </a:cubicBezTo>
                  <a:close/>
                  <a:moveTo>
                    <a:pt x="2327" y="94"/>
                  </a:moveTo>
                  <a:cubicBezTo>
                    <a:pt x="2330" y="94"/>
                    <a:pt x="2329" y="98"/>
                    <a:pt x="2330" y="101"/>
                  </a:cubicBezTo>
                  <a:cubicBezTo>
                    <a:pt x="2330" y="104"/>
                    <a:pt x="2335" y="103"/>
                    <a:pt x="2338" y="103"/>
                  </a:cubicBezTo>
                  <a:cubicBezTo>
                    <a:pt x="2336" y="105"/>
                    <a:pt x="2335" y="109"/>
                    <a:pt x="2336" y="113"/>
                  </a:cubicBezTo>
                  <a:cubicBezTo>
                    <a:pt x="2334" y="111"/>
                    <a:pt x="2331" y="110"/>
                    <a:pt x="2327" y="110"/>
                  </a:cubicBezTo>
                  <a:cubicBezTo>
                    <a:pt x="2328" y="106"/>
                    <a:pt x="2327" y="103"/>
                    <a:pt x="2322" y="103"/>
                  </a:cubicBezTo>
                  <a:cubicBezTo>
                    <a:pt x="2322" y="99"/>
                    <a:pt x="2329" y="100"/>
                    <a:pt x="2327" y="94"/>
                  </a:cubicBezTo>
                  <a:close/>
                  <a:moveTo>
                    <a:pt x="2322" y="125"/>
                  </a:moveTo>
                  <a:cubicBezTo>
                    <a:pt x="2327" y="125"/>
                    <a:pt x="2324" y="132"/>
                    <a:pt x="2328" y="134"/>
                  </a:cubicBezTo>
                  <a:cubicBezTo>
                    <a:pt x="2332" y="134"/>
                    <a:pt x="2338" y="135"/>
                    <a:pt x="2339" y="131"/>
                  </a:cubicBezTo>
                  <a:cubicBezTo>
                    <a:pt x="2343" y="132"/>
                    <a:pt x="2338" y="134"/>
                    <a:pt x="2339" y="138"/>
                  </a:cubicBezTo>
                  <a:cubicBezTo>
                    <a:pt x="2334" y="139"/>
                    <a:pt x="2334" y="136"/>
                    <a:pt x="2331" y="136"/>
                  </a:cubicBezTo>
                  <a:cubicBezTo>
                    <a:pt x="2327" y="139"/>
                    <a:pt x="2326" y="143"/>
                    <a:pt x="2317" y="141"/>
                  </a:cubicBezTo>
                  <a:cubicBezTo>
                    <a:pt x="2320" y="134"/>
                    <a:pt x="2320" y="134"/>
                    <a:pt x="2309" y="134"/>
                  </a:cubicBezTo>
                  <a:cubicBezTo>
                    <a:pt x="2299" y="129"/>
                    <a:pt x="2330" y="137"/>
                    <a:pt x="2322" y="125"/>
                  </a:cubicBezTo>
                  <a:close/>
                  <a:moveTo>
                    <a:pt x="2339" y="162"/>
                  </a:moveTo>
                  <a:cubicBezTo>
                    <a:pt x="2344" y="162"/>
                    <a:pt x="2341" y="170"/>
                    <a:pt x="2348" y="169"/>
                  </a:cubicBezTo>
                  <a:cubicBezTo>
                    <a:pt x="2345" y="175"/>
                    <a:pt x="2332" y="165"/>
                    <a:pt x="2339" y="162"/>
                  </a:cubicBezTo>
                  <a:close/>
                  <a:moveTo>
                    <a:pt x="2351" y="211"/>
                  </a:moveTo>
                  <a:cubicBezTo>
                    <a:pt x="2350" y="214"/>
                    <a:pt x="2348" y="216"/>
                    <a:pt x="2343" y="216"/>
                  </a:cubicBezTo>
                  <a:cubicBezTo>
                    <a:pt x="2342" y="211"/>
                    <a:pt x="2347" y="211"/>
                    <a:pt x="2351" y="211"/>
                  </a:cubicBezTo>
                  <a:close/>
                  <a:moveTo>
                    <a:pt x="2321" y="202"/>
                  </a:moveTo>
                  <a:cubicBezTo>
                    <a:pt x="2322" y="203"/>
                    <a:pt x="2331" y="208"/>
                    <a:pt x="2332" y="202"/>
                  </a:cubicBezTo>
                  <a:cubicBezTo>
                    <a:pt x="2337" y="205"/>
                    <a:pt x="2329" y="210"/>
                    <a:pt x="2335" y="216"/>
                  </a:cubicBezTo>
                  <a:cubicBezTo>
                    <a:pt x="2332" y="216"/>
                    <a:pt x="2330" y="217"/>
                    <a:pt x="2329" y="218"/>
                  </a:cubicBezTo>
                  <a:cubicBezTo>
                    <a:pt x="2326" y="218"/>
                    <a:pt x="2326" y="211"/>
                    <a:pt x="2329" y="211"/>
                  </a:cubicBezTo>
                  <a:cubicBezTo>
                    <a:pt x="2328" y="207"/>
                    <a:pt x="2319" y="210"/>
                    <a:pt x="2321" y="202"/>
                  </a:cubicBezTo>
                  <a:close/>
                  <a:moveTo>
                    <a:pt x="2309" y="141"/>
                  </a:moveTo>
                  <a:cubicBezTo>
                    <a:pt x="2304" y="142"/>
                    <a:pt x="2303" y="138"/>
                    <a:pt x="2298" y="139"/>
                  </a:cubicBezTo>
                  <a:cubicBezTo>
                    <a:pt x="2297" y="135"/>
                    <a:pt x="2313" y="135"/>
                    <a:pt x="2309" y="141"/>
                  </a:cubicBezTo>
                  <a:close/>
                  <a:moveTo>
                    <a:pt x="2287" y="132"/>
                  </a:moveTo>
                  <a:cubicBezTo>
                    <a:pt x="2289" y="132"/>
                    <a:pt x="2292" y="132"/>
                    <a:pt x="2295" y="132"/>
                  </a:cubicBezTo>
                  <a:cubicBezTo>
                    <a:pt x="2293" y="134"/>
                    <a:pt x="2294" y="140"/>
                    <a:pt x="2292" y="142"/>
                  </a:cubicBezTo>
                  <a:cubicBezTo>
                    <a:pt x="2292" y="142"/>
                    <a:pt x="2290" y="141"/>
                    <a:pt x="2290" y="142"/>
                  </a:cubicBezTo>
                  <a:cubicBezTo>
                    <a:pt x="2288" y="146"/>
                    <a:pt x="2294" y="155"/>
                    <a:pt x="2284" y="153"/>
                  </a:cubicBezTo>
                  <a:cubicBezTo>
                    <a:pt x="2289" y="149"/>
                    <a:pt x="2286" y="140"/>
                    <a:pt x="2287" y="132"/>
                  </a:cubicBezTo>
                  <a:close/>
                  <a:moveTo>
                    <a:pt x="2291" y="252"/>
                  </a:moveTo>
                  <a:cubicBezTo>
                    <a:pt x="2291" y="254"/>
                    <a:pt x="2291" y="255"/>
                    <a:pt x="2292" y="257"/>
                  </a:cubicBezTo>
                  <a:cubicBezTo>
                    <a:pt x="2290" y="257"/>
                    <a:pt x="2288" y="257"/>
                    <a:pt x="2286" y="257"/>
                  </a:cubicBezTo>
                  <a:cubicBezTo>
                    <a:pt x="2286" y="255"/>
                    <a:pt x="2286" y="254"/>
                    <a:pt x="2286" y="252"/>
                  </a:cubicBezTo>
                  <a:cubicBezTo>
                    <a:pt x="2288" y="252"/>
                    <a:pt x="2290" y="252"/>
                    <a:pt x="2291" y="252"/>
                  </a:cubicBezTo>
                  <a:close/>
                  <a:moveTo>
                    <a:pt x="2285" y="210"/>
                  </a:moveTo>
                  <a:cubicBezTo>
                    <a:pt x="2297" y="211"/>
                    <a:pt x="2283" y="223"/>
                    <a:pt x="2285" y="210"/>
                  </a:cubicBezTo>
                  <a:close/>
                  <a:moveTo>
                    <a:pt x="2278" y="283"/>
                  </a:moveTo>
                  <a:cubicBezTo>
                    <a:pt x="2279" y="280"/>
                    <a:pt x="2284" y="280"/>
                    <a:pt x="2284" y="283"/>
                  </a:cubicBezTo>
                  <a:cubicBezTo>
                    <a:pt x="2287" y="282"/>
                    <a:pt x="2286" y="278"/>
                    <a:pt x="2286" y="276"/>
                  </a:cubicBezTo>
                  <a:cubicBezTo>
                    <a:pt x="2289" y="277"/>
                    <a:pt x="2291" y="278"/>
                    <a:pt x="2292" y="275"/>
                  </a:cubicBezTo>
                  <a:cubicBezTo>
                    <a:pt x="2299" y="281"/>
                    <a:pt x="2284" y="287"/>
                    <a:pt x="2278" y="283"/>
                  </a:cubicBezTo>
                  <a:close/>
                  <a:moveTo>
                    <a:pt x="2303" y="282"/>
                  </a:moveTo>
                  <a:cubicBezTo>
                    <a:pt x="2303" y="281"/>
                    <a:pt x="2303" y="279"/>
                    <a:pt x="2303" y="278"/>
                  </a:cubicBezTo>
                  <a:cubicBezTo>
                    <a:pt x="2305" y="278"/>
                    <a:pt x="2307" y="278"/>
                    <a:pt x="2308" y="278"/>
                  </a:cubicBezTo>
                  <a:cubicBezTo>
                    <a:pt x="2308" y="279"/>
                    <a:pt x="2308" y="281"/>
                    <a:pt x="2308" y="282"/>
                  </a:cubicBezTo>
                  <a:cubicBezTo>
                    <a:pt x="2307" y="282"/>
                    <a:pt x="2305" y="282"/>
                    <a:pt x="2303" y="282"/>
                  </a:cubicBezTo>
                  <a:close/>
                  <a:moveTo>
                    <a:pt x="2311" y="278"/>
                  </a:moveTo>
                  <a:cubicBezTo>
                    <a:pt x="2316" y="277"/>
                    <a:pt x="2316" y="280"/>
                    <a:pt x="2319" y="280"/>
                  </a:cubicBezTo>
                  <a:cubicBezTo>
                    <a:pt x="2321" y="284"/>
                    <a:pt x="2307" y="283"/>
                    <a:pt x="2311" y="278"/>
                  </a:cubicBezTo>
                  <a:close/>
                  <a:moveTo>
                    <a:pt x="2311" y="254"/>
                  </a:moveTo>
                  <a:cubicBezTo>
                    <a:pt x="2313" y="254"/>
                    <a:pt x="2313" y="253"/>
                    <a:pt x="2313" y="252"/>
                  </a:cubicBezTo>
                  <a:cubicBezTo>
                    <a:pt x="2319" y="251"/>
                    <a:pt x="2318" y="262"/>
                    <a:pt x="2311" y="259"/>
                  </a:cubicBezTo>
                  <a:cubicBezTo>
                    <a:pt x="2311" y="257"/>
                    <a:pt x="2311" y="256"/>
                    <a:pt x="2311" y="254"/>
                  </a:cubicBezTo>
                  <a:close/>
                  <a:moveTo>
                    <a:pt x="2318" y="221"/>
                  </a:moveTo>
                  <a:cubicBezTo>
                    <a:pt x="2313" y="224"/>
                    <a:pt x="2314" y="217"/>
                    <a:pt x="2313" y="216"/>
                  </a:cubicBezTo>
                  <a:cubicBezTo>
                    <a:pt x="2307" y="216"/>
                    <a:pt x="2307" y="222"/>
                    <a:pt x="2308" y="231"/>
                  </a:cubicBezTo>
                  <a:cubicBezTo>
                    <a:pt x="2310" y="231"/>
                    <a:pt x="2310" y="230"/>
                    <a:pt x="2310" y="228"/>
                  </a:cubicBezTo>
                  <a:cubicBezTo>
                    <a:pt x="2319" y="229"/>
                    <a:pt x="2300" y="236"/>
                    <a:pt x="2310" y="238"/>
                  </a:cubicBezTo>
                  <a:cubicBezTo>
                    <a:pt x="2310" y="241"/>
                    <a:pt x="2303" y="239"/>
                    <a:pt x="2302" y="238"/>
                  </a:cubicBezTo>
                  <a:cubicBezTo>
                    <a:pt x="2301" y="234"/>
                    <a:pt x="2305" y="233"/>
                    <a:pt x="2305" y="231"/>
                  </a:cubicBezTo>
                  <a:cubicBezTo>
                    <a:pt x="2304" y="225"/>
                    <a:pt x="2302" y="221"/>
                    <a:pt x="2305" y="219"/>
                  </a:cubicBezTo>
                  <a:cubicBezTo>
                    <a:pt x="2306" y="211"/>
                    <a:pt x="2291" y="218"/>
                    <a:pt x="2293" y="210"/>
                  </a:cubicBezTo>
                  <a:cubicBezTo>
                    <a:pt x="2300" y="204"/>
                    <a:pt x="2307" y="219"/>
                    <a:pt x="2302" y="205"/>
                  </a:cubicBezTo>
                  <a:cubicBezTo>
                    <a:pt x="2307" y="205"/>
                    <a:pt x="2313" y="205"/>
                    <a:pt x="2318" y="205"/>
                  </a:cubicBezTo>
                  <a:cubicBezTo>
                    <a:pt x="2317" y="212"/>
                    <a:pt x="2325" y="216"/>
                    <a:pt x="2318" y="221"/>
                  </a:cubicBezTo>
                  <a:close/>
                  <a:moveTo>
                    <a:pt x="2321" y="228"/>
                  </a:moveTo>
                  <a:cubicBezTo>
                    <a:pt x="2321" y="226"/>
                    <a:pt x="2321" y="225"/>
                    <a:pt x="2321" y="223"/>
                  </a:cubicBezTo>
                  <a:cubicBezTo>
                    <a:pt x="2323" y="223"/>
                    <a:pt x="2325" y="223"/>
                    <a:pt x="2327" y="223"/>
                  </a:cubicBezTo>
                  <a:cubicBezTo>
                    <a:pt x="2327" y="225"/>
                    <a:pt x="2327" y="226"/>
                    <a:pt x="2327" y="228"/>
                  </a:cubicBezTo>
                  <a:cubicBezTo>
                    <a:pt x="2325" y="228"/>
                    <a:pt x="2323" y="228"/>
                    <a:pt x="2321" y="228"/>
                  </a:cubicBezTo>
                  <a:close/>
                  <a:moveTo>
                    <a:pt x="2327" y="258"/>
                  </a:moveTo>
                  <a:cubicBezTo>
                    <a:pt x="2339" y="259"/>
                    <a:pt x="2325" y="272"/>
                    <a:pt x="2327" y="258"/>
                  </a:cubicBezTo>
                  <a:close/>
                  <a:moveTo>
                    <a:pt x="2338" y="249"/>
                  </a:moveTo>
                  <a:cubicBezTo>
                    <a:pt x="2336" y="248"/>
                    <a:pt x="2335" y="247"/>
                    <a:pt x="2333" y="247"/>
                  </a:cubicBezTo>
                  <a:cubicBezTo>
                    <a:pt x="2333" y="245"/>
                    <a:pt x="2335" y="244"/>
                    <a:pt x="2335" y="242"/>
                  </a:cubicBezTo>
                  <a:cubicBezTo>
                    <a:pt x="2337" y="242"/>
                    <a:pt x="2338" y="244"/>
                    <a:pt x="2341" y="244"/>
                  </a:cubicBezTo>
                  <a:cubicBezTo>
                    <a:pt x="2340" y="246"/>
                    <a:pt x="2338" y="246"/>
                    <a:pt x="2338" y="249"/>
                  </a:cubicBezTo>
                  <a:close/>
                  <a:moveTo>
                    <a:pt x="2341" y="239"/>
                  </a:moveTo>
                  <a:cubicBezTo>
                    <a:pt x="2342" y="236"/>
                    <a:pt x="2349" y="237"/>
                    <a:pt x="2346" y="230"/>
                  </a:cubicBezTo>
                  <a:cubicBezTo>
                    <a:pt x="2351" y="234"/>
                    <a:pt x="2351" y="238"/>
                    <a:pt x="2349" y="244"/>
                  </a:cubicBezTo>
                  <a:cubicBezTo>
                    <a:pt x="2346" y="242"/>
                    <a:pt x="2346" y="239"/>
                    <a:pt x="2341" y="239"/>
                  </a:cubicBezTo>
                  <a:close/>
                  <a:moveTo>
                    <a:pt x="2352" y="282"/>
                  </a:moveTo>
                  <a:cubicBezTo>
                    <a:pt x="2351" y="286"/>
                    <a:pt x="2347" y="283"/>
                    <a:pt x="2349" y="274"/>
                  </a:cubicBezTo>
                  <a:cubicBezTo>
                    <a:pt x="2351" y="268"/>
                    <a:pt x="2353" y="280"/>
                    <a:pt x="2352" y="282"/>
                  </a:cubicBezTo>
                  <a:close/>
                  <a:moveTo>
                    <a:pt x="2347" y="138"/>
                  </a:moveTo>
                  <a:cubicBezTo>
                    <a:pt x="2345" y="138"/>
                    <a:pt x="2344" y="139"/>
                    <a:pt x="2344" y="141"/>
                  </a:cubicBezTo>
                  <a:cubicBezTo>
                    <a:pt x="2334" y="139"/>
                    <a:pt x="2360" y="133"/>
                    <a:pt x="2344" y="134"/>
                  </a:cubicBezTo>
                  <a:cubicBezTo>
                    <a:pt x="2344" y="126"/>
                    <a:pt x="2351" y="134"/>
                    <a:pt x="2355" y="133"/>
                  </a:cubicBezTo>
                  <a:cubicBezTo>
                    <a:pt x="2358" y="133"/>
                    <a:pt x="2389" y="124"/>
                    <a:pt x="2377" y="140"/>
                  </a:cubicBezTo>
                  <a:cubicBezTo>
                    <a:pt x="2371" y="141"/>
                    <a:pt x="2374" y="133"/>
                    <a:pt x="2369" y="133"/>
                  </a:cubicBezTo>
                  <a:cubicBezTo>
                    <a:pt x="2365" y="138"/>
                    <a:pt x="2354" y="143"/>
                    <a:pt x="2347" y="138"/>
                  </a:cubicBezTo>
                  <a:close/>
                  <a:moveTo>
                    <a:pt x="2354" y="213"/>
                  </a:moveTo>
                  <a:cubicBezTo>
                    <a:pt x="2356" y="211"/>
                    <a:pt x="2358" y="207"/>
                    <a:pt x="2354" y="206"/>
                  </a:cubicBezTo>
                  <a:cubicBezTo>
                    <a:pt x="2355" y="201"/>
                    <a:pt x="2367" y="205"/>
                    <a:pt x="2373" y="204"/>
                  </a:cubicBezTo>
                  <a:cubicBezTo>
                    <a:pt x="2382" y="205"/>
                    <a:pt x="2368" y="207"/>
                    <a:pt x="2365" y="206"/>
                  </a:cubicBezTo>
                  <a:cubicBezTo>
                    <a:pt x="2358" y="205"/>
                    <a:pt x="2363" y="215"/>
                    <a:pt x="2354" y="213"/>
                  </a:cubicBezTo>
                  <a:close/>
                  <a:moveTo>
                    <a:pt x="2373" y="218"/>
                  </a:moveTo>
                  <a:cubicBezTo>
                    <a:pt x="2371" y="215"/>
                    <a:pt x="2363" y="217"/>
                    <a:pt x="2365" y="211"/>
                  </a:cubicBezTo>
                  <a:cubicBezTo>
                    <a:pt x="2371" y="210"/>
                    <a:pt x="2374" y="213"/>
                    <a:pt x="2373" y="218"/>
                  </a:cubicBezTo>
                  <a:close/>
                  <a:moveTo>
                    <a:pt x="2363" y="263"/>
                  </a:moveTo>
                  <a:cubicBezTo>
                    <a:pt x="2362" y="262"/>
                    <a:pt x="2357" y="267"/>
                    <a:pt x="2358" y="267"/>
                  </a:cubicBezTo>
                  <a:cubicBezTo>
                    <a:pt x="2351" y="265"/>
                    <a:pt x="2366" y="255"/>
                    <a:pt x="2366" y="265"/>
                  </a:cubicBezTo>
                  <a:cubicBezTo>
                    <a:pt x="2363" y="266"/>
                    <a:pt x="2364" y="263"/>
                    <a:pt x="2363" y="263"/>
                  </a:cubicBezTo>
                  <a:close/>
                  <a:moveTo>
                    <a:pt x="2374" y="255"/>
                  </a:moveTo>
                  <a:cubicBezTo>
                    <a:pt x="2366" y="252"/>
                    <a:pt x="2360" y="247"/>
                    <a:pt x="2368" y="241"/>
                  </a:cubicBezTo>
                  <a:cubicBezTo>
                    <a:pt x="2367" y="238"/>
                    <a:pt x="2363" y="239"/>
                    <a:pt x="2363" y="241"/>
                  </a:cubicBezTo>
                  <a:cubicBezTo>
                    <a:pt x="2356" y="240"/>
                    <a:pt x="2361" y="230"/>
                    <a:pt x="2368" y="232"/>
                  </a:cubicBezTo>
                  <a:cubicBezTo>
                    <a:pt x="2367" y="229"/>
                    <a:pt x="2363" y="230"/>
                    <a:pt x="2360" y="230"/>
                  </a:cubicBezTo>
                  <a:cubicBezTo>
                    <a:pt x="2360" y="225"/>
                    <a:pt x="2367" y="227"/>
                    <a:pt x="2365" y="220"/>
                  </a:cubicBezTo>
                  <a:cubicBezTo>
                    <a:pt x="2369" y="223"/>
                    <a:pt x="2371" y="232"/>
                    <a:pt x="2368" y="234"/>
                  </a:cubicBezTo>
                  <a:cubicBezTo>
                    <a:pt x="2366" y="238"/>
                    <a:pt x="2381" y="238"/>
                    <a:pt x="2379" y="234"/>
                  </a:cubicBezTo>
                  <a:cubicBezTo>
                    <a:pt x="2385" y="235"/>
                    <a:pt x="2374" y="244"/>
                    <a:pt x="2371" y="239"/>
                  </a:cubicBezTo>
                  <a:cubicBezTo>
                    <a:pt x="2370" y="243"/>
                    <a:pt x="2373" y="243"/>
                    <a:pt x="2376" y="244"/>
                  </a:cubicBezTo>
                  <a:cubicBezTo>
                    <a:pt x="2378" y="249"/>
                    <a:pt x="2371" y="249"/>
                    <a:pt x="2374" y="255"/>
                  </a:cubicBezTo>
                  <a:close/>
                  <a:moveTo>
                    <a:pt x="2377" y="283"/>
                  </a:moveTo>
                  <a:cubicBezTo>
                    <a:pt x="2375" y="283"/>
                    <a:pt x="2375" y="284"/>
                    <a:pt x="2374" y="286"/>
                  </a:cubicBezTo>
                  <a:cubicBezTo>
                    <a:pt x="2367" y="283"/>
                    <a:pt x="2381" y="279"/>
                    <a:pt x="2388" y="281"/>
                  </a:cubicBezTo>
                  <a:cubicBezTo>
                    <a:pt x="2388" y="283"/>
                    <a:pt x="2388" y="286"/>
                    <a:pt x="2388" y="288"/>
                  </a:cubicBezTo>
                  <a:cubicBezTo>
                    <a:pt x="2380" y="291"/>
                    <a:pt x="2381" y="284"/>
                    <a:pt x="2377" y="283"/>
                  </a:cubicBezTo>
                  <a:close/>
                  <a:moveTo>
                    <a:pt x="2381" y="218"/>
                  </a:moveTo>
                  <a:cubicBezTo>
                    <a:pt x="2378" y="217"/>
                    <a:pt x="2379" y="213"/>
                    <a:pt x="2376" y="213"/>
                  </a:cubicBezTo>
                  <a:cubicBezTo>
                    <a:pt x="2377" y="205"/>
                    <a:pt x="2383" y="215"/>
                    <a:pt x="2387" y="215"/>
                  </a:cubicBezTo>
                  <a:cubicBezTo>
                    <a:pt x="2387" y="215"/>
                    <a:pt x="2390" y="215"/>
                    <a:pt x="2390" y="215"/>
                  </a:cubicBezTo>
                  <a:cubicBezTo>
                    <a:pt x="2392" y="221"/>
                    <a:pt x="2379" y="212"/>
                    <a:pt x="2381" y="218"/>
                  </a:cubicBezTo>
                  <a:close/>
                  <a:moveTo>
                    <a:pt x="2409" y="224"/>
                  </a:moveTo>
                  <a:cubicBezTo>
                    <a:pt x="2413" y="225"/>
                    <a:pt x="2416" y="227"/>
                    <a:pt x="2420" y="229"/>
                  </a:cubicBezTo>
                  <a:cubicBezTo>
                    <a:pt x="2419" y="234"/>
                    <a:pt x="2407" y="229"/>
                    <a:pt x="2409" y="224"/>
                  </a:cubicBezTo>
                  <a:close/>
                  <a:moveTo>
                    <a:pt x="2425" y="217"/>
                  </a:moveTo>
                  <a:cubicBezTo>
                    <a:pt x="2426" y="211"/>
                    <a:pt x="2435" y="216"/>
                    <a:pt x="2436" y="217"/>
                  </a:cubicBezTo>
                  <a:cubicBezTo>
                    <a:pt x="2435" y="224"/>
                    <a:pt x="2430" y="214"/>
                    <a:pt x="2425" y="217"/>
                  </a:cubicBezTo>
                  <a:close/>
                  <a:moveTo>
                    <a:pt x="2436" y="212"/>
                  </a:moveTo>
                  <a:cubicBezTo>
                    <a:pt x="2437" y="211"/>
                    <a:pt x="2442" y="208"/>
                    <a:pt x="2444" y="209"/>
                  </a:cubicBezTo>
                  <a:cubicBezTo>
                    <a:pt x="2451" y="214"/>
                    <a:pt x="2433" y="220"/>
                    <a:pt x="2436" y="212"/>
                  </a:cubicBezTo>
                  <a:close/>
                  <a:moveTo>
                    <a:pt x="2453" y="259"/>
                  </a:moveTo>
                  <a:cubicBezTo>
                    <a:pt x="2451" y="259"/>
                    <a:pt x="2448" y="259"/>
                    <a:pt x="2445" y="259"/>
                  </a:cubicBezTo>
                  <a:cubicBezTo>
                    <a:pt x="2447" y="252"/>
                    <a:pt x="2449" y="256"/>
                    <a:pt x="2456" y="256"/>
                  </a:cubicBezTo>
                  <a:cubicBezTo>
                    <a:pt x="2456" y="260"/>
                    <a:pt x="2456" y="263"/>
                    <a:pt x="2459" y="263"/>
                  </a:cubicBezTo>
                  <a:cubicBezTo>
                    <a:pt x="2458" y="270"/>
                    <a:pt x="2450" y="263"/>
                    <a:pt x="2453" y="259"/>
                  </a:cubicBezTo>
                  <a:close/>
                  <a:moveTo>
                    <a:pt x="2464" y="237"/>
                  </a:moveTo>
                  <a:cubicBezTo>
                    <a:pt x="2460" y="238"/>
                    <a:pt x="2463" y="244"/>
                    <a:pt x="2459" y="244"/>
                  </a:cubicBezTo>
                  <a:cubicBezTo>
                    <a:pt x="2457" y="240"/>
                    <a:pt x="2460" y="238"/>
                    <a:pt x="2461" y="235"/>
                  </a:cubicBezTo>
                  <a:cubicBezTo>
                    <a:pt x="2466" y="234"/>
                    <a:pt x="2467" y="237"/>
                    <a:pt x="2464" y="237"/>
                  </a:cubicBezTo>
                  <a:close/>
                  <a:moveTo>
                    <a:pt x="2478" y="246"/>
                  </a:moveTo>
                  <a:cubicBezTo>
                    <a:pt x="2484" y="241"/>
                    <a:pt x="2475" y="239"/>
                    <a:pt x="2481" y="235"/>
                  </a:cubicBezTo>
                  <a:cubicBezTo>
                    <a:pt x="2485" y="234"/>
                    <a:pt x="2486" y="250"/>
                    <a:pt x="2478" y="246"/>
                  </a:cubicBezTo>
                  <a:close/>
                  <a:moveTo>
                    <a:pt x="2497" y="253"/>
                  </a:moveTo>
                  <a:cubicBezTo>
                    <a:pt x="2497" y="251"/>
                    <a:pt x="2501" y="251"/>
                    <a:pt x="2503" y="251"/>
                  </a:cubicBezTo>
                  <a:cubicBezTo>
                    <a:pt x="2505" y="251"/>
                    <a:pt x="2508" y="251"/>
                    <a:pt x="2511" y="251"/>
                  </a:cubicBezTo>
                  <a:cubicBezTo>
                    <a:pt x="2512" y="256"/>
                    <a:pt x="2501" y="252"/>
                    <a:pt x="2497" y="253"/>
                  </a:cubicBezTo>
                  <a:close/>
                  <a:moveTo>
                    <a:pt x="2503" y="248"/>
                  </a:moveTo>
                  <a:cubicBezTo>
                    <a:pt x="2503" y="245"/>
                    <a:pt x="2503" y="242"/>
                    <a:pt x="2503" y="239"/>
                  </a:cubicBezTo>
                  <a:cubicBezTo>
                    <a:pt x="2505" y="239"/>
                    <a:pt x="2505" y="242"/>
                    <a:pt x="2505" y="244"/>
                  </a:cubicBezTo>
                  <a:cubicBezTo>
                    <a:pt x="2509" y="244"/>
                    <a:pt x="2510" y="243"/>
                    <a:pt x="2511" y="241"/>
                  </a:cubicBezTo>
                  <a:cubicBezTo>
                    <a:pt x="2519" y="244"/>
                    <a:pt x="2507" y="249"/>
                    <a:pt x="2503" y="248"/>
                  </a:cubicBezTo>
                  <a:close/>
                  <a:moveTo>
                    <a:pt x="2517" y="269"/>
                  </a:moveTo>
                  <a:cubicBezTo>
                    <a:pt x="2512" y="275"/>
                    <a:pt x="2517" y="268"/>
                    <a:pt x="2517" y="265"/>
                  </a:cubicBezTo>
                  <a:cubicBezTo>
                    <a:pt x="2517" y="256"/>
                    <a:pt x="2524" y="271"/>
                    <a:pt x="2517" y="269"/>
                  </a:cubicBezTo>
                  <a:close/>
                  <a:moveTo>
                    <a:pt x="2535" y="241"/>
                  </a:moveTo>
                  <a:cubicBezTo>
                    <a:pt x="2533" y="237"/>
                    <a:pt x="2522" y="241"/>
                    <a:pt x="2524" y="234"/>
                  </a:cubicBezTo>
                  <a:cubicBezTo>
                    <a:pt x="2527" y="232"/>
                    <a:pt x="2532" y="231"/>
                    <a:pt x="2538" y="231"/>
                  </a:cubicBezTo>
                  <a:cubicBezTo>
                    <a:pt x="2538" y="235"/>
                    <a:pt x="2535" y="236"/>
                    <a:pt x="2535" y="241"/>
                  </a:cubicBezTo>
                  <a:close/>
                  <a:moveTo>
                    <a:pt x="2543" y="219"/>
                  </a:moveTo>
                  <a:cubicBezTo>
                    <a:pt x="2538" y="215"/>
                    <a:pt x="2538" y="221"/>
                    <a:pt x="2530" y="220"/>
                  </a:cubicBezTo>
                  <a:cubicBezTo>
                    <a:pt x="2526" y="217"/>
                    <a:pt x="2529" y="216"/>
                    <a:pt x="2530" y="213"/>
                  </a:cubicBezTo>
                  <a:cubicBezTo>
                    <a:pt x="2524" y="212"/>
                    <a:pt x="2521" y="215"/>
                    <a:pt x="2521" y="220"/>
                  </a:cubicBezTo>
                  <a:cubicBezTo>
                    <a:pt x="2511" y="215"/>
                    <a:pt x="2520" y="208"/>
                    <a:pt x="2529" y="208"/>
                  </a:cubicBezTo>
                  <a:cubicBezTo>
                    <a:pt x="2529" y="203"/>
                    <a:pt x="2521" y="208"/>
                    <a:pt x="2521" y="208"/>
                  </a:cubicBezTo>
                  <a:cubicBezTo>
                    <a:pt x="2518" y="208"/>
                    <a:pt x="2517" y="204"/>
                    <a:pt x="2513" y="203"/>
                  </a:cubicBezTo>
                  <a:cubicBezTo>
                    <a:pt x="2513" y="209"/>
                    <a:pt x="2518" y="209"/>
                    <a:pt x="2513" y="213"/>
                  </a:cubicBezTo>
                  <a:cubicBezTo>
                    <a:pt x="2511" y="215"/>
                    <a:pt x="2519" y="239"/>
                    <a:pt x="2508" y="236"/>
                  </a:cubicBezTo>
                  <a:cubicBezTo>
                    <a:pt x="2507" y="233"/>
                    <a:pt x="2510" y="232"/>
                    <a:pt x="2511" y="229"/>
                  </a:cubicBezTo>
                  <a:cubicBezTo>
                    <a:pt x="2508" y="225"/>
                    <a:pt x="2504" y="222"/>
                    <a:pt x="2499" y="220"/>
                  </a:cubicBezTo>
                  <a:cubicBezTo>
                    <a:pt x="2499" y="216"/>
                    <a:pt x="2501" y="211"/>
                    <a:pt x="2497" y="211"/>
                  </a:cubicBezTo>
                  <a:cubicBezTo>
                    <a:pt x="2493" y="211"/>
                    <a:pt x="2496" y="214"/>
                    <a:pt x="2497" y="213"/>
                  </a:cubicBezTo>
                  <a:cubicBezTo>
                    <a:pt x="2492" y="219"/>
                    <a:pt x="2486" y="214"/>
                    <a:pt x="2483" y="220"/>
                  </a:cubicBezTo>
                  <a:cubicBezTo>
                    <a:pt x="2481" y="219"/>
                    <a:pt x="2479" y="218"/>
                    <a:pt x="2475" y="218"/>
                  </a:cubicBezTo>
                  <a:cubicBezTo>
                    <a:pt x="2474" y="226"/>
                    <a:pt x="2487" y="222"/>
                    <a:pt x="2483" y="232"/>
                  </a:cubicBezTo>
                  <a:cubicBezTo>
                    <a:pt x="2479" y="233"/>
                    <a:pt x="2478" y="230"/>
                    <a:pt x="2478" y="228"/>
                  </a:cubicBezTo>
                  <a:cubicBezTo>
                    <a:pt x="2478" y="225"/>
                    <a:pt x="2473" y="227"/>
                    <a:pt x="2472" y="225"/>
                  </a:cubicBezTo>
                  <a:cubicBezTo>
                    <a:pt x="2472" y="225"/>
                    <a:pt x="2472" y="216"/>
                    <a:pt x="2469" y="218"/>
                  </a:cubicBezTo>
                  <a:cubicBezTo>
                    <a:pt x="2467" y="220"/>
                    <a:pt x="2464" y="221"/>
                    <a:pt x="2464" y="211"/>
                  </a:cubicBezTo>
                  <a:cubicBezTo>
                    <a:pt x="2459" y="214"/>
                    <a:pt x="2460" y="221"/>
                    <a:pt x="2450" y="219"/>
                  </a:cubicBezTo>
                  <a:cubicBezTo>
                    <a:pt x="2450" y="216"/>
                    <a:pt x="2449" y="214"/>
                    <a:pt x="2447" y="214"/>
                  </a:cubicBezTo>
                  <a:cubicBezTo>
                    <a:pt x="2446" y="210"/>
                    <a:pt x="2449" y="210"/>
                    <a:pt x="2453" y="209"/>
                  </a:cubicBezTo>
                  <a:cubicBezTo>
                    <a:pt x="2452" y="207"/>
                    <a:pt x="2447" y="208"/>
                    <a:pt x="2447" y="205"/>
                  </a:cubicBezTo>
                  <a:cubicBezTo>
                    <a:pt x="2436" y="206"/>
                    <a:pt x="2426" y="206"/>
                    <a:pt x="2414" y="205"/>
                  </a:cubicBezTo>
                  <a:cubicBezTo>
                    <a:pt x="2406" y="208"/>
                    <a:pt x="2418" y="211"/>
                    <a:pt x="2412" y="215"/>
                  </a:cubicBezTo>
                  <a:cubicBezTo>
                    <a:pt x="2408" y="215"/>
                    <a:pt x="2404" y="215"/>
                    <a:pt x="2401" y="215"/>
                  </a:cubicBezTo>
                  <a:cubicBezTo>
                    <a:pt x="2400" y="211"/>
                    <a:pt x="2403" y="211"/>
                    <a:pt x="2403" y="208"/>
                  </a:cubicBezTo>
                  <a:cubicBezTo>
                    <a:pt x="2400" y="201"/>
                    <a:pt x="2389" y="208"/>
                    <a:pt x="2384" y="208"/>
                  </a:cubicBezTo>
                  <a:cubicBezTo>
                    <a:pt x="2378" y="197"/>
                    <a:pt x="2422" y="207"/>
                    <a:pt x="2411" y="201"/>
                  </a:cubicBezTo>
                  <a:cubicBezTo>
                    <a:pt x="2412" y="198"/>
                    <a:pt x="2414" y="199"/>
                    <a:pt x="2414" y="200"/>
                  </a:cubicBezTo>
                  <a:cubicBezTo>
                    <a:pt x="2421" y="203"/>
                    <a:pt x="2431" y="203"/>
                    <a:pt x="2442" y="202"/>
                  </a:cubicBezTo>
                  <a:cubicBezTo>
                    <a:pt x="2444" y="201"/>
                    <a:pt x="2446" y="200"/>
                    <a:pt x="2450" y="200"/>
                  </a:cubicBezTo>
                  <a:cubicBezTo>
                    <a:pt x="2450" y="198"/>
                    <a:pt x="2450" y="195"/>
                    <a:pt x="2450" y="193"/>
                  </a:cubicBezTo>
                  <a:cubicBezTo>
                    <a:pt x="2456" y="187"/>
                    <a:pt x="2447" y="202"/>
                    <a:pt x="2458" y="202"/>
                  </a:cubicBezTo>
                  <a:cubicBezTo>
                    <a:pt x="2463" y="202"/>
                    <a:pt x="2468" y="203"/>
                    <a:pt x="2463" y="204"/>
                  </a:cubicBezTo>
                  <a:cubicBezTo>
                    <a:pt x="2460" y="206"/>
                    <a:pt x="2455" y="203"/>
                    <a:pt x="2455" y="207"/>
                  </a:cubicBezTo>
                  <a:cubicBezTo>
                    <a:pt x="2453" y="211"/>
                    <a:pt x="2468" y="210"/>
                    <a:pt x="2466" y="207"/>
                  </a:cubicBezTo>
                  <a:cubicBezTo>
                    <a:pt x="2469" y="205"/>
                    <a:pt x="2469" y="201"/>
                    <a:pt x="2474" y="202"/>
                  </a:cubicBezTo>
                  <a:cubicBezTo>
                    <a:pt x="2474" y="198"/>
                    <a:pt x="2477" y="198"/>
                    <a:pt x="2477" y="195"/>
                  </a:cubicBezTo>
                  <a:cubicBezTo>
                    <a:pt x="2481" y="195"/>
                    <a:pt x="2478" y="202"/>
                    <a:pt x="2483" y="202"/>
                  </a:cubicBezTo>
                  <a:cubicBezTo>
                    <a:pt x="2490" y="202"/>
                    <a:pt x="2492" y="198"/>
                    <a:pt x="2491" y="192"/>
                  </a:cubicBezTo>
                  <a:cubicBezTo>
                    <a:pt x="2499" y="194"/>
                    <a:pt x="2494" y="196"/>
                    <a:pt x="2494" y="201"/>
                  </a:cubicBezTo>
                  <a:cubicBezTo>
                    <a:pt x="2500" y="202"/>
                    <a:pt x="2504" y="201"/>
                    <a:pt x="2505" y="197"/>
                  </a:cubicBezTo>
                  <a:cubicBezTo>
                    <a:pt x="2508" y="196"/>
                    <a:pt x="2506" y="200"/>
                    <a:pt x="2507" y="201"/>
                  </a:cubicBezTo>
                  <a:cubicBezTo>
                    <a:pt x="2511" y="203"/>
                    <a:pt x="2519" y="200"/>
                    <a:pt x="2524" y="201"/>
                  </a:cubicBezTo>
                  <a:cubicBezTo>
                    <a:pt x="2527" y="200"/>
                    <a:pt x="2529" y="198"/>
                    <a:pt x="2529" y="194"/>
                  </a:cubicBezTo>
                  <a:cubicBezTo>
                    <a:pt x="2540" y="192"/>
                    <a:pt x="2540" y="192"/>
                    <a:pt x="2551" y="193"/>
                  </a:cubicBezTo>
                  <a:cubicBezTo>
                    <a:pt x="2553" y="201"/>
                    <a:pt x="2548" y="202"/>
                    <a:pt x="2549" y="208"/>
                  </a:cubicBezTo>
                  <a:cubicBezTo>
                    <a:pt x="2546" y="206"/>
                    <a:pt x="2542" y="205"/>
                    <a:pt x="2538" y="205"/>
                  </a:cubicBezTo>
                  <a:cubicBezTo>
                    <a:pt x="2537" y="212"/>
                    <a:pt x="2544" y="213"/>
                    <a:pt x="2543" y="219"/>
                  </a:cubicBezTo>
                  <a:close/>
                  <a:moveTo>
                    <a:pt x="2549" y="212"/>
                  </a:moveTo>
                  <a:cubicBezTo>
                    <a:pt x="2550" y="209"/>
                    <a:pt x="2552" y="213"/>
                    <a:pt x="2557" y="212"/>
                  </a:cubicBezTo>
                  <a:cubicBezTo>
                    <a:pt x="2559" y="219"/>
                    <a:pt x="2547" y="215"/>
                    <a:pt x="2552" y="224"/>
                  </a:cubicBezTo>
                  <a:cubicBezTo>
                    <a:pt x="2539" y="223"/>
                    <a:pt x="2556" y="214"/>
                    <a:pt x="2549" y="212"/>
                  </a:cubicBezTo>
                  <a:close/>
                  <a:moveTo>
                    <a:pt x="2549" y="238"/>
                  </a:moveTo>
                  <a:cubicBezTo>
                    <a:pt x="2548" y="233"/>
                    <a:pt x="2554" y="235"/>
                    <a:pt x="2554" y="231"/>
                  </a:cubicBezTo>
                  <a:cubicBezTo>
                    <a:pt x="2558" y="231"/>
                    <a:pt x="2557" y="235"/>
                    <a:pt x="2557" y="238"/>
                  </a:cubicBezTo>
                  <a:cubicBezTo>
                    <a:pt x="2555" y="238"/>
                    <a:pt x="2552" y="238"/>
                    <a:pt x="2549" y="238"/>
                  </a:cubicBezTo>
                  <a:close/>
                  <a:moveTo>
                    <a:pt x="2553" y="146"/>
                  </a:moveTo>
                  <a:cubicBezTo>
                    <a:pt x="2555" y="146"/>
                    <a:pt x="2557" y="146"/>
                    <a:pt x="2559" y="146"/>
                  </a:cubicBezTo>
                  <a:cubicBezTo>
                    <a:pt x="2559" y="153"/>
                    <a:pt x="2538" y="146"/>
                    <a:pt x="2553" y="146"/>
                  </a:cubicBezTo>
                  <a:close/>
                  <a:moveTo>
                    <a:pt x="2570" y="167"/>
                  </a:moveTo>
                  <a:cubicBezTo>
                    <a:pt x="2567" y="175"/>
                    <a:pt x="2562" y="165"/>
                    <a:pt x="2564" y="160"/>
                  </a:cubicBezTo>
                  <a:cubicBezTo>
                    <a:pt x="2568" y="161"/>
                    <a:pt x="2565" y="167"/>
                    <a:pt x="2570" y="167"/>
                  </a:cubicBezTo>
                  <a:close/>
                  <a:moveTo>
                    <a:pt x="2567" y="137"/>
                  </a:moveTo>
                  <a:cubicBezTo>
                    <a:pt x="2570" y="138"/>
                    <a:pt x="2572" y="140"/>
                    <a:pt x="2572" y="144"/>
                  </a:cubicBezTo>
                  <a:cubicBezTo>
                    <a:pt x="2569" y="143"/>
                    <a:pt x="2566" y="141"/>
                    <a:pt x="2567" y="137"/>
                  </a:cubicBezTo>
                  <a:close/>
                  <a:moveTo>
                    <a:pt x="2568" y="191"/>
                  </a:moveTo>
                  <a:cubicBezTo>
                    <a:pt x="2570" y="191"/>
                    <a:pt x="2573" y="191"/>
                    <a:pt x="2576" y="191"/>
                  </a:cubicBezTo>
                  <a:cubicBezTo>
                    <a:pt x="2575" y="196"/>
                    <a:pt x="2564" y="192"/>
                    <a:pt x="2559" y="193"/>
                  </a:cubicBezTo>
                  <a:cubicBezTo>
                    <a:pt x="2560" y="190"/>
                    <a:pt x="2564" y="191"/>
                    <a:pt x="2568" y="191"/>
                  </a:cubicBezTo>
                  <a:close/>
                  <a:moveTo>
                    <a:pt x="2559" y="200"/>
                  </a:moveTo>
                  <a:cubicBezTo>
                    <a:pt x="2562" y="205"/>
                    <a:pt x="2573" y="201"/>
                    <a:pt x="2565" y="198"/>
                  </a:cubicBezTo>
                  <a:cubicBezTo>
                    <a:pt x="2567" y="194"/>
                    <a:pt x="2569" y="198"/>
                    <a:pt x="2576" y="195"/>
                  </a:cubicBezTo>
                  <a:cubicBezTo>
                    <a:pt x="2576" y="199"/>
                    <a:pt x="2564" y="203"/>
                    <a:pt x="2576" y="202"/>
                  </a:cubicBezTo>
                  <a:cubicBezTo>
                    <a:pt x="2586" y="207"/>
                    <a:pt x="2561" y="202"/>
                    <a:pt x="2562" y="207"/>
                  </a:cubicBezTo>
                  <a:cubicBezTo>
                    <a:pt x="2560" y="208"/>
                    <a:pt x="2560" y="206"/>
                    <a:pt x="2560" y="205"/>
                  </a:cubicBezTo>
                  <a:cubicBezTo>
                    <a:pt x="2560" y="203"/>
                    <a:pt x="2560" y="202"/>
                    <a:pt x="2559" y="200"/>
                  </a:cubicBezTo>
                  <a:close/>
                  <a:moveTo>
                    <a:pt x="2595" y="219"/>
                  </a:moveTo>
                  <a:cubicBezTo>
                    <a:pt x="2593" y="223"/>
                    <a:pt x="2594" y="216"/>
                    <a:pt x="2590" y="216"/>
                  </a:cubicBezTo>
                  <a:cubicBezTo>
                    <a:pt x="2587" y="216"/>
                    <a:pt x="2585" y="212"/>
                    <a:pt x="2584" y="207"/>
                  </a:cubicBezTo>
                  <a:cubicBezTo>
                    <a:pt x="2588" y="207"/>
                    <a:pt x="2592" y="207"/>
                    <a:pt x="2595" y="207"/>
                  </a:cubicBezTo>
                  <a:cubicBezTo>
                    <a:pt x="2597" y="214"/>
                    <a:pt x="2590" y="214"/>
                    <a:pt x="2595" y="219"/>
                  </a:cubicBezTo>
                  <a:close/>
                  <a:moveTo>
                    <a:pt x="2591" y="263"/>
                  </a:moveTo>
                  <a:cubicBezTo>
                    <a:pt x="2589" y="268"/>
                    <a:pt x="2586" y="265"/>
                    <a:pt x="2588" y="256"/>
                  </a:cubicBezTo>
                  <a:cubicBezTo>
                    <a:pt x="2590" y="250"/>
                    <a:pt x="2591" y="262"/>
                    <a:pt x="2591" y="263"/>
                  </a:cubicBezTo>
                  <a:close/>
                  <a:moveTo>
                    <a:pt x="2582" y="230"/>
                  </a:moveTo>
                  <a:cubicBezTo>
                    <a:pt x="2594" y="232"/>
                    <a:pt x="2580" y="245"/>
                    <a:pt x="2582" y="230"/>
                  </a:cubicBezTo>
                  <a:close/>
                  <a:moveTo>
                    <a:pt x="2571" y="228"/>
                  </a:moveTo>
                  <a:cubicBezTo>
                    <a:pt x="2572" y="226"/>
                    <a:pt x="2573" y="224"/>
                    <a:pt x="2576" y="224"/>
                  </a:cubicBezTo>
                  <a:cubicBezTo>
                    <a:pt x="2575" y="220"/>
                    <a:pt x="2568" y="222"/>
                    <a:pt x="2571" y="214"/>
                  </a:cubicBezTo>
                  <a:cubicBezTo>
                    <a:pt x="2579" y="214"/>
                    <a:pt x="2580" y="220"/>
                    <a:pt x="2582" y="226"/>
                  </a:cubicBezTo>
                  <a:cubicBezTo>
                    <a:pt x="2579" y="228"/>
                    <a:pt x="2576" y="228"/>
                    <a:pt x="2571" y="228"/>
                  </a:cubicBezTo>
                  <a:close/>
                  <a:moveTo>
                    <a:pt x="2560" y="221"/>
                  </a:moveTo>
                  <a:cubicBezTo>
                    <a:pt x="2560" y="219"/>
                    <a:pt x="2560" y="217"/>
                    <a:pt x="2560" y="214"/>
                  </a:cubicBezTo>
                  <a:cubicBezTo>
                    <a:pt x="2562" y="214"/>
                    <a:pt x="2565" y="214"/>
                    <a:pt x="2568" y="214"/>
                  </a:cubicBezTo>
                  <a:cubicBezTo>
                    <a:pt x="2565" y="217"/>
                    <a:pt x="2567" y="223"/>
                    <a:pt x="2560" y="221"/>
                  </a:cubicBezTo>
                  <a:close/>
                  <a:moveTo>
                    <a:pt x="2568" y="231"/>
                  </a:moveTo>
                  <a:cubicBezTo>
                    <a:pt x="2578" y="230"/>
                    <a:pt x="2572" y="243"/>
                    <a:pt x="2577" y="247"/>
                  </a:cubicBezTo>
                  <a:cubicBezTo>
                    <a:pt x="2566" y="249"/>
                    <a:pt x="2569" y="238"/>
                    <a:pt x="2568" y="231"/>
                  </a:cubicBezTo>
                  <a:close/>
                  <a:moveTo>
                    <a:pt x="2569" y="254"/>
                  </a:moveTo>
                  <a:cubicBezTo>
                    <a:pt x="2568" y="251"/>
                    <a:pt x="2576" y="246"/>
                    <a:pt x="2577" y="252"/>
                  </a:cubicBezTo>
                  <a:cubicBezTo>
                    <a:pt x="2576" y="254"/>
                    <a:pt x="2578" y="254"/>
                    <a:pt x="2580" y="254"/>
                  </a:cubicBezTo>
                  <a:cubicBezTo>
                    <a:pt x="2578" y="261"/>
                    <a:pt x="2574" y="252"/>
                    <a:pt x="2569" y="254"/>
                  </a:cubicBezTo>
                  <a:close/>
                  <a:moveTo>
                    <a:pt x="2579" y="242"/>
                  </a:moveTo>
                  <a:cubicBezTo>
                    <a:pt x="2578" y="238"/>
                    <a:pt x="2592" y="239"/>
                    <a:pt x="2588" y="244"/>
                  </a:cubicBezTo>
                  <a:cubicBezTo>
                    <a:pt x="2586" y="245"/>
                    <a:pt x="2584" y="245"/>
                    <a:pt x="2582" y="245"/>
                  </a:cubicBezTo>
                  <a:cubicBezTo>
                    <a:pt x="2583" y="243"/>
                    <a:pt x="2581" y="242"/>
                    <a:pt x="2579" y="242"/>
                  </a:cubicBezTo>
                  <a:close/>
                  <a:moveTo>
                    <a:pt x="2585" y="275"/>
                  </a:moveTo>
                  <a:cubicBezTo>
                    <a:pt x="2586" y="269"/>
                    <a:pt x="2596" y="271"/>
                    <a:pt x="2596" y="266"/>
                  </a:cubicBezTo>
                  <a:cubicBezTo>
                    <a:pt x="2603" y="268"/>
                    <a:pt x="2595" y="278"/>
                    <a:pt x="2585" y="275"/>
                  </a:cubicBezTo>
                  <a:close/>
                  <a:moveTo>
                    <a:pt x="2631" y="232"/>
                  </a:moveTo>
                  <a:cubicBezTo>
                    <a:pt x="2638" y="234"/>
                    <a:pt x="2643" y="237"/>
                    <a:pt x="2643" y="246"/>
                  </a:cubicBezTo>
                  <a:cubicBezTo>
                    <a:pt x="2637" y="247"/>
                    <a:pt x="2639" y="243"/>
                    <a:pt x="2637" y="241"/>
                  </a:cubicBezTo>
                  <a:cubicBezTo>
                    <a:pt x="2635" y="239"/>
                    <a:pt x="2630" y="235"/>
                    <a:pt x="2631" y="232"/>
                  </a:cubicBezTo>
                  <a:close/>
                  <a:moveTo>
                    <a:pt x="2613" y="263"/>
                  </a:moveTo>
                  <a:cubicBezTo>
                    <a:pt x="2615" y="262"/>
                    <a:pt x="2622" y="254"/>
                    <a:pt x="2615" y="253"/>
                  </a:cubicBezTo>
                  <a:cubicBezTo>
                    <a:pt x="2616" y="247"/>
                    <a:pt x="2624" y="253"/>
                    <a:pt x="2621" y="258"/>
                  </a:cubicBezTo>
                  <a:cubicBezTo>
                    <a:pt x="2630" y="261"/>
                    <a:pt x="2623" y="250"/>
                    <a:pt x="2632" y="253"/>
                  </a:cubicBezTo>
                  <a:cubicBezTo>
                    <a:pt x="2632" y="255"/>
                    <a:pt x="2631" y="255"/>
                    <a:pt x="2629" y="255"/>
                  </a:cubicBezTo>
                  <a:cubicBezTo>
                    <a:pt x="2629" y="262"/>
                    <a:pt x="2633" y="260"/>
                    <a:pt x="2629" y="267"/>
                  </a:cubicBezTo>
                  <a:cubicBezTo>
                    <a:pt x="2628" y="270"/>
                    <a:pt x="2629" y="272"/>
                    <a:pt x="2624" y="272"/>
                  </a:cubicBezTo>
                  <a:cubicBezTo>
                    <a:pt x="2621" y="265"/>
                    <a:pt x="2628" y="266"/>
                    <a:pt x="2626" y="260"/>
                  </a:cubicBezTo>
                  <a:cubicBezTo>
                    <a:pt x="2620" y="259"/>
                    <a:pt x="2621" y="264"/>
                    <a:pt x="2621" y="267"/>
                  </a:cubicBezTo>
                  <a:cubicBezTo>
                    <a:pt x="2611" y="266"/>
                    <a:pt x="2598" y="263"/>
                    <a:pt x="2604" y="254"/>
                  </a:cubicBezTo>
                  <a:cubicBezTo>
                    <a:pt x="2600" y="253"/>
                    <a:pt x="2599" y="255"/>
                    <a:pt x="2599" y="258"/>
                  </a:cubicBezTo>
                  <a:cubicBezTo>
                    <a:pt x="2591" y="257"/>
                    <a:pt x="2601" y="253"/>
                    <a:pt x="2599" y="249"/>
                  </a:cubicBezTo>
                  <a:cubicBezTo>
                    <a:pt x="2604" y="251"/>
                    <a:pt x="2608" y="253"/>
                    <a:pt x="2607" y="261"/>
                  </a:cubicBezTo>
                  <a:cubicBezTo>
                    <a:pt x="2610" y="260"/>
                    <a:pt x="2612" y="261"/>
                    <a:pt x="2613" y="263"/>
                  </a:cubicBezTo>
                  <a:close/>
                  <a:moveTo>
                    <a:pt x="2607" y="232"/>
                  </a:moveTo>
                  <a:cubicBezTo>
                    <a:pt x="2605" y="239"/>
                    <a:pt x="2611" y="238"/>
                    <a:pt x="2610" y="244"/>
                  </a:cubicBezTo>
                  <a:cubicBezTo>
                    <a:pt x="2607" y="244"/>
                    <a:pt x="2604" y="244"/>
                    <a:pt x="2601" y="244"/>
                  </a:cubicBezTo>
                  <a:cubicBezTo>
                    <a:pt x="2601" y="240"/>
                    <a:pt x="2605" y="239"/>
                    <a:pt x="2604" y="235"/>
                  </a:cubicBezTo>
                  <a:cubicBezTo>
                    <a:pt x="2601" y="236"/>
                    <a:pt x="2598" y="238"/>
                    <a:pt x="2599" y="242"/>
                  </a:cubicBezTo>
                  <a:cubicBezTo>
                    <a:pt x="2594" y="240"/>
                    <a:pt x="2594" y="234"/>
                    <a:pt x="2593" y="230"/>
                  </a:cubicBezTo>
                  <a:cubicBezTo>
                    <a:pt x="2596" y="232"/>
                    <a:pt x="2600" y="233"/>
                    <a:pt x="2607" y="232"/>
                  </a:cubicBezTo>
                  <a:close/>
                  <a:moveTo>
                    <a:pt x="2584" y="198"/>
                  </a:moveTo>
                  <a:cubicBezTo>
                    <a:pt x="2586" y="194"/>
                    <a:pt x="2591" y="196"/>
                    <a:pt x="2592" y="197"/>
                  </a:cubicBezTo>
                  <a:cubicBezTo>
                    <a:pt x="2593" y="198"/>
                    <a:pt x="2597" y="197"/>
                    <a:pt x="2598" y="197"/>
                  </a:cubicBezTo>
                  <a:cubicBezTo>
                    <a:pt x="2599" y="198"/>
                    <a:pt x="2598" y="204"/>
                    <a:pt x="2603" y="202"/>
                  </a:cubicBezTo>
                  <a:cubicBezTo>
                    <a:pt x="2596" y="210"/>
                    <a:pt x="2590" y="198"/>
                    <a:pt x="2584" y="198"/>
                  </a:cubicBezTo>
                  <a:close/>
                  <a:moveTo>
                    <a:pt x="2586" y="146"/>
                  </a:moveTo>
                  <a:cubicBezTo>
                    <a:pt x="2591" y="147"/>
                    <a:pt x="2598" y="146"/>
                    <a:pt x="2597" y="153"/>
                  </a:cubicBezTo>
                  <a:cubicBezTo>
                    <a:pt x="2591" y="149"/>
                    <a:pt x="2594" y="153"/>
                    <a:pt x="2586" y="153"/>
                  </a:cubicBezTo>
                  <a:cubicBezTo>
                    <a:pt x="2586" y="151"/>
                    <a:pt x="2586" y="148"/>
                    <a:pt x="2586" y="146"/>
                  </a:cubicBezTo>
                  <a:close/>
                  <a:moveTo>
                    <a:pt x="2625" y="171"/>
                  </a:moveTo>
                  <a:cubicBezTo>
                    <a:pt x="2625" y="167"/>
                    <a:pt x="2625" y="163"/>
                    <a:pt x="2625" y="159"/>
                  </a:cubicBezTo>
                  <a:cubicBezTo>
                    <a:pt x="2633" y="155"/>
                    <a:pt x="2633" y="174"/>
                    <a:pt x="2625" y="171"/>
                  </a:cubicBezTo>
                  <a:close/>
                  <a:moveTo>
                    <a:pt x="2639" y="182"/>
                  </a:moveTo>
                  <a:cubicBezTo>
                    <a:pt x="2631" y="179"/>
                    <a:pt x="2636" y="177"/>
                    <a:pt x="2633" y="168"/>
                  </a:cubicBezTo>
                  <a:cubicBezTo>
                    <a:pt x="2636" y="168"/>
                    <a:pt x="2638" y="168"/>
                    <a:pt x="2641" y="168"/>
                  </a:cubicBezTo>
                  <a:cubicBezTo>
                    <a:pt x="2638" y="171"/>
                    <a:pt x="2638" y="177"/>
                    <a:pt x="2639" y="182"/>
                  </a:cubicBezTo>
                  <a:close/>
                  <a:moveTo>
                    <a:pt x="2655" y="173"/>
                  </a:moveTo>
                  <a:cubicBezTo>
                    <a:pt x="2662" y="173"/>
                    <a:pt x="2656" y="181"/>
                    <a:pt x="2655" y="182"/>
                  </a:cubicBezTo>
                  <a:cubicBezTo>
                    <a:pt x="2647" y="181"/>
                    <a:pt x="2658" y="177"/>
                    <a:pt x="2655" y="173"/>
                  </a:cubicBezTo>
                  <a:close/>
                  <a:moveTo>
                    <a:pt x="2663" y="189"/>
                  </a:moveTo>
                  <a:cubicBezTo>
                    <a:pt x="2661" y="187"/>
                    <a:pt x="2657" y="187"/>
                    <a:pt x="2652" y="187"/>
                  </a:cubicBezTo>
                  <a:cubicBezTo>
                    <a:pt x="2652" y="183"/>
                    <a:pt x="2668" y="182"/>
                    <a:pt x="2663" y="189"/>
                  </a:cubicBezTo>
                  <a:close/>
                  <a:moveTo>
                    <a:pt x="2660" y="154"/>
                  </a:moveTo>
                  <a:cubicBezTo>
                    <a:pt x="2656" y="157"/>
                    <a:pt x="2653" y="157"/>
                    <a:pt x="2649" y="154"/>
                  </a:cubicBezTo>
                  <a:cubicBezTo>
                    <a:pt x="2651" y="146"/>
                    <a:pt x="2656" y="154"/>
                    <a:pt x="2666" y="151"/>
                  </a:cubicBezTo>
                  <a:cubicBezTo>
                    <a:pt x="2668" y="150"/>
                    <a:pt x="2668" y="146"/>
                    <a:pt x="2674" y="147"/>
                  </a:cubicBezTo>
                  <a:cubicBezTo>
                    <a:pt x="2675" y="151"/>
                    <a:pt x="2672" y="151"/>
                    <a:pt x="2668" y="151"/>
                  </a:cubicBezTo>
                  <a:cubicBezTo>
                    <a:pt x="2668" y="154"/>
                    <a:pt x="2669" y="156"/>
                    <a:pt x="2671" y="156"/>
                  </a:cubicBezTo>
                  <a:cubicBezTo>
                    <a:pt x="2671" y="162"/>
                    <a:pt x="2661" y="156"/>
                    <a:pt x="2660" y="154"/>
                  </a:cubicBezTo>
                  <a:close/>
                  <a:moveTo>
                    <a:pt x="2669" y="168"/>
                  </a:moveTo>
                  <a:cubicBezTo>
                    <a:pt x="2669" y="166"/>
                    <a:pt x="2669" y="165"/>
                    <a:pt x="2669" y="163"/>
                  </a:cubicBezTo>
                  <a:cubicBezTo>
                    <a:pt x="2670" y="163"/>
                    <a:pt x="2672" y="163"/>
                    <a:pt x="2674" y="163"/>
                  </a:cubicBezTo>
                  <a:cubicBezTo>
                    <a:pt x="2674" y="165"/>
                    <a:pt x="2674" y="166"/>
                    <a:pt x="2674" y="168"/>
                  </a:cubicBezTo>
                  <a:cubicBezTo>
                    <a:pt x="2672" y="168"/>
                    <a:pt x="2670" y="168"/>
                    <a:pt x="2669" y="168"/>
                  </a:cubicBezTo>
                  <a:close/>
                  <a:moveTo>
                    <a:pt x="2685" y="184"/>
                  </a:moveTo>
                  <a:cubicBezTo>
                    <a:pt x="2679" y="185"/>
                    <a:pt x="2681" y="180"/>
                    <a:pt x="2677" y="179"/>
                  </a:cubicBezTo>
                  <a:cubicBezTo>
                    <a:pt x="2678" y="174"/>
                    <a:pt x="2688" y="179"/>
                    <a:pt x="2685" y="184"/>
                  </a:cubicBezTo>
                  <a:close/>
                  <a:moveTo>
                    <a:pt x="2682" y="135"/>
                  </a:moveTo>
                  <a:cubicBezTo>
                    <a:pt x="2682" y="141"/>
                    <a:pt x="2671" y="138"/>
                    <a:pt x="2671" y="144"/>
                  </a:cubicBezTo>
                  <a:cubicBezTo>
                    <a:pt x="2669" y="142"/>
                    <a:pt x="2661" y="135"/>
                    <a:pt x="2663" y="147"/>
                  </a:cubicBezTo>
                  <a:cubicBezTo>
                    <a:pt x="2659" y="148"/>
                    <a:pt x="2661" y="140"/>
                    <a:pt x="2660" y="140"/>
                  </a:cubicBezTo>
                  <a:cubicBezTo>
                    <a:pt x="2657" y="139"/>
                    <a:pt x="2654" y="144"/>
                    <a:pt x="2649" y="140"/>
                  </a:cubicBezTo>
                  <a:cubicBezTo>
                    <a:pt x="2647" y="139"/>
                    <a:pt x="2630" y="144"/>
                    <a:pt x="2632" y="136"/>
                  </a:cubicBezTo>
                  <a:cubicBezTo>
                    <a:pt x="2628" y="135"/>
                    <a:pt x="2627" y="137"/>
                    <a:pt x="2627" y="140"/>
                  </a:cubicBezTo>
                  <a:cubicBezTo>
                    <a:pt x="2620" y="142"/>
                    <a:pt x="2621" y="136"/>
                    <a:pt x="2616" y="136"/>
                  </a:cubicBezTo>
                  <a:cubicBezTo>
                    <a:pt x="2613" y="137"/>
                    <a:pt x="2614" y="141"/>
                    <a:pt x="2610" y="141"/>
                  </a:cubicBezTo>
                  <a:cubicBezTo>
                    <a:pt x="2606" y="142"/>
                    <a:pt x="2605" y="139"/>
                    <a:pt x="2605" y="136"/>
                  </a:cubicBezTo>
                  <a:cubicBezTo>
                    <a:pt x="2593" y="134"/>
                    <a:pt x="2592" y="141"/>
                    <a:pt x="2583" y="141"/>
                  </a:cubicBezTo>
                  <a:cubicBezTo>
                    <a:pt x="2583" y="139"/>
                    <a:pt x="2583" y="136"/>
                    <a:pt x="2583" y="134"/>
                  </a:cubicBezTo>
                  <a:cubicBezTo>
                    <a:pt x="2573" y="133"/>
                    <a:pt x="2581" y="141"/>
                    <a:pt x="2572" y="137"/>
                  </a:cubicBezTo>
                  <a:cubicBezTo>
                    <a:pt x="2572" y="137"/>
                    <a:pt x="2568" y="134"/>
                    <a:pt x="2569" y="134"/>
                  </a:cubicBezTo>
                  <a:cubicBezTo>
                    <a:pt x="2568" y="134"/>
                    <a:pt x="2561" y="140"/>
                    <a:pt x="2561" y="134"/>
                  </a:cubicBezTo>
                  <a:cubicBezTo>
                    <a:pt x="2558" y="135"/>
                    <a:pt x="2560" y="137"/>
                    <a:pt x="2561" y="137"/>
                  </a:cubicBezTo>
                  <a:cubicBezTo>
                    <a:pt x="2562" y="142"/>
                    <a:pt x="2551" y="138"/>
                    <a:pt x="2547" y="139"/>
                  </a:cubicBezTo>
                  <a:cubicBezTo>
                    <a:pt x="2547" y="137"/>
                    <a:pt x="2551" y="138"/>
                    <a:pt x="2553" y="137"/>
                  </a:cubicBezTo>
                  <a:cubicBezTo>
                    <a:pt x="2561" y="132"/>
                    <a:pt x="2569" y="128"/>
                    <a:pt x="2577" y="127"/>
                  </a:cubicBezTo>
                  <a:cubicBezTo>
                    <a:pt x="2578" y="127"/>
                    <a:pt x="2577" y="132"/>
                    <a:pt x="2578" y="132"/>
                  </a:cubicBezTo>
                  <a:cubicBezTo>
                    <a:pt x="2580" y="134"/>
                    <a:pt x="2586" y="128"/>
                    <a:pt x="2586" y="127"/>
                  </a:cubicBezTo>
                  <a:cubicBezTo>
                    <a:pt x="2587" y="128"/>
                    <a:pt x="2589" y="128"/>
                    <a:pt x="2591" y="129"/>
                  </a:cubicBezTo>
                  <a:cubicBezTo>
                    <a:pt x="2594" y="131"/>
                    <a:pt x="2595" y="131"/>
                    <a:pt x="2599" y="131"/>
                  </a:cubicBezTo>
                  <a:cubicBezTo>
                    <a:pt x="2601" y="132"/>
                    <a:pt x="2603" y="134"/>
                    <a:pt x="2602" y="134"/>
                  </a:cubicBezTo>
                  <a:cubicBezTo>
                    <a:pt x="2606" y="134"/>
                    <a:pt x="2608" y="130"/>
                    <a:pt x="2616" y="131"/>
                  </a:cubicBezTo>
                  <a:cubicBezTo>
                    <a:pt x="2617" y="131"/>
                    <a:pt x="2619" y="133"/>
                    <a:pt x="2619" y="133"/>
                  </a:cubicBezTo>
                  <a:cubicBezTo>
                    <a:pt x="2621" y="134"/>
                    <a:pt x="2623" y="131"/>
                    <a:pt x="2627" y="131"/>
                  </a:cubicBezTo>
                  <a:cubicBezTo>
                    <a:pt x="2626" y="131"/>
                    <a:pt x="2631" y="135"/>
                    <a:pt x="2632" y="133"/>
                  </a:cubicBezTo>
                  <a:cubicBezTo>
                    <a:pt x="2635" y="130"/>
                    <a:pt x="2634" y="133"/>
                    <a:pt x="2638" y="133"/>
                  </a:cubicBezTo>
                  <a:cubicBezTo>
                    <a:pt x="2642" y="133"/>
                    <a:pt x="2643" y="131"/>
                    <a:pt x="2646" y="131"/>
                  </a:cubicBezTo>
                  <a:cubicBezTo>
                    <a:pt x="2657" y="131"/>
                    <a:pt x="2670" y="132"/>
                    <a:pt x="2682" y="135"/>
                  </a:cubicBezTo>
                  <a:close/>
                  <a:moveTo>
                    <a:pt x="2665" y="116"/>
                  </a:moveTo>
                  <a:cubicBezTo>
                    <a:pt x="2665" y="119"/>
                    <a:pt x="2662" y="118"/>
                    <a:pt x="2660" y="119"/>
                  </a:cubicBezTo>
                  <a:cubicBezTo>
                    <a:pt x="2657" y="120"/>
                    <a:pt x="2657" y="124"/>
                    <a:pt x="2651" y="124"/>
                  </a:cubicBezTo>
                  <a:cubicBezTo>
                    <a:pt x="2653" y="122"/>
                    <a:pt x="2654" y="120"/>
                    <a:pt x="2654" y="116"/>
                  </a:cubicBezTo>
                  <a:cubicBezTo>
                    <a:pt x="2650" y="116"/>
                    <a:pt x="2645" y="126"/>
                    <a:pt x="2646" y="117"/>
                  </a:cubicBezTo>
                  <a:cubicBezTo>
                    <a:pt x="2650" y="117"/>
                    <a:pt x="2651" y="115"/>
                    <a:pt x="2651" y="112"/>
                  </a:cubicBezTo>
                  <a:cubicBezTo>
                    <a:pt x="2660" y="110"/>
                    <a:pt x="2657" y="118"/>
                    <a:pt x="2665" y="116"/>
                  </a:cubicBezTo>
                  <a:close/>
                  <a:moveTo>
                    <a:pt x="2673" y="107"/>
                  </a:moveTo>
                  <a:cubicBezTo>
                    <a:pt x="2664" y="110"/>
                    <a:pt x="2671" y="99"/>
                    <a:pt x="2662" y="102"/>
                  </a:cubicBezTo>
                  <a:cubicBezTo>
                    <a:pt x="2664" y="92"/>
                    <a:pt x="2681" y="102"/>
                    <a:pt x="2673" y="107"/>
                  </a:cubicBezTo>
                  <a:close/>
                  <a:moveTo>
                    <a:pt x="2724" y="24"/>
                  </a:moveTo>
                  <a:cubicBezTo>
                    <a:pt x="2718" y="17"/>
                    <a:pt x="2716" y="33"/>
                    <a:pt x="2715" y="19"/>
                  </a:cubicBezTo>
                  <a:cubicBezTo>
                    <a:pt x="2721" y="18"/>
                    <a:pt x="2724" y="19"/>
                    <a:pt x="2724" y="24"/>
                  </a:cubicBezTo>
                  <a:close/>
                  <a:moveTo>
                    <a:pt x="2694" y="71"/>
                  </a:moveTo>
                  <a:cubicBezTo>
                    <a:pt x="2697" y="71"/>
                    <a:pt x="2697" y="74"/>
                    <a:pt x="2697" y="76"/>
                  </a:cubicBezTo>
                  <a:cubicBezTo>
                    <a:pt x="2700" y="76"/>
                    <a:pt x="2702" y="75"/>
                    <a:pt x="2703" y="73"/>
                  </a:cubicBezTo>
                  <a:cubicBezTo>
                    <a:pt x="2706" y="75"/>
                    <a:pt x="2708" y="78"/>
                    <a:pt x="2708" y="83"/>
                  </a:cubicBezTo>
                  <a:cubicBezTo>
                    <a:pt x="2703" y="77"/>
                    <a:pt x="2689" y="81"/>
                    <a:pt x="2694" y="71"/>
                  </a:cubicBezTo>
                  <a:close/>
                  <a:moveTo>
                    <a:pt x="2700" y="106"/>
                  </a:moveTo>
                  <a:cubicBezTo>
                    <a:pt x="2698" y="104"/>
                    <a:pt x="2690" y="106"/>
                    <a:pt x="2692" y="99"/>
                  </a:cubicBezTo>
                  <a:cubicBezTo>
                    <a:pt x="2698" y="99"/>
                    <a:pt x="2701" y="101"/>
                    <a:pt x="2700" y="106"/>
                  </a:cubicBezTo>
                  <a:close/>
                  <a:moveTo>
                    <a:pt x="2698" y="97"/>
                  </a:moveTo>
                  <a:cubicBezTo>
                    <a:pt x="2698" y="95"/>
                    <a:pt x="2701" y="95"/>
                    <a:pt x="2703" y="94"/>
                  </a:cubicBezTo>
                  <a:cubicBezTo>
                    <a:pt x="2705" y="94"/>
                    <a:pt x="2707" y="94"/>
                    <a:pt x="2708" y="94"/>
                  </a:cubicBezTo>
                  <a:cubicBezTo>
                    <a:pt x="2708" y="98"/>
                    <a:pt x="2702" y="96"/>
                    <a:pt x="2698" y="97"/>
                  </a:cubicBezTo>
                  <a:close/>
                  <a:moveTo>
                    <a:pt x="2722" y="99"/>
                  </a:moveTo>
                  <a:cubicBezTo>
                    <a:pt x="2722" y="101"/>
                    <a:pt x="2725" y="101"/>
                    <a:pt x="2725" y="101"/>
                  </a:cubicBezTo>
                  <a:cubicBezTo>
                    <a:pt x="2725" y="105"/>
                    <a:pt x="2721" y="107"/>
                    <a:pt x="2725" y="108"/>
                  </a:cubicBezTo>
                  <a:cubicBezTo>
                    <a:pt x="2726" y="109"/>
                    <a:pt x="2720" y="111"/>
                    <a:pt x="2720" y="111"/>
                  </a:cubicBezTo>
                  <a:cubicBezTo>
                    <a:pt x="2717" y="108"/>
                    <a:pt x="2722" y="104"/>
                    <a:pt x="2717" y="104"/>
                  </a:cubicBezTo>
                  <a:cubicBezTo>
                    <a:pt x="2713" y="103"/>
                    <a:pt x="2717" y="101"/>
                    <a:pt x="2717" y="99"/>
                  </a:cubicBezTo>
                  <a:cubicBezTo>
                    <a:pt x="2717" y="97"/>
                    <a:pt x="2716" y="97"/>
                    <a:pt x="2714" y="97"/>
                  </a:cubicBezTo>
                  <a:cubicBezTo>
                    <a:pt x="2707" y="92"/>
                    <a:pt x="2720" y="98"/>
                    <a:pt x="2725" y="96"/>
                  </a:cubicBezTo>
                  <a:cubicBezTo>
                    <a:pt x="2727" y="99"/>
                    <a:pt x="2722" y="98"/>
                    <a:pt x="2722" y="99"/>
                  </a:cubicBezTo>
                  <a:close/>
                  <a:moveTo>
                    <a:pt x="2733" y="99"/>
                  </a:moveTo>
                  <a:cubicBezTo>
                    <a:pt x="2732" y="91"/>
                    <a:pt x="2741" y="92"/>
                    <a:pt x="2741" y="87"/>
                  </a:cubicBezTo>
                  <a:cubicBezTo>
                    <a:pt x="2744" y="79"/>
                    <a:pt x="2745" y="104"/>
                    <a:pt x="2733" y="99"/>
                  </a:cubicBezTo>
                  <a:close/>
                  <a:moveTo>
                    <a:pt x="2736" y="106"/>
                  </a:moveTo>
                  <a:cubicBezTo>
                    <a:pt x="2736" y="102"/>
                    <a:pt x="2748" y="108"/>
                    <a:pt x="2747" y="112"/>
                  </a:cubicBezTo>
                  <a:cubicBezTo>
                    <a:pt x="2738" y="115"/>
                    <a:pt x="2741" y="106"/>
                    <a:pt x="2736" y="106"/>
                  </a:cubicBezTo>
                  <a:close/>
                  <a:moveTo>
                    <a:pt x="2766" y="79"/>
                  </a:moveTo>
                  <a:cubicBezTo>
                    <a:pt x="2767" y="75"/>
                    <a:pt x="2769" y="81"/>
                    <a:pt x="2769" y="84"/>
                  </a:cubicBezTo>
                  <a:cubicBezTo>
                    <a:pt x="2768" y="88"/>
                    <a:pt x="2765" y="82"/>
                    <a:pt x="2766" y="79"/>
                  </a:cubicBezTo>
                  <a:close/>
                  <a:moveTo>
                    <a:pt x="2762" y="23"/>
                  </a:moveTo>
                  <a:cubicBezTo>
                    <a:pt x="2767" y="22"/>
                    <a:pt x="2766" y="33"/>
                    <a:pt x="2759" y="30"/>
                  </a:cubicBezTo>
                  <a:cubicBezTo>
                    <a:pt x="2759" y="28"/>
                    <a:pt x="2759" y="27"/>
                    <a:pt x="2759" y="25"/>
                  </a:cubicBezTo>
                  <a:cubicBezTo>
                    <a:pt x="2762" y="26"/>
                    <a:pt x="2762" y="24"/>
                    <a:pt x="2762" y="23"/>
                  </a:cubicBezTo>
                  <a:close/>
                  <a:moveTo>
                    <a:pt x="2757" y="35"/>
                  </a:moveTo>
                  <a:cubicBezTo>
                    <a:pt x="2761" y="35"/>
                    <a:pt x="2758" y="42"/>
                    <a:pt x="2762" y="42"/>
                  </a:cubicBezTo>
                  <a:cubicBezTo>
                    <a:pt x="2759" y="49"/>
                    <a:pt x="2751" y="37"/>
                    <a:pt x="2757" y="35"/>
                  </a:cubicBezTo>
                  <a:close/>
                  <a:moveTo>
                    <a:pt x="2761" y="100"/>
                  </a:moveTo>
                  <a:cubicBezTo>
                    <a:pt x="2757" y="99"/>
                    <a:pt x="2756" y="96"/>
                    <a:pt x="2755" y="91"/>
                  </a:cubicBezTo>
                  <a:cubicBezTo>
                    <a:pt x="2763" y="89"/>
                    <a:pt x="2760" y="96"/>
                    <a:pt x="2761" y="100"/>
                  </a:cubicBezTo>
                  <a:close/>
                  <a:moveTo>
                    <a:pt x="2769" y="112"/>
                  </a:moveTo>
                  <a:cubicBezTo>
                    <a:pt x="2767" y="112"/>
                    <a:pt x="2765" y="112"/>
                    <a:pt x="2764" y="112"/>
                  </a:cubicBezTo>
                  <a:cubicBezTo>
                    <a:pt x="2764" y="110"/>
                    <a:pt x="2763" y="110"/>
                    <a:pt x="2761" y="110"/>
                  </a:cubicBezTo>
                  <a:cubicBezTo>
                    <a:pt x="2760" y="105"/>
                    <a:pt x="2773" y="106"/>
                    <a:pt x="2769" y="112"/>
                  </a:cubicBezTo>
                  <a:close/>
                  <a:moveTo>
                    <a:pt x="2780" y="86"/>
                  </a:moveTo>
                  <a:cubicBezTo>
                    <a:pt x="2775" y="84"/>
                    <a:pt x="2779" y="82"/>
                    <a:pt x="2780" y="79"/>
                  </a:cubicBezTo>
                  <a:cubicBezTo>
                    <a:pt x="2785" y="81"/>
                    <a:pt x="2780" y="83"/>
                    <a:pt x="2780" y="86"/>
                  </a:cubicBezTo>
                  <a:close/>
                  <a:moveTo>
                    <a:pt x="2787" y="11"/>
                  </a:moveTo>
                  <a:cubicBezTo>
                    <a:pt x="2783" y="10"/>
                    <a:pt x="2784" y="5"/>
                    <a:pt x="2784" y="1"/>
                  </a:cubicBezTo>
                  <a:cubicBezTo>
                    <a:pt x="2795" y="0"/>
                    <a:pt x="2785" y="6"/>
                    <a:pt x="2787" y="11"/>
                  </a:cubicBezTo>
                  <a:close/>
                  <a:moveTo>
                    <a:pt x="2795" y="43"/>
                  </a:moveTo>
                  <a:cubicBezTo>
                    <a:pt x="2792" y="43"/>
                    <a:pt x="2793" y="39"/>
                    <a:pt x="2793" y="36"/>
                  </a:cubicBezTo>
                  <a:cubicBezTo>
                    <a:pt x="2797" y="35"/>
                    <a:pt x="2798" y="38"/>
                    <a:pt x="2798" y="41"/>
                  </a:cubicBezTo>
                  <a:cubicBezTo>
                    <a:pt x="2796" y="41"/>
                    <a:pt x="2795" y="42"/>
                    <a:pt x="2795" y="43"/>
                  </a:cubicBezTo>
                  <a:close/>
                  <a:moveTo>
                    <a:pt x="2791" y="123"/>
                  </a:moveTo>
                  <a:cubicBezTo>
                    <a:pt x="2792" y="121"/>
                    <a:pt x="2794" y="121"/>
                    <a:pt x="2794" y="119"/>
                  </a:cubicBezTo>
                  <a:cubicBezTo>
                    <a:pt x="2796" y="119"/>
                    <a:pt x="2798" y="119"/>
                    <a:pt x="2799" y="119"/>
                  </a:cubicBezTo>
                  <a:cubicBezTo>
                    <a:pt x="2801" y="124"/>
                    <a:pt x="2796" y="123"/>
                    <a:pt x="2791" y="123"/>
                  </a:cubicBezTo>
                  <a:close/>
                  <a:moveTo>
                    <a:pt x="2808" y="126"/>
                  </a:moveTo>
                  <a:cubicBezTo>
                    <a:pt x="2802" y="125"/>
                    <a:pt x="2802" y="120"/>
                    <a:pt x="2802" y="114"/>
                  </a:cubicBezTo>
                  <a:cubicBezTo>
                    <a:pt x="2805" y="118"/>
                    <a:pt x="2813" y="121"/>
                    <a:pt x="2808" y="126"/>
                  </a:cubicBezTo>
                  <a:close/>
                  <a:moveTo>
                    <a:pt x="2819" y="114"/>
                  </a:moveTo>
                  <a:cubicBezTo>
                    <a:pt x="2815" y="114"/>
                    <a:pt x="2817" y="116"/>
                    <a:pt x="2819" y="116"/>
                  </a:cubicBezTo>
                  <a:cubicBezTo>
                    <a:pt x="2812" y="124"/>
                    <a:pt x="2808" y="109"/>
                    <a:pt x="2810" y="102"/>
                  </a:cubicBezTo>
                  <a:cubicBezTo>
                    <a:pt x="2814" y="103"/>
                    <a:pt x="2816" y="105"/>
                    <a:pt x="2816" y="109"/>
                  </a:cubicBezTo>
                  <a:cubicBezTo>
                    <a:pt x="2823" y="106"/>
                    <a:pt x="2821" y="98"/>
                    <a:pt x="2827" y="109"/>
                  </a:cubicBezTo>
                  <a:cubicBezTo>
                    <a:pt x="2827" y="110"/>
                    <a:pt x="2829" y="108"/>
                    <a:pt x="2830" y="111"/>
                  </a:cubicBezTo>
                  <a:cubicBezTo>
                    <a:pt x="2830" y="113"/>
                    <a:pt x="2829" y="116"/>
                    <a:pt x="2830" y="118"/>
                  </a:cubicBezTo>
                  <a:cubicBezTo>
                    <a:pt x="2822" y="120"/>
                    <a:pt x="2824" y="113"/>
                    <a:pt x="2819" y="114"/>
                  </a:cubicBezTo>
                  <a:close/>
                  <a:moveTo>
                    <a:pt x="2846" y="111"/>
                  </a:moveTo>
                  <a:cubicBezTo>
                    <a:pt x="2845" y="114"/>
                    <a:pt x="2843" y="116"/>
                    <a:pt x="2838" y="116"/>
                  </a:cubicBezTo>
                  <a:cubicBezTo>
                    <a:pt x="2839" y="113"/>
                    <a:pt x="2841" y="111"/>
                    <a:pt x="2846" y="111"/>
                  </a:cubicBezTo>
                  <a:close/>
                  <a:moveTo>
                    <a:pt x="2851" y="64"/>
                  </a:moveTo>
                  <a:cubicBezTo>
                    <a:pt x="2860" y="64"/>
                    <a:pt x="2850" y="70"/>
                    <a:pt x="2856" y="71"/>
                  </a:cubicBezTo>
                  <a:cubicBezTo>
                    <a:pt x="2853" y="78"/>
                    <a:pt x="2848" y="68"/>
                    <a:pt x="2851" y="64"/>
                  </a:cubicBezTo>
                  <a:close/>
                  <a:moveTo>
                    <a:pt x="2862" y="87"/>
                  </a:moveTo>
                  <a:cubicBezTo>
                    <a:pt x="2860" y="80"/>
                    <a:pt x="2866" y="81"/>
                    <a:pt x="2865" y="75"/>
                  </a:cubicBezTo>
                  <a:cubicBezTo>
                    <a:pt x="2868" y="75"/>
                    <a:pt x="2866" y="78"/>
                    <a:pt x="2867" y="80"/>
                  </a:cubicBezTo>
                  <a:cubicBezTo>
                    <a:pt x="2867" y="80"/>
                    <a:pt x="2873" y="84"/>
                    <a:pt x="2873" y="82"/>
                  </a:cubicBezTo>
                  <a:cubicBezTo>
                    <a:pt x="2872" y="86"/>
                    <a:pt x="2868" y="85"/>
                    <a:pt x="2862" y="87"/>
                  </a:cubicBezTo>
                  <a:close/>
                  <a:moveTo>
                    <a:pt x="2867" y="54"/>
                  </a:moveTo>
                  <a:cubicBezTo>
                    <a:pt x="2868" y="53"/>
                    <a:pt x="2871" y="54"/>
                    <a:pt x="2870" y="52"/>
                  </a:cubicBezTo>
                  <a:cubicBezTo>
                    <a:pt x="2883" y="60"/>
                    <a:pt x="2857" y="64"/>
                    <a:pt x="2867" y="54"/>
                  </a:cubicBezTo>
                  <a:close/>
                  <a:moveTo>
                    <a:pt x="2875" y="40"/>
                  </a:moveTo>
                  <a:cubicBezTo>
                    <a:pt x="2876" y="34"/>
                    <a:pt x="2879" y="29"/>
                    <a:pt x="2869" y="28"/>
                  </a:cubicBezTo>
                  <a:cubicBezTo>
                    <a:pt x="2875" y="17"/>
                    <a:pt x="2888" y="40"/>
                    <a:pt x="2875" y="40"/>
                  </a:cubicBezTo>
                  <a:close/>
                  <a:moveTo>
                    <a:pt x="2881" y="91"/>
                  </a:moveTo>
                  <a:cubicBezTo>
                    <a:pt x="2881" y="90"/>
                    <a:pt x="2881" y="88"/>
                    <a:pt x="2881" y="87"/>
                  </a:cubicBezTo>
                  <a:cubicBezTo>
                    <a:pt x="2883" y="87"/>
                    <a:pt x="2885" y="87"/>
                    <a:pt x="2887" y="87"/>
                  </a:cubicBezTo>
                  <a:cubicBezTo>
                    <a:pt x="2887" y="88"/>
                    <a:pt x="2887" y="90"/>
                    <a:pt x="2887" y="91"/>
                  </a:cubicBezTo>
                  <a:cubicBezTo>
                    <a:pt x="2885" y="91"/>
                    <a:pt x="2883" y="91"/>
                    <a:pt x="288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2" name="Freeform 20"/>
            <p:cNvSpPr>
              <a:spLocks/>
            </p:cNvSpPr>
            <p:nvPr userDrawn="1"/>
          </p:nvSpPr>
          <p:spPr bwMode="auto">
            <a:xfrm>
              <a:off x="5827" y="2112"/>
              <a:ext cx="11" cy="12"/>
            </a:xfrm>
            <a:custGeom>
              <a:avLst/>
              <a:gdLst>
                <a:gd name="T0" fmla="*/ 0 w 5"/>
                <a:gd name="T1" fmla="*/ 5 h 5"/>
                <a:gd name="T2" fmla="*/ 5 w 5"/>
                <a:gd name="T3" fmla="*/ 5 h 5"/>
                <a:gd name="T4" fmla="*/ 5 w 5"/>
                <a:gd name="T5" fmla="*/ 0 h 5"/>
                <a:gd name="T6" fmla="*/ 0 w 5"/>
                <a:gd name="T7" fmla="*/ 0 h 5"/>
                <a:gd name="T8" fmla="*/ 0 w 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cubicBezTo>
                    <a:pt x="1" y="5"/>
                    <a:pt x="3" y="5"/>
                    <a:pt x="5" y="5"/>
                  </a:cubicBezTo>
                  <a:cubicBezTo>
                    <a:pt x="5" y="3"/>
                    <a:pt x="5" y="2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2"/>
                    <a:pt x="0" y="3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3" name="Freeform 21"/>
            <p:cNvSpPr>
              <a:spLocks/>
            </p:cNvSpPr>
            <p:nvPr userDrawn="1"/>
          </p:nvSpPr>
          <p:spPr bwMode="auto">
            <a:xfrm>
              <a:off x="5373" y="2207"/>
              <a:ext cx="33" cy="47"/>
            </a:xfrm>
            <a:custGeom>
              <a:avLst/>
              <a:gdLst>
                <a:gd name="T0" fmla="*/ 11 w 14"/>
                <a:gd name="T1" fmla="*/ 1 h 20"/>
                <a:gd name="T2" fmla="*/ 12 w 14"/>
                <a:gd name="T3" fmla="*/ 20 h 20"/>
                <a:gd name="T4" fmla="*/ 11 w 14"/>
                <a:gd name="T5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0">
                  <a:moveTo>
                    <a:pt x="11" y="1"/>
                  </a:moveTo>
                  <a:cubicBezTo>
                    <a:pt x="0" y="0"/>
                    <a:pt x="6" y="19"/>
                    <a:pt x="12" y="20"/>
                  </a:cubicBezTo>
                  <a:cubicBezTo>
                    <a:pt x="14" y="10"/>
                    <a:pt x="5" y="6"/>
                    <a:pt x="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4" name="Freeform 22"/>
            <p:cNvSpPr>
              <a:spLocks/>
            </p:cNvSpPr>
            <p:nvPr userDrawn="1"/>
          </p:nvSpPr>
          <p:spPr bwMode="auto">
            <a:xfrm>
              <a:off x="6280" y="2349"/>
              <a:ext cx="12" cy="12"/>
            </a:xfrm>
            <a:custGeom>
              <a:avLst/>
              <a:gdLst>
                <a:gd name="T0" fmla="*/ 1 w 5"/>
                <a:gd name="T1" fmla="*/ 5 h 5"/>
                <a:gd name="T2" fmla="*/ 5 w 5"/>
                <a:gd name="T3" fmla="*/ 4 h 5"/>
                <a:gd name="T4" fmla="*/ 5 w 5"/>
                <a:gd name="T5" fmla="*/ 0 h 5"/>
                <a:gd name="T6" fmla="*/ 1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1" y="5"/>
                  </a:moveTo>
                  <a:cubicBezTo>
                    <a:pt x="3" y="4"/>
                    <a:pt x="4" y="4"/>
                    <a:pt x="5" y="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5" name="Freeform 23"/>
            <p:cNvSpPr>
              <a:spLocks/>
            </p:cNvSpPr>
            <p:nvPr userDrawn="1"/>
          </p:nvSpPr>
          <p:spPr bwMode="auto">
            <a:xfrm>
              <a:off x="4920" y="2209"/>
              <a:ext cx="21" cy="14"/>
            </a:xfrm>
            <a:custGeom>
              <a:avLst/>
              <a:gdLst>
                <a:gd name="T0" fmla="*/ 0 w 9"/>
                <a:gd name="T1" fmla="*/ 1 h 6"/>
                <a:gd name="T2" fmla="*/ 0 w 9"/>
                <a:gd name="T3" fmla="*/ 6 h 6"/>
                <a:gd name="T4" fmla="*/ 8 w 9"/>
                <a:gd name="T5" fmla="*/ 6 h 6"/>
                <a:gd name="T6" fmla="*/ 0 w 9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6">
                  <a:moveTo>
                    <a:pt x="0" y="1"/>
                  </a:moveTo>
                  <a:cubicBezTo>
                    <a:pt x="0" y="3"/>
                    <a:pt x="0" y="4"/>
                    <a:pt x="0" y="6"/>
                  </a:cubicBezTo>
                  <a:cubicBezTo>
                    <a:pt x="3" y="6"/>
                    <a:pt x="6" y="6"/>
                    <a:pt x="8" y="6"/>
                  </a:cubicBezTo>
                  <a:cubicBezTo>
                    <a:pt x="9" y="1"/>
                    <a:pt x="6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6" name="Freeform 24"/>
            <p:cNvSpPr>
              <a:spLocks/>
            </p:cNvSpPr>
            <p:nvPr userDrawn="1"/>
          </p:nvSpPr>
          <p:spPr bwMode="auto">
            <a:xfrm>
              <a:off x="5647" y="2205"/>
              <a:ext cx="31" cy="16"/>
            </a:xfrm>
            <a:custGeom>
              <a:avLst/>
              <a:gdLst>
                <a:gd name="T0" fmla="*/ 13 w 13"/>
                <a:gd name="T1" fmla="*/ 2 h 7"/>
                <a:gd name="T2" fmla="*/ 8 w 13"/>
                <a:gd name="T3" fmla="*/ 0 h 7"/>
                <a:gd name="T4" fmla="*/ 13 w 13"/>
                <a:gd name="T5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7">
                  <a:moveTo>
                    <a:pt x="13" y="2"/>
                  </a:moveTo>
                  <a:cubicBezTo>
                    <a:pt x="10" y="2"/>
                    <a:pt x="10" y="0"/>
                    <a:pt x="8" y="0"/>
                  </a:cubicBezTo>
                  <a:cubicBezTo>
                    <a:pt x="0" y="5"/>
                    <a:pt x="13" y="7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7" name="Freeform 25"/>
            <p:cNvSpPr>
              <a:spLocks/>
            </p:cNvSpPr>
            <p:nvPr userDrawn="1"/>
          </p:nvSpPr>
          <p:spPr bwMode="auto">
            <a:xfrm>
              <a:off x="5928" y="2372"/>
              <a:ext cx="31" cy="36"/>
            </a:xfrm>
            <a:custGeom>
              <a:avLst/>
              <a:gdLst>
                <a:gd name="T0" fmla="*/ 0 w 13"/>
                <a:gd name="T1" fmla="*/ 7 h 15"/>
                <a:gd name="T2" fmla="*/ 8 w 13"/>
                <a:gd name="T3" fmla="*/ 4 h 15"/>
                <a:gd name="T4" fmla="*/ 13 w 13"/>
                <a:gd name="T5" fmla="*/ 9 h 15"/>
                <a:gd name="T6" fmla="*/ 11 w 13"/>
                <a:gd name="T7" fmla="*/ 7 h 15"/>
                <a:gd name="T8" fmla="*/ 13 w 13"/>
                <a:gd name="T9" fmla="*/ 0 h 15"/>
                <a:gd name="T10" fmla="*/ 0 w 13"/>
                <a:gd name="T1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cubicBezTo>
                    <a:pt x="3" y="7"/>
                    <a:pt x="6" y="6"/>
                    <a:pt x="8" y="4"/>
                  </a:cubicBezTo>
                  <a:cubicBezTo>
                    <a:pt x="5" y="9"/>
                    <a:pt x="12" y="15"/>
                    <a:pt x="13" y="9"/>
                  </a:cubicBezTo>
                  <a:cubicBezTo>
                    <a:pt x="12" y="9"/>
                    <a:pt x="10" y="8"/>
                    <a:pt x="11" y="7"/>
                  </a:cubicBezTo>
                  <a:cubicBezTo>
                    <a:pt x="11" y="6"/>
                    <a:pt x="12" y="0"/>
                    <a:pt x="13" y="0"/>
                  </a:cubicBezTo>
                  <a:cubicBezTo>
                    <a:pt x="10" y="3"/>
                    <a:pt x="0" y="1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8" name="Freeform 26"/>
            <p:cNvSpPr>
              <a:spLocks/>
            </p:cNvSpPr>
            <p:nvPr userDrawn="1"/>
          </p:nvSpPr>
          <p:spPr bwMode="auto">
            <a:xfrm>
              <a:off x="5361" y="2202"/>
              <a:ext cx="19" cy="14"/>
            </a:xfrm>
            <a:custGeom>
              <a:avLst/>
              <a:gdLst>
                <a:gd name="T0" fmla="*/ 0 w 8"/>
                <a:gd name="T1" fmla="*/ 1 h 6"/>
                <a:gd name="T2" fmla="*/ 0 w 8"/>
                <a:gd name="T3" fmla="*/ 6 h 6"/>
                <a:gd name="T4" fmla="*/ 8 w 8"/>
                <a:gd name="T5" fmla="*/ 5 h 6"/>
                <a:gd name="T6" fmla="*/ 0 w 8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6">
                  <a:moveTo>
                    <a:pt x="0" y="1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2" y="5"/>
                    <a:pt x="5" y="5"/>
                    <a:pt x="8" y="5"/>
                  </a:cubicBezTo>
                  <a:cubicBezTo>
                    <a:pt x="8" y="1"/>
                    <a:pt x="5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  <p:sp>
          <p:nvSpPr>
            <p:cNvPr id="79" name="Freeform 27"/>
            <p:cNvSpPr>
              <a:spLocks/>
            </p:cNvSpPr>
            <p:nvPr userDrawn="1"/>
          </p:nvSpPr>
          <p:spPr bwMode="auto">
            <a:xfrm>
              <a:off x="5990" y="2375"/>
              <a:ext cx="21" cy="33"/>
            </a:xfrm>
            <a:custGeom>
              <a:avLst/>
              <a:gdLst>
                <a:gd name="T0" fmla="*/ 4 w 9"/>
                <a:gd name="T1" fmla="*/ 1 h 14"/>
                <a:gd name="T2" fmla="*/ 1 w 9"/>
                <a:gd name="T3" fmla="*/ 10 h 14"/>
                <a:gd name="T4" fmla="*/ 4 w 9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4">
                  <a:moveTo>
                    <a:pt x="4" y="1"/>
                  </a:moveTo>
                  <a:cubicBezTo>
                    <a:pt x="3" y="4"/>
                    <a:pt x="0" y="5"/>
                    <a:pt x="1" y="10"/>
                  </a:cubicBezTo>
                  <a:cubicBezTo>
                    <a:pt x="9" y="14"/>
                    <a:pt x="9" y="0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prstClr val="black"/>
                </a:solidFill>
              </a:endParaRPr>
            </a:p>
          </p:txBody>
        </p:sp>
      </p:grp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46618" y="1930400"/>
            <a:ext cx="11169649" cy="38703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buClr>
                <a:srgbClr val="49853E"/>
              </a:buClr>
              <a:buNone/>
              <a:defRPr sz="2000"/>
            </a:lvl1pPr>
            <a:lvl2pPr marL="179388" indent="-179388">
              <a:lnSpc>
                <a:spcPct val="95000"/>
              </a:lnSpc>
              <a:spcBef>
                <a:spcPts val="1000"/>
              </a:spcBef>
              <a:buClr>
                <a:srgbClr val="832149"/>
              </a:buClr>
              <a:buFont typeface="Arial" panose="020B0604020202020204" pitchFamily="34" charset="0"/>
              <a:buChar char="•"/>
              <a:defRPr sz="2000"/>
            </a:lvl2pPr>
            <a:lvl3pPr marL="358775" indent="-179388">
              <a:lnSpc>
                <a:spcPct val="95000"/>
              </a:lnSpc>
              <a:spcBef>
                <a:spcPts val="400"/>
              </a:spcBef>
              <a:buClr>
                <a:srgbClr val="832149"/>
              </a:buClr>
              <a:buFont typeface="Arial" panose="020B0604020202020204" pitchFamily="34" charset="0"/>
              <a:buChar char="–"/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46618" y="1440000"/>
            <a:ext cx="11169649" cy="381000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2400" b="0">
                <a:solidFill>
                  <a:srgbClr val="832149"/>
                </a:solidFill>
                <a:latin typeface="Fungo" pitchFamily="50" charset="0"/>
              </a:defRPr>
            </a:lvl1pPr>
          </a:lstStyle>
          <a:p>
            <a:pPr lvl="0"/>
            <a:r>
              <a:rPr lang="en-US"/>
              <a:t>Sub heading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1699196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0" y="0"/>
            <a:ext cx="12192000" cy="10191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Pentagon 21"/>
          <p:cNvSpPr/>
          <p:nvPr userDrawn="1"/>
        </p:nvSpPr>
        <p:spPr>
          <a:xfrm>
            <a:off x="0" y="0"/>
            <a:ext cx="4045789" cy="6858000"/>
          </a:xfrm>
          <a:prstGeom prst="homePlate">
            <a:avLst>
              <a:gd name="adj" fmla="val 13817"/>
            </a:avLst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58234" y="4458017"/>
            <a:ext cx="7428966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458234" y="2761033"/>
            <a:ext cx="7428966" cy="1646995"/>
          </a:xfrm>
        </p:spPr>
        <p:txBody>
          <a:bodyPr>
            <a:noAutofit/>
          </a:bodyPr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>
          <a:xfrm>
            <a:off x="200559" y="2771083"/>
            <a:ext cx="3314167" cy="3665862"/>
            <a:chOff x="2182273" y="270933"/>
            <a:chExt cx="2047823" cy="2265136"/>
          </a:xfrm>
        </p:grpSpPr>
        <p:grpSp>
          <p:nvGrpSpPr>
            <p:cNvPr id="9" name="Group 8"/>
            <p:cNvGrpSpPr>
              <a:grpSpLocks noChangeAspect="1"/>
            </p:cNvGrpSpPr>
            <p:nvPr/>
          </p:nvGrpSpPr>
          <p:grpSpPr>
            <a:xfrm>
              <a:off x="2182274" y="270933"/>
              <a:ext cx="1893926" cy="1176868"/>
              <a:chOff x="2510307" y="2891970"/>
              <a:chExt cx="5297533" cy="3291840"/>
            </a:xfrm>
          </p:grpSpPr>
          <p:sp>
            <p:nvSpPr>
              <p:cNvPr id="12" name="Oval 11"/>
              <p:cNvSpPr/>
              <p:nvPr/>
            </p:nvSpPr>
            <p:spPr>
              <a:xfrm>
                <a:off x="4516000" y="2891970"/>
                <a:ext cx="3291840" cy="3291840"/>
              </a:xfrm>
              <a:prstGeom prst="ellips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200">
                  <a:solidFill>
                    <a:prstClr val="white"/>
                  </a:solidFill>
                </a:endParaRPr>
              </a:p>
            </p:txBody>
          </p:sp>
          <p:pic>
            <p:nvPicPr>
              <p:cNvPr id="13" name="Picture 2" descr="Resultado de imagen para latin america map icon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artisticPhotocopy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16000" y="2986589"/>
                <a:ext cx="3102602" cy="31026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4" name="Oval 13"/>
              <p:cNvSpPr/>
              <p:nvPr/>
            </p:nvSpPr>
            <p:spPr>
              <a:xfrm>
                <a:off x="2510307" y="2891970"/>
                <a:ext cx="3291840" cy="3291840"/>
              </a:xfrm>
              <a:prstGeom prst="ellipse">
                <a:avLst/>
              </a:prstGeom>
              <a:solidFill>
                <a:srgbClr val="056CDD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200">
                  <a:solidFill>
                    <a:prstClr val="white"/>
                  </a:solidFill>
                </a:endParaRPr>
              </a:p>
            </p:txBody>
          </p:sp>
          <p:pic>
            <p:nvPicPr>
              <p:cNvPr id="15" name="Picture 2" descr="Imagen relacionada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>
                <a:off x="2870080" y="3148874"/>
                <a:ext cx="2572294" cy="25722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0" name="TextBox 9"/>
            <p:cNvSpPr txBox="1"/>
            <p:nvPr/>
          </p:nvSpPr>
          <p:spPr>
            <a:xfrm>
              <a:off x="2182275" y="1597087"/>
              <a:ext cx="2047821" cy="475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400">
                  <a:solidFill>
                    <a:prstClr val="white"/>
                  </a:solidFill>
                  <a:latin typeface="Fungo" panose="02000000000000000000" pitchFamily="50" charset="0"/>
                </a:rPr>
                <a:t>Creating Value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182273" y="2136701"/>
              <a:ext cx="1984986" cy="3993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>
                  <a:solidFill>
                    <a:prstClr val="white"/>
                  </a:solidFill>
                  <a:latin typeface="Manus" pitchFamily="2" charset="0"/>
                </a:rPr>
                <a:t>from source to shelf</a:t>
              </a: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81486" y="1825"/>
            <a:ext cx="3433239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0">
                <a:solidFill>
                  <a:prstClr val="white"/>
                </a:solidFill>
              </a:rPr>
              <a:t>LAO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200559" y="1837703"/>
            <a:ext cx="310502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400">
                <a:solidFill>
                  <a:prstClr val="white"/>
                </a:solidFill>
              </a:rPr>
              <a:t>LOGISTICS</a:t>
            </a:r>
          </a:p>
        </p:txBody>
      </p:sp>
    </p:spTree>
    <p:extLst>
      <p:ext uri="{BB962C8B-B14F-4D97-AF65-F5344CB8AC3E}">
        <p14:creationId xmlns:p14="http://schemas.microsoft.com/office/powerpoint/2010/main" val="4954987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4332016-4209-416C-BD8A-0D1A85C3D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13C6D74-E510-4653-8167-66BA69DED0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B398293-0911-48B2-84B0-54BF41CA90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D692E59-BBA6-4B11-A2DB-C4A5A975D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10A5778-299C-493A-AFB0-D33009FA87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763298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C26750-2AF1-4208-B577-C84EDFF9104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FBEEC-6D5C-46EC-A50C-EF1C73D9A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>
          <a:xfrm>
            <a:off x="9425621" y="100562"/>
            <a:ext cx="2797058" cy="710287"/>
            <a:chOff x="2182274" y="270933"/>
            <a:chExt cx="4634417" cy="1176868"/>
          </a:xfrm>
        </p:grpSpPr>
        <p:grpSp>
          <p:nvGrpSpPr>
            <p:cNvPr id="8" name="Group 7"/>
            <p:cNvGrpSpPr>
              <a:grpSpLocks noChangeAspect="1"/>
            </p:cNvGrpSpPr>
            <p:nvPr/>
          </p:nvGrpSpPr>
          <p:grpSpPr>
            <a:xfrm>
              <a:off x="2182274" y="270933"/>
              <a:ext cx="1893926" cy="1176868"/>
              <a:chOff x="2510307" y="2891970"/>
              <a:chExt cx="5297533" cy="3291840"/>
            </a:xfrm>
          </p:grpSpPr>
          <p:sp>
            <p:nvSpPr>
              <p:cNvPr id="11" name="Oval 10"/>
              <p:cNvSpPr/>
              <p:nvPr/>
            </p:nvSpPr>
            <p:spPr>
              <a:xfrm>
                <a:off x="4516000" y="2891970"/>
                <a:ext cx="3291840" cy="3291840"/>
              </a:xfrm>
              <a:prstGeom prst="ellips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prstClr val="white"/>
                  </a:solidFill>
                </a:endParaRPr>
              </a:p>
            </p:txBody>
          </p:sp>
          <p:pic>
            <p:nvPicPr>
              <p:cNvPr id="12" name="Picture 2" descr="Resultado de imagen para latin america map icon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artisticPhotocopy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16000" y="2986589"/>
                <a:ext cx="3102602" cy="31026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" name="Oval 12"/>
              <p:cNvSpPr/>
              <p:nvPr/>
            </p:nvSpPr>
            <p:spPr>
              <a:xfrm>
                <a:off x="2510307" y="2891970"/>
                <a:ext cx="3291840" cy="3291840"/>
              </a:xfrm>
              <a:prstGeom prst="ellipse">
                <a:avLst/>
              </a:prstGeom>
              <a:solidFill>
                <a:srgbClr val="056CDD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prstClr val="white"/>
                  </a:solidFill>
                </a:endParaRPr>
              </a:p>
            </p:txBody>
          </p:sp>
          <p:pic>
            <p:nvPicPr>
              <p:cNvPr id="14" name="Picture 2" descr="Imagen relacionada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>
                <a:off x="2870080" y="3148874"/>
                <a:ext cx="2572294" cy="25722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9" name="TextBox 8"/>
            <p:cNvSpPr txBox="1"/>
            <p:nvPr/>
          </p:nvSpPr>
          <p:spPr>
            <a:xfrm>
              <a:off x="4161348" y="321735"/>
              <a:ext cx="2655343" cy="6428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>
                  <a:solidFill>
                    <a:prstClr val="white"/>
                  </a:solidFill>
                  <a:latin typeface="Fungo" panose="02000000000000000000" pitchFamily="50" charset="0"/>
                </a:rPr>
                <a:t>Creating Value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4242824" y="917264"/>
              <a:ext cx="2573867" cy="5240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>
                  <a:solidFill>
                    <a:prstClr val="white"/>
                  </a:solidFill>
                  <a:latin typeface="Manus" pitchFamily="2" charset="0"/>
                </a:rPr>
                <a:t>from source to shelf</a:t>
              </a:r>
            </a:p>
          </p:txBody>
        </p:sp>
      </p:grp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8271648" y="33347"/>
            <a:ext cx="1253067" cy="844715"/>
            <a:chOff x="203200" y="100561"/>
            <a:chExt cx="2166934" cy="1460769"/>
          </a:xfrm>
        </p:grpSpPr>
        <p:sp>
          <p:nvSpPr>
            <p:cNvPr id="16" name="TextBox 15"/>
            <p:cNvSpPr txBox="1"/>
            <p:nvPr/>
          </p:nvSpPr>
          <p:spPr>
            <a:xfrm>
              <a:off x="203200" y="100561"/>
              <a:ext cx="1938462" cy="12241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000">
                  <a:solidFill>
                    <a:prstClr val="white"/>
                  </a:solidFill>
                </a:rPr>
                <a:t>LAO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233880" y="869418"/>
              <a:ext cx="2136254" cy="6919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>
                  <a:solidFill>
                    <a:prstClr val="white"/>
                  </a:solidFill>
                </a:rPr>
                <a:t>Logistic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7178252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709738"/>
            <a:ext cx="1050925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4589463"/>
            <a:ext cx="1050925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6D29-9D24-454E-BCF2-34F6FA5A285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FBEEC-6D5C-46EC-A50C-EF1C73D9A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9425621" y="100562"/>
            <a:ext cx="2797058" cy="710287"/>
            <a:chOff x="2182274" y="270933"/>
            <a:chExt cx="4634417" cy="1176868"/>
          </a:xfrm>
        </p:grpSpPr>
        <p:grpSp>
          <p:nvGrpSpPr>
            <p:cNvPr id="16" name="Group 15"/>
            <p:cNvGrpSpPr>
              <a:grpSpLocks noChangeAspect="1"/>
            </p:cNvGrpSpPr>
            <p:nvPr/>
          </p:nvGrpSpPr>
          <p:grpSpPr>
            <a:xfrm>
              <a:off x="2182274" y="270933"/>
              <a:ext cx="1893926" cy="1176868"/>
              <a:chOff x="2510307" y="2891970"/>
              <a:chExt cx="5297533" cy="3291840"/>
            </a:xfrm>
          </p:grpSpPr>
          <p:sp>
            <p:nvSpPr>
              <p:cNvPr id="19" name="Oval 18"/>
              <p:cNvSpPr/>
              <p:nvPr/>
            </p:nvSpPr>
            <p:spPr>
              <a:xfrm>
                <a:off x="4516000" y="2891970"/>
                <a:ext cx="3291840" cy="3291840"/>
              </a:xfrm>
              <a:prstGeom prst="ellips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prstClr val="white"/>
                  </a:solidFill>
                </a:endParaRPr>
              </a:p>
            </p:txBody>
          </p:sp>
          <p:pic>
            <p:nvPicPr>
              <p:cNvPr id="20" name="Picture 2" descr="Resultado de imagen para latin america map icon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artisticPhotocopy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16000" y="2986589"/>
                <a:ext cx="3102602" cy="31026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1" name="Oval 20"/>
              <p:cNvSpPr/>
              <p:nvPr/>
            </p:nvSpPr>
            <p:spPr>
              <a:xfrm>
                <a:off x="2510307" y="2891970"/>
                <a:ext cx="3291840" cy="3291840"/>
              </a:xfrm>
              <a:prstGeom prst="ellipse">
                <a:avLst/>
              </a:prstGeom>
              <a:solidFill>
                <a:srgbClr val="056CDD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Picture 2" descr="Imagen relacionada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>
                <a:off x="2870080" y="3148874"/>
                <a:ext cx="2572294" cy="25722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7" name="TextBox 16"/>
            <p:cNvSpPr txBox="1"/>
            <p:nvPr/>
          </p:nvSpPr>
          <p:spPr>
            <a:xfrm>
              <a:off x="4161348" y="321735"/>
              <a:ext cx="2655343" cy="6428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>
                  <a:solidFill>
                    <a:prstClr val="white"/>
                  </a:solidFill>
                  <a:latin typeface="Fungo" panose="02000000000000000000" pitchFamily="50" charset="0"/>
                </a:rPr>
                <a:t>Creating Value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4242824" y="917264"/>
              <a:ext cx="2573867" cy="5240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>
                  <a:solidFill>
                    <a:prstClr val="white"/>
                  </a:solidFill>
                  <a:latin typeface="Manus" pitchFamily="2" charset="0"/>
                </a:rPr>
                <a:t>from source to shelf</a:t>
              </a:r>
            </a:p>
          </p:txBody>
        </p:sp>
      </p:grpSp>
      <p:grpSp>
        <p:nvGrpSpPr>
          <p:cNvPr id="23" name="Group 22"/>
          <p:cNvGrpSpPr>
            <a:grpSpLocks noChangeAspect="1"/>
          </p:cNvGrpSpPr>
          <p:nvPr userDrawn="1"/>
        </p:nvGrpSpPr>
        <p:grpSpPr>
          <a:xfrm>
            <a:off x="8271648" y="33347"/>
            <a:ext cx="1253067" cy="844715"/>
            <a:chOff x="203200" y="100561"/>
            <a:chExt cx="2166934" cy="1460769"/>
          </a:xfrm>
        </p:grpSpPr>
        <p:sp>
          <p:nvSpPr>
            <p:cNvPr id="24" name="TextBox 23"/>
            <p:cNvSpPr txBox="1"/>
            <p:nvPr/>
          </p:nvSpPr>
          <p:spPr>
            <a:xfrm>
              <a:off x="203200" y="100561"/>
              <a:ext cx="1938462" cy="12241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000">
                  <a:solidFill>
                    <a:prstClr val="white"/>
                  </a:solidFill>
                </a:rPr>
                <a:t>LAO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233880" y="869418"/>
              <a:ext cx="2136254" cy="6919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>
                  <a:solidFill>
                    <a:prstClr val="white"/>
                  </a:solidFill>
                </a:rPr>
                <a:t>Logistic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4053254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D327BC-0FFE-49D7-8980-7EFDEAF9E70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FBEEC-6D5C-46EC-A50C-EF1C73D9A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>
          <a:xfrm>
            <a:off x="9425621" y="100562"/>
            <a:ext cx="2797058" cy="710287"/>
            <a:chOff x="2182274" y="270933"/>
            <a:chExt cx="4634417" cy="1176868"/>
          </a:xfrm>
        </p:grpSpPr>
        <p:grpSp>
          <p:nvGrpSpPr>
            <p:cNvPr id="9" name="Group 8"/>
            <p:cNvGrpSpPr>
              <a:grpSpLocks noChangeAspect="1"/>
            </p:cNvGrpSpPr>
            <p:nvPr/>
          </p:nvGrpSpPr>
          <p:grpSpPr>
            <a:xfrm>
              <a:off x="2182274" y="270933"/>
              <a:ext cx="1893926" cy="1176868"/>
              <a:chOff x="2510307" y="2891970"/>
              <a:chExt cx="5297533" cy="3291840"/>
            </a:xfrm>
          </p:grpSpPr>
          <p:sp>
            <p:nvSpPr>
              <p:cNvPr id="12" name="Oval 11"/>
              <p:cNvSpPr/>
              <p:nvPr/>
            </p:nvSpPr>
            <p:spPr>
              <a:xfrm>
                <a:off x="4516000" y="2891970"/>
                <a:ext cx="3291840" cy="3291840"/>
              </a:xfrm>
              <a:prstGeom prst="ellips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prstClr val="white"/>
                  </a:solidFill>
                </a:endParaRPr>
              </a:p>
            </p:txBody>
          </p:sp>
          <p:pic>
            <p:nvPicPr>
              <p:cNvPr id="13" name="Picture 2" descr="Resultado de imagen para latin america map icon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artisticPhotocopy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16000" y="2986589"/>
                <a:ext cx="3102602" cy="31026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4" name="Oval 13"/>
              <p:cNvSpPr/>
              <p:nvPr/>
            </p:nvSpPr>
            <p:spPr>
              <a:xfrm>
                <a:off x="2510307" y="2891970"/>
                <a:ext cx="3291840" cy="3291840"/>
              </a:xfrm>
              <a:prstGeom prst="ellipse">
                <a:avLst/>
              </a:prstGeom>
              <a:solidFill>
                <a:srgbClr val="056CDD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prstClr val="white"/>
                  </a:solidFill>
                </a:endParaRPr>
              </a:p>
            </p:txBody>
          </p:sp>
          <p:pic>
            <p:nvPicPr>
              <p:cNvPr id="15" name="Picture 2" descr="Imagen relacionada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>
                <a:off x="2870080" y="3148874"/>
                <a:ext cx="2572294" cy="25722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0" name="TextBox 9"/>
            <p:cNvSpPr txBox="1"/>
            <p:nvPr/>
          </p:nvSpPr>
          <p:spPr>
            <a:xfrm>
              <a:off x="4161348" y="321735"/>
              <a:ext cx="2655343" cy="6428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>
                  <a:solidFill>
                    <a:prstClr val="white"/>
                  </a:solidFill>
                  <a:latin typeface="Fungo" panose="02000000000000000000" pitchFamily="50" charset="0"/>
                </a:rPr>
                <a:t>Creating Value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242824" y="917264"/>
              <a:ext cx="2573867" cy="5240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>
                  <a:solidFill>
                    <a:prstClr val="white"/>
                  </a:solidFill>
                  <a:latin typeface="Manus" pitchFamily="2" charset="0"/>
                </a:rPr>
                <a:t>from source to shelf</a:t>
              </a:r>
            </a:p>
          </p:txBody>
        </p:sp>
      </p:grp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8271648" y="33347"/>
            <a:ext cx="1253067" cy="844715"/>
            <a:chOff x="203200" y="100561"/>
            <a:chExt cx="2166934" cy="1460769"/>
          </a:xfrm>
        </p:grpSpPr>
        <p:sp>
          <p:nvSpPr>
            <p:cNvPr id="17" name="TextBox 16"/>
            <p:cNvSpPr txBox="1"/>
            <p:nvPr/>
          </p:nvSpPr>
          <p:spPr>
            <a:xfrm>
              <a:off x="203200" y="100561"/>
              <a:ext cx="1938462" cy="12241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000">
                  <a:solidFill>
                    <a:prstClr val="white"/>
                  </a:solidFill>
                </a:rPr>
                <a:t>LAO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33880" y="869418"/>
              <a:ext cx="2136254" cy="6919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>
                  <a:solidFill>
                    <a:prstClr val="white"/>
                  </a:solidFill>
                </a:rPr>
                <a:t>Logistic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7709589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79BFD-FB58-4BB3-8C99-9328B95D8F6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FBEEC-6D5C-46EC-A50C-EF1C73D9A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55971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6C82D1-35E1-4B07-971E-0D852F93650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FBEEC-6D5C-46EC-A50C-EF1C73D9A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6" name="Group 5"/>
          <p:cNvGrpSpPr>
            <a:grpSpLocks noChangeAspect="1"/>
          </p:cNvGrpSpPr>
          <p:nvPr userDrawn="1"/>
        </p:nvGrpSpPr>
        <p:grpSpPr>
          <a:xfrm>
            <a:off x="9425621" y="100562"/>
            <a:ext cx="2797058" cy="710287"/>
            <a:chOff x="2182274" y="270933"/>
            <a:chExt cx="4634417" cy="1176868"/>
          </a:xfrm>
        </p:grpSpPr>
        <p:grpSp>
          <p:nvGrpSpPr>
            <p:cNvPr id="7" name="Group 6"/>
            <p:cNvGrpSpPr>
              <a:grpSpLocks noChangeAspect="1"/>
            </p:cNvGrpSpPr>
            <p:nvPr/>
          </p:nvGrpSpPr>
          <p:grpSpPr>
            <a:xfrm>
              <a:off x="2182274" y="270933"/>
              <a:ext cx="1893926" cy="1176868"/>
              <a:chOff x="2510307" y="2891970"/>
              <a:chExt cx="5297533" cy="3291840"/>
            </a:xfrm>
          </p:grpSpPr>
          <p:sp>
            <p:nvSpPr>
              <p:cNvPr id="10" name="Oval 9"/>
              <p:cNvSpPr/>
              <p:nvPr/>
            </p:nvSpPr>
            <p:spPr>
              <a:xfrm>
                <a:off x="4516000" y="2891970"/>
                <a:ext cx="3291840" cy="3291840"/>
              </a:xfrm>
              <a:prstGeom prst="ellips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prstClr val="white"/>
                  </a:solidFill>
                </a:endParaRPr>
              </a:p>
            </p:txBody>
          </p:sp>
          <p:pic>
            <p:nvPicPr>
              <p:cNvPr id="11" name="Picture 2" descr="Resultado de imagen para latin america map icon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artisticPhotocopy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16000" y="2986589"/>
                <a:ext cx="3102602" cy="31026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2" name="Oval 11"/>
              <p:cNvSpPr/>
              <p:nvPr/>
            </p:nvSpPr>
            <p:spPr>
              <a:xfrm>
                <a:off x="2510307" y="2891970"/>
                <a:ext cx="3291840" cy="3291840"/>
              </a:xfrm>
              <a:prstGeom prst="ellipse">
                <a:avLst/>
              </a:prstGeom>
              <a:solidFill>
                <a:srgbClr val="056CDD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prstClr val="white"/>
                  </a:solidFill>
                </a:endParaRPr>
              </a:p>
            </p:txBody>
          </p:sp>
          <p:pic>
            <p:nvPicPr>
              <p:cNvPr id="13" name="Picture 2" descr="Imagen relacionada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>
                <a:off x="2870080" y="3148874"/>
                <a:ext cx="2572294" cy="25722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8" name="TextBox 7"/>
            <p:cNvSpPr txBox="1"/>
            <p:nvPr/>
          </p:nvSpPr>
          <p:spPr>
            <a:xfrm>
              <a:off x="4161348" y="321735"/>
              <a:ext cx="2655343" cy="6428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>
                  <a:solidFill>
                    <a:prstClr val="white"/>
                  </a:solidFill>
                  <a:latin typeface="Fungo" panose="02000000000000000000" pitchFamily="50" charset="0"/>
                </a:rPr>
                <a:t>Creating Value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4242824" y="917264"/>
              <a:ext cx="2573867" cy="5240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>
                  <a:solidFill>
                    <a:prstClr val="white"/>
                  </a:solidFill>
                  <a:latin typeface="Manus" pitchFamily="2" charset="0"/>
                </a:rPr>
                <a:t>from source to shelf</a:t>
              </a:r>
            </a:p>
          </p:txBody>
        </p:sp>
      </p:grpSp>
      <p:grpSp>
        <p:nvGrpSpPr>
          <p:cNvPr id="14" name="Group 13"/>
          <p:cNvGrpSpPr>
            <a:grpSpLocks noChangeAspect="1"/>
          </p:cNvGrpSpPr>
          <p:nvPr userDrawn="1"/>
        </p:nvGrpSpPr>
        <p:grpSpPr>
          <a:xfrm>
            <a:off x="8271648" y="33347"/>
            <a:ext cx="1253067" cy="844715"/>
            <a:chOff x="203200" y="100561"/>
            <a:chExt cx="2166934" cy="1460769"/>
          </a:xfrm>
        </p:grpSpPr>
        <p:sp>
          <p:nvSpPr>
            <p:cNvPr id="15" name="TextBox 14"/>
            <p:cNvSpPr txBox="1"/>
            <p:nvPr/>
          </p:nvSpPr>
          <p:spPr>
            <a:xfrm>
              <a:off x="203200" y="100561"/>
              <a:ext cx="1938462" cy="12241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000">
                  <a:solidFill>
                    <a:prstClr val="white"/>
                  </a:solidFill>
                </a:rPr>
                <a:t>LAO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33880" y="869418"/>
              <a:ext cx="2136254" cy="6919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>
                  <a:solidFill>
                    <a:prstClr val="white"/>
                  </a:solidFill>
                </a:rPr>
                <a:t>Logistic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783133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AB2C9-A098-4178-84B0-83A787295A3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FBEEC-6D5C-46EC-A50C-EF1C73D9A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11223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0641D-54E5-4EB2-8775-75048D93274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FBEEC-6D5C-46EC-A50C-EF1C73D9A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>
          <a:xfrm>
            <a:off x="9425621" y="100562"/>
            <a:ext cx="2797058" cy="710287"/>
            <a:chOff x="2182274" y="270933"/>
            <a:chExt cx="4634417" cy="1176868"/>
          </a:xfrm>
        </p:grpSpPr>
        <p:grpSp>
          <p:nvGrpSpPr>
            <p:cNvPr id="9" name="Group 8"/>
            <p:cNvGrpSpPr>
              <a:grpSpLocks noChangeAspect="1"/>
            </p:cNvGrpSpPr>
            <p:nvPr/>
          </p:nvGrpSpPr>
          <p:grpSpPr>
            <a:xfrm>
              <a:off x="2182274" y="270933"/>
              <a:ext cx="1893926" cy="1176868"/>
              <a:chOff x="2510307" y="2891970"/>
              <a:chExt cx="5297533" cy="3291840"/>
            </a:xfrm>
          </p:grpSpPr>
          <p:sp>
            <p:nvSpPr>
              <p:cNvPr id="12" name="Oval 11"/>
              <p:cNvSpPr/>
              <p:nvPr/>
            </p:nvSpPr>
            <p:spPr>
              <a:xfrm>
                <a:off x="4516000" y="2891970"/>
                <a:ext cx="3291840" cy="3291840"/>
              </a:xfrm>
              <a:prstGeom prst="ellips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prstClr val="white"/>
                  </a:solidFill>
                </a:endParaRPr>
              </a:p>
            </p:txBody>
          </p:sp>
          <p:pic>
            <p:nvPicPr>
              <p:cNvPr id="13" name="Picture 2" descr="Resultado de imagen para latin america map icon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artisticPhotocopy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16000" y="2986589"/>
                <a:ext cx="3102602" cy="31026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4" name="Oval 13"/>
              <p:cNvSpPr/>
              <p:nvPr/>
            </p:nvSpPr>
            <p:spPr>
              <a:xfrm>
                <a:off x="2510307" y="2891970"/>
                <a:ext cx="3291840" cy="3291840"/>
              </a:xfrm>
              <a:prstGeom prst="ellipse">
                <a:avLst/>
              </a:prstGeom>
              <a:solidFill>
                <a:srgbClr val="056CDD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prstClr val="white"/>
                  </a:solidFill>
                </a:endParaRPr>
              </a:p>
            </p:txBody>
          </p:sp>
          <p:pic>
            <p:nvPicPr>
              <p:cNvPr id="15" name="Picture 2" descr="Imagen relacionada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>
                <a:off x="2870080" y="3148874"/>
                <a:ext cx="2572294" cy="25722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0" name="TextBox 9"/>
            <p:cNvSpPr txBox="1"/>
            <p:nvPr/>
          </p:nvSpPr>
          <p:spPr>
            <a:xfrm>
              <a:off x="4161348" y="321735"/>
              <a:ext cx="2655343" cy="6428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>
                  <a:solidFill>
                    <a:prstClr val="white"/>
                  </a:solidFill>
                  <a:latin typeface="Fungo" panose="02000000000000000000" pitchFamily="50" charset="0"/>
                </a:rPr>
                <a:t>Creating Value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242824" y="917264"/>
              <a:ext cx="2573867" cy="5240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>
                  <a:solidFill>
                    <a:prstClr val="white"/>
                  </a:solidFill>
                  <a:latin typeface="Manus" pitchFamily="2" charset="0"/>
                </a:rPr>
                <a:t>from source to shelf</a:t>
              </a:r>
            </a:p>
          </p:txBody>
        </p:sp>
      </p:grp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8271648" y="33347"/>
            <a:ext cx="1253067" cy="844715"/>
            <a:chOff x="203200" y="100561"/>
            <a:chExt cx="2166934" cy="1460769"/>
          </a:xfrm>
        </p:grpSpPr>
        <p:sp>
          <p:nvSpPr>
            <p:cNvPr id="17" name="TextBox 16"/>
            <p:cNvSpPr txBox="1"/>
            <p:nvPr/>
          </p:nvSpPr>
          <p:spPr>
            <a:xfrm>
              <a:off x="203200" y="100561"/>
              <a:ext cx="1938462" cy="12241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000">
                  <a:solidFill>
                    <a:prstClr val="white"/>
                  </a:solidFill>
                </a:rPr>
                <a:t>LAO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33880" y="869418"/>
              <a:ext cx="2136254" cy="6919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>
                  <a:solidFill>
                    <a:prstClr val="white"/>
                  </a:solidFill>
                </a:rPr>
                <a:t>Logistic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3423457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C79D5-4DCD-4FC1-9C1C-AF400B88FB4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FBEEC-6D5C-46EC-A50C-EF1C73D9A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>
          <a:xfrm>
            <a:off x="9425621" y="100562"/>
            <a:ext cx="2797058" cy="710287"/>
            <a:chOff x="2182274" y="270933"/>
            <a:chExt cx="4634417" cy="1176868"/>
          </a:xfrm>
        </p:grpSpPr>
        <p:grpSp>
          <p:nvGrpSpPr>
            <p:cNvPr id="9" name="Group 8"/>
            <p:cNvGrpSpPr>
              <a:grpSpLocks noChangeAspect="1"/>
            </p:cNvGrpSpPr>
            <p:nvPr/>
          </p:nvGrpSpPr>
          <p:grpSpPr>
            <a:xfrm>
              <a:off x="2182274" y="270933"/>
              <a:ext cx="1893926" cy="1176868"/>
              <a:chOff x="2510307" y="2891970"/>
              <a:chExt cx="5297533" cy="3291840"/>
            </a:xfrm>
          </p:grpSpPr>
          <p:sp>
            <p:nvSpPr>
              <p:cNvPr id="12" name="Oval 11"/>
              <p:cNvSpPr/>
              <p:nvPr/>
            </p:nvSpPr>
            <p:spPr>
              <a:xfrm>
                <a:off x="4516000" y="2891970"/>
                <a:ext cx="3291840" cy="3291840"/>
              </a:xfrm>
              <a:prstGeom prst="ellips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prstClr val="white"/>
                  </a:solidFill>
                </a:endParaRPr>
              </a:p>
            </p:txBody>
          </p:sp>
          <p:pic>
            <p:nvPicPr>
              <p:cNvPr id="13" name="Picture 2" descr="Resultado de imagen para latin america map icon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artisticPhotocopy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16000" y="2986589"/>
                <a:ext cx="3102602" cy="31026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4" name="Oval 13"/>
              <p:cNvSpPr/>
              <p:nvPr/>
            </p:nvSpPr>
            <p:spPr>
              <a:xfrm>
                <a:off x="2510307" y="2891970"/>
                <a:ext cx="3291840" cy="3291840"/>
              </a:xfrm>
              <a:prstGeom prst="ellipse">
                <a:avLst/>
              </a:prstGeom>
              <a:solidFill>
                <a:srgbClr val="056CDD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prstClr val="white"/>
                  </a:solidFill>
                </a:endParaRPr>
              </a:p>
            </p:txBody>
          </p:sp>
          <p:pic>
            <p:nvPicPr>
              <p:cNvPr id="15" name="Picture 2" descr="Imagen relacionada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>
                <a:off x="2870080" y="3148874"/>
                <a:ext cx="2572294" cy="25722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0" name="TextBox 9"/>
            <p:cNvSpPr txBox="1"/>
            <p:nvPr/>
          </p:nvSpPr>
          <p:spPr>
            <a:xfrm>
              <a:off x="4161348" y="321735"/>
              <a:ext cx="2655343" cy="6428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>
                  <a:solidFill>
                    <a:prstClr val="white"/>
                  </a:solidFill>
                  <a:latin typeface="Fungo" panose="02000000000000000000" pitchFamily="50" charset="0"/>
                </a:rPr>
                <a:t>Creating Value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242824" y="917264"/>
              <a:ext cx="2573867" cy="5240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>
                  <a:solidFill>
                    <a:prstClr val="white"/>
                  </a:solidFill>
                  <a:latin typeface="Manus" pitchFamily="2" charset="0"/>
                </a:rPr>
                <a:t>from source to shelf</a:t>
              </a:r>
            </a:p>
          </p:txBody>
        </p:sp>
      </p:grp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8271648" y="33347"/>
            <a:ext cx="1253067" cy="844715"/>
            <a:chOff x="203200" y="100561"/>
            <a:chExt cx="2166934" cy="1460769"/>
          </a:xfrm>
        </p:grpSpPr>
        <p:sp>
          <p:nvSpPr>
            <p:cNvPr id="17" name="TextBox 16"/>
            <p:cNvSpPr txBox="1"/>
            <p:nvPr/>
          </p:nvSpPr>
          <p:spPr>
            <a:xfrm>
              <a:off x="203200" y="100561"/>
              <a:ext cx="1938462" cy="12241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000">
                  <a:solidFill>
                    <a:prstClr val="white"/>
                  </a:solidFill>
                </a:rPr>
                <a:t>LAO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33880" y="869418"/>
              <a:ext cx="2136254" cy="6919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>
                  <a:solidFill>
                    <a:prstClr val="white"/>
                  </a:solidFill>
                </a:rPr>
                <a:t>Logistic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0088450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D1F09-2F73-48EC-9894-2A1B34BB09F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FBEEC-6D5C-46EC-A50C-EF1C73D9A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>
          <a:xfrm>
            <a:off x="9425621" y="100562"/>
            <a:ext cx="2797058" cy="710287"/>
            <a:chOff x="2182274" y="270933"/>
            <a:chExt cx="4634417" cy="1176868"/>
          </a:xfrm>
        </p:grpSpPr>
        <p:grpSp>
          <p:nvGrpSpPr>
            <p:cNvPr id="8" name="Group 7"/>
            <p:cNvGrpSpPr>
              <a:grpSpLocks noChangeAspect="1"/>
            </p:cNvGrpSpPr>
            <p:nvPr/>
          </p:nvGrpSpPr>
          <p:grpSpPr>
            <a:xfrm>
              <a:off x="2182274" y="270933"/>
              <a:ext cx="1893926" cy="1176868"/>
              <a:chOff x="2510307" y="2891970"/>
              <a:chExt cx="5297533" cy="3291840"/>
            </a:xfrm>
          </p:grpSpPr>
          <p:sp>
            <p:nvSpPr>
              <p:cNvPr id="11" name="Oval 10"/>
              <p:cNvSpPr/>
              <p:nvPr/>
            </p:nvSpPr>
            <p:spPr>
              <a:xfrm>
                <a:off x="4516000" y="2891970"/>
                <a:ext cx="3291840" cy="3291840"/>
              </a:xfrm>
              <a:prstGeom prst="ellips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prstClr val="white"/>
                  </a:solidFill>
                </a:endParaRPr>
              </a:p>
            </p:txBody>
          </p:sp>
          <p:pic>
            <p:nvPicPr>
              <p:cNvPr id="12" name="Picture 2" descr="Resultado de imagen para latin america map icon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artisticPhotocopy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16000" y="2986589"/>
                <a:ext cx="3102602" cy="31026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" name="Oval 12"/>
              <p:cNvSpPr/>
              <p:nvPr/>
            </p:nvSpPr>
            <p:spPr>
              <a:xfrm>
                <a:off x="2510307" y="2891970"/>
                <a:ext cx="3291840" cy="3291840"/>
              </a:xfrm>
              <a:prstGeom prst="ellipse">
                <a:avLst/>
              </a:prstGeom>
              <a:solidFill>
                <a:srgbClr val="056CDD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solidFill>
                    <a:prstClr val="white"/>
                  </a:solidFill>
                </a:endParaRPr>
              </a:p>
            </p:txBody>
          </p:sp>
          <p:pic>
            <p:nvPicPr>
              <p:cNvPr id="14" name="Picture 2" descr="Imagen relacionada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>
                <a:off x="2870080" y="3148874"/>
                <a:ext cx="2572294" cy="25722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9" name="TextBox 8"/>
            <p:cNvSpPr txBox="1"/>
            <p:nvPr/>
          </p:nvSpPr>
          <p:spPr>
            <a:xfrm>
              <a:off x="4161348" y="321735"/>
              <a:ext cx="2655343" cy="6428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>
                  <a:solidFill>
                    <a:prstClr val="white"/>
                  </a:solidFill>
                  <a:latin typeface="Fungo" panose="02000000000000000000" pitchFamily="50" charset="0"/>
                </a:rPr>
                <a:t>Creating Value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4242824" y="917264"/>
              <a:ext cx="2573867" cy="5240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>
                  <a:solidFill>
                    <a:prstClr val="white"/>
                  </a:solidFill>
                  <a:latin typeface="Manus" pitchFamily="2" charset="0"/>
                </a:rPr>
                <a:t>from source to shelf</a:t>
              </a:r>
            </a:p>
          </p:txBody>
        </p:sp>
      </p:grp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8271648" y="33347"/>
            <a:ext cx="1253067" cy="844715"/>
            <a:chOff x="203200" y="100561"/>
            <a:chExt cx="2166934" cy="1460769"/>
          </a:xfrm>
        </p:grpSpPr>
        <p:sp>
          <p:nvSpPr>
            <p:cNvPr id="16" name="TextBox 15"/>
            <p:cNvSpPr txBox="1"/>
            <p:nvPr/>
          </p:nvSpPr>
          <p:spPr>
            <a:xfrm>
              <a:off x="203200" y="100561"/>
              <a:ext cx="1938462" cy="12241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000">
                  <a:solidFill>
                    <a:prstClr val="white"/>
                  </a:solidFill>
                </a:rPr>
                <a:t>LAO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233880" y="869418"/>
              <a:ext cx="2136254" cy="6919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>
                  <a:solidFill>
                    <a:prstClr val="white"/>
                  </a:solidFill>
                </a:rPr>
                <a:t>Logistic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608364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D3FE03-8F0E-4D24-B834-A4D9C0C602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FBEEC-6D5C-46EC-A50C-EF1C73D9A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59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CF1FC2-6B2A-4188-843F-D2BBD98EE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E3537B6-C82C-4D6D-A9D0-E56914E635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3520FB3-86C4-4C61-96E0-F1AC05418B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7ACA786-FF0F-408D-AA38-289437FC25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21AC6FD-91E6-4480-86EA-CCC584F82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410092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4CE024E-7E30-4AE7-82F6-077426130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78ECFA2-51F8-4806-8372-72FBDCC0425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17B6A13-7F46-4ED6-BCB0-D501E3A92F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FFC866D-2548-420A-A322-FC498D863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461399D-3C10-42B5-9132-5A052FF609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EA77A2F-E89A-4098-9D2B-133007DE96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2827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85E0786-B27E-4FC3-9F25-EB4371E14D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626534C-38C7-4B51-9F0E-B7432FDE5B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C72746EF-BEF8-4106-AB06-FD2082EC0F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D8EF79C0-CD81-468D-90A5-DD43A122DDE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D7EB4155-0E9C-4081-8234-CDB26B2AA6A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010372B5-9AE6-4E64-88CD-B0640202A7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F3CF5417-E862-42A6-9FC5-68EA3579E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2EB37315-75D2-48E9-A71A-D827D00873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397476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AC413-F642-7B43-A968-2D751862D47C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91C19-2013-9A4F-B879-86BE714CC76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881519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4922333-A7FA-41AA-A26C-8F7D4E4DC5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9E2E7D11-4E4E-4DC1-AF71-21D6F894C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75F8EF5-2D0C-4409-B64A-42E8CBBF4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CEF849AB-0651-468E-B095-33B94A58C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520426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A6F8ACC5-479D-4645-9E5C-03A16E54B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B9B21EA2-8EB3-4700-A504-84344641BC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F71AEE90-92E6-4C20-8F58-5B1E0F85A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451138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547B2A-96CE-4F63-8DCF-F756E5110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42F67C7-4B23-4122-9878-01E15CEF0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4F023EEF-94D9-48A6-B38E-812AFAC126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05B5053-E2B5-4B09-8E92-5252E91705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87CCEC2-9294-4322-A8CA-042518449A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02572BE-BAB0-409F-B89D-771207007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8498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1E2744-F327-47BD-9971-129CF9C66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CFC030DF-382B-4D26-9627-D8A32757F45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373BC677-8240-47B2-AF8B-FDDC920152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3E94B90-D272-4DA4-8F40-955BFB7A25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7C1A5D5-988E-4E56-AD2A-8B59072227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ECD45A51-6511-442A-A9EA-5E1614FE25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581312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E43D9FC-CB11-476B-9BC0-7A87A57666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B598C448-5499-40D2-B4A4-5C0EE2CFA5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ED89AB1-ECAA-405E-93BB-F57B705D69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757FA52-A89F-4B6D-A1D4-93B82CEB8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32CCD71-45F4-4FD1-B0DC-8CB7CF9232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284177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7B6B4CF-4CD2-4620-8A9A-D748D87D9D8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0956D0E-BDA2-4113-81F4-984541981A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F31699E-8C91-4684-B68E-5B7C560DB0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0F44E7B-F15C-4104-86EE-96A474090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34B0E22-408C-41C4-AF34-7A71ECF5F6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1054111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A226D34-6D49-448F-9993-2A44520E64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49E9032-C41D-4BFD-9EBA-728BD1DB4F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8B64E09-1C66-439A-A0B7-F64139B29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703344C-EDE3-4137-9FE1-DF0789064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F015378-B6F4-4DD1-A9AD-52913E05BD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274021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4332016-4209-416C-BD8A-0D1A85C3D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13C6D74-E510-4653-8167-66BA69DED0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B398293-0911-48B2-84B0-54BF41CA90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D692E59-BBA6-4B11-A2DB-C4A5A975D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10A5778-299C-493A-AFB0-D33009FA87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378125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CF1FC2-6B2A-4188-843F-D2BBD98EE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E3537B6-C82C-4D6D-A9D0-E56914E635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3520FB3-86C4-4C61-96E0-F1AC05418B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7ACA786-FF0F-408D-AA38-289437FC25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21AC6FD-91E6-4480-86EA-CCC584F82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677973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4CE024E-7E30-4AE7-82F6-077426130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78ECFA2-51F8-4806-8372-72FBDCC0425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17B6A13-7F46-4ED6-BCB0-D501E3A92F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FFC866D-2548-420A-A322-FC498D863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461399D-3C10-42B5-9132-5A052FF609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EA77A2F-E89A-4098-9D2B-133007DE96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50394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+mj-lt"/>
              </a:defRPr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AC413-F642-7B43-A968-2D751862D47C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91C19-2013-9A4F-B879-86BE714CC76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835834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85E0786-B27E-4FC3-9F25-EB4371E14D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626534C-38C7-4B51-9F0E-B7432FDE5B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C72746EF-BEF8-4106-AB06-FD2082EC0F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D8EF79C0-CD81-468D-90A5-DD43A122DDE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D7EB4155-0E9C-4081-8234-CDB26B2AA6A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010372B5-9AE6-4E64-88CD-B0640202A7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F3CF5417-E862-42A6-9FC5-68EA3579E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2EB37315-75D2-48E9-A71A-D827D00873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209780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4922333-A7FA-41AA-A26C-8F7D4E4DC5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9E2E7D11-4E4E-4DC1-AF71-21D6F894C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75F8EF5-2D0C-4409-B64A-42E8CBBF4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CEF849AB-0651-468E-B095-33B94A58C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382903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A6F8ACC5-479D-4645-9E5C-03A16E54B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B9B21EA2-8EB3-4700-A504-84344641BC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F71AEE90-92E6-4C20-8F58-5B1E0F85A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9068086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547B2A-96CE-4F63-8DCF-F756E5110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42F67C7-4B23-4122-9878-01E15CEF0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4F023EEF-94D9-48A6-B38E-812AFAC126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05B5053-E2B5-4B09-8E92-5252E91705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87CCEC2-9294-4322-A8CA-042518449A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02572BE-BAB0-409F-B89D-771207007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242874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1E2744-F327-47BD-9971-129CF9C66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CFC030DF-382B-4D26-9627-D8A32757F45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373BC677-8240-47B2-AF8B-FDDC920152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3E94B90-D272-4DA4-8F40-955BFB7A25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7C1A5D5-988E-4E56-AD2A-8B59072227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ECD45A51-6511-442A-A9EA-5E1614FE25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466126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E43D9FC-CB11-476B-9BC0-7A87A57666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B598C448-5499-40D2-B4A4-5C0EE2CFA5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ED89AB1-ECAA-405E-93BB-F57B705D69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757FA52-A89F-4B6D-A1D4-93B82CEB8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32CCD71-45F4-4FD1-B0DC-8CB7CF9232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773663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7B6B4CF-4CD2-4620-8A9A-D748D87D9D8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0956D0E-BDA2-4113-81F4-984541981A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F31699E-8C91-4684-B68E-5B7C560DB0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0F44E7B-F15C-4104-86EE-96A474090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34B0E22-408C-41C4-AF34-7A71ECF5F6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534498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A226D34-6D49-448F-9993-2A44520E64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49E9032-C41D-4BFD-9EBA-728BD1DB4F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8B64E09-1C66-439A-A0B7-F64139B29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703344C-EDE3-4137-9FE1-DF0789064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F015378-B6F4-4DD1-A9AD-52913E05BD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971992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4332016-4209-416C-BD8A-0D1A85C3D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13C6D74-E510-4653-8167-66BA69DED0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B398293-0911-48B2-84B0-54BF41CA90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D692E59-BBA6-4B11-A2DB-C4A5A975D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10A5778-299C-493A-AFB0-D33009FA87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4608997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CF1FC2-6B2A-4188-843F-D2BBD98EE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E3537B6-C82C-4D6D-A9D0-E56914E635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3520FB3-86C4-4C61-96E0-F1AC05418B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7ACA786-FF0F-408D-AA38-289437FC25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21AC6FD-91E6-4480-86EA-CCC584F82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035075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AC413-F642-7B43-A968-2D751862D47C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91C19-2013-9A4F-B879-86BE714CC76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2299680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4CE024E-7E30-4AE7-82F6-077426130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78ECFA2-51F8-4806-8372-72FBDCC0425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17B6A13-7F46-4ED6-BCB0-D501E3A92F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FFC866D-2548-420A-A322-FC498D863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461399D-3C10-42B5-9132-5A052FF609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EA77A2F-E89A-4098-9D2B-133007DE96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824463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85E0786-B27E-4FC3-9F25-EB4371E14D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626534C-38C7-4B51-9F0E-B7432FDE5B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C72746EF-BEF8-4106-AB06-FD2082EC0F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D8EF79C0-CD81-468D-90A5-DD43A122DDE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D7EB4155-0E9C-4081-8234-CDB26B2AA6A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010372B5-9AE6-4E64-88CD-B0640202A7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F3CF5417-E862-42A6-9FC5-68EA3579E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2EB37315-75D2-48E9-A71A-D827D00873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1612384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4922333-A7FA-41AA-A26C-8F7D4E4DC5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9E2E7D11-4E4E-4DC1-AF71-21D6F894C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75F8EF5-2D0C-4409-B64A-42E8CBBF4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CEF849AB-0651-468E-B095-33B94A58C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914109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A6F8ACC5-479D-4645-9E5C-03A16E54B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B9B21EA2-8EB3-4700-A504-84344641BC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F71AEE90-92E6-4C20-8F58-5B1E0F85A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5994902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547B2A-96CE-4F63-8DCF-F756E5110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42F67C7-4B23-4122-9878-01E15CEF0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4F023EEF-94D9-48A6-B38E-812AFAC126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05B5053-E2B5-4B09-8E92-5252E91705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87CCEC2-9294-4322-A8CA-042518449A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02572BE-BAB0-409F-B89D-771207007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358912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1E2744-F327-47BD-9971-129CF9C66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CFC030DF-382B-4D26-9627-D8A32757F45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373BC677-8240-47B2-AF8B-FDDC920152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3E94B90-D272-4DA4-8F40-955BFB7A25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7C1A5D5-988E-4E56-AD2A-8B59072227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ECD45A51-6511-442A-A9EA-5E1614FE25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827023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E43D9FC-CB11-476B-9BC0-7A87A57666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B598C448-5499-40D2-B4A4-5C0EE2CFA5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ED89AB1-ECAA-405E-93BB-F57B705D69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757FA52-A89F-4B6D-A1D4-93B82CEB8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32CCD71-45F4-4FD1-B0DC-8CB7CF9232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5939847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7B6B4CF-4CD2-4620-8A9A-D748D87D9D8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0956D0E-BDA2-4113-81F4-984541981A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F31699E-8C91-4684-B68E-5B7C560DB0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0F44E7B-F15C-4104-86EE-96A474090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34B0E22-408C-41C4-AF34-7A71ECF5F6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647675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A226D34-6D49-448F-9993-2A44520E64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49E9032-C41D-4BFD-9EBA-728BD1DB4F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8B64E09-1C66-439A-A0B7-F64139B29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703344C-EDE3-4137-9FE1-DF0789064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F015378-B6F4-4DD1-A9AD-52913E05BD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202454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4332016-4209-416C-BD8A-0D1A85C3D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13C6D74-E510-4653-8167-66BA69DED0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B398293-0911-48B2-84B0-54BF41CA90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D692E59-BBA6-4B11-A2DB-C4A5A975D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10A5778-299C-493A-AFB0-D33009FA87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87567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AC413-F642-7B43-A968-2D751862D47C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91C19-2013-9A4F-B879-86BE714CC76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976346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CF1FC2-6B2A-4188-843F-D2BBD98EE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E3537B6-C82C-4D6D-A9D0-E56914E635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3520FB3-86C4-4C61-96E0-F1AC05418B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7ACA786-FF0F-408D-AA38-289437FC25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21AC6FD-91E6-4480-86EA-CCC584F82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8263010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4CE024E-7E30-4AE7-82F6-077426130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78ECFA2-51F8-4806-8372-72FBDCC0425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17B6A13-7F46-4ED6-BCB0-D501E3A92F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FFC866D-2548-420A-A322-FC498D863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461399D-3C10-42B5-9132-5A052FF609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EA77A2F-E89A-4098-9D2B-133007DE96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3285317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85E0786-B27E-4FC3-9F25-EB4371E14D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626534C-38C7-4B51-9F0E-B7432FDE5B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C72746EF-BEF8-4106-AB06-FD2082EC0F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D8EF79C0-CD81-468D-90A5-DD43A122DDE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D7EB4155-0E9C-4081-8234-CDB26B2AA6A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010372B5-9AE6-4E64-88CD-B0640202A7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F3CF5417-E862-42A6-9FC5-68EA3579E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2EB37315-75D2-48E9-A71A-D827D00873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1056932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4922333-A7FA-41AA-A26C-8F7D4E4DC5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9E2E7D11-4E4E-4DC1-AF71-21D6F894C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75F8EF5-2D0C-4409-B64A-42E8CBBF4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CEF849AB-0651-468E-B095-33B94A58C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11441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A6F8ACC5-479D-4645-9E5C-03A16E54B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B9B21EA2-8EB3-4700-A504-84344641BC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F71AEE90-92E6-4C20-8F58-5B1E0F85A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0120507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547B2A-96CE-4F63-8DCF-F756E5110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42F67C7-4B23-4122-9878-01E15CEF0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4F023EEF-94D9-48A6-B38E-812AFAC126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05B5053-E2B5-4B09-8E92-5252E91705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87CCEC2-9294-4322-A8CA-042518449A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02572BE-BAB0-409F-B89D-771207007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5196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1E2744-F327-47BD-9971-129CF9C66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CFC030DF-382B-4D26-9627-D8A32757F45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373BC677-8240-47B2-AF8B-FDDC920152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3E94B90-D272-4DA4-8F40-955BFB7A25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7C1A5D5-988E-4E56-AD2A-8B59072227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ECD45A51-6511-442A-A9EA-5E1614FE25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0243972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E43D9FC-CB11-476B-9BC0-7A87A57666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B598C448-5499-40D2-B4A4-5C0EE2CFA5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ED89AB1-ECAA-405E-93BB-F57B705D69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757FA52-A89F-4B6D-A1D4-93B82CEB8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32CCD71-45F4-4FD1-B0DC-8CB7CF9232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2645180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7B6B4CF-4CD2-4620-8A9A-D748D87D9D8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0956D0E-BDA2-4113-81F4-984541981A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F31699E-8C91-4684-B68E-5B7C560DB0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0F44E7B-F15C-4104-86EE-96A474090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34B0E22-408C-41C4-AF34-7A71ECF5F6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206476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4C19AC2-94A0-46E3-BDDE-FB1B5E35CE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54DE4E6-20D3-4295-81E0-8EB0295AAF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D06D592-A0A4-42A3-A1FC-4C3D2E057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8E7FE2F-51F5-427B-A63C-EE232B78AC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65A9700-4BCB-4624-A7DD-5340E8467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8147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AC413-F642-7B43-A968-2D751862D47C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91C19-2013-9A4F-B879-86BE714CC76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1666693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7B7CE68-09DA-4698-93FA-36B98981A9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43AD844-4E14-4D58-8B77-DF6AE0ECB2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17DE40B-BF37-4EF0-8AC4-9D2C0743F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228C21E-3F6F-4B83-8F2B-2ADA1FE890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91F976D-E004-44EA-A02A-39D0ABBA48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903634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1131A98-39B0-4A70-8E34-54F615A581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1C419B8-0450-485D-B747-31FD5EE3A0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7B0039E-3177-4AEA-8556-C6B5A0F7E4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4E3EBC1-933D-4B0F-8BD7-A78267B03B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7E50517-3C99-45F5-A58C-5081457F9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22621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6DD583-A87A-4C11-A465-FB470AA7B8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EBFB355-0CC9-4669-86F8-446EE0A44D5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5A4C5696-EE2B-466F-AD1E-20BF4DDE53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082DEAB-753E-4B96-857B-A5F52822EA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97540C8-2765-4E2B-A2FC-FA4238BCA5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BDA55DA-2D5E-49DD-BE9E-83616672D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7651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14CE06F-722D-4DE3-BF23-A16E218FA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4ABD602-7887-49E2-B420-88E4F2298D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C5BC9D9-19D2-45BE-BF59-4A1B37D64A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8E0EA0A7-5751-42C4-99BA-F3C025A7FD9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B008C95-8CE6-4472-997E-8DFF9B842A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F252E926-4B7A-40D2-B760-06C074AF18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B07A2F7-BA06-4221-9350-AF735F331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505DD545-1630-4D47-A47D-546735CAE3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9540163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F33D10-5C45-47F5-AAFF-ACA2A102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31758764-E2BB-4082-9A9F-C6A6AF200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0DACB40-79B6-4D18-92E9-2F80630D6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67E9EF8A-373C-4B77-8AA9-D0C868380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3225095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18A98F7F-DE9D-4022-A2BB-2146A0A3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5A2D3D89-C828-4EF5-B7D2-B7670B0CF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677264F7-6FAC-4EC6-B131-026BF2E8E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1908793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8C22E03-2F48-4C91-B919-848F1003B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348228C-7D1C-4B68-A1A4-4E9531317B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C19DA7-5239-4461-B253-6749C3D42D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8A06EF9-368B-4EF4-9A12-8147E4E1BE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1485D1F-932E-4163-90E9-421A7C29DB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B18BF014-CC75-4DEE-AA9F-706CC1DB9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3643552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1936C34-DCE4-446D-A105-EF182B7955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030FB3AD-83F2-494E-87EF-47F3877930B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98D57D9-D114-442A-A83F-B517DD1780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AFD0395-EDF2-4FE7-BA68-1F699E7C6C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CCB6F54-39C9-447E-9D5F-F077AAE36E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4D455A4-3B10-4877-AFA3-503E064803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9276501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B4FEB1D-AF7B-4738-9FAE-E6E15453EF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82FFB72-4BF0-4424-8677-3CCAE1B5CC6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5AABC09-20F9-4E4A-B6A7-49A5E5EE1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48EB4EB-80CB-4773-AF7C-D771B53E9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80C98CC-44AD-4861-8161-D9752A7DA0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8231311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08623B0A-240B-42D1-BE58-2EFC3F09D6D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06B46B1-3B1A-4089-A405-CB0129410B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F9E2932-7017-4895-A2AB-FAC2061970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21E60E-BB72-4308-930E-69D146B84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5AC209D-56CB-47EE-9D0E-066E8BECCF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39312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AC413-F642-7B43-A968-2D751862D47C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91C19-2013-9A4F-B879-86BE714CC76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4128101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2520457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6043940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866500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781229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2798498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802398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55696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7007665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6702387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901947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+mj-lt"/>
              </a:defRPr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AC413-F642-7B43-A968-2D751862D47C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91C19-2013-9A4F-B879-86BE714CC76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5032782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5663011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0F699-5F8C-634F-A009-91A27EA4F1B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1CA8C-2234-6E4E-8594-F2E930F71CD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638484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0F699-5F8C-634F-A009-91A27EA4F1B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1CA8C-2234-6E4E-8594-F2E930F71CD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207962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0F699-5F8C-634F-A009-91A27EA4F1B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1CA8C-2234-6E4E-8594-F2E930F71CD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88225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0F699-5F8C-634F-A009-91A27EA4F1B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1CA8C-2234-6E4E-8594-F2E930F71CD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7182553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0F699-5F8C-634F-A009-91A27EA4F1B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1CA8C-2234-6E4E-8594-F2E930F71CD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5858088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0F699-5F8C-634F-A009-91A27EA4F1B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1CA8C-2234-6E4E-8594-F2E930F71CD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1935580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0F699-5F8C-634F-A009-91A27EA4F1B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1CA8C-2234-6E4E-8594-F2E930F71CD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8150786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0F699-5F8C-634F-A009-91A27EA4F1B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1CA8C-2234-6E4E-8594-F2E930F71CD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8435558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0F699-5F8C-634F-A009-91A27EA4F1B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1CA8C-2234-6E4E-8594-F2E930F71CD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977002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+mj-lt"/>
              </a:defRPr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AC413-F642-7B43-A968-2D751862D47C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91C19-2013-9A4F-B879-86BE714CC76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1680019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0F699-5F8C-634F-A009-91A27EA4F1B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1CA8C-2234-6E4E-8594-F2E930F71CD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8824353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0F699-5F8C-634F-A009-91A27EA4F1B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1CA8C-2234-6E4E-8594-F2E930F71CD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736053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9611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3200" b="1" i="0" baseline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80975" y="127001"/>
            <a:ext cx="11839576" cy="10541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vmlDrawing" Target="../drawings/vmlDrawing10.vml"/><Relationship Id="rId18" Type="http://schemas.openxmlformats.org/officeDocument/2006/relationships/image" Target="../media/image10.png"/><Relationship Id="rId3" Type="http://schemas.openxmlformats.org/officeDocument/2006/relationships/slideLayout" Target="../slideLayouts/slideLayout72.xml"/><Relationship Id="rId21" Type="http://schemas.openxmlformats.org/officeDocument/2006/relationships/image" Target="../media/image13.png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10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71.xml"/><Relationship Id="rId16" Type="http://schemas.openxmlformats.org/officeDocument/2006/relationships/oleObject" Target="../embeddings/oleObject10.bin"/><Relationship Id="rId20" Type="http://schemas.microsoft.com/office/2007/relationships/hdphoto" Target="../media/hdphoto1.wdp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tags" Target="../tags/tag21.xml"/><Relationship Id="rId10" Type="http://schemas.openxmlformats.org/officeDocument/2006/relationships/slideLayout" Target="../slideLayouts/slideLayout79.xml"/><Relationship Id="rId19" Type="http://schemas.openxmlformats.org/officeDocument/2006/relationships/image" Target="../media/image12.png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tags" Target="../tags/tag2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vmlDrawing" Target="../drawings/vmlDrawing11.vml"/><Relationship Id="rId18" Type="http://schemas.openxmlformats.org/officeDocument/2006/relationships/image" Target="../media/image10.png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1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82.xml"/><Relationship Id="rId16" Type="http://schemas.openxmlformats.org/officeDocument/2006/relationships/oleObject" Target="../embeddings/oleObject11.bin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tags" Target="../tags/tag23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tags" Target="../tags/tag2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18" Type="http://schemas.openxmlformats.org/officeDocument/2006/relationships/tags" Target="../tags/tag25.xml"/><Relationship Id="rId3" Type="http://schemas.openxmlformats.org/officeDocument/2006/relationships/slideLayout" Target="../slideLayouts/slideLayout94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tags" Target="../tags/tag24.xml"/><Relationship Id="rId2" Type="http://schemas.openxmlformats.org/officeDocument/2006/relationships/slideLayout" Target="../slideLayouts/slideLayout93.xml"/><Relationship Id="rId16" Type="http://schemas.openxmlformats.org/officeDocument/2006/relationships/vmlDrawing" Target="../drawings/vmlDrawing12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01.xml"/><Relationship Id="rId19" Type="http://schemas.openxmlformats.org/officeDocument/2006/relationships/oleObject" Target="../embeddings/oleObject12.bin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Relationship Id="rId22" Type="http://schemas.openxmlformats.org/officeDocument/2006/relationships/image" Target="../media/image14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5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108.xml"/><Relationship Id="rId7" Type="http://schemas.openxmlformats.org/officeDocument/2006/relationships/theme" Target="../theme/theme1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oleObject" Target="../embeddings/oleObject15.bin"/><Relationship Id="rId5" Type="http://schemas.openxmlformats.org/officeDocument/2006/relationships/slideLayout" Target="../slideLayouts/slideLayout110.xml"/><Relationship Id="rId10" Type="http://schemas.openxmlformats.org/officeDocument/2006/relationships/tags" Target="../tags/tag31.xml"/><Relationship Id="rId4" Type="http://schemas.openxmlformats.org/officeDocument/2006/relationships/slideLayout" Target="../slideLayouts/slideLayout109.xml"/><Relationship Id="rId9" Type="http://schemas.openxmlformats.org/officeDocument/2006/relationships/tags" Target="../tags/tag30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theme" Target="../theme/theme1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17" Type="http://schemas.openxmlformats.org/officeDocument/2006/relationships/oleObject" Target="../embeddings/oleObject18.bin"/><Relationship Id="rId2" Type="http://schemas.openxmlformats.org/officeDocument/2006/relationships/slideLayout" Target="../slideLayouts/slideLayout113.xml"/><Relationship Id="rId16" Type="http://schemas.openxmlformats.org/officeDocument/2006/relationships/tags" Target="../tags/tag37.xml"/><Relationship Id="rId20" Type="http://schemas.openxmlformats.org/officeDocument/2006/relationships/image" Target="../media/image14.png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16.xml"/><Relationship Id="rId15" Type="http://schemas.openxmlformats.org/officeDocument/2006/relationships/tags" Target="../tags/tag36.xml"/><Relationship Id="rId10" Type="http://schemas.openxmlformats.org/officeDocument/2006/relationships/slideLayout" Target="../slideLayouts/slideLayout121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vmlDrawing" Target="../drawings/vmlDrawing18.v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vmlDrawing" Target="../drawings/vmlDrawing21.vml"/><Relationship Id="rId18" Type="http://schemas.openxmlformats.org/officeDocument/2006/relationships/image" Target="../media/image10.png"/><Relationship Id="rId3" Type="http://schemas.openxmlformats.org/officeDocument/2006/relationships/slideLayout" Target="../slideLayouts/slideLayout126.xml"/><Relationship Id="rId21" Type="http://schemas.microsoft.com/office/2007/relationships/hdphoto" Target="../media/hdphoto1.wdp"/><Relationship Id="rId7" Type="http://schemas.openxmlformats.org/officeDocument/2006/relationships/slideLayout" Target="../slideLayouts/slideLayout130.xml"/><Relationship Id="rId12" Type="http://schemas.openxmlformats.org/officeDocument/2006/relationships/theme" Target="../theme/theme1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25.xml"/><Relationship Id="rId16" Type="http://schemas.openxmlformats.org/officeDocument/2006/relationships/oleObject" Target="../embeddings/oleObject21.bin"/><Relationship Id="rId20" Type="http://schemas.openxmlformats.org/officeDocument/2006/relationships/image" Target="../media/image12.png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5" Type="http://schemas.openxmlformats.org/officeDocument/2006/relationships/tags" Target="../tags/tag43.xml"/><Relationship Id="rId10" Type="http://schemas.openxmlformats.org/officeDocument/2006/relationships/slideLayout" Target="../slideLayouts/slideLayout133.xml"/><Relationship Id="rId19" Type="http://schemas.openxmlformats.org/officeDocument/2006/relationships/image" Target="../media/image11.png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tags" Target="../tags/tag42.xml"/><Relationship Id="rId22" Type="http://schemas.openxmlformats.org/officeDocument/2006/relationships/image" Target="../media/image13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heme" Target="../theme/theme1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oleObject" Target="../embeddings/oleObject22.bin"/><Relationship Id="rId2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tags" Target="../tags/tag45.xml"/><Relationship Id="rId5" Type="http://schemas.openxmlformats.org/officeDocument/2006/relationships/slideLayout" Target="../slideLayouts/slideLayout139.xml"/><Relationship Id="rId10" Type="http://schemas.openxmlformats.org/officeDocument/2006/relationships/tags" Target="../tags/tag44.xml"/><Relationship Id="rId4" Type="http://schemas.openxmlformats.org/officeDocument/2006/relationships/slideLayout" Target="../slideLayouts/slideLayout138.xml"/><Relationship Id="rId9" Type="http://schemas.openxmlformats.org/officeDocument/2006/relationships/vmlDrawing" Target="../drawings/vmlDrawing22.vml"/><Relationship Id="rId14" Type="http://schemas.openxmlformats.org/officeDocument/2006/relationships/image" Target="../media/image17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slideLayout" Target="../slideLayouts/slideLayout144.xml"/><Relationship Id="rId7" Type="http://schemas.openxmlformats.org/officeDocument/2006/relationships/vmlDrawing" Target="../drawings/vmlDrawing23.vml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142.xml"/><Relationship Id="rId6" Type="http://schemas.openxmlformats.org/officeDocument/2006/relationships/theme" Target="../theme/theme1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46.xml"/><Relationship Id="rId10" Type="http://schemas.openxmlformats.org/officeDocument/2006/relationships/oleObject" Target="../embeddings/oleObject23.bin"/><Relationship Id="rId4" Type="http://schemas.openxmlformats.org/officeDocument/2006/relationships/slideLayout" Target="../slideLayouts/slideLayout145.xml"/><Relationship Id="rId9" Type="http://schemas.openxmlformats.org/officeDocument/2006/relationships/tags" Target="../tags/tag4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heme" Target="../theme/theme1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53.xml"/><Relationship Id="rId12" Type="http://schemas.openxmlformats.org/officeDocument/2006/relationships/oleObject" Target="../embeddings/oleObject24.bin"/><Relationship Id="rId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tags" Target="../tags/tag49.xml"/><Relationship Id="rId5" Type="http://schemas.openxmlformats.org/officeDocument/2006/relationships/slideLayout" Target="../slideLayouts/slideLayout151.xml"/><Relationship Id="rId10" Type="http://schemas.openxmlformats.org/officeDocument/2006/relationships/tags" Target="../tags/tag48.xml"/><Relationship Id="rId4" Type="http://schemas.openxmlformats.org/officeDocument/2006/relationships/slideLayout" Target="../slideLayouts/slideLayout150.xml"/><Relationship Id="rId9" Type="http://schemas.openxmlformats.org/officeDocument/2006/relationships/vmlDrawing" Target="../drawings/vmlDrawing24.vml"/><Relationship Id="rId14" Type="http://schemas.openxmlformats.org/officeDocument/2006/relationships/image" Target="../media/image17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3" Type="http://schemas.openxmlformats.org/officeDocument/2006/relationships/slideLayout" Target="../slideLayouts/slideLayout156.xml"/><Relationship Id="rId7" Type="http://schemas.openxmlformats.org/officeDocument/2006/relationships/vmlDrawing" Target="../drawings/vmlDrawing25.vml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155.xml"/><Relationship Id="rId1" Type="http://schemas.openxmlformats.org/officeDocument/2006/relationships/slideLayout" Target="../slideLayouts/slideLayout154.xml"/><Relationship Id="rId6" Type="http://schemas.openxmlformats.org/officeDocument/2006/relationships/theme" Target="../theme/theme19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58.xml"/><Relationship Id="rId10" Type="http://schemas.openxmlformats.org/officeDocument/2006/relationships/oleObject" Target="../embeddings/oleObject25.bin"/><Relationship Id="rId4" Type="http://schemas.openxmlformats.org/officeDocument/2006/relationships/slideLayout" Target="../slideLayouts/slideLayout157.xml"/><Relationship Id="rId9" Type="http://schemas.openxmlformats.org/officeDocument/2006/relationships/tags" Target="../tags/tag5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vmlDrawing" Target="../drawings/vmlDrawing2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2.bin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vmlDrawing" Target="../drawings/vmlDrawing26.vml"/><Relationship Id="rId3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65.xml"/><Relationship Id="rId12" Type="http://schemas.openxmlformats.org/officeDocument/2006/relationships/theme" Target="../theme/theme20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60.xml"/><Relationship Id="rId16" Type="http://schemas.openxmlformats.org/officeDocument/2006/relationships/oleObject" Target="../embeddings/oleObject26.bin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5" Type="http://schemas.openxmlformats.org/officeDocument/2006/relationships/tags" Target="../tags/tag53.xml"/><Relationship Id="rId10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tags" Target="../tags/tag5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vmlDrawing" Target="../drawings/vmlDrawing3.vml"/><Relationship Id="rId7" Type="http://schemas.openxmlformats.org/officeDocument/2006/relationships/image" Target="../media/image1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3.xml"/><Relationship Id="rId6" Type="http://schemas.openxmlformats.org/officeDocument/2006/relationships/oleObject" Target="../embeddings/oleObject3.bin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vmlDrawing" Target="../drawings/vmlDrawing4.vml"/><Relationship Id="rId7" Type="http://schemas.openxmlformats.org/officeDocument/2006/relationships/image" Target="../media/image1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4.xml"/><Relationship Id="rId6" Type="http://schemas.openxmlformats.org/officeDocument/2006/relationships/oleObject" Target="../embeddings/oleObject4.bin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vmlDrawing" Target="../drawings/vmlDrawing5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6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ags" Target="../tags/tag1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vmlDrawing" Target="../drawings/vmlDrawing6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7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35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ags" Target="../tags/tag1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vmlDrawing" Target="../drawings/vmlDrawing7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8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ags" Target="../tags/tag1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vmlDrawing" Target="../drawings/vmlDrawing8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9.xml"/><Relationship Id="rId16" Type="http://schemas.openxmlformats.org/officeDocument/2006/relationships/oleObject" Target="../embeddings/oleObject8.bin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tags" Target="../tags/tag17.xml"/><Relationship Id="rId10" Type="http://schemas.openxmlformats.org/officeDocument/2006/relationships/slideLayout" Target="../slideLayouts/slideLayout57.xml"/><Relationship Id="rId19" Type="http://schemas.openxmlformats.org/officeDocument/2006/relationships/image" Target="../media/image9.png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tags" Target="../tags/tag1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vmlDrawing" Target="../drawings/vmlDrawing9.vml"/><Relationship Id="rId18" Type="http://schemas.openxmlformats.org/officeDocument/2006/relationships/image" Target="../media/image10.png"/><Relationship Id="rId3" Type="http://schemas.openxmlformats.org/officeDocument/2006/relationships/slideLayout" Target="../slideLayouts/slideLayout61.xml"/><Relationship Id="rId21" Type="http://schemas.microsoft.com/office/2007/relationships/hdphoto" Target="../media/hdphoto1.wdp"/><Relationship Id="rId7" Type="http://schemas.openxmlformats.org/officeDocument/2006/relationships/slideLayout" Target="../slideLayouts/slideLayout65.xml"/><Relationship Id="rId12" Type="http://schemas.openxmlformats.org/officeDocument/2006/relationships/theme" Target="../theme/theme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60.xml"/><Relationship Id="rId16" Type="http://schemas.openxmlformats.org/officeDocument/2006/relationships/oleObject" Target="../embeddings/oleObject9.bin"/><Relationship Id="rId20" Type="http://schemas.openxmlformats.org/officeDocument/2006/relationships/image" Target="../media/image12.png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tags" Target="../tags/tag19.xml"/><Relationship Id="rId10" Type="http://schemas.openxmlformats.org/officeDocument/2006/relationships/slideLayout" Target="../slideLayouts/slideLayout68.xml"/><Relationship Id="rId19" Type="http://schemas.openxmlformats.org/officeDocument/2006/relationships/image" Target="../media/image11.png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tags" Target="../tags/tag18.xml"/><Relationship Id="rId22" Type="http://schemas.openxmlformats.org/officeDocument/2006/relationships/image" Target="../media/image1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3265E1A-DCF1-4F38-8D20-7D3B3A7B53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05289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3265E1A-DCF1-4F38-8D20-7D3B3A7B53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4707441-5271-43CB-BF39-00F1A6C1DA0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93132" y="1178420"/>
            <a:ext cx="4565073" cy="17324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93132" y="3128481"/>
            <a:ext cx="5257800" cy="2914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8AC413-F642-7B43-A968-2D751862D47C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591C19-2013-9A4F-B879-86BE714CC760}" type="slidenum">
              <a:rPr lang="pt-BR" smtClean="0"/>
              <a:t>‹Nº›</a:t>
            </a:fld>
            <a:endParaRPr lang="pt-BR"/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97769A07-E3FA-4704-9FE1-C02B73719718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5213816" y="0"/>
            <a:ext cx="6978184" cy="6857999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1B3B2032-4B1C-47F4-BA5F-D48E76A66CBE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414754" y="299225"/>
            <a:ext cx="3139943" cy="63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614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33C967-B104-4C5B-8C3D-97112EF33F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91301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33C967-B104-4C5B-8C3D-97112EF33F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538A607-8FF6-45B6-879D-AA7A1A9A555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1" i="0" baseline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4D0934-0219-4048-A663-939AD649AE44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BFDE31-20D6-FF44-9476-550A94ABDA78}" type="slidenum">
              <a:rPr lang="pt-BR" smtClean="0"/>
              <a:t>‹Nº›</a:t>
            </a:fld>
            <a:endParaRPr lang="pt-BR"/>
          </a:p>
        </p:txBody>
      </p:sp>
      <p:sp>
        <p:nvSpPr>
          <p:cNvPr id="8" name="Espaço Reservado para Título 1"/>
          <p:cNvSpPr>
            <a:spLocks noGrp="1"/>
          </p:cNvSpPr>
          <p:nvPr>
            <p:ph type="title"/>
          </p:nvPr>
        </p:nvSpPr>
        <p:spPr>
          <a:xfrm>
            <a:off x="918364" y="1474475"/>
            <a:ext cx="4078574" cy="3577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pic>
        <p:nvPicPr>
          <p:cNvPr id="10" name="Imagem 9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240" y="5794760"/>
            <a:ext cx="2840723" cy="890255"/>
          </a:xfrm>
          <a:prstGeom prst="rect">
            <a:avLst/>
          </a:prstGeom>
        </p:spPr>
      </p:pic>
      <p:grpSp>
        <p:nvGrpSpPr>
          <p:cNvPr id="7" name="Group 6"/>
          <p:cNvGrpSpPr>
            <a:grpSpLocks noChangeAspect="1"/>
          </p:cNvGrpSpPr>
          <p:nvPr userDrawn="1"/>
        </p:nvGrpSpPr>
        <p:grpSpPr>
          <a:xfrm>
            <a:off x="8370500" y="214784"/>
            <a:ext cx="1546299" cy="960856"/>
            <a:chOff x="2510307" y="2891970"/>
            <a:chExt cx="5297533" cy="3291840"/>
          </a:xfrm>
        </p:grpSpPr>
        <p:sp>
          <p:nvSpPr>
            <p:cNvPr id="9" name="Oval 8"/>
            <p:cNvSpPr/>
            <p:nvPr/>
          </p:nvSpPr>
          <p:spPr>
            <a:xfrm>
              <a:off x="4516000" y="2891970"/>
              <a:ext cx="3291840" cy="329184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pic>
          <p:nvPicPr>
            <p:cNvPr id="11" name="Picture 2" descr="Resultado de imagen para latin america map icon"/>
            <p:cNvPicPr>
              <a:picLocks noChangeAspect="1" noChangeArrowheads="1"/>
            </p:cNvPicPr>
            <p:nvPr/>
          </p:nvPicPr>
          <p:blipFill>
            <a:blip r:embed="rId19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6000" y="2986589"/>
              <a:ext cx="3102602" cy="31026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Oval 11"/>
            <p:cNvSpPr/>
            <p:nvPr/>
          </p:nvSpPr>
          <p:spPr>
            <a:xfrm>
              <a:off x="2510307" y="2891970"/>
              <a:ext cx="3291840" cy="3291840"/>
            </a:xfrm>
            <a:prstGeom prst="ellipse">
              <a:avLst/>
            </a:prstGeom>
            <a:solidFill>
              <a:srgbClr val="056CDD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pic>
          <p:nvPicPr>
            <p:cNvPr id="13" name="Picture 2" descr="Imagen relacionada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2870080" y="3148874"/>
              <a:ext cx="2572294" cy="25722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" name="TextBox 13"/>
          <p:cNvSpPr txBox="1"/>
          <p:nvPr userDrawn="1"/>
        </p:nvSpPr>
        <p:spPr>
          <a:xfrm>
            <a:off x="9840826" y="124501"/>
            <a:ext cx="26553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>
                <a:solidFill>
                  <a:schemeClr val="bg1"/>
                </a:solidFill>
                <a:latin typeface="Fungo" panose="02000000000000000000" pitchFamily="50" charset="0"/>
              </a:rPr>
              <a:t>Creating Valu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922302" y="720030"/>
            <a:ext cx="25738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  <a:latin typeface="Manus" pitchFamily="2" charset="0"/>
              </a:rPr>
              <a:t>from source to shelf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7101063" y="187379"/>
            <a:ext cx="193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>
                <a:solidFill>
                  <a:schemeClr val="bg1"/>
                </a:solidFill>
              </a:rPr>
              <a:t>LAO</a:t>
            </a:r>
            <a:endParaRPr lang="en-US" sz="2800">
              <a:solidFill>
                <a:schemeClr val="bg1"/>
              </a:solidFill>
            </a:endParaRPr>
          </a:p>
          <a:p>
            <a:r>
              <a:rPr lang="es-AR" sz="2400">
                <a:solidFill>
                  <a:schemeClr val="bg1"/>
                </a:solidFill>
              </a:rPr>
              <a:t>Logistics </a:t>
            </a:r>
            <a:endParaRPr lang="en-US" sz="4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312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bg1"/>
          </a:solidFill>
          <a:latin typeface="+mj-lt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3CE595F-228F-451E-9477-64203AFEDD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49504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3CE595F-228F-451E-9477-64203AFEDD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0D3D779-28AC-4655-8649-7296C50FA80E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1" i="0" baseline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F0F699-5F8C-634F-A009-91A27EA4F1B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81CA8C-2234-6E4E-8594-F2E930F71CD2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Retângulo 6"/>
          <p:cNvSpPr>
            <a:spLocks noChangeAspect="1"/>
          </p:cNvSpPr>
          <p:nvPr userDrawn="1"/>
        </p:nvSpPr>
        <p:spPr>
          <a:xfrm>
            <a:off x="485639" y="0"/>
            <a:ext cx="4638311" cy="6858000"/>
          </a:xfrm>
          <a:prstGeom prst="rect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spaço Reservado para Título 1"/>
          <p:cNvSpPr>
            <a:spLocks noGrp="1"/>
          </p:cNvSpPr>
          <p:nvPr>
            <p:ph type="title"/>
          </p:nvPr>
        </p:nvSpPr>
        <p:spPr>
          <a:xfrm>
            <a:off x="1035749" y="1649533"/>
            <a:ext cx="3688830" cy="25729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749" y="5872013"/>
            <a:ext cx="2347705" cy="735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440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bg1"/>
          </a:solidFill>
          <a:latin typeface="+mj-lt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155476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4000" b="1" i="0" baseline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tângulo 7"/>
          <p:cNvSpPr/>
          <p:nvPr userDrawn="1"/>
        </p:nvSpPr>
        <p:spPr>
          <a:xfrm>
            <a:off x="0" y="6311900"/>
            <a:ext cx="12192000" cy="561090"/>
          </a:xfrm>
          <a:prstGeom prst="rect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10069F"/>
              </a:solidFill>
            </a:endParaRPr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180975" y="127000"/>
            <a:ext cx="1183957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7134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pt-BR"/>
              <a:t>Nome da Apresentação</a:t>
            </a: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993" y="6311104"/>
            <a:ext cx="1763865" cy="55277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26212" y="6298064"/>
            <a:ext cx="2499145" cy="57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724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4040" r:id="rId12"/>
    <p:sldLayoutId id="2147484041" r:id="rId13"/>
    <p:sldLayoutId id="2147484065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rgbClr val="10069F"/>
          </a:solidFill>
          <a:latin typeface="+mj-lt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1A96740-8B70-46BE-BDC2-7C72BFB81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845083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1A96740-8B70-46BE-BDC2-7C72BFB81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C5F7A69-03D2-4F62-A1EC-639DABE6C6C1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3600" b="1" i="0" baseline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2D7798-8550-4E42-83AF-A41883ED2591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BA463D-D2B9-534F-8AF7-13A264943A28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9743" y="2640429"/>
            <a:ext cx="5032515" cy="1577142"/>
          </a:xfrm>
          <a:prstGeom prst="rect">
            <a:avLst/>
          </a:prstGeom>
        </p:spPr>
      </p:pic>
      <p:sp>
        <p:nvSpPr>
          <p:cNvPr id="8" name="Espaço Reservado para Título 1">
            <a:extLst>
              <a:ext uri="{FF2B5EF4-FFF2-40B4-BE49-F238E27FC236}">
                <a16:creationId xmlns:a16="http://schemas.microsoft.com/office/drawing/2014/main" id="{5996C7F0-8A30-4CCD-8C7B-B0750673F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383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184485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4043" r:id="rId2"/>
    <p:sldLayoutId id="2147484044" r:id="rId3"/>
    <p:sldLayoutId id="2147484047" r:id="rId4"/>
    <p:sldLayoutId id="2147484048" r:id="rId5"/>
    <p:sldLayoutId id="2147484049" r:id="rId6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bg1"/>
          </a:solidFill>
          <a:latin typeface="+mj-lt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17" imgW="395" imgH="396" progId="TCLayout.ActiveDocument.1">
                  <p:embed/>
                </p:oleObj>
              </mc:Choice>
              <mc:Fallback>
                <p:oleObj name="think-cell Slide" r:id="rId17" imgW="395" imgH="39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4000" b="1" i="0" baseline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tângulo 7"/>
          <p:cNvSpPr/>
          <p:nvPr userDrawn="1"/>
        </p:nvSpPr>
        <p:spPr>
          <a:xfrm>
            <a:off x="0" y="6311900"/>
            <a:ext cx="12192000" cy="561090"/>
          </a:xfrm>
          <a:prstGeom prst="rect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10069F"/>
              </a:solidFill>
            </a:endParaRPr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180975" y="127000"/>
            <a:ext cx="1183957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7134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pt-BR"/>
              <a:t>Nome da Apresentação</a:t>
            </a: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993" y="6311104"/>
            <a:ext cx="1763865" cy="55277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26212" y="6298064"/>
            <a:ext cx="2499145" cy="57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452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1" r:id="rId1"/>
    <p:sldLayoutId id="2147484052" r:id="rId2"/>
    <p:sldLayoutId id="2147484053" r:id="rId3"/>
    <p:sldLayoutId id="2147484054" r:id="rId4"/>
    <p:sldLayoutId id="2147484055" r:id="rId5"/>
    <p:sldLayoutId id="2147484056" r:id="rId6"/>
    <p:sldLayoutId id="2147484057" r:id="rId7"/>
    <p:sldLayoutId id="2147484058" r:id="rId8"/>
    <p:sldLayoutId id="2147484059" r:id="rId9"/>
    <p:sldLayoutId id="2147484060" r:id="rId10"/>
    <p:sldLayoutId id="2147484061" r:id="rId11"/>
    <p:sldLayoutId id="214748406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rgbClr val="10069F"/>
          </a:solidFill>
          <a:latin typeface="+mj-lt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92E144-DA1A-4D36-B236-F727F085ED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92E144-DA1A-4D36-B236-F727F085E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8892AA-B66E-476D-96A1-B4D7B543925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5DC5B52-2491-43CB-A5AD-5BDA7D63CA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383ECB1-B70A-4EAA-9B33-8797B2BCD5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27E491F-1F75-4371-8BBB-0493FB4BD0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Espaço Reservado para Título 1">
            <a:extLst>
              <a:ext uri="{FF2B5EF4-FFF2-40B4-BE49-F238E27FC236}">
                <a16:creationId xmlns:a16="http://schemas.microsoft.com/office/drawing/2014/main" id="{FC867436-2095-4BD7-9401-1EC96E6713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32" y="1178420"/>
            <a:ext cx="4565073" cy="17324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8" name="Espaço Reservado para Texto 2">
            <a:extLst>
              <a:ext uri="{FF2B5EF4-FFF2-40B4-BE49-F238E27FC236}">
                <a16:creationId xmlns:a16="http://schemas.microsoft.com/office/drawing/2014/main" id="{234D6BC4-3F5A-40B2-A333-ADD8D93CF0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132" y="3128481"/>
            <a:ext cx="5257800" cy="2914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27EBFEE1-DF9C-4315-A0DB-97F1E0EF62B5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93132" y="13667"/>
            <a:ext cx="3431259" cy="1075323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02A93D9E-4AF0-4F01-95EB-5055FAF12DFC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5213816" y="0"/>
            <a:ext cx="6978184" cy="6857999"/>
          </a:xfrm>
          <a:prstGeom prst="rect">
            <a:avLst/>
          </a:prstGeom>
        </p:spPr>
      </p:pic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1588700" y="5663084"/>
            <a:ext cx="1546299" cy="960856"/>
            <a:chOff x="2510307" y="2891970"/>
            <a:chExt cx="5297533" cy="3291840"/>
          </a:xfrm>
        </p:grpSpPr>
        <p:sp>
          <p:nvSpPr>
            <p:cNvPr id="12" name="Oval 11"/>
            <p:cNvSpPr/>
            <p:nvPr/>
          </p:nvSpPr>
          <p:spPr>
            <a:xfrm>
              <a:off x="4516000" y="2891970"/>
              <a:ext cx="3291840" cy="329184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pic>
          <p:nvPicPr>
            <p:cNvPr id="13" name="Picture 2" descr="Resultado de imagen para latin america map icon"/>
            <p:cNvPicPr>
              <a:picLocks noChangeAspect="1" noChangeArrowheads="1"/>
            </p:cNvPicPr>
            <p:nvPr/>
          </p:nvPicPr>
          <p:blipFill>
            <a:blip r:embed="rId2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6000" y="2986589"/>
              <a:ext cx="3102602" cy="31026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Oval 13"/>
            <p:cNvSpPr/>
            <p:nvPr/>
          </p:nvSpPr>
          <p:spPr>
            <a:xfrm>
              <a:off x="2510307" y="2891970"/>
              <a:ext cx="3291840" cy="3291840"/>
            </a:xfrm>
            <a:prstGeom prst="ellipse">
              <a:avLst/>
            </a:prstGeom>
            <a:solidFill>
              <a:srgbClr val="056CDD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pic>
          <p:nvPicPr>
            <p:cNvPr id="15" name="Picture 2" descr="Imagen relacionada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2870080" y="3148874"/>
              <a:ext cx="2572294" cy="25722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TextBox 15"/>
          <p:cNvSpPr txBox="1"/>
          <p:nvPr userDrawn="1"/>
        </p:nvSpPr>
        <p:spPr>
          <a:xfrm>
            <a:off x="3059026" y="5572801"/>
            <a:ext cx="26553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>
                <a:solidFill>
                  <a:schemeClr val="bg1"/>
                </a:solidFill>
                <a:latin typeface="Fungo" panose="02000000000000000000" pitchFamily="50" charset="0"/>
              </a:rPr>
              <a:t>Creating Valu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3140502" y="6168330"/>
            <a:ext cx="25738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  <a:latin typeface="Manus" pitchFamily="2" charset="0"/>
              </a:rPr>
              <a:t>from source to shelf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19263" y="5635679"/>
            <a:ext cx="193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>
                <a:solidFill>
                  <a:schemeClr val="bg1"/>
                </a:solidFill>
              </a:rPr>
              <a:t>LAO</a:t>
            </a:r>
            <a:endParaRPr lang="en-US" sz="2800">
              <a:solidFill>
                <a:schemeClr val="bg1"/>
              </a:solidFill>
            </a:endParaRPr>
          </a:p>
          <a:p>
            <a:r>
              <a:rPr lang="es-AR" sz="2400">
                <a:solidFill>
                  <a:schemeClr val="bg1"/>
                </a:solidFill>
              </a:rPr>
              <a:t>Logistics </a:t>
            </a:r>
            <a:endParaRPr lang="en-US" sz="4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980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7" r:id="rId1"/>
    <p:sldLayoutId id="2147484068" r:id="rId2"/>
    <p:sldLayoutId id="2147484069" r:id="rId3"/>
    <p:sldLayoutId id="2147484070" r:id="rId4"/>
    <p:sldLayoutId id="2147484071" r:id="rId5"/>
    <p:sldLayoutId id="2147484072" r:id="rId6"/>
    <p:sldLayoutId id="2147484073" r:id="rId7"/>
    <p:sldLayoutId id="2147484074" r:id="rId8"/>
    <p:sldLayoutId id="2147484075" r:id="rId9"/>
    <p:sldLayoutId id="2147484076" r:id="rId10"/>
    <p:sldLayoutId id="214748407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AAB339-124E-49F4-800A-519C982961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891204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FAAB339-124E-49F4-800A-519C982961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3AF888C-380E-4D51-8680-A31E6BD96C8A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8000" b="0" i="0" baseline="0">
              <a:latin typeface="Andrea" pitchFamily="2" charset="-128"/>
              <a:ea typeface="+mj-ea"/>
              <a:cs typeface="+mj-cs"/>
              <a:sym typeface="Andrea" pitchFamily="2" charset="-128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912" y="1913169"/>
            <a:ext cx="5486400" cy="2603500"/>
          </a:xfrm>
          <a:prstGeom prst="rect">
            <a:avLst/>
          </a:prstGeom>
        </p:spPr>
        <p:txBody>
          <a:bodyPr vert="horz" lIns="0" tIns="0" rIns="0" bIns="4572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5793737" y="4582654"/>
            <a:ext cx="5319184" cy="1933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  <a:endParaRPr lang="en-AU"/>
          </a:p>
        </p:txBody>
      </p:sp>
      <p:sp>
        <p:nvSpPr>
          <p:cNvPr id="3" name="ImageContentMarking Footer Hash-2081582570"/>
          <p:cNvSpPr txBox="1"/>
          <p:nvPr userDrawn="1"/>
        </p:nvSpPr>
        <p:spPr>
          <a:xfrm>
            <a:off x="10337800" y="6705600"/>
            <a:ext cx="1854200" cy="152400"/>
          </a:xfrm>
          <a:prstGeom prst="rect">
            <a:avLst/>
          </a:prstGeom>
          <a:blipFill>
            <a:blip r:embed="rId1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86636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9" r:id="rId1"/>
    <p:sldLayoutId id="2147484080" r:id="rId2"/>
    <p:sldLayoutId id="2147484081" r:id="rId3"/>
    <p:sldLayoutId id="2147484082" r:id="rId4"/>
    <p:sldLayoutId id="2147484083" r:id="rId5"/>
    <p:sldLayoutId id="2147484084" r:id="rId6"/>
    <p:sldLayoutId id="2147484085" r:id="rId7"/>
  </p:sldLayoutIdLst>
  <p:txStyles>
    <p:titleStyle>
      <a:lvl1pPr algn="l" defTabSz="914400" rtl="0" eaLnBrk="1" latinLnBrk="0" hangingPunct="1">
        <a:lnSpc>
          <a:spcPct val="60000"/>
        </a:lnSpc>
        <a:spcBef>
          <a:spcPct val="0"/>
        </a:spcBef>
        <a:buNone/>
        <a:defRPr sz="8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85000"/>
        </a:lnSpc>
        <a:spcBef>
          <a:spcPct val="20000"/>
        </a:spcBef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5000"/>
        </a:lnSpc>
        <a:spcBef>
          <a:spcPct val="200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90CD9FB-620B-48F2-B50F-215BAC2CF4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5194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90CD9FB-620B-48F2-B50F-215BAC2CF4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70FDA49-5D79-45E1-B3A1-912AA6F40EE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Fungo" panose="02000000000000000000" pitchFamily="50" charset="0"/>
              <a:ea typeface="+mj-ea"/>
              <a:cs typeface="SuomiHand Sc" panose="02000608030000020004" pitchFamily="50" charset="0"/>
              <a:sym typeface="Fungo" panose="02000000000000000000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6333" y="241221"/>
            <a:ext cx="11159067" cy="78755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3" name="ImageContentMarking Footer Hash-2081582570"/>
          <p:cNvSpPr txBox="1"/>
          <p:nvPr userDrawn="1"/>
        </p:nvSpPr>
        <p:spPr>
          <a:xfrm>
            <a:off x="10337800" y="6705600"/>
            <a:ext cx="1854200" cy="152400"/>
          </a:xfrm>
          <a:prstGeom prst="rect">
            <a:avLst/>
          </a:prstGeom>
          <a:blipFill>
            <a:blip r:embed="rId12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54088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7" r:id="rId1"/>
    <p:sldLayoutId id="2147484088" r:id="rId2"/>
    <p:sldLayoutId id="2147484089" r:id="rId3"/>
    <p:sldLayoutId id="2147484090" r:id="rId4"/>
    <p:sldLayoutId id="2147484091" r:id="rId5"/>
  </p:sldLayoutIdLst>
  <p:hf hdr="0" ftr="0" dt="0"/>
  <p:txStyles>
    <p:titleStyle>
      <a:lvl1pPr algn="l" defTabSz="914400" rtl="0" eaLnBrk="1" latinLnBrk="0" hangingPunct="1">
        <a:lnSpc>
          <a:spcPct val="75000"/>
        </a:lnSpc>
        <a:spcBef>
          <a:spcPct val="0"/>
        </a:spcBef>
        <a:buNone/>
        <a:defRPr sz="3200" b="0" i="0" kern="1200">
          <a:solidFill>
            <a:schemeClr val="tx2"/>
          </a:solidFill>
          <a:latin typeface="Fungo" pitchFamily="50" charset="0"/>
          <a:ea typeface="+mj-ea"/>
          <a:cs typeface="SuomiHand Sc" pitchFamily="50" charset="0"/>
        </a:defRPr>
      </a:lvl1pPr>
    </p:titleStyle>
    <p:bodyStyle>
      <a:lvl1pPr marL="173038" indent="-173038" algn="l" defTabSz="914400" rtl="0" eaLnBrk="1" latinLnBrk="0" hangingPunct="1">
        <a:lnSpc>
          <a:spcPct val="85000"/>
        </a:lnSpc>
        <a:spcBef>
          <a:spcPts val="800"/>
        </a:spcBef>
        <a:spcAft>
          <a:spcPts val="200"/>
        </a:spcAft>
        <a:buClr>
          <a:srgbClr val="00B0F0"/>
        </a:buClr>
        <a:buSzPct val="110000"/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j-lt"/>
          <a:ea typeface="+mn-ea"/>
          <a:cs typeface="Gotham Book" pitchFamily="50" charset="0"/>
        </a:defRPr>
      </a:lvl1pPr>
      <a:lvl2pPr marL="450850" indent="-184150" algn="l" defTabSz="914400" rtl="0" eaLnBrk="1" latinLnBrk="0" hangingPunct="1">
        <a:lnSpc>
          <a:spcPct val="85000"/>
        </a:lnSpc>
        <a:spcBef>
          <a:spcPts val="800"/>
        </a:spcBef>
        <a:spcAft>
          <a:spcPts val="200"/>
        </a:spcAft>
        <a:buClr>
          <a:srgbClr val="00B0F0"/>
        </a:buClr>
        <a:buSzPct val="110000"/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j-lt"/>
          <a:ea typeface="+mn-ea"/>
          <a:cs typeface="Gotham Book" pitchFamily="50" charset="0"/>
        </a:defRPr>
      </a:lvl2pPr>
      <a:lvl3pPr marL="717550" indent="-174625" algn="l" defTabSz="914400" rtl="0" eaLnBrk="1" latinLnBrk="0" hangingPunct="1">
        <a:lnSpc>
          <a:spcPct val="85000"/>
        </a:lnSpc>
        <a:spcBef>
          <a:spcPts val="800"/>
        </a:spcBef>
        <a:spcAft>
          <a:spcPts val="200"/>
        </a:spcAft>
        <a:buClr>
          <a:srgbClr val="00B0F0"/>
        </a:buClr>
        <a:buSzPct val="110000"/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j-lt"/>
          <a:ea typeface="+mn-ea"/>
          <a:cs typeface="Gotham Book" pitchFamily="50" charset="0"/>
        </a:defRPr>
      </a:lvl3pPr>
      <a:lvl4pPr marL="984250" indent="-174625" algn="l" defTabSz="914400" rtl="0" eaLnBrk="1" latinLnBrk="0" hangingPunct="1">
        <a:lnSpc>
          <a:spcPct val="85000"/>
        </a:lnSpc>
        <a:spcBef>
          <a:spcPts val="800"/>
        </a:spcBef>
        <a:spcAft>
          <a:spcPts val="200"/>
        </a:spcAft>
        <a:buClr>
          <a:srgbClr val="00B0F0"/>
        </a:buClr>
        <a:buSzPct val="110000"/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j-lt"/>
          <a:ea typeface="+mn-ea"/>
          <a:cs typeface="Gotham Book" pitchFamily="50" charset="0"/>
        </a:defRPr>
      </a:lvl4pPr>
      <a:lvl5pPr marL="1249363" indent="-173038" algn="l" defTabSz="914400" rtl="0" eaLnBrk="1" latinLnBrk="0" hangingPunct="1">
        <a:lnSpc>
          <a:spcPct val="85000"/>
        </a:lnSpc>
        <a:spcBef>
          <a:spcPts val="800"/>
        </a:spcBef>
        <a:spcAft>
          <a:spcPts val="200"/>
        </a:spcAft>
        <a:buClr>
          <a:srgbClr val="00B0F0"/>
        </a:buClr>
        <a:buSzPct val="110000"/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j-lt"/>
          <a:ea typeface="+mn-ea"/>
          <a:cs typeface="Gotham Book" pitchFamily="50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5F57E94-58FD-4838-8B12-929C3D5A6E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08557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5F57E94-58FD-4838-8B12-929C3D5A6E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D19491-C879-4B63-94E4-F8D78B36CEBD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8000" b="0" i="0" baseline="0">
              <a:latin typeface="Andrea" pitchFamily="2" charset="-128"/>
              <a:ea typeface="+mj-ea"/>
              <a:cs typeface="+mj-cs"/>
              <a:sym typeface="Andrea" pitchFamily="2" charset="-128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912" y="1913169"/>
            <a:ext cx="5486400" cy="2603500"/>
          </a:xfrm>
          <a:prstGeom prst="rect">
            <a:avLst/>
          </a:prstGeom>
        </p:spPr>
        <p:txBody>
          <a:bodyPr vert="horz" lIns="0" tIns="0" rIns="0" bIns="4572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5793737" y="4582654"/>
            <a:ext cx="5319184" cy="1933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  <a:endParaRPr lang="en-AU"/>
          </a:p>
        </p:txBody>
      </p:sp>
      <p:sp>
        <p:nvSpPr>
          <p:cNvPr id="3" name="ImageContentMarking Footer Hash-2081582570"/>
          <p:cNvSpPr txBox="1"/>
          <p:nvPr userDrawn="1"/>
        </p:nvSpPr>
        <p:spPr>
          <a:xfrm>
            <a:off x="10337800" y="6705600"/>
            <a:ext cx="1854200" cy="152400"/>
          </a:xfrm>
          <a:prstGeom prst="rect">
            <a:avLst/>
          </a:prstGeom>
          <a:blipFill>
            <a:blip r:embed="rId1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42195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094" r:id="rId2"/>
    <p:sldLayoutId id="2147484095" r:id="rId3"/>
    <p:sldLayoutId id="2147484096" r:id="rId4"/>
    <p:sldLayoutId id="2147484097" r:id="rId5"/>
    <p:sldLayoutId id="2147484098" r:id="rId6"/>
    <p:sldLayoutId id="2147484099" r:id="rId7"/>
  </p:sldLayoutIdLst>
  <p:txStyles>
    <p:titleStyle>
      <a:lvl1pPr algn="l" defTabSz="914400" rtl="0" eaLnBrk="1" latinLnBrk="0" hangingPunct="1">
        <a:lnSpc>
          <a:spcPct val="60000"/>
        </a:lnSpc>
        <a:spcBef>
          <a:spcPct val="0"/>
        </a:spcBef>
        <a:buNone/>
        <a:defRPr sz="8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85000"/>
        </a:lnSpc>
        <a:spcBef>
          <a:spcPct val="20000"/>
        </a:spcBef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5000"/>
        </a:lnSpc>
        <a:spcBef>
          <a:spcPct val="200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FCDB5DB-7386-4EB1-97F5-636F2A9B5A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10059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FCDB5DB-7386-4EB1-97F5-636F2A9B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B4F62-627A-4F6E-84AA-4978725B0914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Fungo" panose="02000000000000000000" pitchFamily="50" charset="0"/>
              <a:ea typeface="+mj-ea"/>
              <a:cs typeface="SuomiHand Sc" panose="02000608030000020004" pitchFamily="50" charset="0"/>
              <a:sym typeface="Fungo" panose="02000000000000000000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6333" y="241221"/>
            <a:ext cx="11159067" cy="78755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3" name="ImageContentMarking Footer Hash-2081582570"/>
          <p:cNvSpPr txBox="1"/>
          <p:nvPr userDrawn="1"/>
        </p:nvSpPr>
        <p:spPr>
          <a:xfrm>
            <a:off x="10337800" y="6705600"/>
            <a:ext cx="1854200" cy="152400"/>
          </a:xfrm>
          <a:prstGeom prst="rect">
            <a:avLst/>
          </a:prstGeom>
          <a:blipFill>
            <a:blip r:embed="rId12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29630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1" r:id="rId1"/>
    <p:sldLayoutId id="2147484102" r:id="rId2"/>
    <p:sldLayoutId id="2147484103" r:id="rId3"/>
    <p:sldLayoutId id="2147484104" r:id="rId4"/>
    <p:sldLayoutId id="2147484105" r:id="rId5"/>
  </p:sldLayoutIdLst>
  <p:hf hdr="0" ftr="0" dt="0"/>
  <p:txStyles>
    <p:titleStyle>
      <a:lvl1pPr algn="l" defTabSz="914400" rtl="0" eaLnBrk="1" latinLnBrk="0" hangingPunct="1">
        <a:lnSpc>
          <a:spcPct val="75000"/>
        </a:lnSpc>
        <a:spcBef>
          <a:spcPct val="0"/>
        </a:spcBef>
        <a:buNone/>
        <a:defRPr sz="3200" b="0" i="0" kern="1200">
          <a:solidFill>
            <a:schemeClr val="tx2"/>
          </a:solidFill>
          <a:latin typeface="Fungo" pitchFamily="50" charset="0"/>
          <a:ea typeface="+mj-ea"/>
          <a:cs typeface="SuomiHand Sc" pitchFamily="50" charset="0"/>
        </a:defRPr>
      </a:lvl1pPr>
    </p:titleStyle>
    <p:bodyStyle>
      <a:lvl1pPr marL="173038" indent="-173038" algn="l" defTabSz="914400" rtl="0" eaLnBrk="1" latinLnBrk="0" hangingPunct="1">
        <a:lnSpc>
          <a:spcPct val="85000"/>
        </a:lnSpc>
        <a:spcBef>
          <a:spcPts val="800"/>
        </a:spcBef>
        <a:spcAft>
          <a:spcPts val="200"/>
        </a:spcAft>
        <a:buClr>
          <a:srgbClr val="00B0F0"/>
        </a:buClr>
        <a:buSzPct val="110000"/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j-lt"/>
          <a:ea typeface="+mn-ea"/>
          <a:cs typeface="Gotham Book" pitchFamily="50" charset="0"/>
        </a:defRPr>
      </a:lvl1pPr>
      <a:lvl2pPr marL="450850" indent="-184150" algn="l" defTabSz="914400" rtl="0" eaLnBrk="1" latinLnBrk="0" hangingPunct="1">
        <a:lnSpc>
          <a:spcPct val="85000"/>
        </a:lnSpc>
        <a:spcBef>
          <a:spcPts val="800"/>
        </a:spcBef>
        <a:spcAft>
          <a:spcPts val="200"/>
        </a:spcAft>
        <a:buClr>
          <a:srgbClr val="00B0F0"/>
        </a:buClr>
        <a:buSzPct val="110000"/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j-lt"/>
          <a:ea typeface="+mn-ea"/>
          <a:cs typeface="Gotham Book" pitchFamily="50" charset="0"/>
        </a:defRPr>
      </a:lvl2pPr>
      <a:lvl3pPr marL="717550" indent="-174625" algn="l" defTabSz="914400" rtl="0" eaLnBrk="1" latinLnBrk="0" hangingPunct="1">
        <a:lnSpc>
          <a:spcPct val="85000"/>
        </a:lnSpc>
        <a:spcBef>
          <a:spcPts val="800"/>
        </a:spcBef>
        <a:spcAft>
          <a:spcPts val="200"/>
        </a:spcAft>
        <a:buClr>
          <a:srgbClr val="00B0F0"/>
        </a:buClr>
        <a:buSzPct val="110000"/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j-lt"/>
          <a:ea typeface="+mn-ea"/>
          <a:cs typeface="Gotham Book" pitchFamily="50" charset="0"/>
        </a:defRPr>
      </a:lvl3pPr>
      <a:lvl4pPr marL="984250" indent="-174625" algn="l" defTabSz="914400" rtl="0" eaLnBrk="1" latinLnBrk="0" hangingPunct="1">
        <a:lnSpc>
          <a:spcPct val="85000"/>
        </a:lnSpc>
        <a:spcBef>
          <a:spcPts val="800"/>
        </a:spcBef>
        <a:spcAft>
          <a:spcPts val="200"/>
        </a:spcAft>
        <a:buClr>
          <a:srgbClr val="00B0F0"/>
        </a:buClr>
        <a:buSzPct val="110000"/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j-lt"/>
          <a:ea typeface="+mn-ea"/>
          <a:cs typeface="Gotham Book" pitchFamily="50" charset="0"/>
        </a:defRPr>
      </a:lvl4pPr>
      <a:lvl5pPr marL="1249363" indent="-173038" algn="l" defTabSz="914400" rtl="0" eaLnBrk="1" latinLnBrk="0" hangingPunct="1">
        <a:lnSpc>
          <a:spcPct val="85000"/>
        </a:lnSpc>
        <a:spcBef>
          <a:spcPts val="800"/>
        </a:spcBef>
        <a:spcAft>
          <a:spcPts val="200"/>
        </a:spcAft>
        <a:buClr>
          <a:srgbClr val="00B0F0"/>
        </a:buClr>
        <a:buSzPct val="110000"/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j-lt"/>
          <a:ea typeface="+mn-ea"/>
          <a:cs typeface="Gotham Book" pitchFamily="50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726A3E9-8B6C-4355-A91E-59B987CFF9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92750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726A3E9-8B6C-4355-A91E-59B987CFF9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2B9F0B5-B1E0-49F4-8249-E6DF6EC03447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184CB6D0-7E60-4327-8D0E-0047146CD00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916975" y="0"/>
            <a:ext cx="10275024" cy="6858000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B6A9E359-3F17-4175-B602-F5DC7F9A0505}"/>
              </a:ext>
            </a:extLst>
          </p:cNvPr>
          <p:cNvSpPr/>
          <p:nvPr userDrawn="1"/>
        </p:nvSpPr>
        <p:spPr>
          <a:xfrm>
            <a:off x="1" y="0"/>
            <a:ext cx="7561730" cy="68580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92BFDDCF-CA8E-431E-A15F-98B6CE115351}"/>
              </a:ext>
            </a:extLst>
          </p:cNvPr>
          <p:cNvSpPr/>
          <p:nvPr userDrawn="1"/>
        </p:nvSpPr>
        <p:spPr>
          <a:xfrm>
            <a:off x="1" y="0"/>
            <a:ext cx="9439834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93132" y="1178420"/>
            <a:ext cx="4565073" cy="17324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93132" y="3128481"/>
            <a:ext cx="5257800" cy="2914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8AC413-F642-7B43-A968-2D751862D47C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591C19-2013-9A4F-B879-86BE714CC760}" type="slidenum">
              <a:rPr lang="pt-BR" smtClean="0"/>
              <a:t>‹Nº›</a:t>
            </a:fld>
            <a:endParaRPr lang="pt-BR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B848C95E-B4B6-40D1-BFD4-E93CFAB0DF6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14754" y="299225"/>
            <a:ext cx="3139943" cy="63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344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9463885-8A2B-4A43-B1F5-1DA8060515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31438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9463885-8A2B-4A43-B1F5-1DA8060515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6006F64-353F-49DB-8DDC-FC5CB754C9CE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724" y="1428750"/>
            <a:ext cx="11172825" cy="45481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DA826D-1EAF-475C-8923-D18B55866D0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69725" y="64743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2FBEEC-6D5C-46EC-A50C-EF1C73D9A01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93133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6724" y="33347"/>
            <a:ext cx="7704359" cy="8447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66005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21" r:id="rId3"/>
    <p:sldLayoutId id="2147484122" r:id="rId4"/>
    <p:sldLayoutId id="2147484123" r:id="rId5"/>
    <p:sldLayoutId id="2147484124" r:id="rId6"/>
    <p:sldLayoutId id="2147484125" r:id="rId7"/>
    <p:sldLayoutId id="2147484126" r:id="rId8"/>
    <p:sldLayoutId id="2147484127" r:id="rId9"/>
    <p:sldLayoutId id="2147484128" r:id="rId10"/>
    <p:sldLayoutId id="214748412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baseline="0">
          <a:solidFill>
            <a:schemeClr val="bg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6F1E166-EBA6-42CA-8AF9-BE54EEE7F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08349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6F1E166-EBA6-42CA-8AF9-BE54EEE7F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B05F755-FFC5-4A14-B4F0-E61D3FCE81E4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184CB6D0-7E60-4327-8D0E-0047146CD0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66"/>
          <a:stretch/>
        </p:blipFill>
        <p:spPr>
          <a:xfrm flipH="1">
            <a:off x="4518211" y="3992"/>
            <a:ext cx="7673787" cy="6850016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B6A9E359-3F17-4175-B602-F5DC7F9A0505}"/>
              </a:ext>
            </a:extLst>
          </p:cNvPr>
          <p:cNvSpPr/>
          <p:nvPr userDrawn="1"/>
        </p:nvSpPr>
        <p:spPr>
          <a:xfrm>
            <a:off x="1" y="0"/>
            <a:ext cx="7561730" cy="68580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92BFDDCF-CA8E-431E-A15F-98B6CE115351}"/>
              </a:ext>
            </a:extLst>
          </p:cNvPr>
          <p:cNvSpPr/>
          <p:nvPr userDrawn="1"/>
        </p:nvSpPr>
        <p:spPr>
          <a:xfrm>
            <a:off x="1" y="0"/>
            <a:ext cx="9439834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93132" y="1178420"/>
            <a:ext cx="4565073" cy="17324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93132" y="3128481"/>
            <a:ext cx="5257800" cy="2914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8AC413-F642-7B43-A968-2D751862D47C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591C19-2013-9A4F-B879-86BE714CC760}" type="slidenum">
              <a:rPr lang="pt-BR" smtClean="0"/>
              <a:t>‹Nº›</a:t>
            </a:fld>
            <a:endParaRPr lang="pt-BR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B5209A47-194B-4FD9-9834-E0267E243D8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14754" y="299225"/>
            <a:ext cx="3139943" cy="63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259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DB30167-DF91-4014-B3DE-2DA6CC23D8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55664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DB30167-DF91-4014-B3DE-2DA6CC23D8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00F761A-C548-40E2-8FDD-5BEA6DB8C978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184CB6D0-7E60-4327-8D0E-0047146CD0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685619" y="0"/>
            <a:ext cx="9506380" cy="6858000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B6A9E359-3F17-4175-B602-F5DC7F9A0505}"/>
              </a:ext>
            </a:extLst>
          </p:cNvPr>
          <p:cNvSpPr/>
          <p:nvPr userDrawn="1"/>
        </p:nvSpPr>
        <p:spPr>
          <a:xfrm>
            <a:off x="1" y="0"/>
            <a:ext cx="7561730" cy="68580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92BFDDCF-CA8E-431E-A15F-98B6CE115351}"/>
              </a:ext>
            </a:extLst>
          </p:cNvPr>
          <p:cNvSpPr/>
          <p:nvPr userDrawn="1"/>
        </p:nvSpPr>
        <p:spPr>
          <a:xfrm>
            <a:off x="1" y="0"/>
            <a:ext cx="6119964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93132" y="1178420"/>
            <a:ext cx="4565073" cy="17324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93132" y="3128481"/>
            <a:ext cx="5257800" cy="2914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8AC413-F642-7B43-A968-2D751862D47C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591C19-2013-9A4F-B879-86BE714CC760}" type="slidenum">
              <a:rPr lang="pt-BR" smtClean="0"/>
              <a:t>‹Nº›</a:t>
            </a:fld>
            <a:endParaRPr lang="pt-BR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770347A6-4A4F-4935-B22B-7F5EF0B890A5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14754" y="299225"/>
            <a:ext cx="3139943" cy="63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927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1CD5A2E-1A09-42BD-BA6E-D1D2B2C7A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06797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1CD5A2E-1A09-42BD-BA6E-D1D2B2C7A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A928129-938A-40EB-BC5A-114995949B33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DF2FDF9F-67DA-4E59-8829-DC6EFB8535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A6DB1698-778C-4ED2-8DCE-39159CFB9F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89C86E-A08A-478B-904C-8D4CB8FC2B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BCA8B1D-3815-401B-9EAD-E36FC6A44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45A7214-7C18-4843-AA82-DC325481F1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C102CDF5-99B4-4954-80C8-35AE8AFA5DA3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260433" y="6298008"/>
            <a:ext cx="2114550" cy="427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742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EE9F1F2-8C64-453C-BABC-C78998486F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632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EE9F1F2-8C64-453C-BABC-C78998486F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8D964B9-E698-4C63-B4B9-49B76EE294D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DF2FDF9F-67DA-4E59-8829-DC6EFB8535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539278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A6DB1698-778C-4ED2-8DCE-39159CFB9F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5392783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89C86E-A08A-478B-904C-8D4CB8FC2B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BCA8B1D-3815-401B-9EAD-E36FC6A44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45A7214-7C18-4843-AA82-DC325481F1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C102CDF5-99B4-4954-80C8-35AE8AFA5DA3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260433" y="6298008"/>
            <a:ext cx="2114550" cy="427255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B9C2BECD-6030-4080-B028-3AF14B8D54EF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6737677" y="1352814"/>
            <a:ext cx="4969416" cy="425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626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  <p:sldLayoutId id="2147483980" r:id="rId10"/>
    <p:sldLayoutId id="214748398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8F2ECF-9630-4A5C-9ABF-70178BF48E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19681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88F2ECF-9630-4A5C-9ABF-70178BF48E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2BD0959-3F63-4643-AE35-104C9235AE40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DF2FDF9F-67DA-4E59-8829-DC6EFB8535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539278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A6DB1698-778C-4ED2-8DCE-39159CFB9F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5392783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89C86E-A08A-478B-904C-8D4CB8FC2B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BCA8B1D-3815-401B-9EAD-E36FC6A44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45A7214-7C18-4843-AA82-DC325481F1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C102CDF5-99B4-4954-80C8-35AE8AFA5DA3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260433" y="6298008"/>
            <a:ext cx="2114550" cy="427255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B9C2BECD-6030-4080-B028-3AF14B8D54EF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6737677" y="1352814"/>
            <a:ext cx="4969415" cy="425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017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  <p:sldLayoutId id="2147483998" r:id="rId4"/>
    <p:sldLayoutId id="2147483999" r:id="rId5"/>
    <p:sldLayoutId id="2147484000" r:id="rId6"/>
    <p:sldLayoutId id="2147484001" r:id="rId7"/>
    <p:sldLayoutId id="2147484002" r:id="rId8"/>
    <p:sldLayoutId id="2147484003" r:id="rId9"/>
    <p:sldLayoutId id="2147484004" r:id="rId10"/>
    <p:sldLayoutId id="214748400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0520368-BD85-4A28-9197-2838082A7F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22077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0520368-BD85-4A28-9197-2838082A7F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0DD56C9A-8E94-46C9-AA8F-7D4F1326285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DF2FDF9F-67DA-4E59-8829-DC6EFB8535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539278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A6DB1698-778C-4ED2-8DCE-39159CFB9F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5392783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89C86E-A08A-478B-904C-8D4CB8FC2B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DB7FEC-F353-4BC4-8FEC-4BD59EFB6E96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BCA8B1D-3815-401B-9EAD-E36FC6A44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45A7214-7C18-4843-AA82-DC325481F1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59D607-121A-4C21-B44A-0424C0E9D8CD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C102CDF5-99B4-4954-80C8-35AE8AFA5DA3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260433" y="6298008"/>
            <a:ext cx="2114550" cy="427255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B9C2BECD-6030-4080-B028-3AF14B8D54EF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6737677" y="1352814"/>
            <a:ext cx="4969414" cy="425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039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4008" r:id="rId2"/>
    <p:sldLayoutId id="2147484009" r:id="rId3"/>
    <p:sldLayoutId id="2147484010" r:id="rId4"/>
    <p:sldLayoutId id="2147484011" r:id="rId5"/>
    <p:sldLayoutId id="2147484012" r:id="rId6"/>
    <p:sldLayoutId id="2147484013" r:id="rId7"/>
    <p:sldLayoutId id="2147484014" r:id="rId8"/>
    <p:sldLayoutId id="2147484015" r:id="rId9"/>
    <p:sldLayoutId id="2147484016" r:id="rId10"/>
    <p:sldLayoutId id="214748401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92E144-DA1A-4D36-B236-F727F085ED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71054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92E144-DA1A-4D36-B236-F727F085E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8892AA-B66E-476D-96A1-B4D7B543925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5DC5B52-2491-43CB-A5AD-5BDA7D63CA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FC6177-DAD1-41F1-A77D-80013BB6A192}" type="datetimeFigureOut">
              <a:rPr lang="pt-BR" smtClean="0"/>
              <a:t>12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383ECB1-B70A-4EAA-9B33-8797B2BCD5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27E491F-1F75-4371-8BBB-0493FB4BD0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071117-1466-436E-80A0-1F4FA1B08D9D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Espaço Reservado para Título 1">
            <a:extLst>
              <a:ext uri="{FF2B5EF4-FFF2-40B4-BE49-F238E27FC236}">
                <a16:creationId xmlns:a16="http://schemas.microsoft.com/office/drawing/2014/main" id="{FC867436-2095-4BD7-9401-1EC96E6713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32" y="1178420"/>
            <a:ext cx="4565073" cy="17324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8" name="Espaço Reservado para Texto 2">
            <a:extLst>
              <a:ext uri="{FF2B5EF4-FFF2-40B4-BE49-F238E27FC236}">
                <a16:creationId xmlns:a16="http://schemas.microsoft.com/office/drawing/2014/main" id="{234D6BC4-3F5A-40B2-A333-ADD8D93CF0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132" y="3128481"/>
            <a:ext cx="5257800" cy="2914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27EBFEE1-DF9C-4315-A0DB-97F1E0EF62B5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93132" y="13667"/>
            <a:ext cx="3431259" cy="1075323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02A93D9E-4AF0-4F01-95EB-5055FAF12DFC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5213816" y="0"/>
            <a:ext cx="6978184" cy="6857999"/>
          </a:xfrm>
          <a:prstGeom prst="rect">
            <a:avLst/>
          </a:prstGeom>
        </p:spPr>
      </p:pic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1588700" y="5663084"/>
            <a:ext cx="1546299" cy="960856"/>
            <a:chOff x="2510307" y="2891970"/>
            <a:chExt cx="5297533" cy="3291840"/>
          </a:xfrm>
        </p:grpSpPr>
        <p:sp>
          <p:nvSpPr>
            <p:cNvPr id="12" name="Oval 11"/>
            <p:cNvSpPr/>
            <p:nvPr/>
          </p:nvSpPr>
          <p:spPr>
            <a:xfrm>
              <a:off x="4516000" y="2891970"/>
              <a:ext cx="3291840" cy="329184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pic>
          <p:nvPicPr>
            <p:cNvPr id="13" name="Picture 2" descr="Resultado de imagen para latin america map icon"/>
            <p:cNvPicPr>
              <a:picLocks noChangeAspect="1" noChangeArrowheads="1"/>
            </p:cNvPicPr>
            <p:nvPr/>
          </p:nvPicPr>
          <p:blipFill>
            <a:blip r:embed="rId2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6000" y="2986589"/>
              <a:ext cx="3102602" cy="31026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Oval 13"/>
            <p:cNvSpPr/>
            <p:nvPr/>
          </p:nvSpPr>
          <p:spPr>
            <a:xfrm>
              <a:off x="2510307" y="2891970"/>
              <a:ext cx="3291840" cy="3291840"/>
            </a:xfrm>
            <a:prstGeom prst="ellipse">
              <a:avLst/>
            </a:prstGeom>
            <a:solidFill>
              <a:srgbClr val="056CDD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pic>
          <p:nvPicPr>
            <p:cNvPr id="15" name="Picture 2" descr="Imagen relacionada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2870080" y="3148874"/>
              <a:ext cx="2572294" cy="25722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TextBox 15"/>
          <p:cNvSpPr txBox="1"/>
          <p:nvPr userDrawn="1"/>
        </p:nvSpPr>
        <p:spPr>
          <a:xfrm>
            <a:off x="3059026" y="5572801"/>
            <a:ext cx="26553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>
                <a:solidFill>
                  <a:schemeClr val="bg1"/>
                </a:solidFill>
                <a:latin typeface="Fungo" panose="02000000000000000000" pitchFamily="50" charset="0"/>
              </a:rPr>
              <a:t>Creating Valu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3140502" y="6168330"/>
            <a:ext cx="25738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  <a:latin typeface="Manus" pitchFamily="2" charset="0"/>
              </a:rPr>
              <a:t>from source to shelf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19263" y="5635679"/>
            <a:ext cx="193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>
                <a:solidFill>
                  <a:schemeClr val="bg1"/>
                </a:solidFill>
              </a:rPr>
              <a:t>LAO</a:t>
            </a:r>
            <a:endParaRPr lang="en-US" sz="2800">
              <a:solidFill>
                <a:schemeClr val="bg1"/>
              </a:solidFill>
            </a:endParaRPr>
          </a:p>
          <a:p>
            <a:r>
              <a:rPr lang="es-AR" sz="2400">
                <a:solidFill>
                  <a:schemeClr val="bg1"/>
                </a:solidFill>
              </a:rPr>
              <a:t>Logistics </a:t>
            </a:r>
            <a:endParaRPr lang="en-US" sz="4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216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15.xml"/><Relationship Id="rId4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5.xml"/><Relationship Id="rId4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5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15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hyperlink" Target="http://ustca957/hub/lao/" TargetMode="External"/><Relationship Id="rId1" Type="http://schemas.openxmlformats.org/officeDocument/2006/relationships/slideLayout" Target="../slideLayouts/slideLayout1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B50002E0"/><Relationship Id="rId1" Type="http://schemas.openxmlformats.org/officeDocument/2006/relationships/slideLayout" Target="../slideLayouts/slideLayout1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5.xml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3AEB2F8-89FC-48C1-89E6-4C83EF13F0A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s-CR" dirty="0"/>
              <a:t>Dashboard KPIs </a:t>
            </a:r>
            <a:br>
              <a:rPr lang="es-CR" dirty="0"/>
            </a:br>
            <a:r>
              <a:rPr lang="es-CR" dirty="0"/>
              <a:t>Centros de Distribución </a:t>
            </a:r>
            <a:br>
              <a:rPr lang="es-CR" dirty="0"/>
            </a:br>
            <a:r>
              <a:rPr lang="es-CR" dirty="0"/>
              <a:t>LAO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6962C936-A10F-4C13-A28D-25FA43EF00C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s-CR" dirty="0"/>
          </a:p>
          <a:p>
            <a:r>
              <a:rPr lang="es-CR" dirty="0"/>
              <a:t>Entrenamiento y Despliegue</a:t>
            </a:r>
          </a:p>
          <a:p>
            <a:r>
              <a:rPr lang="es-CR" dirty="0"/>
              <a:t>16 Marzo 2021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E3E9976-3A12-43D8-885D-8FDAE4F270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786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56C5302-650C-4B2F-A03F-FE101F666F99}"/>
              </a:ext>
            </a:extLst>
          </p:cNvPr>
          <p:cNvSpPr txBox="1"/>
          <p:nvPr/>
        </p:nvSpPr>
        <p:spPr>
          <a:xfrm>
            <a:off x="51293" y="1051489"/>
            <a:ext cx="257539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R" dirty="0"/>
              <a:t>Se puede </a:t>
            </a:r>
          </a:p>
          <a:p>
            <a:r>
              <a:rPr lang="es-CR" dirty="0"/>
              <a:t>visualizar</a:t>
            </a:r>
          </a:p>
          <a:p>
            <a:r>
              <a:rPr lang="es-CR" dirty="0"/>
              <a:t> 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R" dirty="0"/>
              <a:t>P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R" dirty="0"/>
              <a:t>M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R" dirty="0"/>
              <a:t>C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5C9179-3B63-49F7-8E84-FF0029EAE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dirty="0"/>
              <a:t>LAO Distribution Centers Daily Utilization 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FA1C02C-58A1-4F02-864A-3A544D07078E}"/>
              </a:ext>
            </a:extLst>
          </p:cNvPr>
          <p:cNvSpPr/>
          <p:nvPr/>
        </p:nvSpPr>
        <p:spPr>
          <a:xfrm>
            <a:off x="10650836" y="115877"/>
            <a:ext cx="1211855" cy="59277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SAP/R3</a:t>
            </a:r>
          </a:p>
          <a:p>
            <a:pPr algn="ctr"/>
            <a:r>
              <a:rPr lang="en-US" sz="1400" dirty="0">
                <a:solidFill>
                  <a:schemeClr val="accent1"/>
                </a:solidFill>
              </a:rPr>
              <a:t>MB5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1034320-0C62-447F-A264-72BFB882F69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1180" b="6366"/>
          <a:stretch/>
        </p:blipFill>
        <p:spPr>
          <a:xfrm>
            <a:off x="1239460" y="944607"/>
            <a:ext cx="10017303" cy="496878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AE25C5B-762B-4022-B8C7-843E9462DE3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8876" b="6367"/>
          <a:stretch/>
        </p:blipFill>
        <p:spPr>
          <a:xfrm>
            <a:off x="1239460" y="789781"/>
            <a:ext cx="10017303" cy="512680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D046E6-C852-4193-A479-F277A1A8CF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51293" y="838712"/>
            <a:ext cx="12192000" cy="5074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94676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2EF6DC0-AE9A-4997-A514-31B7116950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8332" y="690937"/>
            <a:ext cx="9735335" cy="54761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ADF6EE8-E63E-4448-93DE-AD08C71950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8332" y="690937"/>
            <a:ext cx="9735335" cy="547612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A4F8043-621F-421E-90F3-2006B1DFC277}"/>
              </a:ext>
            </a:extLst>
          </p:cNvPr>
          <p:cNvSpPr txBox="1"/>
          <p:nvPr/>
        </p:nvSpPr>
        <p:spPr>
          <a:xfrm>
            <a:off x="10963667" y="757629"/>
            <a:ext cx="257539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R" dirty="0"/>
              <a:t>Se puede </a:t>
            </a:r>
          </a:p>
          <a:p>
            <a:r>
              <a:rPr lang="es-CR" dirty="0"/>
              <a:t>visualizar</a:t>
            </a:r>
          </a:p>
          <a:p>
            <a:r>
              <a:rPr lang="es-CR" dirty="0"/>
              <a:t> 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R" dirty="0"/>
              <a:t>P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R" dirty="0"/>
              <a:t>M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R" dirty="0"/>
              <a:t>C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5C9179-3B63-49F7-8E84-FF0029EAE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dirty="0"/>
              <a:t>LAO Distribution Centers Daily Moveme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969AC4-50EE-4C53-9E04-D218813A67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362" y="1063860"/>
            <a:ext cx="12192000" cy="4730279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CFFCBB1-8CD5-4549-BE8E-CBE633DB5EDD}"/>
              </a:ext>
            </a:extLst>
          </p:cNvPr>
          <p:cNvSpPr/>
          <p:nvPr/>
        </p:nvSpPr>
        <p:spPr>
          <a:xfrm>
            <a:off x="10894420" y="127000"/>
            <a:ext cx="1211855" cy="59277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SAP/R3</a:t>
            </a:r>
          </a:p>
          <a:p>
            <a:pPr algn="ctr"/>
            <a:r>
              <a:rPr lang="en-US" sz="1400" dirty="0">
                <a:solidFill>
                  <a:schemeClr val="accent1"/>
                </a:solidFill>
              </a:rPr>
              <a:t>MB51</a:t>
            </a:r>
          </a:p>
        </p:txBody>
      </p:sp>
    </p:spTree>
    <p:extLst>
      <p:ext uri="{BB962C8B-B14F-4D97-AF65-F5344CB8AC3E}">
        <p14:creationId xmlns:p14="http://schemas.microsoft.com/office/powerpoint/2010/main" val="203650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93A7BCE-4626-468B-B098-A9EE7CFB49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2831" y="627303"/>
            <a:ext cx="9606337" cy="540356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B5C9179-3B63-49F7-8E84-FF0029EAE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dirty="0"/>
              <a:t>LAO Distribution Centers Stay Ti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6414B24-224A-428F-A245-E8C17E2E49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2832" y="627302"/>
            <a:ext cx="9606337" cy="5403565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90BBF922-EBA2-4C9A-BF99-F71C3458FBB2}"/>
              </a:ext>
            </a:extLst>
          </p:cNvPr>
          <p:cNvSpPr/>
          <p:nvPr/>
        </p:nvSpPr>
        <p:spPr>
          <a:xfrm>
            <a:off x="10799170" y="127000"/>
            <a:ext cx="1211855" cy="59277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SAP/R3</a:t>
            </a:r>
          </a:p>
          <a:p>
            <a:pPr algn="ctr"/>
            <a:r>
              <a:rPr lang="en-US" sz="1400" dirty="0">
                <a:solidFill>
                  <a:schemeClr val="accent1"/>
                </a:solidFill>
              </a:rPr>
              <a:t>VT11</a:t>
            </a:r>
          </a:p>
        </p:txBody>
      </p:sp>
    </p:spTree>
    <p:extLst>
      <p:ext uri="{BB962C8B-B14F-4D97-AF65-F5344CB8AC3E}">
        <p14:creationId xmlns:p14="http://schemas.microsoft.com/office/powerpoint/2010/main" val="18694774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2530D6-ADA4-4B1E-9F3C-EB96BE5DA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dirty="0"/>
              <a:t>Handling Cost per M3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FFB490-EC63-4695-8A09-83DDE28EC7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169" y="955637"/>
            <a:ext cx="9311062" cy="49467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BA0676F-5230-4ADC-83B1-EF551CE66B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5954" y="955637"/>
            <a:ext cx="9311062" cy="494672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1E38247-8DB4-4D7B-B22E-C35747A3BB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79937" y="955637"/>
            <a:ext cx="9311062" cy="494672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203F6A3-C258-40D4-990E-0D5781EB10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94713" y="955638"/>
            <a:ext cx="9311062" cy="4946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309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93F7D0-7A05-4EC3-A3CB-7E8EF4F22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dirty="0"/>
              <a:t>Storage Cost per M3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9B9F96-1CF6-476A-9157-B26BE12B72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923" y="1217036"/>
            <a:ext cx="7898675" cy="419789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3D9A48-34D6-499E-A23D-57CF50CA90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1824" y="1217036"/>
            <a:ext cx="7898675" cy="419789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A7DF063-B5FC-478A-9F3B-1087D341D4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85128" y="1217036"/>
            <a:ext cx="7898675" cy="419789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FB930A7-3A73-45B1-B270-8A8AEB41F4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45416" y="1217035"/>
            <a:ext cx="7898675" cy="4197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972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A7ECF7-EF96-432D-BF64-60B3FEA841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975" y="127000"/>
            <a:ext cx="11839576" cy="5236109"/>
          </a:xfrm>
        </p:spPr>
        <p:txBody>
          <a:bodyPr/>
          <a:lstStyle/>
          <a:p>
            <a:pPr algn="ctr"/>
            <a:r>
              <a:rPr lang="es-CR" dirty="0"/>
              <a:t>Link de Acceso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B0B8B0F-2BA5-4CFD-9FA6-7B7B7EE520D0}"/>
              </a:ext>
            </a:extLst>
          </p:cNvPr>
          <p:cNvSpPr/>
          <p:nvPr/>
        </p:nvSpPr>
        <p:spPr>
          <a:xfrm>
            <a:off x="2302993" y="809762"/>
            <a:ext cx="758601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R" sz="5400" dirty="0">
                <a:solidFill>
                  <a:srgbClr val="10069F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ustca957/hub/lao/</a:t>
            </a:r>
            <a:endParaRPr lang="es-CR" sz="5400" dirty="0">
              <a:solidFill>
                <a:srgbClr val="10069F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3FDFB52-67F2-4D89-96BD-5831684F0B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81548"/>
            <a:ext cx="12192000" cy="4264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4711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A7ECF7-EF96-432D-BF64-60B3FEA841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298058"/>
          </a:xfrm>
        </p:spPr>
        <p:txBody>
          <a:bodyPr/>
          <a:lstStyle/>
          <a:p>
            <a:pPr algn="ctr"/>
            <a:br>
              <a:rPr lang="es-CR" dirty="0"/>
            </a:br>
            <a:br>
              <a:rPr lang="es-CR" dirty="0"/>
            </a:br>
            <a:br>
              <a:rPr lang="es-CR" dirty="0"/>
            </a:br>
            <a:br>
              <a:rPr lang="es-CR" dirty="0"/>
            </a:br>
            <a:br>
              <a:rPr lang="es-CR" dirty="0"/>
            </a:br>
            <a:r>
              <a:rPr lang="es-CR" sz="8800" dirty="0"/>
              <a:t>Kahoot!</a:t>
            </a:r>
            <a:endParaRPr lang="es-CR" dirty="0"/>
          </a:p>
        </p:txBody>
      </p:sp>
    </p:spTree>
    <p:extLst>
      <p:ext uri="{BB962C8B-B14F-4D97-AF65-F5344CB8AC3E}">
        <p14:creationId xmlns:p14="http://schemas.microsoft.com/office/powerpoint/2010/main" val="13143844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A7ECF7-EF96-432D-BF64-60B3FEA841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23F502-46B5-4096-9C61-5D908A82862C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09600" y="1181101"/>
            <a:ext cx="10972800" cy="4525963"/>
          </a:xfrm>
        </p:spPr>
        <p:txBody>
          <a:bodyPr/>
          <a:lstStyle/>
          <a:p>
            <a:pPr algn="just"/>
            <a:r>
              <a:rPr lang="en-US" dirty="0"/>
              <a:t>Introduction (5 min) </a:t>
            </a:r>
          </a:p>
          <a:p>
            <a:pPr algn="just"/>
            <a:r>
              <a:rPr lang="en-US" dirty="0"/>
              <a:t>Information Sources and Updates (5 min) </a:t>
            </a:r>
          </a:p>
          <a:p>
            <a:pPr algn="just"/>
            <a:r>
              <a:rPr lang="en-US" dirty="0"/>
              <a:t>Top Views (40 min) </a:t>
            </a:r>
          </a:p>
          <a:p>
            <a:pPr algn="just"/>
            <a:r>
              <a:rPr lang="en-US" dirty="0"/>
              <a:t>Kahoot! (10 minutes) </a:t>
            </a:r>
            <a:endParaRPr lang="es-CR" dirty="0"/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F4ECC8FF-07C7-43C9-9879-2ACEB579A1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AR" altLang="es-AR" sz="13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Roboto"/>
              </a:rPr>
              <a:t>Introduction (5 min) Information Sources and Updates (5 min) Top Views (40 min) Kahoot! (10 minutes) </a:t>
            </a:r>
            <a:endParaRPr kumimoji="0" lang="es-AR" altLang="es-AR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Robot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altLang="es-A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F4B67D1E-A674-43D4-A59A-6149A11208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s-AR" altLang="es-AR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Roboto"/>
              </a:rPr>
            </a:br>
            <a:endParaRPr kumimoji="0" lang="es-AR" altLang="es-A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97755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F8F7D02-F987-41B4-8AFD-529D30781A70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02"/>
          <a:stretch/>
        </p:blipFill>
        <p:spPr bwMode="auto">
          <a:xfrm>
            <a:off x="0" y="0"/>
            <a:ext cx="12192000" cy="629805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31552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A7ECF7-EF96-432D-BF64-60B3FEA841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dirty="0" err="1"/>
              <a:t>Main</a:t>
            </a:r>
            <a:r>
              <a:rPr lang="es-CR" dirty="0"/>
              <a:t> </a:t>
            </a:r>
            <a:r>
              <a:rPr lang="es-CR" dirty="0" err="1"/>
              <a:t>Views</a:t>
            </a:r>
            <a:r>
              <a:rPr lang="es-CR" dirty="0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8B72F44-2559-4AE8-AE3E-184E1E7CE1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39155" y="974332"/>
            <a:ext cx="5732767" cy="4765497"/>
          </a:xfrm>
        </p:spPr>
        <p:txBody>
          <a:bodyPr>
            <a:normAutofit lnSpcReduction="10000"/>
          </a:bodyPr>
          <a:lstStyle/>
          <a:p>
            <a:r>
              <a:rPr lang="es-CR" sz="2400" dirty="0"/>
              <a:t>Resumen</a:t>
            </a:r>
          </a:p>
          <a:p>
            <a:pPr lvl="1"/>
            <a:r>
              <a:rPr lang="en-US" sz="1600" dirty="0"/>
              <a:t>LAO Distribution Centers Monthly KPIs Scorecard - Current Month</a:t>
            </a:r>
          </a:p>
          <a:p>
            <a:pPr lvl="1"/>
            <a:r>
              <a:rPr lang="es-CR" sz="1600" dirty="0"/>
              <a:t>LAO Distribution Centers % Utilization</a:t>
            </a:r>
          </a:p>
          <a:p>
            <a:r>
              <a:rPr lang="es-CR" sz="2400" dirty="0"/>
              <a:t>Seguridad</a:t>
            </a:r>
          </a:p>
          <a:p>
            <a:pPr lvl="1"/>
            <a:r>
              <a:rPr lang="es-CR" sz="1600" dirty="0"/>
              <a:t>LAO Distribution Centers Days w/o Accidentes</a:t>
            </a:r>
          </a:p>
          <a:p>
            <a:r>
              <a:rPr lang="es-CR" sz="2400" dirty="0"/>
              <a:t>Calidad</a:t>
            </a:r>
          </a:p>
          <a:p>
            <a:pPr lvl="1"/>
            <a:r>
              <a:rPr lang="es-CR" sz="1600" dirty="0"/>
              <a:t>LAO Distribution Centers RFT</a:t>
            </a:r>
          </a:p>
          <a:p>
            <a:r>
              <a:rPr lang="es-CR" sz="2400" dirty="0"/>
              <a:t>Operaciones</a:t>
            </a:r>
          </a:p>
          <a:p>
            <a:pPr lvl="1"/>
            <a:r>
              <a:rPr lang="es-CR" sz="1600" dirty="0"/>
              <a:t>LAO Distribution Centers Daily Utilization</a:t>
            </a:r>
          </a:p>
          <a:p>
            <a:pPr lvl="1"/>
            <a:r>
              <a:rPr lang="es-CR" sz="1600" dirty="0"/>
              <a:t>LAO Distribution Centers Daily Movements</a:t>
            </a:r>
          </a:p>
          <a:p>
            <a:pPr lvl="1"/>
            <a:r>
              <a:rPr lang="es-CR" sz="1600" dirty="0"/>
              <a:t>LAO Distribution Centers Stay Time</a:t>
            </a:r>
          </a:p>
          <a:p>
            <a:pPr marL="457200" lvl="1" indent="0">
              <a:buNone/>
            </a:pPr>
            <a:endParaRPr lang="es-CR" sz="1600" u="sng" dirty="0"/>
          </a:p>
          <a:p>
            <a:pPr marL="457200" lvl="1" indent="0">
              <a:buNone/>
            </a:pPr>
            <a:r>
              <a:rPr lang="es-CR" sz="1600" u="sng" dirty="0"/>
              <a:t>External Links: Global Distribution Centers Dashboards</a:t>
            </a:r>
            <a:r>
              <a:rPr lang="es-CR" sz="1600" dirty="0"/>
              <a:t>:</a:t>
            </a:r>
          </a:p>
          <a:p>
            <a:pPr lvl="1"/>
            <a:r>
              <a:rPr lang="es-CR" sz="1600" dirty="0"/>
              <a:t>Handling Cost per M3</a:t>
            </a:r>
          </a:p>
          <a:p>
            <a:pPr lvl="1"/>
            <a:r>
              <a:rPr lang="es-CR" sz="1600" dirty="0"/>
              <a:t>Storage Cost per M3</a:t>
            </a:r>
          </a:p>
          <a:p>
            <a:pPr lvl="1"/>
            <a:endParaRPr lang="es-CR" sz="1600" dirty="0"/>
          </a:p>
          <a:p>
            <a:pPr lvl="1"/>
            <a:endParaRPr lang="es-CR" sz="1600" dirty="0"/>
          </a:p>
          <a:p>
            <a:endParaRPr lang="es-CR" sz="2400" dirty="0"/>
          </a:p>
          <a:p>
            <a:pPr marL="457200" lvl="1" indent="0">
              <a:buNone/>
            </a:pPr>
            <a:endParaRPr lang="es-CR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68088F5-20B0-454E-9685-25C90C6ADA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078" y="1642580"/>
            <a:ext cx="6096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0206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2F0E88-51B0-499D-8D91-953746DF1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ormation Sources and Updates</a:t>
            </a:r>
            <a:endParaRPr lang="es-CR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9FB160A8-4F08-4EB7-8FAB-F5EF60D5EE1F}"/>
              </a:ext>
            </a:extLst>
          </p:cNvPr>
          <p:cNvSpPr/>
          <p:nvPr/>
        </p:nvSpPr>
        <p:spPr>
          <a:xfrm>
            <a:off x="3494247" y="1384276"/>
            <a:ext cx="1211855" cy="59277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SAP/R3</a:t>
            </a:r>
          </a:p>
          <a:p>
            <a:pPr algn="ctr"/>
            <a:r>
              <a:rPr lang="en-US" sz="1400" dirty="0">
                <a:solidFill>
                  <a:schemeClr val="accent1"/>
                </a:solidFill>
              </a:rPr>
              <a:t>MB52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F2F6D5D-AF00-4F83-B1D9-043CBB2ECD0C}"/>
              </a:ext>
            </a:extLst>
          </p:cNvPr>
          <p:cNvSpPr/>
          <p:nvPr/>
        </p:nvSpPr>
        <p:spPr>
          <a:xfrm>
            <a:off x="5490072" y="3129890"/>
            <a:ext cx="1211855" cy="59277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DC KPIs Databas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08056AF-5CBB-4B77-9F09-2EC0F6D58AB8}"/>
              </a:ext>
            </a:extLst>
          </p:cNvPr>
          <p:cNvSpPr/>
          <p:nvPr/>
        </p:nvSpPr>
        <p:spPr>
          <a:xfrm>
            <a:off x="3494247" y="2236491"/>
            <a:ext cx="1211855" cy="59277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SAP/R3</a:t>
            </a:r>
          </a:p>
          <a:p>
            <a:pPr algn="ctr"/>
            <a:r>
              <a:rPr lang="en-US" sz="1400" dirty="0">
                <a:solidFill>
                  <a:schemeClr val="accent1"/>
                </a:solidFill>
              </a:rPr>
              <a:t>MB51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6A3C6711-A2DC-4309-8319-1210B11075DC}"/>
              </a:ext>
            </a:extLst>
          </p:cNvPr>
          <p:cNvSpPr/>
          <p:nvPr/>
        </p:nvSpPr>
        <p:spPr>
          <a:xfrm>
            <a:off x="3494246" y="3133931"/>
            <a:ext cx="1211855" cy="59277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SAP/R3</a:t>
            </a:r>
          </a:p>
          <a:p>
            <a:pPr algn="ctr"/>
            <a:r>
              <a:rPr lang="en-US" sz="1400" dirty="0">
                <a:solidFill>
                  <a:schemeClr val="accent1"/>
                </a:solidFill>
              </a:rPr>
              <a:t>VT11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39DDF8E-05B1-4106-92A3-C6B4FA741290}"/>
              </a:ext>
            </a:extLst>
          </p:cNvPr>
          <p:cNvSpPr/>
          <p:nvPr/>
        </p:nvSpPr>
        <p:spPr>
          <a:xfrm>
            <a:off x="3494246" y="3983511"/>
            <a:ext cx="1211855" cy="59277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accent1"/>
              </a:solidFill>
            </a:endParaRPr>
          </a:p>
          <a:p>
            <a:pPr algn="ctr"/>
            <a:r>
              <a:rPr lang="en-US" sz="1400" dirty="0">
                <a:solidFill>
                  <a:schemeClr val="accent1"/>
                </a:solidFill>
              </a:rPr>
              <a:t>DC SharePoint</a:t>
            </a:r>
          </a:p>
          <a:p>
            <a:pPr algn="ctr"/>
            <a:r>
              <a:rPr lang="en-US" sz="800" dirty="0">
                <a:solidFill>
                  <a:schemeClr val="accent1"/>
                </a:solidFill>
              </a:rPr>
              <a:t>Days w/o Accident</a:t>
            </a:r>
            <a:endParaRPr lang="en-US" sz="1400" dirty="0">
              <a:solidFill>
                <a:schemeClr val="accent1"/>
              </a:solidFill>
            </a:endParaRPr>
          </a:p>
          <a:p>
            <a:pPr algn="ctr"/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2651FAD-FFBB-48E4-8896-750D634E552F}"/>
              </a:ext>
            </a:extLst>
          </p:cNvPr>
          <p:cNvSpPr/>
          <p:nvPr/>
        </p:nvSpPr>
        <p:spPr>
          <a:xfrm>
            <a:off x="3494246" y="4880951"/>
            <a:ext cx="1211855" cy="59277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RFT Move Reporting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660984C-4694-49E8-AEE9-31307EF4EE97}"/>
              </a:ext>
            </a:extLst>
          </p:cNvPr>
          <p:cNvGrpSpPr/>
          <p:nvPr/>
        </p:nvGrpSpPr>
        <p:grpSpPr>
          <a:xfrm>
            <a:off x="7485898" y="3125849"/>
            <a:ext cx="1211855" cy="592772"/>
            <a:chOff x="6402513" y="3888892"/>
            <a:chExt cx="1211855" cy="592772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AEE82F64-3E28-4F2C-A2DB-0FBCBF56D2DA}"/>
                </a:ext>
              </a:extLst>
            </p:cNvPr>
            <p:cNvSpPr/>
            <p:nvPr/>
          </p:nvSpPr>
          <p:spPr>
            <a:xfrm>
              <a:off x="6402513" y="3888892"/>
              <a:ext cx="1211855" cy="592772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accent1"/>
                </a:solidFill>
              </a:endParaRPr>
            </a:p>
          </p:txBody>
        </p:sp>
        <p:pic>
          <p:nvPicPr>
            <p:cNvPr id="18" name="Picture 4" descr="Modernización de almacenes de datos en AWS - Quick Start">
              <a:extLst>
                <a:ext uri="{FF2B5EF4-FFF2-40B4-BE49-F238E27FC236}">
                  <a16:creationId xmlns:a16="http://schemas.microsoft.com/office/drawing/2014/main" id="{E9DE2E05-C84B-4DE5-A651-8584F565AC8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634" t="13674" r="16249"/>
            <a:stretch/>
          </p:blipFill>
          <p:spPr bwMode="auto">
            <a:xfrm>
              <a:off x="6494554" y="4024963"/>
              <a:ext cx="1027772" cy="3206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F833BBC9-869A-46E3-9A9F-DCF9AE8B65C9}"/>
              </a:ext>
            </a:extLst>
          </p:cNvPr>
          <p:cNvSpPr/>
          <p:nvPr/>
        </p:nvSpPr>
        <p:spPr>
          <a:xfrm>
            <a:off x="5490071" y="1386911"/>
            <a:ext cx="1211855" cy="59277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SAP/R3</a:t>
            </a:r>
          </a:p>
          <a:p>
            <a:pPr algn="ctr"/>
            <a:r>
              <a:rPr lang="en-US" sz="1400" dirty="0">
                <a:solidFill>
                  <a:schemeClr val="accent1"/>
                </a:solidFill>
              </a:rPr>
              <a:t>ZFSLO214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79370761-9DC1-4627-B007-2D9A0B899F4C}"/>
              </a:ext>
            </a:extLst>
          </p:cNvPr>
          <p:cNvCxnSpPr>
            <a:stCxn id="5" idx="3"/>
            <a:endCxn id="8" idx="1"/>
          </p:cNvCxnSpPr>
          <p:nvPr/>
        </p:nvCxnSpPr>
        <p:spPr>
          <a:xfrm>
            <a:off x="4706102" y="1680662"/>
            <a:ext cx="783970" cy="17456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BAAB29F9-D4D8-4EE4-AFDF-F77510B55EB7}"/>
              </a:ext>
            </a:extLst>
          </p:cNvPr>
          <p:cNvCxnSpPr>
            <a:cxnSpLocks/>
            <a:stCxn id="10" idx="3"/>
            <a:endCxn id="8" idx="1"/>
          </p:cNvCxnSpPr>
          <p:nvPr/>
        </p:nvCxnSpPr>
        <p:spPr>
          <a:xfrm>
            <a:off x="4706102" y="2532877"/>
            <a:ext cx="783970" cy="8933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7AEFF015-4D42-441D-B844-F87E69D7C443}"/>
              </a:ext>
            </a:extLst>
          </p:cNvPr>
          <p:cNvCxnSpPr>
            <a:cxnSpLocks/>
            <a:stCxn id="11" idx="3"/>
            <a:endCxn id="8" idx="1"/>
          </p:cNvCxnSpPr>
          <p:nvPr/>
        </p:nvCxnSpPr>
        <p:spPr>
          <a:xfrm flipV="1">
            <a:off x="4706101" y="3426276"/>
            <a:ext cx="783971" cy="40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7BF6B48-F687-4DEE-A517-ED23897AC118}"/>
              </a:ext>
            </a:extLst>
          </p:cNvPr>
          <p:cNvCxnSpPr>
            <a:cxnSpLocks/>
            <a:stCxn id="12" idx="3"/>
            <a:endCxn id="8" idx="1"/>
          </p:cNvCxnSpPr>
          <p:nvPr/>
        </p:nvCxnSpPr>
        <p:spPr>
          <a:xfrm flipV="1">
            <a:off x="4706101" y="3426276"/>
            <a:ext cx="783971" cy="8536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1B2B17A-0498-4A5D-9F99-0B3B81658B2F}"/>
              </a:ext>
            </a:extLst>
          </p:cNvPr>
          <p:cNvCxnSpPr>
            <a:cxnSpLocks/>
            <a:stCxn id="13" idx="3"/>
            <a:endCxn id="8" idx="1"/>
          </p:cNvCxnSpPr>
          <p:nvPr/>
        </p:nvCxnSpPr>
        <p:spPr>
          <a:xfrm flipV="1">
            <a:off x="4706101" y="3426276"/>
            <a:ext cx="783971" cy="17510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82D04104-1AC1-4CEC-BDC7-9BD13C7560FE}"/>
              </a:ext>
            </a:extLst>
          </p:cNvPr>
          <p:cNvCxnSpPr>
            <a:cxnSpLocks/>
            <a:stCxn id="20" idx="2"/>
            <a:endCxn id="8" idx="0"/>
          </p:cNvCxnSpPr>
          <p:nvPr/>
        </p:nvCxnSpPr>
        <p:spPr>
          <a:xfrm>
            <a:off x="6095999" y="1979683"/>
            <a:ext cx="1" cy="11502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9BD2A466-3EE4-4E6B-AD88-866E44516FEC}"/>
              </a:ext>
            </a:extLst>
          </p:cNvPr>
          <p:cNvCxnSpPr>
            <a:cxnSpLocks/>
            <a:stCxn id="8" idx="3"/>
            <a:endCxn id="17" idx="1"/>
          </p:cNvCxnSpPr>
          <p:nvPr/>
        </p:nvCxnSpPr>
        <p:spPr>
          <a:xfrm flipV="1">
            <a:off x="6701927" y="3422235"/>
            <a:ext cx="783971" cy="40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1A4B2C7D-97FB-4BED-A5D8-729EABCAFFAD}"/>
              </a:ext>
            </a:extLst>
          </p:cNvPr>
          <p:cNvSpPr/>
          <p:nvPr/>
        </p:nvSpPr>
        <p:spPr>
          <a:xfrm>
            <a:off x="213530" y="1384276"/>
            <a:ext cx="3041138" cy="59277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Inventories</a:t>
            </a:r>
          </a:p>
          <a:p>
            <a:pPr algn="ctr"/>
            <a:r>
              <a:rPr lang="en-US" sz="800" dirty="0">
                <a:solidFill>
                  <a:schemeClr val="accent1"/>
                </a:solidFill>
              </a:rPr>
              <a:t>(Available, Quality Control, Blocked) 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158FF276-44AB-4C80-902D-68948C7D06A1}"/>
              </a:ext>
            </a:extLst>
          </p:cNvPr>
          <p:cNvSpPr/>
          <p:nvPr/>
        </p:nvSpPr>
        <p:spPr>
          <a:xfrm>
            <a:off x="213530" y="2227870"/>
            <a:ext cx="3041138" cy="59277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accent1"/>
              </a:solidFill>
            </a:endParaRPr>
          </a:p>
          <a:p>
            <a:pPr algn="ctr"/>
            <a:r>
              <a:rPr lang="en-US" sz="1400" dirty="0">
                <a:solidFill>
                  <a:schemeClr val="accent1"/>
                </a:solidFill>
              </a:rPr>
              <a:t>Movements </a:t>
            </a:r>
          </a:p>
          <a:p>
            <a:pPr algn="ctr"/>
            <a:r>
              <a:rPr lang="en-US" sz="800" dirty="0">
                <a:solidFill>
                  <a:schemeClr val="accent1"/>
                </a:solidFill>
              </a:rPr>
              <a:t>(Inbound, Outbound, Returns)</a:t>
            </a:r>
          </a:p>
          <a:p>
            <a:pPr algn="ctr"/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DEA91E27-DEED-444E-B953-C5B0E24EC323}"/>
              </a:ext>
            </a:extLst>
          </p:cNvPr>
          <p:cNvSpPr/>
          <p:nvPr/>
        </p:nvSpPr>
        <p:spPr>
          <a:xfrm>
            <a:off x="213530" y="3133931"/>
            <a:ext cx="3041138" cy="59277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Stay Times </a:t>
            </a:r>
          </a:p>
          <a:p>
            <a:pPr algn="ctr"/>
            <a:r>
              <a:rPr lang="en-US" sz="800" dirty="0">
                <a:solidFill>
                  <a:schemeClr val="accent1"/>
                </a:solidFill>
              </a:rPr>
              <a:t>(Transport Units) 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12D705FF-ACCD-41B6-BAA7-8D0B611C4D6B}"/>
              </a:ext>
            </a:extLst>
          </p:cNvPr>
          <p:cNvSpPr/>
          <p:nvPr/>
        </p:nvSpPr>
        <p:spPr>
          <a:xfrm>
            <a:off x="213530" y="4039992"/>
            <a:ext cx="3041138" cy="59277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Days without accidents</a:t>
            </a:r>
          </a:p>
          <a:p>
            <a:pPr algn="ctr"/>
            <a:r>
              <a:rPr lang="en-US" sz="800" dirty="0">
                <a:solidFill>
                  <a:schemeClr val="accent1"/>
                </a:solidFill>
              </a:rPr>
              <a:t>(EHS)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4D75DE0E-369C-438C-8493-B8A20762C0D3}"/>
              </a:ext>
            </a:extLst>
          </p:cNvPr>
          <p:cNvSpPr/>
          <p:nvPr/>
        </p:nvSpPr>
        <p:spPr>
          <a:xfrm>
            <a:off x="214817" y="4876909"/>
            <a:ext cx="3041138" cy="59277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RFT</a:t>
            </a:r>
          </a:p>
          <a:p>
            <a:pPr algn="ctr"/>
            <a:r>
              <a:rPr lang="en-US" sz="800">
                <a:solidFill>
                  <a:schemeClr val="accent1"/>
                </a:solidFill>
              </a:rPr>
              <a:t>(Quality</a:t>
            </a:r>
            <a:r>
              <a:rPr lang="en-US" sz="800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F4BF6339-9218-4FD9-A696-8813D6F13EE7}"/>
              </a:ext>
            </a:extLst>
          </p:cNvPr>
          <p:cNvSpPr/>
          <p:nvPr/>
        </p:nvSpPr>
        <p:spPr>
          <a:xfrm>
            <a:off x="8937332" y="1356159"/>
            <a:ext cx="3041138" cy="4113521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rPr>
              <a:t>Update:</a:t>
            </a:r>
          </a:p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rPr>
              <a:t>Monday to Friday 11:00 am </a:t>
            </a:r>
          </a:p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rPr>
              <a:t>(Central Standard Time)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8190E97E-CB85-4F78-A040-364359AE1D07}"/>
              </a:ext>
            </a:extLst>
          </p:cNvPr>
          <p:cNvSpPr/>
          <p:nvPr/>
        </p:nvSpPr>
        <p:spPr>
          <a:xfrm>
            <a:off x="6996051" y="1384276"/>
            <a:ext cx="1211855" cy="59277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SMOB Monthly Analysis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EAB8AB01-FEDD-4AAE-BAE4-825281CDF97D}"/>
              </a:ext>
            </a:extLst>
          </p:cNvPr>
          <p:cNvCxnSpPr>
            <a:cxnSpLocks/>
            <a:stCxn id="50" idx="2"/>
            <a:endCxn id="8" idx="0"/>
          </p:cNvCxnSpPr>
          <p:nvPr/>
        </p:nvCxnSpPr>
        <p:spPr>
          <a:xfrm flipH="1">
            <a:off x="6096000" y="1977048"/>
            <a:ext cx="1505979" cy="11528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8DBC5659-8968-4489-923B-58B1C3E3F550}"/>
              </a:ext>
            </a:extLst>
          </p:cNvPr>
          <p:cNvSpPr/>
          <p:nvPr/>
        </p:nvSpPr>
        <p:spPr>
          <a:xfrm>
            <a:off x="5490072" y="4876908"/>
            <a:ext cx="1211855" cy="59277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DC SharePoint</a:t>
            </a:r>
          </a:p>
          <a:p>
            <a:pPr algn="ctr"/>
            <a:r>
              <a:rPr lang="en-US" sz="1400" dirty="0">
                <a:solidFill>
                  <a:schemeClr val="accent1"/>
                </a:solidFill>
              </a:rPr>
              <a:t>Capacities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3C0EDB9-362A-432B-B9B3-78FDCC2E94FB}"/>
              </a:ext>
            </a:extLst>
          </p:cNvPr>
          <p:cNvCxnSpPr>
            <a:cxnSpLocks/>
            <a:stCxn id="30" idx="0"/>
            <a:endCxn id="8" idx="2"/>
          </p:cNvCxnSpPr>
          <p:nvPr/>
        </p:nvCxnSpPr>
        <p:spPr>
          <a:xfrm flipV="1">
            <a:off x="6096000" y="3722662"/>
            <a:ext cx="0" cy="11542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2">
            <a:extLst>
              <a:ext uri="{FF2B5EF4-FFF2-40B4-BE49-F238E27FC236}">
                <a16:creationId xmlns:a16="http://schemas.microsoft.com/office/drawing/2014/main" id="{BB978CD3-E74E-4477-B3AF-230AE258AA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s-AR" altLang="es-AR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Roboto"/>
              </a:rPr>
            </a:br>
            <a:endParaRPr kumimoji="0" lang="es-AR" altLang="es-A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57982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5C9179-3B63-49F7-8E84-FF0029EAE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1" algn="ctr" rtl="0">
              <a:lnSpc>
                <a:spcPct val="90000"/>
              </a:lnSpc>
              <a:spcBef>
                <a:spcPct val="0"/>
              </a:spcBef>
            </a:pPr>
            <a:r>
              <a:rPr lang="en-US" sz="3200" b="1" kern="1200" dirty="0">
                <a:solidFill>
                  <a:srgbClr val="10069F"/>
                </a:solidFill>
                <a:latin typeface="+mj-lt"/>
              </a:rPr>
              <a:t>LAO Distribution Centers Monthly KPIs Scorecard - Current Month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3D0296D-54E9-4006-A976-7AE78C60449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240"/>
          <a:stretch/>
        </p:blipFill>
        <p:spPr>
          <a:xfrm>
            <a:off x="1393326" y="1452563"/>
            <a:ext cx="7489861" cy="386590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4DBF6FF-6C0C-4B26-B516-E9BA1BE7399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1815" b="6517"/>
          <a:stretch/>
        </p:blipFill>
        <p:spPr>
          <a:xfrm>
            <a:off x="1948131" y="1452563"/>
            <a:ext cx="7370531" cy="386590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111A1B5-96FA-4061-BE2B-2508148BAF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63600" y="1456667"/>
            <a:ext cx="7370531" cy="3865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6034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A595CDD-7E36-4D4D-B019-B8D038CA310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1181" r="393" b="5468"/>
          <a:stretch/>
        </p:blipFill>
        <p:spPr>
          <a:xfrm>
            <a:off x="1744894" y="1050469"/>
            <a:ext cx="8702211" cy="475706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DDBB3F4-9EF6-4458-8994-F678852F96C7}"/>
              </a:ext>
            </a:extLst>
          </p:cNvPr>
          <p:cNvSpPr txBox="1"/>
          <p:nvPr/>
        </p:nvSpPr>
        <p:spPr>
          <a:xfrm>
            <a:off x="8713339" y="2429717"/>
            <a:ext cx="25753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R" dirty="0"/>
              <a:t>Se puede encontrar 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R" dirty="0"/>
              <a:t>P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R" dirty="0"/>
              <a:t>M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R" dirty="0"/>
              <a:t>C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5C9179-3B63-49F7-8E84-FF0029EAE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CR" dirty="0"/>
              <a:t>LAO Distribution Centers % Utilization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67D00A5-CC89-4BB1-90DD-6770F62DBD84}"/>
              </a:ext>
            </a:extLst>
          </p:cNvPr>
          <p:cNvGrpSpPr/>
          <p:nvPr/>
        </p:nvGrpSpPr>
        <p:grpSpPr>
          <a:xfrm>
            <a:off x="5078857" y="994500"/>
            <a:ext cx="6657654" cy="4070762"/>
            <a:chOff x="5472701" y="789781"/>
            <a:chExt cx="6657654" cy="407076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447DE1D-33AA-4BD6-81C5-174C6097DB7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753528" y="789781"/>
              <a:ext cx="6096001" cy="3296446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8975EAA-2597-4E9B-961F-E370609EF50B}"/>
                </a:ext>
              </a:extLst>
            </p:cNvPr>
            <p:cNvSpPr txBox="1"/>
            <p:nvPr/>
          </p:nvSpPr>
          <p:spPr>
            <a:xfrm>
              <a:off x="5472701" y="4214212"/>
              <a:ext cx="665765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R" b="1" dirty="0"/>
                <a:t>https://kimberlyclark.sharepoint.com/Sites/H854/DCKPISDashboard/</a:t>
              </a:r>
            </a:p>
          </p:txBody>
        </p:sp>
      </p:grp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1022059-A754-48C1-BEEF-36F62E45E899}"/>
              </a:ext>
            </a:extLst>
          </p:cNvPr>
          <p:cNvSpPr/>
          <p:nvPr/>
        </p:nvSpPr>
        <p:spPr>
          <a:xfrm>
            <a:off x="10918500" y="117158"/>
            <a:ext cx="1211855" cy="59277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SAP/R3</a:t>
            </a:r>
          </a:p>
          <a:p>
            <a:pPr algn="ctr"/>
            <a:r>
              <a:rPr lang="en-US" sz="1400" dirty="0">
                <a:solidFill>
                  <a:schemeClr val="accent1"/>
                </a:solidFill>
              </a:rPr>
              <a:t>MB52</a:t>
            </a:r>
          </a:p>
        </p:txBody>
      </p:sp>
    </p:spTree>
    <p:extLst>
      <p:ext uri="{BB962C8B-B14F-4D97-AF65-F5344CB8AC3E}">
        <p14:creationId xmlns:p14="http://schemas.microsoft.com/office/powerpoint/2010/main" val="42587581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5C9179-3B63-49F7-8E84-FF0029EAE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dirty="0"/>
              <a:t>LAO Distribution Centers Days w/o Accident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5D9502F-11C8-425E-8CD9-02AC757AD46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895"/>
          <a:stretch/>
        </p:blipFill>
        <p:spPr>
          <a:xfrm>
            <a:off x="180975" y="1112938"/>
            <a:ext cx="8568647" cy="4632124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D600BDDE-3294-44A4-A0C5-9B6D3F3CAC49}"/>
              </a:ext>
            </a:extLst>
          </p:cNvPr>
          <p:cNvGrpSpPr/>
          <p:nvPr/>
        </p:nvGrpSpPr>
        <p:grpSpPr>
          <a:xfrm>
            <a:off x="4653792" y="1452563"/>
            <a:ext cx="7150446" cy="4938830"/>
            <a:chOff x="4653792" y="1452563"/>
            <a:chExt cx="7150446" cy="493883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DFCB8BDF-026E-4962-B90D-13CE3F3AE6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53792" y="1452563"/>
              <a:ext cx="7150446" cy="4140485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4DE6FE9-CE9F-491C-AF75-CD9123DA8437}"/>
                </a:ext>
              </a:extLst>
            </p:cNvPr>
            <p:cNvSpPr txBox="1"/>
            <p:nvPr/>
          </p:nvSpPr>
          <p:spPr>
            <a:xfrm>
              <a:off x="4900188" y="5745062"/>
              <a:ext cx="665765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R" b="1" dirty="0"/>
                <a:t>https://kimberlyclark.sharepoint.com/Sites/H854/DCKPISDashboard/</a:t>
              </a:r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66FBD93-49DA-48A3-A5DD-438D4DD8492D}"/>
              </a:ext>
            </a:extLst>
          </p:cNvPr>
          <p:cNvSpPr/>
          <p:nvPr/>
        </p:nvSpPr>
        <p:spPr>
          <a:xfrm>
            <a:off x="10592383" y="783784"/>
            <a:ext cx="1211855" cy="59277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accent1"/>
              </a:solidFill>
            </a:endParaRPr>
          </a:p>
          <a:p>
            <a:pPr algn="ctr"/>
            <a:r>
              <a:rPr lang="en-US" sz="1400" dirty="0">
                <a:solidFill>
                  <a:schemeClr val="accent1"/>
                </a:solidFill>
              </a:rPr>
              <a:t>DC SharePoint</a:t>
            </a:r>
          </a:p>
          <a:p>
            <a:pPr algn="ctr"/>
            <a:r>
              <a:rPr lang="en-US" sz="800" dirty="0">
                <a:solidFill>
                  <a:schemeClr val="accent1"/>
                </a:solidFill>
              </a:rPr>
              <a:t>Days w/o Accident</a:t>
            </a:r>
            <a:endParaRPr lang="en-US" sz="1400" dirty="0">
              <a:solidFill>
                <a:schemeClr val="accent1"/>
              </a:solidFill>
            </a:endParaRPr>
          </a:p>
          <a:p>
            <a:pPr algn="ctr"/>
            <a:endParaRPr lang="en-US" sz="1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8563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5C9179-3B63-49F7-8E84-FF0029EAE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R" dirty="0"/>
              <a:t>LAO Distribution Centers RF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EA9BF6-A4E9-4826-AB21-C8CFB35488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746"/>
          <a:stretch/>
        </p:blipFill>
        <p:spPr>
          <a:xfrm>
            <a:off x="171450" y="1024847"/>
            <a:ext cx="7143750" cy="4808306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D9916C66-CEF7-4E5D-B98A-DCB40E513509}"/>
              </a:ext>
            </a:extLst>
          </p:cNvPr>
          <p:cNvGrpSpPr/>
          <p:nvPr/>
        </p:nvGrpSpPr>
        <p:grpSpPr>
          <a:xfrm>
            <a:off x="4315146" y="1974886"/>
            <a:ext cx="7528372" cy="2779448"/>
            <a:chOff x="4315146" y="1974886"/>
            <a:chExt cx="7528372" cy="277944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06E79CB-5C6E-4422-B1C7-B0B6FB13C93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15146" y="1974886"/>
              <a:ext cx="7528372" cy="2011487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0692DDD-7350-4BA6-A54B-50B72D83B06F}"/>
                </a:ext>
              </a:extLst>
            </p:cNvPr>
            <p:cNvSpPr txBox="1"/>
            <p:nvPr/>
          </p:nvSpPr>
          <p:spPr>
            <a:xfrm>
              <a:off x="4859676" y="4108003"/>
              <a:ext cx="665765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R" b="1" dirty="0"/>
                <a:t>https://reports.kcc.com/reports/browse/A215/Decision%20Making/RFT%20Move</a:t>
              </a:r>
            </a:p>
          </p:txBody>
        </p:sp>
      </p:grp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9FF21E5-7E20-4A02-AA87-DFBDFDE9F641}"/>
              </a:ext>
            </a:extLst>
          </p:cNvPr>
          <p:cNvSpPr/>
          <p:nvPr/>
        </p:nvSpPr>
        <p:spPr>
          <a:xfrm>
            <a:off x="10799170" y="432075"/>
            <a:ext cx="1211855" cy="59277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RFT Move Reporting</a:t>
            </a:r>
          </a:p>
        </p:txBody>
      </p:sp>
    </p:spTree>
    <p:extLst>
      <p:ext uri="{BB962C8B-B14F-4D97-AF65-F5344CB8AC3E}">
        <p14:creationId xmlns:p14="http://schemas.microsoft.com/office/powerpoint/2010/main" val="18712664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3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ZohooZ5PEuHsbn9d74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ieS.vKQaRmCmDa4yUW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U6G3RcF03GRXWa0xoh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CeBJ2awcTHDmXHsuva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IZs7PKrCzY_q4pepot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BIFO.LCqmtdI889n6X6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4uQJJXslxNRNA7JF5a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Lq9FP3TRSBhR6NESzO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gqhOiPQGaGVZJCdINLj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E_aRsmRZKyN0bJcKOe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nNPxXKzxIj2ufAJstv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fdewlEBby_bz.S5LHsA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PUns9bQeqnLvJuNjwL6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E_aRsmRZKyN0bJcKOe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Lq9FP3TRSBhR6NESzO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gqhOiPQGaGVZJCdINL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E_aRsmRZKyN0bJcKOe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IZs7PKrCzY_q4pepotu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toLfyPI0lg5bwZz7u.S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VSxjyYXsemm771wA2qv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4HH34bT2EXaN5Y.Nc.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xP2E5tL57QDYtxrQkv7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cOGopYQwmFBxsmQu2Hn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CvRM6Mi5fiq4039aSn_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JSGw307CvxwUqjrvJC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lrCG7wjFBOZG4l_giRFA"/>
</p:tagLst>
</file>

<file path=ppt/theme/theme1.xml><?xml version="1.0" encoding="utf-8"?>
<a:theme xmlns:a="http://schemas.openxmlformats.org/drawingml/2006/main" name="15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4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8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2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9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21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Splash screen">
  <a:themeElements>
    <a:clrScheme name="KC_MainMaster_Dec 2015">
      <a:dk1>
        <a:sysClr val="windowText" lastClr="000000"/>
      </a:dk1>
      <a:lt1>
        <a:sysClr val="window" lastClr="FFFFFF"/>
      </a:lt1>
      <a:dk2>
        <a:srgbClr val="0070C0"/>
      </a:dk2>
      <a:lt2>
        <a:srgbClr val="FFFFFF"/>
      </a:lt2>
      <a:accent1>
        <a:srgbClr val="00B0F0"/>
      </a:accent1>
      <a:accent2>
        <a:srgbClr val="F79646"/>
      </a:accent2>
      <a:accent3>
        <a:srgbClr val="92D050"/>
      </a:accent3>
      <a:accent4>
        <a:srgbClr val="8064A2"/>
      </a:accent4>
      <a:accent5>
        <a:srgbClr val="B92F67"/>
      </a:accent5>
      <a:accent6>
        <a:srgbClr val="0070C0"/>
      </a:accent6>
      <a:hlink>
        <a:srgbClr val="FFFF00"/>
      </a:hlink>
      <a:folHlink>
        <a:srgbClr val="442E54"/>
      </a:folHlink>
    </a:clrScheme>
    <a:fontScheme name="KC_Titlescreen Dec_2015">
      <a:majorFont>
        <a:latin typeface="Andre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Content Screen">
  <a:themeElements>
    <a:clrScheme name="KC_MainMaster_Dec 2015">
      <a:dk1>
        <a:sysClr val="windowText" lastClr="000000"/>
      </a:dk1>
      <a:lt1>
        <a:sysClr val="window" lastClr="FFFFFF"/>
      </a:lt1>
      <a:dk2>
        <a:srgbClr val="0070C0"/>
      </a:dk2>
      <a:lt2>
        <a:srgbClr val="FFFFFF"/>
      </a:lt2>
      <a:accent1>
        <a:srgbClr val="00B0F0"/>
      </a:accent1>
      <a:accent2>
        <a:srgbClr val="F79646"/>
      </a:accent2>
      <a:accent3>
        <a:srgbClr val="92D050"/>
      </a:accent3>
      <a:accent4>
        <a:srgbClr val="8064A2"/>
      </a:accent4>
      <a:accent5>
        <a:srgbClr val="B92F67"/>
      </a:accent5>
      <a:accent6>
        <a:srgbClr val="0070C0"/>
      </a:accent6>
      <a:hlink>
        <a:srgbClr val="FFFF00"/>
      </a:hlink>
      <a:folHlink>
        <a:srgbClr val="442E5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1_Splash screen">
  <a:themeElements>
    <a:clrScheme name="KC_MainMaster_Dec 2015">
      <a:dk1>
        <a:sysClr val="windowText" lastClr="000000"/>
      </a:dk1>
      <a:lt1>
        <a:sysClr val="window" lastClr="FFFFFF"/>
      </a:lt1>
      <a:dk2>
        <a:srgbClr val="0070C0"/>
      </a:dk2>
      <a:lt2>
        <a:srgbClr val="FFFFFF"/>
      </a:lt2>
      <a:accent1>
        <a:srgbClr val="00B0F0"/>
      </a:accent1>
      <a:accent2>
        <a:srgbClr val="F79646"/>
      </a:accent2>
      <a:accent3>
        <a:srgbClr val="92D050"/>
      </a:accent3>
      <a:accent4>
        <a:srgbClr val="8064A2"/>
      </a:accent4>
      <a:accent5>
        <a:srgbClr val="B92F67"/>
      </a:accent5>
      <a:accent6>
        <a:srgbClr val="0070C0"/>
      </a:accent6>
      <a:hlink>
        <a:srgbClr val="FFFF00"/>
      </a:hlink>
      <a:folHlink>
        <a:srgbClr val="442E54"/>
      </a:folHlink>
    </a:clrScheme>
    <a:fontScheme name="KC_Titlescreen Dec_2015">
      <a:majorFont>
        <a:latin typeface="Andre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1_Content Screen">
  <a:themeElements>
    <a:clrScheme name="KC_MainMaster_Dec 2015">
      <a:dk1>
        <a:sysClr val="windowText" lastClr="000000"/>
      </a:dk1>
      <a:lt1>
        <a:sysClr val="window" lastClr="FFFFFF"/>
      </a:lt1>
      <a:dk2>
        <a:srgbClr val="0070C0"/>
      </a:dk2>
      <a:lt2>
        <a:srgbClr val="FFFFFF"/>
      </a:lt2>
      <a:accent1>
        <a:srgbClr val="00B0F0"/>
      </a:accent1>
      <a:accent2>
        <a:srgbClr val="F79646"/>
      </a:accent2>
      <a:accent3>
        <a:srgbClr val="92D050"/>
      </a:accent3>
      <a:accent4>
        <a:srgbClr val="8064A2"/>
      </a:accent4>
      <a:accent5>
        <a:srgbClr val="B92F67"/>
      </a:accent5>
      <a:accent6>
        <a:srgbClr val="0070C0"/>
      </a:accent6>
      <a:hlink>
        <a:srgbClr val="FFFF00"/>
      </a:hlink>
      <a:folHlink>
        <a:srgbClr val="442E5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5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6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9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9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0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2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3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20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4ED382507FC874F832FBED7CB592E4C" ma:contentTypeVersion="2" ma:contentTypeDescription="Create a new document." ma:contentTypeScope="" ma:versionID="ef2c4d0ae2c4666ff522c64e85c64b44">
  <xsd:schema xmlns:xsd="http://www.w3.org/2001/XMLSchema" xmlns:xs="http://www.w3.org/2001/XMLSchema" xmlns:p="http://schemas.microsoft.com/office/2006/metadata/properties" xmlns:ns2="8ae3c21d-693e-4675-804d-af934c7d235b" targetNamespace="http://schemas.microsoft.com/office/2006/metadata/properties" ma:root="true" ma:fieldsID="2a4ab1fc8c22ce53d743ab73e75eb452" ns2:_="">
    <xsd:import namespace="8ae3c21d-693e-4675-804d-af934c7d235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e3c21d-693e-4675-804d-af934c7d235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0004D93-140D-4834-876A-11784D1E86C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9937AA9-D6C4-47A1-B5FA-29B1EA06FBA5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8ae3c21d-693e-4675-804d-af934c7d235b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F89B136-5BD1-44A6-ABF6-391E69B67BFC}">
  <ds:schemaRefs>
    <ds:schemaRef ds:uri="8ae3c21d-693e-4675-804d-af934c7d235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66</TotalTime>
  <Words>383</Words>
  <Application>Microsoft Office PowerPoint</Application>
  <PresentationFormat>Panorámica</PresentationFormat>
  <Paragraphs>105</Paragraphs>
  <Slides>16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20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6</vt:i4>
      </vt:variant>
    </vt:vector>
  </HeadingPairs>
  <TitlesOfParts>
    <vt:vector size="43" baseType="lpstr">
      <vt:lpstr>Andrea</vt:lpstr>
      <vt:lpstr>Arial</vt:lpstr>
      <vt:lpstr>Calibri</vt:lpstr>
      <vt:lpstr>Fungo</vt:lpstr>
      <vt:lpstr>Manus</vt:lpstr>
      <vt:lpstr>Roboto</vt:lpstr>
      <vt:lpstr>15_Personalizar Design</vt:lpstr>
      <vt:lpstr>25_Personalizar Design</vt:lpstr>
      <vt:lpstr>26_Personalizar Design</vt:lpstr>
      <vt:lpstr>29_Personalizar Design</vt:lpstr>
      <vt:lpstr>19_Personalizar design</vt:lpstr>
      <vt:lpstr>30_Personalizar design</vt:lpstr>
      <vt:lpstr>32_Personalizar design</vt:lpstr>
      <vt:lpstr>33_Personalizar design</vt:lpstr>
      <vt:lpstr>20_Personalizar design</vt:lpstr>
      <vt:lpstr>Personalizar Design</vt:lpstr>
      <vt:lpstr>4_Personalizar Design</vt:lpstr>
      <vt:lpstr>8_Personalizar Design</vt:lpstr>
      <vt:lpstr>12_Personalizar Design</vt:lpstr>
      <vt:lpstr>9_Personalizar Design</vt:lpstr>
      <vt:lpstr>21_Personalizar design</vt:lpstr>
      <vt:lpstr>Splash screen</vt:lpstr>
      <vt:lpstr>Content Screen</vt:lpstr>
      <vt:lpstr>1_Splash screen</vt:lpstr>
      <vt:lpstr>1_Content Screen</vt:lpstr>
      <vt:lpstr>3_Custom Design</vt:lpstr>
      <vt:lpstr>think-cell Slide</vt:lpstr>
      <vt:lpstr>Dashboard KPIs  Centros de Distribución  LAO</vt:lpstr>
      <vt:lpstr>Agenda</vt:lpstr>
      <vt:lpstr>Presentación de PowerPoint</vt:lpstr>
      <vt:lpstr>Main Views </vt:lpstr>
      <vt:lpstr>Information Sources and Updates</vt:lpstr>
      <vt:lpstr>LAO Distribution Centers Monthly KPIs Scorecard - Current Month</vt:lpstr>
      <vt:lpstr>LAO Distribution Centers % Utilization</vt:lpstr>
      <vt:lpstr>LAO Distribution Centers Days w/o Accidents</vt:lpstr>
      <vt:lpstr>LAO Distribution Centers RFT</vt:lpstr>
      <vt:lpstr>LAO Distribution Centers Daily Utilization </vt:lpstr>
      <vt:lpstr>LAO Distribution Centers Daily Movements</vt:lpstr>
      <vt:lpstr>LAO Distribution Centers Stay Time</vt:lpstr>
      <vt:lpstr>Handling Cost per M3</vt:lpstr>
      <vt:lpstr>Storage Cost per M3</vt:lpstr>
      <vt:lpstr>Link de Acceso</vt:lpstr>
      <vt:lpstr>     Kahoot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Usuário do Microsoft Office</dc:creator>
  <cp:lastModifiedBy>Clark, Connie</cp:lastModifiedBy>
  <cp:revision>14</cp:revision>
  <dcterms:created xsi:type="dcterms:W3CDTF">2018-09-19T17:39:54Z</dcterms:created>
  <dcterms:modified xsi:type="dcterms:W3CDTF">2021-04-12T15:43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3a425e9-ff5b-4164-ab21-177a29e6432d_Enabled">
    <vt:lpwstr>True</vt:lpwstr>
  </property>
  <property fmtid="{D5CDD505-2E9C-101B-9397-08002B2CF9AE}" pid="3" name="MSIP_Label_f3a425e9-ff5b-4164-ab21-177a29e6432d_SiteId">
    <vt:lpwstr>fee2180b-69b6-4afe-9f14-ccd70bd4c737</vt:lpwstr>
  </property>
  <property fmtid="{D5CDD505-2E9C-101B-9397-08002B2CF9AE}" pid="4" name="MSIP_Label_f3a425e9-ff5b-4164-ab21-177a29e6432d_Owner">
    <vt:lpwstr>AnaElisa.C.Castro@kcc.com</vt:lpwstr>
  </property>
  <property fmtid="{D5CDD505-2E9C-101B-9397-08002B2CF9AE}" pid="5" name="MSIP_Label_f3a425e9-ff5b-4164-ab21-177a29e6432d_SetDate">
    <vt:lpwstr>2019-01-31T15:13:05.3217261Z</vt:lpwstr>
  </property>
  <property fmtid="{D5CDD505-2E9C-101B-9397-08002B2CF9AE}" pid="6" name="MSIP_Label_f3a425e9-ff5b-4164-ab21-177a29e6432d_Name">
    <vt:lpwstr>K-C Internal Only</vt:lpwstr>
  </property>
  <property fmtid="{D5CDD505-2E9C-101B-9397-08002B2CF9AE}" pid="7" name="MSIP_Label_f3a425e9-ff5b-4164-ab21-177a29e6432d_Application">
    <vt:lpwstr>Microsoft Azure Information Protection</vt:lpwstr>
  </property>
  <property fmtid="{D5CDD505-2E9C-101B-9397-08002B2CF9AE}" pid="8" name="MSIP_Label_f3a425e9-ff5b-4164-ab21-177a29e6432d_Extended_MSFT_Method">
    <vt:lpwstr>Manual</vt:lpwstr>
  </property>
  <property fmtid="{D5CDD505-2E9C-101B-9397-08002B2CF9AE}" pid="9" name="MSIP_Label_3f52e709-27cd-4bee-a620-278331e736b2_Enabled">
    <vt:lpwstr>True</vt:lpwstr>
  </property>
  <property fmtid="{D5CDD505-2E9C-101B-9397-08002B2CF9AE}" pid="10" name="MSIP_Label_3f52e709-27cd-4bee-a620-278331e736b2_SiteId">
    <vt:lpwstr>fee2180b-69b6-4afe-9f14-ccd70bd4c737</vt:lpwstr>
  </property>
  <property fmtid="{D5CDD505-2E9C-101B-9397-08002B2CF9AE}" pid="11" name="MSIP_Label_3f52e709-27cd-4bee-a620-278331e736b2_Owner">
    <vt:lpwstr>AnaElisa.C.Castro@kcc.com</vt:lpwstr>
  </property>
  <property fmtid="{D5CDD505-2E9C-101B-9397-08002B2CF9AE}" pid="12" name="MSIP_Label_3f52e709-27cd-4bee-a620-278331e736b2_SetDate">
    <vt:lpwstr>2019-01-31T15:13:05.3217261Z</vt:lpwstr>
  </property>
  <property fmtid="{D5CDD505-2E9C-101B-9397-08002B2CF9AE}" pid="13" name="MSIP_Label_3f52e709-27cd-4bee-a620-278331e736b2_Name">
    <vt:lpwstr>Without Content Marking</vt:lpwstr>
  </property>
  <property fmtid="{D5CDD505-2E9C-101B-9397-08002B2CF9AE}" pid="14" name="MSIP_Label_3f52e709-27cd-4bee-a620-278331e736b2_Application">
    <vt:lpwstr>Microsoft Azure Information Protection</vt:lpwstr>
  </property>
  <property fmtid="{D5CDD505-2E9C-101B-9397-08002B2CF9AE}" pid="15" name="MSIP_Label_3f52e709-27cd-4bee-a620-278331e736b2_Parent">
    <vt:lpwstr>f3a425e9-ff5b-4164-ab21-177a29e6432d</vt:lpwstr>
  </property>
  <property fmtid="{D5CDD505-2E9C-101B-9397-08002B2CF9AE}" pid="16" name="MSIP_Label_3f52e709-27cd-4bee-a620-278331e736b2_Extended_MSFT_Method">
    <vt:lpwstr>Manual</vt:lpwstr>
  </property>
  <property fmtid="{D5CDD505-2E9C-101B-9397-08002B2CF9AE}" pid="17" name="KCAutoClass">
    <vt:lpwstr>K-C Internal Only Without Content Marking</vt:lpwstr>
  </property>
  <property fmtid="{D5CDD505-2E9C-101B-9397-08002B2CF9AE}" pid="18" name="ContentTypeId">
    <vt:lpwstr>0x010100E4ED382507FC874F832FBED7CB592E4C</vt:lpwstr>
  </property>
</Properties>
</file>